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5.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1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1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2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1.xml" ContentType="application/vnd.openxmlformats-officedocument.presentationml.notesSlide+xml"/>
  <Override PartName="/ppt/charts/chart9.xml" ContentType="application/vnd.openxmlformats-officedocument.drawingml.chart+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2.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4.xml" ContentType="application/vnd.openxmlformats-officedocument.presentationml.notesSlide+xml"/>
  <Override PartName="/ppt/charts/chart11.xml" ContentType="application/vnd.openxmlformats-officedocument.drawingml.chart+xml"/>
  <Override PartName="/ppt/tags/tag19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93.xml" ContentType="application/vnd.openxmlformats-officedocument.presentationml.tags+xml"/>
  <Override PartName="/ppt/notesSlides/notesSlide28.xml" ContentType="application/vnd.openxmlformats-officedocument.presentationml.notesSlide+xml"/>
  <Override PartName="/ppt/tags/tag194.xml" ContentType="application/vnd.openxmlformats-officedocument.presentationml.tags+xml"/>
  <Override PartName="/ppt/notesSlides/notesSlide29.xml" ContentType="application/vnd.openxmlformats-officedocument.presentationml.notesSlide+xml"/>
  <Override PartName="/ppt/tags/tag19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96.xml" ContentType="application/vnd.openxmlformats-officedocument.presentationml.tags+xml"/>
  <Override PartName="/ppt/notesSlides/notesSlide33.xml" ContentType="application/vnd.openxmlformats-officedocument.presentationml.notesSlide+xml"/>
  <Override PartName="/ppt/tags/tag19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36.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notesSlides/notesSlide37.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38.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39.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40.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41.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42.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43.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44.xml" ContentType="application/vnd.openxmlformats-officedocument.presentationml.notesSlide+xml"/>
  <Override PartName="/ppt/theme/themeOverride1.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45.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4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47.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48.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49.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50.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5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5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53.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54.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55.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56.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57.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58.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59.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60.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61.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62.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notesSlides/notesSlide63.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64.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65.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notesSlides/notesSlide66.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67.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68.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69.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70.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71.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72.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73.xml" ContentType="application/vnd.openxmlformats-officedocument.presentationml.notesSlid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74.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75.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notesSlides/notesSlide76.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notesSlides/notesSlide77.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notesSlides/notesSlide78.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notesSlides/notesSlide79.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notesSlides/notesSlide80.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notesSlides/notesSlide81.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82.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notesSlides/notesSlide83.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notesSlides/notesSlide84.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notesSlides/notesSlide85.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notesSlides/notesSlide86.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notesSlides/notesSlide87.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notesSlides/notesSlide88.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notesSlides/notesSlide89.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90.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notesSlides/notesSlide91.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notesSlides/notesSlide92.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notesSlides/notesSlide93.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94.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notesSlides/notesSlide95.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notesSlides/notesSlide96.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notesSlides/notesSlide97.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ags/tag347.xml" ContentType="application/vnd.openxmlformats-officedocument.presentationml.tags+xml"/>
  <Override PartName="/ppt/tags/tag348.xml" ContentType="application/vnd.openxmlformats-officedocument.presentationml.tags+xml"/>
  <Override PartName="/ppt/notesSlides/notesSlide9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ags/tag349.xml" ContentType="application/vnd.openxmlformats-officedocument.presentationml.tags+xml"/>
  <Override PartName="/ppt/notesSlides/notesSlide99.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100.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101.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102.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103.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104.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105.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106.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107.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108.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109.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110.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11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11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notesSlides/notesSlide113.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114.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notesSlides/notesSlide115.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notesSlides/notesSlide116.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notesSlides/notesSlide117.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notesSlides/notesSlide118.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notesSlides/notesSlide119.xml" ContentType="application/vnd.openxmlformats-officedocument.presentationml.notesSlide+xml"/>
  <Override PartName="/ppt/tags/tag392.xml" ContentType="application/vnd.openxmlformats-officedocument.presentationml.tags+xml"/>
  <Override PartName="/ppt/tags/tag393.xml" ContentType="application/vnd.openxmlformats-officedocument.presentationml.tags+xml"/>
  <Override PartName="/ppt/notesSlides/notesSlide120.xml" ContentType="application/vnd.openxmlformats-officedocument.presentationml.notesSlide+xml"/>
  <Override PartName="/ppt/tags/tag394.xml" ContentType="application/vnd.openxmlformats-officedocument.presentationml.tags+xml"/>
  <Override PartName="/ppt/tags/tag395.xml" ContentType="application/vnd.openxmlformats-officedocument.presentationml.tags+xml"/>
  <Override PartName="/ppt/notesSlides/notesSlide121.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notesSlides/notesSlide122.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notesSlides/notesSlide123.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notesSlides/notesSlide124.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notesSlides/notesSlide125.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notesSlides/notesSlide126.xml" ContentType="application/vnd.openxmlformats-officedocument.presentationml.notesSlid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127.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notesSlides/notesSlide128.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notesSlides/notesSlide129.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notesSlides/notesSlide130.xml" ContentType="application/vnd.openxmlformats-officedocument.presentationml.notesSlide+xml"/>
  <Override PartName="/ppt/tags/tag415.xml" ContentType="application/vnd.openxmlformats-officedocument.presentationml.tags+xml"/>
  <Override PartName="/ppt/tags/tag416.xml" ContentType="application/vnd.openxmlformats-officedocument.presentationml.tags+xml"/>
  <Override PartName="/ppt/notesSlides/notesSlide131.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notesSlides/notesSlide132.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notesSlides/notesSlide133.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134.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notesSlides/notesSlide135.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136.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137.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138.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139.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notesSlides/notesSlide140.xml" ContentType="application/vnd.openxmlformats-officedocument.presentationml.notesSlide+xml"/>
  <Override PartName="/ppt/tags/tag438.xml" ContentType="application/vnd.openxmlformats-officedocument.presentationml.tags+xml"/>
  <Override PartName="/ppt/tags/tag439.xml" ContentType="application/vnd.openxmlformats-officedocument.presentationml.tags+xml"/>
  <Override PartName="/ppt/notesSlides/notesSlide141.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notesSlides/notesSlide142.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notesSlides/notesSlide143.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144.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145.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146.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notesSlides/notesSlide147.xml" ContentType="application/vnd.openxmlformats-officedocument.presentationml.notesSlide+xml"/>
  <Override PartName="/ppt/tags/tag463.xml" ContentType="application/vnd.openxmlformats-officedocument.presentationml.tags+xml"/>
  <Override PartName="/ppt/tags/tag464.xml" ContentType="application/vnd.openxmlformats-officedocument.presentationml.tags+xml"/>
  <Override PartName="/ppt/notesSlides/notesSlide148.xml" ContentType="application/vnd.openxmlformats-officedocument.presentationml.notesSlide+xml"/>
  <Override PartName="/ppt/charts/chart16.xml" ContentType="application/vnd.openxmlformats-officedocument.drawingml.chart+xml"/>
  <Override PartName="/ppt/tags/tag465.xml" ContentType="application/vnd.openxmlformats-officedocument.presentationml.tags+xml"/>
  <Override PartName="/ppt/notesSlides/notesSlide149.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notesSlides/notesSlide150.xml" ContentType="application/vnd.openxmlformats-officedocument.presentationml.notesSlide+xml"/>
  <Override PartName="/ppt/tags/tag475.xml" ContentType="application/vnd.openxmlformats-officedocument.presentationml.tags+xml"/>
  <Override PartName="/ppt/notesSlides/notesSlide151.xml" ContentType="application/vnd.openxmlformats-officedocument.presentationml.notesSlide+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0" r:id="rId4"/>
  </p:sldMasterIdLst>
  <p:notesMasterIdLst>
    <p:notesMasterId r:id="rId193"/>
  </p:notesMasterIdLst>
  <p:sldIdLst>
    <p:sldId id="256" r:id="rId5"/>
    <p:sldId id="2797" r:id="rId6"/>
    <p:sldId id="1437" r:id="rId7"/>
    <p:sldId id="2336" r:id="rId8"/>
    <p:sldId id="2780" r:id="rId9"/>
    <p:sldId id="2475" r:id="rId10"/>
    <p:sldId id="2337" r:id="rId11"/>
    <p:sldId id="2389" r:id="rId12"/>
    <p:sldId id="2477" r:id="rId13"/>
    <p:sldId id="272" r:id="rId14"/>
    <p:sldId id="2390" r:id="rId15"/>
    <p:sldId id="2343" r:id="rId16"/>
    <p:sldId id="2344" r:id="rId17"/>
    <p:sldId id="2320" r:id="rId18"/>
    <p:sldId id="2794" r:id="rId19"/>
    <p:sldId id="2469" r:id="rId20"/>
    <p:sldId id="2470" r:id="rId21"/>
    <p:sldId id="2471" r:id="rId22"/>
    <p:sldId id="2795" r:id="rId23"/>
    <p:sldId id="2415" r:id="rId24"/>
    <p:sldId id="337" r:id="rId25"/>
    <p:sldId id="2777" r:id="rId26"/>
    <p:sldId id="2263" r:id="rId27"/>
    <p:sldId id="2381" r:id="rId28"/>
    <p:sldId id="2372" r:id="rId29"/>
    <p:sldId id="2446" r:id="rId30"/>
    <p:sldId id="2400" r:id="rId31"/>
    <p:sldId id="2401" r:id="rId32"/>
    <p:sldId id="614" r:id="rId33"/>
    <p:sldId id="2134809457" r:id="rId34"/>
    <p:sldId id="1370" r:id="rId35"/>
    <p:sldId id="2447" r:id="rId36"/>
    <p:sldId id="1371" r:id="rId37"/>
    <p:sldId id="332" r:id="rId38"/>
    <p:sldId id="384" r:id="rId39"/>
    <p:sldId id="2779" r:id="rId40"/>
    <p:sldId id="339" r:id="rId41"/>
    <p:sldId id="340" r:id="rId42"/>
    <p:sldId id="341" r:id="rId43"/>
    <p:sldId id="344" r:id="rId44"/>
    <p:sldId id="2448" r:id="rId45"/>
    <p:sldId id="2790" r:id="rId46"/>
    <p:sldId id="2778" r:id="rId47"/>
    <p:sldId id="2134809477" r:id="rId48"/>
    <p:sldId id="2134809478" r:id="rId49"/>
    <p:sldId id="2445" r:id="rId50"/>
    <p:sldId id="265" r:id="rId51"/>
    <p:sldId id="2453" r:id="rId52"/>
    <p:sldId id="2454" r:id="rId53"/>
    <p:sldId id="2452" r:id="rId54"/>
    <p:sldId id="266" r:id="rId55"/>
    <p:sldId id="2435" r:id="rId56"/>
    <p:sldId id="2455" r:id="rId57"/>
    <p:sldId id="2328" r:id="rId58"/>
    <p:sldId id="2322" r:id="rId59"/>
    <p:sldId id="2456" r:id="rId60"/>
    <p:sldId id="2457" r:id="rId61"/>
    <p:sldId id="2782" r:id="rId62"/>
    <p:sldId id="2366" r:id="rId63"/>
    <p:sldId id="2458" r:id="rId64"/>
    <p:sldId id="2783" r:id="rId65"/>
    <p:sldId id="2771" r:id="rId66"/>
    <p:sldId id="2784" r:id="rId67"/>
    <p:sldId id="2785" r:id="rId68"/>
    <p:sldId id="2437" r:id="rId69"/>
    <p:sldId id="2285" r:id="rId70"/>
    <p:sldId id="2787" r:id="rId71"/>
    <p:sldId id="2463" r:id="rId72"/>
    <p:sldId id="2375" r:id="rId73"/>
    <p:sldId id="2386" r:id="rId74"/>
    <p:sldId id="2388" r:id="rId75"/>
    <p:sldId id="2331" r:id="rId76"/>
    <p:sldId id="770" r:id="rId77"/>
    <p:sldId id="2768" r:id="rId78"/>
    <p:sldId id="2134809502" r:id="rId79"/>
    <p:sldId id="2134809503" r:id="rId80"/>
    <p:sldId id="2134809458" r:id="rId81"/>
    <p:sldId id="2134809501" r:id="rId82"/>
    <p:sldId id="2134809490" r:id="rId83"/>
    <p:sldId id="2134809508" r:id="rId84"/>
    <p:sldId id="2134809509" r:id="rId85"/>
    <p:sldId id="257" r:id="rId86"/>
    <p:sldId id="2323" r:id="rId87"/>
    <p:sldId id="2788" r:id="rId88"/>
    <p:sldId id="2461" r:id="rId89"/>
    <p:sldId id="2382" r:id="rId90"/>
    <p:sldId id="2462" r:id="rId91"/>
    <p:sldId id="2789" r:id="rId92"/>
    <p:sldId id="2324" r:id="rId93"/>
    <p:sldId id="2419" r:id="rId94"/>
    <p:sldId id="2407" r:id="rId95"/>
    <p:sldId id="2396" r:id="rId96"/>
    <p:sldId id="2414" r:id="rId97"/>
    <p:sldId id="2786" r:id="rId98"/>
    <p:sldId id="2398" r:id="rId99"/>
    <p:sldId id="2416" r:id="rId100"/>
    <p:sldId id="1400" r:id="rId101"/>
    <p:sldId id="1401" r:id="rId102"/>
    <p:sldId id="1402" r:id="rId103"/>
    <p:sldId id="326" r:id="rId104"/>
    <p:sldId id="2440" r:id="rId105"/>
    <p:sldId id="2441" r:id="rId106"/>
    <p:sldId id="2442" r:id="rId107"/>
    <p:sldId id="2436" r:id="rId108"/>
    <p:sldId id="2438" r:id="rId109"/>
    <p:sldId id="2439" r:id="rId110"/>
    <p:sldId id="269" r:id="rId111"/>
    <p:sldId id="2796" r:id="rId112"/>
    <p:sldId id="2449" r:id="rId113"/>
    <p:sldId id="2443" r:id="rId114"/>
    <p:sldId id="2134809504" r:id="rId115"/>
    <p:sldId id="2134809482" r:id="rId116"/>
    <p:sldId id="2134809479" r:id="rId117"/>
    <p:sldId id="1366" r:id="rId118"/>
    <p:sldId id="2379" r:id="rId119"/>
    <p:sldId id="2348" r:id="rId120"/>
    <p:sldId id="2433" r:id="rId121"/>
    <p:sldId id="2434" r:id="rId122"/>
    <p:sldId id="2391" r:id="rId123"/>
    <p:sldId id="2392" r:id="rId124"/>
    <p:sldId id="2394" r:id="rId125"/>
    <p:sldId id="2451" r:id="rId126"/>
    <p:sldId id="2464" r:id="rId127"/>
    <p:sldId id="2450" r:id="rId128"/>
    <p:sldId id="2465" r:id="rId129"/>
    <p:sldId id="2349" r:id="rId130"/>
    <p:sldId id="2351" r:id="rId131"/>
    <p:sldId id="2352" r:id="rId132"/>
    <p:sldId id="2466" r:id="rId133"/>
    <p:sldId id="2467" r:id="rId134"/>
    <p:sldId id="2468" r:id="rId135"/>
    <p:sldId id="2380" r:id="rId136"/>
    <p:sldId id="2793" r:id="rId137"/>
    <p:sldId id="2410" r:id="rId138"/>
    <p:sldId id="264" r:id="rId139"/>
    <p:sldId id="2424" r:id="rId140"/>
    <p:sldId id="466" r:id="rId141"/>
    <p:sldId id="2431" r:id="rId142"/>
    <p:sldId id="412" r:id="rId143"/>
    <p:sldId id="1367" r:id="rId144"/>
    <p:sldId id="1404" r:id="rId145"/>
    <p:sldId id="2792" r:id="rId146"/>
    <p:sldId id="2411" r:id="rId147"/>
    <p:sldId id="2356" r:id="rId148"/>
    <p:sldId id="2412" r:id="rId149"/>
    <p:sldId id="2413" r:id="rId150"/>
    <p:sldId id="2134809483" r:id="rId151"/>
    <p:sldId id="2134809505" r:id="rId152"/>
    <p:sldId id="2134809484" r:id="rId153"/>
    <p:sldId id="2134809506" r:id="rId154"/>
    <p:sldId id="2134809507" r:id="rId155"/>
    <p:sldId id="2134809510" r:id="rId156"/>
    <p:sldId id="262" r:id="rId157"/>
    <p:sldId id="2134809442" r:id="rId158"/>
    <p:sldId id="2418" r:id="rId159"/>
    <p:sldId id="2364" r:id="rId160"/>
    <p:sldId id="1368" r:id="rId161"/>
    <p:sldId id="2417" r:id="rId162"/>
    <p:sldId id="2367" r:id="rId163"/>
    <p:sldId id="2369" r:id="rId164"/>
    <p:sldId id="621" r:id="rId165"/>
    <p:sldId id="2403" r:id="rId166"/>
    <p:sldId id="2791" r:id="rId167"/>
    <p:sldId id="2134809500" r:id="rId168"/>
    <p:sldId id="2937" r:id="rId169"/>
    <p:sldId id="2147472839" r:id="rId170"/>
    <p:sldId id="2146848691" r:id="rId171"/>
    <p:sldId id="270" r:id="rId172"/>
    <p:sldId id="2147472847" r:id="rId173"/>
    <p:sldId id="2147472848" r:id="rId174"/>
    <p:sldId id="2147472836" r:id="rId175"/>
    <p:sldId id="2147472838" r:id="rId176"/>
    <p:sldId id="2147472849" r:id="rId177"/>
    <p:sldId id="370" r:id="rId178"/>
    <p:sldId id="2147472843" r:id="rId179"/>
    <p:sldId id="369" r:id="rId180"/>
    <p:sldId id="2147472842" r:id="rId181"/>
    <p:sldId id="2147472840" r:id="rId182"/>
    <p:sldId id="368" r:id="rId183"/>
    <p:sldId id="2147472841" r:id="rId184"/>
    <p:sldId id="2145706549" r:id="rId185"/>
    <p:sldId id="2147472846" r:id="rId186"/>
    <p:sldId id="2146848695" r:id="rId187"/>
    <p:sldId id="2141411189" r:id="rId188"/>
    <p:sldId id="2147472850" r:id="rId189"/>
    <p:sldId id="389" r:id="rId190"/>
    <p:sldId id="2147472844" r:id="rId191"/>
    <p:sldId id="2147472845" r:id="rId192"/>
  </p:sldIdLst>
  <p:sldSz cx="12192000" cy="6858000"/>
  <p:notesSz cx="9929813" cy="6799263"/>
  <p:custDataLst>
    <p:tags r:id="rId194"/>
  </p:custDataLst>
  <p:defaultTextStyle>
    <a:defPPr>
      <a:defRPr lang="en-GB"/>
    </a:defPPr>
    <a:lvl1pPr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1pPr>
    <a:lvl2pPr marL="4572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2pPr>
    <a:lvl3pPr marL="9144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3pPr>
    <a:lvl4pPr marL="13716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4pPr>
    <a:lvl5pPr marL="18288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36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B5B9"/>
    <a:srgbClr val="C2005A"/>
    <a:srgbClr val="B40646"/>
    <a:srgbClr val="AC004E"/>
    <a:srgbClr val="9D1057"/>
    <a:srgbClr val="E7511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F029DB-5F12-48FE-92F9-D5098DAFEF14}" v="103" dt="2025-12-16T21:54:34.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13" autoAdjust="0"/>
    <p:restoredTop sz="93792" autoAdjust="0"/>
  </p:normalViewPr>
  <p:slideViewPr>
    <p:cSldViewPr snapToGrid="0">
      <p:cViewPr varScale="1">
        <p:scale>
          <a:sx n="76" d="100"/>
          <a:sy n="76" d="100"/>
        </p:scale>
        <p:origin x="147" y="33"/>
      </p:cViewPr>
      <p:guideLst>
        <p:guide orient="horz" pos="3362"/>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notesMaster" Target="notesMasters/notesMaster1.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tags" Target="tags/tag1.xml"/><Relationship Id="rId199"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presProps" Target="presProps.xml"/><Relationship Id="rId190" Type="http://schemas.openxmlformats.org/officeDocument/2006/relationships/slide" Target="slides/slide186.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viewProps" Target="viewProps.xml"/><Relationship Id="rId200" Type="http://schemas.microsoft.com/office/2015/10/relationships/revisionInfo" Target="revisionInfo.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theme" Target="theme/theme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tableStyles" Target="tableStyle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ason Jin" userId="a4b70968-441b-4713-961f-11f6cb57826b" providerId="ADAL" clId="{CCD39839-2DA1-48AD-A21E-9C616244AB40}"/>
    <pc:docChg chg="undo custSel modSld">
      <pc:chgData name="Eason Jin" userId="a4b70968-441b-4713-961f-11f6cb57826b" providerId="ADAL" clId="{CCD39839-2DA1-48AD-A21E-9C616244AB40}" dt="2025-12-16T21:54:34.412" v="132" actId="962"/>
      <pc:docMkLst>
        <pc:docMk/>
      </pc:docMkLst>
      <pc:sldChg chg="modSp">
        <pc:chgData name="Eason Jin" userId="a4b70968-441b-4713-961f-11f6cb57826b" providerId="ADAL" clId="{CCD39839-2DA1-48AD-A21E-9C616244AB40}" dt="2025-12-15T22:17:34.176" v="34" actId="962"/>
        <pc:sldMkLst>
          <pc:docMk/>
          <pc:sldMk cId="2250789208" sldId="337"/>
        </pc:sldMkLst>
        <pc:spChg chg="mod">
          <ac:chgData name="Eason Jin" userId="a4b70968-441b-4713-961f-11f6cb57826b" providerId="ADAL" clId="{CCD39839-2DA1-48AD-A21E-9C616244AB40}" dt="2025-12-15T22:17:05.779" v="28" actId="962"/>
          <ac:spMkLst>
            <pc:docMk/>
            <pc:sldMk cId="2250789208" sldId="337"/>
            <ac:spMk id="6" creationId="{1677D02F-25E3-4467-B622-8197741B4F9E}"/>
          </ac:spMkLst>
        </pc:spChg>
        <pc:spChg chg="mod">
          <ac:chgData name="Eason Jin" userId="a4b70968-441b-4713-961f-11f6cb57826b" providerId="ADAL" clId="{CCD39839-2DA1-48AD-A21E-9C616244AB40}" dt="2025-12-15T22:17:12.825" v="30" actId="962"/>
          <ac:spMkLst>
            <pc:docMk/>
            <pc:sldMk cId="2250789208" sldId="337"/>
            <ac:spMk id="7" creationId="{8CCBFE10-6B23-4EE5-AA95-AC874F7B5224}"/>
          </ac:spMkLst>
        </pc:spChg>
        <pc:spChg chg="mod">
          <ac:chgData name="Eason Jin" userId="a4b70968-441b-4713-961f-11f6cb57826b" providerId="ADAL" clId="{CCD39839-2DA1-48AD-A21E-9C616244AB40}" dt="2025-12-15T22:17:01.766" v="27" actId="962"/>
          <ac:spMkLst>
            <pc:docMk/>
            <pc:sldMk cId="2250789208" sldId="337"/>
            <ac:spMk id="9" creationId="{C2DAF271-12F6-4AB5-AF74-18190239D761}"/>
          </ac:spMkLst>
        </pc:spChg>
        <pc:spChg chg="mod">
          <ac:chgData name="Eason Jin" userId="a4b70968-441b-4713-961f-11f6cb57826b" providerId="ADAL" clId="{CCD39839-2DA1-48AD-A21E-9C616244AB40}" dt="2025-12-15T22:17:09.519" v="29" actId="962"/>
          <ac:spMkLst>
            <pc:docMk/>
            <pc:sldMk cId="2250789208" sldId="337"/>
            <ac:spMk id="10" creationId="{D78E4447-583B-41C3-89A6-F3656E1DC084}"/>
          </ac:spMkLst>
        </pc:spChg>
        <pc:spChg chg="mod">
          <ac:chgData name="Eason Jin" userId="a4b70968-441b-4713-961f-11f6cb57826b" providerId="ADAL" clId="{CCD39839-2DA1-48AD-A21E-9C616244AB40}" dt="2025-12-15T22:17:21.394" v="31" actId="962"/>
          <ac:spMkLst>
            <pc:docMk/>
            <pc:sldMk cId="2250789208" sldId="337"/>
            <ac:spMk id="11" creationId="{35C6B34F-AB3D-44D3-B27B-DEB338833C19}"/>
          </ac:spMkLst>
        </pc:spChg>
        <pc:spChg chg="mod">
          <ac:chgData name="Eason Jin" userId="a4b70968-441b-4713-961f-11f6cb57826b" providerId="ADAL" clId="{CCD39839-2DA1-48AD-A21E-9C616244AB40}" dt="2025-12-15T22:17:34.176" v="34" actId="962"/>
          <ac:spMkLst>
            <pc:docMk/>
            <pc:sldMk cId="2250789208" sldId="337"/>
            <ac:spMk id="17" creationId="{41E98F42-2EDD-4FD9-AB2C-8620B82B890B}"/>
          </ac:spMkLst>
        </pc:spChg>
        <pc:spChg chg="mod">
          <ac:chgData name="Eason Jin" userId="a4b70968-441b-4713-961f-11f6cb57826b" providerId="ADAL" clId="{CCD39839-2DA1-48AD-A21E-9C616244AB40}" dt="2025-12-15T22:17:28.921" v="33" actId="962"/>
          <ac:spMkLst>
            <pc:docMk/>
            <pc:sldMk cId="2250789208" sldId="337"/>
            <ac:spMk id="21" creationId="{8C4AFBE4-3B88-402F-98C0-187D4B6541A7}"/>
          </ac:spMkLst>
        </pc:spChg>
        <pc:spChg chg="mod">
          <ac:chgData name="Eason Jin" userId="a4b70968-441b-4713-961f-11f6cb57826b" providerId="ADAL" clId="{CCD39839-2DA1-48AD-A21E-9C616244AB40}" dt="2025-12-15T22:17:25.470" v="32" actId="962"/>
          <ac:spMkLst>
            <pc:docMk/>
            <pc:sldMk cId="2250789208" sldId="337"/>
            <ac:spMk id="22" creationId="{8D743296-FF56-48B2-82AB-7950CB3BAD32}"/>
          </ac:spMkLst>
        </pc:spChg>
      </pc:sldChg>
      <pc:sldChg chg="modSp mod">
        <pc:chgData name="Eason Jin" userId="a4b70968-441b-4713-961f-11f6cb57826b" providerId="ADAL" clId="{CCD39839-2DA1-48AD-A21E-9C616244AB40}" dt="2025-12-16T21:40:47.204" v="119" actId="1076"/>
        <pc:sldMkLst>
          <pc:docMk/>
          <pc:sldMk cId="3040273272" sldId="412"/>
        </pc:sldMkLst>
        <pc:spChg chg="mod">
          <ac:chgData name="Eason Jin" userId="a4b70968-441b-4713-961f-11f6cb57826b" providerId="ADAL" clId="{CCD39839-2DA1-48AD-A21E-9C616244AB40}" dt="2025-12-16T21:40:47.204" v="119" actId="1076"/>
          <ac:spMkLst>
            <pc:docMk/>
            <pc:sldMk cId="3040273272" sldId="412"/>
            <ac:spMk id="33" creationId="{91968F8D-B7F9-4F17-93B2-1FD5DC0C965A}"/>
          </ac:spMkLst>
        </pc:spChg>
        <pc:spChg chg="mod">
          <ac:chgData name="Eason Jin" userId="a4b70968-441b-4713-961f-11f6cb57826b" providerId="ADAL" clId="{CCD39839-2DA1-48AD-A21E-9C616244AB40}" dt="2025-12-16T21:39:00.834" v="118" actId="1076"/>
          <ac:spMkLst>
            <pc:docMk/>
            <pc:sldMk cId="3040273272" sldId="412"/>
            <ac:spMk id="48" creationId="{5416D748-AA19-4C59-94FE-E9043343B903}"/>
          </ac:spMkLst>
        </pc:spChg>
      </pc:sldChg>
      <pc:sldChg chg="modSp">
        <pc:chgData name="Eason Jin" userId="a4b70968-441b-4713-961f-11f6cb57826b" providerId="ADAL" clId="{CCD39839-2DA1-48AD-A21E-9C616244AB40}" dt="2025-12-15T23:42:43.124" v="50" actId="962"/>
        <pc:sldMkLst>
          <pc:docMk/>
          <pc:sldMk cId="668787639" sldId="2285"/>
        </pc:sldMkLst>
        <pc:spChg chg="mod">
          <ac:chgData name="Eason Jin" userId="a4b70968-441b-4713-961f-11f6cb57826b" providerId="ADAL" clId="{CCD39839-2DA1-48AD-A21E-9C616244AB40}" dt="2025-12-15T23:42:07.812" v="43" actId="962"/>
          <ac:spMkLst>
            <pc:docMk/>
            <pc:sldMk cId="668787639" sldId="2285"/>
            <ac:spMk id="7" creationId="{43024962-1DFC-452E-8ABC-3474FC841F6E}"/>
          </ac:spMkLst>
        </pc:spChg>
        <pc:spChg chg="mod">
          <ac:chgData name="Eason Jin" userId="a4b70968-441b-4713-961f-11f6cb57826b" providerId="ADAL" clId="{CCD39839-2DA1-48AD-A21E-9C616244AB40}" dt="2025-12-15T23:42:15.958" v="45" actId="962"/>
          <ac:spMkLst>
            <pc:docMk/>
            <pc:sldMk cId="668787639" sldId="2285"/>
            <ac:spMk id="20" creationId="{6AA23BF0-4950-4A8E-BBDD-15C34B7BBD2A}"/>
          </ac:spMkLst>
        </pc:spChg>
        <pc:spChg chg="mod">
          <ac:chgData name="Eason Jin" userId="a4b70968-441b-4713-961f-11f6cb57826b" providerId="ADAL" clId="{CCD39839-2DA1-48AD-A21E-9C616244AB40}" dt="2025-12-15T23:42:24.492" v="47" actId="962"/>
          <ac:spMkLst>
            <pc:docMk/>
            <pc:sldMk cId="668787639" sldId="2285"/>
            <ac:spMk id="22" creationId="{758EDF9E-F5E6-4955-9BAF-959FC2D0AEA3}"/>
          </ac:spMkLst>
        </pc:spChg>
        <pc:spChg chg="mod">
          <ac:chgData name="Eason Jin" userId="a4b70968-441b-4713-961f-11f6cb57826b" providerId="ADAL" clId="{CCD39839-2DA1-48AD-A21E-9C616244AB40}" dt="2025-12-15T23:42:33.664" v="49" actId="962"/>
          <ac:spMkLst>
            <pc:docMk/>
            <pc:sldMk cId="668787639" sldId="2285"/>
            <ac:spMk id="28" creationId="{93793384-8B68-468D-9404-D8CDC49C2D5D}"/>
          </ac:spMkLst>
        </pc:spChg>
        <pc:spChg chg="mod">
          <ac:chgData name="Eason Jin" userId="a4b70968-441b-4713-961f-11f6cb57826b" providerId="ADAL" clId="{CCD39839-2DA1-48AD-A21E-9C616244AB40}" dt="2025-12-15T23:42:12.226" v="44" actId="962"/>
          <ac:spMkLst>
            <pc:docMk/>
            <pc:sldMk cId="668787639" sldId="2285"/>
            <ac:spMk id="42" creationId="{5BF72EA8-819B-4CF3-BA75-5585EEA818A9}"/>
          </ac:spMkLst>
        </pc:spChg>
        <pc:spChg chg="mod">
          <ac:chgData name="Eason Jin" userId="a4b70968-441b-4713-961f-11f6cb57826b" providerId="ADAL" clId="{CCD39839-2DA1-48AD-A21E-9C616244AB40}" dt="2025-12-15T23:42:20.283" v="46" actId="962"/>
          <ac:spMkLst>
            <pc:docMk/>
            <pc:sldMk cId="668787639" sldId="2285"/>
            <ac:spMk id="44" creationId="{8170BBC1-1CDF-4B0C-BD7F-E482448A03E2}"/>
          </ac:spMkLst>
        </pc:spChg>
        <pc:spChg chg="mod">
          <ac:chgData name="Eason Jin" userId="a4b70968-441b-4713-961f-11f6cb57826b" providerId="ADAL" clId="{CCD39839-2DA1-48AD-A21E-9C616244AB40}" dt="2025-12-15T23:42:29.311" v="48" actId="962"/>
          <ac:spMkLst>
            <pc:docMk/>
            <pc:sldMk cId="668787639" sldId="2285"/>
            <ac:spMk id="46" creationId="{C0BE90CE-C933-4A5D-82BE-082A24426902}"/>
          </ac:spMkLst>
        </pc:spChg>
        <pc:spChg chg="mod">
          <ac:chgData name="Eason Jin" userId="a4b70968-441b-4713-961f-11f6cb57826b" providerId="ADAL" clId="{CCD39839-2DA1-48AD-A21E-9C616244AB40}" dt="2025-12-15T23:42:43.124" v="50" actId="962"/>
          <ac:spMkLst>
            <pc:docMk/>
            <pc:sldMk cId="668787639" sldId="2285"/>
            <ac:spMk id="48" creationId="{7F4F3C6B-2B30-4342-9FDF-7D697F3B10B8}"/>
          </ac:spMkLst>
        </pc:spChg>
      </pc:sldChg>
      <pc:sldChg chg="modSp">
        <pc:chgData name="Eason Jin" userId="a4b70968-441b-4713-961f-11f6cb57826b" providerId="ADAL" clId="{CCD39839-2DA1-48AD-A21E-9C616244AB40}" dt="2025-12-16T01:03:21.162" v="84" actId="962"/>
        <pc:sldMkLst>
          <pc:docMk/>
          <pc:sldMk cId="1493345524" sldId="2323"/>
        </pc:sldMkLst>
        <pc:spChg chg="mod">
          <ac:chgData name="Eason Jin" userId="a4b70968-441b-4713-961f-11f6cb57826b" providerId="ADAL" clId="{CCD39839-2DA1-48AD-A21E-9C616244AB40}" dt="2025-12-16T01:03:21.162" v="84" actId="962"/>
          <ac:spMkLst>
            <pc:docMk/>
            <pc:sldMk cId="1493345524" sldId="2323"/>
            <ac:spMk id="34" creationId="{A755E53D-66B1-40CC-9CA3-7A333D6FBF56}"/>
          </ac:spMkLst>
        </pc:spChg>
      </pc:sldChg>
      <pc:sldChg chg="modSp">
        <pc:chgData name="Eason Jin" userId="a4b70968-441b-4713-961f-11f6cb57826b" providerId="ADAL" clId="{CCD39839-2DA1-48AD-A21E-9C616244AB40}" dt="2025-12-16T00:01:59.907" v="68" actId="962"/>
        <pc:sldMkLst>
          <pc:docMk/>
          <pc:sldMk cId="3963086236" sldId="2331"/>
        </pc:sldMkLst>
        <pc:spChg chg="mod">
          <ac:chgData name="Eason Jin" userId="a4b70968-441b-4713-961f-11f6cb57826b" providerId="ADAL" clId="{CCD39839-2DA1-48AD-A21E-9C616244AB40}" dt="2025-12-16T00:01:38.574" v="64" actId="962"/>
          <ac:spMkLst>
            <pc:docMk/>
            <pc:sldMk cId="3963086236" sldId="2331"/>
            <ac:spMk id="14" creationId="{A210AC8E-2608-4BE2-AD12-2FD285A5EACF}"/>
          </ac:spMkLst>
        </pc:spChg>
        <pc:spChg chg="mod">
          <ac:chgData name="Eason Jin" userId="a4b70968-441b-4713-961f-11f6cb57826b" providerId="ADAL" clId="{CCD39839-2DA1-48AD-A21E-9C616244AB40}" dt="2025-12-16T00:01:44.091" v="65" actId="962"/>
          <ac:spMkLst>
            <pc:docMk/>
            <pc:sldMk cId="3963086236" sldId="2331"/>
            <ac:spMk id="19" creationId="{A458AD7C-639E-42F5-876A-B84EC45F859D}"/>
          </ac:spMkLst>
        </pc:spChg>
        <pc:spChg chg="mod">
          <ac:chgData name="Eason Jin" userId="a4b70968-441b-4713-961f-11f6cb57826b" providerId="ADAL" clId="{CCD39839-2DA1-48AD-A21E-9C616244AB40}" dt="2025-12-16T00:01:56.042" v="67" actId="962"/>
          <ac:spMkLst>
            <pc:docMk/>
            <pc:sldMk cId="3963086236" sldId="2331"/>
            <ac:spMk id="30" creationId="{589AC65F-2E13-48E0-A345-C32601B7AB9C}"/>
          </ac:spMkLst>
        </pc:spChg>
        <pc:spChg chg="mod">
          <ac:chgData name="Eason Jin" userId="a4b70968-441b-4713-961f-11f6cb57826b" providerId="ADAL" clId="{CCD39839-2DA1-48AD-A21E-9C616244AB40}" dt="2025-12-16T00:01:48.633" v="66" actId="962"/>
          <ac:spMkLst>
            <pc:docMk/>
            <pc:sldMk cId="3963086236" sldId="2331"/>
            <ac:spMk id="32" creationId="{837A98A0-5086-46F0-982F-93AD690BD150}"/>
          </ac:spMkLst>
        </pc:spChg>
        <pc:spChg chg="mod">
          <ac:chgData name="Eason Jin" userId="a4b70968-441b-4713-961f-11f6cb57826b" providerId="ADAL" clId="{CCD39839-2DA1-48AD-A21E-9C616244AB40}" dt="2025-12-16T00:01:59.907" v="68" actId="962"/>
          <ac:spMkLst>
            <pc:docMk/>
            <pc:sldMk cId="3963086236" sldId="2331"/>
            <ac:spMk id="34" creationId="{5F0E8623-9AE1-4170-A89C-130FA69391E8}"/>
          </ac:spMkLst>
        </pc:spChg>
      </pc:sldChg>
      <pc:sldChg chg="addSp delSp modSp mod">
        <pc:chgData name="Eason Jin" userId="a4b70968-441b-4713-961f-11f6cb57826b" providerId="ADAL" clId="{CCD39839-2DA1-48AD-A21E-9C616244AB40}" dt="2025-12-12T02:03:20.632" v="4" actId="478"/>
        <pc:sldMkLst>
          <pc:docMk/>
          <pc:sldMk cId="1638190816" sldId="2337"/>
        </pc:sldMkLst>
        <pc:graphicFrameChg chg="add del">
          <ac:chgData name="Eason Jin" userId="a4b70968-441b-4713-961f-11f6cb57826b" providerId="ADAL" clId="{CCD39839-2DA1-48AD-A21E-9C616244AB40}" dt="2025-12-12T02:03:12.123" v="3" actId="478"/>
          <ac:graphicFrameMkLst>
            <pc:docMk/>
            <pc:sldMk cId="1638190816" sldId="2337"/>
            <ac:graphicFrameMk id="14" creationId="{03416528-D28E-4950-866C-6AC9C98F89EE}"/>
          </ac:graphicFrameMkLst>
        </pc:graphicFrameChg>
      </pc:sldChg>
      <pc:sldChg chg="modSp mod">
        <pc:chgData name="Eason Jin" userId="a4b70968-441b-4713-961f-11f6cb57826b" providerId="ADAL" clId="{CCD39839-2DA1-48AD-A21E-9C616244AB40}" dt="2025-12-15T21:37:22.255" v="21" actId="14429"/>
        <pc:sldMkLst>
          <pc:docMk/>
          <pc:sldMk cId="798313815" sldId="2344"/>
        </pc:sldMkLst>
        <pc:spChg chg="ord">
          <ac:chgData name="Eason Jin" userId="a4b70968-441b-4713-961f-11f6cb57826b" providerId="ADAL" clId="{CCD39839-2DA1-48AD-A21E-9C616244AB40}" dt="2025-12-15T21:37:20.973" v="19" actId="13244"/>
          <ac:spMkLst>
            <pc:docMk/>
            <pc:sldMk cId="798313815" sldId="2344"/>
            <ac:spMk id="2" creationId="{6EFDD406-0516-49CC-AAE7-E5586BA0D186}"/>
          </ac:spMkLst>
        </pc:spChg>
        <pc:spChg chg="mod modVis">
          <ac:chgData name="Eason Jin" userId="a4b70968-441b-4713-961f-11f6cb57826b" providerId="ADAL" clId="{CCD39839-2DA1-48AD-A21E-9C616244AB40}" dt="2025-12-15T21:37:21.546" v="20" actId="14429"/>
          <ac:spMkLst>
            <pc:docMk/>
            <pc:sldMk cId="798313815" sldId="2344"/>
            <ac:spMk id="4" creationId="{E16B3DA0-1F5E-4252-B3C3-A5512A3A9F75}"/>
          </ac:spMkLst>
        </pc:spChg>
        <pc:graphicFrameChg chg="mod modVis">
          <ac:chgData name="Eason Jin" userId="a4b70968-441b-4713-961f-11f6cb57826b" providerId="ADAL" clId="{CCD39839-2DA1-48AD-A21E-9C616244AB40}" dt="2025-12-15T21:37:22.255" v="21" actId="14429"/>
          <ac:graphicFrameMkLst>
            <pc:docMk/>
            <pc:sldMk cId="798313815" sldId="2344"/>
            <ac:graphicFrameMk id="3" creationId="{EB1068A5-1B0B-49AA-87DD-DF0537659AC8}"/>
          </ac:graphicFrameMkLst>
        </pc:graphicFrameChg>
      </pc:sldChg>
      <pc:sldChg chg="modSp">
        <pc:chgData name="Eason Jin" userId="a4b70968-441b-4713-961f-11f6cb57826b" providerId="ADAL" clId="{CCD39839-2DA1-48AD-A21E-9C616244AB40}" dt="2025-12-16T03:49:45.614" v="102" actId="962"/>
        <pc:sldMkLst>
          <pc:docMk/>
          <pc:sldMk cId="3521581707" sldId="2352"/>
        </pc:sldMkLst>
        <pc:spChg chg="mod">
          <ac:chgData name="Eason Jin" userId="a4b70968-441b-4713-961f-11f6cb57826b" providerId="ADAL" clId="{CCD39839-2DA1-48AD-A21E-9C616244AB40}" dt="2025-12-16T03:49:33.375" v="98" actId="962"/>
          <ac:spMkLst>
            <pc:docMk/>
            <pc:sldMk cId="3521581707" sldId="2352"/>
            <ac:spMk id="35" creationId="{EA32552B-3029-4052-8131-C7408BB607E5}"/>
          </ac:spMkLst>
        </pc:spChg>
        <pc:spChg chg="mod">
          <ac:chgData name="Eason Jin" userId="a4b70968-441b-4713-961f-11f6cb57826b" providerId="ADAL" clId="{CCD39839-2DA1-48AD-A21E-9C616244AB40}" dt="2025-12-16T03:49:36.690" v="99" actId="962"/>
          <ac:spMkLst>
            <pc:docMk/>
            <pc:sldMk cId="3521581707" sldId="2352"/>
            <ac:spMk id="36" creationId="{7917EBFC-6F0A-489A-B944-903C6A19ABE6}"/>
          </ac:spMkLst>
        </pc:spChg>
        <pc:spChg chg="mod">
          <ac:chgData name="Eason Jin" userId="a4b70968-441b-4713-961f-11f6cb57826b" providerId="ADAL" clId="{CCD39839-2DA1-48AD-A21E-9C616244AB40}" dt="2025-12-16T03:49:39.624" v="100" actId="962"/>
          <ac:spMkLst>
            <pc:docMk/>
            <pc:sldMk cId="3521581707" sldId="2352"/>
            <ac:spMk id="37" creationId="{34204E22-65E7-4E3F-8A03-D8D6D6B5887B}"/>
          </ac:spMkLst>
        </pc:spChg>
        <pc:spChg chg="mod">
          <ac:chgData name="Eason Jin" userId="a4b70968-441b-4713-961f-11f6cb57826b" providerId="ADAL" clId="{CCD39839-2DA1-48AD-A21E-9C616244AB40}" dt="2025-12-16T03:49:42.389" v="101" actId="962"/>
          <ac:spMkLst>
            <pc:docMk/>
            <pc:sldMk cId="3521581707" sldId="2352"/>
            <ac:spMk id="38" creationId="{DFD765BE-B953-43A2-AB78-5A3A7ACA8E4D}"/>
          </ac:spMkLst>
        </pc:spChg>
        <pc:spChg chg="mod">
          <ac:chgData name="Eason Jin" userId="a4b70968-441b-4713-961f-11f6cb57826b" providerId="ADAL" clId="{CCD39839-2DA1-48AD-A21E-9C616244AB40}" dt="2025-12-16T03:49:45.614" v="102" actId="962"/>
          <ac:spMkLst>
            <pc:docMk/>
            <pc:sldMk cId="3521581707" sldId="2352"/>
            <ac:spMk id="39" creationId="{46B1185A-5839-4CD2-AF36-E972C3DCEAC8}"/>
          </ac:spMkLst>
        </pc:spChg>
        <pc:spChg chg="mod">
          <ac:chgData name="Eason Jin" userId="a4b70968-441b-4713-961f-11f6cb57826b" providerId="ADAL" clId="{CCD39839-2DA1-48AD-A21E-9C616244AB40}" dt="2025-12-16T03:49:29.404" v="97" actId="962"/>
          <ac:spMkLst>
            <pc:docMk/>
            <pc:sldMk cId="3521581707" sldId="2352"/>
            <ac:spMk id="60" creationId="{00000000-0000-0000-0000-000000000000}"/>
          </ac:spMkLst>
        </pc:spChg>
      </pc:sldChg>
      <pc:sldChg chg="modSp">
        <pc:chgData name="Eason Jin" userId="a4b70968-441b-4713-961f-11f6cb57826b" providerId="ADAL" clId="{CCD39839-2DA1-48AD-A21E-9C616244AB40}" dt="2025-12-16T21:52:11.540" v="125" actId="962"/>
        <pc:sldMkLst>
          <pc:docMk/>
          <pc:sldMk cId="451438544" sldId="2356"/>
        </pc:sldMkLst>
        <pc:spChg chg="mod">
          <ac:chgData name="Eason Jin" userId="a4b70968-441b-4713-961f-11f6cb57826b" providerId="ADAL" clId="{CCD39839-2DA1-48AD-A21E-9C616244AB40}" dt="2025-12-16T21:52:04.905" v="123" actId="962"/>
          <ac:spMkLst>
            <pc:docMk/>
            <pc:sldMk cId="451438544" sldId="2356"/>
            <ac:spMk id="21" creationId="{0979D879-A615-4E2F-89F1-A015789410E8}"/>
          </ac:spMkLst>
        </pc:spChg>
        <pc:spChg chg="mod">
          <ac:chgData name="Eason Jin" userId="a4b70968-441b-4713-961f-11f6cb57826b" providerId="ADAL" clId="{CCD39839-2DA1-48AD-A21E-9C616244AB40}" dt="2025-12-16T21:52:11.540" v="125" actId="962"/>
          <ac:spMkLst>
            <pc:docMk/>
            <pc:sldMk cId="451438544" sldId="2356"/>
            <ac:spMk id="22" creationId="{C3273DE7-EA89-490B-B7BD-663D9806B22B}"/>
          </ac:spMkLst>
        </pc:spChg>
        <pc:spChg chg="mod">
          <ac:chgData name="Eason Jin" userId="a4b70968-441b-4713-961f-11f6cb57826b" providerId="ADAL" clId="{CCD39839-2DA1-48AD-A21E-9C616244AB40}" dt="2025-12-16T21:52:07.822" v="124" actId="962"/>
          <ac:spMkLst>
            <pc:docMk/>
            <pc:sldMk cId="451438544" sldId="2356"/>
            <ac:spMk id="2260" creationId="{00000000-0000-0000-0000-000000000000}"/>
          </ac:spMkLst>
        </pc:spChg>
      </pc:sldChg>
      <pc:sldChg chg="modSp mod">
        <pc:chgData name="Eason Jin" userId="a4b70968-441b-4713-961f-11f6cb57826b" providerId="ADAL" clId="{CCD39839-2DA1-48AD-A21E-9C616244AB40}" dt="2025-12-15T22:36:45.092" v="38" actId="14429"/>
        <pc:sldMkLst>
          <pc:docMk/>
          <pc:sldMk cId="3544663391" sldId="2372"/>
        </pc:sldMkLst>
        <pc:spChg chg="mod modVis">
          <ac:chgData name="Eason Jin" userId="a4b70968-441b-4713-961f-11f6cb57826b" providerId="ADAL" clId="{CCD39839-2DA1-48AD-A21E-9C616244AB40}" dt="2025-12-15T22:36:44.088" v="37" actId="14429"/>
          <ac:spMkLst>
            <pc:docMk/>
            <pc:sldMk cId="3544663391" sldId="2372"/>
            <ac:spMk id="50" creationId="{FE01FAF8-0C85-4F2B-87FB-FCEFEBA32B36}"/>
          </ac:spMkLst>
        </pc:spChg>
        <pc:graphicFrameChg chg="mod modVis">
          <ac:chgData name="Eason Jin" userId="a4b70968-441b-4713-961f-11f6cb57826b" providerId="ADAL" clId="{CCD39839-2DA1-48AD-A21E-9C616244AB40}" dt="2025-12-15T22:36:45.092" v="38" actId="14429"/>
          <ac:graphicFrameMkLst>
            <pc:docMk/>
            <pc:sldMk cId="3544663391" sldId="2372"/>
            <ac:graphicFrameMk id="51" creationId="{3039D96A-7C9C-4A39-A9D8-7F953D16BB03}"/>
          </ac:graphicFrameMkLst>
        </pc:graphicFrameChg>
      </pc:sldChg>
      <pc:sldChg chg="modSp">
        <pc:chgData name="Eason Jin" userId="a4b70968-441b-4713-961f-11f6cb57826b" providerId="ADAL" clId="{CCD39839-2DA1-48AD-A21E-9C616244AB40}" dt="2025-12-15T23:53:10.001" v="63" actId="962"/>
        <pc:sldMkLst>
          <pc:docMk/>
          <pc:sldMk cId="1288047545" sldId="2375"/>
        </pc:sldMkLst>
        <pc:spChg chg="mod">
          <ac:chgData name="Eason Jin" userId="a4b70968-441b-4713-961f-11f6cb57826b" providerId="ADAL" clId="{CCD39839-2DA1-48AD-A21E-9C616244AB40}" dt="2025-12-15T23:51:23.225" v="62" actId="962"/>
          <ac:spMkLst>
            <pc:docMk/>
            <pc:sldMk cId="1288047545" sldId="2375"/>
            <ac:spMk id="29" creationId="{20CB93CD-E41C-4A07-9A67-FE7AFF324089}"/>
          </ac:spMkLst>
        </pc:spChg>
        <pc:spChg chg="mod">
          <ac:chgData name="Eason Jin" userId="a4b70968-441b-4713-961f-11f6cb57826b" providerId="ADAL" clId="{CCD39839-2DA1-48AD-A21E-9C616244AB40}" dt="2025-12-15T23:53:10.001" v="63" actId="962"/>
          <ac:spMkLst>
            <pc:docMk/>
            <pc:sldMk cId="1288047545" sldId="2375"/>
            <ac:spMk id="31" creationId="{0AD37F33-0414-45A5-8FE4-8187246D5D1B}"/>
          </ac:spMkLst>
        </pc:spChg>
      </pc:sldChg>
      <pc:sldChg chg="modSp mod">
        <pc:chgData name="Eason Jin" userId="a4b70968-441b-4713-961f-11f6cb57826b" providerId="ADAL" clId="{CCD39839-2DA1-48AD-A21E-9C616244AB40}" dt="2025-12-15T21:24:03.843" v="18" actId="14429"/>
        <pc:sldMkLst>
          <pc:docMk/>
          <pc:sldMk cId="283058484" sldId="2390"/>
        </pc:sldMkLst>
        <pc:spChg chg="mod modVis">
          <ac:chgData name="Eason Jin" userId="a4b70968-441b-4713-961f-11f6cb57826b" providerId="ADAL" clId="{CCD39839-2DA1-48AD-A21E-9C616244AB40}" dt="2025-12-15T21:24:00.348" v="14" actId="14429"/>
          <ac:spMkLst>
            <pc:docMk/>
            <pc:sldMk cId="283058484" sldId="2390"/>
            <ac:spMk id="8" creationId="{809C7BF8-F65D-4AA8-B0DE-799CF8958DB1}"/>
          </ac:spMkLst>
        </pc:spChg>
        <pc:spChg chg="mod modVis">
          <ac:chgData name="Eason Jin" userId="a4b70968-441b-4713-961f-11f6cb57826b" providerId="ADAL" clId="{CCD39839-2DA1-48AD-A21E-9C616244AB40}" dt="2025-12-15T21:24:01.359" v="16" actId="14429"/>
          <ac:spMkLst>
            <pc:docMk/>
            <pc:sldMk cId="283058484" sldId="2390"/>
            <ac:spMk id="9" creationId="{BBD849EF-CA35-4281-AD3C-8238C8872445}"/>
          </ac:spMkLst>
        </pc:spChg>
        <pc:spChg chg="mod modVis">
          <ac:chgData name="Eason Jin" userId="a4b70968-441b-4713-961f-11f6cb57826b" providerId="ADAL" clId="{CCD39839-2DA1-48AD-A21E-9C616244AB40}" dt="2025-12-15T21:24:03.843" v="18" actId="14429"/>
          <ac:spMkLst>
            <pc:docMk/>
            <pc:sldMk cId="283058484" sldId="2390"/>
            <ac:spMk id="11" creationId="{5DE9929B-9F50-44FD-A9A4-B4A11D57E9D0}"/>
          </ac:spMkLst>
        </pc:spChg>
        <pc:spChg chg="mod modVis">
          <ac:chgData name="Eason Jin" userId="a4b70968-441b-4713-961f-11f6cb57826b" providerId="ADAL" clId="{CCD39839-2DA1-48AD-A21E-9C616244AB40}" dt="2025-12-15T21:23:52.793" v="8" actId="14429"/>
          <ac:spMkLst>
            <pc:docMk/>
            <pc:sldMk cId="283058484" sldId="2390"/>
            <ac:spMk id="14" creationId="{48CE3A40-1F04-4E85-B238-764CBD20AB03}"/>
          </ac:spMkLst>
        </pc:spChg>
        <pc:spChg chg="mod modVis">
          <ac:chgData name="Eason Jin" userId="a4b70968-441b-4713-961f-11f6cb57826b" providerId="ADAL" clId="{CCD39839-2DA1-48AD-A21E-9C616244AB40}" dt="2025-12-15T21:23:54.433" v="10" actId="14429"/>
          <ac:spMkLst>
            <pc:docMk/>
            <pc:sldMk cId="283058484" sldId="2390"/>
            <ac:spMk id="15" creationId="{F98572CF-0E58-466E-A686-C4196BE37157}"/>
          </ac:spMkLst>
        </pc:spChg>
        <pc:spChg chg="mod modVis">
          <ac:chgData name="Eason Jin" userId="a4b70968-441b-4713-961f-11f6cb57826b" providerId="ADAL" clId="{CCD39839-2DA1-48AD-A21E-9C616244AB40}" dt="2025-12-15T21:23:57.981" v="12" actId="14429"/>
          <ac:spMkLst>
            <pc:docMk/>
            <pc:sldMk cId="283058484" sldId="2390"/>
            <ac:spMk id="33" creationId="{F60D1AE7-1C58-43DE-A879-59ACE9C7C83D}"/>
          </ac:spMkLst>
        </pc:spChg>
      </pc:sldChg>
      <pc:sldChg chg="modSp">
        <pc:chgData name="Eason Jin" userId="a4b70968-441b-4713-961f-11f6cb57826b" providerId="ADAL" clId="{CCD39839-2DA1-48AD-A21E-9C616244AB40}" dt="2025-12-16T01:17:56.621" v="91" actId="962"/>
        <pc:sldMkLst>
          <pc:docMk/>
          <pc:sldMk cId="2967690618" sldId="2396"/>
        </pc:sldMkLst>
        <pc:spChg chg="mod">
          <ac:chgData name="Eason Jin" userId="a4b70968-441b-4713-961f-11f6cb57826b" providerId="ADAL" clId="{CCD39839-2DA1-48AD-A21E-9C616244AB40}" dt="2025-12-16T01:17:53.101" v="90" actId="962"/>
          <ac:spMkLst>
            <pc:docMk/>
            <pc:sldMk cId="2967690618" sldId="2396"/>
            <ac:spMk id="19" creationId="{0057A7D6-555A-46D4-9EA4-441BB3BB62B9}"/>
          </ac:spMkLst>
        </pc:spChg>
        <pc:spChg chg="mod">
          <ac:chgData name="Eason Jin" userId="a4b70968-441b-4713-961f-11f6cb57826b" providerId="ADAL" clId="{CCD39839-2DA1-48AD-A21E-9C616244AB40}" dt="2025-12-16T01:17:56.621" v="91" actId="962"/>
          <ac:spMkLst>
            <pc:docMk/>
            <pc:sldMk cId="2967690618" sldId="2396"/>
            <ac:spMk id="23" creationId="{91905689-E715-4B3A-9A41-BA4ABCFDC5D4}"/>
          </ac:spMkLst>
        </pc:spChg>
      </pc:sldChg>
      <pc:sldChg chg="modSp mod">
        <pc:chgData name="Eason Jin" userId="a4b70968-441b-4713-961f-11f6cb57826b" providerId="ADAL" clId="{CCD39839-2DA1-48AD-A21E-9C616244AB40}" dt="2025-12-16T01:25:53.765" v="96" actId="14429"/>
        <pc:sldMkLst>
          <pc:docMk/>
          <pc:sldMk cId="3363750343" sldId="2398"/>
        </pc:sldMkLst>
        <pc:spChg chg="mod modVis">
          <ac:chgData name="Eason Jin" userId="a4b70968-441b-4713-961f-11f6cb57826b" providerId="ADAL" clId="{CCD39839-2DA1-48AD-A21E-9C616244AB40}" dt="2025-12-16T01:25:53.177" v="95" actId="14429"/>
          <ac:spMkLst>
            <pc:docMk/>
            <pc:sldMk cId="3363750343" sldId="2398"/>
            <ac:spMk id="2" creationId="{CBAB18E5-1903-4105-B7F4-E2341130BD2C}"/>
          </ac:spMkLst>
        </pc:spChg>
        <pc:graphicFrameChg chg="mod modVis">
          <ac:chgData name="Eason Jin" userId="a4b70968-441b-4713-961f-11f6cb57826b" providerId="ADAL" clId="{CCD39839-2DA1-48AD-A21E-9C616244AB40}" dt="2025-12-16T01:25:53.765" v="96" actId="14429"/>
          <ac:graphicFrameMkLst>
            <pc:docMk/>
            <pc:sldMk cId="3363750343" sldId="2398"/>
            <ac:graphicFrameMk id="7" creationId="{00000000-0000-0000-0000-000000000000}"/>
          </ac:graphicFrameMkLst>
        </pc:graphicFrameChg>
      </pc:sldChg>
      <pc:sldChg chg="modSp">
        <pc:chgData name="Eason Jin" userId="a4b70968-441b-4713-961f-11f6cb57826b" providerId="ADAL" clId="{CCD39839-2DA1-48AD-A21E-9C616244AB40}" dt="2025-12-16T21:47:23.651" v="122" actId="962"/>
        <pc:sldMkLst>
          <pc:docMk/>
          <pc:sldMk cId="3168993519" sldId="2411"/>
        </pc:sldMkLst>
        <pc:spChg chg="mod">
          <ac:chgData name="Eason Jin" userId="a4b70968-441b-4713-961f-11f6cb57826b" providerId="ADAL" clId="{CCD39839-2DA1-48AD-A21E-9C616244AB40}" dt="2025-12-16T21:47:16.973" v="120" actId="962"/>
          <ac:spMkLst>
            <pc:docMk/>
            <pc:sldMk cId="3168993519" sldId="2411"/>
            <ac:spMk id="33" creationId="{66BCA0BC-6C70-42A7-B74E-7A54168D6357}"/>
          </ac:spMkLst>
        </pc:spChg>
        <pc:spChg chg="mod">
          <ac:chgData name="Eason Jin" userId="a4b70968-441b-4713-961f-11f6cb57826b" providerId="ADAL" clId="{CCD39839-2DA1-48AD-A21E-9C616244AB40}" dt="2025-12-16T21:47:20.369" v="121" actId="962"/>
          <ac:spMkLst>
            <pc:docMk/>
            <pc:sldMk cId="3168993519" sldId="2411"/>
            <ac:spMk id="34" creationId="{7C1478B0-D187-40DF-855B-31BBFE00E9CE}"/>
          </ac:spMkLst>
        </pc:spChg>
        <pc:spChg chg="mod">
          <ac:chgData name="Eason Jin" userId="a4b70968-441b-4713-961f-11f6cb57826b" providerId="ADAL" clId="{CCD39839-2DA1-48AD-A21E-9C616244AB40}" dt="2025-12-16T21:47:23.651" v="122" actId="962"/>
          <ac:spMkLst>
            <pc:docMk/>
            <pc:sldMk cId="3168993519" sldId="2411"/>
            <ac:spMk id="35" creationId="{C16CD05A-F406-4603-BF36-F7C170ECE124}"/>
          </ac:spMkLst>
        </pc:spChg>
      </pc:sldChg>
      <pc:sldChg chg="modSp">
        <pc:chgData name="Eason Jin" userId="a4b70968-441b-4713-961f-11f6cb57826b" providerId="ADAL" clId="{CCD39839-2DA1-48AD-A21E-9C616244AB40}" dt="2025-12-16T21:54:01.961" v="128" actId="962"/>
        <pc:sldMkLst>
          <pc:docMk/>
          <pc:sldMk cId="309939801" sldId="2412"/>
        </pc:sldMkLst>
        <pc:spChg chg="mod">
          <ac:chgData name="Eason Jin" userId="a4b70968-441b-4713-961f-11f6cb57826b" providerId="ADAL" clId="{CCD39839-2DA1-48AD-A21E-9C616244AB40}" dt="2025-12-16T21:53:56.748" v="127" actId="962"/>
          <ac:spMkLst>
            <pc:docMk/>
            <pc:sldMk cId="309939801" sldId="2412"/>
            <ac:spMk id="21" creationId="{0979D879-A615-4E2F-89F1-A015789410E8}"/>
          </ac:spMkLst>
        </pc:spChg>
        <pc:spChg chg="mod">
          <ac:chgData name="Eason Jin" userId="a4b70968-441b-4713-961f-11f6cb57826b" providerId="ADAL" clId="{CCD39839-2DA1-48AD-A21E-9C616244AB40}" dt="2025-12-16T21:54:01.961" v="128" actId="962"/>
          <ac:spMkLst>
            <pc:docMk/>
            <pc:sldMk cId="309939801" sldId="2412"/>
            <ac:spMk id="22" creationId="{C3273DE7-EA89-490B-B7BD-663D9806B22B}"/>
          </ac:spMkLst>
        </pc:spChg>
        <pc:spChg chg="mod">
          <ac:chgData name="Eason Jin" userId="a4b70968-441b-4713-961f-11f6cb57826b" providerId="ADAL" clId="{CCD39839-2DA1-48AD-A21E-9C616244AB40}" dt="2025-12-16T21:53:51.732" v="126" actId="962"/>
          <ac:spMkLst>
            <pc:docMk/>
            <pc:sldMk cId="309939801" sldId="2412"/>
            <ac:spMk id="2260" creationId="{00000000-0000-0000-0000-000000000000}"/>
          </ac:spMkLst>
        </pc:spChg>
      </pc:sldChg>
      <pc:sldChg chg="modSp">
        <pc:chgData name="Eason Jin" userId="a4b70968-441b-4713-961f-11f6cb57826b" providerId="ADAL" clId="{CCD39839-2DA1-48AD-A21E-9C616244AB40}" dt="2025-12-16T21:54:34.412" v="132" actId="962"/>
        <pc:sldMkLst>
          <pc:docMk/>
          <pc:sldMk cId="1404147629" sldId="2413"/>
        </pc:sldMkLst>
        <pc:spChg chg="mod">
          <ac:chgData name="Eason Jin" userId="a4b70968-441b-4713-961f-11f6cb57826b" providerId="ADAL" clId="{CCD39839-2DA1-48AD-A21E-9C616244AB40}" dt="2025-12-16T21:54:31.385" v="131" actId="962"/>
          <ac:spMkLst>
            <pc:docMk/>
            <pc:sldMk cId="1404147629" sldId="2413"/>
            <ac:spMk id="21" creationId="{0979D879-A615-4E2F-89F1-A015789410E8}"/>
          </ac:spMkLst>
        </pc:spChg>
        <pc:spChg chg="mod">
          <ac:chgData name="Eason Jin" userId="a4b70968-441b-4713-961f-11f6cb57826b" providerId="ADAL" clId="{CCD39839-2DA1-48AD-A21E-9C616244AB40}" dt="2025-12-16T21:54:34.412" v="132" actId="962"/>
          <ac:spMkLst>
            <pc:docMk/>
            <pc:sldMk cId="1404147629" sldId="2413"/>
            <ac:spMk id="22" creationId="{C3273DE7-EA89-490B-B7BD-663D9806B22B}"/>
          </ac:spMkLst>
        </pc:spChg>
        <pc:spChg chg="mod">
          <ac:chgData name="Eason Jin" userId="a4b70968-441b-4713-961f-11f6cb57826b" providerId="ADAL" clId="{CCD39839-2DA1-48AD-A21E-9C616244AB40}" dt="2025-12-16T21:54:24.255" v="129" actId="962"/>
          <ac:spMkLst>
            <pc:docMk/>
            <pc:sldMk cId="1404147629" sldId="2413"/>
            <ac:spMk id="2260" creationId="{00000000-0000-0000-0000-000000000000}"/>
          </ac:spMkLst>
        </pc:spChg>
      </pc:sldChg>
      <pc:sldChg chg="modSp">
        <pc:chgData name="Eason Jin" userId="a4b70968-441b-4713-961f-11f6cb57826b" providerId="ADAL" clId="{CCD39839-2DA1-48AD-A21E-9C616244AB40}" dt="2025-12-16T01:19:22.384" v="94" actId="962"/>
        <pc:sldMkLst>
          <pc:docMk/>
          <pc:sldMk cId="2621209985" sldId="2414"/>
        </pc:sldMkLst>
        <pc:spChg chg="mod">
          <ac:chgData name="Eason Jin" userId="a4b70968-441b-4713-961f-11f6cb57826b" providerId="ADAL" clId="{CCD39839-2DA1-48AD-A21E-9C616244AB40}" dt="2025-12-16T01:19:22.384" v="94" actId="962"/>
          <ac:spMkLst>
            <pc:docMk/>
            <pc:sldMk cId="2621209985" sldId="2414"/>
            <ac:spMk id="15" creationId="{6B6C262D-ACE3-4403-8268-360484178E0E}"/>
          </ac:spMkLst>
        </pc:spChg>
        <pc:spChg chg="mod">
          <ac:chgData name="Eason Jin" userId="a4b70968-441b-4713-961f-11f6cb57826b" providerId="ADAL" clId="{CCD39839-2DA1-48AD-A21E-9C616244AB40}" dt="2025-12-16T01:19:16.182" v="92" actId="962"/>
          <ac:spMkLst>
            <pc:docMk/>
            <pc:sldMk cId="2621209985" sldId="2414"/>
            <ac:spMk id="19" creationId="{0057A7D6-555A-46D4-9EA4-441BB3BB62B9}"/>
          </ac:spMkLst>
        </pc:spChg>
        <pc:spChg chg="mod">
          <ac:chgData name="Eason Jin" userId="a4b70968-441b-4713-961f-11f6cb57826b" providerId="ADAL" clId="{CCD39839-2DA1-48AD-A21E-9C616244AB40}" dt="2025-12-16T01:19:19.225" v="93" actId="962"/>
          <ac:spMkLst>
            <pc:docMk/>
            <pc:sldMk cId="2621209985" sldId="2414"/>
            <ac:spMk id="23" creationId="{91905689-E715-4B3A-9A41-BA4ABCFDC5D4}"/>
          </ac:spMkLst>
        </pc:spChg>
      </pc:sldChg>
      <pc:sldChg chg="modSp">
        <pc:chgData name="Eason Jin" userId="a4b70968-441b-4713-961f-11f6cb57826b" providerId="ADAL" clId="{CCD39839-2DA1-48AD-A21E-9C616244AB40}" dt="2025-12-15T22:15:55.081" v="26" actId="962"/>
        <pc:sldMkLst>
          <pc:docMk/>
          <pc:sldMk cId="3346734879" sldId="2415"/>
        </pc:sldMkLst>
        <pc:spChg chg="mod">
          <ac:chgData name="Eason Jin" userId="a4b70968-441b-4713-961f-11f6cb57826b" providerId="ADAL" clId="{CCD39839-2DA1-48AD-A21E-9C616244AB40}" dt="2025-12-15T22:14:52.123" v="23" actId="962"/>
          <ac:spMkLst>
            <pc:docMk/>
            <pc:sldMk cId="3346734879" sldId="2415"/>
            <ac:spMk id="6" creationId="{1677D02F-25E3-4467-B622-8197741B4F9E}"/>
          </ac:spMkLst>
        </pc:spChg>
        <pc:spChg chg="mod">
          <ac:chgData name="Eason Jin" userId="a4b70968-441b-4713-961f-11f6cb57826b" providerId="ADAL" clId="{CCD39839-2DA1-48AD-A21E-9C616244AB40}" dt="2025-12-15T22:15:00.706" v="25" actId="962"/>
          <ac:spMkLst>
            <pc:docMk/>
            <pc:sldMk cId="3346734879" sldId="2415"/>
            <ac:spMk id="7" creationId="{8CCBFE10-6B23-4EE5-AA95-AC874F7B5224}"/>
          </ac:spMkLst>
        </pc:spChg>
        <pc:spChg chg="mod">
          <ac:chgData name="Eason Jin" userId="a4b70968-441b-4713-961f-11f6cb57826b" providerId="ADAL" clId="{CCD39839-2DA1-48AD-A21E-9C616244AB40}" dt="2025-12-15T22:14:47.639" v="22" actId="962"/>
          <ac:spMkLst>
            <pc:docMk/>
            <pc:sldMk cId="3346734879" sldId="2415"/>
            <ac:spMk id="9" creationId="{C2DAF271-12F6-4AB5-AF74-18190239D761}"/>
          </ac:spMkLst>
        </pc:spChg>
        <pc:spChg chg="mod">
          <ac:chgData name="Eason Jin" userId="a4b70968-441b-4713-961f-11f6cb57826b" providerId="ADAL" clId="{CCD39839-2DA1-48AD-A21E-9C616244AB40}" dt="2025-12-15T22:14:56.680" v="24" actId="962"/>
          <ac:spMkLst>
            <pc:docMk/>
            <pc:sldMk cId="3346734879" sldId="2415"/>
            <ac:spMk id="10" creationId="{D78E4447-583B-41C3-89A6-F3656E1DC084}"/>
          </ac:spMkLst>
        </pc:spChg>
        <pc:spChg chg="mod">
          <ac:chgData name="Eason Jin" userId="a4b70968-441b-4713-961f-11f6cb57826b" providerId="ADAL" clId="{CCD39839-2DA1-48AD-A21E-9C616244AB40}" dt="2025-12-15T22:15:55.081" v="26" actId="962"/>
          <ac:spMkLst>
            <pc:docMk/>
            <pc:sldMk cId="3346734879" sldId="2415"/>
            <ac:spMk id="11" creationId="{35C6B34F-AB3D-44D3-B27B-DEB338833C19}"/>
          </ac:spMkLst>
        </pc:spChg>
      </pc:sldChg>
      <pc:sldChg chg="modSp mod">
        <pc:chgData name="Eason Jin" userId="a4b70968-441b-4713-961f-11f6cb57826b" providerId="ADAL" clId="{CCD39839-2DA1-48AD-A21E-9C616244AB40}" dt="2025-12-16T21:38:01.079" v="117" actId="962"/>
        <pc:sldMkLst>
          <pc:docMk/>
          <pc:sldMk cId="2580510814" sldId="2431"/>
        </pc:sldMkLst>
        <pc:spChg chg="mod">
          <ac:chgData name="Eason Jin" userId="a4b70968-441b-4713-961f-11f6cb57826b" providerId="ADAL" clId="{CCD39839-2DA1-48AD-A21E-9C616244AB40}" dt="2025-12-16T21:38:01.079" v="117" actId="962"/>
          <ac:spMkLst>
            <pc:docMk/>
            <pc:sldMk cId="2580510814" sldId="2431"/>
            <ac:spMk id="9" creationId="{6F0564CF-4F1D-4610-B3E1-C56306807ECF}"/>
          </ac:spMkLst>
        </pc:spChg>
      </pc:sldChg>
      <pc:sldChg chg="modSp">
        <pc:chgData name="Eason Jin" userId="a4b70968-441b-4713-961f-11f6cb57826b" providerId="ADAL" clId="{CCD39839-2DA1-48AD-A21E-9C616244AB40}" dt="2025-12-15T23:40:36.615" v="42" actId="962"/>
        <pc:sldMkLst>
          <pc:docMk/>
          <pc:sldMk cId="3439116006" sldId="2437"/>
        </pc:sldMkLst>
        <pc:graphicFrameChg chg="mod">
          <ac:chgData name="Eason Jin" userId="a4b70968-441b-4713-961f-11f6cb57826b" providerId="ADAL" clId="{CCD39839-2DA1-48AD-A21E-9C616244AB40}" dt="2025-12-15T23:40:00.137" v="39" actId="962"/>
          <ac:graphicFrameMkLst>
            <pc:docMk/>
            <pc:sldMk cId="3439116006" sldId="2437"/>
            <ac:graphicFrameMk id="51" creationId="{00AB6047-C8AB-43AE-99C8-E07BAD4AF28E}"/>
          </ac:graphicFrameMkLst>
        </pc:graphicFrameChg>
        <pc:graphicFrameChg chg="mod">
          <ac:chgData name="Eason Jin" userId="a4b70968-441b-4713-961f-11f6cb57826b" providerId="ADAL" clId="{CCD39839-2DA1-48AD-A21E-9C616244AB40}" dt="2025-12-15T23:40:31.647" v="41" actId="962"/>
          <ac:graphicFrameMkLst>
            <pc:docMk/>
            <pc:sldMk cId="3439116006" sldId="2437"/>
            <ac:graphicFrameMk id="52" creationId="{9938637A-4A6E-454D-85EA-F79B52463A2A}"/>
          </ac:graphicFrameMkLst>
        </pc:graphicFrameChg>
        <pc:graphicFrameChg chg="mod">
          <ac:chgData name="Eason Jin" userId="a4b70968-441b-4713-961f-11f6cb57826b" providerId="ADAL" clId="{CCD39839-2DA1-48AD-A21E-9C616244AB40}" dt="2025-12-15T23:40:36.615" v="42" actId="962"/>
          <ac:graphicFrameMkLst>
            <pc:docMk/>
            <pc:sldMk cId="3439116006" sldId="2437"/>
            <ac:graphicFrameMk id="53" creationId="{2FF4642A-40BB-45FB-B8E2-1BA63FDA8F7B}"/>
          </ac:graphicFrameMkLst>
        </pc:graphicFrameChg>
      </pc:sldChg>
      <pc:sldChg chg="modSp">
        <pc:chgData name="Eason Jin" userId="a4b70968-441b-4713-961f-11f6cb57826b" providerId="ADAL" clId="{CCD39839-2DA1-48AD-A21E-9C616244AB40}" dt="2025-12-16T01:06:05.004" v="86" actId="962"/>
        <pc:sldMkLst>
          <pc:docMk/>
          <pc:sldMk cId="1506091746" sldId="2461"/>
        </pc:sldMkLst>
        <pc:spChg chg="mod">
          <ac:chgData name="Eason Jin" userId="a4b70968-441b-4713-961f-11f6cb57826b" providerId="ADAL" clId="{CCD39839-2DA1-48AD-A21E-9C616244AB40}" dt="2025-12-16T01:06:05.004" v="86" actId="962"/>
          <ac:spMkLst>
            <pc:docMk/>
            <pc:sldMk cId="1506091746" sldId="2461"/>
            <ac:spMk id="14" creationId="{00000000-0000-0000-0000-000000000000}"/>
          </ac:spMkLst>
        </pc:spChg>
        <pc:spChg chg="mod">
          <ac:chgData name="Eason Jin" userId="a4b70968-441b-4713-961f-11f6cb57826b" providerId="ADAL" clId="{CCD39839-2DA1-48AD-A21E-9C616244AB40}" dt="2025-12-16T01:06:01.762" v="85" actId="962"/>
          <ac:spMkLst>
            <pc:docMk/>
            <pc:sldMk cId="1506091746" sldId="2461"/>
            <ac:spMk id="34" creationId="{A755E53D-66B1-40CC-9CA3-7A333D6FBF56}"/>
          </ac:spMkLst>
        </pc:spChg>
      </pc:sldChg>
      <pc:sldChg chg="modSp">
        <pc:chgData name="Eason Jin" userId="a4b70968-441b-4713-961f-11f6cb57826b" providerId="ADAL" clId="{CCD39839-2DA1-48AD-A21E-9C616244AB40}" dt="2025-12-16T01:07:20.620" v="89" actId="962"/>
        <pc:sldMkLst>
          <pc:docMk/>
          <pc:sldMk cId="3608878953" sldId="2462"/>
        </pc:sldMkLst>
        <pc:spChg chg="mod">
          <ac:chgData name="Eason Jin" userId="a4b70968-441b-4713-961f-11f6cb57826b" providerId="ADAL" clId="{CCD39839-2DA1-48AD-A21E-9C616244AB40}" dt="2025-12-16T01:07:17.389" v="88" actId="962"/>
          <ac:spMkLst>
            <pc:docMk/>
            <pc:sldMk cId="3608878953" sldId="2462"/>
            <ac:spMk id="14" creationId="{00000000-0000-0000-0000-000000000000}"/>
          </ac:spMkLst>
        </pc:spChg>
        <pc:spChg chg="mod">
          <ac:chgData name="Eason Jin" userId="a4b70968-441b-4713-961f-11f6cb57826b" providerId="ADAL" clId="{CCD39839-2DA1-48AD-A21E-9C616244AB40}" dt="2025-12-16T01:07:20.620" v="89" actId="962"/>
          <ac:spMkLst>
            <pc:docMk/>
            <pc:sldMk cId="3608878953" sldId="2462"/>
            <ac:spMk id="19" creationId="{7C112229-8E7E-46ED-A62E-FBD036ACE7D4}"/>
          </ac:spMkLst>
        </pc:spChg>
        <pc:spChg chg="mod">
          <ac:chgData name="Eason Jin" userId="a4b70968-441b-4713-961f-11f6cb57826b" providerId="ADAL" clId="{CCD39839-2DA1-48AD-A21E-9C616244AB40}" dt="2025-12-16T01:07:14.619" v="87" actId="962"/>
          <ac:spMkLst>
            <pc:docMk/>
            <pc:sldMk cId="3608878953" sldId="2462"/>
            <ac:spMk id="34" creationId="{A755E53D-66B1-40CC-9CA3-7A333D6FBF56}"/>
          </ac:spMkLst>
        </pc:spChg>
      </pc:sldChg>
      <pc:sldChg chg="modSp">
        <pc:chgData name="Eason Jin" userId="a4b70968-441b-4713-961f-11f6cb57826b" providerId="ADAL" clId="{CCD39839-2DA1-48AD-A21E-9C616244AB40}" dt="2025-12-15T23:46:00.430" v="61" actId="962"/>
        <pc:sldMkLst>
          <pc:docMk/>
          <pc:sldMk cId="3507693252" sldId="2463"/>
        </pc:sldMkLst>
        <pc:spChg chg="mod">
          <ac:chgData name="Eason Jin" userId="a4b70968-441b-4713-961f-11f6cb57826b" providerId="ADAL" clId="{CCD39839-2DA1-48AD-A21E-9C616244AB40}" dt="2025-12-15T23:45:43.196" v="57" actId="962"/>
          <ac:spMkLst>
            <pc:docMk/>
            <pc:sldMk cId="3507693252" sldId="2463"/>
            <ac:spMk id="7" creationId="{43024962-1DFC-452E-8ABC-3474FC841F6E}"/>
          </ac:spMkLst>
        </pc:spChg>
        <pc:spChg chg="mod">
          <ac:chgData name="Eason Jin" userId="a4b70968-441b-4713-961f-11f6cb57826b" providerId="ADAL" clId="{CCD39839-2DA1-48AD-A21E-9C616244AB40}" dt="2025-12-15T23:46:00.430" v="61" actId="962"/>
          <ac:spMkLst>
            <pc:docMk/>
            <pc:sldMk cId="3507693252" sldId="2463"/>
            <ac:spMk id="20" creationId="{6AA23BF0-4950-4A8E-BBDD-15C34B7BBD2A}"/>
          </ac:spMkLst>
        </pc:spChg>
        <pc:spChg chg="mod">
          <ac:chgData name="Eason Jin" userId="a4b70968-441b-4713-961f-11f6cb57826b" providerId="ADAL" clId="{CCD39839-2DA1-48AD-A21E-9C616244AB40}" dt="2025-12-15T23:45:47.798" v="58" actId="962"/>
          <ac:spMkLst>
            <pc:docMk/>
            <pc:sldMk cId="3507693252" sldId="2463"/>
            <ac:spMk id="42" creationId="{5BF72EA8-819B-4CF3-BA75-5585EEA818A9}"/>
          </ac:spMkLst>
        </pc:spChg>
        <pc:spChg chg="mod">
          <ac:chgData name="Eason Jin" userId="a4b70968-441b-4713-961f-11f6cb57826b" providerId="ADAL" clId="{CCD39839-2DA1-48AD-A21E-9C616244AB40}" dt="2025-12-15T23:45:56.477" v="60" actId="962"/>
          <ac:spMkLst>
            <pc:docMk/>
            <pc:sldMk cId="3507693252" sldId="2463"/>
            <ac:spMk id="44" creationId="{8170BBC1-1CDF-4B0C-BD7F-E482448A03E2}"/>
          </ac:spMkLst>
        </pc:spChg>
      </pc:sldChg>
      <pc:sldChg chg="modSp">
        <pc:chgData name="Eason Jin" userId="a4b70968-441b-4713-961f-11f6cb57826b" providerId="ADAL" clId="{CCD39839-2DA1-48AD-A21E-9C616244AB40}" dt="2025-12-16T03:55:12.795" v="105" actId="962"/>
        <pc:sldMkLst>
          <pc:docMk/>
          <pc:sldMk cId="1571224749" sldId="2466"/>
        </pc:sldMkLst>
        <pc:spChg chg="mod">
          <ac:chgData name="Eason Jin" userId="a4b70968-441b-4713-961f-11f6cb57826b" providerId="ADAL" clId="{CCD39839-2DA1-48AD-A21E-9C616244AB40}" dt="2025-12-16T03:55:12.795" v="105" actId="962"/>
          <ac:spMkLst>
            <pc:docMk/>
            <pc:sldMk cId="1571224749" sldId="2466"/>
            <ac:spMk id="38" creationId="{DFD765BE-B953-43A2-AB78-5A3A7ACA8E4D}"/>
          </ac:spMkLst>
        </pc:spChg>
        <pc:spChg chg="mod">
          <ac:chgData name="Eason Jin" userId="a4b70968-441b-4713-961f-11f6cb57826b" providerId="ADAL" clId="{CCD39839-2DA1-48AD-A21E-9C616244AB40}" dt="2025-12-16T03:55:08.435" v="104" actId="962"/>
          <ac:spMkLst>
            <pc:docMk/>
            <pc:sldMk cId="1571224749" sldId="2466"/>
            <ac:spMk id="39" creationId="{46B1185A-5839-4CD2-AF36-E972C3DCEAC8}"/>
          </ac:spMkLst>
        </pc:spChg>
        <pc:spChg chg="mod">
          <ac:chgData name="Eason Jin" userId="a4b70968-441b-4713-961f-11f6cb57826b" providerId="ADAL" clId="{CCD39839-2DA1-48AD-A21E-9C616244AB40}" dt="2025-12-16T03:55:04.214" v="103" actId="962"/>
          <ac:spMkLst>
            <pc:docMk/>
            <pc:sldMk cId="1571224749" sldId="2466"/>
            <ac:spMk id="60" creationId="{00000000-0000-0000-0000-000000000000}"/>
          </ac:spMkLst>
        </pc:spChg>
      </pc:sldChg>
      <pc:sldChg chg="modSp">
        <pc:chgData name="Eason Jin" userId="a4b70968-441b-4713-961f-11f6cb57826b" providerId="ADAL" clId="{CCD39839-2DA1-48AD-A21E-9C616244AB40}" dt="2025-12-16T03:55:55.219" v="109" actId="962"/>
        <pc:sldMkLst>
          <pc:docMk/>
          <pc:sldMk cId="1243833378" sldId="2467"/>
        </pc:sldMkLst>
        <pc:spChg chg="mod">
          <ac:chgData name="Eason Jin" userId="a4b70968-441b-4713-961f-11f6cb57826b" providerId="ADAL" clId="{CCD39839-2DA1-48AD-A21E-9C616244AB40}" dt="2025-12-16T03:55:55.219" v="109" actId="962"/>
          <ac:spMkLst>
            <pc:docMk/>
            <pc:sldMk cId="1243833378" sldId="2467"/>
            <ac:spMk id="37" creationId="{34204E22-65E7-4E3F-8A03-D8D6D6B5887B}"/>
          </ac:spMkLst>
        </pc:spChg>
        <pc:spChg chg="mod">
          <ac:chgData name="Eason Jin" userId="a4b70968-441b-4713-961f-11f6cb57826b" providerId="ADAL" clId="{CCD39839-2DA1-48AD-A21E-9C616244AB40}" dt="2025-12-16T03:55:52.024" v="108" actId="962"/>
          <ac:spMkLst>
            <pc:docMk/>
            <pc:sldMk cId="1243833378" sldId="2467"/>
            <ac:spMk id="38" creationId="{DFD765BE-B953-43A2-AB78-5A3A7ACA8E4D}"/>
          </ac:spMkLst>
        </pc:spChg>
        <pc:spChg chg="mod">
          <ac:chgData name="Eason Jin" userId="a4b70968-441b-4713-961f-11f6cb57826b" providerId="ADAL" clId="{CCD39839-2DA1-48AD-A21E-9C616244AB40}" dt="2025-12-16T03:55:48.830" v="107" actId="962"/>
          <ac:spMkLst>
            <pc:docMk/>
            <pc:sldMk cId="1243833378" sldId="2467"/>
            <ac:spMk id="39" creationId="{46B1185A-5839-4CD2-AF36-E972C3DCEAC8}"/>
          </ac:spMkLst>
        </pc:spChg>
        <pc:spChg chg="mod">
          <ac:chgData name="Eason Jin" userId="a4b70968-441b-4713-961f-11f6cb57826b" providerId="ADAL" clId="{CCD39839-2DA1-48AD-A21E-9C616244AB40}" dt="2025-12-16T03:55:45.899" v="106" actId="962"/>
          <ac:spMkLst>
            <pc:docMk/>
            <pc:sldMk cId="1243833378" sldId="2467"/>
            <ac:spMk id="60" creationId="{00000000-0000-0000-0000-000000000000}"/>
          </ac:spMkLst>
        </pc:spChg>
      </pc:sldChg>
      <pc:sldChg chg="modSp">
        <pc:chgData name="Eason Jin" userId="a4b70968-441b-4713-961f-11f6cb57826b" providerId="ADAL" clId="{CCD39839-2DA1-48AD-A21E-9C616244AB40}" dt="2025-12-16T03:56:59.333" v="114" actId="962"/>
        <pc:sldMkLst>
          <pc:docMk/>
          <pc:sldMk cId="3090400965" sldId="2468"/>
        </pc:sldMkLst>
        <pc:spChg chg="mod">
          <ac:chgData name="Eason Jin" userId="a4b70968-441b-4713-961f-11f6cb57826b" providerId="ADAL" clId="{CCD39839-2DA1-48AD-A21E-9C616244AB40}" dt="2025-12-16T03:56:59.333" v="114" actId="962"/>
          <ac:spMkLst>
            <pc:docMk/>
            <pc:sldMk cId="3090400965" sldId="2468"/>
            <ac:spMk id="36" creationId="{7917EBFC-6F0A-489A-B944-903C6A19ABE6}"/>
          </ac:spMkLst>
        </pc:spChg>
        <pc:spChg chg="mod">
          <ac:chgData name="Eason Jin" userId="a4b70968-441b-4713-961f-11f6cb57826b" providerId="ADAL" clId="{CCD39839-2DA1-48AD-A21E-9C616244AB40}" dt="2025-12-16T03:56:55.669" v="113" actId="962"/>
          <ac:spMkLst>
            <pc:docMk/>
            <pc:sldMk cId="3090400965" sldId="2468"/>
            <ac:spMk id="37" creationId="{34204E22-65E7-4E3F-8A03-D8D6D6B5887B}"/>
          </ac:spMkLst>
        </pc:spChg>
        <pc:spChg chg="mod">
          <ac:chgData name="Eason Jin" userId="a4b70968-441b-4713-961f-11f6cb57826b" providerId="ADAL" clId="{CCD39839-2DA1-48AD-A21E-9C616244AB40}" dt="2025-12-16T03:56:52.750" v="112" actId="962"/>
          <ac:spMkLst>
            <pc:docMk/>
            <pc:sldMk cId="3090400965" sldId="2468"/>
            <ac:spMk id="38" creationId="{DFD765BE-B953-43A2-AB78-5A3A7ACA8E4D}"/>
          </ac:spMkLst>
        </pc:spChg>
        <pc:spChg chg="mod">
          <ac:chgData name="Eason Jin" userId="a4b70968-441b-4713-961f-11f6cb57826b" providerId="ADAL" clId="{CCD39839-2DA1-48AD-A21E-9C616244AB40}" dt="2025-12-16T03:56:49.692" v="111" actId="962"/>
          <ac:spMkLst>
            <pc:docMk/>
            <pc:sldMk cId="3090400965" sldId="2468"/>
            <ac:spMk id="39" creationId="{46B1185A-5839-4CD2-AF36-E972C3DCEAC8}"/>
          </ac:spMkLst>
        </pc:spChg>
        <pc:spChg chg="mod">
          <ac:chgData name="Eason Jin" userId="a4b70968-441b-4713-961f-11f6cb57826b" providerId="ADAL" clId="{CCD39839-2DA1-48AD-A21E-9C616244AB40}" dt="2025-12-16T03:56:37.061" v="110" actId="962"/>
          <ac:spMkLst>
            <pc:docMk/>
            <pc:sldMk cId="3090400965" sldId="2468"/>
            <ac:spMk id="60" creationId="{00000000-0000-0000-0000-000000000000}"/>
          </ac:spMkLst>
        </pc:spChg>
      </pc:sldChg>
      <pc:sldChg chg="modSp">
        <pc:chgData name="Eason Jin" userId="a4b70968-441b-4713-961f-11f6cb57826b" providerId="ADAL" clId="{CCD39839-2DA1-48AD-A21E-9C616244AB40}" dt="2025-12-16T00:33:16.906" v="71" actId="962"/>
        <pc:sldMkLst>
          <pc:docMk/>
          <pc:sldMk cId="3188862033" sldId="2768"/>
        </pc:sldMkLst>
        <pc:spChg chg="mod">
          <ac:chgData name="Eason Jin" userId="a4b70968-441b-4713-961f-11f6cb57826b" providerId="ADAL" clId="{CCD39839-2DA1-48AD-A21E-9C616244AB40}" dt="2025-12-16T00:33:10.480" v="69" actId="962"/>
          <ac:spMkLst>
            <pc:docMk/>
            <pc:sldMk cId="3188862033" sldId="2768"/>
            <ac:spMk id="20" creationId="{BADC97A6-255D-4F71-B3E5-0DEDF391073B}"/>
          </ac:spMkLst>
        </pc:spChg>
        <pc:spChg chg="mod">
          <ac:chgData name="Eason Jin" userId="a4b70968-441b-4713-961f-11f6cb57826b" providerId="ADAL" clId="{CCD39839-2DA1-48AD-A21E-9C616244AB40}" dt="2025-12-16T00:33:13.542" v="70" actId="962"/>
          <ac:spMkLst>
            <pc:docMk/>
            <pc:sldMk cId="3188862033" sldId="2768"/>
            <ac:spMk id="29" creationId="{2D10EB60-82ED-4B03-88DF-96D3A2414F52}"/>
          </ac:spMkLst>
        </pc:spChg>
        <pc:spChg chg="mod">
          <ac:chgData name="Eason Jin" userId="a4b70968-441b-4713-961f-11f6cb57826b" providerId="ADAL" clId="{CCD39839-2DA1-48AD-A21E-9C616244AB40}" dt="2025-12-16T00:33:16.906" v="71" actId="962"/>
          <ac:spMkLst>
            <pc:docMk/>
            <pc:sldMk cId="3188862033" sldId="2768"/>
            <ac:spMk id="32" creationId="{A1D68FCA-847B-4996-B234-504FBB2C2219}"/>
          </ac:spMkLst>
        </pc:spChg>
      </pc:sldChg>
      <pc:sldChg chg="modSp">
        <pc:chgData name="Eason Jin" userId="a4b70968-441b-4713-961f-11f6cb57826b" providerId="ADAL" clId="{CCD39839-2DA1-48AD-A21E-9C616244AB40}" dt="2025-12-15T22:28:31.618" v="36" actId="962"/>
        <pc:sldMkLst>
          <pc:docMk/>
          <pc:sldMk cId="1684286768" sldId="2777"/>
        </pc:sldMkLst>
        <pc:spChg chg="mod">
          <ac:chgData name="Eason Jin" userId="a4b70968-441b-4713-961f-11f6cb57826b" providerId="ADAL" clId="{CCD39839-2DA1-48AD-A21E-9C616244AB40}" dt="2025-12-15T22:28:28.097" v="35" actId="962"/>
          <ac:spMkLst>
            <pc:docMk/>
            <pc:sldMk cId="1684286768" sldId="2777"/>
            <ac:spMk id="19" creationId="{74430740-9926-4238-B369-7CD7AA715C8C}"/>
          </ac:spMkLst>
        </pc:spChg>
        <pc:spChg chg="mod">
          <ac:chgData name="Eason Jin" userId="a4b70968-441b-4713-961f-11f6cb57826b" providerId="ADAL" clId="{CCD39839-2DA1-48AD-A21E-9C616244AB40}" dt="2025-12-15T22:28:31.618" v="36" actId="962"/>
          <ac:spMkLst>
            <pc:docMk/>
            <pc:sldMk cId="1684286768" sldId="2777"/>
            <ac:spMk id="20" creationId="{03BE046F-9C63-4886-AC82-BD1BDC69A8F4}"/>
          </ac:spMkLst>
        </pc:spChg>
      </pc:sldChg>
      <pc:sldChg chg="modSp">
        <pc:chgData name="Eason Jin" userId="a4b70968-441b-4713-961f-11f6cb57826b" providerId="ADAL" clId="{CCD39839-2DA1-48AD-A21E-9C616244AB40}" dt="2025-12-15T23:45:14.562" v="56" actId="962"/>
        <pc:sldMkLst>
          <pc:docMk/>
          <pc:sldMk cId="1045419090" sldId="2787"/>
        </pc:sldMkLst>
        <pc:spChg chg="mod">
          <ac:chgData name="Eason Jin" userId="a4b70968-441b-4713-961f-11f6cb57826b" providerId="ADAL" clId="{CCD39839-2DA1-48AD-A21E-9C616244AB40}" dt="2025-12-15T23:44:50.636" v="51" actId="962"/>
          <ac:spMkLst>
            <pc:docMk/>
            <pc:sldMk cId="1045419090" sldId="2787"/>
            <ac:spMk id="7" creationId="{43024962-1DFC-452E-8ABC-3474FC841F6E}"/>
          </ac:spMkLst>
        </pc:spChg>
        <pc:spChg chg="mod">
          <ac:chgData name="Eason Jin" userId="a4b70968-441b-4713-961f-11f6cb57826b" providerId="ADAL" clId="{CCD39839-2DA1-48AD-A21E-9C616244AB40}" dt="2025-12-15T23:45:01.292" v="53" actId="962"/>
          <ac:spMkLst>
            <pc:docMk/>
            <pc:sldMk cId="1045419090" sldId="2787"/>
            <ac:spMk id="20" creationId="{6AA23BF0-4950-4A8E-BBDD-15C34B7BBD2A}"/>
          </ac:spMkLst>
        </pc:spChg>
        <pc:spChg chg="mod">
          <ac:chgData name="Eason Jin" userId="a4b70968-441b-4713-961f-11f6cb57826b" providerId="ADAL" clId="{CCD39839-2DA1-48AD-A21E-9C616244AB40}" dt="2025-12-15T23:45:09.309" v="55" actId="962"/>
          <ac:spMkLst>
            <pc:docMk/>
            <pc:sldMk cId="1045419090" sldId="2787"/>
            <ac:spMk id="22" creationId="{758EDF9E-F5E6-4955-9BAF-959FC2D0AEA3}"/>
          </ac:spMkLst>
        </pc:spChg>
        <pc:spChg chg="mod">
          <ac:chgData name="Eason Jin" userId="a4b70968-441b-4713-961f-11f6cb57826b" providerId="ADAL" clId="{CCD39839-2DA1-48AD-A21E-9C616244AB40}" dt="2025-12-15T23:44:55.679" v="52" actId="962"/>
          <ac:spMkLst>
            <pc:docMk/>
            <pc:sldMk cId="1045419090" sldId="2787"/>
            <ac:spMk id="42" creationId="{5BF72EA8-819B-4CF3-BA75-5585EEA818A9}"/>
          </ac:spMkLst>
        </pc:spChg>
        <pc:spChg chg="mod">
          <ac:chgData name="Eason Jin" userId="a4b70968-441b-4713-961f-11f6cb57826b" providerId="ADAL" clId="{CCD39839-2DA1-48AD-A21E-9C616244AB40}" dt="2025-12-15T23:45:05.454" v="54" actId="962"/>
          <ac:spMkLst>
            <pc:docMk/>
            <pc:sldMk cId="1045419090" sldId="2787"/>
            <ac:spMk id="44" creationId="{8170BBC1-1CDF-4B0C-BD7F-E482448A03E2}"/>
          </ac:spMkLst>
        </pc:spChg>
        <pc:spChg chg="mod">
          <ac:chgData name="Eason Jin" userId="a4b70968-441b-4713-961f-11f6cb57826b" providerId="ADAL" clId="{CCD39839-2DA1-48AD-A21E-9C616244AB40}" dt="2025-12-15T23:45:14.562" v="56" actId="962"/>
          <ac:spMkLst>
            <pc:docMk/>
            <pc:sldMk cId="1045419090" sldId="2787"/>
            <ac:spMk id="46" creationId="{C0BE90CE-C933-4A5D-82BE-082A24426902}"/>
          </ac:spMkLst>
        </pc:spChg>
      </pc:sldChg>
      <pc:sldChg chg="modSp">
        <pc:chgData name="Eason Jin" userId="a4b70968-441b-4713-961f-11f6cb57826b" providerId="ADAL" clId="{CCD39839-2DA1-48AD-A21E-9C616244AB40}" dt="2025-12-16T00:54:11.169" v="83" actId="962"/>
        <pc:sldMkLst>
          <pc:docMk/>
          <pc:sldMk cId="1807602701" sldId="2134809490"/>
        </pc:sldMkLst>
        <pc:spChg chg="mod">
          <ac:chgData name="Eason Jin" userId="a4b70968-441b-4713-961f-11f6cb57826b" providerId="ADAL" clId="{CCD39839-2DA1-48AD-A21E-9C616244AB40}" dt="2025-12-16T00:53:57.457" v="79" actId="962"/>
          <ac:spMkLst>
            <pc:docMk/>
            <pc:sldMk cId="1807602701" sldId="2134809490"/>
            <ac:spMk id="20" creationId="{3C69A7EE-928D-EC85-EC16-0B28DF959E06}"/>
          </ac:spMkLst>
        </pc:spChg>
        <pc:spChg chg="mod">
          <ac:chgData name="Eason Jin" userId="a4b70968-441b-4713-961f-11f6cb57826b" providerId="ADAL" clId="{CCD39839-2DA1-48AD-A21E-9C616244AB40}" dt="2025-12-16T00:54:01.052" v="80" actId="962"/>
          <ac:spMkLst>
            <pc:docMk/>
            <pc:sldMk cId="1807602701" sldId="2134809490"/>
            <ac:spMk id="50" creationId="{AF47890F-2DD1-4027-D7E9-14C807C49B04}"/>
          </ac:spMkLst>
        </pc:spChg>
        <pc:spChg chg="mod">
          <ac:chgData name="Eason Jin" userId="a4b70968-441b-4713-961f-11f6cb57826b" providerId="ADAL" clId="{CCD39839-2DA1-48AD-A21E-9C616244AB40}" dt="2025-12-16T00:53:52.377" v="78" actId="962"/>
          <ac:spMkLst>
            <pc:docMk/>
            <pc:sldMk cId="1807602701" sldId="2134809490"/>
            <ac:spMk id="74" creationId="{1C71D7E2-C36D-6E01-7514-E93A36BD2B26}"/>
          </ac:spMkLst>
        </pc:spChg>
        <pc:spChg chg="mod">
          <ac:chgData name="Eason Jin" userId="a4b70968-441b-4713-961f-11f6cb57826b" providerId="ADAL" clId="{CCD39839-2DA1-48AD-A21E-9C616244AB40}" dt="2025-12-16T00:54:04.310" v="81" actId="962"/>
          <ac:spMkLst>
            <pc:docMk/>
            <pc:sldMk cId="1807602701" sldId="2134809490"/>
            <ac:spMk id="76" creationId="{FB17B163-BF26-73AB-4E24-18D8CE0E8F8C}"/>
          </ac:spMkLst>
        </pc:spChg>
        <pc:spChg chg="mod">
          <ac:chgData name="Eason Jin" userId="a4b70968-441b-4713-961f-11f6cb57826b" providerId="ADAL" clId="{CCD39839-2DA1-48AD-A21E-9C616244AB40}" dt="2025-12-16T00:54:07.388" v="82" actId="962"/>
          <ac:spMkLst>
            <pc:docMk/>
            <pc:sldMk cId="1807602701" sldId="2134809490"/>
            <ac:spMk id="77" creationId="{B8025EED-F1FA-C7C9-618A-425853EF4EEA}"/>
          </ac:spMkLst>
        </pc:spChg>
        <pc:spChg chg="mod">
          <ac:chgData name="Eason Jin" userId="a4b70968-441b-4713-961f-11f6cb57826b" providerId="ADAL" clId="{CCD39839-2DA1-48AD-A21E-9C616244AB40}" dt="2025-12-16T00:54:11.169" v="83" actId="962"/>
          <ac:spMkLst>
            <pc:docMk/>
            <pc:sldMk cId="1807602701" sldId="2134809490"/>
            <ac:spMk id="78" creationId="{05BA5F9C-07B6-A031-4FCA-F135835F6055}"/>
          </ac:spMkLst>
        </pc:spChg>
      </pc:sldChg>
      <pc:sldChg chg="modSp">
        <pc:chgData name="Eason Jin" userId="a4b70968-441b-4713-961f-11f6cb57826b" providerId="ADAL" clId="{CCD39839-2DA1-48AD-A21E-9C616244AB40}" dt="2025-12-16T00:53:04.466" v="77" actId="962"/>
        <pc:sldMkLst>
          <pc:docMk/>
          <pc:sldMk cId="2762699452" sldId="2134809501"/>
        </pc:sldMkLst>
        <pc:spChg chg="mod">
          <ac:chgData name="Eason Jin" userId="a4b70968-441b-4713-961f-11f6cb57826b" providerId="ADAL" clId="{CCD39839-2DA1-48AD-A21E-9C616244AB40}" dt="2025-12-16T00:53:04.466" v="77" actId="962"/>
          <ac:spMkLst>
            <pc:docMk/>
            <pc:sldMk cId="2762699452" sldId="2134809501"/>
            <ac:spMk id="49" creationId="{05CAF7B2-F469-932C-9404-060AAE5A0ED7}"/>
          </ac:spMkLst>
        </pc:spChg>
        <pc:spChg chg="mod">
          <ac:chgData name="Eason Jin" userId="a4b70968-441b-4713-961f-11f6cb57826b" providerId="ADAL" clId="{CCD39839-2DA1-48AD-A21E-9C616244AB40}" dt="2025-12-16T00:52:33.876" v="72" actId="962"/>
          <ac:spMkLst>
            <pc:docMk/>
            <pc:sldMk cId="2762699452" sldId="2134809501"/>
            <ac:spMk id="61" creationId="{9E911A99-697D-7C72-E294-DC06763A246E}"/>
          </ac:spMkLst>
        </pc:spChg>
        <pc:spChg chg="mod">
          <ac:chgData name="Eason Jin" userId="a4b70968-441b-4713-961f-11f6cb57826b" providerId="ADAL" clId="{CCD39839-2DA1-48AD-A21E-9C616244AB40}" dt="2025-12-16T00:52:38.104" v="73" actId="962"/>
          <ac:spMkLst>
            <pc:docMk/>
            <pc:sldMk cId="2762699452" sldId="2134809501"/>
            <ac:spMk id="63" creationId="{88048E78-FC97-734D-79D4-303E6BD8CF45}"/>
          </ac:spMkLst>
        </pc:spChg>
        <pc:spChg chg="mod">
          <ac:chgData name="Eason Jin" userId="a4b70968-441b-4713-961f-11f6cb57826b" providerId="ADAL" clId="{CCD39839-2DA1-48AD-A21E-9C616244AB40}" dt="2025-12-16T00:52:43.666" v="74" actId="962"/>
          <ac:spMkLst>
            <pc:docMk/>
            <pc:sldMk cId="2762699452" sldId="2134809501"/>
            <ac:spMk id="65" creationId="{5172049E-B74E-156E-2516-9B5FE3B51A36}"/>
          </ac:spMkLst>
        </pc:spChg>
        <pc:spChg chg="mod">
          <ac:chgData name="Eason Jin" userId="a4b70968-441b-4713-961f-11f6cb57826b" providerId="ADAL" clId="{CCD39839-2DA1-48AD-A21E-9C616244AB40}" dt="2025-12-16T00:52:48.862" v="75" actId="962"/>
          <ac:spMkLst>
            <pc:docMk/>
            <pc:sldMk cId="2762699452" sldId="2134809501"/>
            <ac:spMk id="67" creationId="{0980C512-4606-4251-C34D-8B999290AEAC}"/>
          </ac:spMkLst>
        </pc:spChg>
        <pc:spChg chg="mod">
          <ac:chgData name="Eason Jin" userId="a4b70968-441b-4713-961f-11f6cb57826b" providerId="ADAL" clId="{CCD39839-2DA1-48AD-A21E-9C616244AB40}" dt="2025-12-16T00:52:56.822" v="76" actId="962"/>
          <ac:spMkLst>
            <pc:docMk/>
            <pc:sldMk cId="2762699452" sldId="2134809501"/>
            <ac:spMk id="69" creationId="{DAD040A1-B0DB-F70E-402C-5C71D9B6FE9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noProof="0" dirty="0"/>
              <a:t>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6E-4CB7-A4C6-0E4953FADF3D}"/>
            </c:ext>
          </c:extLst>
        </c:ser>
        <c:ser>
          <c:idx val="1"/>
          <c:order val="1"/>
          <c:tx>
            <c:strRef>
              <c:f>Feuil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6E-4CB7-A4C6-0E4953FADF3D}"/>
            </c:ext>
          </c:extLst>
        </c:ser>
        <c:ser>
          <c:idx val="2"/>
          <c:order val="2"/>
          <c:tx>
            <c:strRef>
              <c:f>Feuil1!$D$1</c:f>
              <c:strCache>
                <c:ptCount val="1"/>
                <c:pt idx="0">
                  <c:v>Séri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6E-4CB7-A4C6-0E4953FADF3D}"/>
            </c:ext>
          </c:extLst>
        </c:ser>
        <c:dLbls>
          <c:showLegendKey val="0"/>
          <c:showVal val="1"/>
          <c:showCatName val="0"/>
          <c:showSerName val="0"/>
          <c:showPercent val="0"/>
          <c:showBubbleSize val="0"/>
        </c:dLbls>
        <c:gapWidth val="150"/>
        <c:overlap val="-25"/>
        <c:axId val="1652731208"/>
        <c:axId val="1652733176"/>
      </c:barChart>
      <c:catAx>
        <c:axId val="1652731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52733176"/>
        <c:crosses val="autoZero"/>
        <c:auto val="1"/>
        <c:lblAlgn val="ctr"/>
        <c:lblOffset val="100"/>
        <c:noMultiLvlLbl val="0"/>
      </c:catAx>
      <c:valAx>
        <c:axId val="1652733176"/>
        <c:scaling>
          <c:orientation val="minMax"/>
        </c:scaling>
        <c:delete val="1"/>
        <c:axPos val="l"/>
        <c:numFmt formatCode="General" sourceLinked="1"/>
        <c:majorTickMark val="out"/>
        <c:minorTickMark val="none"/>
        <c:tickLblPos val="nextTo"/>
        <c:crossAx val="16527312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912751869348042E-2"/>
          <c:y val="3.0209807872541856E-2"/>
          <c:w val="0.88223062752671833"/>
          <c:h val="0.9395803842549163"/>
        </c:manualLayout>
      </c:layout>
      <c:barChart>
        <c:barDir val="bar"/>
        <c:grouping val="clustered"/>
        <c:varyColors val="0"/>
        <c:ser>
          <c:idx val="2"/>
          <c:order val="0"/>
          <c:tx>
            <c:strRef>
              <c:f>Sheet1!$B$1</c:f>
              <c:strCache>
                <c:ptCount val="1"/>
                <c:pt idx="0">
                  <c:v>Series 1</c:v>
                </c:pt>
              </c:strCache>
            </c:strRef>
          </c:tx>
          <c:spPr>
            <a:solidFill>
              <a:schemeClr val="accent3"/>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7AED-4024-B112-85552CB283D3}"/>
              </c:ext>
            </c:extLst>
          </c:dPt>
          <c:dPt>
            <c:idx val="1"/>
            <c:invertIfNegative val="0"/>
            <c:bubble3D val="0"/>
            <c:spPr>
              <a:solidFill>
                <a:schemeClr val="bg2"/>
              </a:solidFill>
              <a:ln>
                <a:noFill/>
              </a:ln>
              <a:effectLst/>
            </c:spPr>
            <c:extLst>
              <c:ext xmlns:c16="http://schemas.microsoft.com/office/drawing/2014/chart" uri="{C3380CC4-5D6E-409C-BE32-E72D297353CC}">
                <c16:uniqueId val="{00000006-53A0-4D23-BDD7-7165B59B3FB8}"/>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7AED-4024-B112-85552CB283D3}"/>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7AED-4024-B112-85552CB283D3}"/>
              </c:ext>
            </c:extLst>
          </c:dPt>
          <c:dLbls>
            <c:dLbl>
              <c:idx val="0"/>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r>
                      <a:rPr lang="en-US" err="1">
                        <a:solidFill>
                          <a:schemeClr val="tx1"/>
                        </a:solidFill>
                      </a:rPr>
                      <a:t>Technology</a:t>
                    </a:r>
                    <a:r>
                      <a:rPr lang="en-US">
                        <a:solidFill>
                          <a:schemeClr val="tx1"/>
                        </a:solidFill>
                      </a:rPr>
                      <a:t> 30%</a:t>
                    </a:r>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endParaRPr lang="fr-FR"/>
                </a:p>
              </c:txPr>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1-7AED-4024-B112-85552CB283D3}"/>
                </c:ext>
              </c:extLst>
            </c:dLbl>
            <c:dLbl>
              <c:idx val="1"/>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r>
                      <a:rPr lang="en-US" dirty="0">
                        <a:solidFill>
                          <a:schemeClr val="tx1"/>
                        </a:solidFill>
                      </a:rPr>
                      <a:t>Process 40%</a:t>
                    </a:r>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endParaRPr lang="fr-FR"/>
                </a:p>
              </c:txPr>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6-53A0-4D23-BDD7-7165B59B3FB8}"/>
                </c:ext>
              </c:extLst>
            </c:dLbl>
            <c:dLbl>
              <c:idx val="2"/>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r>
                      <a:rPr lang="en-US" err="1">
                        <a:solidFill>
                          <a:schemeClr val="tx1"/>
                        </a:solidFill>
                      </a:rPr>
                      <a:t>Productivity</a:t>
                    </a:r>
                    <a:r>
                      <a:rPr lang="en-US">
                        <a:solidFill>
                          <a:schemeClr val="tx1"/>
                        </a:solidFill>
                      </a:rPr>
                      <a:t> 20%</a:t>
                    </a:r>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endParaRPr lang="fr-FR"/>
                </a:p>
              </c:txPr>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3-7AED-4024-B112-85552CB283D3}"/>
                </c:ext>
              </c:extLst>
            </c:dLbl>
            <c:dLbl>
              <c:idx val="3"/>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r>
                      <a:rPr lang="en-US">
                        <a:solidFill>
                          <a:schemeClr val="tx1"/>
                        </a:solidFill>
                      </a:rPr>
                      <a:t>Education 10%</a:t>
                    </a:r>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solidFill>
                      <a:latin typeface="+mn-lt"/>
                      <a:ea typeface="+mn-ea"/>
                      <a:cs typeface="+mn-cs"/>
                    </a:defRPr>
                  </a:pPr>
                  <a:endParaRPr lang="fr-FR"/>
                </a:p>
              </c:txPr>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5-7AED-4024-B112-85552CB283D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fr-FR"/>
              </a:p>
            </c:txP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echnology</c:v>
                </c:pt>
                <c:pt idx="1">
                  <c:v>Process</c:v>
                </c:pt>
                <c:pt idx="2">
                  <c:v>Productivity</c:v>
                </c:pt>
                <c:pt idx="3">
                  <c:v>Education</c:v>
                </c:pt>
              </c:strCache>
            </c:strRef>
          </c:cat>
          <c:val>
            <c:numRef>
              <c:f>Sheet1!$B$2:$B$5</c:f>
              <c:numCache>
                <c:formatCode>0%</c:formatCode>
                <c:ptCount val="4"/>
                <c:pt idx="0">
                  <c:v>0.3</c:v>
                </c:pt>
                <c:pt idx="1">
                  <c:v>0.4</c:v>
                </c:pt>
                <c:pt idx="2">
                  <c:v>0.2</c:v>
                </c:pt>
                <c:pt idx="3">
                  <c:v>0.1</c:v>
                </c:pt>
              </c:numCache>
            </c:numRef>
          </c:val>
          <c:extLst>
            <c:ext xmlns:c16="http://schemas.microsoft.com/office/drawing/2014/chart" uri="{C3380CC4-5D6E-409C-BE32-E72D297353CC}">
              <c16:uniqueId val="{00000006-7AED-4024-B112-85552CB283D3}"/>
            </c:ext>
          </c:extLst>
        </c:ser>
        <c:dLbls>
          <c:showLegendKey val="0"/>
          <c:showVal val="0"/>
          <c:showCatName val="0"/>
          <c:showSerName val="0"/>
          <c:showPercent val="0"/>
          <c:showBubbleSize val="0"/>
        </c:dLbls>
        <c:gapWidth val="20"/>
        <c:axId val="579303264"/>
        <c:axId val="579304832"/>
      </c:barChart>
      <c:catAx>
        <c:axId val="579303264"/>
        <c:scaling>
          <c:orientation val="minMax"/>
        </c:scaling>
        <c:delete val="1"/>
        <c:axPos val="l"/>
        <c:numFmt formatCode="General" sourceLinked="1"/>
        <c:majorTickMark val="none"/>
        <c:minorTickMark val="none"/>
        <c:tickLblPos val="nextTo"/>
        <c:crossAx val="579304832"/>
        <c:crosses val="autoZero"/>
        <c:auto val="1"/>
        <c:lblAlgn val="ctr"/>
        <c:lblOffset val="100"/>
        <c:noMultiLvlLbl val="0"/>
      </c:catAx>
      <c:valAx>
        <c:axId val="579304832"/>
        <c:scaling>
          <c:orientation val="minMax"/>
        </c:scaling>
        <c:delete val="1"/>
        <c:axPos val="b"/>
        <c:numFmt formatCode="0%" sourceLinked="1"/>
        <c:majorTickMark val="none"/>
        <c:minorTickMark val="none"/>
        <c:tickLblPos val="nextTo"/>
        <c:crossAx val="579303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3103448275862E-2"/>
          <c:y val="7.6599719757122833E-2"/>
          <c:w val="0.96413793103448275"/>
          <c:h val="0.89911256422232599"/>
        </c:manualLayout>
      </c:layout>
      <c:barChart>
        <c:barDir val="col"/>
        <c:grouping val="stacked"/>
        <c:varyColors val="0"/>
        <c:ser>
          <c:idx val="0"/>
          <c:order val="0"/>
          <c:spPr>
            <a:solidFill>
              <a:schemeClr val="accent2"/>
            </a:solidFill>
            <a:ln>
              <a:noFill/>
            </a:ln>
          </c:spPr>
          <c:invertIfNegative val="0"/>
          <c:dPt>
            <c:idx val="1"/>
            <c:invertIfNegative val="0"/>
            <c:bubble3D val="0"/>
            <c:spPr>
              <a:noFill/>
              <a:ln>
                <a:noFill/>
              </a:ln>
            </c:spPr>
            <c:extLst>
              <c:ext xmlns:c16="http://schemas.microsoft.com/office/drawing/2014/chart" uri="{C3380CC4-5D6E-409C-BE32-E72D297353CC}">
                <c16:uniqueId val="{00000000-BE28-4B77-81AA-38036C407B0C}"/>
              </c:ext>
            </c:extLst>
          </c:dPt>
          <c:dLbls>
            <c:dLbl>
              <c:idx val="0"/>
              <c:layout>
                <c:manualLayout>
                  <c:x val="0"/>
                  <c:y val="-0.338159738439981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E28-4B77-81AA-38036C407B0C}"/>
                </c:ext>
              </c:extLst>
            </c:dLbl>
            <c:dLbl>
              <c:idx val="2"/>
              <c:layout>
                <c:manualLayout>
                  <c:x val="0"/>
                  <c:y val="-0.4885567491826249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E28-4B77-81AA-38036C407B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0</c:v>
                </c:pt>
                <c:pt idx="1">
                  <c:v>140</c:v>
                </c:pt>
                <c:pt idx="2">
                  <c:v>210</c:v>
                </c:pt>
              </c:numCache>
            </c:numRef>
          </c:val>
          <c:extLst>
            <c:ext xmlns:c16="http://schemas.microsoft.com/office/drawing/2014/chart" uri="{C3380CC4-5D6E-409C-BE32-E72D297353CC}">
              <c16:uniqueId val="{00000003-BE28-4B77-81AA-38036C407B0C}"/>
            </c:ext>
          </c:extLst>
        </c:ser>
        <c:ser>
          <c:idx val="1"/>
          <c:order val="1"/>
          <c:spPr>
            <a:solidFill>
              <a:schemeClr val="accent6"/>
            </a:solidFill>
            <a:ln>
              <a:noFill/>
            </a:ln>
          </c:spPr>
          <c:invertIfNegative val="0"/>
          <c:dLbls>
            <c:dLbl>
              <c:idx val="1"/>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E28-4B77-81AA-38036C407B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70</c:v>
                </c:pt>
              </c:numCache>
            </c:numRef>
          </c:val>
          <c:extLst>
            <c:ext xmlns:c16="http://schemas.microsoft.com/office/drawing/2014/chart" uri="{C3380CC4-5D6E-409C-BE32-E72D297353CC}">
              <c16:uniqueId val="{00000005-BE28-4B77-81AA-38036C407B0C}"/>
            </c:ext>
          </c:extLst>
        </c:ser>
        <c:dLbls>
          <c:showLegendKey val="0"/>
          <c:showVal val="0"/>
          <c:showCatName val="0"/>
          <c:showSerName val="0"/>
          <c:showPercent val="0"/>
          <c:showBubbleSize val="0"/>
        </c:dLbls>
        <c:gapWidth val="80"/>
        <c:overlap val="100"/>
        <c:axId val="1931817647"/>
        <c:axId val="1"/>
      </c:barChart>
      <c:catAx>
        <c:axId val="19318176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0"/>
          <c:min val="0"/>
        </c:scaling>
        <c:delete val="1"/>
        <c:axPos val="l"/>
        <c:numFmt formatCode="General" sourceLinked="1"/>
        <c:majorTickMark val="out"/>
        <c:minorTickMark val="none"/>
        <c:tickLblPos val="nextTo"/>
        <c:crossAx val="193181764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4423278404700533E-2"/>
          <c:w val="1"/>
          <c:h val="0.95514600080950163"/>
        </c:manualLayout>
      </c:layout>
      <c:barChart>
        <c:barDir val="bar"/>
        <c:grouping val="stacked"/>
        <c:varyColors val="0"/>
        <c:ser>
          <c:idx val="0"/>
          <c:order val="0"/>
          <c:tx>
            <c:strRef>
              <c:f>Feuil1!$B$1</c:f>
              <c:strCache>
                <c:ptCount val="1"/>
                <c:pt idx="0">
                  <c:v>Série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0-5B84-4D7B-A4D7-6B83CAF4C8C8}"/>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C42B-49AA-8BC6-D656C59C923B}"/>
              </c:ext>
            </c:extLst>
          </c:dPt>
          <c:dPt>
            <c:idx val="2"/>
            <c:invertIfNegative val="0"/>
            <c:bubble3D val="0"/>
            <c:spPr>
              <a:solidFill>
                <a:schemeClr val="tx2"/>
              </a:solidFill>
              <a:ln>
                <a:noFill/>
              </a:ln>
              <a:effectLst/>
            </c:spPr>
            <c:extLst>
              <c:ext xmlns:c16="http://schemas.microsoft.com/office/drawing/2014/chart" uri="{C3380CC4-5D6E-409C-BE32-E72D297353CC}">
                <c16:uniqueId val="{00000004-C42B-49AA-8BC6-D656C59C923B}"/>
              </c:ext>
            </c:extLst>
          </c:dPt>
          <c:dPt>
            <c:idx val="3"/>
            <c:invertIfNegative val="0"/>
            <c:bubble3D val="0"/>
            <c:spPr>
              <a:solidFill>
                <a:schemeClr val="bg2"/>
              </a:solidFill>
              <a:ln>
                <a:noFill/>
              </a:ln>
              <a:effectLst/>
            </c:spPr>
            <c:extLst>
              <c:ext xmlns:c16="http://schemas.microsoft.com/office/drawing/2014/chart" uri="{C3380CC4-5D6E-409C-BE32-E72D297353CC}">
                <c16:uniqueId val="{00000005-C42B-49AA-8BC6-D656C59C923B}"/>
              </c:ext>
            </c:extLst>
          </c:dPt>
          <c:dLbls>
            <c:dLbl>
              <c:idx val="3"/>
              <c:tx>
                <c:rich>
                  <a:bodyPr/>
                  <a:lstStyle/>
                  <a:p>
                    <a:fld id="{DBAF5649-B7CB-43B3-B8C3-5CD04B700ECA}" type="VALUE">
                      <a:rPr lang="en-US">
                        <a:solidFill>
                          <a:schemeClr val="accent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42B-49AA-8BC6-D656C59C923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atégorie 1</c:v>
                </c:pt>
                <c:pt idx="1">
                  <c:v>Catégorie 2</c:v>
                </c:pt>
                <c:pt idx="2">
                  <c:v>Catégorie 3</c:v>
                </c:pt>
              </c:strCache>
            </c:strRef>
          </c:cat>
          <c:val>
            <c:numRef>
              <c:f>Feuil1!$B$2:$B$4</c:f>
              <c:numCache>
                <c:formatCode>General</c:formatCode>
                <c:ptCount val="3"/>
                <c:pt idx="0">
                  <c:v>10</c:v>
                </c:pt>
                <c:pt idx="1">
                  <c:v>5</c:v>
                </c:pt>
                <c:pt idx="2">
                  <c:v>-2</c:v>
                </c:pt>
              </c:numCache>
            </c:numRef>
          </c:val>
          <c:extLst>
            <c:ext xmlns:c16="http://schemas.microsoft.com/office/drawing/2014/chart" uri="{C3380CC4-5D6E-409C-BE32-E72D297353CC}">
              <c16:uniqueId val="{00000000-C42B-49AA-8BC6-D656C59C923B}"/>
            </c:ext>
          </c:extLst>
        </c:ser>
        <c:dLbls>
          <c:showLegendKey val="0"/>
          <c:showVal val="0"/>
          <c:showCatName val="0"/>
          <c:showSerName val="0"/>
          <c:showPercent val="0"/>
          <c:showBubbleSize val="0"/>
        </c:dLbls>
        <c:gapWidth val="80"/>
        <c:overlap val="100"/>
        <c:axId val="1771214336"/>
        <c:axId val="1771201856"/>
      </c:barChart>
      <c:catAx>
        <c:axId val="177121433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71201856"/>
        <c:crosses val="autoZero"/>
        <c:auto val="1"/>
        <c:lblAlgn val="ctr"/>
        <c:lblOffset val="100"/>
        <c:noMultiLvlLbl val="0"/>
      </c:catAx>
      <c:valAx>
        <c:axId val="1771201856"/>
        <c:scaling>
          <c:orientation val="minMax"/>
        </c:scaling>
        <c:delete val="1"/>
        <c:axPos val="t"/>
        <c:numFmt formatCode="General" sourceLinked="1"/>
        <c:majorTickMark val="none"/>
        <c:minorTickMark val="none"/>
        <c:tickLblPos val="nextTo"/>
        <c:crossAx val="17712143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081986091782203E-2"/>
          <c:y val="1.8378163781323113E-2"/>
          <c:w val="0.98591801390821776"/>
          <c:h val="0.96329354008233004"/>
        </c:manualLayout>
      </c:layout>
      <c:barChart>
        <c:barDir val="bar"/>
        <c:grouping val="stacked"/>
        <c:varyColors val="0"/>
        <c:ser>
          <c:idx val="0"/>
          <c:order val="0"/>
          <c:tx>
            <c:strRef>
              <c:f>Feuil1!$B$1</c:f>
              <c:strCache>
                <c:ptCount val="1"/>
                <c:pt idx="0">
                  <c:v>Série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7-635F-4898-9CB2-9F9AE1144A14}"/>
              </c:ext>
            </c:extLst>
          </c:dPt>
          <c:dPt>
            <c:idx val="1"/>
            <c:invertIfNegative val="0"/>
            <c:bubble3D val="0"/>
            <c:spPr>
              <a:solidFill>
                <a:schemeClr val="tx2"/>
              </a:solidFill>
              <a:ln>
                <a:noFill/>
              </a:ln>
              <a:effectLst/>
            </c:spPr>
            <c:extLst>
              <c:ext xmlns:c16="http://schemas.microsoft.com/office/drawing/2014/chart" uri="{C3380CC4-5D6E-409C-BE32-E72D297353CC}">
                <c16:uniqueId val="{00000001-635F-4898-9CB2-9F9AE1144A1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635F-4898-9CB2-9F9AE1144A14}"/>
              </c:ext>
            </c:extLst>
          </c:dPt>
          <c:dPt>
            <c:idx val="3"/>
            <c:invertIfNegative val="0"/>
            <c:bubble3D val="0"/>
            <c:spPr>
              <a:solidFill>
                <a:schemeClr val="bg2"/>
              </a:solidFill>
              <a:ln>
                <a:noFill/>
              </a:ln>
              <a:effectLst/>
            </c:spPr>
            <c:extLst>
              <c:ext xmlns:c16="http://schemas.microsoft.com/office/drawing/2014/chart" uri="{C3380CC4-5D6E-409C-BE32-E72D297353CC}">
                <c16:uniqueId val="{00000005-635F-4898-9CB2-9F9AE1144A14}"/>
              </c:ext>
            </c:extLst>
          </c:dPt>
          <c:dLbls>
            <c:dLbl>
              <c:idx val="3"/>
              <c:tx>
                <c:rich>
                  <a:bodyPr/>
                  <a:lstStyle/>
                  <a:p>
                    <a:fld id="{EA777B74-FD5C-423F-A2C5-1E90AEE06D0A}" type="VALUE">
                      <a:rPr lang="en-US">
                        <a:solidFill>
                          <a:schemeClr val="accent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35F-4898-9CB2-9F9AE1144A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atégorie 1</c:v>
                </c:pt>
                <c:pt idx="1">
                  <c:v>Catégorie 2</c:v>
                </c:pt>
                <c:pt idx="2">
                  <c:v>Catégorie 3</c:v>
                </c:pt>
              </c:strCache>
            </c:strRef>
          </c:cat>
          <c:val>
            <c:numRef>
              <c:f>Feuil1!$B$2:$B$4</c:f>
              <c:numCache>
                <c:formatCode>General</c:formatCode>
                <c:ptCount val="3"/>
                <c:pt idx="0">
                  <c:v>13</c:v>
                </c:pt>
                <c:pt idx="1">
                  <c:v>30</c:v>
                </c:pt>
                <c:pt idx="2">
                  <c:v>21</c:v>
                </c:pt>
              </c:numCache>
            </c:numRef>
          </c:val>
          <c:extLst>
            <c:ext xmlns:c16="http://schemas.microsoft.com/office/drawing/2014/chart" uri="{C3380CC4-5D6E-409C-BE32-E72D297353CC}">
              <c16:uniqueId val="{00000006-635F-4898-9CB2-9F9AE1144A14}"/>
            </c:ext>
          </c:extLst>
        </c:ser>
        <c:dLbls>
          <c:showLegendKey val="0"/>
          <c:showVal val="0"/>
          <c:showCatName val="0"/>
          <c:showSerName val="0"/>
          <c:showPercent val="0"/>
          <c:showBubbleSize val="0"/>
        </c:dLbls>
        <c:gapWidth val="80"/>
        <c:overlap val="100"/>
        <c:axId val="1771214336"/>
        <c:axId val="1771201856"/>
      </c:barChart>
      <c:catAx>
        <c:axId val="177121433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71201856"/>
        <c:crosses val="autoZero"/>
        <c:auto val="1"/>
        <c:lblAlgn val="ctr"/>
        <c:lblOffset val="100"/>
        <c:noMultiLvlLbl val="0"/>
      </c:catAx>
      <c:valAx>
        <c:axId val="1771201856"/>
        <c:scaling>
          <c:orientation val="minMax"/>
        </c:scaling>
        <c:delete val="1"/>
        <c:axPos val="t"/>
        <c:numFmt formatCode="General" sourceLinked="1"/>
        <c:majorTickMark val="out"/>
        <c:minorTickMark val="none"/>
        <c:tickLblPos val="nextTo"/>
        <c:crossAx val="17712143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5803782057295E-2"/>
          <c:w val="1"/>
          <c:h val="0.95452823581728519"/>
        </c:manualLayout>
      </c:layout>
      <c:barChart>
        <c:barDir val="bar"/>
        <c:grouping val="stacked"/>
        <c:varyColors val="0"/>
        <c:ser>
          <c:idx val="0"/>
          <c:order val="0"/>
          <c:tx>
            <c:strRef>
              <c:f>Feuil1!$B$1</c:f>
              <c:strCache>
                <c:ptCount val="1"/>
                <c:pt idx="0">
                  <c:v>Série 1</c:v>
                </c:pt>
              </c:strCache>
            </c:strRef>
          </c:tx>
          <c:spPr>
            <a:solidFill>
              <a:schemeClr val="accent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0-5B84-4D7B-A4D7-6B83CAF4C8C8}"/>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4-C42B-49AA-8BC6-D656C59C923B}"/>
              </c:ext>
            </c:extLst>
          </c:dPt>
          <c:dLbls>
            <c:dLbl>
              <c:idx val="3"/>
              <c:tx>
                <c:rich>
                  <a:bodyPr/>
                  <a:lstStyle/>
                  <a:p>
                    <a:fld id="{DBAF5649-B7CB-43B3-B8C3-5CD04B700ECA}" type="VALUE">
                      <a:rPr lang="en-US">
                        <a:solidFill>
                          <a:schemeClr val="bg1"/>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42B-49AA-8BC6-D656C59C923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13</c:v>
                </c:pt>
                <c:pt idx="1">
                  <c:v>5</c:v>
                </c:pt>
                <c:pt idx="2">
                  <c:v>-2</c:v>
                </c:pt>
                <c:pt idx="3">
                  <c:v>10</c:v>
                </c:pt>
              </c:numCache>
            </c:numRef>
          </c:val>
          <c:extLst>
            <c:ext xmlns:c16="http://schemas.microsoft.com/office/drawing/2014/chart" uri="{C3380CC4-5D6E-409C-BE32-E72D297353CC}">
              <c16:uniqueId val="{00000000-C42B-49AA-8BC6-D656C59C923B}"/>
            </c:ext>
          </c:extLst>
        </c:ser>
        <c:dLbls>
          <c:showLegendKey val="0"/>
          <c:showVal val="0"/>
          <c:showCatName val="0"/>
          <c:showSerName val="0"/>
          <c:showPercent val="0"/>
          <c:showBubbleSize val="0"/>
        </c:dLbls>
        <c:gapWidth val="80"/>
        <c:overlap val="100"/>
        <c:axId val="1771214336"/>
        <c:axId val="1771201856"/>
      </c:barChart>
      <c:catAx>
        <c:axId val="177121433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71201856"/>
        <c:crosses val="autoZero"/>
        <c:auto val="1"/>
        <c:lblAlgn val="ctr"/>
        <c:lblOffset val="100"/>
        <c:noMultiLvlLbl val="0"/>
      </c:catAx>
      <c:valAx>
        <c:axId val="1771201856"/>
        <c:scaling>
          <c:orientation val="minMax"/>
        </c:scaling>
        <c:delete val="1"/>
        <c:axPos val="t"/>
        <c:numFmt formatCode="General" sourceLinked="1"/>
        <c:majorTickMark val="none"/>
        <c:minorTickMark val="none"/>
        <c:tickLblPos val="nextTo"/>
        <c:crossAx val="17712143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081986091782203E-2"/>
          <c:y val="1.2229551476554721E-2"/>
          <c:w val="0.98591801390821776"/>
          <c:h val="0.96944234533574869"/>
        </c:manualLayout>
      </c:layout>
      <c:barChart>
        <c:barDir val="bar"/>
        <c:grouping val="stacked"/>
        <c:varyColors val="0"/>
        <c:ser>
          <c:idx val="0"/>
          <c:order val="0"/>
          <c:tx>
            <c:strRef>
              <c:f>Feuil1!$B$1</c:f>
              <c:strCache>
                <c:ptCount val="1"/>
                <c:pt idx="0">
                  <c:v>Série 1</c:v>
                </c:pt>
              </c:strCache>
            </c:strRef>
          </c:tx>
          <c:spPr>
            <a:solidFill>
              <a:schemeClr val="accent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635F-4898-9CB2-9F9AE1144A14}"/>
              </c:ext>
            </c:extLst>
          </c:dPt>
          <c:dPt>
            <c:idx val="2"/>
            <c:invertIfNegative val="0"/>
            <c:bubble3D val="0"/>
            <c:spPr>
              <a:solidFill>
                <a:schemeClr val="tx2"/>
              </a:solidFill>
              <a:ln>
                <a:noFill/>
              </a:ln>
              <a:effectLst/>
            </c:spPr>
            <c:extLst>
              <c:ext xmlns:c16="http://schemas.microsoft.com/office/drawing/2014/chart" uri="{C3380CC4-5D6E-409C-BE32-E72D297353CC}">
                <c16:uniqueId val="{00000003-635F-4898-9CB2-9F9AE1144A14}"/>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5-635F-4898-9CB2-9F9AE1144A14}"/>
              </c:ext>
            </c:extLst>
          </c:dPt>
          <c:dLbls>
            <c:dLbl>
              <c:idx val="3"/>
              <c:tx>
                <c:rich>
                  <a:bodyPr/>
                  <a:lstStyle/>
                  <a:p>
                    <a:fld id="{EA777B74-FD5C-423F-A2C5-1E90AEE06D0A}" type="VALUE">
                      <a:rPr lang="en-US" smtClean="0">
                        <a:solidFill>
                          <a:schemeClr val="bg1"/>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35F-4898-9CB2-9F9AE1144A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13</c:v>
                </c:pt>
                <c:pt idx="1">
                  <c:v>21</c:v>
                </c:pt>
                <c:pt idx="2">
                  <c:v>30</c:v>
                </c:pt>
                <c:pt idx="3">
                  <c:v>10</c:v>
                </c:pt>
              </c:numCache>
            </c:numRef>
          </c:val>
          <c:extLst>
            <c:ext xmlns:c16="http://schemas.microsoft.com/office/drawing/2014/chart" uri="{C3380CC4-5D6E-409C-BE32-E72D297353CC}">
              <c16:uniqueId val="{00000006-635F-4898-9CB2-9F9AE1144A14}"/>
            </c:ext>
          </c:extLst>
        </c:ser>
        <c:dLbls>
          <c:showLegendKey val="0"/>
          <c:showVal val="0"/>
          <c:showCatName val="0"/>
          <c:showSerName val="0"/>
          <c:showPercent val="0"/>
          <c:showBubbleSize val="0"/>
        </c:dLbls>
        <c:gapWidth val="80"/>
        <c:overlap val="100"/>
        <c:axId val="1771214336"/>
        <c:axId val="1771201856"/>
      </c:barChart>
      <c:catAx>
        <c:axId val="1771214336"/>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71201856"/>
        <c:crosses val="autoZero"/>
        <c:auto val="1"/>
        <c:lblAlgn val="ctr"/>
        <c:lblOffset val="100"/>
        <c:noMultiLvlLbl val="0"/>
      </c:catAx>
      <c:valAx>
        <c:axId val="1771201856"/>
        <c:scaling>
          <c:orientation val="minMax"/>
        </c:scaling>
        <c:delete val="1"/>
        <c:axPos val="t"/>
        <c:numFmt formatCode="General" sourceLinked="1"/>
        <c:majorTickMark val="out"/>
        <c:minorTickMark val="none"/>
        <c:tickLblPos val="nextTo"/>
        <c:crossAx val="17712143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41385192766974E-2"/>
          <c:y val="1.7741385192766974E-2"/>
          <c:w val="0.96451722961446607"/>
          <c:h val="0.96451722961446607"/>
        </c:manualLayout>
      </c:layout>
      <c:doughnutChart>
        <c:varyColors val="0"/>
        <c:ser>
          <c:idx val="0"/>
          <c:order val="0"/>
          <c:dPt>
            <c:idx val="0"/>
            <c:bubble3D val="0"/>
            <c:spPr>
              <a:solidFill>
                <a:schemeClr val="bg2"/>
              </a:solidFill>
              <a:ln>
                <a:noFill/>
              </a:ln>
            </c:spPr>
            <c:extLst>
              <c:ext xmlns:c16="http://schemas.microsoft.com/office/drawing/2014/chart" uri="{C3380CC4-5D6E-409C-BE32-E72D297353CC}">
                <c16:uniqueId val="{00000000-C4D4-46A2-93C5-C2655B6CF917}"/>
              </c:ext>
            </c:extLst>
          </c:dPt>
          <c:dPt>
            <c:idx val="1"/>
            <c:bubble3D val="0"/>
            <c:spPr>
              <a:solidFill>
                <a:schemeClr val="accent3"/>
              </a:solidFill>
              <a:ln>
                <a:noFill/>
              </a:ln>
            </c:spPr>
            <c:extLst>
              <c:ext xmlns:c16="http://schemas.microsoft.com/office/drawing/2014/chart" uri="{C3380CC4-5D6E-409C-BE32-E72D297353CC}">
                <c16:uniqueId val="{00000001-C4D4-46A2-93C5-C2655B6CF917}"/>
              </c:ext>
            </c:extLst>
          </c:dPt>
          <c:dPt>
            <c:idx val="2"/>
            <c:bubble3D val="0"/>
            <c:spPr>
              <a:solidFill>
                <a:schemeClr val="accent2"/>
              </a:solidFill>
              <a:ln>
                <a:noFill/>
              </a:ln>
            </c:spPr>
            <c:extLst>
              <c:ext xmlns:c16="http://schemas.microsoft.com/office/drawing/2014/chart" uri="{C3380CC4-5D6E-409C-BE32-E72D297353CC}">
                <c16:uniqueId val="{00000002-C4D4-46A2-93C5-C2655B6CF917}"/>
              </c:ext>
            </c:extLst>
          </c:dPt>
          <c:dPt>
            <c:idx val="3"/>
            <c:bubble3D val="0"/>
            <c:spPr>
              <a:solidFill>
                <a:srgbClr val="FFFFFF"/>
              </a:solidFill>
              <a:ln>
                <a:noFill/>
              </a:ln>
            </c:spPr>
            <c:extLst>
              <c:ext xmlns:c16="http://schemas.microsoft.com/office/drawing/2014/chart" uri="{C3380CC4-5D6E-409C-BE32-E72D297353CC}">
                <c16:uniqueId val="{00000003-C4D4-46A2-93C5-C2655B6CF917}"/>
              </c:ext>
            </c:extLst>
          </c:dPt>
          <c:val>
            <c:numRef>
              <c:f>Sheet1!$A$1:$A$4</c:f>
              <c:numCache>
                <c:formatCode>General</c:formatCode>
                <c:ptCount val="4"/>
                <c:pt idx="0">
                  <c:v>16.66</c:v>
                </c:pt>
                <c:pt idx="1">
                  <c:v>16.66</c:v>
                </c:pt>
                <c:pt idx="2">
                  <c:v>16.66</c:v>
                </c:pt>
                <c:pt idx="3">
                  <c:v>50</c:v>
                </c:pt>
              </c:numCache>
            </c:numRef>
          </c:val>
          <c:extLst>
            <c:ext xmlns:c16="http://schemas.microsoft.com/office/drawing/2014/chart" uri="{C3380CC4-5D6E-409C-BE32-E72D297353CC}">
              <c16:uniqueId val="{00000004-C4D4-46A2-93C5-C2655B6CF917}"/>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noProof="0" dirty="0"/>
              <a:t>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6E-4CB7-A4C6-0E4953FADF3D}"/>
            </c:ext>
          </c:extLst>
        </c:ser>
        <c:ser>
          <c:idx val="1"/>
          <c:order val="1"/>
          <c:tx>
            <c:strRef>
              <c:f>Feuil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6E-4CB7-A4C6-0E4953FADF3D}"/>
            </c:ext>
          </c:extLst>
        </c:ser>
        <c:ser>
          <c:idx val="2"/>
          <c:order val="2"/>
          <c:tx>
            <c:strRef>
              <c:f>Feuil1!$D$1</c:f>
              <c:strCache>
                <c:ptCount val="1"/>
                <c:pt idx="0">
                  <c:v>Séri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6E-4CB7-A4C6-0E4953FADF3D}"/>
            </c:ext>
          </c:extLst>
        </c:ser>
        <c:dLbls>
          <c:showLegendKey val="0"/>
          <c:showVal val="1"/>
          <c:showCatName val="0"/>
          <c:showSerName val="0"/>
          <c:showPercent val="0"/>
          <c:showBubbleSize val="0"/>
        </c:dLbls>
        <c:gapWidth val="150"/>
        <c:overlap val="-25"/>
        <c:axId val="1652731208"/>
        <c:axId val="1652733176"/>
      </c:barChart>
      <c:catAx>
        <c:axId val="1652731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52733176"/>
        <c:crosses val="autoZero"/>
        <c:auto val="1"/>
        <c:lblAlgn val="ctr"/>
        <c:lblOffset val="100"/>
        <c:noMultiLvlLbl val="0"/>
      </c:catAx>
      <c:valAx>
        <c:axId val="1652733176"/>
        <c:scaling>
          <c:orientation val="minMax"/>
        </c:scaling>
        <c:delete val="1"/>
        <c:axPos val="l"/>
        <c:numFmt formatCode="General" sourceLinked="1"/>
        <c:majorTickMark val="out"/>
        <c:minorTickMark val="none"/>
        <c:tickLblPos val="nextTo"/>
        <c:crossAx val="16527312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397-4F4C-AA51-895D5ECD1A27}"/>
            </c:ext>
          </c:extLst>
        </c:ser>
        <c:ser>
          <c:idx val="1"/>
          <c:order val="1"/>
          <c:tx>
            <c:strRef>
              <c:f>Feuil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397-4F4C-AA51-895D5ECD1A27}"/>
            </c:ext>
          </c:extLst>
        </c:ser>
        <c:ser>
          <c:idx val="2"/>
          <c:order val="2"/>
          <c:tx>
            <c:strRef>
              <c:f>Feuil1!$D$1</c:f>
              <c:strCache>
                <c:ptCount val="1"/>
                <c:pt idx="0">
                  <c:v>Séri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397-4F4C-AA51-895D5ECD1A27}"/>
            </c:ext>
          </c:extLst>
        </c:ser>
        <c:dLbls>
          <c:showLegendKey val="0"/>
          <c:showVal val="1"/>
          <c:showCatName val="0"/>
          <c:showSerName val="0"/>
          <c:showPercent val="0"/>
          <c:showBubbleSize val="0"/>
        </c:dLbls>
        <c:gapWidth val="150"/>
        <c:overlap val="-25"/>
        <c:axId val="1652731208"/>
        <c:axId val="1652733176"/>
      </c:barChart>
      <c:catAx>
        <c:axId val="1652731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52733176"/>
        <c:crosses val="autoZero"/>
        <c:auto val="1"/>
        <c:lblAlgn val="ctr"/>
        <c:lblOffset val="100"/>
        <c:noMultiLvlLbl val="0"/>
      </c:catAx>
      <c:valAx>
        <c:axId val="1652733176"/>
        <c:scaling>
          <c:orientation val="minMax"/>
        </c:scaling>
        <c:delete val="1"/>
        <c:axPos val="l"/>
        <c:numFmt formatCode="General" sourceLinked="1"/>
        <c:majorTickMark val="out"/>
        <c:minorTickMark val="none"/>
        <c:tickLblPos val="nextTo"/>
        <c:crossAx val="16527312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6E-4CB7-A4C6-0E4953FADF3D}"/>
            </c:ext>
          </c:extLst>
        </c:ser>
        <c:ser>
          <c:idx val="1"/>
          <c:order val="1"/>
          <c:tx>
            <c:strRef>
              <c:f>Feuil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6E-4CB7-A4C6-0E4953FADF3D}"/>
            </c:ext>
          </c:extLst>
        </c:ser>
        <c:ser>
          <c:idx val="2"/>
          <c:order val="2"/>
          <c:tx>
            <c:strRef>
              <c:f>Feuil1!$D$1</c:f>
              <c:strCache>
                <c:ptCount val="1"/>
                <c:pt idx="0">
                  <c:v>Séri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6E-4CB7-A4C6-0E4953FADF3D}"/>
            </c:ext>
          </c:extLst>
        </c:ser>
        <c:dLbls>
          <c:showLegendKey val="0"/>
          <c:showVal val="1"/>
          <c:showCatName val="0"/>
          <c:showSerName val="0"/>
          <c:showPercent val="0"/>
          <c:showBubbleSize val="0"/>
        </c:dLbls>
        <c:gapWidth val="150"/>
        <c:overlap val="-25"/>
        <c:axId val="1652731208"/>
        <c:axId val="1652733176"/>
      </c:barChart>
      <c:catAx>
        <c:axId val="1652731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52733176"/>
        <c:crosses val="autoZero"/>
        <c:auto val="1"/>
        <c:lblAlgn val="ctr"/>
        <c:lblOffset val="100"/>
        <c:noMultiLvlLbl val="0"/>
      </c:catAx>
      <c:valAx>
        <c:axId val="1652733176"/>
        <c:scaling>
          <c:orientation val="minMax"/>
        </c:scaling>
        <c:delete val="1"/>
        <c:axPos val="l"/>
        <c:numFmt formatCode="General" sourceLinked="1"/>
        <c:majorTickMark val="none"/>
        <c:minorTickMark val="none"/>
        <c:tickLblPos val="nextTo"/>
        <c:crossAx val="1652731208"/>
        <c:crosses val="autoZero"/>
        <c:crossBetween val="between"/>
      </c:valAx>
      <c:spPr>
        <a:noFill/>
        <a:ln>
          <a:noFill/>
        </a:ln>
        <a:effectLst/>
      </c:spPr>
    </c:plotArea>
    <c:legend>
      <c:legendPos val="t"/>
      <c:layout>
        <c:manualLayout>
          <c:xMode val="edge"/>
          <c:yMode val="edge"/>
          <c:x val="0.39028851711516521"/>
          <c:y val="9.0774920851508872E-2"/>
          <c:w val="0.21700949510668824"/>
          <c:h val="5.63284092300363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6E-4CB7-A4C6-0E4953FADF3D}"/>
            </c:ext>
          </c:extLst>
        </c:ser>
        <c:ser>
          <c:idx val="1"/>
          <c:order val="1"/>
          <c:tx>
            <c:strRef>
              <c:f>Feuil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6E-4CB7-A4C6-0E4953FADF3D}"/>
            </c:ext>
          </c:extLst>
        </c:ser>
        <c:ser>
          <c:idx val="2"/>
          <c:order val="2"/>
          <c:tx>
            <c:strRef>
              <c:f>Feuil1!$D$1</c:f>
              <c:strCache>
                <c:ptCount val="1"/>
                <c:pt idx="0">
                  <c:v>Série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6E-4CB7-A4C6-0E4953FADF3D}"/>
            </c:ext>
          </c:extLst>
        </c:ser>
        <c:dLbls>
          <c:showLegendKey val="0"/>
          <c:showVal val="1"/>
          <c:showCatName val="0"/>
          <c:showSerName val="0"/>
          <c:showPercent val="0"/>
          <c:showBubbleSize val="0"/>
        </c:dLbls>
        <c:gapWidth val="150"/>
        <c:overlap val="-25"/>
        <c:axId val="1652731208"/>
        <c:axId val="1652733176"/>
      </c:barChart>
      <c:catAx>
        <c:axId val="1652731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52733176"/>
        <c:crosses val="autoZero"/>
        <c:auto val="1"/>
        <c:lblAlgn val="ctr"/>
        <c:lblOffset val="100"/>
        <c:noMultiLvlLbl val="0"/>
      </c:catAx>
      <c:valAx>
        <c:axId val="1652733176"/>
        <c:scaling>
          <c:orientation val="minMax"/>
        </c:scaling>
        <c:delete val="1"/>
        <c:axPos val="l"/>
        <c:numFmt formatCode="General" sourceLinked="1"/>
        <c:majorTickMark val="none"/>
        <c:minorTickMark val="none"/>
        <c:tickLblPos val="nextTo"/>
        <c:crossAx val="1652731208"/>
        <c:crosses val="autoZero"/>
        <c:crossBetween val="between"/>
      </c:valAx>
      <c:spPr>
        <a:noFill/>
        <a:ln>
          <a:noFill/>
        </a:ln>
        <a:effectLst/>
      </c:spPr>
    </c:plotArea>
    <c:legend>
      <c:legendPos val="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Série 1</c:v>
                </c:pt>
              </c:strCache>
            </c:strRef>
          </c:tx>
          <c:dPt>
            <c:idx val="0"/>
            <c:bubble3D val="0"/>
            <c:spPr>
              <a:solidFill>
                <a:schemeClr val="tx2"/>
              </a:solidFill>
              <a:ln>
                <a:noFill/>
              </a:ln>
              <a:effectLst/>
            </c:spPr>
            <c:extLst>
              <c:ext xmlns:c16="http://schemas.microsoft.com/office/drawing/2014/chart" uri="{C3380CC4-5D6E-409C-BE32-E72D297353CC}">
                <c16:uniqueId val="{00000001-41AA-432B-A45F-467DBE57E21D}"/>
              </c:ext>
            </c:extLst>
          </c:dPt>
          <c:dPt>
            <c:idx val="1"/>
            <c:bubble3D val="0"/>
            <c:spPr>
              <a:solidFill>
                <a:schemeClr val="accent2"/>
              </a:solidFill>
              <a:ln>
                <a:noFill/>
              </a:ln>
              <a:effectLst/>
            </c:spPr>
            <c:extLst>
              <c:ext xmlns:c16="http://schemas.microsoft.com/office/drawing/2014/chart" uri="{C3380CC4-5D6E-409C-BE32-E72D297353CC}">
                <c16:uniqueId val="{00000003-41AA-432B-A45F-467DBE57E21D}"/>
              </c:ext>
            </c:extLst>
          </c:dPt>
          <c:dPt>
            <c:idx val="2"/>
            <c:bubble3D val="0"/>
            <c:spPr>
              <a:solidFill>
                <a:schemeClr val="accent3"/>
              </a:solidFill>
              <a:ln>
                <a:noFill/>
              </a:ln>
              <a:effectLst/>
            </c:spPr>
            <c:extLst>
              <c:ext xmlns:c16="http://schemas.microsoft.com/office/drawing/2014/chart" uri="{C3380CC4-5D6E-409C-BE32-E72D297353CC}">
                <c16:uniqueId val="{00000005-41AA-432B-A45F-467DBE57E21D}"/>
              </c:ext>
            </c:extLst>
          </c:dPt>
          <c:dPt>
            <c:idx val="3"/>
            <c:bubble3D val="0"/>
            <c:spPr>
              <a:solidFill>
                <a:schemeClr val="bg2"/>
              </a:solidFill>
              <a:ln>
                <a:noFill/>
              </a:ln>
              <a:effectLst/>
            </c:spPr>
            <c:extLst>
              <c:ext xmlns:c16="http://schemas.microsoft.com/office/drawing/2014/chart" uri="{C3380CC4-5D6E-409C-BE32-E72D297353CC}">
                <c16:uniqueId val="{00000007-41AA-432B-A45F-467DBE57E21D}"/>
              </c:ext>
            </c:extLst>
          </c:dPt>
          <c:dLbls>
            <c:dLbl>
              <c:idx val="3"/>
              <c:tx>
                <c:rich>
                  <a:bodyPr/>
                  <a:lstStyle/>
                  <a:p>
                    <a:fld id="{A7C8B005-5D36-4570-9DA7-1A4B8729654E}" type="PERCENTAGE">
                      <a:rPr lang="en-US">
                        <a:solidFill>
                          <a:schemeClr val="accent2"/>
                        </a:solidFill>
                      </a:rPr>
                      <a:pPr/>
                      <a:t>[PERCENTAGE]</a:t>
                    </a:fld>
                    <a:endParaRPr lang="en-GB"/>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1AA-432B-A45F-467DBE57E21D}"/>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8-41AA-432B-A45F-467DBE57E21D}"/>
            </c:ext>
          </c:extLst>
        </c:ser>
        <c:ser>
          <c:idx val="1"/>
          <c:order val="1"/>
          <c:tx>
            <c:strRef>
              <c:f>Feuil1!$C$1</c:f>
              <c:strCache>
                <c:ptCount val="1"/>
                <c:pt idx="0">
                  <c:v>Série 2</c:v>
                </c:pt>
              </c:strCache>
            </c:strRef>
          </c:tx>
          <c:dPt>
            <c:idx val="0"/>
            <c:bubble3D val="0"/>
            <c:spPr>
              <a:solidFill>
                <a:schemeClr val="accent1"/>
              </a:solidFill>
              <a:ln>
                <a:noFill/>
              </a:ln>
              <a:effectLst/>
            </c:spPr>
            <c:extLst>
              <c:ext xmlns:c16="http://schemas.microsoft.com/office/drawing/2014/chart" uri="{C3380CC4-5D6E-409C-BE32-E72D297353CC}">
                <c16:uniqueId val="{0000000A-41AA-432B-A45F-467DBE57E21D}"/>
              </c:ext>
            </c:extLst>
          </c:dPt>
          <c:dPt>
            <c:idx val="1"/>
            <c:bubble3D val="0"/>
            <c:spPr>
              <a:solidFill>
                <a:schemeClr val="accent2"/>
              </a:solidFill>
              <a:ln>
                <a:noFill/>
              </a:ln>
              <a:effectLst/>
            </c:spPr>
            <c:extLst>
              <c:ext xmlns:c16="http://schemas.microsoft.com/office/drawing/2014/chart" uri="{C3380CC4-5D6E-409C-BE32-E72D297353CC}">
                <c16:uniqueId val="{0000000C-41AA-432B-A45F-467DBE57E21D}"/>
              </c:ext>
            </c:extLst>
          </c:dPt>
          <c:dPt>
            <c:idx val="2"/>
            <c:bubble3D val="0"/>
            <c:spPr>
              <a:solidFill>
                <a:schemeClr val="accent3"/>
              </a:solidFill>
              <a:ln>
                <a:noFill/>
              </a:ln>
              <a:effectLst/>
            </c:spPr>
            <c:extLst>
              <c:ext xmlns:c16="http://schemas.microsoft.com/office/drawing/2014/chart" uri="{C3380CC4-5D6E-409C-BE32-E72D297353CC}">
                <c16:uniqueId val="{0000000E-41AA-432B-A45F-467DBE57E21D}"/>
              </c:ext>
            </c:extLst>
          </c:dPt>
          <c:dPt>
            <c:idx val="3"/>
            <c:bubble3D val="0"/>
            <c:spPr>
              <a:solidFill>
                <a:schemeClr val="accent4"/>
              </a:solidFill>
              <a:ln>
                <a:noFill/>
              </a:ln>
              <a:effectLst/>
            </c:spPr>
            <c:extLst>
              <c:ext xmlns:c16="http://schemas.microsoft.com/office/drawing/2014/chart" uri="{C3380CC4-5D6E-409C-BE32-E72D297353CC}">
                <c16:uniqueId val="{00000010-41AA-432B-A45F-467DBE57E21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11-41AA-432B-A45F-467DBE57E21D}"/>
            </c:ext>
          </c:extLst>
        </c:ser>
        <c:ser>
          <c:idx val="2"/>
          <c:order val="2"/>
          <c:tx>
            <c:strRef>
              <c:f>Feuil1!$D$1</c:f>
              <c:strCache>
                <c:ptCount val="1"/>
                <c:pt idx="0">
                  <c:v>Série 3</c:v>
                </c:pt>
              </c:strCache>
            </c:strRef>
          </c:tx>
          <c:dPt>
            <c:idx val="0"/>
            <c:bubble3D val="0"/>
            <c:spPr>
              <a:solidFill>
                <a:schemeClr val="accent1"/>
              </a:solidFill>
              <a:ln>
                <a:noFill/>
              </a:ln>
              <a:effectLst/>
            </c:spPr>
            <c:extLst>
              <c:ext xmlns:c16="http://schemas.microsoft.com/office/drawing/2014/chart" uri="{C3380CC4-5D6E-409C-BE32-E72D297353CC}">
                <c16:uniqueId val="{00000013-41AA-432B-A45F-467DBE57E21D}"/>
              </c:ext>
            </c:extLst>
          </c:dPt>
          <c:dPt>
            <c:idx val="1"/>
            <c:bubble3D val="0"/>
            <c:spPr>
              <a:solidFill>
                <a:schemeClr val="accent2"/>
              </a:solidFill>
              <a:ln>
                <a:noFill/>
              </a:ln>
              <a:effectLst/>
            </c:spPr>
            <c:extLst>
              <c:ext xmlns:c16="http://schemas.microsoft.com/office/drawing/2014/chart" uri="{C3380CC4-5D6E-409C-BE32-E72D297353CC}">
                <c16:uniqueId val="{00000015-41AA-432B-A45F-467DBE57E21D}"/>
              </c:ext>
            </c:extLst>
          </c:dPt>
          <c:dPt>
            <c:idx val="2"/>
            <c:bubble3D val="0"/>
            <c:spPr>
              <a:solidFill>
                <a:schemeClr val="accent3"/>
              </a:solidFill>
              <a:ln>
                <a:noFill/>
              </a:ln>
              <a:effectLst/>
            </c:spPr>
            <c:extLst>
              <c:ext xmlns:c16="http://schemas.microsoft.com/office/drawing/2014/chart" uri="{C3380CC4-5D6E-409C-BE32-E72D297353CC}">
                <c16:uniqueId val="{00000017-41AA-432B-A45F-467DBE57E21D}"/>
              </c:ext>
            </c:extLst>
          </c:dPt>
          <c:dPt>
            <c:idx val="3"/>
            <c:bubble3D val="0"/>
            <c:spPr>
              <a:solidFill>
                <a:schemeClr val="accent4"/>
              </a:solidFill>
              <a:ln>
                <a:noFill/>
              </a:ln>
              <a:effectLst/>
            </c:spPr>
            <c:extLst>
              <c:ext xmlns:c16="http://schemas.microsoft.com/office/drawing/2014/chart" uri="{C3380CC4-5D6E-409C-BE32-E72D297353CC}">
                <c16:uniqueId val="{00000019-41AA-432B-A45F-467DBE57E21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1A-41AA-432B-A45F-467DBE57E21D}"/>
            </c:ext>
          </c:extLst>
        </c:ser>
        <c:dLbls>
          <c:showLegendKey val="0"/>
          <c:showVal val="0"/>
          <c:showCatName val="0"/>
          <c:showSerName val="0"/>
          <c:showPercent val="1"/>
          <c:showBubbleSize val="0"/>
          <c:showLeaderLines val="1"/>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accent1"/>
                </a:solidFill>
                <a:latin typeface="+mn-lt"/>
                <a:ea typeface="+mn-ea"/>
                <a:cs typeface="+mn-cs"/>
              </a:defRPr>
            </a:pPr>
            <a:r>
              <a:rPr lang="fr-FR" sz="1600" dirty="0">
                <a:solidFill>
                  <a:schemeClr val="accent1"/>
                </a:solidFill>
              </a:rPr>
              <a:t>Title</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accent1"/>
              </a:solidFill>
              <a:latin typeface="+mn-lt"/>
              <a:ea typeface="+mn-ea"/>
              <a:cs typeface="+mn-cs"/>
            </a:defRPr>
          </a:pPr>
          <a:endParaRPr lang="fr-FR"/>
        </a:p>
      </c:txPr>
    </c:title>
    <c:autoTitleDeleted val="0"/>
    <c:plotArea>
      <c:layout/>
      <c:pieChart>
        <c:varyColors val="1"/>
        <c:ser>
          <c:idx val="0"/>
          <c:order val="0"/>
          <c:tx>
            <c:strRef>
              <c:f>Feuil1!$B$1</c:f>
              <c:strCache>
                <c:ptCount val="1"/>
                <c:pt idx="0">
                  <c:v>Série 1</c:v>
                </c:pt>
              </c:strCache>
            </c:strRef>
          </c:tx>
          <c:dPt>
            <c:idx val="0"/>
            <c:bubble3D val="0"/>
            <c:spPr>
              <a:solidFill>
                <a:schemeClr val="accent5">
                  <a:lumMod val="75000"/>
                </a:schemeClr>
              </a:solidFill>
              <a:ln>
                <a:noFill/>
              </a:ln>
              <a:effectLst/>
            </c:spPr>
            <c:extLst>
              <c:ext xmlns:c16="http://schemas.microsoft.com/office/drawing/2014/chart" uri="{C3380CC4-5D6E-409C-BE32-E72D297353CC}">
                <c16:uniqueId val="{00000001-41AA-432B-A45F-467DBE57E21D}"/>
              </c:ext>
            </c:extLst>
          </c:dPt>
          <c:dPt>
            <c:idx val="1"/>
            <c:bubble3D val="0"/>
            <c:spPr>
              <a:solidFill>
                <a:schemeClr val="bg2"/>
              </a:solidFill>
              <a:ln>
                <a:noFill/>
              </a:ln>
              <a:effectLst/>
            </c:spPr>
            <c:extLst>
              <c:ext xmlns:c16="http://schemas.microsoft.com/office/drawing/2014/chart" uri="{C3380CC4-5D6E-409C-BE32-E72D297353CC}">
                <c16:uniqueId val="{00000003-41AA-432B-A45F-467DBE57E21D}"/>
              </c:ext>
            </c:extLst>
          </c:dPt>
          <c:dPt>
            <c:idx val="2"/>
            <c:bubble3D val="0"/>
            <c:spPr>
              <a:solidFill>
                <a:schemeClr val="accent5"/>
              </a:solidFill>
              <a:ln>
                <a:noFill/>
              </a:ln>
              <a:effectLst/>
            </c:spPr>
            <c:extLst>
              <c:ext xmlns:c16="http://schemas.microsoft.com/office/drawing/2014/chart" uri="{C3380CC4-5D6E-409C-BE32-E72D297353CC}">
                <c16:uniqueId val="{00000005-41AA-432B-A45F-467DBE57E21D}"/>
              </c:ext>
            </c:extLst>
          </c:dPt>
          <c:dPt>
            <c:idx val="3"/>
            <c:bubble3D val="0"/>
            <c:spPr>
              <a:solidFill>
                <a:schemeClr val="accent2"/>
              </a:solidFill>
              <a:ln>
                <a:noFill/>
              </a:ln>
              <a:effectLst/>
            </c:spPr>
            <c:extLst>
              <c:ext xmlns:c16="http://schemas.microsoft.com/office/drawing/2014/chart" uri="{C3380CC4-5D6E-409C-BE32-E72D297353CC}">
                <c16:uniqueId val="{00000007-41AA-432B-A45F-467DBE57E21D}"/>
              </c:ext>
            </c:extLst>
          </c:dPt>
          <c:dLbls>
            <c:dLbl>
              <c:idx val="3"/>
              <c:tx>
                <c:rich>
                  <a:bodyPr/>
                  <a:lstStyle/>
                  <a:p>
                    <a:fld id="{A7C8B005-5D36-4570-9DA7-1A4B8729654E}" type="PERCENTAGE">
                      <a:rPr lang="en-US" sz="1400" b="0">
                        <a:solidFill>
                          <a:schemeClr val="bg1"/>
                        </a:solidFill>
                      </a:rPr>
                      <a:pPr/>
                      <a:t>[PERCENTAGE]</a:t>
                    </a:fld>
                    <a:endParaRPr lang="en-GB"/>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1AA-432B-A45F-467DBE57E21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8-41AA-432B-A45F-467DBE57E21D}"/>
            </c:ext>
          </c:extLst>
        </c:ser>
        <c:ser>
          <c:idx val="1"/>
          <c:order val="1"/>
          <c:tx>
            <c:strRef>
              <c:f>Feuil1!$C$1</c:f>
              <c:strCache>
                <c:ptCount val="1"/>
                <c:pt idx="0">
                  <c:v>Série 2</c:v>
                </c:pt>
              </c:strCache>
            </c:strRef>
          </c:tx>
          <c:dPt>
            <c:idx val="0"/>
            <c:bubble3D val="0"/>
            <c:spPr>
              <a:solidFill>
                <a:schemeClr val="accent1"/>
              </a:solidFill>
              <a:ln>
                <a:noFill/>
              </a:ln>
              <a:effectLst/>
            </c:spPr>
            <c:extLst>
              <c:ext xmlns:c16="http://schemas.microsoft.com/office/drawing/2014/chart" uri="{C3380CC4-5D6E-409C-BE32-E72D297353CC}">
                <c16:uniqueId val="{0000000A-41AA-432B-A45F-467DBE57E21D}"/>
              </c:ext>
            </c:extLst>
          </c:dPt>
          <c:dPt>
            <c:idx val="1"/>
            <c:bubble3D val="0"/>
            <c:spPr>
              <a:solidFill>
                <a:schemeClr val="accent2"/>
              </a:solidFill>
              <a:ln>
                <a:noFill/>
              </a:ln>
              <a:effectLst/>
            </c:spPr>
            <c:extLst>
              <c:ext xmlns:c16="http://schemas.microsoft.com/office/drawing/2014/chart" uri="{C3380CC4-5D6E-409C-BE32-E72D297353CC}">
                <c16:uniqueId val="{0000000C-41AA-432B-A45F-467DBE57E21D}"/>
              </c:ext>
            </c:extLst>
          </c:dPt>
          <c:dPt>
            <c:idx val="2"/>
            <c:bubble3D val="0"/>
            <c:spPr>
              <a:solidFill>
                <a:schemeClr val="accent3"/>
              </a:solidFill>
              <a:ln>
                <a:noFill/>
              </a:ln>
              <a:effectLst/>
            </c:spPr>
            <c:extLst>
              <c:ext xmlns:c16="http://schemas.microsoft.com/office/drawing/2014/chart" uri="{C3380CC4-5D6E-409C-BE32-E72D297353CC}">
                <c16:uniqueId val="{0000000E-41AA-432B-A45F-467DBE57E21D}"/>
              </c:ext>
            </c:extLst>
          </c:dPt>
          <c:dPt>
            <c:idx val="3"/>
            <c:bubble3D val="0"/>
            <c:spPr>
              <a:solidFill>
                <a:schemeClr val="accent4"/>
              </a:solidFill>
              <a:ln>
                <a:noFill/>
              </a:ln>
              <a:effectLst/>
            </c:spPr>
            <c:extLst>
              <c:ext xmlns:c16="http://schemas.microsoft.com/office/drawing/2014/chart" uri="{C3380CC4-5D6E-409C-BE32-E72D297353CC}">
                <c16:uniqueId val="{00000010-41AA-432B-A45F-467DBE57E21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11-41AA-432B-A45F-467DBE57E21D}"/>
            </c:ext>
          </c:extLst>
        </c:ser>
        <c:ser>
          <c:idx val="2"/>
          <c:order val="2"/>
          <c:tx>
            <c:strRef>
              <c:f>Feuil1!$D$1</c:f>
              <c:strCache>
                <c:ptCount val="1"/>
                <c:pt idx="0">
                  <c:v>Série 3</c:v>
                </c:pt>
              </c:strCache>
            </c:strRef>
          </c:tx>
          <c:dPt>
            <c:idx val="0"/>
            <c:bubble3D val="0"/>
            <c:spPr>
              <a:solidFill>
                <a:schemeClr val="accent1"/>
              </a:solidFill>
              <a:ln>
                <a:noFill/>
              </a:ln>
              <a:effectLst/>
            </c:spPr>
            <c:extLst>
              <c:ext xmlns:c16="http://schemas.microsoft.com/office/drawing/2014/chart" uri="{C3380CC4-5D6E-409C-BE32-E72D297353CC}">
                <c16:uniqueId val="{00000013-41AA-432B-A45F-467DBE57E21D}"/>
              </c:ext>
            </c:extLst>
          </c:dPt>
          <c:dPt>
            <c:idx val="1"/>
            <c:bubble3D val="0"/>
            <c:spPr>
              <a:solidFill>
                <a:schemeClr val="accent2"/>
              </a:solidFill>
              <a:ln>
                <a:noFill/>
              </a:ln>
              <a:effectLst/>
            </c:spPr>
            <c:extLst>
              <c:ext xmlns:c16="http://schemas.microsoft.com/office/drawing/2014/chart" uri="{C3380CC4-5D6E-409C-BE32-E72D297353CC}">
                <c16:uniqueId val="{00000015-41AA-432B-A45F-467DBE57E21D}"/>
              </c:ext>
            </c:extLst>
          </c:dPt>
          <c:dPt>
            <c:idx val="2"/>
            <c:bubble3D val="0"/>
            <c:spPr>
              <a:solidFill>
                <a:schemeClr val="accent3"/>
              </a:solidFill>
              <a:ln>
                <a:noFill/>
              </a:ln>
              <a:effectLst/>
            </c:spPr>
            <c:extLst>
              <c:ext xmlns:c16="http://schemas.microsoft.com/office/drawing/2014/chart" uri="{C3380CC4-5D6E-409C-BE32-E72D297353CC}">
                <c16:uniqueId val="{00000017-41AA-432B-A45F-467DBE57E21D}"/>
              </c:ext>
            </c:extLst>
          </c:dPt>
          <c:dPt>
            <c:idx val="3"/>
            <c:bubble3D val="0"/>
            <c:spPr>
              <a:solidFill>
                <a:schemeClr val="accent4"/>
              </a:solidFill>
              <a:ln>
                <a:noFill/>
              </a:ln>
              <a:effectLst/>
            </c:spPr>
            <c:extLst>
              <c:ext xmlns:c16="http://schemas.microsoft.com/office/drawing/2014/chart" uri="{C3380CC4-5D6E-409C-BE32-E72D297353CC}">
                <c16:uniqueId val="{00000019-41AA-432B-A45F-467DBE57E21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Catégorie 1</c:v>
                </c:pt>
                <c:pt idx="1">
                  <c:v>Catégorie 2</c:v>
                </c:pt>
                <c:pt idx="2">
                  <c:v>Catégorie 3</c:v>
                </c:pt>
                <c:pt idx="3">
                  <c:v>Catégorie 4</c:v>
                </c:pt>
              </c:strCache>
            </c:strRef>
          </c:cat>
          <c:val>
            <c:numRef>
              <c:f>Feuil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1A-41AA-432B-A45F-467DBE57E21D}"/>
            </c:ext>
          </c:extLst>
        </c:ser>
        <c:dLbls>
          <c:showLegendKey val="0"/>
          <c:showVal val="0"/>
          <c:showCatName val="0"/>
          <c:showSerName val="0"/>
          <c:showPercent val="1"/>
          <c:showBubbleSize val="0"/>
          <c:showLeaderLines val="1"/>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2"/>
    </a:solid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200" b="1" i="0" u="none" strike="noStrike" baseline="0">
                <a:solidFill>
                  <a:schemeClr val="accent2"/>
                </a:solidFill>
                <a:latin typeface="+mn-lt"/>
                <a:ea typeface="+mn-ea"/>
                <a:cs typeface="+mn-cs"/>
              </a:defRPr>
            </a:pPr>
            <a:r>
              <a:rPr lang="en-GB" sz="1200" b="1" baseline="0" dirty="0">
                <a:solidFill>
                  <a:schemeClr val="accent2"/>
                </a:solidFill>
              </a:rPr>
              <a:t> </a:t>
            </a:r>
            <a:endParaRPr lang="en-GB" sz="1200" b="1" dirty="0">
              <a:solidFill>
                <a:schemeClr val="accent2"/>
              </a:solidFill>
            </a:endParaRPr>
          </a:p>
        </c:rich>
      </c:tx>
      <c:overlay val="0"/>
      <c:spPr>
        <a:noFill/>
        <a:ln>
          <a:noFill/>
        </a:ln>
        <a:effectLst/>
      </c:spPr>
      <c:txPr>
        <a:bodyPr rot="0" spcFirstLastPara="1" vertOverflow="ellipsis" vert="horz" wrap="square" anchor="ctr" anchorCtr="1"/>
        <a:lstStyle/>
        <a:p>
          <a:pPr>
            <a:defRPr sz="1200" b="1" i="0" u="none" strike="noStrike" baseline="0">
              <a:solidFill>
                <a:schemeClr val="accent2"/>
              </a:solidFill>
              <a:latin typeface="+mn-lt"/>
              <a:ea typeface="+mn-ea"/>
              <a:cs typeface="+mn-cs"/>
            </a:defRPr>
          </a:pPr>
          <a:endParaRPr lang="en-GB"/>
        </a:p>
      </c:txPr>
    </c:title>
    <c:autoTitleDeleted val="0"/>
    <c:plotArea>
      <c:layout/>
      <c:barChart>
        <c:barDir val="col"/>
        <c:grouping val="stacked"/>
        <c:varyColors val="0"/>
        <c:ser>
          <c:idx val="1"/>
          <c:order val="1"/>
          <c:tx>
            <c:strRef>
              <c:f>Sheet1!$A$2</c:f>
              <c:strCache>
                <c:ptCount val="1"/>
                <c:pt idx="0">
                  <c:v>Plan A</c:v>
                </c:pt>
              </c:strCache>
            </c:strRef>
          </c:tx>
          <c:spPr>
            <a:solidFill>
              <a:schemeClr val="accent5">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G$1</c:f>
              <c:numCache>
                <c:formatCode>General</c:formatCode>
                <c:ptCount val="6"/>
                <c:pt idx="0">
                  <c:v>2019</c:v>
                </c:pt>
                <c:pt idx="1">
                  <c:v>2020</c:v>
                </c:pt>
                <c:pt idx="2">
                  <c:v>2021</c:v>
                </c:pt>
                <c:pt idx="3">
                  <c:v>2022</c:v>
                </c:pt>
                <c:pt idx="4">
                  <c:v>2023</c:v>
                </c:pt>
                <c:pt idx="5">
                  <c:v>2024</c:v>
                </c:pt>
              </c:numCache>
            </c:numRef>
          </c:cat>
          <c:val>
            <c:numRef>
              <c:f>Sheet1!$B$2:$G$2</c:f>
              <c:numCache>
                <c:formatCode>_-* #,##0_-;\-* #,##0_-;_-* "-"??_-;_-@_-</c:formatCode>
                <c:ptCount val="6"/>
                <c:pt idx="0">
                  <c:v>1203.1582439003269</c:v>
                </c:pt>
                <c:pt idx="1">
                  <c:v>1047.2372680761696</c:v>
                </c:pt>
                <c:pt idx="2">
                  <c:v>1272.5249244431066</c:v>
                </c:pt>
                <c:pt idx="3">
                  <c:v>1361.3796037280213</c:v>
                </c:pt>
                <c:pt idx="4">
                  <c:v>1454.7354058907763</c:v>
                </c:pt>
                <c:pt idx="5">
                  <c:v>1541.5638957909487</c:v>
                </c:pt>
              </c:numCache>
            </c:numRef>
          </c:val>
          <c:extLst>
            <c:ext xmlns:c16="http://schemas.microsoft.com/office/drawing/2014/chart" uri="{C3380CC4-5D6E-409C-BE32-E72D297353CC}">
              <c16:uniqueId val="{00000001-8366-4AA8-AE99-B82DD84ECB47}"/>
            </c:ext>
          </c:extLst>
        </c:ser>
        <c:ser>
          <c:idx val="2"/>
          <c:order val="2"/>
          <c:tx>
            <c:strRef>
              <c:f>Sheet1!$A$3</c:f>
              <c:strCache>
                <c:ptCount val="1"/>
                <c:pt idx="0">
                  <c:v>Plan B</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G$1</c:f>
              <c:numCache>
                <c:formatCode>General</c:formatCode>
                <c:ptCount val="6"/>
                <c:pt idx="0">
                  <c:v>2019</c:v>
                </c:pt>
                <c:pt idx="1">
                  <c:v>2020</c:v>
                </c:pt>
                <c:pt idx="2">
                  <c:v>2021</c:v>
                </c:pt>
                <c:pt idx="3">
                  <c:v>2022</c:v>
                </c:pt>
                <c:pt idx="4">
                  <c:v>2023</c:v>
                </c:pt>
                <c:pt idx="5">
                  <c:v>2024</c:v>
                </c:pt>
              </c:numCache>
            </c:numRef>
          </c:cat>
          <c:val>
            <c:numRef>
              <c:f>Sheet1!$B$3:$G$3</c:f>
              <c:numCache>
                <c:formatCode>_-* #,##0_-;\-* #,##0_-;_-* "-"??_-;_-@_-</c:formatCode>
                <c:ptCount val="6"/>
                <c:pt idx="0">
                  <c:v>0</c:v>
                </c:pt>
                <c:pt idx="1">
                  <c:v>-459.90057851789402</c:v>
                </c:pt>
                <c:pt idx="2">
                  <c:v>-429.42529915229261</c:v>
                </c:pt>
                <c:pt idx="3">
                  <c:v>59.437971139270758</c:v>
                </c:pt>
                <c:pt idx="4">
                  <c:v>751.55635184472339</c:v>
                </c:pt>
                <c:pt idx="5">
                  <c:v>1139.1884274461786</c:v>
                </c:pt>
              </c:numCache>
            </c:numRef>
          </c:val>
          <c:extLst>
            <c:ext xmlns:c16="http://schemas.microsoft.com/office/drawing/2014/chart" uri="{C3380CC4-5D6E-409C-BE32-E72D297353CC}">
              <c16:uniqueId val="{00000002-8366-4AA8-AE99-B82DD84ECB47}"/>
            </c:ext>
          </c:extLst>
        </c:ser>
        <c:ser>
          <c:idx val="3"/>
          <c:order val="3"/>
          <c:tx>
            <c:strRef>
              <c:f>Sheet1!$A$4</c:f>
              <c:strCache>
                <c:ptCount val="1"/>
                <c:pt idx="0">
                  <c:v>Plan C</c:v>
                </c:pt>
              </c:strCache>
            </c:strRef>
          </c:tx>
          <c:spPr>
            <a:solidFill>
              <a:schemeClr val="accent1">
                <a:tint val="77000"/>
              </a:schemeClr>
            </a:solidFill>
            <a:ln>
              <a:noFill/>
            </a:ln>
            <a:effectLst/>
          </c:spPr>
          <c:invertIfNegative val="0"/>
          <c:dPt>
            <c:idx val="4"/>
            <c:invertIfNegative val="0"/>
            <c:bubble3D val="0"/>
            <c:spPr>
              <a:solidFill>
                <a:srgbClr val="C98490"/>
              </a:solidFill>
              <a:ln>
                <a:noFill/>
              </a:ln>
              <a:effectLst/>
            </c:spPr>
            <c:extLst>
              <c:ext xmlns:c16="http://schemas.microsoft.com/office/drawing/2014/chart" uri="{C3380CC4-5D6E-409C-BE32-E72D297353CC}">
                <c16:uniqueId val="{00000000-5459-4A03-9473-727E8ED92A22}"/>
              </c:ext>
            </c:extLst>
          </c:dPt>
          <c:dLbls>
            <c:numFmt formatCode="#,##0.0" sourceLinked="0"/>
            <c:spPr>
              <a:noFill/>
              <a:ln>
                <a:noFill/>
              </a:ln>
              <a:effectLst/>
            </c:spPr>
            <c:txPr>
              <a:bodyPr rot="0" spcFirstLastPara="1" vertOverflow="overflow" horzOverflow="overflow" vert="horz" wrap="square" lIns="38100" tIns="0" rIns="38100" bIns="0" anchor="t" anchorCtr="1">
                <a:spAutoFit/>
              </a:bodyPr>
              <a:lstStyle/>
              <a:p>
                <a:pPr>
                  <a:defRPr sz="1000" b="0" i="0" u="none" strike="noStrike"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Sheet1!$B$1:$G$1</c:f>
              <c:numCache>
                <c:formatCode>General</c:formatCode>
                <c:ptCount val="6"/>
                <c:pt idx="0">
                  <c:v>2019</c:v>
                </c:pt>
                <c:pt idx="1">
                  <c:v>2020</c:v>
                </c:pt>
                <c:pt idx="2">
                  <c:v>2021</c:v>
                </c:pt>
                <c:pt idx="3">
                  <c:v>2022</c:v>
                </c:pt>
                <c:pt idx="4">
                  <c:v>2023</c:v>
                </c:pt>
                <c:pt idx="5">
                  <c:v>2024</c:v>
                </c:pt>
              </c:numCache>
            </c:numRef>
          </c:cat>
          <c:val>
            <c:numRef>
              <c:f>Sheet1!$B$4:$G$4</c:f>
              <c:numCache>
                <c:formatCode>_-* #,##0_-;\-* #,##0_-;_-* "-"??_-;_-@_-</c:formatCode>
                <c:ptCount val="6"/>
                <c:pt idx="0">
                  <c:v>-229.7063333333333</c:v>
                </c:pt>
                <c:pt idx="1">
                  <c:v>-144.9451474760985</c:v>
                </c:pt>
                <c:pt idx="2">
                  <c:v>325.95569151881318</c:v>
                </c:pt>
                <c:pt idx="3">
                  <c:v>439.55210313905036</c:v>
                </c:pt>
                <c:pt idx="4">
                  <c:v>566.63692918549509</c:v>
                </c:pt>
                <c:pt idx="5">
                  <c:v>649.23003557680431</c:v>
                </c:pt>
              </c:numCache>
            </c:numRef>
          </c:val>
          <c:extLst>
            <c:ext xmlns:c16="http://schemas.microsoft.com/office/drawing/2014/chart" uri="{C3380CC4-5D6E-409C-BE32-E72D297353CC}">
              <c16:uniqueId val="{00000003-8366-4AA8-AE99-B82DD84ECB47}"/>
            </c:ext>
          </c:extLst>
        </c:ser>
        <c:ser>
          <c:idx val="4"/>
          <c:order val="4"/>
          <c:tx>
            <c:strRef>
              <c:f>Sheet1!$A$5</c:f>
              <c:strCache>
                <c:ptCount val="1"/>
                <c:pt idx="0">
                  <c:v>combined plans</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accent2"/>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G$1</c:f>
              <c:numCache>
                <c:formatCode>General</c:formatCode>
                <c:ptCount val="6"/>
                <c:pt idx="0">
                  <c:v>2019</c:v>
                </c:pt>
                <c:pt idx="1">
                  <c:v>2020</c:v>
                </c:pt>
                <c:pt idx="2">
                  <c:v>2021</c:v>
                </c:pt>
                <c:pt idx="3">
                  <c:v>2022</c:v>
                </c:pt>
                <c:pt idx="4">
                  <c:v>2023</c:v>
                </c:pt>
                <c:pt idx="5">
                  <c:v>2024</c:v>
                </c:pt>
              </c:numCache>
            </c:numRef>
          </c:cat>
          <c:val>
            <c:numRef>
              <c:f>Sheet1!$B$5:$G$5</c:f>
              <c:numCache>
                <c:formatCode>_-* #,##0_-;\-* #,##0_-;_-* "-"??_-;_-@_-</c:formatCode>
                <c:ptCount val="6"/>
                <c:pt idx="0">
                  <c:v>973.45191056699423</c:v>
                </c:pt>
                <c:pt idx="1">
                  <c:v>442.39154208217815</c:v>
                </c:pt>
                <c:pt idx="2">
                  <c:v>1169.0553168096285</c:v>
                </c:pt>
                <c:pt idx="3">
                  <c:v>1860.369678006341</c:v>
                </c:pt>
                <c:pt idx="4">
                  <c:v>2772.9286869209927</c:v>
                </c:pt>
                <c:pt idx="5">
                  <c:v>3329.9823588139279</c:v>
                </c:pt>
              </c:numCache>
            </c:numRef>
          </c:val>
          <c:extLst>
            <c:ext xmlns:c16="http://schemas.microsoft.com/office/drawing/2014/chart" uri="{C3380CC4-5D6E-409C-BE32-E72D297353CC}">
              <c16:uniqueId val="{00000004-8366-4AA8-AE99-B82DD84ECB47}"/>
            </c:ext>
          </c:extLst>
        </c:ser>
        <c:dLbls>
          <c:showLegendKey val="0"/>
          <c:showVal val="1"/>
          <c:showCatName val="0"/>
          <c:showSerName val="0"/>
          <c:showPercent val="0"/>
          <c:showBubbleSize val="0"/>
        </c:dLbls>
        <c:gapWidth val="32"/>
        <c:overlap val="100"/>
        <c:axId val="527172144"/>
        <c:axId val="527172472"/>
        <c:extLst>
          <c:ext xmlns:c15="http://schemas.microsoft.com/office/drawing/2012/chart" uri="{02D57815-91ED-43cb-92C2-25804820EDAC}">
            <c15:filteredBarSeries>
              <c15:ser>
                <c:idx val="0"/>
                <c:order val="0"/>
                <c:tx>
                  <c:strRef>
                    <c:extLst>
                      <c:ext uri="{02D57815-91ED-43cb-92C2-25804820EDAC}">
                        <c15:formulaRef>
                          <c15:sqref>Sheet1!$A$1</c15:sqref>
                        </c15:formulaRef>
                      </c:ext>
                    </c:extLst>
                    <c:strCache>
                      <c:ptCount val="1"/>
                      <c:pt idx="0">
                        <c:v>Year</c:v>
                      </c:pt>
                    </c:strCache>
                  </c:strRef>
                </c:tx>
                <c:spPr>
                  <a:solidFill>
                    <a:schemeClr val="accent1">
                      <a:shade val="5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baseline="0">
                          <a:solidFill>
                            <a:schemeClr val="tx1">
                              <a:lumMod val="65000"/>
                              <a:lumOff val="35000"/>
                            </a:schemeClr>
                          </a:solidFill>
                          <a:latin typeface="+mn-lt"/>
                          <a:ea typeface="+mn-ea"/>
                          <a:cs typeface="+mn-cs"/>
                        </a:defRPr>
                      </a:pPr>
                      <a:endParaRPr lang="fr-FR"/>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B$1:$G$1</c15:sqref>
                        </c15:formulaRef>
                      </c:ext>
                    </c:extLst>
                    <c:numCache>
                      <c:formatCode>General</c:formatCode>
                      <c:ptCount val="6"/>
                      <c:pt idx="0">
                        <c:v>2019</c:v>
                      </c:pt>
                      <c:pt idx="1">
                        <c:v>2020</c:v>
                      </c:pt>
                      <c:pt idx="2">
                        <c:v>2021</c:v>
                      </c:pt>
                      <c:pt idx="3">
                        <c:v>2022</c:v>
                      </c:pt>
                      <c:pt idx="4">
                        <c:v>2023</c:v>
                      </c:pt>
                      <c:pt idx="5">
                        <c:v>2024</c:v>
                      </c:pt>
                    </c:numCache>
                  </c:numRef>
                </c:cat>
                <c:val>
                  <c:numRef>
                    <c:extLst>
                      <c:ext uri="{02D57815-91ED-43cb-92C2-25804820EDAC}">
                        <c15:formulaRef>
                          <c15:sqref>Sheet1!$B$1:$G$1</c15:sqref>
                        </c15:formulaRef>
                      </c:ext>
                    </c:extLst>
                    <c:numCache>
                      <c:formatCode>General</c:formatCode>
                      <c:ptCount val="6"/>
                      <c:pt idx="0">
                        <c:v>2019</c:v>
                      </c:pt>
                      <c:pt idx="1">
                        <c:v>2020</c:v>
                      </c:pt>
                      <c:pt idx="2">
                        <c:v>2021</c:v>
                      </c:pt>
                      <c:pt idx="3">
                        <c:v>2022</c:v>
                      </c:pt>
                      <c:pt idx="4">
                        <c:v>2023</c:v>
                      </c:pt>
                      <c:pt idx="5">
                        <c:v>2024</c:v>
                      </c:pt>
                    </c:numCache>
                  </c:numRef>
                </c:val>
                <c:extLst>
                  <c:ext xmlns:c16="http://schemas.microsoft.com/office/drawing/2014/chart" uri="{C3380CC4-5D6E-409C-BE32-E72D297353CC}">
                    <c16:uniqueId val="{00000000-8366-4AA8-AE99-B82DD84ECB47}"/>
                  </c:ext>
                </c:extLst>
              </c15:ser>
            </c15:filteredBarSeries>
          </c:ext>
        </c:extLst>
      </c:barChart>
      <c:catAx>
        <c:axId val="527172144"/>
        <c:scaling>
          <c:orientation val="minMax"/>
        </c:scaling>
        <c:delete val="0"/>
        <c:axPos val="b"/>
        <c:title>
          <c:tx>
            <c:rich>
              <a:bodyPr rot="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r>
                  <a:rPr lang="en-GB" baseline="0" dirty="0"/>
                  <a:t> </a:t>
                </a:r>
                <a:endParaRPr lang="en-GB" dirty="0"/>
              </a:p>
            </c:rich>
          </c:tx>
          <c:overlay val="0"/>
          <c:spPr>
            <a:noFill/>
            <a:ln>
              <a:noFill/>
            </a:ln>
            <a:effectLst/>
          </c:spPr>
          <c:txPr>
            <a:bodyPr rot="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en-GB"/>
            </a:p>
          </c:txPr>
        </c:title>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600" b="0" i="0" u="none" strike="noStrike" baseline="0">
                <a:solidFill>
                  <a:schemeClr val="tx2"/>
                </a:solidFill>
                <a:latin typeface="+mn-lt"/>
                <a:ea typeface="+mn-ea"/>
                <a:cs typeface="+mn-cs"/>
              </a:defRPr>
            </a:pPr>
            <a:endParaRPr lang="fr-FR"/>
          </a:p>
        </c:txPr>
        <c:crossAx val="527172472"/>
        <c:crosses val="autoZero"/>
        <c:auto val="1"/>
        <c:lblAlgn val="ctr"/>
        <c:lblOffset val="100"/>
        <c:noMultiLvlLbl val="0"/>
      </c:catAx>
      <c:valAx>
        <c:axId val="527172472"/>
        <c:scaling>
          <c:orientation val="minMax"/>
          <c:max val="3500"/>
        </c:scaling>
        <c:delete val="0"/>
        <c:axPos val="l"/>
        <c:majorGridlines>
          <c:spPr>
            <a:ln w="3175" cap="flat" cmpd="sng" algn="ctr">
              <a:solidFill>
                <a:schemeClr val="bg1"/>
              </a:solidFill>
              <a:prstDash val="dash"/>
              <a:round/>
            </a:ln>
            <a:effectLst/>
          </c:spPr>
        </c:majorGridlines>
        <c:numFmt formatCode="#,##0.0" sourceLinked="0"/>
        <c:majorTickMark val="out"/>
        <c:minorTickMark val="none"/>
        <c:tickLblPos val="nextTo"/>
        <c:spPr>
          <a:noFill/>
          <a:ln>
            <a:solidFill>
              <a:schemeClr val="accent3"/>
            </a:solidFill>
          </a:ln>
          <a:effectLst/>
        </c:spPr>
        <c:txPr>
          <a:bodyPr rot="-600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fr-FR"/>
          </a:p>
        </c:txPr>
        <c:crossAx val="527172144"/>
        <c:crosses val="autoZero"/>
        <c:crossBetween val="between"/>
        <c:dispUnits>
          <c:builtInUnit val="thousands"/>
        </c:dispUnits>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baseline="0">
              <a:solidFill>
                <a:schemeClr val="accent2"/>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2"/>
    </a:solid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Sales</c:v>
                </c:pt>
              </c:strCache>
            </c:strRef>
          </c:tx>
          <c:spPr>
            <a:solidFill>
              <a:schemeClr val="tx2"/>
            </a:solidFill>
          </c:spPr>
          <c:dPt>
            <c:idx val="0"/>
            <c:bubble3D val="0"/>
            <c:spPr>
              <a:solidFill>
                <a:schemeClr val="bg2"/>
              </a:solidFill>
              <a:effectLst/>
            </c:spPr>
            <c:extLst>
              <c:ext xmlns:c16="http://schemas.microsoft.com/office/drawing/2014/chart" uri="{C3380CC4-5D6E-409C-BE32-E72D297353CC}">
                <c16:uniqueId val="{00000001-A323-4645-A4B5-BAD23A61773F}"/>
              </c:ext>
            </c:extLst>
          </c:dPt>
          <c:dPt>
            <c:idx val="1"/>
            <c:bubble3D val="0"/>
            <c:spPr>
              <a:solidFill>
                <a:schemeClr val="tx2"/>
              </a:solidFill>
              <a:effectLst/>
            </c:spPr>
            <c:extLst>
              <c:ext xmlns:c16="http://schemas.microsoft.com/office/drawing/2014/chart" uri="{C3380CC4-5D6E-409C-BE32-E72D297353CC}">
                <c16:uniqueId val="{00000003-A323-4645-A4B5-BAD23A61773F}"/>
              </c:ext>
            </c:extLst>
          </c:dPt>
          <c:cat>
            <c:strRef>
              <c:f>Sheet1!$A$2:$A$3</c:f>
              <c:strCache>
                <c:ptCount val="2"/>
                <c:pt idx="0">
                  <c:v>Untapped Market</c:v>
                </c:pt>
                <c:pt idx="1">
                  <c:v>Addressed Market</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A323-4645-A4B5-BAD23A61773F}"/>
            </c:ext>
          </c:extLst>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spPr>
    <a:effectLst/>
  </c:spPr>
  <c:txPr>
    <a:bodyPr/>
    <a:lstStyle/>
    <a:p>
      <a:pPr>
        <a:defRPr sz="1800"/>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3713" cy="3413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624513" y="0"/>
            <a:ext cx="4303712" cy="341313"/>
          </a:xfrm>
          <a:prstGeom prst="rect">
            <a:avLst/>
          </a:prstGeom>
        </p:spPr>
        <p:txBody>
          <a:bodyPr vert="horz" lIns="91440" tIns="45720" rIns="91440" bIns="45720" rtlCol="0"/>
          <a:lstStyle>
            <a:lvl1pPr algn="r">
              <a:defRPr sz="1200"/>
            </a:lvl1pPr>
          </a:lstStyle>
          <a:p>
            <a:fld id="{5F2EA706-606A-42A2-908C-A9AB2E1B0CCA}" type="datetimeFigureOut">
              <a:rPr lang="en-GB" smtClean="0"/>
              <a:t>17/12/2025</a:t>
            </a:fld>
            <a:endParaRPr lang="en-GB"/>
          </a:p>
        </p:txBody>
      </p:sp>
      <p:sp>
        <p:nvSpPr>
          <p:cNvPr id="4" name="Slide Image Placeholder 3"/>
          <p:cNvSpPr>
            <a:spLocks noGrp="1" noRot="1" noChangeAspect="1"/>
          </p:cNvSpPr>
          <p:nvPr>
            <p:ph type="sldImg" idx="2"/>
          </p:nvPr>
        </p:nvSpPr>
        <p:spPr>
          <a:xfrm>
            <a:off x="2925763" y="849313"/>
            <a:ext cx="4079875" cy="22955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93775" y="3271838"/>
            <a:ext cx="7943850" cy="26781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457950"/>
            <a:ext cx="4303713" cy="34131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624513" y="6457950"/>
            <a:ext cx="4303712" cy="341313"/>
          </a:xfrm>
          <a:prstGeom prst="rect">
            <a:avLst/>
          </a:prstGeom>
        </p:spPr>
        <p:txBody>
          <a:bodyPr vert="horz" lIns="91440" tIns="45720" rIns="91440" bIns="45720" rtlCol="0" anchor="b"/>
          <a:lstStyle>
            <a:lvl1pPr algn="r">
              <a:defRPr sz="1200"/>
            </a:lvl1pPr>
          </a:lstStyle>
          <a:p>
            <a:fld id="{E99607DB-D9D5-4C7C-811F-516C8BC7F665}" type="slidenum">
              <a:rPr lang="en-GB" smtClean="0"/>
              <a:t>‹#›</a:t>
            </a:fld>
            <a:endParaRPr lang="en-GB"/>
          </a:p>
        </p:txBody>
      </p:sp>
    </p:spTree>
    <p:extLst>
      <p:ext uri="{BB962C8B-B14F-4D97-AF65-F5344CB8AC3E}">
        <p14:creationId xmlns:p14="http://schemas.microsoft.com/office/powerpoint/2010/main" val="102717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197.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890834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92137185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63338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00816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815149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84705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7948295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5504016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01848662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1817634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25578729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11411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67127803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344864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49290919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44198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66286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80005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4044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1169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53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gn="ctr" eaLnBrk="0" hangingPunct="0">
              <a:spcBef>
                <a:spcPct val="50000"/>
              </a:spcBef>
              <a:buClr>
                <a:schemeClr val="accent1"/>
              </a:buClr>
              <a:buFont typeface="Wingdings" pitchFamily="2" charset="2"/>
              <a:defRPr sz="1400">
                <a:solidFill>
                  <a:schemeClr val="tx1"/>
                </a:solidFill>
                <a:latin typeface="Arial" pitchFamily="34" charset="0"/>
              </a:defRPr>
            </a:lvl1pPr>
            <a:lvl2pPr marL="742867" indent="-285718" algn="ctr" eaLnBrk="0" hangingPunct="0">
              <a:spcBef>
                <a:spcPct val="50000"/>
              </a:spcBef>
              <a:buClr>
                <a:schemeClr val="accent1"/>
              </a:buClr>
              <a:buFont typeface="Wingdings" pitchFamily="2" charset="2"/>
              <a:defRPr sz="1400">
                <a:solidFill>
                  <a:schemeClr val="tx1"/>
                </a:solidFill>
                <a:latin typeface="Arial" pitchFamily="34" charset="0"/>
              </a:defRPr>
            </a:lvl2pPr>
            <a:lvl3pPr marL="1142873" indent="-228575" algn="ctr" eaLnBrk="0" hangingPunct="0">
              <a:spcBef>
                <a:spcPct val="50000"/>
              </a:spcBef>
              <a:buClr>
                <a:schemeClr val="accent1"/>
              </a:buClr>
              <a:buFont typeface="Wingdings" pitchFamily="2" charset="2"/>
              <a:defRPr sz="1400">
                <a:solidFill>
                  <a:schemeClr val="tx1"/>
                </a:solidFill>
                <a:latin typeface="Arial" pitchFamily="34" charset="0"/>
              </a:defRPr>
            </a:lvl3pPr>
            <a:lvl4pPr marL="1600021" indent="-228575" algn="ctr" eaLnBrk="0" hangingPunct="0">
              <a:spcBef>
                <a:spcPct val="50000"/>
              </a:spcBef>
              <a:buClr>
                <a:schemeClr val="accent1"/>
              </a:buClr>
              <a:buFont typeface="Wingdings" pitchFamily="2" charset="2"/>
              <a:defRPr sz="1400">
                <a:solidFill>
                  <a:schemeClr val="tx1"/>
                </a:solidFill>
                <a:latin typeface="Arial" pitchFamily="34" charset="0"/>
              </a:defRPr>
            </a:lvl4pPr>
            <a:lvl5pPr marL="2057170" indent="-228575" algn="ctr" eaLnBrk="0" hangingPunct="0">
              <a:spcBef>
                <a:spcPct val="50000"/>
              </a:spcBef>
              <a:buClr>
                <a:schemeClr val="accent1"/>
              </a:buClr>
              <a:buFont typeface="Wingdings" pitchFamily="2" charset="2"/>
              <a:defRPr sz="1400">
                <a:solidFill>
                  <a:schemeClr val="tx1"/>
                </a:solidFill>
                <a:latin typeface="Arial" pitchFamily="34" charset="0"/>
              </a:defRPr>
            </a:lvl5pPr>
            <a:lvl6pPr marL="2514319"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468"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8617"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5765"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r">
              <a:buClr>
                <a:srgbClr val="4F81BD"/>
              </a:buClr>
              <a:defRPr/>
            </a:pPr>
            <a:endParaRPr lang="en-GB" sz="1200">
              <a:solidFill>
                <a:prstClr val="black"/>
              </a:solidFill>
            </a:endParaRPr>
          </a:p>
        </p:txBody>
      </p:sp>
    </p:spTree>
    <p:extLst>
      <p:ext uri="{BB962C8B-B14F-4D97-AF65-F5344CB8AC3E}">
        <p14:creationId xmlns:p14="http://schemas.microsoft.com/office/powerpoint/2010/main" val="299597872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53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gn="ctr" eaLnBrk="0" hangingPunct="0">
              <a:spcBef>
                <a:spcPct val="50000"/>
              </a:spcBef>
              <a:buClr>
                <a:schemeClr val="accent1"/>
              </a:buClr>
              <a:buFont typeface="Wingdings" pitchFamily="2" charset="2"/>
              <a:defRPr sz="1400">
                <a:solidFill>
                  <a:schemeClr val="tx1"/>
                </a:solidFill>
                <a:latin typeface="Arial" pitchFamily="34" charset="0"/>
              </a:defRPr>
            </a:lvl1pPr>
            <a:lvl2pPr marL="742867" indent="-285718" algn="ctr" eaLnBrk="0" hangingPunct="0">
              <a:spcBef>
                <a:spcPct val="50000"/>
              </a:spcBef>
              <a:buClr>
                <a:schemeClr val="accent1"/>
              </a:buClr>
              <a:buFont typeface="Wingdings" pitchFamily="2" charset="2"/>
              <a:defRPr sz="1400">
                <a:solidFill>
                  <a:schemeClr val="tx1"/>
                </a:solidFill>
                <a:latin typeface="Arial" pitchFamily="34" charset="0"/>
              </a:defRPr>
            </a:lvl2pPr>
            <a:lvl3pPr marL="1142873" indent="-228575" algn="ctr" eaLnBrk="0" hangingPunct="0">
              <a:spcBef>
                <a:spcPct val="50000"/>
              </a:spcBef>
              <a:buClr>
                <a:schemeClr val="accent1"/>
              </a:buClr>
              <a:buFont typeface="Wingdings" pitchFamily="2" charset="2"/>
              <a:defRPr sz="1400">
                <a:solidFill>
                  <a:schemeClr val="tx1"/>
                </a:solidFill>
                <a:latin typeface="Arial" pitchFamily="34" charset="0"/>
              </a:defRPr>
            </a:lvl3pPr>
            <a:lvl4pPr marL="1600021" indent="-228575" algn="ctr" eaLnBrk="0" hangingPunct="0">
              <a:spcBef>
                <a:spcPct val="50000"/>
              </a:spcBef>
              <a:buClr>
                <a:schemeClr val="accent1"/>
              </a:buClr>
              <a:buFont typeface="Wingdings" pitchFamily="2" charset="2"/>
              <a:defRPr sz="1400">
                <a:solidFill>
                  <a:schemeClr val="tx1"/>
                </a:solidFill>
                <a:latin typeface="Arial" pitchFamily="34" charset="0"/>
              </a:defRPr>
            </a:lvl4pPr>
            <a:lvl5pPr marL="2057170" indent="-228575" algn="ctr" eaLnBrk="0" hangingPunct="0">
              <a:spcBef>
                <a:spcPct val="50000"/>
              </a:spcBef>
              <a:buClr>
                <a:schemeClr val="accent1"/>
              </a:buClr>
              <a:buFont typeface="Wingdings" pitchFamily="2" charset="2"/>
              <a:defRPr sz="1400">
                <a:solidFill>
                  <a:schemeClr val="tx1"/>
                </a:solidFill>
                <a:latin typeface="Arial" pitchFamily="34" charset="0"/>
              </a:defRPr>
            </a:lvl5pPr>
            <a:lvl6pPr marL="2514319"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468"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8617"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5765"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r">
              <a:buClr>
                <a:srgbClr val="4F81BD"/>
              </a:buClr>
              <a:defRPr/>
            </a:pPr>
            <a:endParaRPr lang="en-GB" sz="1200">
              <a:solidFill>
                <a:prstClr val="black"/>
              </a:solidFill>
            </a:endParaRPr>
          </a:p>
        </p:txBody>
      </p:sp>
    </p:spTree>
    <p:extLst>
      <p:ext uri="{BB962C8B-B14F-4D97-AF65-F5344CB8AC3E}">
        <p14:creationId xmlns:p14="http://schemas.microsoft.com/office/powerpoint/2010/main" val="268865748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53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gn="ctr" eaLnBrk="0" hangingPunct="0">
              <a:spcBef>
                <a:spcPct val="50000"/>
              </a:spcBef>
              <a:buClr>
                <a:schemeClr val="accent1"/>
              </a:buClr>
              <a:buFont typeface="Wingdings" pitchFamily="2" charset="2"/>
              <a:defRPr sz="1400">
                <a:solidFill>
                  <a:schemeClr val="tx1"/>
                </a:solidFill>
                <a:latin typeface="Arial" pitchFamily="34" charset="0"/>
              </a:defRPr>
            </a:lvl1pPr>
            <a:lvl2pPr marL="742867" indent="-285718" algn="ctr" eaLnBrk="0" hangingPunct="0">
              <a:spcBef>
                <a:spcPct val="50000"/>
              </a:spcBef>
              <a:buClr>
                <a:schemeClr val="accent1"/>
              </a:buClr>
              <a:buFont typeface="Wingdings" pitchFamily="2" charset="2"/>
              <a:defRPr sz="1400">
                <a:solidFill>
                  <a:schemeClr val="tx1"/>
                </a:solidFill>
                <a:latin typeface="Arial" pitchFamily="34" charset="0"/>
              </a:defRPr>
            </a:lvl2pPr>
            <a:lvl3pPr marL="1142873" indent="-228575" algn="ctr" eaLnBrk="0" hangingPunct="0">
              <a:spcBef>
                <a:spcPct val="50000"/>
              </a:spcBef>
              <a:buClr>
                <a:schemeClr val="accent1"/>
              </a:buClr>
              <a:buFont typeface="Wingdings" pitchFamily="2" charset="2"/>
              <a:defRPr sz="1400">
                <a:solidFill>
                  <a:schemeClr val="tx1"/>
                </a:solidFill>
                <a:latin typeface="Arial" pitchFamily="34" charset="0"/>
              </a:defRPr>
            </a:lvl3pPr>
            <a:lvl4pPr marL="1600021" indent="-228575" algn="ctr" eaLnBrk="0" hangingPunct="0">
              <a:spcBef>
                <a:spcPct val="50000"/>
              </a:spcBef>
              <a:buClr>
                <a:schemeClr val="accent1"/>
              </a:buClr>
              <a:buFont typeface="Wingdings" pitchFamily="2" charset="2"/>
              <a:defRPr sz="1400">
                <a:solidFill>
                  <a:schemeClr val="tx1"/>
                </a:solidFill>
                <a:latin typeface="Arial" pitchFamily="34" charset="0"/>
              </a:defRPr>
            </a:lvl4pPr>
            <a:lvl5pPr marL="2057170" indent="-228575" algn="ctr" eaLnBrk="0" hangingPunct="0">
              <a:spcBef>
                <a:spcPct val="50000"/>
              </a:spcBef>
              <a:buClr>
                <a:schemeClr val="accent1"/>
              </a:buClr>
              <a:buFont typeface="Wingdings" pitchFamily="2" charset="2"/>
              <a:defRPr sz="1400">
                <a:solidFill>
                  <a:schemeClr val="tx1"/>
                </a:solidFill>
                <a:latin typeface="Arial" pitchFamily="34" charset="0"/>
              </a:defRPr>
            </a:lvl5pPr>
            <a:lvl6pPr marL="2514319"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468"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8617"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5765" indent="-228575"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r">
              <a:buClr>
                <a:srgbClr val="4F81BD"/>
              </a:buClr>
              <a:defRPr/>
            </a:pPr>
            <a:endParaRPr lang="en-GB" sz="1200">
              <a:solidFill>
                <a:prstClr val="black"/>
              </a:solidFill>
            </a:endParaRPr>
          </a:p>
        </p:txBody>
      </p:sp>
    </p:spTree>
    <p:extLst>
      <p:ext uri="{BB962C8B-B14F-4D97-AF65-F5344CB8AC3E}">
        <p14:creationId xmlns:p14="http://schemas.microsoft.com/office/powerpoint/2010/main" val="1136505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1119314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84848502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20041285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23883270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0344702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42513156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87329193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64042008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5"/>
        <p:cNvGrpSpPr/>
        <p:nvPr/>
      </p:nvGrpSpPr>
      <p:grpSpPr>
        <a:xfrm>
          <a:off x="0" y="0"/>
          <a:ext cx="0" cy="0"/>
          <a:chOff x="0" y="0"/>
          <a:chExt cx="0" cy="0"/>
        </a:xfrm>
      </p:grpSpPr>
      <p:sp>
        <p:nvSpPr>
          <p:cNvPr id="2346" name="Google Shape;2346;g499bcc873d_0_2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7" name="Google Shape;2347;g499bcc873d_0_2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p:txBody>
      </p:sp>
    </p:spTree>
    <p:extLst>
      <p:ext uri="{BB962C8B-B14F-4D97-AF65-F5344CB8AC3E}">
        <p14:creationId xmlns:p14="http://schemas.microsoft.com/office/powerpoint/2010/main" val="428379198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g499bcc873d_1_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8" name="Google Shape;2258;g499bcc873d_1_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0129630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g499bcc873d_1_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8" name="Google Shape;2258;g499bcc873d_1_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40702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09537989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g499bcc873d_1_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8" name="Google Shape;2258;g499bcc873d_1_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224052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55821934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3448640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02709180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18019551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54586674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46711791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95133242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Rectangle 9"/>
          <p:cNvSpPr>
            <a:spLocks noGrp="1" noChangeArrowheads="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200">
                <a:solidFill>
                  <a:schemeClr val="tx1"/>
                </a:solidFill>
                <a:latin typeface="Arial" charset="0"/>
                <a:ea typeface="ＭＳ Ｐゴシック" charset="0"/>
                <a:cs typeface="ＭＳ Ｐゴシック" charset="0"/>
              </a:defRPr>
            </a:lvl1pPr>
            <a:lvl2pPr marL="743990" indent="-286150" eaLnBrk="0" hangingPunct="0">
              <a:defRPr sz="1200">
                <a:solidFill>
                  <a:schemeClr val="tx1"/>
                </a:solidFill>
                <a:latin typeface="Arial" charset="0"/>
                <a:ea typeface="ＭＳ Ｐゴシック" charset="0"/>
              </a:defRPr>
            </a:lvl2pPr>
            <a:lvl3pPr marL="1144600" indent="-228920" eaLnBrk="0" hangingPunct="0">
              <a:defRPr sz="1200">
                <a:solidFill>
                  <a:schemeClr val="tx1"/>
                </a:solidFill>
                <a:latin typeface="Arial" charset="0"/>
                <a:ea typeface="ＭＳ Ｐゴシック" charset="0"/>
              </a:defRPr>
            </a:lvl3pPr>
            <a:lvl4pPr marL="1602440" indent="-228920" eaLnBrk="0" hangingPunct="0">
              <a:defRPr sz="1200">
                <a:solidFill>
                  <a:schemeClr val="tx1"/>
                </a:solidFill>
                <a:latin typeface="Arial" charset="0"/>
                <a:ea typeface="ＭＳ Ｐゴシック" charset="0"/>
              </a:defRPr>
            </a:lvl4pPr>
            <a:lvl5pPr marL="2060280" indent="-228920" eaLnBrk="0" hangingPunct="0">
              <a:defRPr sz="1200">
                <a:solidFill>
                  <a:schemeClr val="tx1"/>
                </a:solidFill>
                <a:latin typeface="Arial" charset="0"/>
                <a:ea typeface="ＭＳ Ｐゴシック" charset="0"/>
              </a:defRPr>
            </a:lvl5pPr>
            <a:lvl6pPr marL="2518120" indent="-228920" eaLnBrk="0" fontAlgn="base" hangingPunct="0">
              <a:spcBef>
                <a:spcPct val="0"/>
              </a:spcBef>
              <a:spcAft>
                <a:spcPct val="0"/>
              </a:spcAft>
              <a:defRPr sz="1200">
                <a:solidFill>
                  <a:schemeClr val="tx1"/>
                </a:solidFill>
                <a:latin typeface="Arial" charset="0"/>
                <a:ea typeface="ＭＳ Ｐゴシック" charset="0"/>
              </a:defRPr>
            </a:lvl6pPr>
            <a:lvl7pPr marL="2975961" indent="-228920" eaLnBrk="0" fontAlgn="base" hangingPunct="0">
              <a:spcBef>
                <a:spcPct val="0"/>
              </a:spcBef>
              <a:spcAft>
                <a:spcPct val="0"/>
              </a:spcAft>
              <a:defRPr sz="1200">
                <a:solidFill>
                  <a:schemeClr val="tx1"/>
                </a:solidFill>
                <a:latin typeface="Arial" charset="0"/>
                <a:ea typeface="ＭＳ Ｐゴシック" charset="0"/>
              </a:defRPr>
            </a:lvl7pPr>
            <a:lvl8pPr marL="3433801" indent="-228920" eaLnBrk="0" fontAlgn="base" hangingPunct="0">
              <a:spcBef>
                <a:spcPct val="0"/>
              </a:spcBef>
              <a:spcAft>
                <a:spcPct val="0"/>
              </a:spcAft>
              <a:defRPr sz="1200">
                <a:solidFill>
                  <a:schemeClr val="tx1"/>
                </a:solidFill>
                <a:latin typeface="Arial" charset="0"/>
                <a:ea typeface="ＭＳ Ｐゴシック" charset="0"/>
              </a:defRPr>
            </a:lvl8pPr>
            <a:lvl9pPr marL="3891641" indent="-228920" eaLnBrk="0" fontAlgn="base" hangingPunct="0">
              <a:spcBef>
                <a:spcPct val="0"/>
              </a:spcBef>
              <a:spcAft>
                <a:spcPct val="0"/>
              </a:spcAft>
              <a:defRPr sz="1200">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50000"/>
              </a:spcBef>
              <a:spcAft>
                <a:spcPct val="0"/>
              </a:spcAft>
              <a:buClr>
                <a:srgbClr val="4F81BD"/>
              </a:buClr>
              <a:buSzTx/>
              <a:buFont typeface="Wingdings" pitchFamily="2" charset="2"/>
              <a:buNone/>
              <a:tabLst/>
              <a:defRPr/>
            </a:pPr>
            <a:endParaRPr kumimoji="0" lang="en-GB" sz="9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0162" name="Rectangle 10"/>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200">
                <a:solidFill>
                  <a:schemeClr val="tx1"/>
                </a:solidFill>
                <a:latin typeface="Arial" charset="0"/>
                <a:ea typeface="ＭＳ Ｐゴシック" charset="0"/>
                <a:cs typeface="ＭＳ Ｐゴシック" charset="0"/>
              </a:defRPr>
            </a:lvl1pPr>
            <a:lvl2pPr marL="743990" indent="-286150" eaLnBrk="0" hangingPunct="0">
              <a:defRPr sz="1200">
                <a:solidFill>
                  <a:schemeClr val="tx1"/>
                </a:solidFill>
                <a:latin typeface="Arial" charset="0"/>
                <a:ea typeface="ＭＳ Ｐゴシック" charset="0"/>
              </a:defRPr>
            </a:lvl2pPr>
            <a:lvl3pPr marL="1144600" indent="-228920" eaLnBrk="0" hangingPunct="0">
              <a:defRPr sz="1200">
                <a:solidFill>
                  <a:schemeClr val="tx1"/>
                </a:solidFill>
                <a:latin typeface="Arial" charset="0"/>
                <a:ea typeface="ＭＳ Ｐゴシック" charset="0"/>
              </a:defRPr>
            </a:lvl3pPr>
            <a:lvl4pPr marL="1602440" indent="-228920" eaLnBrk="0" hangingPunct="0">
              <a:defRPr sz="1200">
                <a:solidFill>
                  <a:schemeClr val="tx1"/>
                </a:solidFill>
                <a:latin typeface="Arial" charset="0"/>
                <a:ea typeface="ＭＳ Ｐゴシック" charset="0"/>
              </a:defRPr>
            </a:lvl4pPr>
            <a:lvl5pPr marL="2060280" indent="-228920" eaLnBrk="0" hangingPunct="0">
              <a:defRPr sz="1200">
                <a:solidFill>
                  <a:schemeClr val="tx1"/>
                </a:solidFill>
                <a:latin typeface="Arial" charset="0"/>
                <a:ea typeface="ＭＳ Ｐゴシック" charset="0"/>
              </a:defRPr>
            </a:lvl5pPr>
            <a:lvl6pPr marL="2518120" indent="-228920" eaLnBrk="0" fontAlgn="base" hangingPunct="0">
              <a:spcBef>
                <a:spcPct val="0"/>
              </a:spcBef>
              <a:spcAft>
                <a:spcPct val="0"/>
              </a:spcAft>
              <a:defRPr sz="1200">
                <a:solidFill>
                  <a:schemeClr val="tx1"/>
                </a:solidFill>
                <a:latin typeface="Arial" charset="0"/>
                <a:ea typeface="ＭＳ Ｐゴシック" charset="0"/>
              </a:defRPr>
            </a:lvl6pPr>
            <a:lvl7pPr marL="2975961" indent="-228920" eaLnBrk="0" fontAlgn="base" hangingPunct="0">
              <a:spcBef>
                <a:spcPct val="0"/>
              </a:spcBef>
              <a:spcAft>
                <a:spcPct val="0"/>
              </a:spcAft>
              <a:defRPr sz="1200">
                <a:solidFill>
                  <a:schemeClr val="tx1"/>
                </a:solidFill>
                <a:latin typeface="Arial" charset="0"/>
                <a:ea typeface="ＭＳ Ｐゴシック" charset="0"/>
              </a:defRPr>
            </a:lvl7pPr>
            <a:lvl8pPr marL="3433801" indent="-228920" eaLnBrk="0" fontAlgn="base" hangingPunct="0">
              <a:spcBef>
                <a:spcPct val="0"/>
              </a:spcBef>
              <a:spcAft>
                <a:spcPct val="0"/>
              </a:spcAft>
              <a:defRPr sz="1200">
                <a:solidFill>
                  <a:schemeClr val="tx1"/>
                </a:solidFill>
                <a:latin typeface="Arial" charset="0"/>
                <a:ea typeface="ＭＳ Ｐゴシック" charset="0"/>
              </a:defRPr>
            </a:lvl8pPr>
            <a:lvl9pPr marL="3891641" indent="-228920" eaLnBrk="0" fontAlgn="base" hangingPunct="0">
              <a:spcBef>
                <a:spcPct val="0"/>
              </a:spcBef>
              <a:spcAft>
                <a:spcPct val="0"/>
              </a:spcAft>
              <a:defRPr sz="1200">
                <a:solidFill>
                  <a:schemeClr val="tx1"/>
                </a:solidFill>
                <a:latin typeface="Arial" charset="0"/>
                <a:ea typeface="ＭＳ Ｐゴシック" charset="0"/>
              </a:defRPr>
            </a:lvl9pPr>
          </a:lstStyle>
          <a:p>
            <a:pPr marL="0" marR="0" lvl="0" indent="0" algn="r" defTabSz="914400" rtl="0" eaLnBrk="1" fontAlgn="base" latinLnBrk="0" hangingPunct="1">
              <a:lnSpc>
                <a:spcPct val="100000"/>
              </a:lnSpc>
              <a:spcBef>
                <a:spcPct val="50000"/>
              </a:spcBef>
              <a:spcAft>
                <a:spcPct val="0"/>
              </a:spcAft>
              <a:buClr>
                <a:srgbClr val="4F81BD"/>
              </a:buClr>
              <a:buSzTx/>
              <a:buFont typeface="Wingdings" pitchFamily="2" charset="2"/>
              <a:buNone/>
              <a:tabLst/>
              <a:defRPr/>
            </a:pPr>
            <a:endParaRPr kumimoji="0" lang="en-GB" sz="9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0163" name="Rectangle 2"/>
          <p:cNvSpPr>
            <a:spLocks noGrp="1" noRot="1" noChangeAspect="1" noChangeArrowheads="1" noTextEdit="1"/>
          </p:cNvSpPr>
          <p:nvPr>
            <p:ph type="sldImg"/>
          </p:nvPr>
        </p:nvSpPr>
        <p:spPr>
          <a:ln/>
        </p:spPr>
      </p:sp>
      <p:sp>
        <p:nvSpPr>
          <p:cNvPr id="22016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fr-FR"/>
          </a:p>
        </p:txBody>
      </p:sp>
    </p:spTree>
    <p:extLst>
      <p:ext uri="{BB962C8B-B14F-4D97-AF65-F5344CB8AC3E}">
        <p14:creationId xmlns:p14="http://schemas.microsoft.com/office/powerpoint/2010/main" val="27426335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211671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57784024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52225111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60007361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23094108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26098786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5391856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E99607DB-D9D5-4C7C-811F-516C8BC7F665}" type="slidenum">
              <a:rPr lang="en-GB" smtClean="0"/>
              <a:t>169</a:t>
            </a:fld>
            <a:endParaRPr lang="en-GB"/>
          </a:p>
        </p:txBody>
      </p:sp>
    </p:spTree>
    <p:extLst>
      <p:ext uri="{BB962C8B-B14F-4D97-AF65-F5344CB8AC3E}">
        <p14:creationId xmlns:p14="http://schemas.microsoft.com/office/powerpoint/2010/main" val="38757268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3999" eaLnBrk="1" fontAlgn="auto" hangingPunct="1">
              <a:spcBef>
                <a:spcPts val="0"/>
              </a:spcBef>
              <a:spcAft>
                <a:spcPts val="0"/>
              </a:spcAft>
              <a:buClrTx/>
              <a:defRPr/>
            </a:pPr>
            <a:fld id="{B4A55CF2-256D-44FD-9430-5B63A079CF51}" type="slidenum">
              <a:rPr lang="en-GB">
                <a:solidFill>
                  <a:prstClr val="black"/>
                </a:solidFill>
                <a:latin typeface="Calibri" panose="020F0502020204030204"/>
              </a:rPr>
              <a:pPr defTabSz="923999" eaLnBrk="1" fontAlgn="auto" hangingPunct="1">
                <a:spcBef>
                  <a:spcPts val="0"/>
                </a:spcBef>
                <a:spcAft>
                  <a:spcPts val="0"/>
                </a:spcAft>
                <a:buClrTx/>
                <a:defRPr/>
              </a:pPr>
              <a:t>172</a:t>
            </a:fld>
            <a:endParaRPr lang="en-GB">
              <a:solidFill>
                <a:prstClr val="black"/>
              </a:solidFill>
              <a:latin typeface="Calibri" panose="020F0502020204030204"/>
            </a:endParaRPr>
          </a:p>
        </p:txBody>
      </p:sp>
    </p:spTree>
    <p:extLst>
      <p:ext uri="{BB962C8B-B14F-4D97-AF65-F5344CB8AC3E}">
        <p14:creationId xmlns:p14="http://schemas.microsoft.com/office/powerpoint/2010/main" val="409531255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13257B-BB8D-2A5C-0C3D-17F3594825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AC1546-4765-4B20-A262-3CD8FC258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B6CAFB-0B40-FC01-A846-FA59EA9D5B3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31C8E3F-DB05-9704-0607-BDBDCB7975E2}"/>
              </a:ext>
            </a:extLst>
          </p:cNvPr>
          <p:cNvSpPr>
            <a:spLocks noGrp="1"/>
          </p:cNvSpPr>
          <p:nvPr>
            <p:ph type="sldNum" sz="quarter" idx="10"/>
          </p:nvPr>
        </p:nvSpPr>
        <p:spPr/>
        <p:txBody>
          <a:bodyPr/>
          <a:lstStyle/>
          <a:p>
            <a:pPr defTabSz="923999" eaLnBrk="1" fontAlgn="auto" hangingPunct="1">
              <a:spcBef>
                <a:spcPts val="0"/>
              </a:spcBef>
              <a:spcAft>
                <a:spcPts val="0"/>
              </a:spcAft>
              <a:buClrTx/>
              <a:defRPr/>
            </a:pPr>
            <a:fld id="{B4A55CF2-256D-44FD-9430-5B63A079CF51}" type="slidenum">
              <a:rPr lang="en-GB">
                <a:solidFill>
                  <a:prstClr val="black"/>
                </a:solidFill>
                <a:latin typeface="Calibri" panose="020F0502020204030204"/>
              </a:rPr>
              <a:pPr defTabSz="923999" eaLnBrk="1" fontAlgn="auto" hangingPunct="1">
                <a:spcBef>
                  <a:spcPts val="0"/>
                </a:spcBef>
                <a:spcAft>
                  <a:spcPts val="0"/>
                </a:spcAft>
                <a:buClrTx/>
                <a:defRPr/>
              </a:pPr>
              <a:t>173</a:t>
            </a:fld>
            <a:endParaRPr lang="en-GB">
              <a:solidFill>
                <a:prstClr val="black"/>
              </a:solidFill>
              <a:latin typeface="Calibri" panose="020F0502020204030204"/>
            </a:endParaRPr>
          </a:p>
        </p:txBody>
      </p:sp>
    </p:spTree>
    <p:extLst>
      <p:ext uri="{BB962C8B-B14F-4D97-AF65-F5344CB8AC3E}">
        <p14:creationId xmlns:p14="http://schemas.microsoft.com/office/powerpoint/2010/main" val="20468843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E99607DB-D9D5-4C7C-811F-516C8BC7F665}" type="slidenum">
              <a:rPr lang="en-GB" smtClean="0"/>
              <a:t>174</a:t>
            </a:fld>
            <a:endParaRPr lang="en-GB"/>
          </a:p>
        </p:txBody>
      </p:sp>
    </p:spTree>
    <p:extLst>
      <p:ext uri="{BB962C8B-B14F-4D97-AF65-F5344CB8AC3E}">
        <p14:creationId xmlns:p14="http://schemas.microsoft.com/office/powerpoint/2010/main" val="385703779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AF37A-60E6-4057-D2C8-A7C5DB1107D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0244E30-FA8C-458D-7273-8E125D160807}"/>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35A9160-99C7-0E3D-DE9B-E46E78FF8A30}"/>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5635E06F-396C-C291-9E7F-780BA14118AA}"/>
              </a:ext>
            </a:extLst>
          </p:cNvPr>
          <p:cNvSpPr>
            <a:spLocks noGrp="1"/>
          </p:cNvSpPr>
          <p:nvPr>
            <p:ph type="sldNum" sz="quarter" idx="5"/>
          </p:nvPr>
        </p:nvSpPr>
        <p:spPr/>
        <p:txBody>
          <a:bodyPr/>
          <a:lstStyle/>
          <a:p>
            <a:fld id="{E99607DB-D9D5-4C7C-811F-516C8BC7F665}" type="slidenum">
              <a:rPr lang="en-GB" smtClean="0"/>
              <a:t>175</a:t>
            </a:fld>
            <a:endParaRPr lang="en-GB"/>
          </a:p>
        </p:txBody>
      </p:sp>
    </p:spTree>
    <p:extLst>
      <p:ext uri="{BB962C8B-B14F-4D97-AF65-F5344CB8AC3E}">
        <p14:creationId xmlns:p14="http://schemas.microsoft.com/office/powerpoint/2010/main" val="764968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49232643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117025F-F885-4393-99A0-CE211E5A68F6}" type="slidenum">
              <a:rPr lang="en-GB" smtClean="0"/>
              <a:t>184</a:t>
            </a:fld>
            <a:endParaRPr lang="en-GB"/>
          </a:p>
        </p:txBody>
      </p:sp>
    </p:spTree>
    <p:extLst>
      <p:ext uri="{BB962C8B-B14F-4D97-AF65-F5344CB8AC3E}">
        <p14:creationId xmlns:p14="http://schemas.microsoft.com/office/powerpoint/2010/main" val="6724261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066C3-C1A2-0DC3-4F70-C716189919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16056C-C01F-EBA7-064F-7EE5E4D0C7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434AB-03C4-0CCF-F8AD-7E058851356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515DA19-08B4-C7D3-5DF3-40D5970DB92B}"/>
              </a:ext>
            </a:extLst>
          </p:cNvPr>
          <p:cNvSpPr>
            <a:spLocks noGrp="1"/>
          </p:cNvSpPr>
          <p:nvPr>
            <p:ph type="sldNum" sz="quarter" idx="5"/>
          </p:nvPr>
        </p:nvSpPr>
        <p:spPr/>
        <p:txBody>
          <a:bodyPr/>
          <a:lstStyle/>
          <a:p>
            <a:fld id="{D117025F-F885-4393-99A0-CE211E5A68F6}" type="slidenum">
              <a:rPr lang="en-GB" smtClean="0"/>
              <a:t>185</a:t>
            </a:fld>
            <a:endParaRPr lang="en-GB"/>
          </a:p>
        </p:txBody>
      </p:sp>
    </p:spTree>
    <p:extLst>
      <p:ext uri="{BB962C8B-B14F-4D97-AF65-F5344CB8AC3E}">
        <p14:creationId xmlns:p14="http://schemas.microsoft.com/office/powerpoint/2010/main" val="128685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5116538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446955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56451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272208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273374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501186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055993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647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56548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478423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95846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65834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360363" y="690563"/>
            <a:ext cx="6137275" cy="3452812"/>
          </a:xfrm>
          <a:ln/>
        </p:spPr>
      </p:sp>
      <p:sp>
        <p:nvSpPr>
          <p:cNvPr id="30723" name="Rectangle 3"/>
          <p:cNvSpPr>
            <a:spLocks noGrp="1" noChangeArrowheads="1"/>
          </p:cNvSpPr>
          <p:nvPr>
            <p:ph type="body" idx="1"/>
          </p:nvPr>
        </p:nvSpPr>
        <p:spPr>
          <a:xfrm>
            <a:off x="904009" y="4373127"/>
            <a:ext cx="5049982" cy="4067488"/>
          </a:xfrm>
          <a:noFill/>
          <a:ln/>
        </p:spPr>
        <p:txBody>
          <a:bodyPr/>
          <a:lstStyle/>
          <a:p>
            <a:endParaRPr lang="zh-CN" altLang="en-US"/>
          </a:p>
        </p:txBody>
      </p:sp>
    </p:spTree>
    <p:extLst>
      <p:ext uri="{BB962C8B-B14F-4D97-AF65-F5344CB8AC3E}">
        <p14:creationId xmlns:p14="http://schemas.microsoft.com/office/powerpoint/2010/main" val="453467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94531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13279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285460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5110525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117461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360363" y="690563"/>
            <a:ext cx="6137275" cy="3452812"/>
          </a:xfrm>
          <a:ln/>
        </p:spPr>
      </p:sp>
      <p:sp>
        <p:nvSpPr>
          <p:cNvPr id="32771" name="Rectangle 3"/>
          <p:cNvSpPr>
            <a:spLocks noGrp="1" noChangeArrowheads="1"/>
          </p:cNvSpPr>
          <p:nvPr>
            <p:ph type="body" idx="1"/>
          </p:nvPr>
        </p:nvSpPr>
        <p:spPr>
          <a:xfrm>
            <a:off x="904009" y="4373127"/>
            <a:ext cx="5049982" cy="4067488"/>
          </a:xfrm>
          <a:noFill/>
          <a:ln/>
        </p:spPr>
        <p:txBody>
          <a:bodyPr/>
          <a:lstStyle/>
          <a:p>
            <a:endParaRPr lang="zh-CN" altLang="en-US"/>
          </a:p>
        </p:txBody>
      </p:sp>
    </p:spTree>
    <p:extLst>
      <p:ext uri="{BB962C8B-B14F-4D97-AF65-F5344CB8AC3E}">
        <p14:creationId xmlns:p14="http://schemas.microsoft.com/office/powerpoint/2010/main" val="42644685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360363" y="690563"/>
            <a:ext cx="6137275" cy="3452812"/>
          </a:xfrm>
          <a:ln/>
        </p:spPr>
      </p:sp>
      <p:sp>
        <p:nvSpPr>
          <p:cNvPr id="37891" name="Rectangle 3"/>
          <p:cNvSpPr>
            <a:spLocks noGrp="1" noChangeArrowheads="1"/>
          </p:cNvSpPr>
          <p:nvPr>
            <p:ph type="body" idx="1"/>
          </p:nvPr>
        </p:nvSpPr>
        <p:spPr>
          <a:xfrm>
            <a:off x="904009" y="4373127"/>
            <a:ext cx="5049982" cy="4067488"/>
          </a:xfrm>
          <a:noFill/>
          <a:ln/>
        </p:spPr>
        <p:txBody>
          <a:bodyPr/>
          <a:lstStyle/>
          <a:p>
            <a:endParaRPr lang="it-IT"/>
          </a:p>
        </p:txBody>
      </p:sp>
      <p:sp>
        <p:nvSpPr>
          <p:cNvPr id="37892" name="Notes"/>
          <p:cNvSpPr txBox="1">
            <a:spLocks noChangeArrowheads="1"/>
          </p:cNvSpPr>
          <p:nvPr>
            <p:custDataLst>
              <p:tags r:id="rId1"/>
            </p:custDataLst>
          </p:nvPr>
        </p:nvSpPr>
        <p:spPr bwMode="auto">
          <a:xfrm>
            <a:off x="115099" y="8239648"/>
            <a:ext cx="5123118" cy="602901"/>
          </a:xfrm>
          <a:prstGeom prst="rect">
            <a:avLst/>
          </a:prstGeom>
          <a:noFill/>
          <a:ln w="28575">
            <a:noFill/>
            <a:miter lim="800000"/>
            <a:headEnd type="none" w="sm" len="sm"/>
            <a:tailEnd type="none" w="sm" len="sm"/>
          </a:ln>
        </p:spPr>
        <p:txBody>
          <a:bodyPr lIns="45720" tIns="0" rIns="45720" bIns="0"/>
          <a:lstStyle/>
          <a:p>
            <a:pPr marL="190500" marR="0" lvl="0" indent="-190500" algn="l"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it-IT" sz="10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184384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360363" y="690563"/>
            <a:ext cx="6137275" cy="3452812"/>
          </a:xfrm>
          <a:ln/>
        </p:spPr>
      </p:sp>
      <p:sp>
        <p:nvSpPr>
          <p:cNvPr id="25603" name="Rectangle 3"/>
          <p:cNvSpPr>
            <a:spLocks noGrp="1" noChangeArrowheads="1"/>
          </p:cNvSpPr>
          <p:nvPr>
            <p:ph type="body" idx="1"/>
          </p:nvPr>
        </p:nvSpPr>
        <p:spPr>
          <a:xfrm>
            <a:off x="904009" y="4373127"/>
            <a:ext cx="5049982" cy="4067488"/>
          </a:xfrm>
          <a:noFill/>
          <a:ln/>
        </p:spPr>
        <p:txBody>
          <a:bodyPr/>
          <a:lstStyle/>
          <a:p>
            <a:endParaRPr lang="zh-CN" altLang="en-US"/>
          </a:p>
        </p:txBody>
      </p:sp>
    </p:spTree>
    <p:extLst>
      <p:ext uri="{BB962C8B-B14F-4D97-AF65-F5344CB8AC3E}">
        <p14:creationId xmlns:p14="http://schemas.microsoft.com/office/powerpoint/2010/main" val="8580379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5058043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8099557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2430380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581138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85411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1133614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160654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297378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5580716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9775361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0795386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80512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7457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00356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962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854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6942716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23619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2184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7236737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8653969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8922891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328757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5065450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2587679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0712835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682280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0436706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a:defRPr/>
            </a:pPr>
            <a:endParaRPr lang="en-GB"/>
          </a:p>
        </p:txBody>
      </p:sp>
    </p:spTree>
    <p:extLst>
      <p:ext uri="{BB962C8B-B14F-4D97-AF65-F5344CB8AC3E}">
        <p14:creationId xmlns:p14="http://schemas.microsoft.com/office/powerpoint/2010/main" val="35471853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9353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5308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04562866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4809690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2520739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E99607DB-D9D5-4C7C-811F-516C8BC7F665}" type="slidenum">
              <a:rPr lang="en-GB" smtClean="0"/>
              <a:t>79</a:t>
            </a:fld>
            <a:endParaRPr lang="en-GB"/>
          </a:p>
        </p:txBody>
      </p:sp>
    </p:spTree>
    <p:extLst>
      <p:ext uri="{BB962C8B-B14F-4D97-AF65-F5344CB8AC3E}">
        <p14:creationId xmlns:p14="http://schemas.microsoft.com/office/powerpoint/2010/main" val="4073769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9098388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0673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129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551242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7626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9012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453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8508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29581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34611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30490036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19840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6050707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960819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0900627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7154492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10761882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796926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6544467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42350570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endParaRPr lang="en-GB" altLang="en-US"/>
          </a:p>
        </p:txBody>
      </p:sp>
      <p:sp>
        <p:nvSpPr>
          <p:cNvPr id="278530" name="Rectangle 2"/>
          <p:cNvSpPr>
            <a:spLocks noGrp="1" noRot="1" noChangeAspect="1" noChangeArrowheads="1" noTextEdit="1"/>
          </p:cNvSpPr>
          <p:nvPr>
            <p:ph type="sldImg"/>
          </p:nvPr>
        </p:nvSpPr>
        <p:spPr>
          <a:ln/>
        </p:spPr>
      </p:sp>
      <p:sp>
        <p:nvSpPr>
          <p:cNvPr id="278531" name="Rectangle 3"/>
          <p:cNvSpPr>
            <a:spLocks noGrp="1" noChangeArrowheads="1"/>
          </p:cNvSpPr>
          <p:nvPr>
            <p:ph type="body" idx="1"/>
          </p:nvPr>
        </p:nvSpPr>
        <p:spPr/>
        <p:txBody>
          <a:bodyPr/>
          <a:lstStyle/>
          <a:p>
            <a:endParaRPr lang="en-GB" altLang="en-US"/>
          </a:p>
        </p:txBody>
      </p:sp>
    </p:spTree>
    <p:extLst>
      <p:ext uri="{BB962C8B-B14F-4D97-AF65-F5344CB8AC3E}">
        <p14:creationId xmlns:p14="http://schemas.microsoft.com/office/powerpoint/2010/main" val="21365165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309323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46932585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90222837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646941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93886655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369539540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3732812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60056661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42460521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6216000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7794569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110761882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5293172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3"/>
        <p:cNvGrpSpPr/>
        <p:nvPr/>
      </p:nvGrpSpPr>
      <p:grpSpPr>
        <a:xfrm>
          <a:off x="0" y="0"/>
          <a:ext cx="0" cy="0"/>
          <a:chOff x="0" y="0"/>
          <a:chExt cx="0" cy="0"/>
        </a:xfrm>
      </p:grpSpPr>
      <p:sp>
        <p:nvSpPr>
          <p:cNvPr id="1734" name="Google Shape;1734;g47ec4e2306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35" name="Google Shape;1735;g47ec4e2306_1_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6638356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endParaRPr lang="fr-FR"/>
          </a:p>
        </p:txBody>
      </p:sp>
    </p:spTree>
    <p:extLst>
      <p:ext uri="{BB962C8B-B14F-4D97-AF65-F5344CB8AC3E}">
        <p14:creationId xmlns:p14="http://schemas.microsoft.com/office/powerpoint/2010/main" val="29228151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2.emf"/><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809BEF1-28A8-4EAD-8653-E8D8B3947BD0}"/>
              </a:ext>
            </a:extLst>
          </p:cNvPr>
          <p:cNvGraphicFramePr>
            <a:graphicFrameLocks noChangeAspect="1"/>
          </p:cNvGraphicFramePr>
          <p:nvPr userDrawn="1">
            <p:custDataLst>
              <p:tags r:id="rId1"/>
            </p:custDataLst>
            <p:extLst>
              <p:ext uri="{D42A27DB-BD31-4B8C-83A1-F6EECF244321}">
                <p14:modId xmlns:p14="http://schemas.microsoft.com/office/powerpoint/2010/main" val="216650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5" name="Objet 4" hidden="1">
                        <a:extLst>
                          <a:ext uri="{FF2B5EF4-FFF2-40B4-BE49-F238E27FC236}">
                            <a16:creationId xmlns:a16="http://schemas.microsoft.com/office/drawing/2014/main" id="{B809BEF1-28A8-4EAD-8653-E8D8B3947B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A61309-813F-4E22-BBAA-611FDEC07443}"/>
              </a:ext>
            </a:extLst>
          </p:cNvPr>
          <p:cNvSpPr/>
          <p:nvPr userDrawn="1">
            <p:custDataLst>
              <p:tags r:id="rId2"/>
            </p:custDataLst>
          </p:nvPr>
        </p:nvSpPr>
        <p:spPr bwMode="auto">
          <a:xfrm>
            <a:off x="0" y="0"/>
            <a:ext cx="158750" cy="15875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Clr>
                <a:schemeClr val="accent3"/>
              </a:buClr>
              <a:buSzPct val="77000"/>
              <a:buFontTx/>
              <a:buNone/>
            </a:pPr>
            <a:endParaRPr lang="fr-FR" sz="3200" b="1"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83F7770D-AD84-4358-8F90-214F61851564}"/>
              </a:ext>
            </a:extLst>
          </p:cNvPr>
          <p:cNvSpPr/>
          <p:nvPr userDrawn="1"/>
        </p:nvSpPr>
        <p:spPr>
          <a:xfrm>
            <a:off x="10984219" y="6480720"/>
            <a:ext cx="1136576" cy="3326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close up of a sign&#10;&#10;Description automatically generated">
            <a:extLst>
              <a:ext uri="{FF2B5EF4-FFF2-40B4-BE49-F238E27FC236}">
                <a16:creationId xmlns:a16="http://schemas.microsoft.com/office/drawing/2014/main" id="{6B717FA3-069D-4E94-9701-7D0E8804027C}"/>
              </a:ext>
            </a:extLst>
          </p:cNvPr>
          <p:cNvPicPr>
            <a:picLocks noChangeAspect="1"/>
          </p:cNvPicPr>
          <p:nvPr userDrawn="1"/>
        </p:nvPicPr>
        <p:blipFill>
          <a:blip r:embed="rId6"/>
          <a:stretch>
            <a:fillRect/>
          </a:stretch>
        </p:blipFill>
        <p:spPr>
          <a:xfrm>
            <a:off x="9587691" y="5963138"/>
            <a:ext cx="2090741" cy="565200"/>
          </a:xfrm>
          <a:prstGeom prst="rect">
            <a:avLst/>
          </a:prstGeom>
        </p:spPr>
      </p:pic>
      <p:pic>
        <p:nvPicPr>
          <p:cNvPr id="12" name="Picture 11" descr="A picture containing green, room, sink, tub&#10;&#10;Description automatically generated">
            <a:extLst>
              <a:ext uri="{FF2B5EF4-FFF2-40B4-BE49-F238E27FC236}">
                <a16:creationId xmlns:a16="http://schemas.microsoft.com/office/drawing/2014/main" id="{B0DBA0FB-1067-479B-B3D5-12AD1AEF88CF}"/>
              </a:ext>
            </a:extLst>
          </p:cNvPr>
          <p:cNvPicPr>
            <a:picLocks noChangeAspect="1"/>
          </p:cNvPicPr>
          <p:nvPr userDrawn="1"/>
        </p:nvPicPr>
        <p:blipFill>
          <a:blip r:embed="rId7"/>
          <a:stretch>
            <a:fillRect/>
          </a:stretch>
        </p:blipFill>
        <p:spPr>
          <a:xfrm>
            <a:off x="0" y="0"/>
            <a:ext cx="12193200" cy="5605311"/>
          </a:xfrm>
          <a:prstGeom prst="rect">
            <a:avLst/>
          </a:prstGeom>
        </p:spPr>
      </p:pic>
      <p:pic>
        <p:nvPicPr>
          <p:cNvPr id="13" name="Picture 12" descr="A close up of a logo&#10;&#10;Description automatically generated">
            <a:extLst>
              <a:ext uri="{FF2B5EF4-FFF2-40B4-BE49-F238E27FC236}">
                <a16:creationId xmlns:a16="http://schemas.microsoft.com/office/drawing/2014/main" id="{42C24DAA-2037-4CCF-B3F7-BBE9F6B59B34}"/>
              </a:ext>
            </a:extLst>
          </p:cNvPr>
          <p:cNvPicPr>
            <a:picLocks noChangeAspect="1"/>
          </p:cNvPicPr>
          <p:nvPr userDrawn="1"/>
        </p:nvPicPr>
        <p:blipFill rotWithShape="1">
          <a:blip r:embed="rId8">
            <a:alphaModFix amt="7000"/>
          </a:blip>
          <a:srcRect l="27105" t="9200" b="8933"/>
          <a:stretch/>
        </p:blipFill>
        <p:spPr>
          <a:xfrm>
            <a:off x="0" y="0"/>
            <a:ext cx="4802514" cy="5614472"/>
          </a:xfrm>
          <a:prstGeom prst="rect">
            <a:avLst/>
          </a:prstGeom>
        </p:spPr>
      </p:pic>
      <p:sp>
        <p:nvSpPr>
          <p:cNvPr id="14" name="Title 1">
            <a:extLst>
              <a:ext uri="{FF2B5EF4-FFF2-40B4-BE49-F238E27FC236}">
                <a16:creationId xmlns:a16="http://schemas.microsoft.com/office/drawing/2014/main" id="{3A2FCAAE-AA93-4F68-BE69-45208C4C56D4}"/>
              </a:ext>
            </a:extLst>
          </p:cNvPr>
          <p:cNvSpPr>
            <a:spLocks noGrp="1"/>
          </p:cNvSpPr>
          <p:nvPr>
            <p:ph type="ctrTitle"/>
          </p:nvPr>
        </p:nvSpPr>
        <p:spPr>
          <a:xfrm>
            <a:off x="1137600" y="2125850"/>
            <a:ext cx="8388000" cy="595923"/>
          </a:xfrm>
        </p:spPr>
        <p:txBody>
          <a:bodyPr wrap="square" tIns="36000" bIns="36000" anchor="b" anchorCtr="0">
            <a:spAutoFit/>
          </a:bodyPr>
          <a:lstStyle>
            <a:lvl1pPr algn="l">
              <a:lnSpc>
                <a:spcPts val="3500"/>
              </a:lnSpc>
              <a:defRPr kumimoji="0" lang="en-US" sz="3400" b="1" i="0" u="none" strike="noStrike" kern="1200" cap="none" normalizeH="0" baseline="0" dirty="0">
                <a:ln>
                  <a:noFill/>
                </a:ln>
                <a:solidFill>
                  <a:schemeClr val="bg1"/>
                </a:solidFill>
                <a:effectLst/>
                <a:latin typeface="Arial" pitchFamily="34" charset="0"/>
                <a:ea typeface="+mn-ea"/>
                <a:cs typeface="Arial" pitchFamily="34" charset="0"/>
              </a:defRPr>
            </a:lvl1pPr>
          </a:lstStyle>
          <a:p>
            <a:pPr marL="0" marR="0" lvl="0" indent="0" algn="l" defTabSz="1125444" rtl="0" eaLnBrk="1" fontAlgn="base" latinLnBrk="0" hangingPunct="1">
              <a:lnSpc>
                <a:spcPct val="100000"/>
              </a:lnSpc>
              <a:spcBef>
                <a:spcPct val="0"/>
              </a:spcBef>
              <a:spcAft>
                <a:spcPct val="0"/>
              </a:spcAft>
              <a:buClrTx/>
              <a:buSzTx/>
              <a:buFontTx/>
              <a:buNone/>
              <a:tabLst/>
            </a:pPr>
            <a:r>
              <a:rPr lang="fr-FR" noProof="0"/>
              <a:t>Modifiez le style du titre</a:t>
            </a:r>
            <a:endParaRPr lang="en-GB" noProof="0"/>
          </a:p>
        </p:txBody>
      </p:sp>
      <p:sp>
        <p:nvSpPr>
          <p:cNvPr id="15" name="Subtitle 2">
            <a:extLst>
              <a:ext uri="{FF2B5EF4-FFF2-40B4-BE49-F238E27FC236}">
                <a16:creationId xmlns:a16="http://schemas.microsoft.com/office/drawing/2014/main" id="{BBD9C87A-8218-4CF1-880F-69C7BF0854AF}"/>
              </a:ext>
            </a:extLst>
          </p:cNvPr>
          <p:cNvSpPr>
            <a:spLocks noGrp="1"/>
          </p:cNvSpPr>
          <p:nvPr>
            <p:ph type="subTitle" idx="1"/>
          </p:nvPr>
        </p:nvSpPr>
        <p:spPr>
          <a:xfrm>
            <a:off x="1137600" y="2695002"/>
            <a:ext cx="8388000" cy="374906"/>
          </a:xfrm>
        </p:spPr>
        <p:txBody>
          <a:bodyPr tIns="0" bIns="36000"/>
          <a:lstStyle>
            <a:lvl1pPr marL="0" indent="0" algn="l">
              <a:spcBef>
                <a:spcPts val="0"/>
              </a:spcBef>
              <a:spcAft>
                <a:spcPts val="0"/>
              </a:spcAft>
              <a:buNone/>
              <a:defRPr kumimoji="0" lang="en-US" sz="2200" b="0" i="0" u="none" strike="noStrike" kern="1200" cap="none" normalizeH="0" baseline="0" dirty="0">
                <a:ln>
                  <a:noFill/>
                </a:ln>
                <a:solidFill>
                  <a:schemeClr val="bg1"/>
                </a:solidFill>
                <a:effectLst/>
                <a:latin typeface="Arial" pitchFamily="34" charset="0"/>
                <a:ea typeface="+mn-ea"/>
                <a:cs typeface="Arial" pitchFamily="34" charset="0"/>
              </a:defRPr>
            </a:lvl1pPr>
            <a:lvl2pPr marL="562722" indent="0" algn="ctr">
              <a:buNone/>
              <a:defRPr sz="2462"/>
            </a:lvl2pPr>
            <a:lvl3pPr marL="1125444" indent="0" algn="ctr">
              <a:buNone/>
              <a:defRPr sz="2215"/>
            </a:lvl3pPr>
            <a:lvl4pPr marL="1688165" indent="0" algn="ctr">
              <a:buNone/>
              <a:defRPr sz="1969"/>
            </a:lvl4pPr>
            <a:lvl5pPr marL="2250887" indent="0" algn="ctr">
              <a:buNone/>
              <a:defRPr sz="1969"/>
            </a:lvl5pPr>
            <a:lvl6pPr marL="2813609" indent="0" algn="ctr">
              <a:buNone/>
              <a:defRPr sz="1969"/>
            </a:lvl6pPr>
            <a:lvl7pPr marL="3376331" indent="0" algn="ctr">
              <a:buNone/>
              <a:defRPr sz="1969"/>
            </a:lvl7pPr>
            <a:lvl8pPr marL="3939052" indent="0" algn="ctr">
              <a:buNone/>
              <a:defRPr sz="1969"/>
            </a:lvl8pPr>
            <a:lvl9pPr marL="4501774" indent="0" algn="ctr">
              <a:buNone/>
              <a:defRPr sz="1969"/>
            </a:lvl9pPr>
          </a:lstStyle>
          <a:p>
            <a:r>
              <a:rPr lang="fr-FR" noProof="0"/>
              <a:t>Modifiez le style des sous-titres du masque</a:t>
            </a:r>
            <a:endParaRPr lang="en-GB" noProof="0"/>
          </a:p>
        </p:txBody>
      </p:sp>
      <p:sp>
        <p:nvSpPr>
          <p:cNvPr id="16" name="Text Placeholder 4">
            <a:extLst>
              <a:ext uri="{FF2B5EF4-FFF2-40B4-BE49-F238E27FC236}">
                <a16:creationId xmlns:a16="http://schemas.microsoft.com/office/drawing/2014/main" id="{0D1A6765-467D-4A51-AF2A-F303F6876D0F}"/>
              </a:ext>
            </a:extLst>
          </p:cNvPr>
          <p:cNvSpPr>
            <a:spLocks noGrp="1"/>
          </p:cNvSpPr>
          <p:nvPr>
            <p:ph type="body" sz="quarter" idx="10"/>
          </p:nvPr>
        </p:nvSpPr>
        <p:spPr>
          <a:xfrm>
            <a:off x="1137600" y="3443661"/>
            <a:ext cx="8388000" cy="282573"/>
          </a:xfrm>
        </p:spPr>
        <p:txBody>
          <a:bodyPr wrap="square" tIns="0" bIns="36000">
            <a:spAutoFit/>
          </a:bodyPr>
          <a:lstStyle>
            <a:lvl1pPr>
              <a:defRPr kumimoji="0" lang="en-GB" sz="1600" b="0" i="0" u="none" strike="noStrike" kern="1200" cap="none" normalizeH="0" baseline="0" dirty="0">
                <a:ln>
                  <a:noFill/>
                </a:ln>
                <a:solidFill>
                  <a:schemeClr val="bg1"/>
                </a:solidFill>
                <a:effectLst/>
                <a:latin typeface="Arial" pitchFamily="34" charset="0"/>
                <a:ea typeface="+mn-ea"/>
                <a:cs typeface="Arial" pitchFamily="34" charset="0"/>
              </a:defRPr>
            </a:lvl1pPr>
          </a:lstStyle>
          <a:p>
            <a:pPr lvl="0"/>
            <a:r>
              <a:rPr lang="fr-FR" noProof="0"/>
              <a:t>Cliquez pour modifier les styles du texte du masque</a:t>
            </a:r>
          </a:p>
        </p:txBody>
      </p:sp>
    </p:spTree>
    <p:extLst>
      <p:ext uri="{BB962C8B-B14F-4D97-AF65-F5344CB8AC3E}">
        <p14:creationId xmlns:p14="http://schemas.microsoft.com/office/powerpoint/2010/main" val="41474228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70F5580-E808-425F-B854-52597DF99240}"/>
              </a:ext>
            </a:extLst>
          </p:cNvPr>
          <p:cNvGraphicFramePr>
            <a:graphicFrameLocks noChangeAspect="1"/>
          </p:cNvGraphicFramePr>
          <p:nvPr userDrawn="1">
            <p:custDataLst>
              <p:tags r:id="rId1"/>
            </p:custDataLst>
            <p:extLst>
              <p:ext uri="{D42A27DB-BD31-4B8C-83A1-F6EECF244321}">
                <p14:modId xmlns:p14="http://schemas.microsoft.com/office/powerpoint/2010/main" val="103795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6" name="Objet 5" hidden="1">
                        <a:extLst>
                          <a:ext uri="{FF2B5EF4-FFF2-40B4-BE49-F238E27FC236}">
                            <a16:creationId xmlns:a16="http://schemas.microsoft.com/office/drawing/2014/main" id="{870F5580-E808-425F-B854-52597DF992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4C8FCA9-A490-4EE9-A121-9674CD4CE233}"/>
              </a:ext>
            </a:extLst>
          </p:cNvPr>
          <p:cNvSpPr/>
          <p:nvPr userDrawn="1">
            <p:custDataLst>
              <p:tags r:id="rId2"/>
            </p:custDataLst>
          </p:nvPr>
        </p:nvSpPr>
        <p:spPr bwMode="auto">
          <a:xfrm>
            <a:off x="0" y="0"/>
            <a:ext cx="158750" cy="15875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Clr>
                <a:schemeClr val="accent3"/>
              </a:buClr>
              <a:buSzPct val="77000"/>
              <a:buFontTx/>
              <a:buNone/>
            </a:pPr>
            <a:endParaRPr lang="fr-FR"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32000" y="316800"/>
            <a:ext cx="11340000" cy="468000"/>
          </a:xfrm>
        </p:spPr>
        <p:txBody>
          <a:bodyPr/>
          <a:lstStyle>
            <a:lvl1pPr>
              <a:defRPr>
                <a:solidFill>
                  <a:schemeClr val="tx2"/>
                </a:solidFill>
              </a:defRPr>
            </a:lvl1pPr>
          </a:lstStyle>
          <a:p>
            <a:r>
              <a:rPr lang="fr-FR" noProof="0"/>
              <a:t>Modifiez le style du titre</a:t>
            </a:r>
            <a:endParaRPr lang="en-GB" noProof="0"/>
          </a:p>
        </p:txBody>
      </p:sp>
      <p:sp>
        <p:nvSpPr>
          <p:cNvPr id="3" name="Content Placeholder 2"/>
          <p:cNvSpPr>
            <a:spLocks noGrp="1"/>
          </p:cNvSpPr>
          <p:nvPr>
            <p:ph idx="1"/>
          </p:nvPr>
        </p:nvSpPr>
        <p:spPr>
          <a:xfrm>
            <a:off x="432000" y="1162800"/>
            <a:ext cx="11340000" cy="1940770"/>
          </a:xfrm>
        </p:spPr>
        <p:txBody>
          <a:bodyPr tIns="72000" bIns="72000"/>
          <a:lstStyle>
            <a:lvl1pPr>
              <a:spcBef>
                <a:spcPts val="400"/>
              </a:spcBef>
              <a:spcAft>
                <a:spcPts val="400"/>
              </a:spcAft>
              <a:defRPr/>
            </a:lvl1pPr>
            <a:lvl2pPr>
              <a:spcBef>
                <a:spcPts val="400"/>
              </a:spcBef>
              <a:spcAft>
                <a:spcPts val="400"/>
              </a:spcAft>
              <a:defRPr/>
            </a:lvl2pPr>
            <a:lvl3pPr>
              <a:spcBef>
                <a:spcPts val="400"/>
              </a:spcBef>
              <a:spcAft>
                <a:spcPts val="400"/>
              </a:spcAft>
              <a:defRPr/>
            </a:lvl3pPr>
            <a:lvl4pPr>
              <a:spcBef>
                <a:spcPts val="400"/>
              </a:spcBef>
              <a:spcAft>
                <a:spcPts val="400"/>
              </a:spcAft>
              <a:defRPr/>
            </a:lvl4pPr>
            <a:lvl5pPr>
              <a:spcBef>
                <a:spcPts val="400"/>
              </a:spcBef>
              <a:spcAft>
                <a:spcPts val="400"/>
              </a:spcAft>
              <a:defRPr/>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
        <p:nvSpPr>
          <p:cNvPr id="5" name="Slide number">
            <a:extLst>
              <a:ext uri="{FF2B5EF4-FFF2-40B4-BE49-F238E27FC236}">
                <a16:creationId xmlns:a16="http://schemas.microsoft.com/office/drawing/2014/main" id="{38546480-D7FD-4D28-AB1B-F1F27CFABFC8}"/>
              </a:ext>
            </a:extLst>
          </p:cNvPr>
          <p:cNvSpPr txBox="1"/>
          <p:nvPr userDrawn="1"/>
        </p:nvSpPr>
        <p:spPr>
          <a:xfrm>
            <a:off x="72781" y="6664995"/>
            <a:ext cx="358112" cy="169277"/>
          </a:xfrm>
          <a:prstGeom prst="rect">
            <a:avLst/>
          </a:prstGeom>
          <a:noFill/>
        </p:spPr>
        <p:txBody>
          <a:bodyPr wrap="square" lIns="0" tIns="0" rIns="0" bIns="0" rtlCol="0" anchor="ctr" anchorCtr="0">
            <a:spAutoFit/>
          </a:bodyPr>
          <a:lstStyle>
            <a:defPPr>
              <a:defRPr lang="en-GB"/>
            </a:defPPr>
            <a:lvl1pPr algn="l">
              <a:defRPr sz="1000" b="1">
                <a:solidFill>
                  <a:schemeClr val="bg1">
                    <a:lumMod val="75000"/>
                  </a:schemeClr>
                </a:solidFill>
                <a:latin typeface="Arial" panose="020B0604020202020204" pitchFamily="34" charset="0"/>
                <a:cs typeface="Arial" panose="020B0604020202020204" pitchFamily="34" charset="0"/>
              </a:defRPr>
            </a:lvl1pPr>
          </a:lstStyle>
          <a:p>
            <a:pPr lvl="0"/>
            <a:fld id="{AD09F8B9-30AD-40AD-AFF2-B26CCD38DAE5}" type="slidenum">
              <a:rPr lang="en-GB" sz="1100" b="0" smtClean="0">
                <a:solidFill>
                  <a:schemeClr val="accent3"/>
                </a:solidFill>
              </a:rPr>
              <a:pPr lvl="0"/>
              <a:t>‹#›</a:t>
            </a:fld>
            <a:endParaRPr lang="en-GB" sz="1100" b="0" dirty="0">
              <a:solidFill>
                <a:schemeClr val="accent3"/>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sli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7972E-F6D4-48AB-B72A-EC3332209679}"/>
              </a:ext>
            </a:extLst>
          </p:cNvPr>
          <p:cNvSpPr>
            <a:spLocks noGrp="1"/>
          </p:cNvSpPr>
          <p:nvPr>
            <p:ph type="title"/>
          </p:nvPr>
        </p:nvSpPr>
        <p:spPr/>
        <p:txBody>
          <a:bodyPr/>
          <a:lstStyle/>
          <a:p>
            <a:r>
              <a:rPr lang="fr-FR"/>
              <a:t>Modifiez le style du titre</a:t>
            </a:r>
            <a:endParaRPr lang="en-GB"/>
          </a:p>
        </p:txBody>
      </p:sp>
      <p:sp>
        <p:nvSpPr>
          <p:cNvPr id="3" name="Content Placeholder 2">
            <a:extLst>
              <a:ext uri="{FF2B5EF4-FFF2-40B4-BE49-F238E27FC236}">
                <a16:creationId xmlns:a16="http://schemas.microsoft.com/office/drawing/2014/main" id="{4EFA5755-7A5B-42DB-B22F-DCFD85C63901}"/>
              </a:ext>
            </a:extLst>
          </p:cNvPr>
          <p:cNvSpPr>
            <a:spLocks noGrp="1"/>
          </p:cNvSpPr>
          <p:nvPr>
            <p:ph sz="half" idx="1"/>
          </p:nvPr>
        </p:nvSpPr>
        <p:spPr>
          <a:xfrm>
            <a:off x="432000" y="1162800"/>
            <a:ext cx="5347938" cy="1940770"/>
          </a:xfrm>
        </p:spPr>
        <p:txBody>
          <a:bodyPr vert="horz" lIns="72000" tIns="72000" rIns="72000" bIns="72000" rtlCol="0">
            <a:spAutoFit/>
          </a:bodyPr>
          <a:lstStyle>
            <a:lvl1pPr>
              <a:spcBef>
                <a:spcPts val="400"/>
              </a:spcBef>
              <a:spcAft>
                <a:spcPts val="400"/>
              </a:spcAft>
              <a:defRPr lang="en-US" dirty="0" smtClean="0"/>
            </a:lvl1pPr>
            <a:lvl2pPr>
              <a:spcBef>
                <a:spcPts val="400"/>
              </a:spcBef>
              <a:spcAft>
                <a:spcPts val="400"/>
              </a:spcAft>
              <a:defRPr lang="en-US" dirty="0" smtClean="0"/>
            </a:lvl2pPr>
            <a:lvl3pPr>
              <a:spcBef>
                <a:spcPts val="400"/>
              </a:spcBef>
              <a:spcAft>
                <a:spcPts val="400"/>
              </a:spcAft>
              <a:defRPr lang="en-US" dirty="0" smtClean="0"/>
            </a:lvl3pPr>
            <a:lvl4pPr>
              <a:spcBef>
                <a:spcPts val="400"/>
              </a:spcBef>
              <a:spcAft>
                <a:spcPts val="400"/>
              </a:spcAft>
              <a:defRPr lang="en-US" dirty="0" smtClean="0"/>
            </a:lvl4pPr>
            <a:lvl5pPr>
              <a:spcBef>
                <a:spcPts val="400"/>
              </a:spcBef>
              <a:spcAft>
                <a:spcPts val="400"/>
              </a:spcAft>
              <a:defRPr lang="en-US" dirty="0"/>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a:p>
        </p:txBody>
      </p:sp>
      <p:sp>
        <p:nvSpPr>
          <p:cNvPr id="4" name="Content Placeholder 3">
            <a:extLst>
              <a:ext uri="{FF2B5EF4-FFF2-40B4-BE49-F238E27FC236}">
                <a16:creationId xmlns:a16="http://schemas.microsoft.com/office/drawing/2014/main" id="{E705A010-A549-45B3-A70A-23D7473A0D60}"/>
              </a:ext>
            </a:extLst>
          </p:cNvPr>
          <p:cNvSpPr>
            <a:spLocks noGrp="1"/>
          </p:cNvSpPr>
          <p:nvPr>
            <p:ph sz="half" idx="2"/>
          </p:nvPr>
        </p:nvSpPr>
        <p:spPr>
          <a:xfrm>
            <a:off x="6426000" y="1162800"/>
            <a:ext cx="5347938" cy="1940770"/>
          </a:xfrm>
        </p:spPr>
        <p:txBody>
          <a:bodyPr vert="horz" lIns="72000" tIns="72000" rIns="72000" bIns="72000" rtlCol="0">
            <a:spAutoFit/>
          </a:bodyPr>
          <a:lstStyle>
            <a:lvl1pPr>
              <a:spcBef>
                <a:spcPts val="400"/>
              </a:spcBef>
              <a:spcAft>
                <a:spcPts val="400"/>
              </a:spcAft>
              <a:defRPr lang="en-US" smtClean="0"/>
            </a:lvl1pPr>
            <a:lvl2pPr>
              <a:spcBef>
                <a:spcPts val="400"/>
              </a:spcBef>
              <a:spcAft>
                <a:spcPts val="400"/>
              </a:spcAft>
              <a:defRPr lang="en-US" smtClean="0"/>
            </a:lvl2pPr>
            <a:lvl3pPr>
              <a:spcBef>
                <a:spcPts val="400"/>
              </a:spcBef>
              <a:spcAft>
                <a:spcPts val="400"/>
              </a:spcAft>
              <a:defRPr lang="en-US" smtClean="0"/>
            </a:lvl3pPr>
            <a:lvl4pPr>
              <a:spcBef>
                <a:spcPts val="400"/>
              </a:spcBef>
              <a:spcAft>
                <a:spcPts val="400"/>
              </a:spcAft>
              <a:defRPr lang="en-US" smtClean="0"/>
            </a:lvl4pPr>
            <a:lvl5pPr>
              <a:spcBef>
                <a:spcPts val="400"/>
              </a:spcBef>
              <a:spcAft>
                <a:spcPts val="400"/>
              </a:spcAft>
              <a:defRPr lang="en-US" dirty="0"/>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a:p>
        </p:txBody>
      </p:sp>
    </p:spTree>
    <p:extLst>
      <p:ext uri="{BB962C8B-B14F-4D97-AF65-F5344CB8AC3E}">
        <p14:creationId xmlns:p14="http://schemas.microsoft.com/office/powerpoint/2010/main" val="4027571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4A7A76-30AF-4334-A050-5AE9FD691976}"/>
              </a:ext>
            </a:extLst>
          </p:cNvPr>
          <p:cNvSpPr>
            <a:spLocks noGrp="1"/>
          </p:cNvSpPr>
          <p:nvPr>
            <p:ph type="title"/>
          </p:nvPr>
        </p:nvSpPr>
        <p:spPr/>
        <p:txBody>
          <a:bodyPr/>
          <a:lstStyle/>
          <a:p>
            <a:r>
              <a:rPr lang="fr-FR"/>
              <a:t>Modifiez le style du titre</a:t>
            </a:r>
            <a:endParaRPr lang="en-GB"/>
          </a:p>
        </p:txBody>
      </p:sp>
      <p:sp>
        <p:nvSpPr>
          <p:cNvPr id="3" name="Text Placeholder 4">
            <a:extLst>
              <a:ext uri="{FF2B5EF4-FFF2-40B4-BE49-F238E27FC236}">
                <a16:creationId xmlns:a16="http://schemas.microsoft.com/office/drawing/2014/main" id="{8C2A3B7E-A69F-4945-A59F-B13ADE8E09E3}"/>
              </a:ext>
            </a:extLst>
          </p:cNvPr>
          <p:cNvSpPr>
            <a:spLocks noGrp="1"/>
          </p:cNvSpPr>
          <p:nvPr>
            <p:ph type="body" sz="quarter" idx="10"/>
          </p:nvPr>
        </p:nvSpPr>
        <p:spPr>
          <a:xfrm>
            <a:off x="432000" y="2787746"/>
            <a:ext cx="11340000" cy="1474985"/>
          </a:xfrm>
        </p:spPr>
        <p:txBody>
          <a:bodyPr lIns="720000" tIns="144000" rIns="720000" bIns="144000" anchor="ctr" anchorCtr="0"/>
          <a:lstStyle>
            <a:lvl1pPr marL="441580" marR="0" fontAlgn="auto">
              <a:lnSpc>
                <a:spcPct val="100000"/>
              </a:lnSpc>
              <a:spcBef>
                <a:spcPts val="600"/>
              </a:spcBef>
              <a:spcAft>
                <a:spcPts val="3000"/>
              </a:spcAft>
              <a:buClr>
                <a:srgbClr val="B40646"/>
              </a:buClr>
              <a:buSzTx/>
              <a:tabLst/>
              <a:defRPr sz="2000"/>
            </a:lvl1pPr>
            <a:lvl2pPr marL="441580" marR="0" indent="-441580" fontAlgn="auto">
              <a:lnSpc>
                <a:spcPct val="100000"/>
              </a:lnSpc>
              <a:spcBef>
                <a:spcPts val="600"/>
              </a:spcBef>
              <a:spcAft>
                <a:spcPts val="3000"/>
              </a:spcAft>
              <a:buClr>
                <a:srgbClr val="B40646"/>
              </a:buClr>
              <a:buSzPct val="110000"/>
              <a:buFont typeface="Wingdings 3" panose="05040102010807070707" pitchFamily="18" charset="2"/>
              <a:buChar char=""/>
              <a:tabLst/>
              <a:defRPr sz="2000" b="1"/>
            </a:lvl2pPr>
          </a:lstStyle>
          <a:p>
            <a:pPr marL="441580" marR="0" lvl="0" fontAlgn="auto">
              <a:lnSpc>
                <a:spcPct val="100000"/>
              </a:lnSpc>
              <a:spcBef>
                <a:spcPts val="738"/>
              </a:spcBef>
              <a:spcAft>
                <a:spcPts val="3692"/>
              </a:spcAft>
              <a:buClr>
                <a:srgbClr val="B40646"/>
              </a:buClr>
              <a:buSzTx/>
              <a:tabLst/>
            </a:pPr>
            <a:r>
              <a:rPr lang="fr-FR" noProof="0"/>
              <a:t>Cliquez pour modifier les styles du texte du masque</a:t>
            </a:r>
          </a:p>
          <a:p>
            <a:pPr marL="441580" marR="0" lvl="1" fontAlgn="auto">
              <a:lnSpc>
                <a:spcPct val="100000"/>
              </a:lnSpc>
              <a:spcBef>
                <a:spcPts val="738"/>
              </a:spcBef>
              <a:spcAft>
                <a:spcPts val="3692"/>
              </a:spcAft>
              <a:buClr>
                <a:srgbClr val="B40646"/>
              </a:buClr>
              <a:buSzTx/>
              <a:tabLst/>
            </a:pPr>
            <a:r>
              <a:rPr lang="fr-FR" noProof="0"/>
              <a:t>Deuxième niveau</a:t>
            </a:r>
          </a:p>
        </p:txBody>
      </p:sp>
      <p:pic>
        <p:nvPicPr>
          <p:cNvPr id="4" name="Picture 3">
            <a:extLst>
              <a:ext uri="{FF2B5EF4-FFF2-40B4-BE49-F238E27FC236}">
                <a16:creationId xmlns:a16="http://schemas.microsoft.com/office/drawing/2014/main" id="{102CE02A-5805-4D95-979D-657BF7ABD3BE}"/>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998800" y="-4844"/>
            <a:ext cx="198000"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1471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pacer slid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D9DFC05-F4FD-47A1-881C-674656DB9941}"/>
              </a:ext>
            </a:extLst>
          </p:cNvPr>
          <p:cNvGraphicFramePr>
            <a:graphicFrameLocks noChangeAspect="1"/>
          </p:cNvGraphicFramePr>
          <p:nvPr userDrawn="1">
            <p:custDataLst>
              <p:tags r:id="rId1"/>
            </p:custDataLst>
            <p:extLst>
              <p:ext uri="{D42A27DB-BD31-4B8C-83A1-F6EECF244321}">
                <p14:modId xmlns:p14="http://schemas.microsoft.com/office/powerpoint/2010/main" val="21202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3" name="Objet 2" hidden="1">
                        <a:extLst>
                          <a:ext uri="{FF2B5EF4-FFF2-40B4-BE49-F238E27FC236}">
                            <a16:creationId xmlns:a16="http://schemas.microsoft.com/office/drawing/2014/main" id="{5D9DFC05-F4FD-47A1-881C-674656DB99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4A92A3-A364-43D9-BBBE-D087CA868EAD}"/>
              </a:ext>
            </a:extLst>
          </p:cNvPr>
          <p:cNvSpPr/>
          <p:nvPr userDrawn="1">
            <p:custDataLst>
              <p:tags r:id="rId2"/>
            </p:custDataLst>
          </p:nvPr>
        </p:nvSpPr>
        <p:spPr bwMode="auto">
          <a:xfrm>
            <a:off x="0" y="0"/>
            <a:ext cx="158750" cy="15875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Clr>
                <a:schemeClr val="accent3"/>
              </a:buClr>
              <a:buSzPct val="77000"/>
              <a:buFontTx/>
              <a:buNone/>
            </a:pPr>
            <a:endParaRPr lang="en-US" sz="4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id="{DE2FFCDC-3972-45D0-BF90-A03DB93E9357}"/>
              </a:ext>
            </a:extLst>
          </p:cNvPr>
          <p:cNvSpPr>
            <a:spLocks noGrp="1"/>
          </p:cNvSpPr>
          <p:nvPr>
            <p:ph type="title" hasCustomPrompt="1"/>
          </p:nvPr>
        </p:nvSpPr>
        <p:spPr>
          <a:xfrm>
            <a:off x="1409292" y="3131981"/>
            <a:ext cx="9383754" cy="468000"/>
          </a:xfrm>
        </p:spPr>
        <p:txBody>
          <a:bodyPr/>
          <a:lstStyle>
            <a:lvl1pPr algn="ctr">
              <a:defRPr sz="4000" b="0">
                <a:solidFill>
                  <a:schemeClr val="tx2"/>
                </a:solidFill>
              </a:defRPr>
            </a:lvl1pPr>
          </a:lstStyle>
          <a:p>
            <a:r>
              <a:rPr lang="en-GB" noProof="0"/>
              <a:t>Title, question or comment</a:t>
            </a:r>
          </a:p>
        </p:txBody>
      </p:sp>
      <p:sp>
        <p:nvSpPr>
          <p:cNvPr id="10" name="Slide number">
            <a:extLst>
              <a:ext uri="{FF2B5EF4-FFF2-40B4-BE49-F238E27FC236}">
                <a16:creationId xmlns:a16="http://schemas.microsoft.com/office/drawing/2014/main" id="{27C93F95-154D-4256-8B3E-2F2719CC62FB}"/>
              </a:ext>
            </a:extLst>
          </p:cNvPr>
          <p:cNvSpPr txBox="1"/>
          <p:nvPr userDrawn="1"/>
        </p:nvSpPr>
        <p:spPr>
          <a:xfrm>
            <a:off x="72781" y="6664995"/>
            <a:ext cx="358112" cy="169277"/>
          </a:xfrm>
          <a:prstGeom prst="rect">
            <a:avLst/>
          </a:prstGeom>
          <a:noFill/>
        </p:spPr>
        <p:txBody>
          <a:bodyPr wrap="square" lIns="0" tIns="0" rIns="0" bIns="0" rtlCol="0" anchor="ctr" anchorCtr="0">
            <a:spAutoFit/>
          </a:bodyPr>
          <a:lstStyle>
            <a:defPPr>
              <a:defRPr lang="en-GB"/>
            </a:defPPr>
            <a:lvl1pPr algn="l">
              <a:defRPr sz="1000" b="1">
                <a:solidFill>
                  <a:schemeClr val="bg1">
                    <a:lumMod val="75000"/>
                  </a:schemeClr>
                </a:solidFill>
                <a:latin typeface="Arial" panose="020B0604020202020204" pitchFamily="34" charset="0"/>
                <a:cs typeface="Arial" panose="020B0604020202020204" pitchFamily="34" charset="0"/>
              </a:defRPr>
            </a:lvl1pPr>
          </a:lstStyle>
          <a:p>
            <a:pPr lvl="0"/>
            <a:fld id="{AD09F8B9-30AD-40AD-AFF2-B26CCD38DAE5}" type="slidenum">
              <a:rPr lang="en-GB" sz="1100" b="0" smtClean="0">
                <a:solidFill>
                  <a:schemeClr val="bg1">
                    <a:lumMod val="75000"/>
                  </a:schemeClr>
                </a:solidFill>
              </a:rPr>
              <a:pPr lvl="0"/>
              <a:t>‹#›</a:t>
            </a:fld>
            <a:endParaRPr lang="en-GB" sz="1100" b="0" dirty="0">
              <a:solidFill>
                <a:schemeClr val="bg1">
                  <a:lumMod val="75000"/>
                </a:schemeClr>
              </a:solidFill>
            </a:endParaRPr>
          </a:p>
        </p:txBody>
      </p:sp>
    </p:spTree>
    <p:extLst>
      <p:ext uri="{BB962C8B-B14F-4D97-AF65-F5344CB8AC3E}">
        <p14:creationId xmlns:p14="http://schemas.microsoft.com/office/powerpoint/2010/main" val="3226913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pac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1DE0112-B8F0-46D5-9AE8-510071866C01}"/>
              </a:ext>
            </a:extLst>
          </p:cNvPr>
          <p:cNvSpPr/>
          <p:nvPr userDrawn="1"/>
        </p:nvSpPr>
        <p:spPr bwMode="auto">
          <a:xfrm>
            <a:off x="0" y="0"/>
            <a:ext cx="12200688" cy="68580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9" name="Title 1">
            <a:extLst>
              <a:ext uri="{FF2B5EF4-FFF2-40B4-BE49-F238E27FC236}">
                <a16:creationId xmlns:a16="http://schemas.microsoft.com/office/drawing/2014/main" id="{DE2FFCDC-3972-45D0-BF90-A03DB93E9357}"/>
              </a:ext>
            </a:extLst>
          </p:cNvPr>
          <p:cNvSpPr>
            <a:spLocks noGrp="1"/>
          </p:cNvSpPr>
          <p:nvPr>
            <p:ph type="title" hasCustomPrompt="1"/>
          </p:nvPr>
        </p:nvSpPr>
        <p:spPr>
          <a:xfrm>
            <a:off x="1409292" y="3131981"/>
            <a:ext cx="9383754" cy="468000"/>
          </a:xfrm>
        </p:spPr>
        <p:txBody>
          <a:bodyPr/>
          <a:lstStyle>
            <a:lvl1pPr algn="ctr">
              <a:defRPr sz="4000" b="0">
                <a:solidFill>
                  <a:schemeClr val="bg1"/>
                </a:solidFill>
              </a:defRPr>
            </a:lvl1pPr>
          </a:lstStyle>
          <a:p>
            <a:r>
              <a:rPr lang="en-GB" noProof="0"/>
              <a:t>Title, question or comment</a:t>
            </a:r>
          </a:p>
        </p:txBody>
      </p:sp>
      <p:sp>
        <p:nvSpPr>
          <p:cNvPr id="10" name="Slide number">
            <a:extLst>
              <a:ext uri="{FF2B5EF4-FFF2-40B4-BE49-F238E27FC236}">
                <a16:creationId xmlns:a16="http://schemas.microsoft.com/office/drawing/2014/main" id="{27C93F95-154D-4256-8B3E-2F2719CC62FB}"/>
              </a:ext>
            </a:extLst>
          </p:cNvPr>
          <p:cNvSpPr txBox="1"/>
          <p:nvPr userDrawn="1"/>
        </p:nvSpPr>
        <p:spPr>
          <a:xfrm>
            <a:off x="72781" y="6664995"/>
            <a:ext cx="358112" cy="169277"/>
          </a:xfrm>
          <a:prstGeom prst="rect">
            <a:avLst/>
          </a:prstGeom>
          <a:noFill/>
        </p:spPr>
        <p:txBody>
          <a:bodyPr wrap="square" lIns="0" tIns="0" rIns="0" bIns="0" rtlCol="0" anchor="ctr" anchorCtr="0">
            <a:spAutoFit/>
          </a:bodyPr>
          <a:lstStyle>
            <a:defPPr>
              <a:defRPr lang="en-GB"/>
            </a:defPPr>
            <a:lvl1pPr algn="l">
              <a:defRPr sz="1000" b="1">
                <a:solidFill>
                  <a:schemeClr val="bg1">
                    <a:lumMod val="75000"/>
                  </a:schemeClr>
                </a:solidFill>
                <a:latin typeface="Arial" panose="020B0604020202020204" pitchFamily="34" charset="0"/>
                <a:cs typeface="Arial" panose="020B0604020202020204" pitchFamily="34" charset="0"/>
              </a:defRPr>
            </a:lvl1pPr>
          </a:lstStyle>
          <a:p>
            <a:pPr lvl="0"/>
            <a:fld id="{AD09F8B9-30AD-40AD-AFF2-B26CCD38DAE5}" type="slidenum">
              <a:rPr lang="en-GB" sz="1100" b="0" smtClean="0">
                <a:solidFill>
                  <a:srgbClr val="9D1057"/>
                </a:solidFill>
              </a:rPr>
              <a:pPr lvl="0"/>
              <a:t>‹#›</a:t>
            </a:fld>
            <a:endParaRPr lang="en-GB" sz="1100" b="0" dirty="0">
              <a:solidFill>
                <a:srgbClr val="9D1057"/>
              </a:solidFill>
            </a:endParaRPr>
          </a:p>
        </p:txBody>
      </p:sp>
      <p:pic>
        <p:nvPicPr>
          <p:cNvPr id="6" name="Picture 5" descr="A picture containing food, drawing&#10;&#10;Description automatically generated">
            <a:extLst>
              <a:ext uri="{FF2B5EF4-FFF2-40B4-BE49-F238E27FC236}">
                <a16:creationId xmlns:a16="http://schemas.microsoft.com/office/drawing/2014/main" id="{E5B1554A-0ED4-47FE-91B2-884D4FF68BF8}"/>
              </a:ext>
            </a:extLst>
          </p:cNvPr>
          <p:cNvPicPr>
            <a:picLocks noChangeAspect="1"/>
          </p:cNvPicPr>
          <p:nvPr userDrawn="1"/>
        </p:nvPicPr>
        <p:blipFill>
          <a:blip r:embed="rId2"/>
          <a:stretch>
            <a:fillRect/>
          </a:stretch>
        </p:blipFill>
        <p:spPr>
          <a:xfrm>
            <a:off x="11170800" y="6562800"/>
            <a:ext cx="946513" cy="255600"/>
          </a:xfrm>
          <a:prstGeom prst="rect">
            <a:avLst/>
          </a:prstGeom>
        </p:spPr>
      </p:pic>
    </p:spTree>
    <p:extLst>
      <p:ext uri="{BB962C8B-B14F-4D97-AF65-F5344CB8AC3E}">
        <p14:creationId xmlns:p14="http://schemas.microsoft.com/office/powerpoint/2010/main" val="1229851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pac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1DE0112-B8F0-46D5-9AE8-510071866C01}"/>
              </a:ext>
            </a:extLst>
          </p:cNvPr>
          <p:cNvSpPr/>
          <p:nvPr userDrawn="1"/>
        </p:nvSpPr>
        <p:spPr bwMode="auto">
          <a:xfrm>
            <a:off x="0" y="0"/>
            <a:ext cx="12200688" cy="6858000"/>
          </a:xfrm>
          <a:prstGeom prst="rect">
            <a:avLst/>
          </a:prstGeom>
          <a:solidFill>
            <a:srgbClr val="E75113"/>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9" name="Title 1">
            <a:extLst>
              <a:ext uri="{FF2B5EF4-FFF2-40B4-BE49-F238E27FC236}">
                <a16:creationId xmlns:a16="http://schemas.microsoft.com/office/drawing/2014/main" id="{DE2FFCDC-3972-45D0-BF90-A03DB93E9357}"/>
              </a:ext>
            </a:extLst>
          </p:cNvPr>
          <p:cNvSpPr>
            <a:spLocks noGrp="1"/>
          </p:cNvSpPr>
          <p:nvPr>
            <p:ph type="title" hasCustomPrompt="1"/>
          </p:nvPr>
        </p:nvSpPr>
        <p:spPr>
          <a:xfrm>
            <a:off x="1409292" y="3131981"/>
            <a:ext cx="9383754" cy="468000"/>
          </a:xfrm>
        </p:spPr>
        <p:txBody>
          <a:bodyPr/>
          <a:lstStyle>
            <a:lvl1pPr algn="ctr">
              <a:defRPr sz="4000" b="0">
                <a:solidFill>
                  <a:schemeClr val="bg1"/>
                </a:solidFill>
              </a:defRPr>
            </a:lvl1pPr>
          </a:lstStyle>
          <a:p>
            <a:r>
              <a:rPr lang="en-GB" noProof="0"/>
              <a:t>Title, question or comment</a:t>
            </a:r>
          </a:p>
        </p:txBody>
      </p:sp>
      <p:sp>
        <p:nvSpPr>
          <p:cNvPr id="10" name="Slide number">
            <a:extLst>
              <a:ext uri="{FF2B5EF4-FFF2-40B4-BE49-F238E27FC236}">
                <a16:creationId xmlns:a16="http://schemas.microsoft.com/office/drawing/2014/main" id="{27C93F95-154D-4256-8B3E-2F2719CC62FB}"/>
              </a:ext>
            </a:extLst>
          </p:cNvPr>
          <p:cNvSpPr txBox="1"/>
          <p:nvPr userDrawn="1"/>
        </p:nvSpPr>
        <p:spPr>
          <a:xfrm>
            <a:off x="72781" y="6664995"/>
            <a:ext cx="358112" cy="169277"/>
          </a:xfrm>
          <a:prstGeom prst="rect">
            <a:avLst/>
          </a:prstGeom>
          <a:noFill/>
        </p:spPr>
        <p:txBody>
          <a:bodyPr wrap="square" lIns="0" tIns="0" rIns="0" bIns="0" rtlCol="0" anchor="ctr" anchorCtr="0">
            <a:spAutoFit/>
          </a:bodyPr>
          <a:lstStyle>
            <a:defPPr>
              <a:defRPr lang="en-GB"/>
            </a:defPPr>
            <a:lvl1pPr algn="l">
              <a:defRPr sz="1000" b="1">
                <a:solidFill>
                  <a:schemeClr val="bg1">
                    <a:lumMod val="75000"/>
                  </a:schemeClr>
                </a:solidFill>
                <a:latin typeface="Arial" panose="020B0604020202020204" pitchFamily="34" charset="0"/>
                <a:cs typeface="Arial" panose="020B0604020202020204" pitchFamily="34" charset="0"/>
              </a:defRPr>
            </a:lvl1pPr>
          </a:lstStyle>
          <a:p>
            <a:pPr lvl="0"/>
            <a:fld id="{AD09F8B9-30AD-40AD-AFF2-B26CCD38DAE5}" type="slidenum">
              <a:rPr lang="en-GB" sz="1100" b="0" smtClean="0">
                <a:solidFill>
                  <a:schemeClr val="accent4"/>
                </a:solidFill>
              </a:rPr>
              <a:pPr lvl="0"/>
              <a:t>‹#›</a:t>
            </a:fld>
            <a:endParaRPr lang="en-GB" sz="1100" b="0" dirty="0">
              <a:solidFill>
                <a:schemeClr val="accent4"/>
              </a:solidFill>
            </a:endParaRPr>
          </a:p>
        </p:txBody>
      </p:sp>
      <p:pic>
        <p:nvPicPr>
          <p:cNvPr id="4" name="Picture 3" descr="A picture containing food&#10;&#10;Description automatically generated">
            <a:extLst>
              <a:ext uri="{FF2B5EF4-FFF2-40B4-BE49-F238E27FC236}">
                <a16:creationId xmlns:a16="http://schemas.microsoft.com/office/drawing/2014/main" id="{74B05ED7-92A1-4AB5-ABE1-8BE023BF77E8}"/>
              </a:ext>
            </a:extLst>
          </p:cNvPr>
          <p:cNvPicPr>
            <a:picLocks noChangeAspect="1"/>
          </p:cNvPicPr>
          <p:nvPr userDrawn="1"/>
        </p:nvPicPr>
        <p:blipFill>
          <a:blip r:embed="rId2"/>
          <a:stretch>
            <a:fillRect/>
          </a:stretch>
        </p:blipFill>
        <p:spPr>
          <a:xfrm>
            <a:off x="11170800" y="6562800"/>
            <a:ext cx="946513" cy="255600"/>
          </a:xfrm>
          <a:prstGeom prst="rect">
            <a:avLst/>
          </a:prstGeom>
        </p:spPr>
      </p:pic>
    </p:spTree>
    <p:extLst>
      <p:ext uri="{BB962C8B-B14F-4D97-AF65-F5344CB8AC3E}">
        <p14:creationId xmlns:p14="http://schemas.microsoft.com/office/powerpoint/2010/main" val="1331871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of presentation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BD37BE-273E-4875-AEFE-A884EDC5C44B}"/>
              </a:ext>
            </a:extLst>
          </p:cNvPr>
          <p:cNvSpPr/>
          <p:nvPr userDrawn="1"/>
        </p:nvSpPr>
        <p:spPr bwMode="auto">
          <a:xfrm flipH="1" flipV="1">
            <a:off x="0" y="-17756"/>
            <a:ext cx="12192000" cy="6858000"/>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dirty="0"/>
          </a:p>
        </p:txBody>
      </p:sp>
      <p:sp>
        <p:nvSpPr>
          <p:cNvPr id="6" name="Rectangle 5">
            <a:extLst>
              <a:ext uri="{FF2B5EF4-FFF2-40B4-BE49-F238E27FC236}">
                <a16:creationId xmlns:a16="http://schemas.microsoft.com/office/drawing/2014/main" id="{7E179E58-50FD-4084-A88B-71DB7B047E90}"/>
              </a:ext>
            </a:extLst>
          </p:cNvPr>
          <p:cNvSpPr>
            <a:spLocks/>
          </p:cNvSpPr>
          <p:nvPr userDrawn="1"/>
        </p:nvSpPr>
        <p:spPr bwMode="auto">
          <a:xfrm flipH="1" flipV="1">
            <a:off x="174000" y="174600"/>
            <a:ext cx="11844000" cy="6508800"/>
          </a:xfrm>
          <a:prstGeom prst="rect">
            <a:avLst/>
          </a:prstGeom>
          <a:gradFill flip="none" rotWithShape="1">
            <a:gsLst>
              <a:gs pos="0">
                <a:schemeClr val="tx2"/>
              </a:gs>
              <a:gs pos="100000">
                <a:srgbClr val="E75113"/>
              </a:gs>
            </a:gsLst>
            <a:lin ang="10800000" scaled="0"/>
            <a:tileRect/>
          </a:gra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dirty="0"/>
          </a:p>
        </p:txBody>
      </p:sp>
      <p:pic>
        <p:nvPicPr>
          <p:cNvPr id="10" name="Picture 9" descr="A picture containing drawing&#10;&#10;Description automatically generated">
            <a:extLst>
              <a:ext uri="{FF2B5EF4-FFF2-40B4-BE49-F238E27FC236}">
                <a16:creationId xmlns:a16="http://schemas.microsoft.com/office/drawing/2014/main" id="{E35DE271-4E1E-4EBD-BADE-9D8250797FBD}"/>
              </a:ext>
            </a:extLst>
          </p:cNvPr>
          <p:cNvPicPr>
            <a:picLocks noChangeAspect="1"/>
          </p:cNvPicPr>
          <p:nvPr userDrawn="1"/>
        </p:nvPicPr>
        <p:blipFill>
          <a:blip r:embed="rId2">
            <a:biLevel thresh="2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8664605" y="5566973"/>
            <a:ext cx="2777101" cy="748517"/>
          </a:xfrm>
          <a:prstGeom prst="rect">
            <a:avLst/>
          </a:prstGeom>
        </p:spPr>
      </p:pic>
      <p:pic>
        <p:nvPicPr>
          <p:cNvPr id="12" name="Picture 11">
            <a:extLst>
              <a:ext uri="{FF2B5EF4-FFF2-40B4-BE49-F238E27FC236}">
                <a16:creationId xmlns:a16="http://schemas.microsoft.com/office/drawing/2014/main" id="{242A717F-F380-4B31-922A-4FBD47B5A8A2}"/>
              </a:ext>
            </a:extLst>
          </p:cNvPr>
          <p:cNvPicPr>
            <a:picLocks noChangeAspect="1"/>
          </p:cNvPicPr>
          <p:nvPr userDrawn="1"/>
        </p:nvPicPr>
        <p:blipFill>
          <a:blip r:embed="rId4">
            <a:alphaModFix amt="35000"/>
          </a:blip>
          <a:stretch>
            <a:fillRect/>
          </a:stretch>
        </p:blipFill>
        <p:spPr>
          <a:xfrm>
            <a:off x="270249" y="207475"/>
            <a:ext cx="2999492" cy="493819"/>
          </a:xfrm>
          <a:prstGeom prst="rect">
            <a:avLst/>
          </a:prstGeom>
        </p:spPr>
      </p:pic>
      <p:pic>
        <p:nvPicPr>
          <p:cNvPr id="16" name="Picture 15">
            <a:extLst>
              <a:ext uri="{FF2B5EF4-FFF2-40B4-BE49-F238E27FC236}">
                <a16:creationId xmlns:a16="http://schemas.microsoft.com/office/drawing/2014/main" id="{DC0F5B51-04AD-456B-AF88-CAFC6A785BE1}"/>
              </a:ext>
            </a:extLst>
          </p:cNvPr>
          <p:cNvPicPr>
            <a:picLocks noChangeAspect="1"/>
          </p:cNvPicPr>
          <p:nvPr userDrawn="1"/>
        </p:nvPicPr>
        <p:blipFill>
          <a:blip r:embed="rId5"/>
          <a:stretch>
            <a:fillRect/>
          </a:stretch>
        </p:blipFill>
        <p:spPr>
          <a:xfrm>
            <a:off x="1361217" y="2222894"/>
            <a:ext cx="9497568" cy="2301240"/>
          </a:xfrm>
          <a:prstGeom prst="rect">
            <a:avLst/>
          </a:prstGeom>
        </p:spPr>
      </p:pic>
    </p:spTree>
    <p:extLst>
      <p:ext uri="{BB962C8B-B14F-4D97-AF65-F5344CB8AC3E}">
        <p14:creationId xmlns:p14="http://schemas.microsoft.com/office/powerpoint/2010/main" val="3204545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169F89F-42CD-420A-BDCF-BD6EDC1592AA}"/>
              </a:ext>
            </a:extLst>
          </p:cNvPr>
          <p:cNvGraphicFramePr>
            <a:graphicFrameLocks noChangeAspect="1"/>
          </p:cNvGraphicFramePr>
          <p:nvPr userDrawn="1">
            <p:custDataLst>
              <p:tags r:id="rId10"/>
            </p:custDataLst>
            <p:extLst>
              <p:ext uri="{D42A27DB-BD31-4B8C-83A1-F6EECF244321}">
                <p14:modId xmlns:p14="http://schemas.microsoft.com/office/powerpoint/2010/main" val="60440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395" imgH="396" progId="TCLayout.ActiveDocument.1">
                  <p:embed/>
                </p:oleObj>
              </mc:Choice>
              <mc:Fallback>
                <p:oleObj name="Diapositive think-cell" r:id="rId12" imgW="395" imgH="396" progId="TCLayout.ActiveDocument.1">
                  <p:embed/>
                  <p:pic>
                    <p:nvPicPr>
                      <p:cNvPr id="5" name="Objet 4" hidden="1">
                        <a:extLst>
                          <a:ext uri="{FF2B5EF4-FFF2-40B4-BE49-F238E27FC236}">
                            <a16:creationId xmlns:a16="http://schemas.microsoft.com/office/drawing/2014/main" id="{0169F89F-42CD-420A-BDCF-BD6EDC1592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62D6-BC65-4F75-8D8C-9A94DE3961F7}"/>
              </a:ext>
            </a:extLst>
          </p:cNvPr>
          <p:cNvSpPr/>
          <p:nvPr userDrawn="1">
            <p:custDataLst>
              <p:tags r:id="rId11"/>
            </p:custDataLst>
          </p:nvPr>
        </p:nvSpPr>
        <p:spPr bwMode="auto">
          <a:xfrm>
            <a:off x="0" y="0"/>
            <a:ext cx="158750" cy="15875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Clr>
                <a:schemeClr val="accent3"/>
              </a:buClr>
              <a:buSzPct val="77000"/>
              <a:buFontTx/>
              <a:buNone/>
            </a:pPr>
            <a:endParaRPr lang="fr-FR"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32000" y="316800"/>
            <a:ext cx="11340000" cy="468000"/>
          </a:xfrm>
          <a:prstGeom prst="rect">
            <a:avLst/>
          </a:prstGeom>
        </p:spPr>
        <p:txBody>
          <a:bodyPr vert="horz" lIns="72000" tIns="45720" rIns="72000" bIns="45720" rtlCol="0" anchor="ctr" anchorCtr="0">
            <a:noAutofit/>
          </a:bodyPr>
          <a:lstStyle/>
          <a:p>
            <a:r>
              <a:rPr lang="fr-FR" noProof="0"/>
              <a:t>Modifiez le style du titre</a:t>
            </a:r>
            <a:endParaRPr lang="en-GB" noProof="0"/>
          </a:p>
        </p:txBody>
      </p:sp>
      <p:sp>
        <p:nvSpPr>
          <p:cNvPr id="3" name="Text Placeholder 2"/>
          <p:cNvSpPr>
            <a:spLocks noGrp="1"/>
          </p:cNvSpPr>
          <p:nvPr>
            <p:ph type="body" idx="1"/>
          </p:nvPr>
        </p:nvSpPr>
        <p:spPr>
          <a:xfrm>
            <a:off x="432000" y="1162800"/>
            <a:ext cx="11340000" cy="1940770"/>
          </a:xfrm>
          <a:prstGeom prst="rect">
            <a:avLst/>
          </a:prstGeom>
        </p:spPr>
        <p:txBody>
          <a:bodyPr vert="horz" lIns="72000" tIns="72000" rIns="72000" bIns="72000" rtlCol="0">
            <a:spAutoFit/>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a:p>
        </p:txBody>
      </p:sp>
      <p:pic>
        <p:nvPicPr>
          <p:cNvPr id="7" name="Picture 6" descr="A picture containing drawing&#10;&#10;Description automatically generated">
            <a:extLst>
              <a:ext uri="{FF2B5EF4-FFF2-40B4-BE49-F238E27FC236}">
                <a16:creationId xmlns:a16="http://schemas.microsoft.com/office/drawing/2014/main" id="{7E9C1D2B-9B77-4A31-B379-E7FD4DCB652C}"/>
              </a:ext>
            </a:extLst>
          </p:cNvPr>
          <p:cNvPicPr>
            <a:picLocks noChangeAspect="1"/>
          </p:cNvPicPr>
          <p:nvPr userDrawn="1"/>
        </p:nvPicPr>
        <p:blipFill>
          <a:blip r:embed="rId14"/>
          <a:stretch>
            <a:fillRect/>
          </a:stretch>
        </p:blipFill>
        <p:spPr>
          <a:xfrm>
            <a:off x="11169738" y="6562444"/>
            <a:ext cx="950155" cy="256584"/>
          </a:xfrm>
          <a:prstGeom prst="rect">
            <a:avLst/>
          </a:prstGeom>
        </p:spPr>
      </p:pic>
    </p:spTree>
  </p:cSld>
  <p:clrMap bg1="lt1" tx1="dk1" bg2="lt2" tx2="dk2" accent1="accent1" accent2="accent2" accent3="accent3" accent4="accent4" accent5="accent5" accent6="accent6" hlink="hlink" folHlink="folHlink"/>
  <p:sldLayoutIdLst>
    <p:sldLayoutId id="2147483821" r:id="rId1"/>
    <p:sldLayoutId id="2147483812" r:id="rId2"/>
    <p:sldLayoutId id="2147483823" r:id="rId3"/>
    <p:sldLayoutId id="2147483824" r:id="rId4"/>
    <p:sldLayoutId id="2147483818" r:id="rId5"/>
    <p:sldLayoutId id="2147483820" r:id="rId6"/>
    <p:sldLayoutId id="2147483819" r:id="rId7"/>
    <p:sldLayoutId id="2147483822" r:id="rId8"/>
  </p:sldLayoutIdLst>
  <p:txStyles>
    <p:titleStyle>
      <a:lvl1pPr algn="l" defTabSz="1125444" rtl="0" eaLnBrk="1" latinLnBrk="0" hangingPunct="1">
        <a:spcBef>
          <a:spcPct val="0"/>
        </a:spcBef>
        <a:buNone/>
        <a:defRPr sz="2400" b="1" kern="0" cap="none" spc="0" baseline="0">
          <a:ln>
            <a:noFill/>
          </a:ln>
          <a:solidFill>
            <a:schemeClr val="tx2"/>
          </a:solidFill>
          <a:effectLst/>
          <a:latin typeface="Arial" panose="020B0604020202020204" pitchFamily="34" charset="0"/>
          <a:ea typeface="+mj-ea"/>
          <a:cs typeface="Arial" panose="020B0604020202020204" pitchFamily="34" charset="0"/>
        </a:defRPr>
      </a:lvl1pPr>
    </p:titleStyle>
    <p:body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1" userDrawn="1">
          <p15:clr>
            <a:srgbClr val="F26B43"/>
          </p15:clr>
        </p15:guide>
        <p15:guide id="2" pos="279" userDrawn="1">
          <p15:clr>
            <a:srgbClr val="F26B43"/>
          </p15:clr>
        </p15:guide>
        <p15:guide id="3" pos="7423" userDrawn="1">
          <p15:clr>
            <a:srgbClr val="F26B43"/>
          </p15:clr>
        </p15:guide>
        <p15:guide id="4" orient="horz" pos="40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image" Target="../media/image88.emf"/><Relationship Id="rId5" Type="http://schemas.openxmlformats.org/officeDocument/2006/relationships/oleObject" Target="../embeddings/oleObject65.bin"/><Relationship Id="rId4" Type="http://schemas.openxmlformats.org/officeDocument/2006/relationships/notesSlide" Target="../notesSlides/notesSlide85.xml"/></Relationships>
</file>

<file path=ppt/slides/_rels/slide101.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slideLayout" Target="../slideLayouts/slideLayout2.xml"/><Relationship Id="rId7" Type="http://schemas.openxmlformats.org/officeDocument/2006/relationships/image" Target="../media/image95.png"/><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31.emf"/><Relationship Id="rId5" Type="http://schemas.openxmlformats.org/officeDocument/2006/relationships/oleObject" Target="../embeddings/oleObject66.bin"/><Relationship Id="rId10" Type="http://schemas.openxmlformats.org/officeDocument/2006/relationships/image" Target="../media/image98.svg"/><Relationship Id="rId4" Type="http://schemas.openxmlformats.org/officeDocument/2006/relationships/notesSlide" Target="../notesSlides/notesSlide86.xml"/><Relationship Id="rId9" Type="http://schemas.openxmlformats.org/officeDocument/2006/relationships/image" Target="../media/image97.png"/></Relationships>
</file>

<file path=ppt/slides/_rels/slide102.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slideLayout" Target="../slideLayouts/slideLayout2.xml"/><Relationship Id="rId7" Type="http://schemas.openxmlformats.org/officeDocument/2006/relationships/image" Target="../media/image99.png"/><Relationship Id="rId12" Type="http://schemas.openxmlformats.org/officeDocument/2006/relationships/image" Target="../media/image96.svg"/><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31.emf"/><Relationship Id="rId11" Type="http://schemas.openxmlformats.org/officeDocument/2006/relationships/image" Target="../media/image95.png"/><Relationship Id="rId5" Type="http://schemas.openxmlformats.org/officeDocument/2006/relationships/oleObject" Target="../embeddings/oleObject66.bin"/><Relationship Id="rId10" Type="http://schemas.openxmlformats.org/officeDocument/2006/relationships/image" Target="../media/image102.svg"/><Relationship Id="rId4" Type="http://schemas.openxmlformats.org/officeDocument/2006/relationships/notesSlide" Target="../notesSlides/notesSlide87.xml"/><Relationship Id="rId9" Type="http://schemas.openxmlformats.org/officeDocument/2006/relationships/image" Target="../media/image101.png"/></Relationships>
</file>

<file path=ppt/slides/_rels/slide103.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image" Target="../media/image104.png"/><Relationship Id="rId3" Type="http://schemas.openxmlformats.org/officeDocument/2006/relationships/slideLayout" Target="../slideLayouts/slideLayout2.xml"/><Relationship Id="rId7" Type="http://schemas.openxmlformats.org/officeDocument/2006/relationships/image" Target="../media/image99.png"/><Relationship Id="rId12" Type="http://schemas.openxmlformats.org/officeDocument/2006/relationships/image" Target="../media/image103.sv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31.emf"/><Relationship Id="rId11" Type="http://schemas.openxmlformats.org/officeDocument/2006/relationships/image" Target="../media/image95.png"/><Relationship Id="rId5" Type="http://schemas.openxmlformats.org/officeDocument/2006/relationships/oleObject" Target="../embeddings/oleObject66.bin"/><Relationship Id="rId10" Type="http://schemas.openxmlformats.org/officeDocument/2006/relationships/image" Target="../media/image102.svg"/><Relationship Id="rId4" Type="http://schemas.openxmlformats.org/officeDocument/2006/relationships/notesSlide" Target="../notesSlides/notesSlide88.xml"/><Relationship Id="rId9" Type="http://schemas.openxmlformats.org/officeDocument/2006/relationships/image" Target="../media/image101.png"/><Relationship Id="rId14" Type="http://schemas.openxmlformats.org/officeDocument/2006/relationships/image" Target="../media/image105.svg"/></Relationships>
</file>

<file path=ppt/slides/_rels/slide104.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31.emf"/><Relationship Id="rId5" Type="http://schemas.openxmlformats.org/officeDocument/2006/relationships/oleObject" Target="../embeddings/oleObject66.bin"/><Relationship Id="rId10" Type="http://schemas.openxmlformats.org/officeDocument/2006/relationships/image" Target="../media/image103.svg"/><Relationship Id="rId4" Type="http://schemas.openxmlformats.org/officeDocument/2006/relationships/notesSlide" Target="../notesSlides/notesSlide89.xml"/><Relationship Id="rId9" Type="http://schemas.openxmlformats.org/officeDocument/2006/relationships/image" Target="../media/image95.png"/></Relationships>
</file>

<file path=ppt/slides/_rels/slide105.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slideLayout" Target="../slideLayouts/slideLayout2.xml"/><Relationship Id="rId7" Type="http://schemas.openxmlformats.org/officeDocument/2006/relationships/image" Target="../media/image99.png"/><Relationship Id="rId12" Type="http://schemas.openxmlformats.org/officeDocument/2006/relationships/image" Target="../media/image103.svg"/><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31.emf"/><Relationship Id="rId11" Type="http://schemas.openxmlformats.org/officeDocument/2006/relationships/image" Target="../media/image95.png"/><Relationship Id="rId5" Type="http://schemas.openxmlformats.org/officeDocument/2006/relationships/oleObject" Target="../embeddings/oleObject66.bin"/><Relationship Id="rId10" Type="http://schemas.openxmlformats.org/officeDocument/2006/relationships/image" Target="../media/image102.svg"/><Relationship Id="rId4" Type="http://schemas.openxmlformats.org/officeDocument/2006/relationships/notesSlide" Target="../notesSlides/notesSlide90.xml"/><Relationship Id="rId9" Type="http://schemas.openxmlformats.org/officeDocument/2006/relationships/image" Target="../media/image101.png"/></Relationships>
</file>

<file path=ppt/slides/_rels/slide106.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image" Target="../media/image104.png"/><Relationship Id="rId3" Type="http://schemas.openxmlformats.org/officeDocument/2006/relationships/slideLayout" Target="../slideLayouts/slideLayout2.xml"/><Relationship Id="rId7" Type="http://schemas.openxmlformats.org/officeDocument/2006/relationships/image" Target="../media/image99.png"/><Relationship Id="rId12" Type="http://schemas.openxmlformats.org/officeDocument/2006/relationships/image" Target="../media/image103.svg"/><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image" Target="../media/image31.emf"/><Relationship Id="rId11" Type="http://schemas.openxmlformats.org/officeDocument/2006/relationships/image" Target="../media/image95.png"/><Relationship Id="rId5" Type="http://schemas.openxmlformats.org/officeDocument/2006/relationships/oleObject" Target="../embeddings/oleObject66.bin"/><Relationship Id="rId10" Type="http://schemas.openxmlformats.org/officeDocument/2006/relationships/image" Target="../media/image102.svg"/><Relationship Id="rId4" Type="http://schemas.openxmlformats.org/officeDocument/2006/relationships/notesSlide" Target="../notesSlides/notesSlide91.xml"/><Relationship Id="rId9" Type="http://schemas.openxmlformats.org/officeDocument/2006/relationships/image" Target="../media/image101.png"/><Relationship Id="rId14" Type="http://schemas.openxmlformats.org/officeDocument/2006/relationships/image" Target="../media/image105.svg"/></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31.emf"/><Relationship Id="rId5" Type="http://schemas.openxmlformats.org/officeDocument/2006/relationships/oleObject" Target="../embeddings/oleObject67.bin"/><Relationship Id="rId4" Type="http://schemas.openxmlformats.org/officeDocument/2006/relationships/notesSlide" Target="../notesSlides/notesSlide92.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31.emf"/><Relationship Id="rId5" Type="http://schemas.openxmlformats.org/officeDocument/2006/relationships/oleObject" Target="../embeddings/oleObject67.bin"/><Relationship Id="rId4" Type="http://schemas.openxmlformats.org/officeDocument/2006/relationships/notesSlide" Target="../notesSlides/notesSlide93.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image" Target="../media/image31.emf"/><Relationship Id="rId5" Type="http://schemas.openxmlformats.org/officeDocument/2006/relationships/oleObject" Target="../embeddings/oleObject67.bin"/><Relationship Id="rId4" Type="http://schemas.openxmlformats.org/officeDocument/2006/relationships/notesSlide" Target="../notesSlides/notesSlide9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10.xml.rels><?xml version="1.0" encoding="UTF-8" standalone="yes"?>
<Relationships xmlns="http://schemas.openxmlformats.org/package/2006/relationships"><Relationship Id="rId8" Type="http://schemas.openxmlformats.org/officeDocument/2006/relationships/image" Target="../media/image107.svg"/><Relationship Id="rId13" Type="http://schemas.openxmlformats.org/officeDocument/2006/relationships/image" Target="../media/image112.png"/><Relationship Id="rId18" Type="http://schemas.openxmlformats.org/officeDocument/2006/relationships/image" Target="../media/image117.svg"/><Relationship Id="rId3" Type="http://schemas.openxmlformats.org/officeDocument/2006/relationships/slideLayout" Target="../slideLayouts/slideLayout2.xml"/><Relationship Id="rId7" Type="http://schemas.openxmlformats.org/officeDocument/2006/relationships/image" Target="../media/image106.png"/><Relationship Id="rId12" Type="http://schemas.openxmlformats.org/officeDocument/2006/relationships/image" Target="../media/image111.svg"/><Relationship Id="rId17" Type="http://schemas.openxmlformats.org/officeDocument/2006/relationships/image" Target="../media/image116.png"/><Relationship Id="rId2" Type="http://schemas.openxmlformats.org/officeDocument/2006/relationships/tags" Target="../tags/tag342.xml"/><Relationship Id="rId16" Type="http://schemas.openxmlformats.org/officeDocument/2006/relationships/image" Target="../media/image115.svg"/><Relationship Id="rId1" Type="http://schemas.openxmlformats.org/officeDocument/2006/relationships/tags" Target="../tags/tag341.xml"/><Relationship Id="rId6" Type="http://schemas.openxmlformats.org/officeDocument/2006/relationships/image" Target="../media/image13.emf"/><Relationship Id="rId11" Type="http://schemas.openxmlformats.org/officeDocument/2006/relationships/image" Target="../media/image110.png"/><Relationship Id="rId5" Type="http://schemas.openxmlformats.org/officeDocument/2006/relationships/oleObject" Target="../embeddings/oleObject68.bin"/><Relationship Id="rId15" Type="http://schemas.openxmlformats.org/officeDocument/2006/relationships/image" Target="../media/image114.png"/><Relationship Id="rId10" Type="http://schemas.openxmlformats.org/officeDocument/2006/relationships/image" Target="../media/image109.svg"/><Relationship Id="rId4" Type="http://schemas.openxmlformats.org/officeDocument/2006/relationships/notesSlide" Target="../notesSlides/notesSlide95.xml"/><Relationship Id="rId9" Type="http://schemas.openxmlformats.org/officeDocument/2006/relationships/image" Target="../media/image108.png"/><Relationship Id="rId14" Type="http://schemas.openxmlformats.org/officeDocument/2006/relationships/image" Target="../media/image113.svg"/></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48.emf"/><Relationship Id="rId5" Type="http://schemas.openxmlformats.org/officeDocument/2006/relationships/oleObject" Target="../embeddings/oleObject69.bin"/><Relationship Id="rId4" Type="http://schemas.openxmlformats.org/officeDocument/2006/relationships/notesSlide" Target="../notesSlides/notesSlide96.xml"/></Relationships>
</file>

<file path=ppt/slides/_rels/slide112.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slideLayout" Target="../slideLayouts/slideLayout2.xml"/><Relationship Id="rId7" Type="http://schemas.openxmlformats.org/officeDocument/2006/relationships/chart" Target="../charts/chart12.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notesSlide" Target="../notesSlides/notesSlide97.xml"/></Relationships>
</file>

<file path=ppt/slides/_rels/slide113.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2.xml"/><Relationship Id="rId7" Type="http://schemas.openxmlformats.org/officeDocument/2006/relationships/chart" Target="../charts/chart14.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notesSlide" Target="../notesSlides/notesSlide98.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6.xml"/><Relationship Id="rId1" Type="http://schemas.openxmlformats.org/officeDocument/2006/relationships/tags" Target="../tags/tag349.xml"/><Relationship Id="rId5" Type="http://schemas.openxmlformats.org/officeDocument/2006/relationships/image" Target="../media/image2.emf"/><Relationship Id="rId4" Type="http://schemas.openxmlformats.org/officeDocument/2006/relationships/oleObject" Target="../embeddings/oleObject72.bin"/></Relationships>
</file>

<file path=ppt/slides/_rels/slide115.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16.emf"/><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oleObject" Target="../embeddings/oleObject73.bin"/><Relationship Id="rId5" Type="http://schemas.openxmlformats.org/officeDocument/2006/relationships/notesSlide" Target="../notesSlides/notesSlide100.xml"/><Relationship Id="rId4"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notesSlide" Target="../notesSlides/notesSlide101.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notesSlide" Target="../notesSlides/notesSlide102.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notesSlide" Target="../notesSlides/notesSlide103.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notesSlide" Target="../notesSlides/notesSlide10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notesSlide" Target="../notesSlides/notesSlide105.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16.emf"/><Relationship Id="rId5" Type="http://schemas.openxmlformats.org/officeDocument/2006/relationships/oleObject" Target="../embeddings/oleObject77.bin"/><Relationship Id="rId4" Type="http://schemas.openxmlformats.org/officeDocument/2006/relationships/notesSlide" Target="../notesSlides/notesSlide106.xml"/></Relationships>
</file>

<file path=ppt/slides/_rels/slide122.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slideLayout" Target="../slideLayouts/slideLayout2.xml"/><Relationship Id="rId7" Type="http://schemas.openxmlformats.org/officeDocument/2006/relationships/image" Target="../media/image118.pn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image" Target="../media/image2.emf"/><Relationship Id="rId5" Type="http://schemas.openxmlformats.org/officeDocument/2006/relationships/oleObject" Target="../embeddings/oleObject78.bin"/><Relationship Id="rId10" Type="http://schemas.openxmlformats.org/officeDocument/2006/relationships/image" Target="../media/image121.svg"/><Relationship Id="rId4" Type="http://schemas.openxmlformats.org/officeDocument/2006/relationships/notesSlide" Target="../notesSlides/notesSlide107.xml"/><Relationship Id="rId9" Type="http://schemas.openxmlformats.org/officeDocument/2006/relationships/image" Target="../media/image120.png"/></Relationships>
</file>

<file path=ppt/slides/_rels/slide123.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slideLayout" Target="../slideLayouts/slideLayout2.xml"/><Relationship Id="rId7" Type="http://schemas.openxmlformats.org/officeDocument/2006/relationships/image" Target="../media/image118.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2.emf"/><Relationship Id="rId5" Type="http://schemas.openxmlformats.org/officeDocument/2006/relationships/oleObject" Target="../embeddings/oleObject78.bin"/><Relationship Id="rId10" Type="http://schemas.openxmlformats.org/officeDocument/2006/relationships/image" Target="../media/image121.svg"/><Relationship Id="rId4" Type="http://schemas.openxmlformats.org/officeDocument/2006/relationships/notesSlide" Target="../notesSlides/notesSlide108.xml"/><Relationship Id="rId9" Type="http://schemas.openxmlformats.org/officeDocument/2006/relationships/image" Target="../media/image120.png"/></Relationships>
</file>

<file path=ppt/slides/_rels/slide124.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slideLayout" Target="../slideLayouts/slideLayout2.xml"/><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2.emf"/><Relationship Id="rId11" Type="http://schemas.openxmlformats.org/officeDocument/2006/relationships/image" Target="../media/image122.png"/><Relationship Id="rId5" Type="http://schemas.openxmlformats.org/officeDocument/2006/relationships/oleObject" Target="../embeddings/oleObject78.bin"/><Relationship Id="rId10" Type="http://schemas.openxmlformats.org/officeDocument/2006/relationships/image" Target="../media/image121.svg"/><Relationship Id="rId4" Type="http://schemas.openxmlformats.org/officeDocument/2006/relationships/notesSlide" Target="../notesSlides/notesSlide109.xml"/><Relationship Id="rId9" Type="http://schemas.openxmlformats.org/officeDocument/2006/relationships/image" Target="../media/image120.png"/></Relationships>
</file>

<file path=ppt/slides/_rels/slide125.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slideLayout" Target="../slideLayouts/slideLayout2.xml"/><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image" Target="../media/image2.emf"/><Relationship Id="rId11" Type="http://schemas.openxmlformats.org/officeDocument/2006/relationships/image" Target="../media/image122.png"/><Relationship Id="rId5" Type="http://schemas.openxmlformats.org/officeDocument/2006/relationships/oleObject" Target="../embeddings/oleObject78.bin"/><Relationship Id="rId10" Type="http://schemas.openxmlformats.org/officeDocument/2006/relationships/image" Target="../media/image121.svg"/><Relationship Id="rId4" Type="http://schemas.openxmlformats.org/officeDocument/2006/relationships/notesSlide" Target="../notesSlides/notesSlide110.xml"/><Relationship Id="rId9" Type="http://schemas.openxmlformats.org/officeDocument/2006/relationships/image" Target="../media/image120.png"/></Relationships>
</file>

<file path=ppt/slides/_rels/slide126.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slideLayout" Target="../slideLayouts/slideLayout2.xml"/><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2.emf"/><Relationship Id="rId11" Type="http://schemas.openxmlformats.org/officeDocument/2006/relationships/image" Target="../media/image122.png"/><Relationship Id="rId5" Type="http://schemas.openxmlformats.org/officeDocument/2006/relationships/oleObject" Target="../embeddings/oleObject78.bin"/><Relationship Id="rId10" Type="http://schemas.openxmlformats.org/officeDocument/2006/relationships/image" Target="../media/image121.svg"/><Relationship Id="rId4" Type="http://schemas.openxmlformats.org/officeDocument/2006/relationships/notesSlide" Target="../notesSlides/notesSlide111.xml"/><Relationship Id="rId9" Type="http://schemas.openxmlformats.org/officeDocument/2006/relationships/image" Target="../media/image120.png"/></Relationships>
</file>

<file path=ppt/slides/_rels/slide127.xml.rels><?xml version="1.0" encoding="UTF-8" standalone="yes"?>
<Relationships xmlns="http://schemas.openxmlformats.org/package/2006/relationships"><Relationship Id="rId3" Type="http://schemas.openxmlformats.org/officeDocument/2006/relationships/tags" Target="../tags/tag377.xml"/><Relationship Id="rId7" Type="http://schemas.openxmlformats.org/officeDocument/2006/relationships/image" Target="../media/image16.emf"/><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oleObject" Target="../embeddings/oleObject79.bin"/><Relationship Id="rId5" Type="http://schemas.openxmlformats.org/officeDocument/2006/relationships/notesSlide" Target="../notesSlides/notesSlide112.xml"/><Relationship Id="rId4"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12.png"/><Relationship Id="rId18" Type="http://schemas.openxmlformats.org/officeDocument/2006/relationships/image" Target="../media/image16.emf"/><Relationship Id="rId3" Type="http://schemas.openxmlformats.org/officeDocument/2006/relationships/slideLayout" Target="../slideLayouts/slideLayout2.xml"/><Relationship Id="rId7" Type="http://schemas.openxmlformats.org/officeDocument/2006/relationships/image" Target="../media/image126.png"/><Relationship Id="rId12" Type="http://schemas.openxmlformats.org/officeDocument/2006/relationships/image" Target="../media/image131.svg"/><Relationship Id="rId17" Type="http://schemas.openxmlformats.org/officeDocument/2006/relationships/oleObject" Target="../embeddings/oleObject80.bin"/><Relationship Id="rId2" Type="http://schemas.openxmlformats.org/officeDocument/2006/relationships/tags" Target="../tags/tag379.xml"/><Relationship Id="rId16" Type="http://schemas.openxmlformats.org/officeDocument/2006/relationships/image" Target="../media/image133.svg"/><Relationship Id="rId1" Type="http://schemas.openxmlformats.org/officeDocument/2006/relationships/tags" Target="../tags/tag378.xml"/><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2.png"/><Relationship Id="rId10" Type="http://schemas.openxmlformats.org/officeDocument/2006/relationships/image" Target="../media/image129.svg"/><Relationship Id="rId4" Type="http://schemas.openxmlformats.org/officeDocument/2006/relationships/notesSlide" Target="../notesSlides/notesSlide113.xml"/><Relationship Id="rId9" Type="http://schemas.openxmlformats.org/officeDocument/2006/relationships/image" Target="../media/image128.png"/><Relationship Id="rId14" Type="http://schemas.openxmlformats.org/officeDocument/2006/relationships/image" Target="../media/image113.svg"/></Relationships>
</file>

<file path=ppt/slides/_rels/slide129.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slideLayout" Target="../slideLayouts/slideLayout2.xml"/><Relationship Id="rId7" Type="http://schemas.openxmlformats.org/officeDocument/2006/relationships/image" Target="../media/image126.png"/><Relationship Id="rId12" Type="http://schemas.openxmlformats.org/officeDocument/2006/relationships/image" Target="../media/image16.emf"/><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25.svg"/><Relationship Id="rId11" Type="http://schemas.openxmlformats.org/officeDocument/2006/relationships/oleObject" Target="../embeddings/oleObject80.bin"/><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notesSlide" Target="../notesSlides/notesSlide114.xml"/><Relationship Id="rId9" Type="http://schemas.openxmlformats.org/officeDocument/2006/relationships/image" Target="../media/image12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2.xml"/></Relationships>
</file>

<file path=ppt/slides/_rels/slide130.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oleObject" Target="../embeddings/oleObject80.bin"/><Relationship Id="rId3" Type="http://schemas.openxmlformats.org/officeDocument/2006/relationships/slideLayout" Target="../slideLayouts/slideLayout2.xml"/><Relationship Id="rId7" Type="http://schemas.openxmlformats.org/officeDocument/2006/relationships/image" Target="../media/image126.png"/><Relationship Id="rId12" Type="http://schemas.openxmlformats.org/officeDocument/2006/relationships/image" Target="../media/image131.svg"/><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notesSlide" Target="../notesSlides/notesSlide115.xml"/><Relationship Id="rId9" Type="http://schemas.openxmlformats.org/officeDocument/2006/relationships/image" Target="../media/image128.png"/><Relationship Id="rId14" Type="http://schemas.openxmlformats.org/officeDocument/2006/relationships/image" Target="../media/image16.emf"/></Relationships>
</file>

<file path=ppt/slides/_rels/slide131.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32.png"/><Relationship Id="rId3" Type="http://schemas.openxmlformats.org/officeDocument/2006/relationships/slideLayout" Target="../slideLayouts/slideLayout2.xml"/><Relationship Id="rId7" Type="http://schemas.openxmlformats.org/officeDocument/2006/relationships/image" Target="../media/image126.png"/><Relationship Id="rId12" Type="http://schemas.openxmlformats.org/officeDocument/2006/relationships/image" Target="../media/image131.svg"/><Relationship Id="rId2" Type="http://schemas.openxmlformats.org/officeDocument/2006/relationships/tags" Target="../tags/tag385.xml"/><Relationship Id="rId16" Type="http://schemas.openxmlformats.org/officeDocument/2006/relationships/image" Target="../media/image16.emf"/><Relationship Id="rId1" Type="http://schemas.openxmlformats.org/officeDocument/2006/relationships/tags" Target="../tags/tag384.xml"/><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oleObject" Target="../embeddings/oleObject80.bin"/><Relationship Id="rId10" Type="http://schemas.openxmlformats.org/officeDocument/2006/relationships/image" Target="../media/image129.svg"/><Relationship Id="rId4" Type="http://schemas.openxmlformats.org/officeDocument/2006/relationships/notesSlide" Target="../notesSlides/notesSlide116.xml"/><Relationship Id="rId9" Type="http://schemas.openxmlformats.org/officeDocument/2006/relationships/image" Target="../media/image128.png"/><Relationship Id="rId14" Type="http://schemas.openxmlformats.org/officeDocument/2006/relationships/image" Target="../media/image133.svg"/></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notesSlide" Target="../notesSlides/notesSlide117.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notesSlide" Target="../notesSlides/notesSlide118.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notesSlide" Target="../notesSlides/notesSlide119.xml"/></Relationships>
</file>

<file path=ppt/slides/_rels/slide135.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slideLayout" Target="../slideLayouts/slideLayout2.xml"/><Relationship Id="rId7" Type="http://schemas.openxmlformats.org/officeDocument/2006/relationships/image" Target="../media/image134.png"/><Relationship Id="rId12" Type="http://schemas.openxmlformats.org/officeDocument/2006/relationships/image" Target="../media/image137.svg"/><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13.emf"/><Relationship Id="rId11" Type="http://schemas.openxmlformats.org/officeDocument/2006/relationships/image" Target="../media/image136.png"/><Relationship Id="rId5" Type="http://schemas.openxmlformats.org/officeDocument/2006/relationships/oleObject" Target="../embeddings/oleObject83.bin"/><Relationship Id="rId10" Type="http://schemas.openxmlformats.org/officeDocument/2006/relationships/image" Target="../media/image121.svg"/><Relationship Id="rId4" Type="http://schemas.openxmlformats.org/officeDocument/2006/relationships/notesSlide" Target="../notesSlides/notesSlide120.xml"/><Relationship Id="rId9" Type="http://schemas.openxmlformats.org/officeDocument/2006/relationships/image" Target="../media/image120.png"/></Relationships>
</file>

<file path=ppt/slides/_rels/slide136.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slideLayout" Target="../slideLayouts/slideLayout2.xml"/><Relationship Id="rId7" Type="http://schemas.openxmlformats.org/officeDocument/2006/relationships/image" Target="../media/image134.png"/><Relationship Id="rId12" Type="http://schemas.openxmlformats.org/officeDocument/2006/relationships/image" Target="../media/image137.svg"/><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image" Target="../media/image13.emf"/><Relationship Id="rId11" Type="http://schemas.openxmlformats.org/officeDocument/2006/relationships/image" Target="../media/image136.png"/><Relationship Id="rId5" Type="http://schemas.openxmlformats.org/officeDocument/2006/relationships/oleObject" Target="../embeddings/oleObject83.bin"/><Relationship Id="rId10" Type="http://schemas.openxmlformats.org/officeDocument/2006/relationships/image" Target="../media/image121.svg"/><Relationship Id="rId4" Type="http://schemas.openxmlformats.org/officeDocument/2006/relationships/notesSlide" Target="../notesSlides/notesSlide121.xml"/><Relationship Id="rId9" Type="http://schemas.openxmlformats.org/officeDocument/2006/relationships/image" Target="../media/image120.png"/></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88.emf"/><Relationship Id="rId5" Type="http://schemas.openxmlformats.org/officeDocument/2006/relationships/oleObject" Target="../embeddings/oleObject84.bin"/><Relationship Id="rId4" Type="http://schemas.openxmlformats.org/officeDocument/2006/relationships/notesSlide" Target="../notesSlides/notesSlide122.xml"/></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image" Target="../media/image88.emf"/><Relationship Id="rId5" Type="http://schemas.openxmlformats.org/officeDocument/2006/relationships/oleObject" Target="../embeddings/oleObject85.bin"/><Relationship Id="rId4" Type="http://schemas.openxmlformats.org/officeDocument/2006/relationships/notesSlide" Target="../notesSlides/notesSlide123.xml"/></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16.emf"/><Relationship Id="rId5" Type="http://schemas.openxmlformats.org/officeDocument/2006/relationships/oleObject" Target="../embeddings/oleObject86.bin"/><Relationship Id="rId4" Type="http://schemas.openxmlformats.org/officeDocument/2006/relationships/notesSlide" Target="../notesSlides/notesSlide12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notesSlide" Target="../notesSlides/notesSlide125.xml"/></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image" Target="../media/image88.emf"/><Relationship Id="rId5" Type="http://schemas.openxmlformats.org/officeDocument/2006/relationships/oleObject" Target="../embeddings/oleObject88.bin"/><Relationship Id="rId4" Type="http://schemas.openxmlformats.org/officeDocument/2006/relationships/notesSlide" Target="../notesSlides/notesSlide126.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406.xml"/><Relationship Id="rId4" Type="http://schemas.openxmlformats.org/officeDocument/2006/relationships/image" Target="../media/image2.emf"/></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notesSlide" Target="../notesSlides/notesSlide127.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notesSlide" Target="../notesSlides/notesSlide128.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notesSlide" Target="../notesSlides/notesSlide129.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notesSlide" Target="../notesSlides/notesSlide130.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notesSlide" Target="../notesSlides/notesSlide131.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image" Target="../media/image2.emf"/><Relationship Id="rId5" Type="http://schemas.openxmlformats.org/officeDocument/2006/relationships/oleObject" Target="../embeddings/oleObject93.bin"/><Relationship Id="rId4" Type="http://schemas.openxmlformats.org/officeDocument/2006/relationships/notesSlide" Target="../notesSlides/notesSlide132.xml"/></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notesSlide" Target="../notesSlides/notesSlide133.xml"/></Relationships>
</file>

<file path=ppt/slides/_rels/slide15.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image" Target="../media/image14.emf"/><Relationship Id="rId5" Type="http://schemas.openxmlformats.org/officeDocument/2006/relationships/tags" Target="../tags/tag40.xml"/><Relationship Id="rId10" Type="http://schemas.openxmlformats.org/officeDocument/2006/relationships/oleObject" Target="../embeddings/oleObject14.bin"/><Relationship Id="rId4" Type="http://schemas.openxmlformats.org/officeDocument/2006/relationships/tags" Target="../tags/tag39.xml"/><Relationship Id="rId9"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421.xml"/><Relationship Id="rId4" Type="http://schemas.openxmlformats.org/officeDocument/2006/relationships/image" Target="../media/image14.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422.xml"/><Relationship Id="rId4" Type="http://schemas.openxmlformats.org/officeDocument/2006/relationships/image" Target="../media/image14.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423.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4.emf"/></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6.xml"/><Relationship Id="rId1" Type="http://schemas.openxmlformats.org/officeDocument/2006/relationships/tags" Target="../tags/tag424.xml"/><Relationship Id="rId5" Type="http://schemas.openxmlformats.org/officeDocument/2006/relationships/image" Target="../media/image2.emf"/><Relationship Id="rId4" Type="http://schemas.openxmlformats.org/officeDocument/2006/relationships/oleObject" Target="../embeddings/oleObject98.bin"/></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image" Target="../media/image31.emf"/><Relationship Id="rId5" Type="http://schemas.openxmlformats.org/officeDocument/2006/relationships/oleObject" Target="../embeddings/oleObject99.bin"/><Relationship Id="rId4" Type="http://schemas.openxmlformats.org/officeDocument/2006/relationships/notesSlide" Target="../notesSlides/notesSlide135.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13.emf"/><Relationship Id="rId5" Type="http://schemas.openxmlformats.org/officeDocument/2006/relationships/oleObject" Target="../embeddings/oleObject100.bin"/><Relationship Id="rId4" Type="http://schemas.openxmlformats.org/officeDocument/2006/relationships/notesSlide" Target="../notesSlides/notesSlide136.xml"/></Relationships>
</file>

<file path=ppt/slides/_rels/slide1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3.emf"/><Relationship Id="rId5" Type="http://schemas.openxmlformats.org/officeDocument/2006/relationships/oleObject" Target="../embeddings/oleObject100.bin"/><Relationship Id="rId4" Type="http://schemas.openxmlformats.org/officeDocument/2006/relationships/notesSlide" Target="../notesSlides/notesSlide137.xml"/></Relationships>
</file>

<file path=ppt/slides/_rels/slide1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oleObject" Target="../embeddings/oleObject101.bin"/><Relationship Id="rId4" Type="http://schemas.openxmlformats.org/officeDocument/2006/relationships/notesSlide" Target="../notesSlides/notesSlide138.xml"/></Relationships>
</file>

<file path=ppt/slides/_rels/slide158.xml.rels><?xml version="1.0" encoding="UTF-8" standalone="yes"?>
<Relationships xmlns="http://schemas.openxmlformats.org/package/2006/relationships"><Relationship Id="rId3" Type="http://schemas.openxmlformats.org/officeDocument/2006/relationships/tags" Target="../tags/tag435.xml"/><Relationship Id="rId7" Type="http://schemas.openxmlformats.org/officeDocument/2006/relationships/image" Target="../media/image140.emf"/><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oleObject" Target="../embeddings/oleObject102.bin"/><Relationship Id="rId5" Type="http://schemas.openxmlformats.org/officeDocument/2006/relationships/notesSlide" Target="../notesSlides/notesSlide139.xml"/><Relationship Id="rId4"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8" Type="http://schemas.openxmlformats.org/officeDocument/2006/relationships/image" Target="../media/image144.svg"/><Relationship Id="rId13" Type="http://schemas.openxmlformats.org/officeDocument/2006/relationships/image" Target="../media/image149.png"/><Relationship Id="rId3" Type="http://schemas.openxmlformats.org/officeDocument/2006/relationships/slideLayout" Target="../slideLayouts/slideLayout2.xml"/><Relationship Id="rId7" Type="http://schemas.openxmlformats.org/officeDocument/2006/relationships/image" Target="../media/image143.png"/><Relationship Id="rId12" Type="http://schemas.openxmlformats.org/officeDocument/2006/relationships/image" Target="../media/image148.svg"/><Relationship Id="rId2" Type="http://schemas.openxmlformats.org/officeDocument/2006/relationships/tags" Target="../tags/tag437.xml"/><Relationship Id="rId16" Type="http://schemas.openxmlformats.org/officeDocument/2006/relationships/image" Target="../media/image16.emf"/><Relationship Id="rId1" Type="http://schemas.openxmlformats.org/officeDocument/2006/relationships/tags" Target="../tags/tag436.xml"/><Relationship Id="rId6" Type="http://schemas.openxmlformats.org/officeDocument/2006/relationships/image" Target="../media/image142.svg"/><Relationship Id="rId11" Type="http://schemas.openxmlformats.org/officeDocument/2006/relationships/image" Target="../media/image147.png"/><Relationship Id="rId5" Type="http://schemas.openxmlformats.org/officeDocument/2006/relationships/image" Target="../media/image141.png"/><Relationship Id="rId15" Type="http://schemas.openxmlformats.org/officeDocument/2006/relationships/oleObject" Target="../embeddings/oleObject103.bin"/><Relationship Id="rId10" Type="http://schemas.openxmlformats.org/officeDocument/2006/relationships/image" Target="../media/image146.svg"/><Relationship Id="rId4" Type="http://schemas.openxmlformats.org/officeDocument/2006/relationships/notesSlide" Target="../notesSlides/notesSlide140.xml"/><Relationship Id="rId9" Type="http://schemas.openxmlformats.org/officeDocument/2006/relationships/image" Target="../media/image145.png"/><Relationship Id="rId14" Type="http://schemas.openxmlformats.org/officeDocument/2006/relationships/image" Target="../media/image150.svg"/></Relationships>
</file>

<file path=ppt/slides/_rels/slide16.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2.emf"/><Relationship Id="rId5" Type="http://schemas.openxmlformats.org/officeDocument/2006/relationships/tags" Target="../tags/tag48.xml"/><Relationship Id="rId10" Type="http://schemas.openxmlformats.org/officeDocument/2006/relationships/oleObject" Target="../embeddings/oleObject15.bin"/><Relationship Id="rId4" Type="http://schemas.openxmlformats.org/officeDocument/2006/relationships/tags" Target="../tags/tag47.xml"/><Relationship Id="rId9"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1.pn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image" Target="../media/image88.emf"/><Relationship Id="rId5" Type="http://schemas.openxmlformats.org/officeDocument/2006/relationships/oleObject" Target="../embeddings/oleObject104.bin"/><Relationship Id="rId4" Type="http://schemas.openxmlformats.org/officeDocument/2006/relationships/notesSlide" Target="../notesSlides/notesSlide141.xml"/></Relationships>
</file>

<file path=ppt/slides/_rels/slide16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slideLayout" Target="../slideLayouts/slideLayout2.xml"/><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image" Target="../media/image13.emf"/><Relationship Id="rId11" Type="http://schemas.openxmlformats.org/officeDocument/2006/relationships/image" Target="../media/image156.png"/><Relationship Id="rId5" Type="http://schemas.openxmlformats.org/officeDocument/2006/relationships/oleObject" Target="../embeddings/oleObject105.bin"/><Relationship Id="rId10" Type="http://schemas.openxmlformats.org/officeDocument/2006/relationships/image" Target="../media/image155.svg"/><Relationship Id="rId4" Type="http://schemas.openxmlformats.org/officeDocument/2006/relationships/notesSlide" Target="../notesSlides/notesSlide142.xml"/><Relationship Id="rId9" Type="http://schemas.openxmlformats.org/officeDocument/2006/relationships/image" Target="../media/image154.png"/><Relationship Id="rId14" Type="http://schemas.openxmlformats.org/officeDocument/2006/relationships/image" Target="../media/image159.svg"/></Relationships>
</file>

<file path=ppt/slides/_rels/slide162.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slideLayout" Target="../slideLayouts/slideLayout2.xml"/><Relationship Id="rId7" Type="http://schemas.openxmlformats.org/officeDocument/2006/relationships/image" Target="../media/image160.png"/><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image" Target="../media/image88.emf"/><Relationship Id="rId5" Type="http://schemas.openxmlformats.org/officeDocument/2006/relationships/oleObject" Target="../embeddings/oleObject106.bin"/><Relationship Id="rId4" Type="http://schemas.openxmlformats.org/officeDocument/2006/relationships/notesSlide" Target="../notesSlides/notesSlide143.xml"/><Relationship Id="rId9" Type="http://schemas.openxmlformats.org/officeDocument/2006/relationships/image" Target="../media/image162.png"/></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5.xml"/><Relationship Id="rId1" Type="http://schemas.openxmlformats.org/officeDocument/2006/relationships/tags" Target="../tags/tag444.xml"/><Relationship Id="rId5" Type="http://schemas.openxmlformats.org/officeDocument/2006/relationships/image" Target="../media/image2.emf"/><Relationship Id="rId4" Type="http://schemas.openxmlformats.org/officeDocument/2006/relationships/oleObject" Target="../embeddings/oleObject107.bin"/></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446.xml"/><Relationship Id="rId4" Type="http://schemas.openxmlformats.org/officeDocument/2006/relationships/image" Target="../media/image2.emf"/></Relationships>
</file>

<file path=ppt/slides/_rels/slide1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notesSlide" Target="../notesSlides/notesSlide144.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449.xml"/><Relationship Id="rId4" Type="http://schemas.openxmlformats.org/officeDocument/2006/relationships/image" Target="../media/image14.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450.xml"/><Relationship Id="rId4" Type="http://schemas.openxmlformats.org/officeDocument/2006/relationships/image" Target="../media/image14.emf"/></Relationships>
</file>

<file path=ppt/slides/_rels/slide168.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slideLayout" Target="../slideLayouts/slideLayout2.xml"/><Relationship Id="rId7" Type="http://schemas.openxmlformats.org/officeDocument/2006/relationships/image" Target="../media/image164.sv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63.png"/><Relationship Id="rId11" Type="http://schemas.openxmlformats.org/officeDocument/2006/relationships/image" Target="../media/image167.svg"/><Relationship Id="rId5" Type="http://schemas.openxmlformats.org/officeDocument/2006/relationships/image" Target="../media/image14.emf"/><Relationship Id="rId10" Type="http://schemas.openxmlformats.org/officeDocument/2006/relationships/image" Target="../media/image17.png"/><Relationship Id="rId4" Type="http://schemas.openxmlformats.org/officeDocument/2006/relationships/oleObject" Target="../embeddings/oleObject112.bin"/><Relationship Id="rId9" Type="http://schemas.openxmlformats.org/officeDocument/2006/relationships/image" Target="../media/image166.svg"/></Relationships>
</file>

<file path=ppt/slides/_rels/slide169.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68.png"/><Relationship Id="rId3" Type="http://schemas.openxmlformats.org/officeDocument/2006/relationships/slideLayout" Target="../slideLayouts/slideLayout2.xml"/><Relationship Id="rId7" Type="http://schemas.openxmlformats.org/officeDocument/2006/relationships/image" Target="../media/image163.png"/><Relationship Id="rId12" Type="http://schemas.openxmlformats.org/officeDocument/2006/relationships/image" Target="../media/image167.sv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14.emf"/><Relationship Id="rId11" Type="http://schemas.openxmlformats.org/officeDocument/2006/relationships/image" Target="../media/image17.png"/><Relationship Id="rId5" Type="http://schemas.openxmlformats.org/officeDocument/2006/relationships/oleObject" Target="../embeddings/oleObject113.bin"/><Relationship Id="rId10" Type="http://schemas.openxmlformats.org/officeDocument/2006/relationships/image" Target="../media/image166.svg"/><Relationship Id="rId4" Type="http://schemas.openxmlformats.org/officeDocument/2006/relationships/notesSlide" Target="../notesSlides/notesSlide145.xml"/><Relationship Id="rId9" Type="http://schemas.openxmlformats.org/officeDocument/2006/relationships/image" Target="../media/image165.png"/><Relationship Id="rId14" Type="http://schemas.openxmlformats.org/officeDocument/2006/relationships/image" Target="../media/image169.svg"/></Relationships>
</file>

<file path=ppt/slides/_rels/slide17.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6.svg"/><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image" Target="../media/image165.png"/><Relationship Id="rId5" Type="http://schemas.openxmlformats.org/officeDocument/2006/relationships/image" Target="../media/image14.emf"/><Relationship Id="rId4" Type="http://schemas.openxmlformats.org/officeDocument/2006/relationships/oleObject" Target="../embeddings/oleObject114.bin"/></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6.svg"/><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165.png"/><Relationship Id="rId5" Type="http://schemas.openxmlformats.org/officeDocument/2006/relationships/image" Target="../media/image14.emf"/><Relationship Id="rId4" Type="http://schemas.openxmlformats.org/officeDocument/2006/relationships/oleObject" Target="../embeddings/oleObject115.bin"/></Relationships>
</file>

<file path=ppt/slides/_rels/slide172.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slideLayout" Target="../slideLayouts/slideLayout2.xml"/><Relationship Id="rId7" Type="http://schemas.openxmlformats.org/officeDocument/2006/relationships/image" Target="../media/image171.png"/><Relationship Id="rId12" Type="http://schemas.openxmlformats.org/officeDocument/2006/relationships/image" Target="../media/image176.svg"/><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170.emf"/><Relationship Id="rId11" Type="http://schemas.openxmlformats.org/officeDocument/2006/relationships/image" Target="../media/image175.png"/><Relationship Id="rId5" Type="http://schemas.openxmlformats.org/officeDocument/2006/relationships/oleObject" Target="../embeddings/oleObject116.bin"/><Relationship Id="rId10" Type="http://schemas.openxmlformats.org/officeDocument/2006/relationships/image" Target="../media/image174.svg"/><Relationship Id="rId4" Type="http://schemas.openxmlformats.org/officeDocument/2006/relationships/notesSlide" Target="../notesSlides/notesSlide146.xml"/><Relationship Id="rId9" Type="http://schemas.openxmlformats.org/officeDocument/2006/relationships/image" Target="../media/image173.png"/></Relationships>
</file>

<file path=ppt/slides/_rels/slide173.xml.rels><?xml version="1.0" encoding="UTF-8" standalone="yes"?>
<Relationships xmlns="http://schemas.openxmlformats.org/package/2006/relationships"><Relationship Id="rId8" Type="http://schemas.openxmlformats.org/officeDocument/2006/relationships/image" Target="../media/image172.svg"/><Relationship Id="rId13" Type="http://schemas.openxmlformats.org/officeDocument/2006/relationships/image" Target="../media/image177.png"/><Relationship Id="rId3" Type="http://schemas.openxmlformats.org/officeDocument/2006/relationships/slideLayout" Target="../slideLayouts/slideLayout2.xml"/><Relationship Id="rId7" Type="http://schemas.openxmlformats.org/officeDocument/2006/relationships/image" Target="../media/image171.png"/><Relationship Id="rId12" Type="http://schemas.openxmlformats.org/officeDocument/2006/relationships/image" Target="../media/image176.svg"/><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image" Target="../media/image170.emf"/><Relationship Id="rId11" Type="http://schemas.openxmlformats.org/officeDocument/2006/relationships/image" Target="../media/image175.png"/><Relationship Id="rId5" Type="http://schemas.openxmlformats.org/officeDocument/2006/relationships/oleObject" Target="../embeddings/oleObject117.bin"/><Relationship Id="rId10" Type="http://schemas.openxmlformats.org/officeDocument/2006/relationships/image" Target="../media/image174.svg"/><Relationship Id="rId4" Type="http://schemas.openxmlformats.org/officeDocument/2006/relationships/notesSlide" Target="../notesSlides/notesSlide147.xml"/><Relationship Id="rId9" Type="http://schemas.openxmlformats.org/officeDocument/2006/relationships/image" Target="../media/image173.png"/><Relationship Id="rId14" Type="http://schemas.openxmlformats.org/officeDocument/2006/relationships/image" Target="../media/image178.svg"/></Relationships>
</file>

<file path=ppt/slides/_rels/slide174.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4.svg"/><Relationship Id="rId3" Type="http://schemas.openxmlformats.org/officeDocument/2006/relationships/slideLayout" Target="../slideLayouts/slideLayout2.xml"/><Relationship Id="rId7" Type="http://schemas.openxmlformats.org/officeDocument/2006/relationships/chart" Target="../charts/chart16.xml"/><Relationship Id="rId12" Type="http://schemas.openxmlformats.org/officeDocument/2006/relationships/image" Target="../media/image183.png"/><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image" Target="../media/image14.emf"/><Relationship Id="rId11" Type="http://schemas.openxmlformats.org/officeDocument/2006/relationships/image" Target="../media/image182.svg"/><Relationship Id="rId5" Type="http://schemas.openxmlformats.org/officeDocument/2006/relationships/oleObject" Target="../embeddings/oleObject118.bin"/><Relationship Id="rId15" Type="http://schemas.openxmlformats.org/officeDocument/2006/relationships/image" Target="../media/image186.svg"/><Relationship Id="rId10" Type="http://schemas.openxmlformats.org/officeDocument/2006/relationships/image" Target="../media/image181.png"/><Relationship Id="rId4" Type="http://schemas.openxmlformats.org/officeDocument/2006/relationships/notesSlide" Target="../notesSlides/notesSlide148.xml"/><Relationship Id="rId9" Type="http://schemas.openxmlformats.org/officeDocument/2006/relationships/image" Target="../media/image180.svg"/><Relationship Id="rId14" Type="http://schemas.openxmlformats.org/officeDocument/2006/relationships/image" Target="../media/image185.png"/></Relationships>
</file>

<file path=ppt/slides/_rels/slide175.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6.svg"/><Relationship Id="rId3" Type="http://schemas.openxmlformats.org/officeDocument/2006/relationships/notesSlide" Target="../notesSlides/notesSlide149.xml"/><Relationship Id="rId7" Type="http://schemas.openxmlformats.org/officeDocument/2006/relationships/image" Target="../media/image188.svg"/><Relationship Id="rId12" Type="http://schemas.openxmlformats.org/officeDocument/2006/relationships/image" Target="../media/image185.png"/><Relationship Id="rId2" Type="http://schemas.openxmlformats.org/officeDocument/2006/relationships/slideLayout" Target="../slideLayouts/slideLayout2.xml"/><Relationship Id="rId1" Type="http://schemas.openxmlformats.org/officeDocument/2006/relationships/tags" Target="../tags/tag465.xml"/><Relationship Id="rId6" Type="http://schemas.openxmlformats.org/officeDocument/2006/relationships/image" Target="../media/image187.png"/><Relationship Id="rId11" Type="http://schemas.openxmlformats.org/officeDocument/2006/relationships/image" Target="../media/image190.svg"/><Relationship Id="rId5" Type="http://schemas.openxmlformats.org/officeDocument/2006/relationships/image" Target="../media/image14.emf"/><Relationship Id="rId15" Type="http://schemas.openxmlformats.org/officeDocument/2006/relationships/image" Target="../media/image180.svg"/><Relationship Id="rId10" Type="http://schemas.openxmlformats.org/officeDocument/2006/relationships/image" Target="../media/image189.png"/><Relationship Id="rId4" Type="http://schemas.openxmlformats.org/officeDocument/2006/relationships/oleObject" Target="../embeddings/oleObject119.bin"/><Relationship Id="rId9" Type="http://schemas.openxmlformats.org/officeDocument/2006/relationships/image" Target="../media/image184.svg"/><Relationship Id="rId14" Type="http://schemas.openxmlformats.org/officeDocument/2006/relationships/image" Target="../media/image179.png"/></Relationships>
</file>

<file path=ppt/slides/_rels/slide176.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oleObject" Target="../embeddings/oleObject120.bin"/><Relationship Id="rId7" Type="http://schemas.openxmlformats.org/officeDocument/2006/relationships/image" Target="../media/image193.png"/><Relationship Id="rId2" Type="http://schemas.openxmlformats.org/officeDocument/2006/relationships/slideLayout" Target="../slideLayouts/slideLayout2.xml"/><Relationship Id="rId1" Type="http://schemas.openxmlformats.org/officeDocument/2006/relationships/tags" Target="../tags/tag466.xml"/><Relationship Id="rId6" Type="http://schemas.openxmlformats.org/officeDocument/2006/relationships/image" Target="../media/image192.svg"/><Relationship Id="rId5" Type="http://schemas.openxmlformats.org/officeDocument/2006/relationships/image" Target="../media/image191.png"/><Relationship Id="rId10" Type="http://schemas.openxmlformats.org/officeDocument/2006/relationships/image" Target="../media/image196.svg"/><Relationship Id="rId4" Type="http://schemas.openxmlformats.org/officeDocument/2006/relationships/image" Target="../media/image14.emf"/><Relationship Id="rId9" Type="http://schemas.openxmlformats.org/officeDocument/2006/relationships/image" Target="../media/image195.png"/></Relationships>
</file>

<file path=ppt/slides/_rels/slide177.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oleObject" Target="../embeddings/oleObject121.bin"/><Relationship Id="rId7" Type="http://schemas.openxmlformats.org/officeDocument/2006/relationships/image" Target="../media/image193.png"/><Relationship Id="rId12" Type="http://schemas.openxmlformats.org/officeDocument/2006/relationships/image" Target="../media/image192.svg"/><Relationship Id="rId2" Type="http://schemas.openxmlformats.org/officeDocument/2006/relationships/slideLayout" Target="../slideLayouts/slideLayout2.xml"/><Relationship Id="rId1" Type="http://schemas.openxmlformats.org/officeDocument/2006/relationships/tags" Target="../tags/tag467.xml"/><Relationship Id="rId6" Type="http://schemas.openxmlformats.org/officeDocument/2006/relationships/image" Target="../media/image198.svg"/><Relationship Id="rId11" Type="http://schemas.openxmlformats.org/officeDocument/2006/relationships/image" Target="../media/image191.png"/><Relationship Id="rId5" Type="http://schemas.openxmlformats.org/officeDocument/2006/relationships/image" Target="../media/image197.png"/><Relationship Id="rId10" Type="http://schemas.openxmlformats.org/officeDocument/2006/relationships/image" Target="../media/image196.svg"/><Relationship Id="rId4" Type="http://schemas.openxmlformats.org/officeDocument/2006/relationships/image" Target="../media/image14.emf"/><Relationship Id="rId9" Type="http://schemas.openxmlformats.org/officeDocument/2006/relationships/image" Target="../media/image195.png"/></Relationships>
</file>

<file path=ppt/slides/_rels/slide178.xml.rels><?xml version="1.0" encoding="UTF-8" standalone="yes"?>
<Relationships xmlns="http://schemas.openxmlformats.org/package/2006/relationships"><Relationship Id="rId8" Type="http://schemas.openxmlformats.org/officeDocument/2006/relationships/image" Target="../media/image202.svg"/><Relationship Id="rId3" Type="http://schemas.openxmlformats.org/officeDocument/2006/relationships/oleObject" Target="../embeddings/oleObject122.bin"/><Relationship Id="rId7" Type="http://schemas.openxmlformats.org/officeDocument/2006/relationships/image" Target="../media/image201.png"/><Relationship Id="rId2" Type="http://schemas.openxmlformats.org/officeDocument/2006/relationships/slideLayout" Target="../slideLayouts/slideLayout2.xml"/><Relationship Id="rId1" Type="http://schemas.openxmlformats.org/officeDocument/2006/relationships/tags" Target="../tags/tag468.xml"/><Relationship Id="rId6" Type="http://schemas.openxmlformats.org/officeDocument/2006/relationships/image" Target="../media/image200.sv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4.emf"/><Relationship Id="rId9" Type="http://schemas.openxmlformats.org/officeDocument/2006/relationships/image" Target="../media/image203.png"/></Relationships>
</file>

<file path=ppt/slides/_rels/slide179.xml.rels><?xml version="1.0" encoding="UTF-8" standalone="yes"?>
<Relationships xmlns="http://schemas.openxmlformats.org/package/2006/relationships"><Relationship Id="rId8" Type="http://schemas.openxmlformats.org/officeDocument/2006/relationships/image" Target="../media/image202.svg"/><Relationship Id="rId3" Type="http://schemas.openxmlformats.org/officeDocument/2006/relationships/oleObject" Target="../embeddings/oleObject123.bin"/><Relationship Id="rId7" Type="http://schemas.openxmlformats.org/officeDocument/2006/relationships/image" Target="../media/image201.png"/><Relationship Id="rId12" Type="http://schemas.openxmlformats.org/officeDocument/2006/relationships/image" Target="../media/image206.svg"/><Relationship Id="rId2" Type="http://schemas.openxmlformats.org/officeDocument/2006/relationships/slideLayout" Target="../slideLayouts/slideLayout2.xml"/><Relationship Id="rId1" Type="http://schemas.openxmlformats.org/officeDocument/2006/relationships/tags" Target="../tags/tag469.xml"/><Relationship Id="rId6" Type="http://schemas.openxmlformats.org/officeDocument/2006/relationships/image" Target="../media/image200.svg"/><Relationship Id="rId11" Type="http://schemas.openxmlformats.org/officeDocument/2006/relationships/image" Target="../media/image205.pn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4.emf"/><Relationship Id="rId9" Type="http://schemas.openxmlformats.org/officeDocument/2006/relationships/image" Target="../media/image203.png"/></Relationships>
</file>

<file path=ppt/slides/_rels/slide1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2.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s>
</file>

<file path=ppt/slides/_rels/slide180.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image" Target="../media/image207.png"/><Relationship Id="rId3" Type="http://schemas.openxmlformats.org/officeDocument/2006/relationships/oleObject" Target="../embeddings/oleObject124.bin"/><Relationship Id="rId7" Type="http://schemas.openxmlformats.org/officeDocument/2006/relationships/image" Target="../media/image201.png"/><Relationship Id="rId12" Type="http://schemas.openxmlformats.org/officeDocument/2006/relationships/image" Target="../media/image206.svg"/><Relationship Id="rId2" Type="http://schemas.openxmlformats.org/officeDocument/2006/relationships/slideLayout" Target="../slideLayouts/slideLayout2.xml"/><Relationship Id="rId1" Type="http://schemas.openxmlformats.org/officeDocument/2006/relationships/tags" Target="../tags/tag470.xml"/><Relationship Id="rId6" Type="http://schemas.openxmlformats.org/officeDocument/2006/relationships/image" Target="../media/image200.svg"/><Relationship Id="rId11" Type="http://schemas.openxmlformats.org/officeDocument/2006/relationships/image" Target="../media/image205.png"/><Relationship Id="rId5" Type="http://schemas.openxmlformats.org/officeDocument/2006/relationships/image" Target="../media/image199.png"/><Relationship Id="rId10" Type="http://schemas.openxmlformats.org/officeDocument/2006/relationships/image" Target="../media/image204.svg"/><Relationship Id="rId4" Type="http://schemas.openxmlformats.org/officeDocument/2006/relationships/image" Target="../media/image14.emf"/><Relationship Id="rId9" Type="http://schemas.openxmlformats.org/officeDocument/2006/relationships/image" Target="../media/image203.png"/><Relationship Id="rId14" Type="http://schemas.openxmlformats.org/officeDocument/2006/relationships/image" Target="../media/image208.svg"/></Relationships>
</file>

<file path=ppt/slides/_rels/slide181.xml.rels><?xml version="1.0" encoding="UTF-8" standalone="yes"?>
<Relationships xmlns="http://schemas.openxmlformats.org/package/2006/relationships"><Relationship Id="rId8" Type="http://schemas.openxmlformats.org/officeDocument/2006/relationships/image" Target="../media/image212.svg"/><Relationship Id="rId3" Type="http://schemas.openxmlformats.org/officeDocument/2006/relationships/oleObject" Target="../embeddings/oleObject125.bin"/><Relationship Id="rId7" Type="http://schemas.openxmlformats.org/officeDocument/2006/relationships/image" Target="../media/image211.png"/><Relationship Id="rId12" Type="http://schemas.openxmlformats.org/officeDocument/2006/relationships/image" Target="../media/image216.svg"/><Relationship Id="rId2" Type="http://schemas.openxmlformats.org/officeDocument/2006/relationships/slideLayout" Target="../slideLayouts/slideLayout2.xml"/><Relationship Id="rId1" Type="http://schemas.openxmlformats.org/officeDocument/2006/relationships/tags" Target="../tags/tag471.xml"/><Relationship Id="rId6" Type="http://schemas.openxmlformats.org/officeDocument/2006/relationships/image" Target="../media/image210.svg"/><Relationship Id="rId11" Type="http://schemas.openxmlformats.org/officeDocument/2006/relationships/image" Target="../media/image215.png"/><Relationship Id="rId5" Type="http://schemas.openxmlformats.org/officeDocument/2006/relationships/image" Target="../media/image209.png"/><Relationship Id="rId10" Type="http://schemas.openxmlformats.org/officeDocument/2006/relationships/image" Target="../media/image214.svg"/><Relationship Id="rId4" Type="http://schemas.openxmlformats.org/officeDocument/2006/relationships/image" Target="../media/image14.emf"/><Relationship Id="rId9" Type="http://schemas.openxmlformats.org/officeDocument/2006/relationships/image" Target="../media/image213.png"/></Relationships>
</file>

<file path=ppt/slides/_rels/slide182.xml.rels><?xml version="1.0" encoding="UTF-8" standalone="yes"?>
<Relationships xmlns="http://schemas.openxmlformats.org/package/2006/relationships"><Relationship Id="rId8" Type="http://schemas.openxmlformats.org/officeDocument/2006/relationships/image" Target="../media/image212.svg"/><Relationship Id="rId13" Type="http://schemas.openxmlformats.org/officeDocument/2006/relationships/image" Target="../media/image217.png"/><Relationship Id="rId3" Type="http://schemas.openxmlformats.org/officeDocument/2006/relationships/oleObject" Target="../embeddings/oleObject126.bin"/><Relationship Id="rId7" Type="http://schemas.openxmlformats.org/officeDocument/2006/relationships/image" Target="../media/image211.png"/><Relationship Id="rId12" Type="http://schemas.openxmlformats.org/officeDocument/2006/relationships/image" Target="../media/image216.svg"/><Relationship Id="rId2" Type="http://schemas.openxmlformats.org/officeDocument/2006/relationships/slideLayout" Target="../slideLayouts/slideLayout2.xml"/><Relationship Id="rId1" Type="http://schemas.openxmlformats.org/officeDocument/2006/relationships/tags" Target="../tags/tag472.xml"/><Relationship Id="rId6" Type="http://schemas.openxmlformats.org/officeDocument/2006/relationships/image" Target="../media/image210.svg"/><Relationship Id="rId11" Type="http://schemas.openxmlformats.org/officeDocument/2006/relationships/image" Target="../media/image215.png"/><Relationship Id="rId5" Type="http://schemas.openxmlformats.org/officeDocument/2006/relationships/image" Target="../media/image209.png"/><Relationship Id="rId10" Type="http://schemas.openxmlformats.org/officeDocument/2006/relationships/image" Target="../media/image214.svg"/><Relationship Id="rId4" Type="http://schemas.openxmlformats.org/officeDocument/2006/relationships/image" Target="../media/image14.emf"/><Relationship Id="rId9" Type="http://schemas.openxmlformats.org/officeDocument/2006/relationships/image" Target="../media/image213.png"/><Relationship Id="rId14" Type="http://schemas.openxmlformats.org/officeDocument/2006/relationships/image" Target="../media/image218.svg"/></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27.bin"/><Relationship Id="rId7" Type="http://schemas.openxmlformats.org/officeDocument/2006/relationships/image" Target="../media/image221.svg"/><Relationship Id="rId2" Type="http://schemas.openxmlformats.org/officeDocument/2006/relationships/slideLayout" Target="../slideLayouts/slideLayout2.xml"/><Relationship Id="rId1" Type="http://schemas.openxmlformats.org/officeDocument/2006/relationships/tags" Target="../tags/tag473.xml"/><Relationship Id="rId6" Type="http://schemas.openxmlformats.org/officeDocument/2006/relationships/image" Target="../media/image220.svg"/><Relationship Id="rId5" Type="http://schemas.openxmlformats.org/officeDocument/2006/relationships/image" Target="../media/image219.png"/><Relationship Id="rId4" Type="http://schemas.openxmlformats.org/officeDocument/2006/relationships/image" Target="../media/image14.emf"/></Relationships>
</file>

<file path=ppt/slides/_rels/slide184.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notesSlide" Target="../notesSlides/notesSlide150.xml"/><Relationship Id="rId7" Type="http://schemas.openxmlformats.org/officeDocument/2006/relationships/image" Target="../media/image223.svg"/><Relationship Id="rId2" Type="http://schemas.openxmlformats.org/officeDocument/2006/relationships/slideLayout" Target="../slideLayouts/slideLayout2.xml"/><Relationship Id="rId1" Type="http://schemas.openxmlformats.org/officeDocument/2006/relationships/tags" Target="../tags/tag474.xml"/><Relationship Id="rId6" Type="http://schemas.openxmlformats.org/officeDocument/2006/relationships/image" Target="../media/image222.png"/><Relationship Id="rId11" Type="http://schemas.openxmlformats.org/officeDocument/2006/relationships/image" Target="../media/image227.svg"/><Relationship Id="rId5" Type="http://schemas.openxmlformats.org/officeDocument/2006/relationships/image" Target="../media/image170.emf"/><Relationship Id="rId10" Type="http://schemas.openxmlformats.org/officeDocument/2006/relationships/image" Target="../media/image226.png"/><Relationship Id="rId4" Type="http://schemas.openxmlformats.org/officeDocument/2006/relationships/oleObject" Target="../embeddings/oleObject128.bin"/><Relationship Id="rId9" Type="http://schemas.openxmlformats.org/officeDocument/2006/relationships/image" Target="../media/image225.svg"/></Relationships>
</file>

<file path=ppt/slides/_rels/slide185.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229.svg"/><Relationship Id="rId3" Type="http://schemas.openxmlformats.org/officeDocument/2006/relationships/notesSlide" Target="../notesSlides/notesSlide151.xml"/><Relationship Id="rId7" Type="http://schemas.openxmlformats.org/officeDocument/2006/relationships/image" Target="../media/image223.svg"/><Relationship Id="rId12" Type="http://schemas.openxmlformats.org/officeDocument/2006/relationships/image" Target="../media/image228.png"/><Relationship Id="rId2" Type="http://schemas.openxmlformats.org/officeDocument/2006/relationships/slideLayout" Target="../slideLayouts/slideLayout2.xml"/><Relationship Id="rId1" Type="http://schemas.openxmlformats.org/officeDocument/2006/relationships/tags" Target="../tags/tag475.xml"/><Relationship Id="rId6" Type="http://schemas.openxmlformats.org/officeDocument/2006/relationships/image" Target="../media/image222.png"/><Relationship Id="rId11" Type="http://schemas.openxmlformats.org/officeDocument/2006/relationships/image" Target="../media/image227.svg"/><Relationship Id="rId5" Type="http://schemas.openxmlformats.org/officeDocument/2006/relationships/image" Target="../media/image170.emf"/><Relationship Id="rId10" Type="http://schemas.openxmlformats.org/officeDocument/2006/relationships/image" Target="../media/image226.png"/><Relationship Id="rId4" Type="http://schemas.openxmlformats.org/officeDocument/2006/relationships/oleObject" Target="../embeddings/oleObject129.bin"/><Relationship Id="rId9" Type="http://schemas.openxmlformats.org/officeDocument/2006/relationships/image" Target="../media/image225.svg"/></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476.xml"/><Relationship Id="rId4" Type="http://schemas.openxmlformats.org/officeDocument/2006/relationships/image" Target="../media/image14.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477.xml"/><Relationship Id="rId4" Type="http://schemas.openxmlformats.org/officeDocument/2006/relationships/image" Target="../media/image14.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478.xml"/><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oleObject" Target="../embeddings/oleObject16.bin"/><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notesSlide" Target="../notesSlides/notesSlide14.xml"/><Relationship Id="rId2" Type="http://schemas.openxmlformats.org/officeDocument/2006/relationships/tags" Target="../tags/tag81.xml"/><Relationship Id="rId16"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19" Type="http://schemas.openxmlformats.org/officeDocument/2006/relationships/image" Target="../media/image2.emf"/><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2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3" Type="http://schemas.openxmlformats.org/officeDocument/2006/relationships/tags" Target="../tags/tag97.xml"/><Relationship Id="rId21" Type="http://schemas.openxmlformats.org/officeDocument/2006/relationships/tags" Target="../tags/tag115.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image" Target="../media/image2.emf"/><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oleObject" Target="../embeddings/oleObject17.bin"/><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notesSlide" Target="../notesSlides/notesSlide15.xml"/><Relationship Id="rId10" Type="http://schemas.openxmlformats.org/officeDocument/2006/relationships/tags" Target="../tags/tag104.xml"/><Relationship Id="rId19" Type="http://schemas.openxmlformats.org/officeDocument/2006/relationships/tags" Target="../tags/tag113.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image" Target="../media/image2.emf"/><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oleObject" Target="../embeddings/oleObject18.bin"/><Relationship Id="rId2" Type="http://schemas.openxmlformats.org/officeDocument/2006/relationships/tags" Target="../tags/tag117.xml"/><Relationship Id="rId16" Type="http://schemas.openxmlformats.org/officeDocument/2006/relationships/notesSlide" Target="../notesSlides/notesSlide16.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slideLayout" Target="../slideLayouts/slideLayout2.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9.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13" Type="http://schemas.openxmlformats.org/officeDocument/2006/relationships/tags" Target="../tags/tag152.xml"/><Relationship Id="rId18" Type="http://schemas.openxmlformats.org/officeDocument/2006/relationships/tags" Target="../tags/tag157.xml"/><Relationship Id="rId26" Type="http://schemas.openxmlformats.org/officeDocument/2006/relationships/tags" Target="../tags/tag165.xml"/><Relationship Id="rId39" Type="http://schemas.openxmlformats.org/officeDocument/2006/relationships/tags" Target="../tags/tag178.xml"/><Relationship Id="rId21" Type="http://schemas.openxmlformats.org/officeDocument/2006/relationships/tags" Target="../tags/tag160.xml"/><Relationship Id="rId34" Type="http://schemas.openxmlformats.org/officeDocument/2006/relationships/tags" Target="../tags/tag173.xml"/><Relationship Id="rId42" Type="http://schemas.openxmlformats.org/officeDocument/2006/relationships/tags" Target="../tags/tag181.xml"/><Relationship Id="rId7" Type="http://schemas.openxmlformats.org/officeDocument/2006/relationships/tags" Target="../tags/tag146.xml"/><Relationship Id="rId2" Type="http://schemas.openxmlformats.org/officeDocument/2006/relationships/tags" Target="../tags/tag141.xml"/><Relationship Id="rId16" Type="http://schemas.openxmlformats.org/officeDocument/2006/relationships/tags" Target="../tags/tag155.xml"/><Relationship Id="rId29" Type="http://schemas.openxmlformats.org/officeDocument/2006/relationships/tags" Target="../tags/tag168.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tags" Target="../tags/tag150.xml"/><Relationship Id="rId24" Type="http://schemas.openxmlformats.org/officeDocument/2006/relationships/tags" Target="../tags/tag163.xml"/><Relationship Id="rId32" Type="http://schemas.openxmlformats.org/officeDocument/2006/relationships/tags" Target="../tags/tag171.xml"/><Relationship Id="rId37" Type="http://schemas.openxmlformats.org/officeDocument/2006/relationships/tags" Target="../tags/tag176.xml"/><Relationship Id="rId40" Type="http://schemas.openxmlformats.org/officeDocument/2006/relationships/tags" Target="../tags/tag179.xml"/><Relationship Id="rId45" Type="http://schemas.openxmlformats.org/officeDocument/2006/relationships/oleObject" Target="../embeddings/oleObject24.bin"/><Relationship Id="rId5" Type="http://schemas.openxmlformats.org/officeDocument/2006/relationships/tags" Target="../tags/tag144.xml"/><Relationship Id="rId15" Type="http://schemas.openxmlformats.org/officeDocument/2006/relationships/tags" Target="../tags/tag154.xml"/><Relationship Id="rId23" Type="http://schemas.openxmlformats.org/officeDocument/2006/relationships/tags" Target="../tags/tag162.xml"/><Relationship Id="rId28" Type="http://schemas.openxmlformats.org/officeDocument/2006/relationships/tags" Target="../tags/tag167.xml"/><Relationship Id="rId36" Type="http://schemas.openxmlformats.org/officeDocument/2006/relationships/tags" Target="../tags/tag175.xml"/><Relationship Id="rId10" Type="http://schemas.openxmlformats.org/officeDocument/2006/relationships/tags" Target="../tags/tag149.xml"/><Relationship Id="rId19" Type="http://schemas.openxmlformats.org/officeDocument/2006/relationships/tags" Target="../tags/tag158.xml"/><Relationship Id="rId31" Type="http://schemas.openxmlformats.org/officeDocument/2006/relationships/tags" Target="../tags/tag170.xml"/><Relationship Id="rId44" Type="http://schemas.openxmlformats.org/officeDocument/2006/relationships/notesSlide" Target="../notesSlides/notesSlide22.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tags" Target="../tags/tag153.xml"/><Relationship Id="rId22" Type="http://schemas.openxmlformats.org/officeDocument/2006/relationships/tags" Target="../tags/tag161.xml"/><Relationship Id="rId27" Type="http://schemas.openxmlformats.org/officeDocument/2006/relationships/tags" Target="../tags/tag166.xml"/><Relationship Id="rId30" Type="http://schemas.openxmlformats.org/officeDocument/2006/relationships/tags" Target="../tags/tag169.xml"/><Relationship Id="rId35" Type="http://schemas.openxmlformats.org/officeDocument/2006/relationships/tags" Target="../tags/tag174.xml"/><Relationship Id="rId43" Type="http://schemas.openxmlformats.org/officeDocument/2006/relationships/slideLayout" Target="../slideLayouts/slideLayout2.xml"/><Relationship Id="rId8" Type="http://schemas.openxmlformats.org/officeDocument/2006/relationships/tags" Target="../tags/tag147.xml"/><Relationship Id="rId3" Type="http://schemas.openxmlformats.org/officeDocument/2006/relationships/tags" Target="../tags/tag142.xml"/><Relationship Id="rId12" Type="http://schemas.openxmlformats.org/officeDocument/2006/relationships/tags" Target="../tags/tag151.xml"/><Relationship Id="rId17" Type="http://schemas.openxmlformats.org/officeDocument/2006/relationships/tags" Target="../tags/tag156.xml"/><Relationship Id="rId25" Type="http://schemas.openxmlformats.org/officeDocument/2006/relationships/tags" Target="../tags/tag164.xml"/><Relationship Id="rId33" Type="http://schemas.openxmlformats.org/officeDocument/2006/relationships/tags" Target="../tags/tag172.xml"/><Relationship Id="rId38" Type="http://schemas.openxmlformats.org/officeDocument/2006/relationships/tags" Target="../tags/tag177.xml"/><Relationship Id="rId46" Type="http://schemas.openxmlformats.org/officeDocument/2006/relationships/image" Target="../media/image16.emf"/><Relationship Id="rId20" Type="http://schemas.openxmlformats.org/officeDocument/2006/relationships/tags" Target="../tags/tag159.xml"/><Relationship Id="rId41" Type="http://schemas.openxmlformats.org/officeDocument/2006/relationships/tags" Target="../tags/tag180.xml"/></Relationships>
</file>

<file path=ppt/slides/_rels/slide29.xml.rels><?xml version="1.0" encoding="UTF-8" standalone="yes"?>
<Relationships xmlns="http://schemas.openxmlformats.org/package/2006/relationships"><Relationship Id="rId8" Type="http://schemas.openxmlformats.org/officeDocument/2006/relationships/chart" Target="../charts/chart10.xml"/><Relationship Id="rId13" Type="http://schemas.openxmlformats.org/officeDocument/2006/relationships/image" Target="../media/image21.png"/><Relationship Id="rId3" Type="http://schemas.openxmlformats.org/officeDocument/2006/relationships/tags" Target="../tags/tag184.xml"/><Relationship Id="rId7" Type="http://schemas.openxmlformats.org/officeDocument/2006/relationships/image" Target="../media/image16.emf"/><Relationship Id="rId12" Type="http://schemas.openxmlformats.org/officeDocument/2006/relationships/image" Target="../media/image20.svg"/><Relationship Id="rId2" Type="http://schemas.openxmlformats.org/officeDocument/2006/relationships/tags" Target="../tags/tag183.xml"/><Relationship Id="rId16" Type="http://schemas.openxmlformats.org/officeDocument/2006/relationships/image" Target="../media/image24.svg"/><Relationship Id="rId1" Type="http://schemas.openxmlformats.org/officeDocument/2006/relationships/tags" Target="../tags/tag182.xml"/><Relationship Id="rId6" Type="http://schemas.openxmlformats.org/officeDocument/2006/relationships/oleObject" Target="../embeddings/oleObject25.bin"/><Relationship Id="rId11" Type="http://schemas.openxmlformats.org/officeDocument/2006/relationships/image" Target="../media/image19.png"/><Relationship Id="rId5" Type="http://schemas.openxmlformats.org/officeDocument/2006/relationships/notesSlide" Target="../notesSlides/notesSlide23.xml"/><Relationship Id="rId15" Type="http://schemas.openxmlformats.org/officeDocument/2006/relationships/image" Target="../media/image23.png"/><Relationship Id="rId10" Type="http://schemas.openxmlformats.org/officeDocument/2006/relationships/image" Target="../media/image18.svg"/><Relationship Id="rId4" Type="http://schemas.openxmlformats.org/officeDocument/2006/relationships/slideLayout" Target="../slideLayouts/slideLayout2.xml"/><Relationship Id="rId9" Type="http://schemas.openxmlformats.org/officeDocument/2006/relationships/image" Target="../media/image17.png"/><Relationship Id="rId14" Type="http://schemas.openxmlformats.org/officeDocument/2006/relationships/image" Target="../media/image22.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chart" Target="../charts/chart1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2.emf"/><Relationship Id="rId5" Type="http://schemas.openxmlformats.org/officeDocument/2006/relationships/tags" Target="../tags/tag189.xml"/><Relationship Id="rId10" Type="http://schemas.openxmlformats.org/officeDocument/2006/relationships/oleObject" Target="../embeddings/oleObject26.bin"/><Relationship Id="rId4" Type="http://schemas.openxmlformats.org/officeDocument/2006/relationships/tags" Target="../tags/tag188.xml"/><Relationship Id="rId9"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92.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93.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94.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95.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19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198.xml"/><Relationship Id="rId5" Type="http://schemas.openxmlformats.org/officeDocument/2006/relationships/image" Target="../media/image25.png"/><Relationship Id="rId4" Type="http://schemas.openxmlformats.org/officeDocument/2006/relationships/image" Target="../media/image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199.xml"/><Relationship Id="rId5" Type="http://schemas.openxmlformats.org/officeDocument/2006/relationships/image" Target="../media/image26.png"/><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200.xml"/><Relationship Id="rId4" Type="http://schemas.openxmlformats.org/officeDocument/2006/relationships/image" Target="../media/image14.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201.xml"/><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notesSlide" Target="../notesSlides/notesSlide36.xml"/></Relationships>
</file>

<file path=ppt/slides/_rels/slide4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1.emf"/><Relationship Id="rId4" Type="http://schemas.openxmlformats.org/officeDocument/2006/relationships/notesSlide" Target="../notesSlides/notesSlide37.xml"/><Relationship Id="rId9" Type="http://schemas.openxmlformats.org/officeDocument/2006/relationships/oleObject" Target="../embeddings/oleObject33.bin"/></Relationships>
</file>

<file path=ppt/slides/_rels/slide4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1.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33.svg"/><Relationship Id="rId11" Type="http://schemas.openxmlformats.org/officeDocument/2006/relationships/oleObject" Target="../embeddings/oleObject33.bin"/><Relationship Id="rId5" Type="http://schemas.openxmlformats.org/officeDocument/2006/relationships/image" Target="../media/image32.png"/><Relationship Id="rId10" Type="http://schemas.openxmlformats.org/officeDocument/2006/relationships/image" Target="../media/image30.svg"/><Relationship Id="rId4" Type="http://schemas.openxmlformats.org/officeDocument/2006/relationships/notesSlide" Target="../notesSlides/notesSlide38.xml"/><Relationship Id="rId9" Type="http://schemas.openxmlformats.org/officeDocument/2006/relationships/image" Target="../media/image29.png"/></Relationships>
</file>

<file path=ppt/slides/_rels/slide49.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oleObject" Target="../embeddings/oleObject33.bin"/><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5.sv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33.svg"/><Relationship Id="rId11" Type="http://schemas.openxmlformats.org/officeDocument/2006/relationships/image" Target="../media/image34.png"/><Relationship Id="rId5" Type="http://schemas.openxmlformats.org/officeDocument/2006/relationships/image" Target="../media/image32.png"/><Relationship Id="rId10" Type="http://schemas.openxmlformats.org/officeDocument/2006/relationships/image" Target="../media/image30.svg"/><Relationship Id="rId4" Type="http://schemas.openxmlformats.org/officeDocument/2006/relationships/notesSlide" Target="../notesSlides/notesSlide39.xml"/><Relationship Id="rId9" Type="http://schemas.openxmlformats.org/officeDocument/2006/relationships/image" Target="../media/image29.png"/><Relationship Id="rId14" Type="http://schemas.openxmlformats.org/officeDocument/2006/relationships/image" Target="../media/image3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31.emf"/><Relationship Id="rId5" Type="http://schemas.openxmlformats.org/officeDocument/2006/relationships/oleObject" Target="../embeddings/oleObject34.bin"/><Relationship Id="rId4" Type="http://schemas.openxmlformats.org/officeDocument/2006/relationships/notesSlide" Target="../notesSlides/notesSlide4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31.emf"/><Relationship Id="rId5" Type="http://schemas.openxmlformats.org/officeDocument/2006/relationships/oleObject" Target="../embeddings/oleObject34.bin"/><Relationship Id="rId4" Type="http://schemas.openxmlformats.org/officeDocument/2006/relationships/notesSlide" Target="../notesSlides/notesSlide4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31.emf"/><Relationship Id="rId5" Type="http://schemas.openxmlformats.org/officeDocument/2006/relationships/oleObject" Target="../embeddings/oleObject34.bin"/><Relationship Id="rId4" Type="http://schemas.openxmlformats.org/officeDocument/2006/relationships/notesSlide" Target="../notesSlides/notesSlide4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4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44.xml"/></Relationships>
</file>

<file path=ppt/slides/_rels/slide5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tags" Target="../tags/tag221.xml"/><Relationship Id="rId7" Type="http://schemas.openxmlformats.org/officeDocument/2006/relationships/image" Target="../media/image36.png"/><Relationship Id="rId12" Type="http://schemas.openxmlformats.org/officeDocument/2006/relationships/image" Target="../media/image16.emf"/><Relationship Id="rId2" Type="http://schemas.openxmlformats.org/officeDocument/2006/relationships/tags" Target="../tags/tag220.xml"/><Relationship Id="rId1" Type="http://schemas.openxmlformats.org/officeDocument/2006/relationships/themeOverride" Target="../theme/themeOverride1.xml"/><Relationship Id="rId6" Type="http://schemas.openxmlformats.org/officeDocument/2006/relationships/notesSlide" Target="../notesSlides/notesSlide45.xml"/><Relationship Id="rId11" Type="http://schemas.openxmlformats.org/officeDocument/2006/relationships/oleObject" Target="../embeddings/oleObject36.bin"/><Relationship Id="rId5" Type="http://schemas.openxmlformats.org/officeDocument/2006/relationships/slideLayout" Target="../slideLayouts/slideLayout2.xml"/><Relationship Id="rId10" Type="http://schemas.openxmlformats.org/officeDocument/2006/relationships/image" Target="../media/image39.svg"/><Relationship Id="rId4" Type="http://schemas.openxmlformats.org/officeDocument/2006/relationships/tags" Target="../tags/tag222.xml"/><Relationship Id="rId9" Type="http://schemas.openxmlformats.org/officeDocument/2006/relationships/image" Target="../media/image38.png"/></Relationships>
</file>

<file path=ppt/slides/_rels/slide5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16.emf"/><Relationship Id="rId3" Type="http://schemas.openxmlformats.org/officeDocument/2006/relationships/tags" Target="../tags/tag225.xml"/><Relationship Id="rId7" Type="http://schemas.openxmlformats.org/officeDocument/2006/relationships/image" Target="../media/image37.svg"/><Relationship Id="rId12" Type="http://schemas.openxmlformats.org/officeDocument/2006/relationships/oleObject" Target="../embeddings/oleObject37.bin"/><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notesSlide" Target="../notesSlides/notesSlide46.xml"/><Relationship Id="rId10"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39.svg"/></Relationships>
</file>

<file path=ppt/slides/_rels/slide5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tags" Target="../tags/tag228.xml"/><Relationship Id="rId7" Type="http://schemas.openxmlformats.org/officeDocument/2006/relationships/image" Target="../media/image37.svg"/><Relationship Id="rId12" Type="http://schemas.openxmlformats.org/officeDocument/2006/relationships/image" Target="../media/image42.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notesSlide" Target="../notesSlides/notesSlide47.xml"/><Relationship Id="rId15" Type="http://schemas.openxmlformats.org/officeDocument/2006/relationships/image" Target="../media/image16.emf"/><Relationship Id="rId10"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39.svg"/><Relationship Id="rId14" Type="http://schemas.openxmlformats.org/officeDocument/2006/relationships/oleObject" Target="../embeddings/oleObject37.bin"/></Relationships>
</file>

<file path=ppt/slides/_rels/slide58.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16.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oleObject" Target="../embeddings/oleObject38.bin"/><Relationship Id="rId5" Type="http://schemas.openxmlformats.org/officeDocument/2006/relationships/notesSlide" Target="../notesSlides/notesSlide48.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6.emf"/><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oleObject" Target="../embeddings/oleObject38.bin"/><Relationship Id="rId5" Type="http://schemas.openxmlformats.org/officeDocument/2006/relationships/notesSlide" Target="../notesSlides/notesSlide49.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16.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38.bin"/><Relationship Id="rId5" Type="http://schemas.openxmlformats.org/officeDocument/2006/relationships/notesSlide" Target="../notesSlides/notesSlide50.xml"/><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6.emf"/><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oleObject" Target="../embeddings/oleObject38.bin"/><Relationship Id="rId5" Type="http://schemas.openxmlformats.org/officeDocument/2006/relationships/notesSlide" Target="../notesSlides/notesSlide51.xml"/><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5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5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notesSlide" Target="../notesSlides/notesSlide54.xml"/></Relationships>
</file>

<file path=ppt/slides/_rels/slide6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13.emf"/><Relationship Id="rId5" Type="http://schemas.openxmlformats.org/officeDocument/2006/relationships/oleObject" Target="../embeddings/oleObject41.bin"/><Relationship Id="rId4" Type="http://schemas.openxmlformats.org/officeDocument/2006/relationships/notesSlide" Target="../notesSlides/notesSlide5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31.emf"/><Relationship Id="rId5" Type="http://schemas.openxmlformats.org/officeDocument/2006/relationships/oleObject" Target="../embeddings/oleObject42.bin"/><Relationship Id="rId4" Type="http://schemas.openxmlformats.org/officeDocument/2006/relationships/notesSlide" Target="../notesSlides/notesSlide5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31.emf"/><Relationship Id="rId5" Type="http://schemas.openxmlformats.org/officeDocument/2006/relationships/oleObject" Target="../embeddings/oleObject42.bin"/><Relationship Id="rId4" Type="http://schemas.openxmlformats.org/officeDocument/2006/relationships/notesSlide" Target="../notesSlides/notesSlide5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31.emf"/><Relationship Id="rId5" Type="http://schemas.openxmlformats.org/officeDocument/2006/relationships/oleObject" Target="../embeddings/oleObject42.bin"/><Relationship Id="rId4" Type="http://schemas.openxmlformats.org/officeDocument/2006/relationships/notesSlide" Target="../notesSlides/notesSlide58.xml"/></Relationships>
</file>

<file path=ppt/slides/_rels/slide6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2.xml"/><Relationship Id="rId7" Type="http://schemas.openxmlformats.org/officeDocument/2006/relationships/image" Target="../media/image46.pn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8.emf"/><Relationship Id="rId4" Type="http://schemas.openxmlformats.org/officeDocument/2006/relationships/notesSlide" Target="../notesSlides/notesSlide59.xml"/><Relationship Id="rId9" Type="http://schemas.openxmlformats.org/officeDocument/2006/relationships/oleObject" Target="../embeddings/oleObject4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4.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3.png"/><Relationship Id="rId18" Type="http://schemas.openxmlformats.org/officeDocument/2006/relationships/image" Target="../media/image58.svg"/><Relationship Id="rId3" Type="http://schemas.openxmlformats.org/officeDocument/2006/relationships/slideLayout" Target="../slideLayouts/slideLayout2.xml"/><Relationship Id="rId21" Type="http://schemas.openxmlformats.org/officeDocument/2006/relationships/image" Target="../media/image61.png"/><Relationship Id="rId7" Type="http://schemas.openxmlformats.org/officeDocument/2006/relationships/image" Target="../media/image49.png"/><Relationship Id="rId12" Type="http://schemas.openxmlformats.org/officeDocument/2006/relationships/image" Target="../media/image52.svg"/><Relationship Id="rId17" Type="http://schemas.openxmlformats.org/officeDocument/2006/relationships/image" Target="../media/image57.png"/><Relationship Id="rId2" Type="http://schemas.openxmlformats.org/officeDocument/2006/relationships/tags" Target="../tags/tag258.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tags" Target="../tags/tag257.xml"/><Relationship Id="rId6" Type="http://schemas.openxmlformats.org/officeDocument/2006/relationships/image" Target="../media/image2.emf"/><Relationship Id="rId11" Type="http://schemas.openxmlformats.org/officeDocument/2006/relationships/image" Target="../media/image51.png"/><Relationship Id="rId5" Type="http://schemas.openxmlformats.org/officeDocument/2006/relationships/oleObject" Target="../embeddings/oleObject44.bin"/><Relationship Id="rId15" Type="http://schemas.openxmlformats.org/officeDocument/2006/relationships/image" Target="../media/image55.png"/><Relationship Id="rId10" Type="http://schemas.openxmlformats.org/officeDocument/2006/relationships/image" Target="../media/image39.svg"/><Relationship Id="rId19" Type="http://schemas.openxmlformats.org/officeDocument/2006/relationships/image" Target="../media/image59.png"/><Relationship Id="rId4" Type="http://schemas.openxmlformats.org/officeDocument/2006/relationships/notesSlide" Target="../notesSlides/notesSlide60.xml"/><Relationship Id="rId9" Type="http://schemas.openxmlformats.org/officeDocument/2006/relationships/image" Target="../media/image38.png"/><Relationship Id="rId14" Type="http://schemas.openxmlformats.org/officeDocument/2006/relationships/image" Target="../media/image54.svg"/><Relationship Id="rId22" Type="http://schemas.openxmlformats.org/officeDocument/2006/relationships/image" Target="../media/image62.svg"/></Relationships>
</file>

<file path=ppt/slides/_rels/slide71.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6.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45.bin"/><Relationship Id="rId5" Type="http://schemas.openxmlformats.org/officeDocument/2006/relationships/notesSlide" Target="../notesSlides/notesSlide61.xml"/><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16.emf"/><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oleObject" Target="../embeddings/oleObject45.bin"/><Relationship Id="rId5" Type="http://schemas.openxmlformats.org/officeDocument/2006/relationships/notesSlide" Target="../notesSlides/notesSlide62.xml"/><Relationship Id="rId4"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slideLayout" Target="../slideLayouts/slideLayout2.xml"/><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3.png"/><Relationship Id="rId2" Type="http://schemas.openxmlformats.org/officeDocument/2006/relationships/tags" Target="../tags/tag266.xml"/><Relationship Id="rId16" Type="http://schemas.openxmlformats.org/officeDocument/2006/relationships/image" Target="../media/image72.svg"/><Relationship Id="rId1" Type="http://schemas.openxmlformats.org/officeDocument/2006/relationships/tags" Target="../tags/tag265.xml"/><Relationship Id="rId6" Type="http://schemas.openxmlformats.org/officeDocument/2006/relationships/image" Target="../media/image2.emf"/><Relationship Id="rId11" Type="http://schemas.openxmlformats.org/officeDocument/2006/relationships/image" Target="../media/image67.png"/><Relationship Id="rId5" Type="http://schemas.openxmlformats.org/officeDocument/2006/relationships/oleObject" Target="../embeddings/oleObject46.bin"/><Relationship Id="rId15" Type="http://schemas.openxmlformats.org/officeDocument/2006/relationships/image" Target="../media/image71.png"/><Relationship Id="rId10" Type="http://schemas.openxmlformats.org/officeDocument/2006/relationships/image" Target="../media/image66.svg"/><Relationship Id="rId4" Type="http://schemas.openxmlformats.org/officeDocument/2006/relationships/notesSlide" Target="../notesSlides/notesSlide63.xml"/><Relationship Id="rId9" Type="http://schemas.openxmlformats.org/officeDocument/2006/relationships/image" Target="../media/image65.png"/><Relationship Id="rId14" Type="http://schemas.openxmlformats.org/officeDocument/2006/relationships/image" Target="../media/image70.svg"/></Relationships>
</file>

<file path=ppt/slides/_rels/slide74.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slideLayout" Target="../slideLayouts/slideLayout2.xml"/><Relationship Id="rId7" Type="http://schemas.openxmlformats.org/officeDocument/2006/relationships/image" Target="../media/image75.png"/><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notesSlide" Target="../notesSlides/notesSlide64.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269.xml"/><Relationship Id="rId5" Type="http://schemas.openxmlformats.org/officeDocument/2006/relationships/image" Target="../media/image77.png"/><Relationship Id="rId4" Type="http://schemas.openxmlformats.org/officeDocument/2006/relationships/image" Target="../media/image14.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77.png"/><Relationship Id="rId4" Type="http://schemas.openxmlformats.org/officeDocument/2006/relationships/image" Target="../media/image14.emf"/></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notesSlide" Target="../notesSlides/notesSlide65.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273.xml"/><Relationship Id="rId4" Type="http://schemas.openxmlformats.org/officeDocument/2006/relationships/image" Target="../media/image14.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274.xml"/><Relationship Id="rId5" Type="http://schemas.openxmlformats.org/officeDocument/2006/relationships/image" Target="../media/image14.emf"/><Relationship Id="rId4" Type="http://schemas.openxmlformats.org/officeDocument/2006/relationships/oleObject" Target="../embeddings/oleObject52.bin"/></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2.xml"/><Relationship Id="rId7" Type="http://schemas.openxmlformats.org/officeDocument/2006/relationships/chart" Target="../charts/chart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275.xml"/><Relationship Id="rId4" Type="http://schemas.openxmlformats.org/officeDocument/2006/relationships/image" Target="../media/image14.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276.xml"/><Relationship Id="rId4" Type="http://schemas.openxmlformats.org/officeDocument/2006/relationships/image" Target="../media/image14.emf"/></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notesSlide" Target="../notesSlides/notesSlide67.xml"/></Relationships>
</file>

<file path=ppt/slides/_rels/slide8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281.xml"/><Relationship Id="rId7" Type="http://schemas.openxmlformats.org/officeDocument/2006/relationships/image" Target="../media/image16.emf"/><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oleObject" Target="../embeddings/oleObject55.bin"/><Relationship Id="rId11" Type="http://schemas.openxmlformats.org/officeDocument/2006/relationships/image" Target="../media/image81.svg"/><Relationship Id="rId5" Type="http://schemas.openxmlformats.org/officeDocument/2006/relationships/notesSlide" Target="../notesSlides/notesSlide68.xml"/><Relationship Id="rId10" Type="http://schemas.openxmlformats.org/officeDocument/2006/relationships/image" Target="../media/image80.png"/><Relationship Id="rId4" Type="http://schemas.openxmlformats.org/officeDocument/2006/relationships/slideLayout" Target="../slideLayouts/slideLayout2.xml"/><Relationship Id="rId9" Type="http://schemas.openxmlformats.org/officeDocument/2006/relationships/image" Target="../media/image79.svg"/></Relationships>
</file>

<file path=ppt/slides/_rels/slide84.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16.emf"/><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oleObject" Target="../embeddings/oleObject55.bin"/><Relationship Id="rId5" Type="http://schemas.openxmlformats.org/officeDocument/2006/relationships/notesSlide" Target="../notesSlides/notesSlide69.xml"/><Relationship Id="rId4"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3" Type="http://schemas.openxmlformats.org/officeDocument/2006/relationships/tags" Target="../tags/tag287.xml"/><Relationship Id="rId7" Type="http://schemas.openxmlformats.org/officeDocument/2006/relationships/image" Target="../media/image16.emf"/><Relationship Id="rId12" Type="http://schemas.openxmlformats.org/officeDocument/2006/relationships/image" Target="../media/image82.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oleObject" Target="../embeddings/oleObject55.bin"/><Relationship Id="rId11" Type="http://schemas.openxmlformats.org/officeDocument/2006/relationships/image" Target="../media/image81.svg"/><Relationship Id="rId5" Type="http://schemas.openxmlformats.org/officeDocument/2006/relationships/notesSlide" Target="../notesSlides/notesSlide70.xml"/><Relationship Id="rId10" Type="http://schemas.openxmlformats.org/officeDocument/2006/relationships/image" Target="../media/image80.png"/><Relationship Id="rId4" Type="http://schemas.openxmlformats.org/officeDocument/2006/relationships/slideLayout" Target="../slideLayouts/slideLayout2.xml"/><Relationship Id="rId9" Type="http://schemas.openxmlformats.org/officeDocument/2006/relationships/image" Target="../media/image79.svg"/></Relationships>
</file>

<file path=ppt/slides/_rels/slide86.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16.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55.bin"/><Relationship Id="rId5" Type="http://schemas.openxmlformats.org/officeDocument/2006/relationships/notesSlide" Target="../notesSlides/notesSlide71.xml"/><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5.svg"/><Relationship Id="rId3" Type="http://schemas.openxmlformats.org/officeDocument/2006/relationships/tags" Target="../tags/tag293.xml"/><Relationship Id="rId7" Type="http://schemas.openxmlformats.org/officeDocument/2006/relationships/image" Target="../media/image16.emf"/><Relationship Id="rId12" Type="http://schemas.openxmlformats.org/officeDocument/2006/relationships/image" Target="../media/image84.png"/><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oleObject" Target="../embeddings/oleObject55.bin"/><Relationship Id="rId11" Type="http://schemas.openxmlformats.org/officeDocument/2006/relationships/image" Target="../media/image83.svg"/><Relationship Id="rId5" Type="http://schemas.openxmlformats.org/officeDocument/2006/relationships/notesSlide" Target="../notesSlides/notesSlide72.xml"/><Relationship Id="rId15" Type="http://schemas.openxmlformats.org/officeDocument/2006/relationships/image" Target="../media/image81.svg"/><Relationship Id="rId10" Type="http://schemas.openxmlformats.org/officeDocument/2006/relationships/image" Target="../media/image82.png"/><Relationship Id="rId4" Type="http://schemas.openxmlformats.org/officeDocument/2006/relationships/slideLayout" Target="../slideLayouts/slideLayout2.xml"/><Relationship Id="rId9" Type="http://schemas.openxmlformats.org/officeDocument/2006/relationships/image" Target="../media/image79.svg"/><Relationship Id="rId14" Type="http://schemas.openxmlformats.org/officeDocument/2006/relationships/image" Target="../media/image80.png"/></Relationships>
</file>

<file path=ppt/slides/_rels/slide88.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16.emf"/><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oleObject" Target="../embeddings/oleObject55.bin"/><Relationship Id="rId5" Type="http://schemas.openxmlformats.org/officeDocument/2006/relationships/notesSlide" Target="../notesSlides/notesSlide73.xml"/><Relationship Id="rId4"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3" Type="http://schemas.openxmlformats.org/officeDocument/2006/relationships/tags" Target="../tags/tag299.xml"/><Relationship Id="rId7" Type="http://schemas.openxmlformats.org/officeDocument/2006/relationships/image" Target="../media/image16.emf"/><Relationship Id="rId12" Type="http://schemas.openxmlformats.org/officeDocument/2006/relationships/image" Target="../media/image82.png"/><Relationship Id="rId17" Type="http://schemas.openxmlformats.org/officeDocument/2006/relationships/image" Target="../media/image87.svg"/><Relationship Id="rId2" Type="http://schemas.openxmlformats.org/officeDocument/2006/relationships/tags" Target="../tags/tag298.xml"/><Relationship Id="rId16" Type="http://schemas.openxmlformats.org/officeDocument/2006/relationships/image" Target="../media/image86.png"/><Relationship Id="rId1" Type="http://schemas.openxmlformats.org/officeDocument/2006/relationships/tags" Target="../tags/tag297.xml"/><Relationship Id="rId6" Type="http://schemas.openxmlformats.org/officeDocument/2006/relationships/oleObject" Target="../embeddings/oleObject55.bin"/><Relationship Id="rId11" Type="http://schemas.openxmlformats.org/officeDocument/2006/relationships/image" Target="../media/image81.svg"/><Relationship Id="rId5" Type="http://schemas.openxmlformats.org/officeDocument/2006/relationships/notesSlide" Target="../notesSlides/notesSlide74.xml"/><Relationship Id="rId15" Type="http://schemas.openxmlformats.org/officeDocument/2006/relationships/image" Target="../media/image85.svg"/><Relationship Id="rId10" Type="http://schemas.openxmlformats.org/officeDocument/2006/relationships/image" Target="../media/image80.png"/><Relationship Id="rId4" Type="http://schemas.openxmlformats.org/officeDocument/2006/relationships/slideLayout" Target="../slideLayouts/slideLayout2.xml"/><Relationship Id="rId9" Type="http://schemas.openxmlformats.org/officeDocument/2006/relationships/image" Target="../media/image79.svg"/><Relationship Id="rId14" Type="http://schemas.openxmlformats.org/officeDocument/2006/relationships/image" Target="../media/image8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9.bin"/><Relationship Id="rId5" Type="http://schemas.openxmlformats.org/officeDocument/2006/relationships/chart" Target="../charts/chart7.xml"/><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image" Target="../media/image16.emf"/><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oleObject" Target="../embeddings/oleObject55.bin"/><Relationship Id="rId5" Type="http://schemas.openxmlformats.org/officeDocument/2006/relationships/notesSlide" Target="../notesSlides/notesSlide75.xml"/><Relationship Id="rId4"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image" Target="../media/image2.emf"/><Relationship Id="rId5" Type="http://schemas.openxmlformats.org/officeDocument/2006/relationships/oleObject" Target="../embeddings/oleObject56.bin"/><Relationship Id="rId4" Type="http://schemas.openxmlformats.org/officeDocument/2006/relationships/notesSlide" Target="../notesSlides/notesSlide7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notesSlide" Target="../notesSlides/notesSlide77.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notesSlide" Target="../notesSlides/notesSlide7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notesSlide" Target="../notesSlides/notesSlide79.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48.emf"/><Relationship Id="rId5" Type="http://schemas.openxmlformats.org/officeDocument/2006/relationships/oleObject" Target="../embeddings/oleObject60.bin"/><Relationship Id="rId4" Type="http://schemas.openxmlformats.org/officeDocument/2006/relationships/notesSlide" Target="../notesSlides/notesSlide80.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image" Target="../media/image48.emf"/><Relationship Id="rId5" Type="http://schemas.openxmlformats.org/officeDocument/2006/relationships/oleObject" Target="../embeddings/oleObject61.bin"/><Relationship Id="rId4" Type="http://schemas.openxmlformats.org/officeDocument/2006/relationships/notesSlide" Target="../notesSlides/notesSlide81.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88.emf"/><Relationship Id="rId5" Type="http://schemas.openxmlformats.org/officeDocument/2006/relationships/oleObject" Target="../embeddings/oleObject62.bin"/><Relationship Id="rId4" Type="http://schemas.openxmlformats.org/officeDocument/2006/relationships/notesSlide" Target="../notesSlides/notesSlide82.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notesSlide" Target="../notesSlides/notesSlide83.xml"/></Relationships>
</file>

<file path=ppt/slides/_rels/slide99.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slideLayout" Target="../slideLayouts/slideLayout2.xml"/><Relationship Id="rId7" Type="http://schemas.openxmlformats.org/officeDocument/2006/relationships/image" Target="../media/image89.png"/><Relationship Id="rId12" Type="http://schemas.openxmlformats.org/officeDocument/2006/relationships/image" Target="../media/image94.svg"/><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16.emf"/><Relationship Id="rId11" Type="http://schemas.openxmlformats.org/officeDocument/2006/relationships/image" Target="../media/image93.png"/><Relationship Id="rId5" Type="http://schemas.openxmlformats.org/officeDocument/2006/relationships/oleObject" Target="../embeddings/oleObject64.bin"/><Relationship Id="rId10" Type="http://schemas.openxmlformats.org/officeDocument/2006/relationships/image" Target="../media/image92.svg"/><Relationship Id="rId4" Type="http://schemas.openxmlformats.org/officeDocument/2006/relationships/notesSlide" Target="../notesSlides/notesSlide84.xml"/><Relationship Id="rId9" Type="http://schemas.openxmlformats.org/officeDocument/2006/relationships/image" Target="../media/image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2876D75-5F7D-4762-A4DC-7152E4006B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8" name="Objet 7" hidden="1">
                        <a:extLst>
                          <a:ext uri="{FF2B5EF4-FFF2-40B4-BE49-F238E27FC236}">
                            <a16:creationId xmlns:a16="http://schemas.microsoft.com/office/drawing/2014/main" id="{B2876D75-5F7D-4762-A4DC-7152E4006B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70706D2-D1F0-4B7B-B5AD-D04996A8B9DA}"/>
              </a:ext>
            </a:extLst>
          </p:cNvPr>
          <p:cNvSpPr/>
          <p:nvPr>
            <p:custDataLst>
              <p:tags r:id="rId2"/>
            </p:custDataLst>
          </p:nvPr>
        </p:nvSpPr>
        <p:spPr bwMode="auto">
          <a:xfrm>
            <a:off x="0" y="0"/>
            <a:ext cx="158750" cy="15875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34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3BA434C-67FF-4775-9E16-95A1098052BB}"/>
              </a:ext>
            </a:extLst>
          </p:cNvPr>
          <p:cNvSpPr>
            <a:spLocks noGrp="1"/>
          </p:cNvSpPr>
          <p:nvPr>
            <p:ph type="ctrTitle"/>
          </p:nvPr>
        </p:nvSpPr>
        <p:spPr>
          <a:xfrm>
            <a:off x="1137600" y="2200229"/>
            <a:ext cx="8388000" cy="521544"/>
          </a:xfrm>
        </p:spPr>
        <p:txBody>
          <a:bodyPr/>
          <a:lstStyle/>
          <a:p>
            <a:r>
              <a:rPr lang="en-GB" dirty="0"/>
              <a:t>Slide library</a:t>
            </a:r>
          </a:p>
        </p:txBody>
      </p:sp>
      <p:sp>
        <p:nvSpPr>
          <p:cNvPr id="3" name="Subtitle 2">
            <a:extLst>
              <a:ext uri="{FF2B5EF4-FFF2-40B4-BE49-F238E27FC236}">
                <a16:creationId xmlns:a16="http://schemas.microsoft.com/office/drawing/2014/main" id="{8DF671FE-810D-4C3D-8A93-BE209039CDC7}"/>
              </a:ext>
            </a:extLst>
          </p:cNvPr>
          <p:cNvSpPr>
            <a:spLocks noGrp="1"/>
          </p:cNvSpPr>
          <p:nvPr>
            <p:ph type="subTitle" idx="1"/>
          </p:nvPr>
        </p:nvSpPr>
        <p:spPr>
          <a:xfrm>
            <a:off x="1137600" y="2695002"/>
            <a:ext cx="8388000" cy="374906"/>
          </a:xfrm>
        </p:spPr>
        <p:txBody>
          <a:bodyPr/>
          <a:lstStyle/>
          <a:p>
            <a:r>
              <a:rPr lang="en-GB" dirty="0"/>
              <a:t>Argon &amp; Co</a:t>
            </a:r>
          </a:p>
        </p:txBody>
      </p:sp>
    </p:spTree>
    <p:extLst>
      <p:ext uri="{BB962C8B-B14F-4D97-AF65-F5344CB8AC3E}">
        <p14:creationId xmlns:p14="http://schemas.microsoft.com/office/powerpoint/2010/main" val="1779991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F152BDE-1CFC-48AA-B98F-4240A06BFFC5}"/>
              </a:ext>
            </a:extLst>
          </p:cNvPr>
          <p:cNvGraphicFramePr>
            <a:graphicFrameLocks noChangeAspect="1"/>
          </p:cNvGraphicFramePr>
          <p:nvPr>
            <p:custDataLst>
              <p:tags r:id="rId1"/>
            </p:custDataLst>
            <p:extLst>
              <p:ext uri="{D42A27DB-BD31-4B8C-83A1-F6EECF244321}">
                <p14:modId xmlns:p14="http://schemas.microsoft.com/office/powerpoint/2010/main" val="1531617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6" name="Objet 5" hidden="1">
                        <a:extLst>
                          <a:ext uri="{FF2B5EF4-FFF2-40B4-BE49-F238E27FC236}">
                            <a16:creationId xmlns:a16="http://schemas.microsoft.com/office/drawing/2014/main" id="{8F152BDE-1CFC-48AA-B98F-4240A06BFF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DECFF7-6226-4094-8353-318BA68B91C5}"/>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7CEE92C-44A6-4A5B-934D-5684880F0B58}"/>
              </a:ext>
            </a:extLst>
          </p:cNvPr>
          <p:cNvSpPr>
            <a:spLocks noGrp="1"/>
          </p:cNvSpPr>
          <p:nvPr>
            <p:ph type="title"/>
          </p:nvPr>
        </p:nvSpPr>
        <p:spPr/>
        <p:txBody>
          <a:bodyPr vert="horz"/>
          <a:lstStyle/>
          <a:p>
            <a:r>
              <a:rPr lang="en-GB" dirty="0"/>
              <a:t>Commentary and graph</a:t>
            </a:r>
          </a:p>
        </p:txBody>
      </p:sp>
      <p:sp>
        <p:nvSpPr>
          <p:cNvPr id="4" name="Content Placeholder 3">
            <a:extLst>
              <a:ext uri="{FF2B5EF4-FFF2-40B4-BE49-F238E27FC236}">
                <a16:creationId xmlns:a16="http://schemas.microsoft.com/office/drawing/2014/main" id="{04D329AC-2D0A-480B-99E5-A05FCAA4FDE5}"/>
              </a:ext>
            </a:extLst>
          </p:cNvPr>
          <p:cNvSpPr>
            <a:spLocks noGrp="1"/>
          </p:cNvSpPr>
          <p:nvPr>
            <p:ph idx="1"/>
          </p:nvPr>
        </p:nvSpPr>
        <p:spPr>
          <a:xfrm>
            <a:off x="432000" y="1162800"/>
            <a:ext cx="11340000" cy="1386772"/>
          </a:xfrm>
        </p:spPr>
        <p:txBody>
          <a:bodyPr/>
          <a:lstStyle/>
          <a:p>
            <a:pPr marL="285750" indent="-285750">
              <a:spcAft>
                <a:spcPts val="1200"/>
              </a:spcAft>
              <a:buClr>
                <a:srgbClr val="B40646"/>
              </a:buClr>
              <a:buSzPct val="82000"/>
              <a:buFont typeface="Wingdings 3" panose="05040102010807070707" pitchFamily="18" charset="2"/>
              <a:buChar char=""/>
            </a:pPr>
            <a:r>
              <a:rPr lang="en-GB">
                <a:latin typeface="+mn-lt"/>
              </a:rPr>
              <a:t>Text goes here</a:t>
            </a:r>
          </a:p>
          <a:p>
            <a:pPr marL="285750" indent="-285750">
              <a:spcAft>
                <a:spcPts val="1200"/>
              </a:spcAft>
              <a:buClr>
                <a:srgbClr val="B40646"/>
              </a:buClr>
              <a:buSzPct val="82000"/>
              <a:buFont typeface="Wingdings 3" panose="05040102010807070707" pitchFamily="18" charset="2"/>
              <a:buChar char=""/>
            </a:pPr>
            <a:r>
              <a:rPr lang="en-GB">
                <a:latin typeface="+mn-lt"/>
              </a:rPr>
              <a:t>More text goes here</a:t>
            </a:r>
          </a:p>
          <a:p>
            <a:pPr marL="285750" indent="-285750">
              <a:spcAft>
                <a:spcPts val="1200"/>
              </a:spcAft>
              <a:buClr>
                <a:srgbClr val="B40646"/>
              </a:buClr>
              <a:buSzPct val="82000"/>
              <a:buFont typeface="Wingdings 3" panose="05040102010807070707" pitchFamily="18" charset="2"/>
              <a:buChar char=""/>
            </a:pPr>
            <a:r>
              <a:rPr lang="en-GB">
                <a:latin typeface="+mn-lt"/>
              </a:rPr>
              <a:t>Even more text goes here</a:t>
            </a:r>
            <a:endParaRPr lang="en-GB" dirty="0">
              <a:latin typeface="+mn-lt"/>
            </a:endParaRPr>
          </a:p>
        </p:txBody>
      </p:sp>
      <p:graphicFrame>
        <p:nvGraphicFramePr>
          <p:cNvPr id="8" name="Content Placeholder 7">
            <a:extLst>
              <a:ext uri="{FF2B5EF4-FFF2-40B4-BE49-F238E27FC236}">
                <a16:creationId xmlns:a16="http://schemas.microsoft.com/office/drawing/2014/main" id="{5AF2F949-2075-4927-B517-0E73DD540E72}"/>
              </a:ext>
            </a:extLst>
          </p:cNvPr>
          <p:cNvGraphicFramePr>
            <a:graphicFrameLocks noGrp="1"/>
          </p:cNvGraphicFramePr>
          <p:nvPr>
            <p:ph sz="half" idx="4294967295"/>
            <p:extLst>
              <p:ext uri="{D42A27DB-BD31-4B8C-83A1-F6EECF244321}">
                <p14:modId xmlns:p14="http://schemas.microsoft.com/office/powerpoint/2010/main" val="18937425"/>
              </p:ext>
            </p:extLst>
          </p:nvPr>
        </p:nvGraphicFramePr>
        <p:xfrm>
          <a:off x="4253948" y="1265413"/>
          <a:ext cx="7337660" cy="4865039"/>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A1B65900-3491-469B-AD19-106AB03FDC9F}"/>
              </a:ext>
            </a:extLst>
          </p:cNvPr>
          <p:cNvSpPr txBox="1"/>
          <p:nvPr/>
        </p:nvSpPr>
        <p:spPr>
          <a:xfrm>
            <a:off x="9723927" y="1009810"/>
            <a:ext cx="1829027" cy="215444"/>
          </a:xfrm>
          <a:prstGeom prst="rect">
            <a:avLst/>
          </a:prstGeom>
          <a:noFill/>
        </p:spPr>
        <p:txBody>
          <a:bodyPr wrap="none" lIns="0" tIns="0" rIns="0" bIns="0" rtlCol="0">
            <a:spAutoFit/>
          </a:bodyPr>
          <a:lstStyle/>
          <a:p>
            <a:pPr algn="r"/>
            <a:r>
              <a:rPr lang="en-GB">
                <a:solidFill>
                  <a:schemeClr val="bg1">
                    <a:lumMod val="65000"/>
                  </a:schemeClr>
                </a:solidFill>
                <a:latin typeface="+mn-lt"/>
              </a:rPr>
              <a:t>Graph title or other text</a:t>
            </a:r>
            <a:endParaRPr lang="en-GB" dirty="0">
              <a:solidFill>
                <a:schemeClr val="bg1">
                  <a:lumMod val="65000"/>
                </a:schemeClr>
              </a:solidFill>
              <a:latin typeface="+mn-lt"/>
            </a:endParaRPr>
          </a:p>
        </p:txBody>
      </p:sp>
    </p:spTree>
    <p:extLst>
      <p:ext uri="{BB962C8B-B14F-4D97-AF65-F5344CB8AC3E}">
        <p14:creationId xmlns:p14="http://schemas.microsoft.com/office/powerpoint/2010/main" val="195539553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2E84FBB-B4DB-4758-8651-8D5EFBB174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5" name="Objet 4" hidden="1">
                        <a:extLst>
                          <a:ext uri="{FF2B5EF4-FFF2-40B4-BE49-F238E27FC236}">
                            <a16:creationId xmlns:a16="http://schemas.microsoft.com/office/drawing/2014/main" id="{02E84FBB-B4DB-4758-8651-8D5EFBB17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BD7CC5-F134-4826-9D8B-880A2FE18FF3}"/>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35C649DE-29D9-4A11-8E68-1CCF8A351F4D}"/>
              </a:ext>
            </a:extLst>
          </p:cNvPr>
          <p:cNvSpPr>
            <a:spLocks noGrp="1"/>
          </p:cNvSpPr>
          <p:nvPr>
            <p:ph type="title"/>
          </p:nvPr>
        </p:nvSpPr>
        <p:spPr/>
        <p:txBody>
          <a:bodyPr/>
          <a:lstStyle/>
          <a:p>
            <a:r>
              <a:rPr lang="en-GB"/>
              <a:t>Slide message – in/out scope</a:t>
            </a:r>
            <a:endParaRPr lang="en-GB" dirty="0"/>
          </a:p>
        </p:txBody>
      </p:sp>
      <p:sp>
        <p:nvSpPr>
          <p:cNvPr id="14" name="Content Placeholder 13"/>
          <p:cNvSpPr>
            <a:spLocks noGrp="1"/>
          </p:cNvSpPr>
          <p:nvPr>
            <p:ph idx="1"/>
          </p:nvPr>
        </p:nvSpPr>
        <p:spPr>
          <a:xfrm>
            <a:off x="432000" y="1162800"/>
            <a:ext cx="11340000" cy="422405"/>
          </a:xfrm>
        </p:spPr>
        <p:txBody>
          <a:bodyPr/>
          <a:lstStyle/>
          <a:p>
            <a:pPr lvl="0">
              <a:spcAft>
                <a:spcPts val="1200"/>
              </a:spcAft>
              <a:defRPr/>
            </a:pPr>
            <a:r>
              <a:rPr lang="en-GB" kern="0">
                <a:latin typeface="+mn-lt"/>
              </a:rPr>
              <a:t>Lorem ipsum dolor sit amet, consectetur adipiscing elit. </a:t>
            </a:r>
            <a:endParaRPr lang="en-GB" kern="0" dirty="0">
              <a:latin typeface="+mn-lt"/>
            </a:endParaRPr>
          </a:p>
        </p:txBody>
      </p:sp>
      <p:graphicFrame>
        <p:nvGraphicFramePr>
          <p:cNvPr id="2" name="Table 1"/>
          <p:cNvGraphicFramePr>
            <a:graphicFrameLocks noGrp="1"/>
          </p:cNvGraphicFramePr>
          <p:nvPr>
            <p:extLst>
              <p:ext uri="{D42A27DB-BD31-4B8C-83A1-F6EECF244321}">
                <p14:modId xmlns:p14="http://schemas.microsoft.com/office/powerpoint/2010/main" val="2807254083"/>
              </p:ext>
            </p:extLst>
          </p:nvPr>
        </p:nvGraphicFramePr>
        <p:xfrm>
          <a:off x="1997176" y="1949506"/>
          <a:ext cx="8230442" cy="3697481"/>
        </p:xfrm>
        <a:graphic>
          <a:graphicData uri="http://schemas.openxmlformats.org/drawingml/2006/table">
            <a:tbl>
              <a:tblPr firstRow="1" bandRow="1">
                <a:tableStyleId>{5C22544A-7EE6-4342-B048-85BDC9FD1C3A}</a:tableStyleId>
              </a:tblPr>
              <a:tblGrid>
                <a:gridCol w="4115221">
                  <a:extLst>
                    <a:ext uri="{9D8B030D-6E8A-4147-A177-3AD203B41FA5}">
                      <a16:colId xmlns:a16="http://schemas.microsoft.com/office/drawing/2014/main" val="20000"/>
                    </a:ext>
                  </a:extLst>
                </a:gridCol>
                <a:gridCol w="4115221">
                  <a:extLst>
                    <a:ext uri="{9D8B030D-6E8A-4147-A177-3AD203B41FA5}">
                      <a16:colId xmlns:a16="http://schemas.microsoft.com/office/drawing/2014/main" val="20001"/>
                    </a:ext>
                  </a:extLst>
                </a:gridCol>
              </a:tblGrid>
              <a:tr h="760912">
                <a:tc>
                  <a:txBody>
                    <a:bodyPr/>
                    <a:lstStyle/>
                    <a:p>
                      <a:pPr algn="ctr"/>
                      <a:r>
                        <a:rPr lang="en-GB" sz="1800" b="1" dirty="0">
                          <a:solidFill>
                            <a:schemeClr val="bg1"/>
                          </a:solidFill>
                          <a:latin typeface="+mn-lt"/>
                        </a:rPr>
                        <a:t>In scope</a:t>
                      </a:r>
                    </a:p>
                  </a:txBody>
                  <a:tcPr marL="69850" marR="69850" marT="69850" marB="6985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tc>
                  <a:txBody>
                    <a:bodyPr/>
                    <a:lstStyle/>
                    <a:p>
                      <a:pPr algn="ctr"/>
                      <a:r>
                        <a:rPr lang="en-GB" sz="1800" b="1" dirty="0">
                          <a:solidFill>
                            <a:schemeClr val="bg1"/>
                          </a:solidFill>
                          <a:latin typeface="+mn-lt"/>
                        </a:rPr>
                        <a:t>Out of scope</a:t>
                      </a:r>
                    </a:p>
                  </a:txBody>
                  <a:tcPr marL="69850" marR="69850" marT="69850" marB="6985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936569">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txBody>
                  <a:tcPr marL="69850" marR="69850" marT="69850" marB="6985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solidFill>
                  </a:tcPr>
                </a:tc>
                <a:tc>
                  <a:txBody>
                    <a:bodyPr/>
                    <a:lstStyle/>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txBody>
                  <a:tcPr marL="69850" marR="69850" marT="69850" marB="6985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5567417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two themes and two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1725478551"/>
              </p:ext>
            </p:extLst>
          </p:nvPr>
        </p:nvGraphicFramePr>
        <p:xfrm>
          <a:off x="1030592" y="2113765"/>
          <a:ext cx="10130816" cy="3705422"/>
        </p:xfrm>
        <a:graphic>
          <a:graphicData uri="http://schemas.openxmlformats.org/drawingml/2006/table">
            <a:tbl>
              <a:tblPr firstRow="1" bandRow="1">
                <a:tableStyleId>{5C22544A-7EE6-4342-B048-85BDC9FD1C3A}</a:tableStyleId>
              </a:tblPr>
              <a:tblGrid>
                <a:gridCol w="2804006">
                  <a:extLst>
                    <a:ext uri="{9D8B030D-6E8A-4147-A177-3AD203B41FA5}">
                      <a16:colId xmlns:a16="http://schemas.microsoft.com/office/drawing/2014/main" val="2648413256"/>
                    </a:ext>
                  </a:extLst>
                </a:gridCol>
                <a:gridCol w="3663405">
                  <a:extLst>
                    <a:ext uri="{9D8B030D-6E8A-4147-A177-3AD203B41FA5}">
                      <a16:colId xmlns:a16="http://schemas.microsoft.com/office/drawing/2014/main" val="661628817"/>
                    </a:ext>
                  </a:extLst>
                </a:gridCol>
                <a:gridCol w="3663405">
                  <a:extLst>
                    <a:ext uri="{9D8B030D-6E8A-4147-A177-3AD203B41FA5}">
                      <a16:colId xmlns:a16="http://schemas.microsoft.com/office/drawing/2014/main" val="837203000"/>
                    </a:ext>
                  </a:extLst>
                </a:gridCol>
              </a:tblGrid>
              <a:tr h="455990">
                <a:tc>
                  <a:txBody>
                    <a:bodyPr/>
                    <a:lstStyle/>
                    <a:p>
                      <a:endParaRPr lang="en-GB" sz="16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dirty="0">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624716">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dirty="0">
                          <a:solidFill>
                            <a:schemeClr val="bg1"/>
                          </a:solidFill>
                          <a:latin typeface="+mn-lt"/>
                        </a:rPr>
                        <a:t>Lorem ipsum</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Lorem ipsum dolor sit amet, consectetur adipiscing elit</a:t>
                      </a: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Lorem ipsum dolor sit amet, consectetur adipiscing elit</a:t>
                      </a: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Lorem ipsum dolor sit amet, consectetur adipiscing elit </a:t>
                      </a:r>
                    </a:p>
                    <a:p>
                      <a:pPr marL="180000" indent="-180000" algn="l" defTabSz="1125444" rtl="0" eaLnBrk="0" fontAlgn="base" latinLnBrk="0" hangingPunct="0">
                        <a:spcBef>
                          <a:spcPct val="50000"/>
                        </a:spcBef>
                        <a:spcAft>
                          <a:spcPct val="0"/>
                        </a:spcAft>
                        <a:buClr>
                          <a:schemeClr val="accent3"/>
                        </a:buClr>
                        <a:buSzPct val="77000"/>
                        <a:buFont typeface="Wingdings 3" panose="05040102010807070707" pitchFamily="18" charset="2"/>
                        <a:buNone/>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624716">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endParaRPr lang="en-GB" sz="1400" kern="1200" dirty="0">
                        <a:solidFill>
                          <a:schemeClr val="tx1"/>
                        </a:solidFill>
                        <a:latin typeface="+mn-lt"/>
                        <a:ea typeface="+mn-ea"/>
                        <a:cs typeface="+mn-cs"/>
                      </a:endParaRPr>
                    </a:p>
                    <a:p>
                      <a:pPr marL="180000" lvl="1" indent="-180000" algn="l" defTabSz="1125444" rtl="0" eaLnBrk="1" fontAlgn="base"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adipiscing</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elit</a:t>
                      </a:r>
                      <a:r>
                        <a:rPr lang="en-GB" sz="1400" kern="1200" dirty="0">
                          <a:solidFill>
                            <a:schemeClr val="tx1"/>
                          </a:solidFill>
                          <a:latin typeface="+mn-lt"/>
                          <a:ea typeface="+mn-ea"/>
                          <a:cs typeface="+mn-cs"/>
                        </a:rPr>
                        <a:t> </a:t>
                      </a:r>
                    </a:p>
                    <a:p>
                      <a:pPr marL="180000" indent="-180000"/>
                      <a:endParaRPr lang="en-GB" sz="1600" dirty="0">
                        <a:solidFill>
                          <a:schemeClr val="tx1"/>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dirty="0">
                          <a:solidFill>
                            <a:schemeClr val="tx1"/>
                          </a:solidFill>
                          <a:latin typeface="+mn-lt"/>
                          <a:ea typeface="+mn-ea"/>
                          <a:cs typeface="+mn-cs"/>
                        </a:rPr>
                        <a:t>Lorem ipsum </a:t>
                      </a:r>
                      <a:r>
                        <a:rPr lang="en-GB" sz="1400" kern="1200" noProof="0" dirty="0" err="1">
                          <a:solidFill>
                            <a:schemeClr val="tx1"/>
                          </a:solidFill>
                          <a:latin typeface="+mn-lt"/>
                          <a:ea typeface="+mn-ea"/>
                          <a:cs typeface="+mn-cs"/>
                        </a:rPr>
                        <a:t>dolor</a:t>
                      </a:r>
                      <a:r>
                        <a:rPr lang="en-GB" sz="1400" kern="1200" noProof="0" dirty="0">
                          <a:solidFill>
                            <a:schemeClr val="tx1"/>
                          </a:solidFill>
                          <a:latin typeface="+mn-lt"/>
                          <a:ea typeface="+mn-ea"/>
                          <a:cs typeface="+mn-cs"/>
                        </a:rPr>
                        <a:t> sit </a:t>
                      </a:r>
                      <a:r>
                        <a:rPr lang="en-GB" sz="1400" kern="1200" noProof="0" dirty="0" err="1">
                          <a:solidFill>
                            <a:schemeClr val="tx1"/>
                          </a:solidFill>
                          <a:latin typeface="+mn-lt"/>
                          <a:ea typeface="+mn-ea"/>
                          <a:cs typeface="+mn-cs"/>
                        </a:rPr>
                        <a:t>amet</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consectetur</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adipiscing</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elit</a:t>
                      </a:r>
                      <a:endParaRPr lang="en-GB" sz="1400" kern="1200" noProof="0" dirty="0">
                        <a:solidFill>
                          <a:schemeClr val="tx1"/>
                        </a:solidFill>
                        <a:latin typeface="+mn-lt"/>
                        <a:ea typeface="+mn-ea"/>
                        <a:cs typeface="+mn-cs"/>
                      </a:endParaRP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dirty="0">
                          <a:solidFill>
                            <a:schemeClr val="tx1"/>
                          </a:solidFill>
                          <a:latin typeface="+mn-lt"/>
                          <a:ea typeface="+mn-ea"/>
                          <a:cs typeface="+mn-cs"/>
                        </a:rPr>
                        <a:t>Lorem ipsum </a:t>
                      </a:r>
                      <a:r>
                        <a:rPr lang="en-GB" sz="1400" kern="1200" noProof="0" dirty="0" err="1">
                          <a:solidFill>
                            <a:schemeClr val="tx1"/>
                          </a:solidFill>
                          <a:latin typeface="+mn-lt"/>
                          <a:ea typeface="+mn-ea"/>
                          <a:cs typeface="+mn-cs"/>
                        </a:rPr>
                        <a:t>dolor</a:t>
                      </a:r>
                      <a:r>
                        <a:rPr lang="en-GB" sz="1400" kern="1200" noProof="0" dirty="0">
                          <a:solidFill>
                            <a:schemeClr val="tx1"/>
                          </a:solidFill>
                          <a:latin typeface="+mn-lt"/>
                          <a:ea typeface="+mn-ea"/>
                          <a:cs typeface="+mn-cs"/>
                        </a:rPr>
                        <a:t> sit </a:t>
                      </a:r>
                      <a:r>
                        <a:rPr lang="en-GB" sz="1400" kern="1200" noProof="0" dirty="0" err="1">
                          <a:solidFill>
                            <a:schemeClr val="tx1"/>
                          </a:solidFill>
                          <a:latin typeface="+mn-lt"/>
                          <a:ea typeface="+mn-ea"/>
                          <a:cs typeface="+mn-cs"/>
                        </a:rPr>
                        <a:t>amet</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consectetur</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adipiscing</a:t>
                      </a:r>
                      <a:r>
                        <a:rPr lang="en-GB" sz="1400" kern="1200" noProof="0" dirty="0">
                          <a:solidFill>
                            <a:schemeClr val="tx1"/>
                          </a:solidFill>
                          <a:latin typeface="+mn-lt"/>
                          <a:ea typeface="+mn-ea"/>
                          <a:cs typeface="+mn-cs"/>
                        </a:rPr>
                        <a:t> </a:t>
                      </a:r>
                      <a:r>
                        <a:rPr lang="en-GB" sz="1400" kern="1200" noProof="0" dirty="0" err="1">
                          <a:solidFill>
                            <a:schemeClr val="tx1"/>
                          </a:solidFill>
                          <a:latin typeface="+mn-lt"/>
                          <a:ea typeface="+mn-ea"/>
                          <a:cs typeface="+mn-cs"/>
                        </a:rPr>
                        <a:t>elit</a:t>
                      </a:r>
                      <a:r>
                        <a:rPr lang="en-GB" sz="1400" kern="1200" noProof="0" dirty="0">
                          <a:solidFill>
                            <a:schemeClr val="tx1"/>
                          </a:solidFill>
                          <a:latin typeface="+mn-lt"/>
                          <a:ea typeface="+mn-ea"/>
                          <a:cs typeface="+mn-cs"/>
                        </a:rPr>
                        <a:t> </a:t>
                      </a: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bl>
          </a:graphicData>
        </a:graphic>
      </p:graphicFrame>
      <p:pic>
        <p:nvPicPr>
          <p:cNvPr id="6" name="virus">
            <a:extLst>
              <a:ext uri="{FF2B5EF4-FFF2-40B4-BE49-F238E27FC236}">
                <a16:creationId xmlns:a16="http://schemas.microsoft.com/office/drawing/2014/main" id="{4BFDF7FF-3C23-4D14-8264-0F07F1A497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6693" y="5078173"/>
            <a:ext cx="504940" cy="525138"/>
          </a:xfrm>
          <a:prstGeom prst="rect">
            <a:avLst/>
          </a:prstGeom>
        </p:spPr>
      </p:pic>
      <p:pic>
        <p:nvPicPr>
          <p:cNvPr id="8" name="computer">
            <a:extLst>
              <a:ext uri="{FF2B5EF4-FFF2-40B4-BE49-F238E27FC236}">
                <a16:creationId xmlns:a16="http://schemas.microsoft.com/office/drawing/2014/main" id="{FFF8371A-57A6-4BAD-BB10-AD3C56882E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65392" y="3530004"/>
            <a:ext cx="456241" cy="472536"/>
          </a:xfrm>
          <a:prstGeom prst="rect">
            <a:avLst/>
          </a:prstGeom>
        </p:spPr>
      </p:pic>
    </p:spTree>
    <p:extLst>
      <p:ext uri="{BB962C8B-B14F-4D97-AF65-F5344CB8AC3E}">
        <p14:creationId xmlns:p14="http://schemas.microsoft.com/office/powerpoint/2010/main" val="416806836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three themes and two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2119775888"/>
              </p:ext>
            </p:extLst>
          </p:nvPr>
        </p:nvGraphicFramePr>
        <p:xfrm>
          <a:off x="1030592" y="1500997"/>
          <a:ext cx="10130816" cy="4636133"/>
        </p:xfrm>
        <a:graphic>
          <a:graphicData uri="http://schemas.openxmlformats.org/drawingml/2006/table">
            <a:tbl>
              <a:tblPr firstRow="1" bandRow="1">
                <a:tableStyleId>{5C22544A-7EE6-4342-B048-85BDC9FD1C3A}</a:tableStyleId>
              </a:tblPr>
              <a:tblGrid>
                <a:gridCol w="2804006">
                  <a:extLst>
                    <a:ext uri="{9D8B030D-6E8A-4147-A177-3AD203B41FA5}">
                      <a16:colId xmlns:a16="http://schemas.microsoft.com/office/drawing/2014/main" val="2648413256"/>
                    </a:ext>
                  </a:extLst>
                </a:gridCol>
                <a:gridCol w="3663405">
                  <a:extLst>
                    <a:ext uri="{9D8B030D-6E8A-4147-A177-3AD203B41FA5}">
                      <a16:colId xmlns:a16="http://schemas.microsoft.com/office/drawing/2014/main" val="661628817"/>
                    </a:ext>
                  </a:extLst>
                </a:gridCol>
                <a:gridCol w="3663405">
                  <a:extLst>
                    <a:ext uri="{9D8B030D-6E8A-4147-A177-3AD203B41FA5}">
                      <a16:colId xmlns:a16="http://schemas.microsoft.com/office/drawing/2014/main" val="837203000"/>
                    </a:ext>
                  </a:extLst>
                </a:gridCol>
              </a:tblGrid>
              <a:tr h="366593">
                <a:tc>
                  <a:txBody>
                    <a:bodyPr/>
                    <a:lstStyle/>
                    <a:p>
                      <a:endParaRPr lang="en-GB" sz="18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kern="1200">
                          <a:solidFill>
                            <a:schemeClr val="bg1"/>
                          </a:solidFill>
                          <a:latin typeface="+mn-lt"/>
                          <a:ea typeface="+mn-ea"/>
                          <a:cs typeface="+mn-cs"/>
                        </a:rPr>
                        <a:t>Lorem ipsum</a:t>
                      </a:r>
                      <a:endParaRPr lang="en-GB" sz="1800" b="1" kern="1200" dirty="0">
                        <a:solidFill>
                          <a:schemeClr val="bg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8974438"/>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indent="-180000">
                        <a:spcBef>
                          <a:spcPts val="840"/>
                        </a:spcBef>
                        <a:spcAft>
                          <a:spcPts val="400"/>
                        </a:spcAft>
                      </a:pPr>
                      <a:endParaRPr lang="en-GB" sz="1600" dirty="0">
                        <a:solidFill>
                          <a:schemeClr val="tx1"/>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bl>
          </a:graphicData>
        </a:graphic>
      </p:graphicFrame>
      <p:pic>
        <p:nvPicPr>
          <p:cNvPr id="9" name="Graphique 8">
            <a:extLst>
              <a:ext uri="{FF2B5EF4-FFF2-40B4-BE49-F238E27FC236}">
                <a16:creationId xmlns:a16="http://schemas.microsoft.com/office/drawing/2014/main" id="{5E382E66-83AC-4230-B130-F7CB0378A8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7727" y="5328144"/>
            <a:ext cx="334694" cy="641496"/>
          </a:xfrm>
          <a:prstGeom prst="rect">
            <a:avLst/>
          </a:prstGeom>
        </p:spPr>
      </p:pic>
      <p:pic>
        <p:nvPicPr>
          <p:cNvPr id="11" name="Graphique 10">
            <a:extLst>
              <a:ext uri="{FF2B5EF4-FFF2-40B4-BE49-F238E27FC236}">
                <a16:creationId xmlns:a16="http://schemas.microsoft.com/office/drawing/2014/main" id="{11DF00FB-FCB5-4AEB-BAE6-AE9D6B5C7B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14569" y="2652562"/>
            <a:ext cx="461010" cy="472536"/>
          </a:xfrm>
          <a:prstGeom prst="rect">
            <a:avLst/>
          </a:prstGeom>
        </p:spPr>
      </p:pic>
      <p:pic>
        <p:nvPicPr>
          <p:cNvPr id="12" name="Graphique 11">
            <a:extLst>
              <a:ext uri="{FF2B5EF4-FFF2-40B4-BE49-F238E27FC236}">
                <a16:creationId xmlns:a16="http://schemas.microsoft.com/office/drawing/2014/main" id="{3FC5B667-B12D-4B76-92E7-E19E255415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92604" y="4014094"/>
            <a:ext cx="504941" cy="525138"/>
          </a:xfrm>
          <a:prstGeom prst="rect">
            <a:avLst/>
          </a:prstGeom>
        </p:spPr>
      </p:pic>
    </p:spTree>
    <p:extLst>
      <p:ext uri="{BB962C8B-B14F-4D97-AF65-F5344CB8AC3E}">
        <p14:creationId xmlns:p14="http://schemas.microsoft.com/office/powerpoint/2010/main" val="338071627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four themes and two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3414024796"/>
              </p:ext>
            </p:extLst>
          </p:nvPr>
        </p:nvGraphicFramePr>
        <p:xfrm>
          <a:off x="1030592" y="1500997"/>
          <a:ext cx="10130816" cy="4749120"/>
        </p:xfrm>
        <a:graphic>
          <a:graphicData uri="http://schemas.openxmlformats.org/drawingml/2006/table">
            <a:tbl>
              <a:tblPr firstRow="1" bandRow="1">
                <a:tableStyleId>{5C22544A-7EE6-4342-B048-85BDC9FD1C3A}</a:tableStyleId>
              </a:tblPr>
              <a:tblGrid>
                <a:gridCol w="2804008">
                  <a:extLst>
                    <a:ext uri="{9D8B030D-6E8A-4147-A177-3AD203B41FA5}">
                      <a16:colId xmlns:a16="http://schemas.microsoft.com/office/drawing/2014/main" val="2648413256"/>
                    </a:ext>
                  </a:extLst>
                </a:gridCol>
                <a:gridCol w="3663404">
                  <a:extLst>
                    <a:ext uri="{9D8B030D-6E8A-4147-A177-3AD203B41FA5}">
                      <a16:colId xmlns:a16="http://schemas.microsoft.com/office/drawing/2014/main" val="661628817"/>
                    </a:ext>
                  </a:extLst>
                </a:gridCol>
                <a:gridCol w="3663404">
                  <a:extLst>
                    <a:ext uri="{9D8B030D-6E8A-4147-A177-3AD203B41FA5}">
                      <a16:colId xmlns:a16="http://schemas.microsoft.com/office/drawing/2014/main" val="837203000"/>
                    </a:ext>
                  </a:extLst>
                </a:gridCol>
              </a:tblGrid>
              <a:tr h="350798">
                <a:tc>
                  <a:txBody>
                    <a:bodyPr/>
                    <a:lstStyle/>
                    <a:p>
                      <a:endParaRPr lang="en-GB" sz="16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kern="1200">
                          <a:solidFill>
                            <a:schemeClr val="bg1"/>
                          </a:solidFill>
                          <a:latin typeface="+mn-lt"/>
                          <a:ea typeface="+mn-ea"/>
                          <a:cs typeface="+mn-cs"/>
                        </a:rPr>
                        <a:t>Lorem ipsum</a:t>
                      </a:r>
                      <a:endParaRPr lang="en-GB" sz="1800" b="1" kern="1200" dirty="0">
                        <a:solidFill>
                          <a:schemeClr val="bg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8974438"/>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2156315"/>
                  </a:ext>
                </a:extLst>
              </a:tr>
            </a:tbl>
          </a:graphicData>
        </a:graphic>
      </p:graphicFrame>
      <p:pic>
        <p:nvPicPr>
          <p:cNvPr id="10" name="Graphique 9">
            <a:extLst>
              <a:ext uri="{FF2B5EF4-FFF2-40B4-BE49-F238E27FC236}">
                <a16:creationId xmlns:a16="http://schemas.microsoft.com/office/drawing/2014/main" id="{E9651BCB-A3EF-4A23-91DE-45A17775623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13773" y="4446599"/>
            <a:ext cx="276606" cy="530162"/>
          </a:xfrm>
          <a:prstGeom prst="rect">
            <a:avLst/>
          </a:prstGeom>
        </p:spPr>
      </p:pic>
      <p:pic>
        <p:nvPicPr>
          <p:cNvPr id="12" name="Graphique 11">
            <a:extLst>
              <a:ext uri="{FF2B5EF4-FFF2-40B4-BE49-F238E27FC236}">
                <a16:creationId xmlns:a16="http://schemas.microsoft.com/office/drawing/2014/main" id="{F467168F-5ADD-4A3F-AB8A-EC1305CDBF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61576" y="2430999"/>
            <a:ext cx="381000" cy="390525"/>
          </a:xfrm>
          <a:prstGeom prst="rect">
            <a:avLst/>
          </a:prstGeom>
        </p:spPr>
      </p:pic>
      <p:pic>
        <p:nvPicPr>
          <p:cNvPr id="13" name="Graphique 12">
            <a:extLst>
              <a:ext uri="{FF2B5EF4-FFF2-40B4-BE49-F238E27FC236}">
                <a16:creationId xmlns:a16="http://schemas.microsoft.com/office/drawing/2014/main" id="{22F304B9-0392-460C-863D-E37107BB78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43423" y="3480205"/>
            <a:ext cx="417306" cy="433998"/>
          </a:xfrm>
          <a:prstGeom prst="rect">
            <a:avLst/>
          </a:prstGeom>
        </p:spPr>
      </p:pic>
      <p:pic>
        <p:nvPicPr>
          <p:cNvPr id="6" name="Graphique 5">
            <a:extLst>
              <a:ext uri="{FF2B5EF4-FFF2-40B4-BE49-F238E27FC236}">
                <a16:creationId xmlns:a16="http://schemas.microsoft.com/office/drawing/2014/main" id="{1ED0E714-F817-4840-A883-DEE2AAFD60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2817" y="5900624"/>
            <a:ext cx="478518" cy="188181"/>
          </a:xfrm>
          <a:prstGeom prst="rect">
            <a:avLst/>
          </a:prstGeom>
        </p:spPr>
      </p:pic>
    </p:spTree>
    <p:extLst>
      <p:ext uri="{BB962C8B-B14F-4D97-AF65-F5344CB8AC3E}">
        <p14:creationId xmlns:p14="http://schemas.microsoft.com/office/powerpoint/2010/main" val="57748137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two themes and three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378389112"/>
              </p:ext>
            </p:extLst>
          </p:nvPr>
        </p:nvGraphicFramePr>
        <p:xfrm>
          <a:off x="1030592" y="1895325"/>
          <a:ext cx="10367107" cy="3705422"/>
        </p:xfrm>
        <a:graphic>
          <a:graphicData uri="http://schemas.openxmlformats.org/drawingml/2006/table">
            <a:tbl>
              <a:tblPr firstRow="1" bandRow="1">
                <a:tableStyleId>{5C22544A-7EE6-4342-B048-85BDC9FD1C3A}</a:tableStyleId>
              </a:tblPr>
              <a:tblGrid>
                <a:gridCol w="2107363">
                  <a:extLst>
                    <a:ext uri="{9D8B030D-6E8A-4147-A177-3AD203B41FA5}">
                      <a16:colId xmlns:a16="http://schemas.microsoft.com/office/drawing/2014/main" val="2648413256"/>
                    </a:ext>
                  </a:extLst>
                </a:gridCol>
                <a:gridCol w="2753248">
                  <a:extLst>
                    <a:ext uri="{9D8B030D-6E8A-4147-A177-3AD203B41FA5}">
                      <a16:colId xmlns:a16="http://schemas.microsoft.com/office/drawing/2014/main" val="661628817"/>
                    </a:ext>
                  </a:extLst>
                </a:gridCol>
                <a:gridCol w="2753248">
                  <a:extLst>
                    <a:ext uri="{9D8B030D-6E8A-4147-A177-3AD203B41FA5}">
                      <a16:colId xmlns:a16="http://schemas.microsoft.com/office/drawing/2014/main" val="837203000"/>
                    </a:ext>
                  </a:extLst>
                </a:gridCol>
                <a:gridCol w="2753248">
                  <a:extLst>
                    <a:ext uri="{9D8B030D-6E8A-4147-A177-3AD203B41FA5}">
                      <a16:colId xmlns:a16="http://schemas.microsoft.com/office/drawing/2014/main" val="3717165310"/>
                    </a:ext>
                  </a:extLst>
                </a:gridCol>
              </a:tblGrid>
              <a:tr h="455990">
                <a:tc>
                  <a:txBody>
                    <a:bodyPr/>
                    <a:lstStyle/>
                    <a:p>
                      <a:endParaRPr lang="en-GB" sz="18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624716">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624716">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bl>
          </a:graphicData>
        </a:graphic>
      </p:graphicFrame>
      <p:pic>
        <p:nvPicPr>
          <p:cNvPr id="10" name="Graphique 9">
            <a:extLst>
              <a:ext uri="{FF2B5EF4-FFF2-40B4-BE49-F238E27FC236}">
                <a16:creationId xmlns:a16="http://schemas.microsoft.com/office/drawing/2014/main" id="{8AB960EF-3B30-471F-94DC-415ACF88D7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49378" y="3429000"/>
            <a:ext cx="461010" cy="472536"/>
          </a:xfrm>
          <a:prstGeom prst="rect">
            <a:avLst/>
          </a:prstGeom>
        </p:spPr>
      </p:pic>
      <p:pic>
        <p:nvPicPr>
          <p:cNvPr id="11" name="Graphique 10">
            <a:extLst>
              <a:ext uri="{FF2B5EF4-FFF2-40B4-BE49-F238E27FC236}">
                <a16:creationId xmlns:a16="http://schemas.microsoft.com/office/drawing/2014/main" id="{0230C1E2-819B-4330-89A9-3BA76ED699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27413" y="4967932"/>
            <a:ext cx="504941" cy="525138"/>
          </a:xfrm>
          <a:prstGeom prst="rect">
            <a:avLst/>
          </a:prstGeom>
        </p:spPr>
      </p:pic>
    </p:spTree>
    <p:extLst>
      <p:ext uri="{BB962C8B-B14F-4D97-AF65-F5344CB8AC3E}">
        <p14:creationId xmlns:p14="http://schemas.microsoft.com/office/powerpoint/2010/main" val="66443549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three themes and three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1993862590"/>
              </p:ext>
            </p:extLst>
          </p:nvPr>
        </p:nvGraphicFramePr>
        <p:xfrm>
          <a:off x="1030592" y="1500997"/>
          <a:ext cx="10367107" cy="4616603"/>
        </p:xfrm>
        <a:graphic>
          <a:graphicData uri="http://schemas.openxmlformats.org/drawingml/2006/table">
            <a:tbl>
              <a:tblPr firstRow="1" bandRow="1">
                <a:tableStyleId>{5C22544A-7EE6-4342-B048-85BDC9FD1C3A}</a:tableStyleId>
              </a:tblPr>
              <a:tblGrid>
                <a:gridCol w="2107363">
                  <a:extLst>
                    <a:ext uri="{9D8B030D-6E8A-4147-A177-3AD203B41FA5}">
                      <a16:colId xmlns:a16="http://schemas.microsoft.com/office/drawing/2014/main" val="2648413256"/>
                    </a:ext>
                  </a:extLst>
                </a:gridCol>
                <a:gridCol w="2753248">
                  <a:extLst>
                    <a:ext uri="{9D8B030D-6E8A-4147-A177-3AD203B41FA5}">
                      <a16:colId xmlns:a16="http://schemas.microsoft.com/office/drawing/2014/main" val="661628817"/>
                    </a:ext>
                  </a:extLst>
                </a:gridCol>
                <a:gridCol w="2753248">
                  <a:extLst>
                    <a:ext uri="{9D8B030D-6E8A-4147-A177-3AD203B41FA5}">
                      <a16:colId xmlns:a16="http://schemas.microsoft.com/office/drawing/2014/main" val="837203000"/>
                    </a:ext>
                  </a:extLst>
                </a:gridCol>
                <a:gridCol w="2753248">
                  <a:extLst>
                    <a:ext uri="{9D8B030D-6E8A-4147-A177-3AD203B41FA5}">
                      <a16:colId xmlns:a16="http://schemas.microsoft.com/office/drawing/2014/main" val="3717165310"/>
                    </a:ext>
                  </a:extLst>
                </a:gridCol>
              </a:tblGrid>
              <a:tr h="366593">
                <a:tc>
                  <a:txBody>
                    <a:bodyPr/>
                    <a:lstStyle/>
                    <a:p>
                      <a:endParaRPr lang="en-GB" sz="18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kern="1200">
                          <a:solidFill>
                            <a:schemeClr val="bg1"/>
                          </a:solidFill>
                          <a:latin typeface="+mn-lt"/>
                          <a:ea typeface="+mn-ea"/>
                          <a:cs typeface="+mn-cs"/>
                        </a:rPr>
                        <a:t>Lorem ipsum</a:t>
                      </a:r>
                      <a:endParaRPr lang="en-GB" sz="1800" b="1" kern="1200" dirty="0">
                        <a:solidFill>
                          <a:schemeClr val="bg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8974438"/>
                  </a:ext>
                </a:extLst>
              </a:tr>
              <a:tr h="141667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p>
                    <a:p>
                      <a:pPr marL="180000" marR="0" lvl="1" indent="-18000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Char char=""/>
                        <a:tabLst/>
                        <a:defRPr/>
                      </a:pP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bl>
          </a:graphicData>
        </a:graphic>
      </p:graphicFrame>
      <p:pic>
        <p:nvPicPr>
          <p:cNvPr id="10" name="Graphique 9">
            <a:extLst>
              <a:ext uri="{FF2B5EF4-FFF2-40B4-BE49-F238E27FC236}">
                <a16:creationId xmlns:a16="http://schemas.microsoft.com/office/drawing/2014/main" id="{F1672D99-C4D9-4B83-BDBD-0FF3CA4529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47807" y="5378944"/>
            <a:ext cx="334694" cy="641496"/>
          </a:xfrm>
          <a:prstGeom prst="rect">
            <a:avLst/>
          </a:prstGeom>
        </p:spPr>
      </p:pic>
      <p:pic>
        <p:nvPicPr>
          <p:cNvPr id="12" name="Graphique 11">
            <a:extLst>
              <a:ext uri="{FF2B5EF4-FFF2-40B4-BE49-F238E27FC236}">
                <a16:creationId xmlns:a16="http://schemas.microsoft.com/office/drawing/2014/main" id="{BA6F1B00-1F49-44A6-8A50-9041307DEF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84649" y="2703362"/>
            <a:ext cx="461010" cy="472536"/>
          </a:xfrm>
          <a:prstGeom prst="rect">
            <a:avLst/>
          </a:prstGeom>
        </p:spPr>
      </p:pic>
      <p:pic>
        <p:nvPicPr>
          <p:cNvPr id="13" name="Graphique 12">
            <a:extLst>
              <a:ext uri="{FF2B5EF4-FFF2-40B4-BE49-F238E27FC236}">
                <a16:creationId xmlns:a16="http://schemas.microsoft.com/office/drawing/2014/main" id="{504643E0-2325-4EB7-A9F7-28E19637A1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62684" y="4064894"/>
            <a:ext cx="504941" cy="525138"/>
          </a:xfrm>
          <a:prstGeom prst="rect">
            <a:avLst/>
          </a:prstGeom>
        </p:spPr>
      </p:pic>
    </p:spTree>
    <p:extLst>
      <p:ext uri="{BB962C8B-B14F-4D97-AF65-F5344CB8AC3E}">
        <p14:creationId xmlns:p14="http://schemas.microsoft.com/office/powerpoint/2010/main" val="6775788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C2D2EE2-F19B-4399-B910-429B1863A5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15" name="Objet 14" hidden="1">
                        <a:extLst>
                          <a:ext uri="{FF2B5EF4-FFF2-40B4-BE49-F238E27FC236}">
                            <a16:creationId xmlns:a16="http://schemas.microsoft.com/office/drawing/2014/main" id="{0C2D2EE2-F19B-4399-B910-429B1863A5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B8564C-FF6F-4992-B68D-A921846165D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96E497E-C815-458F-8C98-5B6DFDB60ED0}"/>
              </a:ext>
            </a:extLst>
          </p:cNvPr>
          <p:cNvSpPr>
            <a:spLocks noGrp="1"/>
          </p:cNvSpPr>
          <p:nvPr>
            <p:ph type="title"/>
          </p:nvPr>
        </p:nvSpPr>
        <p:spPr/>
        <p:txBody>
          <a:bodyPr/>
          <a:lstStyle/>
          <a:p>
            <a:r>
              <a:rPr lang="en-GB"/>
              <a:t>Slide message – four themes and three axis of analysis </a:t>
            </a:r>
            <a:endParaRPr lang="en-GB" dirty="0"/>
          </a:p>
        </p:txBody>
      </p:sp>
      <p:graphicFrame>
        <p:nvGraphicFramePr>
          <p:cNvPr id="5" name="Table 5">
            <a:extLst>
              <a:ext uri="{FF2B5EF4-FFF2-40B4-BE49-F238E27FC236}">
                <a16:creationId xmlns:a16="http://schemas.microsoft.com/office/drawing/2014/main" id="{975A83E3-92A9-4F2F-8064-98D4E1CC656E}"/>
              </a:ext>
            </a:extLst>
          </p:cNvPr>
          <p:cNvGraphicFramePr>
            <a:graphicFrameLocks noGrp="1"/>
          </p:cNvGraphicFramePr>
          <p:nvPr>
            <p:extLst>
              <p:ext uri="{D42A27DB-BD31-4B8C-83A1-F6EECF244321}">
                <p14:modId xmlns:p14="http://schemas.microsoft.com/office/powerpoint/2010/main" val="1898338558"/>
              </p:ext>
            </p:extLst>
          </p:nvPr>
        </p:nvGraphicFramePr>
        <p:xfrm>
          <a:off x="1030592" y="1399397"/>
          <a:ext cx="10367105" cy="4749120"/>
        </p:xfrm>
        <a:graphic>
          <a:graphicData uri="http://schemas.openxmlformats.org/drawingml/2006/table">
            <a:tbl>
              <a:tblPr firstRow="1" bandRow="1">
                <a:tableStyleId>{5C22544A-7EE6-4342-B048-85BDC9FD1C3A}</a:tableStyleId>
              </a:tblPr>
              <a:tblGrid>
                <a:gridCol w="2107364">
                  <a:extLst>
                    <a:ext uri="{9D8B030D-6E8A-4147-A177-3AD203B41FA5}">
                      <a16:colId xmlns:a16="http://schemas.microsoft.com/office/drawing/2014/main" val="2648413256"/>
                    </a:ext>
                  </a:extLst>
                </a:gridCol>
                <a:gridCol w="2753247">
                  <a:extLst>
                    <a:ext uri="{9D8B030D-6E8A-4147-A177-3AD203B41FA5}">
                      <a16:colId xmlns:a16="http://schemas.microsoft.com/office/drawing/2014/main" val="661628817"/>
                    </a:ext>
                  </a:extLst>
                </a:gridCol>
                <a:gridCol w="2753247">
                  <a:extLst>
                    <a:ext uri="{9D8B030D-6E8A-4147-A177-3AD203B41FA5}">
                      <a16:colId xmlns:a16="http://schemas.microsoft.com/office/drawing/2014/main" val="837203000"/>
                    </a:ext>
                  </a:extLst>
                </a:gridCol>
                <a:gridCol w="2753247">
                  <a:extLst>
                    <a:ext uri="{9D8B030D-6E8A-4147-A177-3AD203B41FA5}">
                      <a16:colId xmlns:a16="http://schemas.microsoft.com/office/drawing/2014/main" val="3717165310"/>
                    </a:ext>
                  </a:extLst>
                </a:gridCol>
              </a:tblGrid>
              <a:tr h="350798">
                <a:tc>
                  <a:txBody>
                    <a:bodyPr/>
                    <a:lstStyle/>
                    <a:p>
                      <a:endParaRPr lang="en-GB" sz="1600" dirty="0">
                        <a:solidFill>
                          <a:srgbClr val="FFFFFF"/>
                        </a:solidFill>
                        <a:latin typeface="+mn-lt"/>
                      </a:endParaRPr>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8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tx2"/>
                          </a:solidFill>
                          <a:latin typeface="+mn-lt"/>
                        </a:rPr>
                        <a:t>Lorem ipsum</a:t>
                      </a:r>
                      <a:endParaRPr lang="en-GB" sz="1600" dirty="0">
                        <a:solidFill>
                          <a:schemeClr val="tx2"/>
                        </a:solidFill>
                        <a:latin typeface="+mn-lt"/>
                      </a:endParaRPr>
                    </a:p>
                  </a:txBody>
                  <a:tcPr marL="252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1924994"/>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424216"/>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kern="1200">
                          <a:solidFill>
                            <a:schemeClr val="bg1"/>
                          </a:solidFill>
                          <a:latin typeface="+mn-lt"/>
                          <a:ea typeface="+mn-ea"/>
                          <a:cs typeface="+mn-cs"/>
                        </a:rPr>
                        <a:t>Lorem ipsum</a:t>
                      </a:r>
                      <a:endParaRPr lang="en-GB" sz="1800" b="1" kern="1200" dirty="0">
                        <a:solidFill>
                          <a:schemeClr val="bg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8974438"/>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193724"/>
                  </a:ext>
                </a:extLst>
              </a:tr>
              <a:tr h="109584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800" b="1">
                          <a:solidFill>
                            <a:schemeClr val="bg1"/>
                          </a:solidFill>
                          <a:latin typeface="+mn-lt"/>
                        </a:rPr>
                        <a:t>Lorem ipsum</a:t>
                      </a:r>
                    </a:p>
                    <a:p>
                      <a:endParaRPr lang="en-GB" sz="1800" dirty="0">
                        <a:solidFill>
                          <a:schemeClr val="bg1"/>
                        </a:solidFill>
                        <a:latin typeface="+mn-lt"/>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 adipiscing elit </a:t>
                      </a:r>
                      <a:endParaRPr lang="en-GB" sz="1400" kern="1200" dirty="0">
                        <a:solidFill>
                          <a:schemeClr val="tx1"/>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noProof="0">
                          <a:solidFill>
                            <a:schemeClr val="tx1"/>
                          </a:solidFill>
                          <a:latin typeface="+mn-lt"/>
                          <a:ea typeface="+mn-ea"/>
                          <a:cs typeface="+mn-cs"/>
                        </a:rPr>
                        <a:t>Lorem ipsum dolor sit amet, consectetur adipiscing elit </a:t>
                      </a:r>
                      <a:endParaRPr lang="en-GB" sz="1400" kern="1200" noProof="0" dirty="0">
                        <a:solidFill>
                          <a:schemeClr val="tx1"/>
                        </a:solidFill>
                        <a:latin typeface="+mn-lt"/>
                        <a:ea typeface="+mn-ea"/>
                        <a:cs typeface="+mn-cs"/>
                      </a:endParaRPr>
                    </a:p>
                  </a:txBody>
                  <a:tcPr marL="90000" marT="90000">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2156315"/>
                  </a:ext>
                </a:extLst>
              </a:tr>
            </a:tbl>
          </a:graphicData>
        </a:graphic>
      </p:graphicFrame>
      <p:pic>
        <p:nvPicPr>
          <p:cNvPr id="10" name="Graphique 9">
            <a:extLst>
              <a:ext uri="{FF2B5EF4-FFF2-40B4-BE49-F238E27FC236}">
                <a16:creationId xmlns:a16="http://schemas.microsoft.com/office/drawing/2014/main" id="{E6CF6E21-CAF9-41CF-90F8-2063A3C4DB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94013" y="4375479"/>
            <a:ext cx="276606" cy="530162"/>
          </a:xfrm>
          <a:prstGeom prst="rect">
            <a:avLst/>
          </a:prstGeom>
        </p:spPr>
      </p:pic>
      <p:pic>
        <p:nvPicPr>
          <p:cNvPr id="13" name="Graphique 12">
            <a:extLst>
              <a:ext uri="{FF2B5EF4-FFF2-40B4-BE49-F238E27FC236}">
                <a16:creationId xmlns:a16="http://schemas.microsoft.com/office/drawing/2014/main" id="{BDC73716-6456-45EB-9A75-C6A4713CA3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41816" y="2359879"/>
            <a:ext cx="381000" cy="390525"/>
          </a:xfrm>
          <a:prstGeom prst="rect">
            <a:avLst/>
          </a:prstGeom>
        </p:spPr>
      </p:pic>
      <p:pic>
        <p:nvPicPr>
          <p:cNvPr id="14" name="Graphique 13">
            <a:extLst>
              <a:ext uri="{FF2B5EF4-FFF2-40B4-BE49-F238E27FC236}">
                <a16:creationId xmlns:a16="http://schemas.microsoft.com/office/drawing/2014/main" id="{CA9C6433-5D47-4C89-BA49-9DD9EBE35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23663" y="3409085"/>
            <a:ext cx="417306" cy="433998"/>
          </a:xfrm>
          <a:prstGeom prst="rect">
            <a:avLst/>
          </a:prstGeom>
        </p:spPr>
      </p:pic>
      <p:pic>
        <p:nvPicPr>
          <p:cNvPr id="16" name="Graphique 15">
            <a:extLst>
              <a:ext uri="{FF2B5EF4-FFF2-40B4-BE49-F238E27FC236}">
                <a16:creationId xmlns:a16="http://schemas.microsoft.com/office/drawing/2014/main" id="{678B43FE-470C-4B7F-B07B-000441C1BC0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93057" y="5829504"/>
            <a:ext cx="478518" cy="188181"/>
          </a:xfrm>
          <a:prstGeom prst="rect">
            <a:avLst/>
          </a:prstGeom>
        </p:spPr>
      </p:pic>
    </p:spTree>
    <p:extLst>
      <p:ext uri="{BB962C8B-B14F-4D97-AF65-F5344CB8AC3E}">
        <p14:creationId xmlns:p14="http://schemas.microsoft.com/office/powerpoint/2010/main" val="40563320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A08F8E1-C0D0-4480-8AE4-875E6C5818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5A08F8E1-C0D0-4480-8AE4-875E6C5818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17FCD0-A26C-4112-9B78-10C6850239A1}"/>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0CD2BDF-0A15-4376-B206-DBF287C22918}"/>
              </a:ext>
            </a:extLst>
          </p:cNvPr>
          <p:cNvSpPr>
            <a:spLocks noGrp="1"/>
          </p:cNvSpPr>
          <p:nvPr>
            <p:ph type="title"/>
          </p:nvPr>
        </p:nvSpPr>
        <p:spPr/>
        <p:txBody>
          <a:bodyPr/>
          <a:lstStyle/>
          <a:p>
            <a:r>
              <a:rPr lang="en-GB"/>
              <a:t>Slide message – table with two ideas and two columns</a:t>
            </a:r>
            <a:endParaRPr lang="en-GB" dirty="0"/>
          </a:p>
        </p:txBody>
      </p:sp>
      <p:graphicFrame>
        <p:nvGraphicFramePr>
          <p:cNvPr id="7" name="Tableau 18">
            <a:extLst>
              <a:ext uri="{FF2B5EF4-FFF2-40B4-BE49-F238E27FC236}">
                <a16:creationId xmlns:a16="http://schemas.microsoft.com/office/drawing/2014/main" id="{CE3E1542-2441-454F-AF59-84B12F394BA4}"/>
              </a:ext>
            </a:extLst>
          </p:cNvPr>
          <p:cNvGraphicFramePr>
            <a:graphicFrameLocks noGrp="1"/>
          </p:cNvGraphicFramePr>
          <p:nvPr>
            <p:extLst>
              <p:ext uri="{D42A27DB-BD31-4B8C-83A1-F6EECF244321}">
                <p14:modId xmlns:p14="http://schemas.microsoft.com/office/powerpoint/2010/main" val="4142868802"/>
              </p:ext>
            </p:extLst>
          </p:nvPr>
        </p:nvGraphicFramePr>
        <p:xfrm>
          <a:off x="445065" y="1162800"/>
          <a:ext cx="11326935" cy="3531495"/>
        </p:xfrm>
        <a:graphic>
          <a:graphicData uri="http://schemas.openxmlformats.org/drawingml/2006/table">
            <a:tbl>
              <a:tblPr bandRow="1">
                <a:tableStyleId>{5C22544A-7EE6-4342-B048-85BDC9FD1C3A}</a:tableStyleId>
              </a:tblPr>
              <a:tblGrid>
                <a:gridCol w="3775645">
                  <a:extLst>
                    <a:ext uri="{9D8B030D-6E8A-4147-A177-3AD203B41FA5}">
                      <a16:colId xmlns:a16="http://schemas.microsoft.com/office/drawing/2014/main" val="414331001"/>
                    </a:ext>
                  </a:extLst>
                </a:gridCol>
                <a:gridCol w="3775645">
                  <a:extLst>
                    <a:ext uri="{9D8B030D-6E8A-4147-A177-3AD203B41FA5}">
                      <a16:colId xmlns:a16="http://schemas.microsoft.com/office/drawing/2014/main" val="4037462174"/>
                    </a:ext>
                  </a:extLst>
                </a:gridCol>
                <a:gridCol w="3775645">
                  <a:extLst>
                    <a:ext uri="{9D8B030D-6E8A-4147-A177-3AD203B41FA5}">
                      <a16:colId xmlns:a16="http://schemas.microsoft.com/office/drawing/2014/main" val="1092903475"/>
                    </a:ext>
                  </a:extLst>
                </a:gridCol>
              </a:tblGrid>
              <a:tr h="406319">
                <a:tc>
                  <a:txBody>
                    <a:bodyPr/>
                    <a:lstStyle/>
                    <a:p>
                      <a:pPr algn="l">
                        <a:spcBef>
                          <a:spcPts val="0"/>
                        </a:spcBef>
                      </a:pPr>
                      <a:endParaRPr lang="en-GB" sz="1400" kern="1200" dirty="0">
                        <a:solidFill>
                          <a:srgbClr val="000000"/>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dirty="0">
                          <a:solidFill>
                            <a:schemeClr val="accent2"/>
                          </a:solidFill>
                          <a:latin typeface="+mn-lt"/>
                          <a:ea typeface="+mn-ea"/>
                          <a:cs typeface="+mn-cs"/>
                        </a:rPr>
                        <a:t>Pros</a:t>
                      </a: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a:solidFill>
                            <a:schemeClr val="accent2"/>
                          </a:solidFill>
                          <a:latin typeface="+mn-lt"/>
                          <a:ea typeface="+mn-ea"/>
                          <a:cs typeface="+mn-cs"/>
                        </a:rPr>
                        <a:t>Cons</a:t>
                      </a:r>
                      <a:endParaRPr lang="en-GB" sz="1400" b="1" kern="1200" dirty="0">
                        <a:solidFill>
                          <a:schemeClr val="accent2"/>
                        </a:solidFill>
                        <a:latin typeface="+mn-lt"/>
                        <a:ea typeface="+mn-ea"/>
                        <a:cs typeface="+mn-cs"/>
                      </a:endParaRP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6339"/>
                  </a:ext>
                </a:extLst>
              </a:tr>
              <a:tr h="1562588">
                <a:tc>
                  <a:txBody>
                    <a:bodyPr/>
                    <a:lstStyle/>
                    <a:p>
                      <a:pPr algn="l">
                        <a:spcBef>
                          <a:spcPts val="0"/>
                        </a:spcBef>
                        <a:spcAft>
                          <a:spcPts val="200"/>
                        </a:spcAft>
                      </a:pPr>
                      <a:r>
                        <a:rPr lang="en-GB" sz="1800" b="1" dirty="0">
                          <a:solidFill>
                            <a:schemeClr val="accent2"/>
                          </a:solidFill>
                          <a:latin typeface="+mn-lt"/>
                        </a:rPr>
                        <a:t>1. LOREM IPSUM</a:t>
                      </a:r>
                    </a:p>
                    <a:p>
                      <a:pPr algn="l">
                        <a:spcBef>
                          <a:spcPts val="0"/>
                        </a:spcBef>
                      </a:pPr>
                      <a:r>
                        <a:rPr lang="en-GB" sz="1400" dirty="0" err="1">
                          <a:solidFill>
                            <a:schemeClr val="accent2"/>
                          </a:solidFill>
                          <a:latin typeface="+mn-lt"/>
                        </a:rPr>
                        <a:t>dolor</a:t>
                      </a:r>
                      <a:r>
                        <a:rPr lang="en-GB" sz="1400" dirty="0">
                          <a:solidFill>
                            <a:schemeClr val="accent2"/>
                          </a:solidFill>
                          <a:latin typeface="+mn-lt"/>
                        </a:rPr>
                        <a:t> sit </a:t>
                      </a:r>
                      <a:r>
                        <a:rPr lang="en-GB" sz="1400" dirty="0" err="1">
                          <a:solidFill>
                            <a:schemeClr val="accent2"/>
                          </a:solidFill>
                          <a:latin typeface="+mn-lt"/>
                        </a:rPr>
                        <a:t>amet</a:t>
                      </a:r>
                      <a:r>
                        <a:rPr lang="en-GB" sz="1400" dirty="0">
                          <a:solidFill>
                            <a:schemeClr val="accent2"/>
                          </a:solidFill>
                          <a:latin typeface="+mn-lt"/>
                        </a:rPr>
                        <a:t>, </a:t>
                      </a:r>
                      <a:r>
                        <a:rPr lang="en-GB" sz="1400" dirty="0" err="1">
                          <a:solidFill>
                            <a:schemeClr val="accent2"/>
                          </a:solidFill>
                          <a:latin typeface="+mn-lt"/>
                        </a:rPr>
                        <a:t>consectetur</a:t>
                      </a:r>
                      <a:r>
                        <a:rPr lang="en-GB" sz="1400" dirty="0">
                          <a:solidFill>
                            <a:schemeClr val="accent2"/>
                          </a:solidFill>
                          <a:latin typeface="+mn-lt"/>
                        </a:rPr>
                        <a:t> </a:t>
                      </a:r>
                      <a:r>
                        <a:rPr lang="en-GB" sz="1400" dirty="0" err="1">
                          <a:solidFill>
                            <a:schemeClr val="accent2"/>
                          </a:solidFill>
                          <a:latin typeface="+mn-lt"/>
                        </a:rPr>
                        <a:t>adipiscing</a:t>
                      </a:r>
                      <a:r>
                        <a:rPr lang="en-GB" sz="1400" dirty="0">
                          <a:solidFill>
                            <a:schemeClr val="accent2"/>
                          </a:solidFill>
                          <a:latin typeface="+mn-lt"/>
                        </a:rPr>
                        <a:t> </a:t>
                      </a:r>
                      <a:r>
                        <a:rPr lang="en-GB" sz="1400" dirty="0" err="1">
                          <a:solidFill>
                            <a:schemeClr val="accent2"/>
                          </a:solidFill>
                          <a:latin typeface="+mn-lt"/>
                        </a:rPr>
                        <a:t>elit</a:t>
                      </a:r>
                      <a:r>
                        <a:rPr lang="en-GB" sz="1400" dirty="0">
                          <a:solidFill>
                            <a:schemeClr val="accent2"/>
                          </a:solidFill>
                          <a:latin typeface="+mn-lt"/>
                        </a:rPr>
                        <a:t> </a:t>
                      </a:r>
                      <a:endParaRPr lang="en-GB" sz="1400" kern="1200" dirty="0">
                        <a:solidFill>
                          <a:schemeClr val="accent2"/>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284290"/>
                  </a:ext>
                </a:extLst>
              </a:tr>
              <a:tr h="1562588">
                <a:tc>
                  <a:txBody>
                    <a:bodyPr/>
                    <a:lstStyle/>
                    <a:p>
                      <a:pPr algn="l">
                        <a:spcBef>
                          <a:spcPts val="0"/>
                        </a:spcBef>
                        <a:spcAft>
                          <a:spcPts val="200"/>
                        </a:spcAft>
                      </a:pPr>
                      <a:r>
                        <a:rPr lang="en-GB" sz="1800" b="1">
                          <a:solidFill>
                            <a:schemeClr val="accent4"/>
                          </a:solidFill>
                          <a:latin typeface="+mn-lt"/>
                        </a:rPr>
                        <a:t>2. LOREM IPSUM</a:t>
                      </a:r>
                    </a:p>
                    <a:p>
                      <a:pPr algn="l">
                        <a:spcBef>
                          <a:spcPts val="0"/>
                        </a:spcBef>
                      </a:pPr>
                      <a:r>
                        <a:rPr lang="en-GB" sz="1400">
                          <a:solidFill>
                            <a:schemeClr val="accent4"/>
                          </a:solidFill>
                          <a:latin typeface="+mn-lt"/>
                        </a:rPr>
                        <a:t>dolor sit amet, consectetur adipiscing elit </a:t>
                      </a:r>
                      <a:endParaRPr lang="en-GB" sz="1400" dirty="0">
                        <a:solidFill>
                          <a:schemeClr val="accent4"/>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434843"/>
                  </a:ext>
                </a:extLst>
              </a:tr>
            </a:tbl>
          </a:graphicData>
        </a:graphic>
      </p:graphicFrame>
    </p:spTree>
    <p:extLst>
      <p:ext uri="{BB962C8B-B14F-4D97-AF65-F5344CB8AC3E}">
        <p14:creationId xmlns:p14="http://schemas.microsoft.com/office/powerpoint/2010/main" val="220133978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A08F8E1-C0D0-4480-8AE4-875E6C5818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5A08F8E1-C0D0-4480-8AE4-875E6C5818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17FCD0-A26C-4112-9B78-10C6850239A1}"/>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0CD2BDF-0A15-4376-B206-DBF287C22918}"/>
              </a:ext>
            </a:extLst>
          </p:cNvPr>
          <p:cNvSpPr>
            <a:spLocks noGrp="1"/>
          </p:cNvSpPr>
          <p:nvPr>
            <p:ph type="title"/>
          </p:nvPr>
        </p:nvSpPr>
        <p:spPr/>
        <p:txBody>
          <a:bodyPr/>
          <a:lstStyle/>
          <a:p>
            <a:r>
              <a:rPr lang="en-GB"/>
              <a:t>Slide message – table with three ideas and two columns</a:t>
            </a:r>
            <a:endParaRPr lang="en-GB" dirty="0"/>
          </a:p>
        </p:txBody>
      </p:sp>
      <p:graphicFrame>
        <p:nvGraphicFramePr>
          <p:cNvPr id="19" name="Tableau 18">
            <a:extLst>
              <a:ext uri="{FF2B5EF4-FFF2-40B4-BE49-F238E27FC236}">
                <a16:creationId xmlns:a16="http://schemas.microsoft.com/office/drawing/2014/main" id="{9B9770F8-19CE-4273-92C1-3A6979AD0F71}"/>
              </a:ext>
            </a:extLst>
          </p:cNvPr>
          <p:cNvGraphicFramePr>
            <a:graphicFrameLocks noGrp="1"/>
          </p:cNvGraphicFramePr>
          <p:nvPr>
            <p:extLst>
              <p:ext uri="{D42A27DB-BD31-4B8C-83A1-F6EECF244321}">
                <p14:modId xmlns:p14="http://schemas.microsoft.com/office/powerpoint/2010/main" val="297900645"/>
              </p:ext>
            </p:extLst>
          </p:nvPr>
        </p:nvGraphicFramePr>
        <p:xfrm>
          <a:off x="445065" y="1162800"/>
          <a:ext cx="11326935" cy="4665971"/>
        </p:xfrm>
        <a:graphic>
          <a:graphicData uri="http://schemas.openxmlformats.org/drawingml/2006/table">
            <a:tbl>
              <a:tblPr bandRow="1">
                <a:tableStyleId>{5C22544A-7EE6-4342-B048-85BDC9FD1C3A}</a:tableStyleId>
              </a:tblPr>
              <a:tblGrid>
                <a:gridCol w="3775645">
                  <a:extLst>
                    <a:ext uri="{9D8B030D-6E8A-4147-A177-3AD203B41FA5}">
                      <a16:colId xmlns:a16="http://schemas.microsoft.com/office/drawing/2014/main" val="414331001"/>
                    </a:ext>
                  </a:extLst>
                </a:gridCol>
                <a:gridCol w="3775645">
                  <a:extLst>
                    <a:ext uri="{9D8B030D-6E8A-4147-A177-3AD203B41FA5}">
                      <a16:colId xmlns:a16="http://schemas.microsoft.com/office/drawing/2014/main" val="4037462174"/>
                    </a:ext>
                  </a:extLst>
                </a:gridCol>
                <a:gridCol w="3775645">
                  <a:extLst>
                    <a:ext uri="{9D8B030D-6E8A-4147-A177-3AD203B41FA5}">
                      <a16:colId xmlns:a16="http://schemas.microsoft.com/office/drawing/2014/main" val="1092903475"/>
                    </a:ext>
                  </a:extLst>
                </a:gridCol>
              </a:tblGrid>
              <a:tr h="406319">
                <a:tc>
                  <a:txBody>
                    <a:bodyPr/>
                    <a:lstStyle/>
                    <a:p>
                      <a:pPr algn="l">
                        <a:spcBef>
                          <a:spcPts val="0"/>
                        </a:spcBef>
                      </a:pPr>
                      <a:endParaRPr lang="en-GB" sz="1400" kern="1200" dirty="0">
                        <a:solidFill>
                          <a:srgbClr val="000000"/>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a:solidFill>
                            <a:schemeClr val="accent2"/>
                          </a:solidFill>
                          <a:latin typeface="+mn-lt"/>
                          <a:ea typeface="+mn-ea"/>
                          <a:cs typeface="+mn-cs"/>
                        </a:rPr>
                        <a:t>Pros</a:t>
                      </a:r>
                      <a:endParaRPr lang="en-GB" sz="1400" b="1" kern="1200" dirty="0">
                        <a:solidFill>
                          <a:schemeClr val="accent2"/>
                        </a:solidFill>
                        <a:latin typeface="+mn-lt"/>
                        <a:ea typeface="+mn-ea"/>
                        <a:cs typeface="+mn-cs"/>
                      </a:endParaRP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a:solidFill>
                            <a:schemeClr val="accent2"/>
                          </a:solidFill>
                          <a:latin typeface="+mn-lt"/>
                          <a:ea typeface="+mn-ea"/>
                          <a:cs typeface="+mn-cs"/>
                        </a:rPr>
                        <a:t>Cons</a:t>
                      </a:r>
                      <a:endParaRPr lang="en-GB" sz="1400" b="1" kern="1200" dirty="0">
                        <a:solidFill>
                          <a:schemeClr val="accent2"/>
                        </a:solidFill>
                        <a:latin typeface="+mn-lt"/>
                        <a:ea typeface="+mn-ea"/>
                        <a:cs typeface="+mn-cs"/>
                      </a:endParaRP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6339"/>
                  </a:ext>
                </a:extLst>
              </a:tr>
              <a:tr h="1419884">
                <a:tc>
                  <a:txBody>
                    <a:bodyPr/>
                    <a:lstStyle/>
                    <a:p>
                      <a:pPr algn="l">
                        <a:spcBef>
                          <a:spcPts val="0"/>
                        </a:spcBef>
                        <a:spcAft>
                          <a:spcPts val="200"/>
                        </a:spcAft>
                      </a:pPr>
                      <a:r>
                        <a:rPr lang="en-GB" sz="1800" b="1">
                          <a:solidFill>
                            <a:schemeClr val="accent6"/>
                          </a:solidFill>
                          <a:latin typeface="+mn-lt"/>
                        </a:rPr>
                        <a:t>1. LOREM IPSUM</a:t>
                      </a:r>
                    </a:p>
                    <a:p>
                      <a:pPr algn="l">
                        <a:spcBef>
                          <a:spcPts val="0"/>
                        </a:spcBef>
                      </a:pPr>
                      <a:r>
                        <a:rPr lang="en-GB" sz="1400">
                          <a:solidFill>
                            <a:schemeClr val="accent6"/>
                          </a:solidFill>
                          <a:latin typeface="+mn-lt"/>
                        </a:rPr>
                        <a:t>dolor sit amet, consectetur adipiscing elit </a:t>
                      </a:r>
                      <a:endParaRPr lang="en-GB" sz="1400" kern="1200" dirty="0">
                        <a:solidFill>
                          <a:schemeClr val="accent6"/>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284290"/>
                  </a:ext>
                </a:extLst>
              </a:tr>
              <a:tr h="1419884">
                <a:tc>
                  <a:txBody>
                    <a:bodyPr/>
                    <a:lstStyle/>
                    <a:p>
                      <a:pPr algn="l">
                        <a:spcBef>
                          <a:spcPts val="0"/>
                        </a:spcBef>
                        <a:spcAft>
                          <a:spcPts val="200"/>
                        </a:spcAft>
                      </a:pPr>
                      <a:r>
                        <a:rPr lang="en-GB" sz="1800" b="1">
                          <a:solidFill>
                            <a:schemeClr val="accent4"/>
                          </a:solidFill>
                          <a:latin typeface="+mn-lt"/>
                        </a:rPr>
                        <a:t>2. LOREM IPSUM</a:t>
                      </a:r>
                    </a:p>
                    <a:p>
                      <a:pPr algn="l">
                        <a:spcBef>
                          <a:spcPts val="0"/>
                        </a:spcBef>
                      </a:pPr>
                      <a:r>
                        <a:rPr lang="en-GB" sz="1400">
                          <a:solidFill>
                            <a:schemeClr val="accent4"/>
                          </a:solidFill>
                          <a:latin typeface="+mn-lt"/>
                        </a:rPr>
                        <a:t>dolor sit amet, consectetur adipiscing elit </a:t>
                      </a:r>
                      <a:endParaRPr lang="en-GB" sz="1400" dirty="0">
                        <a:solidFill>
                          <a:schemeClr val="accent4"/>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434843"/>
                  </a:ext>
                </a:extLst>
              </a:tr>
              <a:tr h="1419884">
                <a:tc>
                  <a:txBody>
                    <a:bodyPr/>
                    <a:lstStyle/>
                    <a:p>
                      <a:pPr algn="l">
                        <a:spcBef>
                          <a:spcPts val="0"/>
                        </a:spcBef>
                        <a:spcAft>
                          <a:spcPts val="200"/>
                        </a:spcAft>
                      </a:pPr>
                      <a:r>
                        <a:rPr lang="en-GB" sz="1800" b="1">
                          <a:solidFill>
                            <a:schemeClr val="tx2"/>
                          </a:solidFill>
                          <a:latin typeface="+mn-lt"/>
                        </a:rPr>
                        <a:t>3. LOREM IPSUM</a:t>
                      </a:r>
                    </a:p>
                    <a:p>
                      <a:pPr algn="l">
                        <a:spcBef>
                          <a:spcPts val="0"/>
                        </a:spcBef>
                      </a:pPr>
                      <a:r>
                        <a:rPr lang="en-GB" sz="1400">
                          <a:solidFill>
                            <a:schemeClr val="tx2"/>
                          </a:solidFill>
                          <a:latin typeface="+mn-lt"/>
                        </a:rPr>
                        <a:t>dolor sit amet, consectetur adipiscing elit </a:t>
                      </a:r>
                      <a:endParaRPr lang="en-GB" sz="1400" dirty="0">
                        <a:solidFill>
                          <a:schemeClr val="tx2"/>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55234410"/>
                  </a:ext>
                </a:extLst>
              </a:tr>
            </a:tbl>
          </a:graphicData>
        </a:graphic>
      </p:graphicFrame>
    </p:spTree>
    <p:extLst>
      <p:ext uri="{BB962C8B-B14F-4D97-AF65-F5344CB8AC3E}">
        <p14:creationId xmlns:p14="http://schemas.microsoft.com/office/powerpoint/2010/main" val="81336371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A08F8E1-C0D0-4480-8AE4-875E6C5818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5A08F8E1-C0D0-4480-8AE4-875E6C5818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17FCD0-A26C-4112-9B78-10C6850239A1}"/>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F0CD2BDF-0A15-4376-B206-DBF287C22918}"/>
              </a:ext>
            </a:extLst>
          </p:cNvPr>
          <p:cNvSpPr>
            <a:spLocks noGrp="1"/>
          </p:cNvSpPr>
          <p:nvPr>
            <p:ph type="title"/>
          </p:nvPr>
        </p:nvSpPr>
        <p:spPr/>
        <p:txBody>
          <a:bodyPr/>
          <a:lstStyle/>
          <a:p>
            <a:r>
              <a:rPr lang="en-GB"/>
              <a:t>Slide message – table with four ideas and two columns</a:t>
            </a:r>
            <a:endParaRPr lang="en-GB" dirty="0"/>
          </a:p>
        </p:txBody>
      </p:sp>
      <p:graphicFrame>
        <p:nvGraphicFramePr>
          <p:cNvPr id="19" name="Tableau 18">
            <a:extLst>
              <a:ext uri="{FF2B5EF4-FFF2-40B4-BE49-F238E27FC236}">
                <a16:creationId xmlns:a16="http://schemas.microsoft.com/office/drawing/2014/main" id="{9B9770F8-19CE-4273-92C1-3A6979AD0F71}"/>
              </a:ext>
            </a:extLst>
          </p:cNvPr>
          <p:cNvGraphicFramePr>
            <a:graphicFrameLocks noGrp="1"/>
          </p:cNvGraphicFramePr>
          <p:nvPr>
            <p:extLst>
              <p:ext uri="{D42A27DB-BD31-4B8C-83A1-F6EECF244321}">
                <p14:modId xmlns:p14="http://schemas.microsoft.com/office/powerpoint/2010/main" val="4245620218"/>
              </p:ext>
            </p:extLst>
          </p:nvPr>
        </p:nvGraphicFramePr>
        <p:xfrm>
          <a:off x="445065" y="1162801"/>
          <a:ext cx="11326935" cy="4862081"/>
        </p:xfrm>
        <a:graphic>
          <a:graphicData uri="http://schemas.openxmlformats.org/drawingml/2006/table">
            <a:tbl>
              <a:tblPr bandRow="1">
                <a:tableStyleId>{5C22544A-7EE6-4342-B048-85BDC9FD1C3A}</a:tableStyleId>
              </a:tblPr>
              <a:tblGrid>
                <a:gridCol w="3775645">
                  <a:extLst>
                    <a:ext uri="{9D8B030D-6E8A-4147-A177-3AD203B41FA5}">
                      <a16:colId xmlns:a16="http://schemas.microsoft.com/office/drawing/2014/main" val="414331001"/>
                    </a:ext>
                  </a:extLst>
                </a:gridCol>
                <a:gridCol w="3775645">
                  <a:extLst>
                    <a:ext uri="{9D8B030D-6E8A-4147-A177-3AD203B41FA5}">
                      <a16:colId xmlns:a16="http://schemas.microsoft.com/office/drawing/2014/main" val="4037462174"/>
                    </a:ext>
                  </a:extLst>
                </a:gridCol>
                <a:gridCol w="3775645">
                  <a:extLst>
                    <a:ext uri="{9D8B030D-6E8A-4147-A177-3AD203B41FA5}">
                      <a16:colId xmlns:a16="http://schemas.microsoft.com/office/drawing/2014/main" val="1092903475"/>
                    </a:ext>
                  </a:extLst>
                </a:gridCol>
              </a:tblGrid>
              <a:tr h="375045">
                <a:tc>
                  <a:txBody>
                    <a:bodyPr/>
                    <a:lstStyle/>
                    <a:p>
                      <a:pPr algn="l">
                        <a:spcBef>
                          <a:spcPts val="0"/>
                        </a:spcBef>
                      </a:pPr>
                      <a:endParaRPr lang="en-GB" sz="1400" kern="1200" dirty="0">
                        <a:solidFill>
                          <a:srgbClr val="000000"/>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a:solidFill>
                            <a:schemeClr val="accent2"/>
                          </a:solidFill>
                          <a:latin typeface="+mn-lt"/>
                          <a:ea typeface="+mn-ea"/>
                          <a:cs typeface="+mn-cs"/>
                        </a:rPr>
                        <a:t>Pros</a:t>
                      </a:r>
                      <a:endParaRPr lang="en-GB" sz="1400" b="1" kern="1200" dirty="0">
                        <a:solidFill>
                          <a:schemeClr val="accent2"/>
                        </a:solidFill>
                        <a:latin typeface="+mn-lt"/>
                        <a:ea typeface="+mn-ea"/>
                        <a:cs typeface="+mn-cs"/>
                      </a:endParaRP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125444" rtl="0" eaLnBrk="1" fontAlgn="base" latinLnBrk="0" hangingPunct="1">
                        <a:lnSpc>
                          <a:spcPct val="100000"/>
                        </a:lnSpc>
                        <a:spcBef>
                          <a:spcPts val="840"/>
                        </a:spcBef>
                        <a:spcAft>
                          <a:spcPts val="0"/>
                        </a:spcAft>
                        <a:buClr>
                          <a:schemeClr val="accent3"/>
                        </a:buClr>
                        <a:buSzPct val="77000"/>
                        <a:buFont typeface="Wingdings 3" panose="05040102010807070707" pitchFamily="18" charset="2"/>
                        <a:buNone/>
                        <a:tabLst/>
                        <a:defRPr/>
                      </a:pPr>
                      <a:r>
                        <a:rPr lang="en-GB" sz="1400" b="1" kern="1200">
                          <a:solidFill>
                            <a:schemeClr val="accent2"/>
                          </a:solidFill>
                          <a:latin typeface="+mn-lt"/>
                          <a:ea typeface="+mn-ea"/>
                          <a:cs typeface="+mn-cs"/>
                        </a:rPr>
                        <a:t>Cons</a:t>
                      </a:r>
                      <a:endParaRPr lang="en-GB" sz="1400" b="1" kern="1200" dirty="0">
                        <a:solidFill>
                          <a:schemeClr val="accent2"/>
                        </a:solidFill>
                        <a:latin typeface="+mn-lt"/>
                        <a:ea typeface="+mn-ea"/>
                        <a:cs typeface="+mn-cs"/>
                      </a:endParaRPr>
                    </a:p>
                  </a:txBody>
                  <a:tcPr marL="90000" marT="90000">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6339"/>
                  </a:ext>
                </a:extLst>
              </a:tr>
              <a:tr h="1121759">
                <a:tc>
                  <a:txBody>
                    <a:bodyPr/>
                    <a:lstStyle/>
                    <a:p>
                      <a:pPr algn="l">
                        <a:spcBef>
                          <a:spcPts val="0"/>
                        </a:spcBef>
                        <a:spcAft>
                          <a:spcPts val="200"/>
                        </a:spcAft>
                      </a:pPr>
                      <a:r>
                        <a:rPr lang="en-GB" sz="1800" b="1">
                          <a:solidFill>
                            <a:schemeClr val="accent6"/>
                          </a:solidFill>
                          <a:latin typeface="+mn-lt"/>
                        </a:rPr>
                        <a:t>1. LOREM IPSUM</a:t>
                      </a:r>
                    </a:p>
                    <a:p>
                      <a:pPr algn="l">
                        <a:spcBef>
                          <a:spcPts val="0"/>
                        </a:spcBef>
                      </a:pPr>
                      <a:r>
                        <a:rPr lang="en-GB" sz="1400">
                          <a:solidFill>
                            <a:schemeClr val="accent6"/>
                          </a:solidFill>
                          <a:latin typeface="+mn-lt"/>
                        </a:rPr>
                        <a:t>dolor sit amet, consectetur adipiscing elit </a:t>
                      </a:r>
                      <a:endParaRPr lang="en-GB" sz="1400" kern="1200" dirty="0">
                        <a:solidFill>
                          <a:schemeClr val="accent6"/>
                        </a:solidFill>
                        <a:latin typeface="+mn-lt"/>
                        <a:ea typeface="+mn-ea"/>
                        <a:cs typeface="+mn-cs"/>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284290"/>
                  </a:ext>
                </a:extLst>
              </a:tr>
              <a:tr h="1121759">
                <a:tc>
                  <a:txBody>
                    <a:bodyPr/>
                    <a:lstStyle/>
                    <a:p>
                      <a:pPr algn="l">
                        <a:spcBef>
                          <a:spcPts val="0"/>
                        </a:spcBef>
                        <a:spcAft>
                          <a:spcPts val="200"/>
                        </a:spcAft>
                      </a:pPr>
                      <a:r>
                        <a:rPr lang="en-GB" sz="1800" b="1">
                          <a:solidFill>
                            <a:schemeClr val="accent4"/>
                          </a:solidFill>
                          <a:latin typeface="+mn-lt"/>
                        </a:rPr>
                        <a:t>2. LOREM IPSUM</a:t>
                      </a:r>
                    </a:p>
                    <a:p>
                      <a:pPr algn="l">
                        <a:spcBef>
                          <a:spcPts val="0"/>
                        </a:spcBef>
                      </a:pPr>
                      <a:r>
                        <a:rPr lang="en-GB" sz="1400">
                          <a:solidFill>
                            <a:schemeClr val="accent4"/>
                          </a:solidFill>
                          <a:latin typeface="+mn-lt"/>
                        </a:rPr>
                        <a:t>dolor sit amet, consectetur adipiscing elit </a:t>
                      </a:r>
                      <a:endParaRPr lang="en-GB" sz="1400" dirty="0">
                        <a:solidFill>
                          <a:schemeClr val="accent4"/>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434843"/>
                  </a:ext>
                </a:extLst>
              </a:tr>
              <a:tr h="1121759">
                <a:tc>
                  <a:txBody>
                    <a:bodyPr/>
                    <a:lstStyle/>
                    <a:p>
                      <a:pPr algn="l">
                        <a:spcBef>
                          <a:spcPts val="0"/>
                        </a:spcBef>
                        <a:spcAft>
                          <a:spcPts val="200"/>
                        </a:spcAft>
                      </a:pPr>
                      <a:r>
                        <a:rPr lang="en-GB" sz="1800" b="1">
                          <a:solidFill>
                            <a:schemeClr val="tx2"/>
                          </a:solidFill>
                          <a:latin typeface="+mn-lt"/>
                        </a:rPr>
                        <a:t>3. LOREM IPSUM</a:t>
                      </a:r>
                    </a:p>
                    <a:p>
                      <a:pPr algn="l">
                        <a:spcBef>
                          <a:spcPts val="0"/>
                        </a:spcBef>
                      </a:pPr>
                      <a:r>
                        <a:rPr lang="en-GB" sz="1400">
                          <a:solidFill>
                            <a:schemeClr val="tx2"/>
                          </a:solidFill>
                          <a:latin typeface="+mn-lt"/>
                        </a:rPr>
                        <a:t>dolor sit amet, consectetur adipiscing elit </a:t>
                      </a:r>
                      <a:endParaRPr lang="en-GB" sz="1400" dirty="0">
                        <a:solidFill>
                          <a:schemeClr val="tx2"/>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5234410"/>
                  </a:ext>
                </a:extLst>
              </a:tr>
              <a:tr h="1121759">
                <a:tc>
                  <a:txBody>
                    <a:bodyPr/>
                    <a:lstStyle/>
                    <a:p>
                      <a:pPr algn="l">
                        <a:spcBef>
                          <a:spcPts val="0"/>
                        </a:spcBef>
                        <a:spcAft>
                          <a:spcPts val="200"/>
                        </a:spcAft>
                      </a:pPr>
                      <a:r>
                        <a:rPr lang="en-GB" sz="1800" b="1">
                          <a:solidFill>
                            <a:schemeClr val="accent2"/>
                          </a:solidFill>
                          <a:latin typeface="+mn-lt"/>
                        </a:rPr>
                        <a:t>4. LOREM IPSUM</a:t>
                      </a:r>
                    </a:p>
                    <a:p>
                      <a:pPr algn="l">
                        <a:spcBef>
                          <a:spcPts val="0"/>
                        </a:spcBef>
                      </a:pPr>
                      <a:r>
                        <a:rPr lang="en-GB" sz="1400">
                          <a:solidFill>
                            <a:schemeClr val="accent2"/>
                          </a:solidFill>
                          <a:latin typeface="+mn-lt"/>
                        </a:rPr>
                        <a:t>dolor sit amet, consectetur adipiscing elit </a:t>
                      </a:r>
                      <a:endParaRPr lang="en-GB" sz="1400" dirty="0">
                        <a:solidFill>
                          <a:schemeClr val="accent2"/>
                        </a:solidFill>
                        <a:latin typeface="+mn-lt"/>
                      </a:endParaRPr>
                    </a:p>
                  </a:txBody>
                  <a:tcPr marL="90000" marT="90000">
                    <a:lnL w="76200" cap="flat" cmpd="sng" algn="ctr">
                      <a:solidFill>
                        <a:schemeClr val="bg1"/>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kern="1200">
                          <a:solidFill>
                            <a:schemeClr val="tx1"/>
                          </a:solidFill>
                          <a:latin typeface="+mn-lt"/>
                          <a:ea typeface="+mn-ea"/>
                          <a:cs typeface="+mn-cs"/>
                        </a:rPr>
                        <a:t>Lorem ipsum dolor sit amet consectetur</a:t>
                      </a:r>
                      <a:endParaRPr lang="en-GB" sz="1400" kern="1200" dirty="0">
                        <a:solidFill>
                          <a:schemeClr val="tx1"/>
                        </a:solidFill>
                        <a:latin typeface="+mn-lt"/>
                        <a:ea typeface="+mn-ea"/>
                        <a:cs typeface="+mn-cs"/>
                      </a:endParaRPr>
                    </a:p>
                  </a:txBody>
                  <a:tcPr marL="90000" marT="90000">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58657502"/>
                  </a:ext>
                </a:extLst>
              </a:tr>
            </a:tbl>
          </a:graphicData>
        </a:graphic>
      </p:graphicFrame>
    </p:spTree>
    <p:extLst>
      <p:ext uri="{BB962C8B-B14F-4D97-AF65-F5344CB8AC3E}">
        <p14:creationId xmlns:p14="http://schemas.microsoft.com/office/powerpoint/2010/main" val="1180920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D070268-18E4-4EC0-AD9D-E7C68C4B1F19}"/>
              </a:ext>
            </a:extLst>
          </p:cNvPr>
          <p:cNvSpPr/>
          <p:nvPr/>
        </p:nvSpPr>
        <p:spPr bwMode="auto">
          <a:xfrm>
            <a:off x="4429778" y="1867916"/>
            <a:ext cx="4257019" cy="3862955"/>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000000"/>
              </a:solidFill>
              <a:latin typeface="+mn-lt"/>
            </a:endParaRPr>
          </a:p>
        </p:txBody>
      </p:sp>
      <p:graphicFrame>
        <p:nvGraphicFramePr>
          <p:cNvPr id="21" name="Objet 20" hidden="1">
            <a:extLst>
              <a:ext uri="{FF2B5EF4-FFF2-40B4-BE49-F238E27FC236}">
                <a16:creationId xmlns:a16="http://schemas.microsoft.com/office/drawing/2014/main" id="{2FB7953C-1DA5-4995-99A1-9A72BDB9F1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21" name="Objet 20" hidden="1">
                        <a:extLst>
                          <a:ext uri="{FF2B5EF4-FFF2-40B4-BE49-F238E27FC236}">
                            <a16:creationId xmlns:a16="http://schemas.microsoft.com/office/drawing/2014/main" id="{2FB7953C-1DA5-4995-99A1-9A72BDB9F1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5F6C10-9596-440B-815B-F7108C6C9617}"/>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85078B5C-B25A-40E4-B93D-7C6C2BA50CE7}"/>
              </a:ext>
            </a:extLst>
          </p:cNvPr>
          <p:cNvSpPr>
            <a:spLocks noGrp="1"/>
          </p:cNvSpPr>
          <p:nvPr>
            <p:ph type="title"/>
          </p:nvPr>
        </p:nvSpPr>
        <p:spPr/>
        <p:txBody>
          <a:bodyPr/>
          <a:lstStyle/>
          <a:p>
            <a:r>
              <a:rPr lang="en-GB">
                <a:latin typeface="+mn-lt"/>
              </a:rPr>
              <a:t>Cause, conclusion, consequence</a:t>
            </a:r>
            <a:endParaRPr lang="en-GB" dirty="0">
              <a:latin typeface="+mn-lt"/>
            </a:endParaRPr>
          </a:p>
        </p:txBody>
      </p:sp>
      <p:sp>
        <p:nvSpPr>
          <p:cNvPr id="8" name="Rectangle 7">
            <a:extLst>
              <a:ext uri="{FF2B5EF4-FFF2-40B4-BE49-F238E27FC236}">
                <a16:creationId xmlns:a16="http://schemas.microsoft.com/office/drawing/2014/main" id="{809C7BF8-F65D-4AA8-B0DE-799CF8958DB1}"/>
              </a:ext>
            </a:extLst>
          </p:cNvPr>
          <p:cNvSpPr/>
          <p:nvPr/>
        </p:nvSpPr>
        <p:spPr bwMode="auto">
          <a:xfrm>
            <a:off x="750382" y="1873061"/>
            <a:ext cx="1080000" cy="10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r>
              <a:rPr lang="en-GB" b="1">
                <a:solidFill>
                  <a:schemeClr val="bg1"/>
                </a:solidFill>
              </a:rPr>
              <a:t>Lorem Ipsum</a:t>
            </a:r>
            <a:endParaRPr lang="en-GB" b="1" dirty="0">
              <a:solidFill>
                <a:schemeClr val="bg1"/>
              </a:solidFill>
            </a:endParaRPr>
          </a:p>
        </p:txBody>
      </p:sp>
      <p:sp>
        <p:nvSpPr>
          <p:cNvPr id="9" name="Rectangle 8">
            <a:extLst>
              <a:ext uri="{FF2B5EF4-FFF2-40B4-BE49-F238E27FC236}">
                <a16:creationId xmlns:a16="http://schemas.microsoft.com/office/drawing/2014/main" id="{BBD849EF-CA35-4281-AD3C-8238C8872445}"/>
              </a:ext>
            </a:extLst>
          </p:cNvPr>
          <p:cNvSpPr/>
          <p:nvPr/>
        </p:nvSpPr>
        <p:spPr bwMode="auto">
          <a:xfrm>
            <a:off x="1936903" y="1873061"/>
            <a:ext cx="2053478" cy="1080000"/>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algn="l">
              <a:buClr>
                <a:schemeClr val="accent3"/>
              </a:buClr>
              <a:buSzPct val="77000"/>
            </a:pPr>
            <a:endParaRPr lang="en-GB" sz="1400" b="1" dirty="0">
              <a:solidFill>
                <a:srgbClr val="000000"/>
              </a:solidFill>
              <a:latin typeface="+mn-lt"/>
            </a:endParaRPr>
          </a:p>
        </p:txBody>
      </p:sp>
      <p:sp>
        <p:nvSpPr>
          <p:cNvPr id="11" name="Rectangle 10">
            <a:extLst>
              <a:ext uri="{FF2B5EF4-FFF2-40B4-BE49-F238E27FC236}">
                <a16:creationId xmlns:a16="http://schemas.microsoft.com/office/drawing/2014/main" id="{5DE9929B-9F50-44FD-A9A4-B4A11D57E9D0}"/>
              </a:ext>
            </a:extLst>
          </p:cNvPr>
          <p:cNvSpPr/>
          <p:nvPr/>
        </p:nvSpPr>
        <p:spPr bwMode="auto">
          <a:xfrm>
            <a:off x="1936903" y="3254876"/>
            <a:ext cx="2053478" cy="1080000"/>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algn="l">
              <a:buClr>
                <a:schemeClr val="accent3"/>
              </a:buClr>
              <a:buSzPct val="77000"/>
            </a:pPr>
            <a:endParaRPr lang="en-GB" sz="1400" b="1" dirty="0">
              <a:solidFill>
                <a:srgbClr val="000000"/>
              </a:solidFill>
              <a:latin typeface="+mn-lt"/>
            </a:endParaRPr>
          </a:p>
        </p:txBody>
      </p:sp>
      <p:sp>
        <p:nvSpPr>
          <p:cNvPr id="13" name="Rectangle 12">
            <a:extLst>
              <a:ext uri="{FF2B5EF4-FFF2-40B4-BE49-F238E27FC236}">
                <a16:creationId xmlns:a16="http://schemas.microsoft.com/office/drawing/2014/main" id="{1AD46171-CAE2-47B9-BD77-488E5AC23D2C}"/>
              </a:ext>
            </a:extLst>
          </p:cNvPr>
          <p:cNvSpPr/>
          <p:nvPr/>
        </p:nvSpPr>
        <p:spPr bwMode="auto">
          <a:xfrm>
            <a:off x="1936903" y="4646686"/>
            <a:ext cx="2053478" cy="1080000"/>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algn="l">
              <a:buClr>
                <a:schemeClr val="accent3"/>
              </a:buClr>
              <a:buSzPct val="77000"/>
            </a:pPr>
            <a:endParaRPr lang="en-GB" sz="1400" b="1" dirty="0">
              <a:solidFill>
                <a:srgbClr val="000000"/>
              </a:solidFill>
              <a:latin typeface="+mn-lt"/>
            </a:endParaRPr>
          </a:p>
        </p:txBody>
      </p:sp>
      <p:sp>
        <p:nvSpPr>
          <p:cNvPr id="14" name="Rectangle 13">
            <a:extLst>
              <a:ext uri="{FF2B5EF4-FFF2-40B4-BE49-F238E27FC236}">
                <a16:creationId xmlns:a16="http://schemas.microsoft.com/office/drawing/2014/main" id="{48CE3A40-1F04-4E85-B238-764CBD20AB03}"/>
              </a:ext>
            </a:extLst>
          </p:cNvPr>
          <p:cNvSpPr/>
          <p:nvPr/>
        </p:nvSpPr>
        <p:spPr bwMode="auto">
          <a:xfrm>
            <a:off x="750382" y="3254876"/>
            <a:ext cx="1080000" cy="10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r>
              <a:rPr lang="en-GB" b="1">
                <a:solidFill>
                  <a:schemeClr val="bg1"/>
                </a:solidFill>
              </a:rPr>
              <a:t>Lorem Ipsum</a:t>
            </a:r>
            <a:endParaRPr lang="en-GB" b="1" dirty="0">
              <a:solidFill>
                <a:schemeClr val="bg1"/>
              </a:solidFill>
            </a:endParaRPr>
          </a:p>
        </p:txBody>
      </p:sp>
      <p:sp>
        <p:nvSpPr>
          <p:cNvPr id="15" name="Rectangle 14">
            <a:extLst>
              <a:ext uri="{FF2B5EF4-FFF2-40B4-BE49-F238E27FC236}">
                <a16:creationId xmlns:a16="http://schemas.microsoft.com/office/drawing/2014/main" id="{F98572CF-0E58-466E-A686-C4196BE37157}"/>
              </a:ext>
            </a:extLst>
          </p:cNvPr>
          <p:cNvSpPr/>
          <p:nvPr/>
        </p:nvSpPr>
        <p:spPr bwMode="auto">
          <a:xfrm>
            <a:off x="750382" y="4646686"/>
            <a:ext cx="1080000" cy="10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r>
              <a:rPr lang="en-GB" b="1">
                <a:solidFill>
                  <a:schemeClr val="bg1"/>
                </a:solidFill>
              </a:rPr>
              <a:t>Lorem Ipsum</a:t>
            </a:r>
            <a:endParaRPr lang="en-GB" b="1" dirty="0">
              <a:solidFill>
                <a:schemeClr val="bg1"/>
              </a:solidFill>
            </a:endParaRPr>
          </a:p>
        </p:txBody>
      </p:sp>
      <p:sp>
        <p:nvSpPr>
          <p:cNvPr id="31" name="Ellipse 30">
            <a:extLst>
              <a:ext uri="{FF2B5EF4-FFF2-40B4-BE49-F238E27FC236}">
                <a16:creationId xmlns:a16="http://schemas.microsoft.com/office/drawing/2014/main" id="{1A4E89CC-9320-485E-9629-E38D0EAB4F7F}"/>
              </a:ext>
            </a:extLst>
          </p:cNvPr>
          <p:cNvSpPr/>
          <p:nvPr/>
        </p:nvSpPr>
        <p:spPr>
          <a:xfrm>
            <a:off x="4590921" y="2187836"/>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lang="en-GB">
                <a:solidFill>
                  <a:schemeClr val="bg1"/>
                </a:solidFill>
              </a:rPr>
              <a:t>1</a:t>
            </a:r>
            <a:endParaRPr lang="en-GB" dirty="0">
              <a:solidFill>
                <a:schemeClr val="bg1"/>
              </a:solidFill>
            </a:endParaRPr>
          </a:p>
        </p:txBody>
      </p:sp>
      <p:sp>
        <p:nvSpPr>
          <p:cNvPr id="33" name="ZoneTexte 32">
            <a:extLst>
              <a:ext uri="{FF2B5EF4-FFF2-40B4-BE49-F238E27FC236}">
                <a16:creationId xmlns:a16="http://schemas.microsoft.com/office/drawing/2014/main" id="{F60D1AE7-1C58-43DE-A879-59ACE9C7C83D}"/>
              </a:ext>
            </a:extLst>
          </p:cNvPr>
          <p:cNvSpPr txBox="1"/>
          <p:nvPr/>
        </p:nvSpPr>
        <p:spPr>
          <a:xfrm>
            <a:off x="5217062" y="1976857"/>
            <a:ext cx="3290193" cy="87240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kern="0">
                <a:latin typeface="+mn-lt"/>
              </a:rPr>
              <a:t>Lorem ipsum dolor sit amet, consectetur adipiscing elit. </a:t>
            </a:r>
            <a:endParaRPr lang="en-GB" kern="0" dirty="0">
              <a:latin typeface="+mn-lt"/>
            </a:endParaRPr>
          </a:p>
        </p:txBody>
      </p:sp>
      <p:sp>
        <p:nvSpPr>
          <p:cNvPr id="34" name="Ellipse 33">
            <a:extLst>
              <a:ext uri="{FF2B5EF4-FFF2-40B4-BE49-F238E27FC236}">
                <a16:creationId xmlns:a16="http://schemas.microsoft.com/office/drawing/2014/main" id="{7869C552-CEF6-4BC5-B67E-9348971C96C0}"/>
              </a:ext>
            </a:extLst>
          </p:cNvPr>
          <p:cNvSpPr/>
          <p:nvPr/>
        </p:nvSpPr>
        <p:spPr>
          <a:xfrm>
            <a:off x="4590921" y="3569651"/>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lang="en-GB">
                <a:solidFill>
                  <a:schemeClr val="bg1"/>
                </a:solidFill>
              </a:rPr>
              <a:t>2</a:t>
            </a:r>
            <a:endParaRPr lang="en-GB" dirty="0">
              <a:solidFill>
                <a:schemeClr val="bg1"/>
              </a:solidFill>
            </a:endParaRPr>
          </a:p>
        </p:txBody>
      </p:sp>
      <p:sp>
        <p:nvSpPr>
          <p:cNvPr id="35" name="ZoneTexte 34">
            <a:extLst>
              <a:ext uri="{FF2B5EF4-FFF2-40B4-BE49-F238E27FC236}">
                <a16:creationId xmlns:a16="http://schemas.microsoft.com/office/drawing/2014/main" id="{7A8F00FF-B28A-42A2-A7C4-1C50F67F5668}"/>
              </a:ext>
            </a:extLst>
          </p:cNvPr>
          <p:cNvSpPr txBox="1"/>
          <p:nvPr/>
        </p:nvSpPr>
        <p:spPr>
          <a:xfrm>
            <a:off x="5217063" y="3358672"/>
            <a:ext cx="3290192" cy="87240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kern="0">
                <a:latin typeface="+mn-lt"/>
              </a:rPr>
              <a:t>Lorem ipsum dolor sit amet, consectetur adipiscing elit. </a:t>
            </a:r>
            <a:endParaRPr lang="en-GB" kern="0" dirty="0">
              <a:latin typeface="+mn-lt"/>
            </a:endParaRPr>
          </a:p>
        </p:txBody>
      </p:sp>
      <p:sp>
        <p:nvSpPr>
          <p:cNvPr id="37" name="Ellipse 36">
            <a:extLst>
              <a:ext uri="{FF2B5EF4-FFF2-40B4-BE49-F238E27FC236}">
                <a16:creationId xmlns:a16="http://schemas.microsoft.com/office/drawing/2014/main" id="{656CCFB7-CC31-40FD-8F87-4098D96EDBEE}"/>
              </a:ext>
            </a:extLst>
          </p:cNvPr>
          <p:cNvSpPr/>
          <p:nvPr/>
        </p:nvSpPr>
        <p:spPr>
          <a:xfrm>
            <a:off x="4590921" y="4961461"/>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r>
              <a:rPr lang="en-GB">
                <a:solidFill>
                  <a:schemeClr val="bg1"/>
                </a:solidFill>
              </a:rPr>
              <a:t>3</a:t>
            </a:r>
            <a:endParaRPr lang="en-GB" dirty="0">
              <a:solidFill>
                <a:schemeClr val="bg1"/>
              </a:solidFill>
            </a:endParaRPr>
          </a:p>
        </p:txBody>
      </p:sp>
      <p:sp>
        <p:nvSpPr>
          <p:cNvPr id="38" name="ZoneTexte 37">
            <a:extLst>
              <a:ext uri="{FF2B5EF4-FFF2-40B4-BE49-F238E27FC236}">
                <a16:creationId xmlns:a16="http://schemas.microsoft.com/office/drawing/2014/main" id="{15B0EEE1-0658-4B34-8168-B2AEB5B66AAA}"/>
              </a:ext>
            </a:extLst>
          </p:cNvPr>
          <p:cNvSpPr txBox="1"/>
          <p:nvPr/>
        </p:nvSpPr>
        <p:spPr>
          <a:xfrm>
            <a:off x="5217063" y="4750482"/>
            <a:ext cx="3290192" cy="87240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kern="0">
                <a:latin typeface="+mn-lt"/>
              </a:rPr>
              <a:t>Lorem ipsum dolor sit amet, consectetur adipiscing elit. </a:t>
            </a:r>
            <a:endParaRPr lang="en-GB" kern="0" dirty="0">
              <a:latin typeface="+mn-lt"/>
            </a:endParaRPr>
          </a:p>
        </p:txBody>
      </p:sp>
      <p:sp>
        <p:nvSpPr>
          <p:cNvPr id="54" name="Isosceles Triangle 53">
            <a:extLst>
              <a:ext uri="{FF2B5EF4-FFF2-40B4-BE49-F238E27FC236}">
                <a16:creationId xmlns:a16="http://schemas.microsoft.com/office/drawing/2014/main" id="{D89EF50E-0D58-4BBC-AD87-A3364A744382}"/>
              </a:ext>
            </a:extLst>
          </p:cNvPr>
          <p:cNvSpPr/>
          <p:nvPr/>
        </p:nvSpPr>
        <p:spPr bwMode="auto">
          <a:xfrm rot="5400000">
            <a:off x="3589453" y="2305061"/>
            <a:ext cx="1116000" cy="216000"/>
          </a:xfrm>
          <a:prstGeom prst="triangle">
            <a:avLst/>
          </a:prstGeom>
          <a:solidFill>
            <a:srgbClr val="D9D9D9"/>
          </a:solidFill>
          <a:ln w="19050" cap="flat" cmpd="sng" algn="ctr">
            <a:noFill/>
            <a:prstDash val="solid"/>
            <a:round/>
            <a:headEnd type="none" w="med" len="med"/>
            <a:tailEnd type="none" w="med" len="med"/>
          </a:ln>
          <a:effectLst/>
        </p:spPr>
        <p:txBody>
          <a:bodyPr rot="0" spcFirstLastPara="0" vert="horz" wrap="square" lIns="54000" tIns="54000" rIns="54000" bIns="54000" numCol="1" spcCol="0" rtlCol="0" fromWordArt="0" anchor="t" anchorCtr="0" forceAA="0" compatLnSpc="1">
            <a:prstTxWarp prst="textNoShape">
              <a:avLst/>
            </a:prstTxWarp>
            <a:noAutofit/>
          </a:bodyPr>
          <a:lstStyle>
            <a:defPPr>
              <a:defRPr lang="en-GB"/>
            </a:defPPr>
            <a:lvl1pPr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1pPr>
            <a:lvl2pPr marL="4572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2pPr>
            <a:lvl3pPr marL="9144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3pPr>
            <a:lvl4pPr marL="13716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4pPr>
            <a:lvl5pPr marL="18288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179388" indent="-179388" algn="l">
              <a:buClr>
                <a:schemeClr val="accent3"/>
              </a:buClr>
              <a:buSzPct val="77000"/>
              <a:buFont typeface="Wingdings 3" panose="05040102010807070707" pitchFamily="18" charset="2"/>
              <a:buChar char=""/>
            </a:pPr>
            <a:endParaRPr lang="en-GB" sz="1400" dirty="0">
              <a:solidFill>
                <a:srgbClr val="000000"/>
              </a:solidFill>
              <a:latin typeface="+mn-lt"/>
            </a:endParaRPr>
          </a:p>
        </p:txBody>
      </p:sp>
      <p:sp>
        <p:nvSpPr>
          <p:cNvPr id="55" name="Isosceles Triangle 54">
            <a:extLst>
              <a:ext uri="{FF2B5EF4-FFF2-40B4-BE49-F238E27FC236}">
                <a16:creationId xmlns:a16="http://schemas.microsoft.com/office/drawing/2014/main" id="{7ABD09D7-502F-476B-8278-69922FE591E1}"/>
              </a:ext>
            </a:extLst>
          </p:cNvPr>
          <p:cNvSpPr/>
          <p:nvPr/>
        </p:nvSpPr>
        <p:spPr bwMode="auto">
          <a:xfrm rot="5400000">
            <a:off x="3589453" y="3686876"/>
            <a:ext cx="1116000" cy="216000"/>
          </a:xfrm>
          <a:prstGeom prst="triangle">
            <a:avLst/>
          </a:prstGeom>
          <a:solidFill>
            <a:srgbClr val="D9D9D9"/>
          </a:solidFill>
          <a:ln w="19050" cap="flat" cmpd="sng" algn="ctr">
            <a:noFill/>
            <a:prstDash val="solid"/>
            <a:round/>
            <a:headEnd type="none" w="med" len="med"/>
            <a:tailEnd type="none" w="med" len="med"/>
          </a:ln>
          <a:effectLst/>
        </p:spPr>
        <p:txBody>
          <a:bodyPr rot="0" spcFirstLastPara="0" vert="horz" wrap="square" lIns="54000" tIns="54000" rIns="54000" bIns="54000" numCol="1" spcCol="0" rtlCol="0" fromWordArt="0" anchor="t" anchorCtr="0" forceAA="0" compatLnSpc="1">
            <a:prstTxWarp prst="textNoShape">
              <a:avLst/>
            </a:prstTxWarp>
            <a:noAutofit/>
          </a:bodyPr>
          <a:lstStyle>
            <a:defPPr>
              <a:defRPr lang="en-GB"/>
            </a:defPPr>
            <a:lvl1pPr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1pPr>
            <a:lvl2pPr marL="4572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2pPr>
            <a:lvl3pPr marL="9144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3pPr>
            <a:lvl4pPr marL="13716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4pPr>
            <a:lvl5pPr marL="18288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179388" indent="-179388" algn="l">
              <a:buClr>
                <a:schemeClr val="accent3"/>
              </a:buClr>
              <a:buSzPct val="77000"/>
              <a:buFont typeface="Wingdings 3" panose="05040102010807070707" pitchFamily="18" charset="2"/>
              <a:buChar char=""/>
            </a:pPr>
            <a:endParaRPr lang="en-GB" sz="1400" dirty="0">
              <a:solidFill>
                <a:srgbClr val="000000"/>
              </a:solidFill>
              <a:latin typeface="+mn-lt"/>
            </a:endParaRPr>
          </a:p>
        </p:txBody>
      </p:sp>
      <p:sp>
        <p:nvSpPr>
          <p:cNvPr id="56" name="Isosceles Triangle 55">
            <a:extLst>
              <a:ext uri="{FF2B5EF4-FFF2-40B4-BE49-F238E27FC236}">
                <a16:creationId xmlns:a16="http://schemas.microsoft.com/office/drawing/2014/main" id="{EA739F58-435A-4D6E-81FB-EE8F81020087}"/>
              </a:ext>
            </a:extLst>
          </p:cNvPr>
          <p:cNvSpPr/>
          <p:nvPr/>
        </p:nvSpPr>
        <p:spPr bwMode="auto">
          <a:xfrm rot="5400000">
            <a:off x="3589453" y="5078686"/>
            <a:ext cx="1116000" cy="216000"/>
          </a:xfrm>
          <a:prstGeom prst="triangle">
            <a:avLst/>
          </a:prstGeom>
          <a:solidFill>
            <a:srgbClr val="D9D9D9"/>
          </a:solidFill>
          <a:ln w="19050" cap="flat" cmpd="sng" algn="ctr">
            <a:noFill/>
            <a:prstDash val="solid"/>
            <a:round/>
            <a:headEnd type="none" w="med" len="med"/>
            <a:tailEnd type="none" w="med" len="med"/>
          </a:ln>
          <a:effectLst/>
        </p:spPr>
        <p:txBody>
          <a:bodyPr rot="0" spcFirstLastPara="0" vert="horz" wrap="square" lIns="54000" tIns="54000" rIns="54000" bIns="54000" numCol="1" spcCol="0" rtlCol="0" fromWordArt="0" anchor="t" anchorCtr="0" forceAA="0" compatLnSpc="1">
            <a:prstTxWarp prst="textNoShape">
              <a:avLst/>
            </a:prstTxWarp>
            <a:noAutofit/>
          </a:bodyPr>
          <a:lstStyle>
            <a:defPPr>
              <a:defRPr lang="en-GB"/>
            </a:defPPr>
            <a:lvl1pPr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1pPr>
            <a:lvl2pPr marL="4572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2pPr>
            <a:lvl3pPr marL="9144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3pPr>
            <a:lvl4pPr marL="13716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4pPr>
            <a:lvl5pPr marL="1828800" algn="ctr" rtl="0" eaLnBrk="0" fontAlgn="base" hangingPunct="0">
              <a:spcBef>
                <a:spcPct val="50000"/>
              </a:spcBef>
              <a:spcAft>
                <a:spcPct val="0"/>
              </a:spcAft>
              <a:buClr>
                <a:schemeClr val="accent1"/>
              </a:buClr>
              <a:buFont typeface="Wingdings" pitchFamily="2" charset="2"/>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179388" indent="-179388" algn="l">
              <a:buClr>
                <a:schemeClr val="accent3"/>
              </a:buClr>
              <a:buSzPct val="77000"/>
              <a:buFont typeface="Wingdings 3" panose="05040102010807070707" pitchFamily="18" charset="2"/>
              <a:buChar char=""/>
            </a:pPr>
            <a:endParaRPr lang="en-GB" sz="1400" dirty="0">
              <a:solidFill>
                <a:srgbClr val="000000"/>
              </a:solidFill>
              <a:latin typeface="+mn-lt"/>
            </a:endParaRPr>
          </a:p>
        </p:txBody>
      </p:sp>
      <p:sp>
        <p:nvSpPr>
          <p:cNvPr id="28" name="Ellipse 17">
            <a:extLst>
              <a:ext uri="{FF2B5EF4-FFF2-40B4-BE49-F238E27FC236}">
                <a16:creationId xmlns:a16="http://schemas.microsoft.com/office/drawing/2014/main" id="{97CA148C-6AA0-419C-8A50-B6A84680111D}"/>
              </a:ext>
            </a:extLst>
          </p:cNvPr>
          <p:cNvSpPr/>
          <p:nvPr/>
        </p:nvSpPr>
        <p:spPr bwMode="auto">
          <a:xfrm>
            <a:off x="8919364" y="2444876"/>
            <a:ext cx="2700000" cy="2700000"/>
          </a:xfrm>
          <a:prstGeom prst="ellipse">
            <a:avLst/>
          </a:prstGeom>
          <a:solidFill>
            <a:srgbClr val="F3F0F1"/>
          </a:solidFill>
          <a:ln w="285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r>
              <a:rPr lang="en-GB" sz="3600" dirty="0">
                <a:solidFill>
                  <a:schemeClr val="tx2"/>
                </a:solidFill>
                <a:latin typeface="+mn-lt"/>
              </a:rPr>
              <a:t>€/£/$</a:t>
            </a:r>
            <a:r>
              <a:rPr lang="en-GB" sz="3600" dirty="0" err="1">
                <a:solidFill>
                  <a:schemeClr val="tx2"/>
                </a:solidFill>
                <a:latin typeface="+mn-lt"/>
              </a:rPr>
              <a:t>XXk</a:t>
            </a:r>
            <a:endParaRPr lang="en-GB" sz="3600" dirty="0">
              <a:solidFill>
                <a:schemeClr val="tx2"/>
              </a:solidFill>
              <a:latin typeface="+mn-lt"/>
            </a:endParaRPr>
          </a:p>
          <a:p>
            <a:r>
              <a:rPr lang="en-GB" sz="3600" dirty="0">
                <a:solidFill>
                  <a:schemeClr val="tx2"/>
                </a:solidFill>
                <a:latin typeface="+mn-lt"/>
              </a:rPr>
              <a:t>Benefits</a:t>
            </a:r>
            <a:endParaRPr lang="en-GB" sz="1800" b="1" dirty="0">
              <a:solidFill>
                <a:schemeClr val="tx2"/>
              </a:solidFill>
              <a:latin typeface="+mn-lt"/>
            </a:endParaRPr>
          </a:p>
        </p:txBody>
      </p:sp>
    </p:spTree>
    <p:extLst>
      <p:ext uri="{BB962C8B-B14F-4D97-AF65-F5344CB8AC3E}">
        <p14:creationId xmlns:p14="http://schemas.microsoft.com/office/powerpoint/2010/main" val="28305848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3C5876B9-713E-45F5-89C2-AF43DC8A91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8" name="Objet 7" hidden="1">
                        <a:extLst>
                          <a:ext uri="{FF2B5EF4-FFF2-40B4-BE49-F238E27FC236}">
                            <a16:creationId xmlns:a16="http://schemas.microsoft.com/office/drawing/2014/main" id="{3C5876B9-713E-45F5-89C2-AF43DC8A91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132C2A-9159-4885-8A7F-2695E82D3FB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C57C7CD-4244-4445-9B2D-A54F30105C3E}"/>
              </a:ext>
            </a:extLst>
          </p:cNvPr>
          <p:cNvSpPr>
            <a:spLocks noGrp="1"/>
          </p:cNvSpPr>
          <p:nvPr>
            <p:ph type="title"/>
          </p:nvPr>
        </p:nvSpPr>
        <p:spPr/>
        <p:txBody>
          <a:bodyPr/>
          <a:lstStyle/>
          <a:p>
            <a:r>
              <a:rPr lang="en-GB"/>
              <a:t>Slide message – 2 themes with 3 ideas &amp; logos</a:t>
            </a:r>
            <a:endParaRPr lang="en-GB" dirty="0"/>
          </a:p>
        </p:txBody>
      </p:sp>
      <p:sp>
        <p:nvSpPr>
          <p:cNvPr id="7" name="Rectangle 6">
            <a:extLst>
              <a:ext uri="{FF2B5EF4-FFF2-40B4-BE49-F238E27FC236}">
                <a16:creationId xmlns:a16="http://schemas.microsoft.com/office/drawing/2014/main" id="{C003C6D4-B2E3-45FB-85E9-2FF1CA4FF5B0}"/>
              </a:ext>
            </a:extLst>
          </p:cNvPr>
          <p:cNvSpPr/>
          <p:nvPr/>
        </p:nvSpPr>
        <p:spPr bwMode="auto">
          <a:xfrm>
            <a:off x="426000" y="1526289"/>
            <a:ext cx="11340000" cy="349836"/>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cxnSp>
        <p:nvCxnSpPr>
          <p:cNvPr id="11" name="Connecteur droit 7">
            <a:extLst>
              <a:ext uri="{FF2B5EF4-FFF2-40B4-BE49-F238E27FC236}">
                <a16:creationId xmlns:a16="http://schemas.microsoft.com/office/drawing/2014/main" id="{F2B69D8C-BB90-4881-B794-3E92889EAB5F}"/>
              </a:ext>
            </a:extLst>
          </p:cNvPr>
          <p:cNvCxnSpPr/>
          <p:nvPr/>
        </p:nvCxnSpPr>
        <p:spPr>
          <a:xfrm rot="5400000" flipV="1">
            <a:off x="3059995" y="2165351"/>
            <a:ext cx="25695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Connecteur droit 8">
            <a:extLst>
              <a:ext uri="{FF2B5EF4-FFF2-40B4-BE49-F238E27FC236}">
                <a16:creationId xmlns:a16="http://schemas.microsoft.com/office/drawing/2014/main" id="{CFBB04A0-F736-4971-B391-D9F1CCA4CC89}"/>
              </a:ext>
            </a:extLst>
          </p:cNvPr>
          <p:cNvCxnSpPr/>
          <p:nvPr/>
        </p:nvCxnSpPr>
        <p:spPr>
          <a:xfrm rot="10800000" flipV="1">
            <a:off x="578471" y="2291790"/>
            <a:ext cx="5220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265F56B-069E-447B-B822-542DDF9CF55B}"/>
              </a:ext>
            </a:extLst>
          </p:cNvPr>
          <p:cNvSpPr/>
          <p:nvPr/>
        </p:nvSpPr>
        <p:spPr>
          <a:xfrm>
            <a:off x="3008471" y="1702525"/>
            <a:ext cx="360000" cy="360000"/>
          </a:xfrm>
          <a:prstGeom prst="rect">
            <a:avLst/>
          </a:prstGeom>
          <a:solidFill>
            <a:schemeClr val="tx2"/>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GB" sz="2000" b="1">
                <a:solidFill>
                  <a:schemeClr val="bg1"/>
                </a:solidFill>
              </a:rPr>
              <a:t>1</a:t>
            </a:r>
            <a:endParaRPr lang="en-GB" sz="2000" b="1" dirty="0">
              <a:solidFill>
                <a:schemeClr val="bg1"/>
              </a:solidFill>
            </a:endParaRPr>
          </a:p>
        </p:txBody>
      </p:sp>
      <p:cxnSp>
        <p:nvCxnSpPr>
          <p:cNvPr id="13" name="Connecteur droit 7">
            <a:extLst>
              <a:ext uri="{FF2B5EF4-FFF2-40B4-BE49-F238E27FC236}">
                <a16:creationId xmlns:a16="http://schemas.microsoft.com/office/drawing/2014/main" id="{6F1E314C-F6F7-431C-8906-848C301F763B}"/>
              </a:ext>
            </a:extLst>
          </p:cNvPr>
          <p:cNvCxnSpPr/>
          <p:nvPr/>
        </p:nvCxnSpPr>
        <p:spPr>
          <a:xfrm rot="5400000" flipV="1">
            <a:off x="8747995" y="2165351"/>
            <a:ext cx="25695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Connecteur droit 8">
            <a:extLst>
              <a:ext uri="{FF2B5EF4-FFF2-40B4-BE49-F238E27FC236}">
                <a16:creationId xmlns:a16="http://schemas.microsoft.com/office/drawing/2014/main" id="{3422B7A1-C4CA-468F-B9F4-2F72C9E6C6FD}"/>
              </a:ext>
            </a:extLst>
          </p:cNvPr>
          <p:cNvCxnSpPr/>
          <p:nvPr/>
        </p:nvCxnSpPr>
        <p:spPr>
          <a:xfrm rot="10800000" flipV="1">
            <a:off x="6266471" y="2291790"/>
            <a:ext cx="5220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2BA5BA0-546C-4680-9D5D-7957593F1CB1}"/>
              </a:ext>
            </a:extLst>
          </p:cNvPr>
          <p:cNvSpPr/>
          <p:nvPr/>
        </p:nvSpPr>
        <p:spPr>
          <a:xfrm>
            <a:off x="8696471" y="1702525"/>
            <a:ext cx="360000" cy="360000"/>
          </a:xfrm>
          <a:prstGeom prst="rect">
            <a:avLst/>
          </a:prstGeom>
          <a:solidFill>
            <a:schemeClr val="tx2"/>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GB" sz="2000" b="1">
                <a:solidFill>
                  <a:schemeClr val="bg1"/>
                </a:solidFill>
              </a:rPr>
              <a:t>2</a:t>
            </a:r>
            <a:endParaRPr lang="en-GB" sz="2000" b="1" dirty="0">
              <a:solidFill>
                <a:schemeClr val="bg1"/>
              </a:solidFill>
            </a:endParaRPr>
          </a:p>
        </p:txBody>
      </p:sp>
      <p:graphicFrame>
        <p:nvGraphicFramePr>
          <p:cNvPr id="5" name="Tableau 5">
            <a:extLst>
              <a:ext uri="{FF2B5EF4-FFF2-40B4-BE49-F238E27FC236}">
                <a16:creationId xmlns:a16="http://schemas.microsoft.com/office/drawing/2014/main" id="{91790B3F-A064-4ACE-8A0E-9E439650C733}"/>
              </a:ext>
            </a:extLst>
          </p:cNvPr>
          <p:cNvGraphicFramePr>
            <a:graphicFrameLocks noGrp="1"/>
          </p:cNvGraphicFramePr>
          <p:nvPr>
            <p:extLst>
              <p:ext uri="{D42A27DB-BD31-4B8C-83A1-F6EECF244321}">
                <p14:modId xmlns:p14="http://schemas.microsoft.com/office/powerpoint/2010/main" val="977781791"/>
              </p:ext>
            </p:extLst>
          </p:nvPr>
        </p:nvGraphicFramePr>
        <p:xfrm>
          <a:off x="578469" y="2572394"/>
          <a:ext cx="10907996" cy="3576472"/>
        </p:xfrm>
        <a:graphic>
          <a:graphicData uri="http://schemas.openxmlformats.org/drawingml/2006/table">
            <a:tbl>
              <a:tblPr firstRow="1" bandRow="1">
                <a:tableStyleId>{5C22544A-7EE6-4342-B048-85BDC9FD1C3A}</a:tableStyleId>
              </a:tblPr>
              <a:tblGrid>
                <a:gridCol w="946148">
                  <a:extLst>
                    <a:ext uri="{9D8B030D-6E8A-4147-A177-3AD203B41FA5}">
                      <a16:colId xmlns:a16="http://schemas.microsoft.com/office/drawing/2014/main" val="810586155"/>
                    </a:ext>
                  </a:extLst>
                </a:gridCol>
                <a:gridCol w="4243241">
                  <a:extLst>
                    <a:ext uri="{9D8B030D-6E8A-4147-A177-3AD203B41FA5}">
                      <a16:colId xmlns:a16="http://schemas.microsoft.com/office/drawing/2014/main" val="1576129143"/>
                    </a:ext>
                  </a:extLst>
                </a:gridCol>
                <a:gridCol w="491997">
                  <a:extLst>
                    <a:ext uri="{9D8B030D-6E8A-4147-A177-3AD203B41FA5}">
                      <a16:colId xmlns:a16="http://schemas.microsoft.com/office/drawing/2014/main" val="3213179568"/>
                    </a:ext>
                  </a:extLst>
                </a:gridCol>
                <a:gridCol w="946148">
                  <a:extLst>
                    <a:ext uri="{9D8B030D-6E8A-4147-A177-3AD203B41FA5}">
                      <a16:colId xmlns:a16="http://schemas.microsoft.com/office/drawing/2014/main" val="2532241135"/>
                    </a:ext>
                  </a:extLst>
                </a:gridCol>
                <a:gridCol w="4280462">
                  <a:extLst>
                    <a:ext uri="{9D8B030D-6E8A-4147-A177-3AD203B41FA5}">
                      <a16:colId xmlns:a16="http://schemas.microsoft.com/office/drawing/2014/main" val="846679562"/>
                    </a:ext>
                  </a:extLst>
                </a:gridCol>
              </a:tblGrid>
              <a:tr h="894118">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endParaRPr lang="en-GB" sz="1800" b="1" dirty="0">
                        <a:solidFill>
                          <a:srgbClr val="FFFFFF"/>
                        </a:solidFill>
                        <a:latin typeface="+mn-lt"/>
                      </a:endParaRPr>
                    </a:p>
                  </a:txBody>
                  <a:tcPr>
                    <a:lnL w="12700" cmpd="sng">
                      <a:noFill/>
                    </a:lnL>
                    <a:lnR w="12700" cmpd="sng">
                      <a:noFill/>
                    </a:lnR>
                    <a:lnT w="635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800" b="1" kern="0" dirty="0">
                          <a:solidFill>
                            <a:schemeClr val="tx1"/>
                          </a:solidFill>
                          <a:latin typeface="+mn-lt"/>
                          <a:cs typeface="Arial" pitchFamily="34" charset="0"/>
                        </a:rPr>
                        <a:t>Lorem ipsum </a:t>
                      </a:r>
                      <a:r>
                        <a:rPr lang="en-GB" sz="1800" b="1" kern="0" dirty="0" err="1">
                          <a:solidFill>
                            <a:schemeClr val="tx1"/>
                          </a:solidFill>
                          <a:latin typeface="+mn-lt"/>
                          <a:cs typeface="Arial" pitchFamily="34" charset="0"/>
                        </a:rPr>
                        <a:t>dolor</a:t>
                      </a:r>
                      <a:r>
                        <a:rPr lang="en-GB" sz="1800" b="1" kern="0" dirty="0">
                          <a:solidFill>
                            <a:schemeClr val="tx1"/>
                          </a:solidFill>
                          <a:latin typeface="+mn-lt"/>
                          <a:cs typeface="Arial" pitchFamily="34" charset="0"/>
                        </a:rPr>
                        <a:t> sit </a:t>
                      </a:r>
                      <a:r>
                        <a:rPr lang="en-GB" sz="1800" b="1" kern="0" dirty="0" err="1">
                          <a:solidFill>
                            <a:schemeClr val="tx1"/>
                          </a:solidFill>
                          <a:latin typeface="+mn-lt"/>
                          <a:cs typeface="Arial" pitchFamily="34" charset="0"/>
                        </a:rPr>
                        <a:t>amet</a:t>
                      </a:r>
                      <a:endParaRPr lang="en-GB" sz="1800" b="1" dirty="0">
                        <a:solidFill>
                          <a:schemeClr val="tx1"/>
                        </a:solidFill>
                        <a:latin typeface="+mn-lt"/>
                      </a:endParaRPr>
                    </a:p>
                  </a:txBody>
                  <a:tcPr>
                    <a:lnL w="12700" cmpd="sng">
                      <a:noFill/>
                    </a:lnL>
                    <a:lnR w="12700" cmpd="sng">
                      <a:noFill/>
                    </a:lnR>
                    <a:lnT w="635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endParaRPr lang="en-GB" dirty="0">
                        <a:solidFill>
                          <a:schemeClr val="tx1"/>
                        </a:solidFill>
                        <a:latin typeface="+mn-lt"/>
                      </a:endParaRPr>
                    </a:p>
                  </a:txBody>
                  <a:tcPr>
                    <a:lnL w="12700" cmpd="sng">
                      <a:noFill/>
                    </a:lnL>
                    <a:noFill/>
                  </a:tcPr>
                </a:tc>
                <a:tc>
                  <a:txBody>
                    <a:bodyPr/>
                    <a:lstStyle/>
                    <a:p>
                      <a:pPr algn="ctr"/>
                      <a:endParaRPr lang="en-GB" dirty="0">
                        <a:solidFill>
                          <a:schemeClr val="tx1"/>
                        </a:solidFill>
                        <a:latin typeface="+mn-lt"/>
                      </a:endParaRPr>
                    </a:p>
                  </a:txBody>
                  <a:tcPr>
                    <a:noFill/>
                  </a:tcPr>
                </a:tc>
                <a:tc>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800" b="1" kern="0" dirty="0">
                          <a:solidFill>
                            <a:schemeClr val="tx1"/>
                          </a:solidFill>
                          <a:latin typeface="+mn-lt"/>
                          <a:cs typeface="Arial" pitchFamily="34" charset="0"/>
                        </a:rPr>
                        <a:t>Lorem ipsum </a:t>
                      </a:r>
                      <a:r>
                        <a:rPr lang="en-GB" sz="1800" b="1" kern="0" dirty="0" err="1">
                          <a:solidFill>
                            <a:schemeClr val="tx1"/>
                          </a:solidFill>
                          <a:latin typeface="+mn-lt"/>
                          <a:cs typeface="Arial" pitchFamily="34" charset="0"/>
                        </a:rPr>
                        <a:t>dolor</a:t>
                      </a:r>
                      <a:r>
                        <a:rPr lang="en-GB" sz="1800" b="1" kern="0" dirty="0">
                          <a:solidFill>
                            <a:schemeClr val="tx1"/>
                          </a:solidFill>
                          <a:latin typeface="+mn-lt"/>
                          <a:cs typeface="Arial" pitchFamily="34" charset="0"/>
                        </a:rPr>
                        <a:t> sit </a:t>
                      </a:r>
                      <a:r>
                        <a:rPr lang="en-GB" sz="1800" b="1" kern="0" dirty="0" err="1">
                          <a:solidFill>
                            <a:schemeClr val="tx1"/>
                          </a:solidFill>
                          <a:latin typeface="+mn-lt"/>
                          <a:cs typeface="Arial" pitchFamily="34" charset="0"/>
                        </a:rPr>
                        <a:t>amet</a:t>
                      </a:r>
                      <a:endParaRPr lang="en-GB" sz="1800" b="1" dirty="0">
                        <a:solidFill>
                          <a:schemeClr val="tx1"/>
                        </a:solidFill>
                        <a:latin typeface="+mn-lt"/>
                      </a:endParaRPr>
                    </a:p>
                  </a:txBody>
                  <a:tcPr>
                    <a:noFill/>
                  </a:tcPr>
                </a:tc>
                <a:extLst>
                  <a:ext uri="{0D108BD9-81ED-4DB2-BD59-A6C34878D82A}">
                    <a16:rowId xmlns:a16="http://schemas.microsoft.com/office/drawing/2014/main" val="3221009041"/>
                  </a:ext>
                </a:extLst>
              </a:tr>
              <a:tr h="894118">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rgbClr val="000000"/>
                        </a:solidFill>
                        <a:effectLst/>
                        <a:uLnTx/>
                        <a:uFillTx/>
                        <a:latin typeface="+mn-lt"/>
                        <a:ea typeface="+mn-ea"/>
                        <a:cs typeface="+mn-cs"/>
                      </a:endParaRPr>
                    </a:p>
                  </a:txBody>
                  <a:tcPr>
                    <a:lnT w="38100" cmpd="sng">
                      <a:noFill/>
                    </a:lnT>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Lorem ipsum </a:t>
                      </a:r>
                      <a:r>
                        <a:rPr kumimoji="0" lang="en-GB" sz="1400" b="0" i="0" u="none" strike="noStrike" kern="1200" cap="none" spc="0" normalizeH="0" baseline="0" noProof="0" dirty="0" err="1">
                          <a:ln>
                            <a:noFill/>
                          </a:ln>
                          <a:solidFill>
                            <a:schemeClr val="tx1"/>
                          </a:solidFill>
                          <a:effectLst/>
                          <a:uLnTx/>
                          <a:uFillTx/>
                          <a:latin typeface="+mn-lt"/>
                          <a:ea typeface="+mn-ea"/>
                          <a:cs typeface="+mn-cs"/>
                        </a:rPr>
                        <a:t>dolor</a:t>
                      </a:r>
                      <a:r>
                        <a:rPr kumimoji="0" lang="en-GB" sz="1400" b="0" i="0" u="none" strike="noStrike" kern="1200" cap="none" spc="0" normalizeH="0" baseline="0" noProof="0" dirty="0">
                          <a:ln>
                            <a:noFill/>
                          </a:ln>
                          <a:solidFill>
                            <a:schemeClr val="tx1"/>
                          </a:solidFill>
                          <a:effectLst/>
                          <a:uLnTx/>
                          <a:uFillTx/>
                          <a:latin typeface="+mn-lt"/>
                          <a:ea typeface="+mn-ea"/>
                          <a:cs typeface="+mn-cs"/>
                        </a:rPr>
                        <a:t> sit </a:t>
                      </a:r>
                      <a:r>
                        <a:rPr kumimoji="0" lang="en-GB" sz="1400" b="0" i="0" u="none" strike="noStrike" kern="1200" cap="none" spc="0" normalizeH="0" baseline="0" noProof="0" dirty="0" err="1">
                          <a:ln>
                            <a:noFill/>
                          </a:ln>
                          <a:solidFill>
                            <a:schemeClr val="tx1"/>
                          </a:solidFill>
                          <a:effectLst/>
                          <a:uLnTx/>
                          <a:uFillTx/>
                          <a:latin typeface="+mn-lt"/>
                          <a:ea typeface="+mn-ea"/>
                          <a:cs typeface="+mn-cs"/>
                        </a:rPr>
                        <a:t>ame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Lorem ipsum </a:t>
                      </a:r>
                      <a:r>
                        <a:rPr kumimoji="0" lang="en-GB" sz="1400" b="0" i="0" u="none" strike="noStrike" kern="1200" cap="none" spc="0" normalizeH="0" baseline="0" noProof="0" dirty="0" err="1">
                          <a:ln>
                            <a:noFill/>
                          </a:ln>
                          <a:solidFill>
                            <a:schemeClr val="tx1"/>
                          </a:solidFill>
                          <a:effectLst/>
                          <a:uLnTx/>
                          <a:uFillTx/>
                          <a:latin typeface="+mn-lt"/>
                          <a:ea typeface="+mn-ea"/>
                          <a:cs typeface="+mn-cs"/>
                        </a:rPr>
                        <a:t>dolor</a:t>
                      </a:r>
                      <a:r>
                        <a:rPr kumimoji="0" lang="en-GB" sz="1400" b="0" i="0" u="none" strike="noStrike" kern="1200" cap="none" spc="0" normalizeH="0" baseline="0" noProof="0" dirty="0">
                          <a:ln>
                            <a:noFill/>
                          </a:ln>
                          <a:solidFill>
                            <a:schemeClr val="tx1"/>
                          </a:solidFill>
                          <a:effectLst/>
                          <a:uLnTx/>
                          <a:uFillTx/>
                          <a:latin typeface="+mn-lt"/>
                          <a:ea typeface="+mn-ea"/>
                          <a:cs typeface="+mn-cs"/>
                        </a:rPr>
                        <a:t> sit </a:t>
                      </a:r>
                      <a:r>
                        <a:rPr kumimoji="0" lang="en-GB" sz="1400" b="0" i="0" u="none" strike="noStrike" kern="1200" cap="none" spc="0" normalizeH="0" baseline="0" noProof="0" dirty="0" err="1">
                          <a:ln>
                            <a:noFill/>
                          </a:ln>
                          <a:solidFill>
                            <a:schemeClr val="tx1"/>
                          </a:solidFill>
                          <a:effectLst/>
                          <a:uLnTx/>
                          <a:uFillTx/>
                          <a:latin typeface="+mn-lt"/>
                          <a:ea typeface="+mn-ea"/>
                          <a:cs typeface="+mn-cs"/>
                        </a:rPr>
                        <a:t>ame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lnT w="38100" cmpd="sng">
                      <a:noFill/>
                    </a:lnT>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noFill/>
                  </a:tcPr>
                </a:tc>
                <a:extLst>
                  <a:ext uri="{0D108BD9-81ED-4DB2-BD59-A6C34878D82A}">
                    <a16:rowId xmlns:a16="http://schemas.microsoft.com/office/drawing/2014/main" val="2623953546"/>
                  </a:ext>
                </a:extLst>
              </a:tr>
              <a:tr h="894118">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rgbClr val="000000"/>
                        </a:solidFill>
                        <a:effectLst/>
                        <a:uLnTx/>
                        <a:uFillTx/>
                        <a:latin typeface="+mn-lt"/>
                        <a:ea typeface="+mn-ea"/>
                        <a:cs typeface="+mn-cs"/>
                      </a:endParaRPr>
                    </a:p>
                  </a:txBody>
                  <a:tcPr>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noFill/>
                  </a:tcPr>
                </a:tc>
                <a:extLst>
                  <a:ext uri="{0D108BD9-81ED-4DB2-BD59-A6C34878D82A}">
                    <a16:rowId xmlns:a16="http://schemas.microsoft.com/office/drawing/2014/main" val="3475931473"/>
                  </a:ext>
                </a:extLst>
              </a:tr>
              <a:tr h="894118">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rgbClr val="000000"/>
                        </a:solidFill>
                        <a:effectLst/>
                        <a:uLnTx/>
                        <a:uFillTx/>
                        <a:latin typeface="+mn-lt"/>
                        <a:ea typeface="+mn-ea"/>
                        <a:cs typeface="+mn-cs"/>
                      </a:endParaRPr>
                    </a:p>
                  </a:txBody>
                  <a:tcPr>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orem ipsum dolor sit amet, 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a:noFill/>
                  </a:tcPr>
                </a:tc>
                <a:tc>
                  <a:txBody>
                    <a:bodyPr/>
                    <a:lstStyle/>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Lorem ipsum </a:t>
                      </a:r>
                      <a:r>
                        <a:rPr kumimoji="0" lang="en-GB" sz="1400" b="0" i="0" u="none" strike="noStrike" kern="1200" cap="none" spc="0" normalizeH="0" baseline="0" noProof="0" dirty="0" err="1">
                          <a:ln>
                            <a:noFill/>
                          </a:ln>
                          <a:solidFill>
                            <a:schemeClr val="tx1"/>
                          </a:solidFill>
                          <a:effectLst/>
                          <a:uLnTx/>
                          <a:uFillTx/>
                          <a:latin typeface="+mn-lt"/>
                          <a:ea typeface="+mn-ea"/>
                          <a:cs typeface="+mn-cs"/>
                        </a:rPr>
                        <a:t>dolor</a:t>
                      </a:r>
                      <a:r>
                        <a:rPr kumimoji="0" lang="en-GB" sz="1400" b="0" i="0" u="none" strike="noStrike" kern="1200" cap="none" spc="0" normalizeH="0" baseline="0" noProof="0" dirty="0">
                          <a:ln>
                            <a:noFill/>
                          </a:ln>
                          <a:solidFill>
                            <a:schemeClr val="tx1"/>
                          </a:solidFill>
                          <a:effectLst/>
                          <a:uLnTx/>
                          <a:uFillTx/>
                          <a:latin typeface="+mn-lt"/>
                          <a:ea typeface="+mn-ea"/>
                          <a:cs typeface="+mn-cs"/>
                        </a:rPr>
                        <a:t> sit </a:t>
                      </a:r>
                      <a:r>
                        <a:rPr kumimoji="0" lang="en-GB" sz="1400" b="0" i="0" u="none" strike="noStrike" kern="1200" cap="none" spc="0" normalizeH="0" baseline="0" noProof="0" dirty="0" err="1">
                          <a:ln>
                            <a:noFill/>
                          </a:ln>
                          <a:solidFill>
                            <a:schemeClr val="tx1"/>
                          </a:solidFill>
                          <a:effectLst/>
                          <a:uLnTx/>
                          <a:uFillTx/>
                          <a:latin typeface="+mn-lt"/>
                          <a:ea typeface="+mn-ea"/>
                          <a:cs typeface="+mn-cs"/>
                        </a:rPr>
                        <a:t>ame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00000"/>
                        </a:lnSpc>
                        <a:spcBef>
                          <a:spcPts val="400"/>
                        </a:spcBef>
                        <a:spcAft>
                          <a:spcPts val="400"/>
                        </a:spcAft>
                        <a:buClr>
                          <a:srgbClr val="B40646"/>
                        </a:buClr>
                        <a:buSzTx/>
                        <a:buFont typeface="Wingdings" pitchFamily="2" charset="2"/>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Lorem ipsum </a:t>
                      </a:r>
                      <a:r>
                        <a:rPr kumimoji="0" lang="en-GB" sz="1400" b="0" i="0" u="none" strike="noStrike" kern="1200" cap="none" spc="0" normalizeH="0" baseline="0" noProof="0" dirty="0" err="1">
                          <a:ln>
                            <a:noFill/>
                          </a:ln>
                          <a:solidFill>
                            <a:schemeClr val="tx1"/>
                          </a:solidFill>
                          <a:effectLst/>
                          <a:uLnTx/>
                          <a:uFillTx/>
                          <a:latin typeface="+mn-lt"/>
                          <a:ea typeface="+mn-ea"/>
                          <a:cs typeface="+mn-cs"/>
                        </a:rPr>
                        <a:t>dolor</a:t>
                      </a:r>
                      <a:r>
                        <a:rPr kumimoji="0" lang="en-GB" sz="1400" b="0" i="0" u="none" strike="noStrike" kern="1200" cap="none" spc="0" normalizeH="0" baseline="0" noProof="0" dirty="0">
                          <a:ln>
                            <a:noFill/>
                          </a:ln>
                          <a:solidFill>
                            <a:schemeClr val="tx1"/>
                          </a:solidFill>
                          <a:effectLst/>
                          <a:uLnTx/>
                          <a:uFillTx/>
                          <a:latin typeface="+mn-lt"/>
                          <a:ea typeface="+mn-ea"/>
                          <a:cs typeface="+mn-cs"/>
                        </a:rPr>
                        <a:t> sit </a:t>
                      </a:r>
                      <a:r>
                        <a:rPr kumimoji="0" lang="en-GB" sz="1400" b="0" i="0" u="none" strike="noStrike" kern="1200" cap="none" spc="0" normalizeH="0" baseline="0" noProof="0" dirty="0" err="1">
                          <a:ln>
                            <a:noFill/>
                          </a:ln>
                          <a:solidFill>
                            <a:schemeClr val="tx1"/>
                          </a:solidFill>
                          <a:effectLst/>
                          <a:uLnTx/>
                          <a:uFillTx/>
                          <a:latin typeface="+mn-lt"/>
                          <a:ea typeface="+mn-ea"/>
                          <a:cs typeface="+mn-cs"/>
                        </a:rPr>
                        <a:t>ame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consectetur</a:t>
                      </a:r>
                      <a:endParaRPr kumimoji="0" lang="en-GB" sz="1400" b="0" i="0" u="none" strike="noStrike" kern="1200" cap="none" spc="0" normalizeH="0" baseline="0" noProof="0" dirty="0">
                        <a:ln>
                          <a:noFill/>
                        </a:ln>
                        <a:solidFill>
                          <a:schemeClr val="tx1"/>
                        </a:solidFill>
                        <a:effectLst/>
                        <a:uLnTx/>
                        <a:uFillTx/>
                        <a:latin typeface="+mn-lt"/>
                        <a:ea typeface="+mn-ea"/>
                        <a:cs typeface="+mn-cs"/>
                      </a:endParaRPr>
                    </a:p>
                  </a:txBody>
                  <a:tcPr marT="90000">
                    <a:noFill/>
                  </a:tcPr>
                </a:tc>
                <a:extLst>
                  <a:ext uri="{0D108BD9-81ED-4DB2-BD59-A6C34878D82A}">
                    <a16:rowId xmlns:a16="http://schemas.microsoft.com/office/drawing/2014/main" val="712821804"/>
                  </a:ext>
                </a:extLst>
              </a:tr>
            </a:tbl>
          </a:graphicData>
        </a:graphic>
      </p:graphicFrame>
      <p:pic>
        <p:nvPicPr>
          <p:cNvPr id="15" name="plane_1">
            <a:extLst>
              <a:ext uri="{FF2B5EF4-FFF2-40B4-BE49-F238E27FC236}">
                <a16:creationId xmlns:a16="http://schemas.microsoft.com/office/drawing/2014/main" id="{384587C9-8392-4DB4-AF56-B40583016C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5702" y="3627126"/>
            <a:ext cx="309563" cy="314325"/>
          </a:xfrm>
          <a:prstGeom prst="rect">
            <a:avLst/>
          </a:prstGeom>
        </p:spPr>
      </p:pic>
      <p:pic>
        <p:nvPicPr>
          <p:cNvPr id="17" name="tanker">
            <a:extLst>
              <a:ext uri="{FF2B5EF4-FFF2-40B4-BE49-F238E27FC236}">
                <a16:creationId xmlns:a16="http://schemas.microsoft.com/office/drawing/2014/main" id="{1A7883A5-35C0-4F8E-9E90-C0C5508AC8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7794" y="4507154"/>
            <a:ext cx="562708" cy="342900"/>
          </a:xfrm>
          <a:prstGeom prst="rect">
            <a:avLst/>
          </a:prstGeom>
        </p:spPr>
      </p:pic>
      <p:pic>
        <p:nvPicPr>
          <p:cNvPr id="19" name="train">
            <a:extLst>
              <a:ext uri="{FF2B5EF4-FFF2-40B4-BE49-F238E27FC236}">
                <a16:creationId xmlns:a16="http://schemas.microsoft.com/office/drawing/2014/main" id="{06BB6B8C-D5E9-41F6-A9C6-346E26695E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8540" y="5387849"/>
            <a:ext cx="466725" cy="419100"/>
          </a:xfrm>
          <a:prstGeom prst="rect">
            <a:avLst/>
          </a:prstGeom>
        </p:spPr>
      </p:pic>
      <p:pic>
        <p:nvPicPr>
          <p:cNvPr id="21" name="cart">
            <a:extLst>
              <a:ext uri="{FF2B5EF4-FFF2-40B4-BE49-F238E27FC236}">
                <a16:creationId xmlns:a16="http://schemas.microsoft.com/office/drawing/2014/main" id="{596145F4-1972-44E5-98F0-84F9C317BF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67330" y="3593788"/>
            <a:ext cx="536864" cy="381000"/>
          </a:xfrm>
          <a:prstGeom prst="rect">
            <a:avLst/>
          </a:prstGeom>
        </p:spPr>
      </p:pic>
      <p:pic>
        <p:nvPicPr>
          <p:cNvPr id="24" name="ship">
            <a:extLst>
              <a:ext uri="{FF2B5EF4-FFF2-40B4-BE49-F238E27FC236}">
                <a16:creationId xmlns:a16="http://schemas.microsoft.com/office/drawing/2014/main" id="{E3E5EB81-A84E-4150-BAB7-564962CD4EC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88545" y="4488437"/>
            <a:ext cx="494434" cy="380334"/>
          </a:xfrm>
          <a:prstGeom prst="rect">
            <a:avLst/>
          </a:prstGeom>
        </p:spPr>
      </p:pic>
      <p:pic>
        <p:nvPicPr>
          <p:cNvPr id="26" name="people_carrier">
            <a:extLst>
              <a:ext uri="{FF2B5EF4-FFF2-40B4-BE49-F238E27FC236}">
                <a16:creationId xmlns:a16="http://schemas.microsoft.com/office/drawing/2014/main" id="{26487CD9-596F-419B-AAD2-072D3C24351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573825" y="5454524"/>
            <a:ext cx="523875" cy="285750"/>
          </a:xfrm>
          <a:prstGeom prst="rect">
            <a:avLst/>
          </a:prstGeom>
        </p:spPr>
      </p:pic>
    </p:spTree>
    <p:extLst>
      <p:ext uri="{BB962C8B-B14F-4D97-AF65-F5344CB8AC3E}">
        <p14:creationId xmlns:p14="http://schemas.microsoft.com/office/powerpoint/2010/main" val="13572332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7" name="Objet 6"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3E824C-6FC2-4961-9E3D-D81AF3F500C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401D1E2F-D9A3-44DE-8BD5-69E97E71A782}"/>
              </a:ext>
            </a:extLst>
          </p:cNvPr>
          <p:cNvSpPr/>
          <p:nvPr/>
        </p:nvSpPr>
        <p:spPr bwMode="auto">
          <a:xfrm>
            <a:off x="4004475" y="1540585"/>
            <a:ext cx="7548200" cy="45270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sz="1400" b="1">
                <a:solidFill>
                  <a:schemeClr val="bg1"/>
                </a:solidFill>
              </a:rPr>
              <a:t>Possible operations strategies</a:t>
            </a:r>
            <a:endParaRPr lang="en-GB" sz="1400" b="1" dirty="0">
              <a:solidFill>
                <a:schemeClr val="bg1"/>
              </a:solidFill>
            </a:endParaRPr>
          </a:p>
        </p:txBody>
      </p:sp>
      <p:sp>
        <p:nvSpPr>
          <p:cNvPr id="12" name="Rectangle 11">
            <a:extLst>
              <a:ext uri="{FF2B5EF4-FFF2-40B4-BE49-F238E27FC236}">
                <a16:creationId xmlns:a16="http://schemas.microsoft.com/office/drawing/2014/main" id="{083FF157-565C-4566-8602-42F83F9F2EFA}"/>
              </a:ext>
            </a:extLst>
          </p:cNvPr>
          <p:cNvSpPr/>
          <p:nvPr/>
        </p:nvSpPr>
        <p:spPr bwMode="auto">
          <a:xfrm>
            <a:off x="4004477" y="2096331"/>
            <a:ext cx="2457346" cy="502961"/>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Reinforce internal operations</a:t>
            </a:r>
            <a:endParaRPr lang="en-GB" sz="1400" b="1" dirty="0">
              <a:solidFill>
                <a:schemeClr val="bg1"/>
              </a:solidFill>
            </a:endParaRPr>
          </a:p>
        </p:txBody>
      </p:sp>
      <p:sp>
        <p:nvSpPr>
          <p:cNvPr id="13" name="Rectangle 12">
            <a:extLst>
              <a:ext uri="{FF2B5EF4-FFF2-40B4-BE49-F238E27FC236}">
                <a16:creationId xmlns:a16="http://schemas.microsoft.com/office/drawing/2014/main" id="{95C7337E-9B50-46C9-8172-4F3020CFD031}"/>
              </a:ext>
            </a:extLst>
          </p:cNvPr>
          <p:cNvSpPr/>
          <p:nvPr/>
        </p:nvSpPr>
        <p:spPr bwMode="auto">
          <a:xfrm>
            <a:off x="6549903" y="2096331"/>
            <a:ext cx="2457346" cy="502961"/>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sz="1400" b="1">
                <a:solidFill>
                  <a:schemeClr val="bg1"/>
                </a:solidFill>
              </a:rPr>
              <a:t>Reinforce internal + current partnerships</a:t>
            </a:r>
            <a:endParaRPr lang="en-GB" sz="1400" b="1" dirty="0">
              <a:solidFill>
                <a:schemeClr val="bg1"/>
              </a:solidFill>
            </a:endParaRPr>
          </a:p>
        </p:txBody>
      </p:sp>
      <p:sp>
        <p:nvSpPr>
          <p:cNvPr id="14" name="Rectangle 13">
            <a:extLst>
              <a:ext uri="{FF2B5EF4-FFF2-40B4-BE49-F238E27FC236}">
                <a16:creationId xmlns:a16="http://schemas.microsoft.com/office/drawing/2014/main" id="{3D5C44E2-268A-499A-AA39-5923AFF867C1}"/>
              </a:ext>
            </a:extLst>
          </p:cNvPr>
          <p:cNvSpPr/>
          <p:nvPr/>
        </p:nvSpPr>
        <p:spPr bwMode="auto">
          <a:xfrm>
            <a:off x="9095331" y="2096331"/>
            <a:ext cx="2457346" cy="502961"/>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New external operations</a:t>
            </a:r>
            <a:endParaRPr lang="en-GB" sz="1400" b="1" dirty="0">
              <a:solidFill>
                <a:schemeClr val="bg1"/>
              </a:solidFill>
            </a:endParaRPr>
          </a:p>
        </p:txBody>
      </p:sp>
      <p:sp>
        <p:nvSpPr>
          <p:cNvPr id="15" name="Rectangle 14">
            <a:extLst>
              <a:ext uri="{FF2B5EF4-FFF2-40B4-BE49-F238E27FC236}">
                <a16:creationId xmlns:a16="http://schemas.microsoft.com/office/drawing/2014/main" id="{5CEC4646-A5ED-4C93-B9D3-A41A73645833}"/>
              </a:ext>
            </a:extLst>
          </p:cNvPr>
          <p:cNvSpPr/>
          <p:nvPr/>
        </p:nvSpPr>
        <p:spPr bwMode="auto">
          <a:xfrm>
            <a:off x="4004477" y="2702338"/>
            <a:ext cx="2457345" cy="709228"/>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Description 1</a:t>
            </a:r>
            <a:endParaRPr lang="en-GB" sz="1400" dirty="0">
              <a:solidFill>
                <a:schemeClr val="bg1">
                  <a:lumMod val="50000"/>
                </a:schemeClr>
              </a:solidFill>
            </a:endParaRPr>
          </a:p>
        </p:txBody>
      </p:sp>
      <p:sp>
        <p:nvSpPr>
          <p:cNvPr id="16" name="Rectangle 15">
            <a:extLst>
              <a:ext uri="{FF2B5EF4-FFF2-40B4-BE49-F238E27FC236}">
                <a16:creationId xmlns:a16="http://schemas.microsoft.com/office/drawing/2014/main" id="{C10DE535-1F51-4B99-A197-DD08F558320C}"/>
              </a:ext>
            </a:extLst>
          </p:cNvPr>
          <p:cNvSpPr/>
          <p:nvPr/>
        </p:nvSpPr>
        <p:spPr bwMode="auto">
          <a:xfrm>
            <a:off x="6549903" y="2702338"/>
            <a:ext cx="2457345" cy="709228"/>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Description 2</a:t>
            </a:r>
            <a:endParaRPr lang="en-GB" sz="1400" dirty="0">
              <a:solidFill>
                <a:schemeClr val="bg1">
                  <a:lumMod val="50000"/>
                </a:schemeClr>
              </a:solidFill>
            </a:endParaRPr>
          </a:p>
        </p:txBody>
      </p:sp>
      <p:sp>
        <p:nvSpPr>
          <p:cNvPr id="17" name="Rectangle 16">
            <a:extLst>
              <a:ext uri="{FF2B5EF4-FFF2-40B4-BE49-F238E27FC236}">
                <a16:creationId xmlns:a16="http://schemas.microsoft.com/office/drawing/2014/main" id="{CE011379-AB7E-4440-9774-9AC58E840572}"/>
              </a:ext>
            </a:extLst>
          </p:cNvPr>
          <p:cNvSpPr/>
          <p:nvPr/>
        </p:nvSpPr>
        <p:spPr bwMode="auto">
          <a:xfrm>
            <a:off x="9095332" y="2702338"/>
            <a:ext cx="2457345" cy="709228"/>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Description 3</a:t>
            </a:r>
            <a:endParaRPr lang="en-GB" sz="1400" dirty="0">
              <a:solidFill>
                <a:schemeClr val="bg1">
                  <a:lumMod val="50000"/>
                </a:schemeClr>
              </a:solidFill>
            </a:endParaRPr>
          </a:p>
        </p:txBody>
      </p:sp>
      <p:sp>
        <p:nvSpPr>
          <p:cNvPr id="18" name="Rectangle 17">
            <a:extLst>
              <a:ext uri="{FF2B5EF4-FFF2-40B4-BE49-F238E27FC236}">
                <a16:creationId xmlns:a16="http://schemas.microsoft.com/office/drawing/2014/main" id="{91FE494B-CD7E-46E2-BD7E-44B0882D3F2B}"/>
              </a:ext>
            </a:extLst>
          </p:cNvPr>
          <p:cNvSpPr/>
          <p:nvPr/>
        </p:nvSpPr>
        <p:spPr bwMode="auto">
          <a:xfrm>
            <a:off x="4004475" y="3514611"/>
            <a:ext cx="7548200" cy="2789136"/>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9388" indent="-179388">
              <a:buClr>
                <a:schemeClr val="accent3"/>
              </a:buClr>
              <a:buSzPct val="77000"/>
              <a:buFont typeface="Wingdings 3" panose="05040102010807070707" pitchFamily="18" charset="2"/>
              <a:buChar char=""/>
            </a:pPr>
            <a:endParaRPr lang="en-GB" sz="1400" b="1" dirty="0">
              <a:solidFill>
                <a:schemeClr val="bg1"/>
              </a:solidFill>
            </a:endParaRPr>
          </a:p>
        </p:txBody>
      </p:sp>
      <p:sp>
        <p:nvSpPr>
          <p:cNvPr id="19" name="Rectangle 18">
            <a:extLst>
              <a:ext uri="{FF2B5EF4-FFF2-40B4-BE49-F238E27FC236}">
                <a16:creationId xmlns:a16="http://schemas.microsoft.com/office/drawing/2014/main" id="{52722D50-ED67-4E92-80C6-10F4863288FD}"/>
              </a:ext>
            </a:extLst>
          </p:cNvPr>
          <p:cNvSpPr/>
          <p:nvPr/>
        </p:nvSpPr>
        <p:spPr bwMode="auto">
          <a:xfrm>
            <a:off x="4004475" y="5851047"/>
            <a:ext cx="7548200" cy="452700"/>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sz="1400" b="1">
                <a:solidFill>
                  <a:schemeClr val="bg1"/>
                </a:solidFill>
              </a:rPr>
              <a:t>Action 5</a:t>
            </a:r>
            <a:endParaRPr lang="en-GB" sz="1400" b="1" dirty="0">
              <a:solidFill>
                <a:schemeClr val="bg1"/>
              </a:solidFill>
            </a:endParaRPr>
          </a:p>
        </p:txBody>
      </p:sp>
      <p:sp>
        <p:nvSpPr>
          <p:cNvPr id="20" name="Rectangle 19">
            <a:extLst>
              <a:ext uri="{FF2B5EF4-FFF2-40B4-BE49-F238E27FC236}">
                <a16:creationId xmlns:a16="http://schemas.microsoft.com/office/drawing/2014/main" id="{17482213-FBBA-44AD-9372-B1F33020808F}"/>
              </a:ext>
            </a:extLst>
          </p:cNvPr>
          <p:cNvSpPr/>
          <p:nvPr/>
        </p:nvSpPr>
        <p:spPr bwMode="auto">
          <a:xfrm>
            <a:off x="4004477" y="3514612"/>
            <a:ext cx="2457345" cy="452700"/>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sz="1400" b="1">
                <a:solidFill>
                  <a:schemeClr val="bg1"/>
                </a:solidFill>
              </a:rPr>
              <a:t>Action 1</a:t>
            </a:r>
            <a:endParaRPr lang="en-GB" sz="1400" b="1" dirty="0">
              <a:solidFill>
                <a:schemeClr val="bg1"/>
              </a:solidFill>
            </a:endParaRPr>
          </a:p>
        </p:txBody>
      </p:sp>
      <p:sp>
        <p:nvSpPr>
          <p:cNvPr id="21" name="Rectangle 20">
            <a:extLst>
              <a:ext uri="{FF2B5EF4-FFF2-40B4-BE49-F238E27FC236}">
                <a16:creationId xmlns:a16="http://schemas.microsoft.com/office/drawing/2014/main" id="{70A282CB-5D01-4BED-BEC5-28A6A1D32FF9}"/>
              </a:ext>
            </a:extLst>
          </p:cNvPr>
          <p:cNvSpPr/>
          <p:nvPr/>
        </p:nvSpPr>
        <p:spPr bwMode="auto">
          <a:xfrm>
            <a:off x="6549901" y="4098721"/>
            <a:ext cx="5002774" cy="452700"/>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Action 2</a:t>
            </a:r>
            <a:endParaRPr lang="en-GB" sz="1400" b="1" dirty="0">
              <a:solidFill>
                <a:schemeClr val="bg1"/>
              </a:solidFill>
            </a:endParaRPr>
          </a:p>
        </p:txBody>
      </p:sp>
      <p:sp>
        <p:nvSpPr>
          <p:cNvPr id="22" name="Rectangle 21">
            <a:extLst>
              <a:ext uri="{FF2B5EF4-FFF2-40B4-BE49-F238E27FC236}">
                <a16:creationId xmlns:a16="http://schemas.microsoft.com/office/drawing/2014/main" id="{B2CE4FE0-1200-4AD7-9E38-42AF1A7C79BC}"/>
              </a:ext>
            </a:extLst>
          </p:cNvPr>
          <p:cNvSpPr/>
          <p:nvPr/>
        </p:nvSpPr>
        <p:spPr bwMode="auto">
          <a:xfrm>
            <a:off x="4004475" y="4682830"/>
            <a:ext cx="5002774" cy="452700"/>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Action 3</a:t>
            </a:r>
            <a:endParaRPr lang="en-GB" sz="1400" b="1" dirty="0">
              <a:solidFill>
                <a:schemeClr val="bg1"/>
              </a:solidFill>
            </a:endParaRPr>
          </a:p>
        </p:txBody>
      </p:sp>
      <p:sp>
        <p:nvSpPr>
          <p:cNvPr id="23" name="Rectangle 22">
            <a:extLst>
              <a:ext uri="{FF2B5EF4-FFF2-40B4-BE49-F238E27FC236}">
                <a16:creationId xmlns:a16="http://schemas.microsoft.com/office/drawing/2014/main" id="{40968718-DB5F-4EB4-9439-A84AAE952430}"/>
              </a:ext>
            </a:extLst>
          </p:cNvPr>
          <p:cNvSpPr/>
          <p:nvPr/>
        </p:nvSpPr>
        <p:spPr bwMode="auto">
          <a:xfrm>
            <a:off x="9095331" y="5266939"/>
            <a:ext cx="2457345" cy="452700"/>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Action 4</a:t>
            </a:r>
            <a:endParaRPr lang="en-GB" sz="1400" b="1" dirty="0">
              <a:solidFill>
                <a:schemeClr val="bg1"/>
              </a:solidFill>
            </a:endParaRPr>
          </a:p>
        </p:txBody>
      </p:sp>
      <p:cxnSp>
        <p:nvCxnSpPr>
          <p:cNvPr id="10" name="Connecteur droit avec flèche 9">
            <a:extLst>
              <a:ext uri="{FF2B5EF4-FFF2-40B4-BE49-F238E27FC236}">
                <a16:creationId xmlns:a16="http://schemas.microsoft.com/office/drawing/2014/main" id="{5B00DB25-2B8F-445D-83EB-18C56854495C}"/>
              </a:ext>
            </a:extLst>
          </p:cNvPr>
          <p:cNvCxnSpPr>
            <a:cxnSpLocks/>
          </p:cNvCxnSpPr>
          <p:nvPr/>
        </p:nvCxnSpPr>
        <p:spPr>
          <a:xfrm>
            <a:off x="3713812" y="2174954"/>
            <a:ext cx="0" cy="4128793"/>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4B2597BA-D7C3-4717-A110-07E1DF720AEB}"/>
              </a:ext>
            </a:extLst>
          </p:cNvPr>
          <p:cNvCxnSpPr>
            <a:cxnSpLocks/>
          </p:cNvCxnSpPr>
          <p:nvPr/>
        </p:nvCxnSpPr>
        <p:spPr>
          <a:xfrm flipH="1">
            <a:off x="4004475" y="1320050"/>
            <a:ext cx="7577927"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4" name="ZoneTexte 1023">
            <a:extLst>
              <a:ext uri="{FF2B5EF4-FFF2-40B4-BE49-F238E27FC236}">
                <a16:creationId xmlns:a16="http://schemas.microsoft.com/office/drawing/2014/main" id="{8DC6F101-47CC-49A2-9102-FC30EA9724B8}"/>
              </a:ext>
            </a:extLst>
          </p:cNvPr>
          <p:cNvSpPr txBox="1"/>
          <p:nvPr/>
        </p:nvSpPr>
        <p:spPr>
          <a:xfrm rot="16200000">
            <a:off x="3191070" y="4058925"/>
            <a:ext cx="1045481" cy="360850"/>
          </a:xfrm>
          <a:prstGeom prst="rect">
            <a:avLst/>
          </a:prstGeom>
          <a:solidFill>
            <a:schemeClr val="bg1"/>
          </a:solidFill>
        </p:spPr>
        <p:txBody>
          <a:bodyPr wrap="square" lIns="72000" tIns="72000" rIns="72000" bIns="72000" rtlCol="0" anchor="ctr">
            <a:spAutoFit/>
          </a:bodyPr>
          <a:lstStyle/>
          <a:p>
            <a:r>
              <a:rPr lang="en-GB">
                <a:solidFill>
                  <a:schemeClr val="bg1">
                    <a:lumMod val="50000"/>
                  </a:schemeClr>
                </a:solidFill>
                <a:latin typeface="Arial"/>
                <a:cs typeface="Arial"/>
              </a:rPr>
              <a:t>Action plan</a:t>
            </a:r>
            <a:endParaRPr lang="en-GB" dirty="0">
              <a:solidFill>
                <a:schemeClr val="bg1">
                  <a:lumMod val="50000"/>
                </a:schemeClr>
              </a:solidFill>
              <a:cs typeface="Arial"/>
            </a:endParaRPr>
          </a:p>
        </p:txBody>
      </p:sp>
      <p:sp>
        <p:nvSpPr>
          <p:cNvPr id="34" name="ZoneTexte 33">
            <a:extLst>
              <a:ext uri="{FF2B5EF4-FFF2-40B4-BE49-F238E27FC236}">
                <a16:creationId xmlns:a16="http://schemas.microsoft.com/office/drawing/2014/main" id="{F6F7AB3B-41D1-4689-8C13-20C34E07BBF8}"/>
              </a:ext>
            </a:extLst>
          </p:cNvPr>
          <p:cNvSpPr txBox="1"/>
          <p:nvPr/>
        </p:nvSpPr>
        <p:spPr>
          <a:xfrm>
            <a:off x="6629730" y="1110696"/>
            <a:ext cx="2327416" cy="360850"/>
          </a:xfrm>
          <a:prstGeom prst="rect">
            <a:avLst/>
          </a:prstGeom>
          <a:solidFill>
            <a:schemeClr val="bg1"/>
          </a:solidFill>
        </p:spPr>
        <p:txBody>
          <a:bodyPr wrap="square" lIns="72000" tIns="72000" rIns="72000" bIns="72000" rtlCol="0" anchor="ctr">
            <a:spAutoFit/>
          </a:bodyPr>
          <a:lstStyle/>
          <a:p>
            <a:r>
              <a:rPr lang="en-GB">
                <a:solidFill>
                  <a:schemeClr val="bg1">
                    <a:lumMod val="50000"/>
                  </a:schemeClr>
                </a:solidFill>
              </a:rPr>
              <a:t>Perimeter or scope to cover</a:t>
            </a:r>
            <a:endParaRPr lang="en-GB" dirty="0">
              <a:solidFill>
                <a:schemeClr val="bg1">
                  <a:lumMod val="50000"/>
                </a:schemeClr>
              </a:solidFill>
            </a:endParaRPr>
          </a:p>
        </p:txBody>
      </p:sp>
      <p:sp>
        <p:nvSpPr>
          <p:cNvPr id="26" name="Titre 1">
            <a:extLst>
              <a:ext uri="{FF2B5EF4-FFF2-40B4-BE49-F238E27FC236}">
                <a16:creationId xmlns:a16="http://schemas.microsoft.com/office/drawing/2014/main" id="{5297CFB5-6F68-458F-B979-40CBC6E0147B}"/>
              </a:ext>
            </a:extLst>
          </p:cNvPr>
          <p:cNvSpPr>
            <a:spLocks noGrp="1"/>
          </p:cNvSpPr>
          <p:nvPr>
            <p:ph type="title"/>
          </p:nvPr>
        </p:nvSpPr>
        <p:spPr/>
        <p:txBody>
          <a:bodyPr vert="horz"/>
          <a:lstStyle/>
          <a:p>
            <a:r>
              <a:rPr lang="en-GB"/>
              <a:t>Business case presentation</a:t>
            </a:r>
            <a:endParaRPr lang="en-GB" dirty="0"/>
          </a:p>
        </p:txBody>
      </p:sp>
      <p:sp>
        <p:nvSpPr>
          <p:cNvPr id="37" name="Espace réservé du contenu 36">
            <a:extLst>
              <a:ext uri="{FF2B5EF4-FFF2-40B4-BE49-F238E27FC236}">
                <a16:creationId xmlns:a16="http://schemas.microsoft.com/office/drawing/2014/main" id="{53CE3275-DAB1-4764-B093-671039E96DFE}"/>
              </a:ext>
            </a:extLst>
          </p:cNvPr>
          <p:cNvSpPr>
            <a:spLocks noGrp="1"/>
          </p:cNvSpPr>
          <p:nvPr>
            <p:ph idx="1"/>
          </p:nvPr>
        </p:nvSpPr>
        <p:spPr>
          <a:xfrm>
            <a:off x="432000" y="1540585"/>
            <a:ext cx="2991144" cy="422405"/>
          </a:xfrm>
        </p:spPr>
        <p:txBody>
          <a:bodyPr/>
          <a:lstStyle/>
          <a:p>
            <a:pPr lvl="1"/>
            <a:r>
              <a:rPr lang="en-GB"/>
              <a:t>Lorem ipsum</a:t>
            </a:r>
            <a:endParaRPr lang="en-GB" dirty="0"/>
          </a:p>
        </p:txBody>
      </p:sp>
    </p:spTree>
    <p:extLst>
      <p:ext uri="{BB962C8B-B14F-4D97-AF65-F5344CB8AC3E}">
        <p14:creationId xmlns:p14="http://schemas.microsoft.com/office/powerpoint/2010/main" val="230261427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EB1068A5-1B0B-49AA-87DD-DF0537659A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B295B0D0-5383-483C-B9BB-5B22AB343110}"/>
              </a:ext>
            </a:extLst>
          </p:cNvPr>
          <p:cNvGraphicFramePr>
            <a:graphicFrameLocks noGrp="1"/>
          </p:cNvGraphicFramePr>
          <p:nvPr>
            <p:extLst>
              <p:ext uri="{D42A27DB-BD31-4B8C-83A1-F6EECF244321}">
                <p14:modId xmlns:p14="http://schemas.microsoft.com/office/powerpoint/2010/main" val="2042316130"/>
              </p:ext>
            </p:extLst>
          </p:nvPr>
        </p:nvGraphicFramePr>
        <p:xfrm>
          <a:off x="730250" y="1273173"/>
          <a:ext cx="10444589" cy="4923230"/>
        </p:xfrm>
        <a:graphic>
          <a:graphicData uri="http://schemas.openxmlformats.org/drawingml/2006/table">
            <a:tbl>
              <a:tblPr firstRow="1" bandRow="1">
                <a:tableStyleId>{5C22544A-7EE6-4342-B048-85BDC9FD1C3A}</a:tableStyleId>
              </a:tblPr>
              <a:tblGrid>
                <a:gridCol w="1117961">
                  <a:extLst>
                    <a:ext uri="{9D8B030D-6E8A-4147-A177-3AD203B41FA5}">
                      <a16:colId xmlns:a16="http://schemas.microsoft.com/office/drawing/2014/main" val="1938377839"/>
                    </a:ext>
                  </a:extLst>
                </a:gridCol>
                <a:gridCol w="2622166">
                  <a:extLst>
                    <a:ext uri="{9D8B030D-6E8A-4147-A177-3AD203B41FA5}">
                      <a16:colId xmlns:a16="http://schemas.microsoft.com/office/drawing/2014/main" val="2812990491"/>
                    </a:ext>
                  </a:extLst>
                </a:gridCol>
                <a:gridCol w="3446059">
                  <a:extLst>
                    <a:ext uri="{9D8B030D-6E8A-4147-A177-3AD203B41FA5}">
                      <a16:colId xmlns:a16="http://schemas.microsoft.com/office/drawing/2014/main" val="2778934458"/>
                    </a:ext>
                  </a:extLst>
                </a:gridCol>
                <a:gridCol w="3258403">
                  <a:extLst>
                    <a:ext uri="{9D8B030D-6E8A-4147-A177-3AD203B41FA5}">
                      <a16:colId xmlns:a16="http://schemas.microsoft.com/office/drawing/2014/main" val="3142490249"/>
                    </a:ext>
                  </a:extLst>
                </a:gridCol>
              </a:tblGrid>
              <a:tr h="814187">
                <a:tc gridSpan="2">
                  <a:txBody>
                    <a:bodyPr/>
                    <a:lstStyle/>
                    <a:p>
                      <a:pPr algn="ctr" rtl="0"/>
                      <a:r>
                        <a:rPr lang="en-GB" sz="1400" b="1" noProof="0" dirty="0">
                          <a:solidFill>
                            <a:schemeClr val="tx2"/>
                          </a:solidFill>
                          <a:latin typeface="+mn-lt"/>
                        </a:rPr>
                        <a:t>Scenario</a:t>
                      </a:r>
                    </a:p>
                  </a:txBody>
                  <a:tcPr anchor="ctr">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solidFill>
                      <a:schemeClr val="bg1"/>
                    </a:solidFill>
                  </a:tcPr>
                </a:tc>
                <a:tc hMerge="1">
                  <a:txBody>
                    <a:bodyPr/>
                    <a:lstStyle/>
                    <a:p>
                      <a:pPr marL="180975" lvl="1" indent="-180975" algn="l" defTabSz="1125444" rtl="0" eaLnBrk="1" fontAlgn="base" hangingPunct="1">
                        <a:spcBef>
                          <a:spcPts val="720"/>
                        </a:spcBef>
                        <a:spcAft>
                          <a:spcPts val="0"/>
                        </a:spcAft>
                        <a:buClr>
                          <a:schemeClr val="accent3"/>
                        </a:buClr>
                        <a:buSzPct val="77000"/>
                        <a:buFont typeface="Wingdings 3" panose="05040102010807070707" pitchFamily="18" charset="2"/>
                        <a:buChar char=""/>
                        <a:defRPr/>
                      </a:pPr>
                      <a:endParaRPr lang="en-US" sz="1400" b="0" kern="1200" noProof="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a:r>
                        <a:rPr lang="en-GB" sz="1400" b="1" noProof="0" dirty="0">
                          <a:solidFill>
                            <a:schemeClr val="tx2"/>
                          </a:solidFill>
                          <a:latin typeface="+mn-lt"/>
                        </a:rPr>
                        <a:t>KPI 1 – actual impact</a:t>
                      </a:r>
                    </a:p>
                    <a:p>
                      <a:pPr algn="l" rtl="0"/>
                      <a:r>
                        <a:rPr lang="en-GB" sz="1400" b="0" noProof="0" dirty="0">
                          <a:solidFill>
                            <a:schemeClr val="bg1">
                              <a:lumMod val="50000"/>
                            </a:schemeClr>
                          </a:solidFill>
                          <a:latin typeface="+mn-lt"/>
                        </a:rPr>
                        <a:t>Unit of measur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solidFill>
                      <a:schemeClr val="bg1"/>
                    </a:solidFill>
                  </a:tcPr>
                </a:tc>
                <a:tc>
                  <a:txBody>
                    <a:bodyPr/>
                    <a:lstStyle/>
                    <a:p>
                      <a:pPr marL="0" lvl="1" indent="0" algn="l" rtl="0" eaLnBrk="1" fontAlgn="base" hangingPunct="1">
                        <a:lnSpc>
                          <a:spcPct val="100000"/>
                        </a:lnSpc>
                        <a:spcBef>
                          <a:spcPts val="0"/>
                        </a:spcBef>
                        <a:spcAft>
                          <a:spcPts val="0"/>
                        </a:spcAft>
                        <a:buClr>
                          <a:srgbClr val="C2C2C2"/>
                        </a:buClr>
                        <a:buSzPct val="77000"/>
                        <a:buFont typeface="Wingdings 3" panose="05040102010807070707" pitchFamily="18" charset="2"/>
                        <a:buNone/>
                      </a:pPr>
                      <a:r>
                        <a:rPr lang="en-GB" sz="1400" b="1" kern="1200" noProof="0">
                          <a:solidFill>
                            <a:schemeClr val="tx2"/>
                          </a:solidFill>
                          <a:latin typeface="+mn-lt"/>
                          <a:ea typeface="+mn-ea"/>
                          <a:cs typeface="+mn-cs"/>
                          <a:sym typeface="Open Sans"/>
                        </a:rPr>
                        <a:t>KPI 2 – </a:t>
                      </a:r>
                      <a:r>
                        <a:rPr lang="en-GB" sz="1400" b="1" kern="1200" noProof="0">
                          <a:solidFill>
                            <a:schemeClr val="tx2"/>
                          </a:solidFill>
                          <a:latin typeface="+mn-lt"/>
                          <a:ea typeface="+mn-ea"/>
                          <a:cs typeface="+mn-cs"/>
                        </a:rPr>
                        <a:t>long</a:t>
                      </a:r>
                      <a:r>
                        <a:rPr lang="en-GB" sz="1400" b="1" kern="1200" noProof="0">
                          <a:solidFill>
                            <a:schemeClr val="tx2"/>
                          </a:solidFill>
                          <a:latin typeface="+mn-lt"/>
                          <a:ea typeface="+mn-ea"/>
                          <a:cs typeface="+mn-cs"/>
                          <a:sym typeface="Open Sans"/>
                        </a:rPr>
                        <a:t> term</a:t>
                      </a:r>
                      <a:r>
                        <a:rPr lang="en-GB" sz="1400" b="1" kern="1200" noProof="0">
                          <a:solidFill>
                            <a:schemeClr val="tx2"/>
                          </a:solidFill>
                          <a:latin typeface="+mn-lt"/>
                          <a:ea typeface="+mn-ea"/>
                          <a:cs typeface="+mn-cs"/>
                        </a:rPr>
                        <a:t> impact</a:t>
                      </a:r>
                    </a:p>
                    <a:p>
                      <a:pPr marL="0" lvl="1" indent="0" algn="l" rtl="0" eaLnBrk="1" fontAlgn="base" hangingPunct="1">
                        <a:lnSpc>
                          <a:spcPct val="100000"/>
                        </a:lnSpc>
                        <a:spcBef>
                          <a:spcPts val="0"/>
                        </a:spcBef>
                        <a:spcAft>
                          <a:spcPts val="0"/>
                        </a:spcAft>
                        <a:buClr>
                          <a:srgbClr val="C2C2C2"/>
                        </a:buClr>
                        <a:buSzPct val="77000"/>
                        <a:buFont typeface="Wingdings 3" panose="05040102010807070707" pitchFamily="18" charset="2"/>
                        <a:buNone/>
                      </a:pPr>
                      <a:r>
                        <a:rPr lang="en-GB" sz="1400" b="0" noProof="0">
                          <a:solidFill>
                            <a:schemeClr val="bg1">
                              <a:lumMod val="50000"/>
                            </a:schemeClr>
                          </a:solidFill>
                          <a:latin typeface="+mn-lt"/>
                        </a:rPr>
                        <a:t>Unit of measure</a:t>
                      </a:r>
                      <a:endParaRPr lang="en-GB" sz="1400" b="0" noProof="0" dirty="0">
                        <a:solidFill>
                          <a:schemeClr val="bg1">
                            <a:lumMod val="50000"/>
                          </a:schemeClr>
                        </a:solidFill>
                        <a:latin typeface="+mn-lt"/>
                      </a:endParaRPr>
                    </a:p>
                  </a:txBody>
                  <a:tcPr anchor="ctr">
                    <a:lnL w="12700" cap="flat" cmpd="sng" algn="ctr">
                      <a:solidFill>
                        <a:schemeClr val="accent2"/>
                      </a:solidFill>
                      <a:prstDash val="solid"/>
                      <a:round/>
                      <a:headEnd type="none" w="med" len="med"/>
                      <a:tailEnd type="none" w="med" len="med"/>
                    </a:lnL>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780260283"/>
                  </a:ext>
                </a:extLst>
              </a:tr>
              <a:tr h="1369681">
                <a:tc>
                  <a:txBody>
                    <a:bodyPr/>
                    <a:lstStyle/>
                    <a:p>
                      <a:pPr rtl="0"/>
                      <a:r>
                        <a:rPr lang="en-GB" sz="1400" b="1" noProof="0">
                          <a:solidFill>
                            <a:schemeClr val="bg1"/>
                          </a:solidFill>
                          <a:latin typeface="+mn-lt"/>
                        </a:rPr>
                        <a:t>Scenario 1</a:t>
                      </a:r>
                      <a:endParaRPr lang="en-GB" sz="1400" b="1" noProof="0" dirty="0">
                        <a:solidFill>
                          <a:schemeClr val="bg1"/>
                        </a:solidFill>
                        <a:latin typeface="+mn-lt"/>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b="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3454248"/>
                  </a:ext>
                </a:extLst>
              </a:tr>
              <a:tr h="1369681">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Scenario 2</a:t>
                      </a: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txBody>
                  <a:tcPr anchor="ctr">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a:solidFill>
                          <a:schemeClr val="tx1"/>
                        </a:solidFill>
                        <a:latin typeface="Arial" charset="0"/>
                        <a:ea typeface="+mn-ea"/>
                        <a:cs typeface="+mn-cs"/>
                        <a:sym typeface="Open Sans"/>
                      </a:endParaRP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06439068"/>
                  </a:ext>
                </a:extLst>
              </a:tr>
              <a:tr h="1369681">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Scenario 3</a:t>
                      </a: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txBody>
                  <a:tcPr anchor="ctr">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a:solidFill>
                          <a:schemeClr val="tx1"/>
                        </a:solidFill>
                        <a:latin typeface="Arial" charset="0"/>
                        <a:ea typeface="+mn-ea"/>
                        <a:cs typeface="+mn-cs"/>
                        <a:sym typeface="Open Sans"/>
                      </a:endParaRP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77350318"/>
                  </a:ext>
                </a:extLst>
              </a:tr>
            </a:tbl>
          </a:graphicData>
        </a:graphic>
      </p:graphicFrame>
      <p:sp>
        <p:nvSpPr>
          <p:cNvPr id="4" name="Rectangle 3" hidden="1">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vert="horz"/>
          <a:lstStyle/>
          <a:p>
            <a:r>
              <a:rPr lang="en-GB">
                <a:latin typeface="+mn-lt"/>
              </a:rPr>
              <a:t>Slide message – KPI by scenario (3 scenarios)</a:t>
            </a:r>
            <a:endParaRPr lang="en-GB" dirty="0">
              <a:latin typeface="+mn-lt"/>
            </a:endParaRPr>
          </a:p>
        </p:txBody>
      </p:sp>
      <p:graphicFrame>
        <p:nvGraphicFramePr>
          <p:cNvPr id="18" name="Graphique 17">
            <a:extLst>
              <a:ext uri="{FF2B5EF4-FFF2-40B4-BE49-F238E27FC236}">
                <a16:creationId xmlns:a16="http://schemas.microsoft.com/office/drawing/2014/main" id="{A8F6B6DD-6766-44BC-E892-F7DEA57777E8}"/>
              </a:ext>
            </a:extLst>
          </p:cNvPr>
          <p:cNvGraphicFramePr/>
          <p:nvPr/>
        </p:nvGraphicFramePr>
        <p:xfrm>
          <a:off x="8099425" y="2065468"/>
          <a:ext cx="3075414" cy="41309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Graphique 20">
            <a:extLst>
              <a:ext uri="{FF2B5EF4-FFF2-40B4-BE49-F238E27FC236}">
                <a16:creationId xmlns:a16="http://schemas.microsoft.com/office/drawing/2014/main" id="{73797CF7-DF07-A3CD-AEE4-B1FBFE61F6F4}"/>
              </a:ext>
            </a:extLst>
          </p:cNvPr>
          <p:cNvGraphicFramePr/>
          <p:nvPr/>
        </p:nvGraphicFramePr>
        <p:xfrm>
          <a:off x="4660417" y="2065468"/>
          <a:ext cx="3257211" cy="413093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4260776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EB1068A5-1B0B-49AA-87DD-DF0537659A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B295B0D0-5383-483C-B9BB-5B22AB343110}"/>
              </a:ext>
            </a:extLst>
          </p:cNvPr>
          <p:cNvGraphicFramePr>
            <a:graphicFrameLocks noGrp="1"/>
          </p:cNvGraphicFramePr>
          <p:nvPr>
            <p:extLst>
              <p:ext uri="{D42A27DB-BD31-4B8C-83A1-F6EECF244321}">
                <p14:modId xmlns:p14="http://schemas.microsoft.com/office/powerpoint/2010/main" val="3875238462"/>
              </p:ext>
            </p:extLst>
          </p:nvPr>
        </p:nvGraphicFramePr>
        <p:xfrm>
          <a:off x="730250" y="1273175"/>
          <a:ext cx="10444589" cy="5150408"/>
        </p:xfrm>
        <a:graphic>
          <a:graphicData uri="http://schemas.openxmlformats.org/drawingml/2006/table">
            <a:tbl>
              <a:tblPr firstRow="1" bandRow="1">
                <a:tableStyleId>{5C22544A-7EE6-4342-B048-85BDC9FD1C3A}</a:tableStyleId>
              </a:tblPr>
              <a:tblGrid>
                <a:gridCol w="1117961">
                  <a:extLst>
                    <a:ext uri="{9D8B030D-6E8A-4147-A177-3AD203B41FA5}">
                      <a16:colId xmlns:a16="http://schemas.microsoft.com/office/drawing/2014/main" val="1938377839"/>
                    </a:ext>
                  </a:extLst>
                </a:gridCol>
                <a:gridCol w="2622166">
                  <a:extLst>
                    <a:ext uri="{9D8B030D-6E8A-4147-A177-3AD203B41FA5}">
                      <a16:colId xmlns:a16="http://schemas.microsoft.com/office/drawing/2014/main" val="2812990491"/>
                    </a:ext>
                  </a:extLst>
                </a:gridCol>
                <a:gridCol w="3446059">
                  <a:extLst>
                    <a:ext uri="{9D8B030D-6E8A-4147-A177-3AD203B41FA5}">
                      <a16:colId xmlns:a16="http://schemas.microsoft.com/office/drawing/2014/main" val="2778934458"/>
                    </a:ext>
                  </a:extLst>
                </a:gridCol>
                <a:gridCol w="3258403">
                  <a:extLst>
                    <a:ext uri="{9D8B030D-6E8A-4147-A177-3AD203B41FA5}">
                      <a16:colId xmlns:a16="http://schemas.microsoft.com/office/drawing/2014/main" val="3142490249"/>
                    </a:ext>
                  </a:extLst>
                </a:gridCol>
              </a:tblGrid>
              <a:tr h="953056">
                <a:tc gridSpan="2">
                  <a:txBody>
                    <a:bodyPr/>
                    <a:lstStyle/>
                    <a:p>
                      <a:pPr algn="ctr" rtl="0"/>
                      <a:r>
                        <a:rPr lang="en-GB" sz="1400" b="1" noProof="0" dirty="0">
                          <a:solidFill>
                            <a:schemeClr val="tx2"/>
                          </a:solidFill>
                          <a:latin typeface="+mn-lt"/>
                        </a:rPr>
                        <a:t>Scenario</a:t>
                      </a:r>
                    </a:p>
                  </a:txBody>
                  <a:tcPr anchor="ctr">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solidFill>
                      <a:schemeClr val="bg1"/>
                    </a:solidFill>
                  </a:tcPr>
                </a:tc>
                <a:tc hMerge="1">
                  <a:txBody>
                    <a:bodyPr/>
                    <a:lstStyle/>
                    <a:p>
                      <a:pPr marL="180975" lvl="1" indent="-180975" algn="l" defTabSz="1125444" rtl="0" eaLnBrk="1" fontAlgn="base" hangingPunct="1">
                        <a:spcBef>
                          <a:spcPts val="720"/>
                        </a:spcBef>
                        <a:spcAft>
                          <a:spcPts val="0"/>
                        </a:spcAft>
                        <a:buClr>
                          <a:schemeClr val="accent3"/>
                        </a:buClr>
                        <a:buSzPct val="77000"/>
                        <a:buFont typeface="Wingdings 3" panose="05040102010807070707" pitchFamily="18" charset="2"/>
                        <a:buChar char=""/>
                        <a:defRPr/>
                      </a:pPr>
                      <a:endParaRPr lang="en-US" sz="1400" b="0" kern="1200" noProof="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a:r>
                        <a:rPr lang="en-GB" sz="1400" b="1" noProof="0" dirty="0">
                          <a:solidFill>
                            <a:schemeClr val="tx2"/>
                          </a:solidFill>
                          <a:latin typeface="+mn-lt"/>
                        </a:rPr>
                        <a:t>KPI 1 – actual impact</a:t>
                      </a:r>
                    </a:p>
                    <a:p>
                      <a:pPr algn="l" rtl="0"/>
                      <a:r>
                        <a:rPr lang="en-GB" sz="1400" b="0" noProof="0" dirty="0">
                          <a:solidFill>
                            <a:schemeClr val="bg1">
                              <a:lumMod val="50000"/>
                            </a:schemeClr>
                          </a:solidFill>
                          <a:latin typeface="+mn-lt"/>
                        </a:rPr>
                        <a:t>Unit of measure</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solidFill>
                      <a:schemeClr val="bg1"/>
                    </a:solidFill>
                  </a:tcPr>
                </a:tc>
                <a:tc>
                  <a:txBody>
                    <a:bodyPr/>
                    <a:lstStyle/>
                    <a:p>
                      <a:pPr marL="0" lvl="1" indent="0" algn="l" rtl="0" eaLnBrk="1" fontAlgn="base" hangingPunct="1">
                        <a:lnSpc>
                          <a:spcPct val="100000"/>
                        </a:lnSpc>
                        <a:spcBef>
                          <a:spcPts val="0"/>
                        </a:spcBef>
                        <a:spcAft>
                          <a:spcPts val="0"/>
                        </a:spcAft>
                        <a:buClr>
                          <a:srgbClr val="C2C2C2"/>
                        </a:buClr>
                        <a:buSzPct val="77000"/>
                        <a:buFont typeface="Wingdings 3" panose="05040102010807070707" pitchFamily="18" charset="2"/>
                        <a:buNone/>
                      </a:pPr>
                      <a:r>
                        <a:rPr lang="en-GB" sz="1400" b="1" kern="1200" noProof="0">
                          <a:solidFill>
                            <a:schemeClr val="tx2"/>
                          </a:solidFill>
                          <a:latin typeface="+mn-lt"/>
                          <a:ea typeface="+mn-ea"/>
                          <a:cs typeface="+mn-cs"/>
                          <a:sym typeface="Open Sans"/>
                        </a:rPr>
                        <a:t>KPI 2 – </a:t>
                      </a:r>
                      <a:r>
                        <a:rPr lang="en-GB" sz="1400" b="1" kern="1200" noProof="0">
                          <a:solidFill>
                            <a:schemeClr val="tx2"/>
                          </a:solidFill>
                          <a:latin typeface="+mn-lt"/>
                          <a:ea typeface="+mn-ea"/>
                          <a:cs typeface="+mn-cs"/>
                        </a:rPr>
                        <a:t>long</a:t>
                      </a:r>
                      <a:r>
                        <a:rPr lang="en-GB" sz="1400" b="1" kern="1200" noProof="0">
                          <a:solidFill>
                            <a:schemeClr val="tx2"/>
                          </a:solidFill>
                          <a:latin typeface="+mn-lt"/>
                          <a:ea typeface="+mn-ea"/>
                          <a:cs typeface="+mn-cs"/>
                          <a:sym typeface="Open Sans"/>
                        </a:rPr>
                        <a:t> term</a:t>
                      </a:r>
                      <a:r>
                        <a:rPr lang="en-GB" sz="1400" b="1" kern="1200" noProof="0">
                          <a:solidFill>
                            <a:schemeClr val="tx2"/>
                          </a:solidFill>
                          <a:latin typeface="+mn-lt"/>
                          <a:ea typeface="+mn-ea"/>
                          <a:cs typeface="+mn-cs"/>
                        </a:rPr>
                        <a:t> impact</a:t>
                      </a:r>
                    </a:p>
                    <a:p>
                      <a:pPr marL="0" lvl="1" indent="0" algn="l" rtl="0" eaLnBrk="1" fontAlgn="base" hangingPunct="1">
                        <a:lnSpc>
                          <a:spcPct val="100000"/>
                        </a:lnSpc>
                        <a:spcBef>
                          <a:spcPts val="0"/>
                        </a:spcBef>
                        <a:spcAft>
                          <a:spcPts val="0"/>
                        </a:spcAft>
                        <a:buClr>
                          <a:srgbClr val="C2C2C2"/>
                        </a:buClr>
                        <a:buSzPct val="77000"/>
                        <a:buFont typeface="Wingdings 3" panose="05040102010807070707" pitchFamily="18" charset="2"/>
                        <a:buNone/>
                      </a:pPr>
                      <a:r>
                        <a:rPr lang="en-GB" sz="1400" b="0" noProof="0">
                          <a:solidFill>
                            <a:schemeClr val="bg1">
                              <a:lumMod val="50000"/>
                            </a:schemeClr>
                          </a:solidFill>
                          <a:latin typeface="+mn-lt"/>
                        </a:rPr>
                        <a:t>Unit of measure</a:t>
                      </a:r>
                      <a:endParaRPr lang="en-GB" sz="1400" b="0" noProof="0" dirty="0">
                        <a:solidFill>
                          <a:schemeClr val="bg1">
                            <a:lumMod val="50000"/>
                          </a:schemeClr>
                        </a:solidFill>
                        <a:latin typeface="+mn-lt"/>
                      </a:endParaRPr>
                    </a:p>
                  </a:txBody>
                  <a:tcPr anchor="ctr">
                    <a:lnL w="12700" cap="flat" cmpd="sng" algn="ctr">
                      <a:solidFill>
                        <a:schemeClr val="accent2"/>
                      </a:solidFill>
                      <a:prstDash val="solid"/>
                      <a:round/>
                      <a:headEnd type="none" w="med" len="med"/>
                      <a:tailEnd type="none" w="med" len="med"/>
                    </a:lnL>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780260283"/>
                  </a:ext>
                </a:extLst>
              </a:tr>
              <a:tr h="1007342">
                <a:tc>
                  <a:txBody>
                    <a:bodyPr/>
                    <a:lstStyle/>
                    <a:p>
                      <a:pPr rtl="0"/>
                      <a:r>
                        <a:rPr lang="en-GB" sz="1400" b="1" noProof="0" dirty="0">
                          <a:solidFill>
                            <a:schemeClr val="bg1"/>
                          </a:solidFill>
                          <a:latin typeface="+mn-lt"/>
                        </a:rPr>
                        <a:t>Scenario 1</a:t>
                      </a: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dirty="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dirty="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dirty="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b="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3454248"/>
                  </a:ext>
                </a:extLst>
              </a:tr>
              <a:tr h="905938">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Scenario 2</a:t>
                      </a: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txBody>
                  <a:tcPr anchor="ctr">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a:solidFill>
                          <a:schemeClr val="tx1"/>
                        </a:solidFill>
                        <a:latin typeface="Arial" charset="0"/>
                        <a:ea typeface="+mn-ea"/>
                        <a:cs typeface="+mn-cs"/>
                        <a:sym typeface="Open Sans"/>
                      </a:endParaRP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06439068"/>
                  </a:ext>
                </a:extLst>
              </a:tr>
              <a:tr h="959988">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Scenario 3</a:t>
                      </a: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txBody>
                  <a:tcPr anchor="ctr">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a:solidFill>
                          <a:schemeClr val="tx1"/>
                        </a:solidFill>
                        <a:latin typeface="Arial" charset="0"/>
                        <a:ea typeface="+mn-ea"/>
                        <a:cs typeface="+mn-cs"/>
                        <a:sym typeface="Open Sans"/>
                      </a:endParaRP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rtl="0"/>
                      <a:endParaRPr lang="en-GB" sz="140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77350318"/>
                  </a:ext>
                </a:extLst>
              </a:tr>
              <a:tr h="959988">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Scenario 4</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a:txBody>
                  <a:tcPr anchor="ctr">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2"/>
                    </a:solidFill>
                  </a:tcPr>
                </a:tc>
                <a:tc>
                  <a:txBody>
                    <a:bodyPr/>
                    <a:lstStyle/>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noProof="0">
                          <a:solidFill>
                            <a:schemeClr val="tx1"/>
                          </a:solidFill>
                          <a:latin typeface="Arial" charset="0"/>
                          <a:ea typeface="+mn-ea"/>
                          <a:cs typeface="+mn-cs"/>
                        </a:rPr>
                        <a:t>Lorem ipsum</a:t>
                      </a: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a:solidFill>
                          <a:schemeClr val="tx1"/>
                        </a:solidFill>
                        <a:latin typeface="Arial" charset="0"/>
                        <a:ea typeface="+mn-ea"/>
                        <a:cs typeface="+mn-cs"/>
                        <a:sym typeface="Open Sans"/>
                      </a:endParaRPr>
                    </a:p>
                    <a:p>
                      <a:pPr marL="179388" marR="0" lvl="1" indent="-179388" algn="l" defTabSz="1125444" rtl="0" eaLnBrk="0" fontAlgn="base" latinLnBrk="0" hangingPunct="0">
                        <a:lnSpc>
                          <a:spcPct val="120000"/>
                        </a:lnSpc>
                        <a:spcBef>
                          <a:spcPct val="50000"/>
                        </a:spcBef>
                        <a:spcAft>
                          <a:spcPct val="0"/>
                        </a:spcAft>
                        <a:buClr>
                          <a:schemeClr val="accent3"/>
                        </a:buClr>
                        <a:buSzPct val="77000"/>
                        <a:buFont typeface="Wingdings 3" panose="05040102010807070707" pitchFamily="18" charset="2"/>
                        <a:buChar char=""/>
                        <a:tabLst/>
                        <a:defRPr/>
                      </a:pPr>
                      <a:r>
                        <a:rPr lang="en-GB" sz="1400" kern="1200">
                          <a:solidFill>
                            <a:schemeClr val="tx1"/>
                          </a:solidFill>
                          <a:latin typeface="Arial" charset="0"/>
                          <a:ea typeface="+mn-ea"/>
                          <a:cs typeface="+mn-cs"/>
                        </a:rPr>
                        <a:t>Lorem ipsum</a:t>
                      </a:r>
                      <a:endParaRPr lang="en-GB" sz="1400" kern="1200" noProof="0" dirty="0">
                        <a:solidFill>
                          <a:schemeClr val="tx1"/>
                        </a:solidFill>
                        <a:latin typeface="Arial" charset="0"/>
                        <a:ea typeface="+mn-ea"/>
                        <a:cs typeface="+mn-cs"/>
                        <a:sym typeface="Open San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rtl="0"/>
                      <a:endParaRPr lang="en-GB" sz="1400" noProof="0" dirty="0">
                        <a:solidFill>
                          <a:schemeClr val="bg1"/>
                        </a:solidFill>
                        <a:latin typeface="+mn-lt"/>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bg2"/>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GB" sz="1400" b="0" kern="1200" noProof="0" dirty="0">
                        <a:solidFill>
                          <a:schemeClr val="tx1"/>
                        </a:solidFill>
                        <a:latin typeface="+mn-lt"/>
                        <a:ea typeface="+mn-ea"/>
                        <a:cs typeface="+mn-cs"/>
                        <a:sym typeface="Open Sans"/>
                      </a:endParaRPr>
                    </a:p>
                  </a:txBody>
                  <a:tcPr>
                    <a:lnL w="12700" cap="flat" cmpd="sng" algn="ctr">
                      <a:solidFill>
                        <a:schemeClr val="accent2"/>
                      </a:solidFill>
                      <a:prstDash val="solid"/>
                      <a:round/>
                      <a:headEnd type="none" w="med" len="med"/>
                      <a:tailEnd type="none" w="med" len="med"/>
                    </a:lnL>
                    <a:lnT w="12700" cap="flat" cmpd="sng" algn="ctr">
                      <a:solidFill>
                        <a:schemeClr val="bg2"/>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23557266"/>
                  </a:ext>
                </a:extLst>
              </a:tr>
            </a:tbl>
          </a:graphicData>
        </a:graphic>
      </p:graphicFrame>
      <p:sp>
        <p:nvSpPr>
          <p:cNvPr id="4" name="Rectangle 3" hidden="1">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vert="horz"/>
          <a:lstStyle/>
          <a:p>
            <a:r>
              <a:rPr lang="en-GB">
                <a:latin typeface="+mn-lt"/>
              </a:rPr>
              <a:t>Slide message – KPI by scenario (4 scenarios)</a:t>
            </a:r>
            <a:endParaRPr lang="en-GB" dirty="0">
              <a:latin typeface="+mn-lt"/>
            </a:endParaRPr>
          </a:p>
        </p:txBody>
      </p:sp>
      <p:graphicFrame>
        <p:nvGraphicFramePr>
          <p:cNvPr id="18" name="Graphique 17">
            <a:extLst>
              <a:ext uri="{FF2B5EF4-FFF2-40B4-BE49-F238E27FC236}">
                <a16:creationId xmlns:a16="http://schemas.microsoft.com/office/drawing/2014/main" id="{A8F6B6DD-6766-44BC-E892-F7DEA57777E8}"/>
              </a:ext>
            </a:extLst>
          </p:cNvPr>
          <p:cNvGraphicFramePr/>
          <p:nvPr/>
        </p:nvGraphicFramePr>
        <p:xfrm>
          <a:off x="8099425" y="2263087"/>
          <a:ext cx="3075414" cy="418941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Graphique 20">
            <a:extLst>
              <a:ext uri="{FF2B5EF4-FFF2-40B4-BE49-F238E27FC236}">
                <a16:creationId xmlns:a16="http://schemas.microsoft.com/office/drawing/2014/main" id="{73797CF7-DF07-A3CD-AEE4-B1FBFE61F6F4}"/>
              </a:ext>
            </a:extLst>
          </p:cNvPr>
          <p:cNvGraphicFramePr/>
          <p:nvPr/>
        </p:nvGraphicFramePr>
        <p:xfrm>
          <a:off x="4660417" y="2263087"/>
          <a:ext cx="3257211" cy="416049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409556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4A18F47-53C7-45B4-99F6-EE8AF19886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3" name="Objet 2" hidden="1">
                        <a:extLst>
                          <a:ext uri="{FF2B5EF4-FFF2-40B4-BE49-F238E27FC236}">
                            <a16:creationId xmlns:a16="http://schemas.microsoft.com/office/drawing/2014/main" id="{04A18F47-53C7-45B4-99F6-EE8AF19886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anchor="ctr"/>
          <a:lstStyle/>
          <a:p>
            <a:r>
              <a:rPr lang="en-GB">
                <a:solidFill>
                  <a:srgbClr val="FFFFFF"/>
                </a:solidFill>
              </a:rPr>
              <a:t>Timeline</a:t>
            </a:r>
            <a:endParaRPr lang="en-GB" dirty="0">
              <a:solidFill>
                <a:srgbClr val="FFFFFF"/>
              </a:solidFill>
            </a:endParaRPr>
          </a:p>
        </p:txBody>
      </p:sp>
    </p:spTree>
    <p:extLst>
      <p:ext uri="{BB962C8B-B14F-4D97-AF65-F5344CB8AC3E}">
        <p14:creationId xmlns:p14="http://schemas.microsoft.com/office/powerpoint/2010/main" val="85101281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B89CFD-C694-429B-AC64-60BAFFD22DBD}"/>
              </a:ext>
            </a:extLst>
          </p:cNvPr>
          <p:cNvSpPr/>
          <p:nvPr/>
        </p:nvSpPr>
        <p:spPr bwMode="auto">
          <a:xfrm>
            <a:off x="907468" y="1944850"/>
            <a:ext cx="2520005" cy="591641"/>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400"/>
              </a:spcBef>
              <a:spcAft>
                <a:spcPts val="400"/>
              </a:spcAft>
              <a:buClr>
                <a:schemeClr val="accent3"/>
              </a:buClr>
              <a:buSzPct val="77000"/>
            </a:pPr>
            <a:r>
              <a:rPr lang="en-GB" sz="1600">
                <a:solidFill>
                  <a:schemeClr val="bg1"/>
                </a:solidFill>
                <a:latin typeface="+mn-lt"/>
              </a:rPr>
              <a:t>Phase 1</a:t>
            </a:r>
            <a:endParaRPr lang="en-GB" sz="1600" dirty="0">
              <a:solidFill>
                <a:schemeClr val="bg1"/>
              </a:solidFill>
              <a:latin typeface="+mn-lt"/>
            </a:endParaRPr>
          </a:p>
        </p:txBody>
      </p:sp>
      <p:sp>
        <p:nvSpPr>
          <p:cNvPr id="10" name="Rectangle 9">
            <a:extLst>
              <a:ext uri="{FF2B5EF4-FFF2-40B4-BE49-F238E27FC236}">
                <a16:creationId xmlns:a16="http://schemas.microsoft.com/office/drawing/2014/main" id="{F41060C2-7C25-41E2-BC48-3F78F797F2C6}"/>
              </a:ext>
            </a:extLst>
          </p:cNvPr>
          <p:cNvSpPr/>
          <p:nvPr/>
        </p:nvSpPr>
        <p:spPr bwMode="auto">
          <a:xfrm>
            <a:off x="907468" y="2540311"/>
            <a:ext cx="2520005" cy="2755322"/>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Text</a:t>
            </a:r>
          </a:p>
        </p:txBody>
      </p:sp>
      <p:sp>
        <p:nvSpPr>
          <p:cNvPr id="23" name="Rectangle 22">
            <a:extLst>
              <a:ext uri="{FF2B5EF4-FFF2-40B4-BE49-F238E27FC236}">
                <a16:creationId xmlns:a16="http://schemas.microsoft.com/office/drawing/2014/main" id="{FD3EEB72-686E-4DD5-A550-982A33E8CF89}"/>
              </a:ext>
            </a:extLst>
          </p:cNvPr>
          <p:cNvSpPr/>
          <p:nvPr/>
        </p:nvSpPr>
        <p:spPr bwMode="auto">
          <a:xfrm>
            <a:off x="3554197" y="1944850"/>
            <a:ext cx="2520005" cy="591641"/>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400"/>
              </a:spcBef>
              <a:spcAft>
                <a:spcPts val="400"/>
              </a:spcAft>
              <a:buClr>
                <a:schemeClr val="accent3"/>
              </a:buClr>
              <a:buSzPct val="77000"/>
            </a:pPr>
            <a:r>
              <a:rPr lang="en-GB" sz="1600">
                <a:solidFill>
                  <a:schemeClr val="bg1"/>
                </a:solidFill>
                <a:latin typeface="+mn-lt"/>
              </a:rPr>
              <a:t>Phase 2</a:t>
            </a:r>
            <a:endParaRPr lang="en-GB" sz="1600" dirty="0">
              <a:solidFill>
                <a:schemeClr val="bg1"/>
              </a:solidFill>
              <a:latin typeface="+mn-lt"/>
            </a:endParaRPr>
          </a:p>
        </p:txBody>
      </p:sp>
      <p:sp>
        <p:nvSpPr>
          <p:cNvPr id="24" name="Rectangle 23">
            <a:extLst>
              <a:ext uri="{FF2B5EF4-FFF2-40B4-BE49-F238E27FC236}">
                <a16:creationId xmlns:a16="http://schemas.microsoft.com/office/drawing/2014/main" id="{8D01431D-E913-4165-BFBD-2DBB136C3CEF}"/>
              </a:ext>
            </a:extLst>
          </p:cNvPr>
          <p:cNvSpPr/>
          <p:nvPr/>
        </p:nvSpPr>
        <p:spPr bwMode="auto">
          <a:xfrm>
            <a:off x="3554197" y="2540311"/>
            <a:ext cx="2520005" cy="2755322"/>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endParaRPr lang="en-GB" dirty="0">
              <a:latin typeface="+mn-lt"/>
            </a:endParaRPr>
          </a:p>
        </p:txBody>
      </p:sp>
      <p:sp>
        <p:nvSpPr>
          <p:cNvPr id="25" name="Rectangle 24">
            <a:extLst>
              <a:ext uri="{FF2B5EF4-FFF2-40B4-BE49-F238E27FC236}">
                <a16:creationId xmlns:a16="http://schemas.microsoft.com/office/drawing/2014/main" id="{93C8372D-AC0C-4CE0-B962-3D620A774BEC}"/>
              </a:ext>
            </a:extLst>
          </p:cNvPr>
          <p:cNvSpPr/>
          <p:nvPr/>
        </p:nvSpPr>
        <p:spPr bwMode="auto">
          <a:xfrm>
            <a:off x="6200926" y="1944850"/>
            <a:ext cx="2520005" cy="591641"/>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400"/>
              </a:spcBef>
              <a:spcAft>
                <a:spcPts val="400"/>
              </a:spcAft>
              <a:buClr>
                <a:schemeClr val="accent3"/>
              </a:buClr>
              <a:buSzPct val="77000"/>
            </a:pPr>
            <a:r>
              <a:rPr lang="en-GB" sz="1600">
                <a:solidFill>
                  <a:schemeClr val="bg1"/>
                </a:solidFill>
                <a:latin typeface="+mn-lt"/>
              </a:rPr>
              <a:t>Phase 3</a:t>
            </a:r>
            <a:endParaRPr lang="en-GB" sz="1600" dirty="0">
              <a:solidFill>
                <a:schemeClr val="bg1"/>
              </a:solidFill>
              <a:latin typeface="+mn-lt"/>
            </a:endParaRPr>
          </a:p>
        </p:txBody>
      </p:sp>
      <p:sp>
        <p:nvSpPr>
          <p:cNvPr id="26" name="Rectangle 25">
            <a:extLst>
              <a:ext uri="{FF2B5EF4-FFF2-40B4-BE49-F238E27FC236}">
                <a16:creationId xmlns:a16="http://schemas.microsoft.com/office/drawing/2014/main" id="{5CD48436-0A97-4088-A011-521071444DC2}"/>
              </a:ext>
            </a:extLst>
          </p:cNvPr>
          <p:cNvSpPr/>
          <p:nvPr/>
        </p:nvSpPr>
        <p:spPr bwMode="auto">
          <a:xfrm>
            <a:off x="6200926" y="2540311"/>
            <a:ext cx="2520005" cy="2755322"/>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endParaRPr lang="en-GB" dirty="0">
              <a:latin typeface="+mn-lt"/>
            </a:endParaRPr>
          </a:p>
        </p:txBody>
      </p:sp>
      <p:sp>
        <p:nvSpPr>
          <p:cNvPr id="27" name="Rectangle 26">
            <a:extLst>
              <a:ext uri="{FF2B5EF4-FFF2-40B4-BE49-F238E27FC236}">
                <a16:creationId xmlns:a16="http://schemas.microsoft.com/office/drawing/2014/main" id="{9376E1B0-E1D9-429E-B059-8F0D9D32FCDF}"/>
              </a:ext>
            </a:extLst>
          </p:cNvPr>
          <p:cNvSpPr/>
          <p:nvPr/>
        </p:nvSpPr>
        <p:spPr bwMode="auto">
          <a:xfrm>
            <a:off x="8847656" y="1944850"/>
            <a:ext cx="2520005" cy="591641"/>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400"/>
              </a:spcBef>
              <a:spcAft>
                <a:spcPts val="400"/>
              </a:spcAft>
              <a:buClr>
                <a:schemeClr val="accent3"/>
              </a:buClr>
              <a:buSzPct val="77000"/>
            </a:pPr>
            <a:r>
              <a:rPr lang="en-GB" sz="1600">
                <a:solidFill>
                  <a:schemeClr val="bg1"/>
                </a:solidFill>
                <a:latin typeface="+mn-lt"/>
              </a:rPr>
              <a:t>Phase 4</a:t>
            </a:r>
            <a:endParaRPr lang="en-GB" sz="1600" dirty="0">
              <a:solidFill>
                <a:schemeClr val="bg1"/>
              </a:solidFill>
              <a:latin typeface="+mn-lt"/>
            </a:endParaRPr>
          </a:p>
        </p:txBody>
      </p:sp>
      <p:sp>
        <p:nvSpPr>
          <p:cNvPr id="28" name="Rectangle 27">
            <a:extLst>
              <a:ext uri="{FF2B5EF4-FFF2-40B4-BE49-F238E27FC236}">
                <a16:creationId xmlns:a16="http://schemas.microsoft.com/office/drawing/2014/main" id="{5B343AB0-0166-491C-9EA5-15E2E5E25BDA}"/>
              </a:ext>
            </a:extLst>
          </p:cNvPr>
          <p:cNvSpPr/>
          <p:nvPr/>
        </p:nvSpPr>
        <p:spPr bwMode="auto">
          <a:xfrm>
            <a:off x="8847656" y="2540311"/>
            <a:ext cx="2520005" cy="2755322"/>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Text</a:t>
            </a:r>
            <a:endParaRPr lang="en-GB" dirty="0">
              <a:latin typeface="+mn-lt"/>
            </a:endParaRPr>
          </a:p>
        </p:txBody>
      </p:sp>
      <p:graphicFrame>
        <p:nvGraphicFramePr>
          <p:cNvPr id="5" name="Objet 4" hidden="1">
            <a:extLst>
              <a:ext uri="{FF2B5EF4-FFF2-40B4-BE49-F238E27FC236}">
                <a16:creationId xmlns:a16="http://schemas.microsoft.com/office/drawing/2014/main" id="{14DE37FC-E698-4AC1-B6DA-3D17E02F23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5" name="Objet 4" hidden="1">
                        <a:extLst>
                          <a:ext uri="{FF2B5EF4-FFF2-40B4-BE49-F238E27FC236}">
                            <a16:creationId xmlns:a16="http://schemas.microsoft.com/office/drawing/2014/main" id="{14DE37FC-E698-4AC1-B6DA-3D17E02F23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4B5F94-EDD7-4D9E-B7C6-B3AD6519E0AB}"/>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B555B72-58B8-470E-BE25-3C045DAAA03C}"/>
              </a:ext>
            </a:extLst>
          </p:cNvPr>
          <p:cNvSpPr>
            <a:spLocks noGrp="1"/>
          </p:cNvSpPr>
          <p:nvPr>
            <p:ph type="title"/>
          </p:nvPr>
        </p:nvSpPr>
        <p:spPr/>
        <p:txBody>
          <a:bodyPr/>
          <a:lstStyle/>
          <a:p>
            <a:r>
              <a:rPr lang="en-GB"/>
              <a:t>Four-phase approach presentation</a:t>
            </a:r>
            <a:endParaRPr lang="en-GB" dirty="0"/>
          </a:p>
        </p:txBody>
      </p:sp>
    </p:spTree>
    <p:custDataLst>
      <p:tags r:id="rId1"/>
    </p:custDataLst>
    <p:extLst>
      <p:ext uri="{BB962C8B-B14F-4D97-AF65-F5344CB8AC3E}">
        <p14:creationId xmlns:p14="http://schemas.microsoft.com/office/powerpoint/2010/main" val="92205368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CE99BE9-FFE2-473D-BCAA-AF68641070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0CE99BE9-FFE2-473D-BCAA-AF68641070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B87838-FD59-4703-B134-9207804F974C}"/>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C65D4CC2-6D2C-4440-A867-373CFB04F56F}"/>
              </a:ext>
            </a:extLst>
          </p:cNvPr>
          <p:cNvSpPr>
            <a:spLocks noGrp="1"/>
          </p:cNvSpPr>
          <p:nvPr>
            <p:ph type="title"/>
          </p:nvPr>
        </p:nvSpPr>
        <p:spPr/>
        <p:txBody>
          <a:bodyPr/>
          <a:lstStyle/>
          <a:p>
            <a:r>
              <a:rPr lang="en-GB"/>
              <a:t>Four-phase approach presentation</a:t>
            </a:r>
            <a:endParaRPr lang="en-GB" dirty="0"/>
          </a:p>
        </p:txBody>
      </p:sp>
      <p:cxnSp>
        <p:nvCxnSpPr>
          <p:cNvPr id="5" name="Straight Connector 4"/>
          <p:cNvCxnSpPr>
            <a:cxnSpLocks/>
          </p:cNvCxnSpPr>
          <p:nvPr/>
        </p:nvCxnSpPr>
        <p:spPr>
          <a:xfrm flipV="1">
            <a:off x="2089497" y="3737624"/>
            <a:ext cx="8141693" cy="1765"/>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3301771" y="1515239"/>
            <a:ext cx="2707149" cy="1144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a:t>
            </a:r>
          </a:p>
          <a:p>
            <a:pPr lvl="0" algn="l" eaLnBrk="1" hangingPunct="1">
              <a:lnSpc>
                <a:spcPct val="90000"/>
              </a:lnSpc>
              <a:spcBef>
                <a:spcPts val="400"/>
              </a:spcBef>
              <a:spcAft>
                <a:spcPts val="400"/>
              </a:spcAft>
              <a:buClrTx/>
              <a:defRPr/>
            </a:pPr>
            <a:r>
              <a:rPr lang="en-GB" kern="0" dirty="0">
                <a:solidFill>
                  <a:srgbClr val="000000"/>
                </a:solidFill>
                <a:cs typeface="Arial" pitchFamily="34" charset="0"/>
              </a:rPr>
              <a:t> </a:t>
            </a:r>
          </a:p>
        </p:txBody>
      </p:sp>
      <p:sp>
        <p:nvSpPr>
          <p:cNvPr id="12" name="Rectangle 11"/>
          <p:cNvSpPr/>
          <p:nvPr/>
        </p:nvSpPr>
        <p:spPr bwMode="auto">
          <a:xfrm>
            <a:off x="5912845" y="4756914"/>
            <a:ext cx="2707149" cy="1148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6" name="Oval 5"/>
          <p:cNvSpPr>
            <a:spLocks noChangeAspect="1"/>
          </p:cNvSpPr>
          <p:nvPr/>
        </p:nvSpPr>
        <p:spPr>
          <a:xfrm>
            <a:off x="1684272" y="3338069"/>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dirty="0">
                <a:ln>
                  <a:noFill/>
                </a:ln>
                <a:solidFill>
                  <a:schemeClr val="bg1"/>
                </a:solidFill>
                <a:effectLst/>
                <a:uLnTx/>
                <a:uFillTx/>
                <a:ea typeface="+mn-ea"/>
                <a:cs typeface="+mn-cs"/>
              </a:rPr>
              <a:t>Text</a:t>
            </a:r>
          </a:p>
        </p:txBody>
      </p:sp>
      <p:sp>
        <p:nvSpPr>
          <p:cNvPr id="69" name="Rectangle 68"/>
          <p:cNvSpPr/>
          <p:nvPr/>
        </p:nvSpPr>
        <p:spPr bwMode="auto">
          <a:xfrm>
            <a:off x="8523920" y="1515239"/>
            <a:ext cx="2707149" cy="1144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cxnSp>
        <p:nvCxnSpPr>
          <p:cNvPr id="76" name="Straight Connector 75"/>
          <p:cNvCxnSpPr>
            <a:cxnSpLocks/>
          </p:cNvCxnSpPr>
          <p:nvPr/>
        </p:nvCxnSpPr>
        <p:spPr>
          <a:xfrm flipH="1" flipV="1">
            <a:off x="7518802" y="3542550"/>
            <a:ext cx="17851" cy="489784"/>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18B137EF-B5DA-4461-BA34-0E653720A233}"/>
              </a:ext>
            </a:extLst>
          </p:cNvPr>
          <p:cNvSpPr>
            <a:spLocks noChangeAspect="1"/>
          </p:cNvSpPr>
          <p:nvPr/>
        </p:nvSpPr>
        <p:spPr>
          <a:xfrm>
            <a:off x="6906420" y="3377624"/>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44" name="Oval 43">
            <a:extLst>
              <a:ext uri="{FF2B5EF4-FFF2-40B4-BE49-F238E27FC236}">
                <a16:creationId xmlns:a16="http://schemas.microsoft.com/office/drawing/2014/main" id="{B516BE4D-7F46-478D-B473-E793F3A0F268}"/>
              </a:ext>
            </a:extLst>
          </p:cNvPr>
          <p:cNvSpPr>
            <a:spLocks noChangeAspect="1"/>
          </p:cNvSpPr>
          <p:nvPr/>
        </p:nvSpPr>
        <p:spPr>
          <a:xfrm>
            <a:off x="4295346" y="3377624"/>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45" name="Oval 44">
            <a:extLst>
              <a:ext uri="{FF2B5EF4-FFF2-40B4-BE49-F238E27FC236}">
                <a16:creationId xmlns:a16="http://schemas.microsoft.com/office/drawing/2014/main" id="{A9C93F3D-7235-4C8A-9117-1D41EE13FF68}"/>
              </a:ext>
            </a:extLst>
          </p:cNvPr>
          <p:cNvSpPr>
            <a:spLocks noChangeAspect="1"/>
          </p:cNvSpPr>
          <p:nvPr/>
        </p:nvSpPr>
        <p:spPr>
          <a:xfrm>
            <a:off x="9517495" y="3338069"/>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cxnSp>
        <p:nvCxnSpPr>
          <p:cNvPr id="19" name="Straight Connector 18">
            <a:extLst>
              <a:ext uri="{FF2B5EF4-FFF2-40B4-BE49-F238E27FC236}">
                <a16:creationId xmlns:a16="http://schemas.microsoft.com/office/drawing/2014/main" id="{70EF9F40-4247-4827-BA50-2A058C3F3047}"/>
              </a:ext>
            </a:extLst>
          </p:cNvPr>
          <p:cNvCxnSpPr>
            <a:stCxn id="44" idx="0"/>
            <a:endCxn id="11" idx="2"/>
          </p:cNvCxnSpPr>
          <p:nvPr/>
        </p:nvCxnSpPr>
        <p:spPr>
          <a:xfrm flipV="1">
            <a:off x="4655346" y="2659388"/>
            <a:ext cx="0" cy="718236"/>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00F623E-94A8-44F1-AB26-9D635FB05BF7}"/>
              </a:ext>
            </a:extLst>
          </p:cNvPr>
          <p:cNvCxnSpPr>
            <a:cxnSpLocks/>
            <a:stCxn id="6" idx="4"/>
          </p:cNvCxnSpPr>
          <p:nvPr/>
        </p:nvCxnSpPr>
        <p:spPr>
          <a:xfrm>
            <a:off x="2044272" y="4058069"/>
            <a:ext cx="0" cy="707665"/>
          </a:xfrm>
          <a:prstGeom prst="line">
            <a:avLst/>
          </a:prstGeom>
          <a:ln w="38100">
            <a:solidFill>
              <a:srgbClr val="C1B5B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FBD5FC-0540-4DC7-B891-7558D38A544A}"/>
              </a:ext>
            </a:extLst>
          </p:cNvPr>
          <p:cNvCxnSpPr>
            <a:cxnSpLocks/>
            <a:stCxn id="45" idx="0"/>
            <a:endCxn id="69" idx="2"/>
          </p:cNvCxnSpPr>
          <p:nvPr/>
        </p:nvCxnSpPr>
        <p:spPr>
          <a:xfrm flipV="1">
            <a:off x="9877495" y="2659388"/>
            <a:ext cx="0" cy="678681"/>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D9ABECF-403C-41AF-A543-46DE6102297C}"/>
              </a:ext>
            </a:extLst>
          </p:cNvPr>
          <p:cNvCxnSpPr>
            <a:stCxn id="43" idx="4"/>
            <a:endCxn id="12" idx="0"/>
          </p:cNvCxnSpPr>
          <p:nvPr/>
        </p:nvCxnSpPr>
        <p:spPr>
          <a:xfrm>
            <a:off x="7266420" y="4097624"/>
            <a:ext cx="0" cy="659290"/>
          </a:xfrm>
          <a:prstGeom prst="line">
            <a:avLst/>
          </a:prstGeom>
          <a:ln w="38100">
            <a:solidFill>
              <a:srgbClr val="C1B5B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56D13D2-9408-4B4D-AA17-B66B6B0CA789}"/>
              </a:ext>
            </a:extLst>
          </p:cNvPr>
          <p:cNvSpPr/>
          <p:nvPr/>
        </p:nvSpPr>
        <p:spPr bwMode="auto">
          <a:xfrm>
            <a:off x="690697" y="4765734"/>
            <a:ext cx="2707149" cy="1139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Tree>
    <p:extLst>
      <p:ext uri="{BB962C8B-B14F-4D97-AF65-F5344CB8AC3E}">
        <p14:creationId xmlns:p14="http://schemas.microsoft.com/office/powerpoint/2010/main" val="341822298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CE99BE9-FFE2-473D-BCAA-AF68641070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0CE99BE9-FFE2-473D-BCAA-AF68641070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B87838-FD59-4703-B134-9207804F974C}"/>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C65D4CC2-6D2C-4440-A867-373CFB04F56F}"/>
              </a:ext>
            </a:extLst>
          </p:cNvPr>
          <p:cNvSpPr>
            <a:spLocks noGrp="1"/>
          </p:cNvSpPr>
          <p:nvPr>
            <p:ph type="title"/>
          </p:nvPr>
        </p:nvSpPr>
        <p:spPr/>
        <p:txBody>
          <a:bodyPr/>
          <a:lstStyle/>
          <a:p>
            <a:r>
              <a:rPr lang="en-GB"/>
              <a:t>Five-phase approach presentation</a:t>
            </a:r>
            <a:endParaRPr lang="en-GB" dirty="0"/>
          </a:p>
        </p:txBody>
      </p:sp>
      <p:cxnSp>
        <p:nvCxnSpPr>
          <p:cNvPr id="5" name="Straight Connector 4"/>
          <p:cNvCxnSpPr>
            <a:cxnSpLocks/>
            <a:endCxn id="31" idx="6"/>
          </p:cNvCxnSpPr>
          <p:nvPr/>
        </p:nvCxnSpPr>
        <p:spPr>
          <a:xfrm flipV="1">
            <a:off x="1703636" y="3737624"/>
            <a:ext cx="9641909" cy="1766"/>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2429791" y="1375133"/>
            <a:ext cx="2461044" cy="1284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a:t>
            </a:r>
          </a:p>
          <a:p>
            <a:pPr lvl="0" algn="l" eaLnBrk="1" hangingPunct="1">
              <a:lnSpc>
                <a:spcPct val="90000"/>
              </a:lnSpc>
              <a:spcBef>
                <a:spcPts val="400"/>
              </a:spcBef>
              <a:spcAft>
                <a:spcPts val="400"/>
              </a:spcAft>
              <a:buClrTx/>
              <a:defRPr/>
            </a:pPr>
            <a:r>
              <a:rPr lang="en-GB" kern="0" dirty="0">
                <a:solidFill>
                  <a:srgbClr val="000000"/>
                </a:solidFill>
                <a:cs typeface="Arial" pitchFamily="34" charset="0"/>
              </a:rPr>
              <a:t> </a:t>
            </a:r>
          </a:p>
        </p:txBody>
      </p:sp>
      <p:sp>
        <p:nvSpPr>
          <p:cNvPr id="12" name="Rectangle 11"/>
          <p:cNvSpPr/>
          <p:nvPr/>
        </p:nvSpPr>
        <p:spPr bwMode="auto">
          <a:xfrm>
            <a:off x="4871534" y="4756914"/>
            <a:ext cx="2461044" cy="1286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69" name="Rectangle 68"/>
          <p:cNvSpPr/>
          <p:nvPr/>
        </p:nvSpPr>
        <p:spPr bwMode="auto">
          <a:xfrm>
            <a:off x="7313279" y="1375133"/>
            <a:ext cx="2461044" cy="1284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cxnSp>
        <p:nvCxnSpPr>
          <p:cNvPr id="19" name="Straight Connector 18">
            <a:extLst>
              <a:ext uri="{FF2B5EF4-FFF2-40B4-BE49-F238E27FC236}">
                <a16:creationId xmlns:a16="http://schemas.microsoft.com/office/drawing/2014/main" id="{70EF9F40-4247-4827-BA50-2A058C3F3047}"/>
              </a:ext>
            </a:extLst>
          </p:cNvPr>
          <p:cNvCxnSpPr>
            <a:cxnSpLocks/>
            <a:stCxn id="44" idx="0"/>
            <a:endCxn id="11" idx="2"/>
          </p:cNvCxnSpPr>
          <p:nvPr/>
        </p:nvCxnSpPr>
        <p:spPr>
          <a:xfrm flipH="1" flipV="1">
            <a:off x="3660313" y="2659388"/>
            <a:ext cx="1" cy="718236"/>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FBD5FC-0540-4DC7-B891-7558D38A544A}"/>
              </a:ext>
            </a:extLst>
          </p:cNvPr>
          <p:cNvCxnSpPr>
            <a:cxnSpLocks/>
            <a:stCxn id="45" idx="0"/>
            <a:endCxn id="69" idx="2"/>
          </p:cNvCxnSpPr>
          <p:nvPr/>
        </p:nvCxnSpPr>
        <p:spPr>
          <a:xfrm flipH="1" flipV="1">
            <a:off x="8543801" y="2659388"/>
            <a:ext cx="1" cy="678681"/>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D9ABECF-403C-41AF-A543-46DE6102297C}"/>
              </a:ext>
            </a:extLst>
          </p:cNvPr>
          <p:cNvCxnSpPr>
            <a:cxnSpLocks/>
            <a:stCxn id="43" idx="4"/>
            <a:endCxn id="12" idx="0"/>
          </p:cNvCxnSpPr>
          <p:nvPr/>
        </p:nvCxnSpPr>
        <p:spPr>
          <a:xfrm flipH="1">
            <a:off x="6102056" y="4097624"/>
            <a:ext cx="2" cy="659290"/>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4A83456-3DC9-4C1A-8B94-0BC4A2A672F0}"/>
              </a:ext>
            </a:extLst>
          </p:cNvPr>
          <p:cNvSpPr/>
          <p:nvPr/>
        </p:nvSpPr>
        <p:spPr bwMode="auto">
          <a:xfrm>
            <a:off x="9311069" y="4756914"/>
            <a:ext cx="2461044" cy="1286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6" name="Oval 5"/>
          <p:cNvSpPr>
            <a:spLocks noChangeAspect="1"/>
          </p:cNvSpPr>
          <p:nvPr/>
        </p:nvSpPr>
        <p:spPr>
          <a:xfrm>
            <a:off x="858570" y="3338069"/>
            <a:ext cx="719999"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mn-cs"/>
              </a:rPr>
              <a:t>Text</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43" name="Oval 42">
            <a:extLst>
              <a:ext uri="{FF2B5EF4-FFF2-40B4-BE49-F238E27FC236}">
                <a16:creationId xmlns:a16="http://schemas.microsoft.com/office/drawing/2014/main" id="{18B137EF-B5DA-4461-BA34-0E653720A233}"/>
              </a:ext>
            </a:extLst>
          </p:cNvPr>
          <p:cNvSpPr>
            <a:spLocks noChangeAspect="1"/>
          </p:cNvSpPr>
          <p:nvPr/>
        </p:nvSpPr>
        <p:spPr>
          <a:xfrm>
            <a:off x="5742058" y="3377624"/>
            <a:ext cx="719999"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mn-cs"/>
              </a:rPr>
              <a:t>Text</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44" name="Oval 43">
            <a:extLst>
              <a:ext uri="{FF2B5EF4-FFF2-40B4-BE49-F238E27FC236}">
                <a16:creationId xmlns:a16="http://schemas.microsoft.com/office/drawing/2014/main" id="{B516BE4D-7F46-478D-B473-E793F3A0F268}"/>
              </a:ext>
            </a:extLst>
          </p:cNvPr>
          <p:cNvSpPr>
            <a:spLocks noChangeAspect="1"/>
          </p:cNvSpPr>
          <p:nvPr/>
        </p:nvSpPr>
        <p:spPr>
          <a:xfrm>
            <a:off x="3300314" y="3377624"/>
            <a:ext cx="719999"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mn-cs"/>
              </a:rPr>
              <a:t>Text</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45" name="Oval 44">
            <a:extLst>
              <a:ext uri="{FF2B5EF4-FFF2-40B4-BE49-F238E27FC236}">
                <a16:creationId xmlns:a16="http://schemas.microsoft.com/office/drawing/2014/main" id="{A9C93F3D-7235-4C8A-9117-1D41EE13FF68}"/>
              </a:ext>
            </a:extLst>
          </p:cNvPr>
          <p:cNvSpPr>
            <a:spLocks noChangeAspect="1"/>
          </p:cNvSpPr>
          <p:nvPr/>
        </p:nvSpPr>
        <p:spPr>
          <a:xfrm>
            <a:off x="8183802" y="3338069"/>
            <a:ext cx="719999"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mn-cs"/>
              </a:rPr>
              <a:t>Text</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31" name="Oval 42">
            <a:extLst>
              <a:ext uri="{FF2B5EF4-FFF2-40B4-BE49-F238E27FC236}">
                <a16:creationId xmlns:a16="http://schemas.microsoft.com/office/drawing/2014/main" id="{BF3D034C-6D74-454B-AC9F-34BA6B26D484}"/>
              </a:ext>
            </a:extLst>
          </p:cNvPr>
          <p:cNvSpPr>
            <a:spLocks noChangeAspect="1"/>
          </p:cNvSpPr>
          <p:nvPr/>
        </p:nvSpPr>
        <p:spPr>
          <a:xfrm>
            <a:off x="10625546" y="3377624"/>
            <a:ext cx="719999"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ea typeface="+mn-ea"/>
                <a:cs typeface="+mn-cs"/>
              </a:rPr>
              <a:t>Text</a:t>
            </a:r>
            <a:endParaRPr kumimoji="0" lang="en-GB" sz="1200" b="0" i="0" u="none" strike="noStrike" kern="1200" cap="none" spc="0" normalizeH="0" baseline="0" noProof="0" dirty="0">
              <a:ln>
                <a:noFill/>
              </a:ln>
              <a:solidFill>
                <a:srgbClr val="FFFFFF"/>
              </a:solidFill>
              <a:effectLst/>
              <a:uLnTx/>
              <a:uFillTx/>
              <a:ea typeface="+mn-ea"/>
              <a:cs typeface="+mn-cs"/>
            </a:endParaRPr>
          </a:p>
        </p:txBody>
      </p:sp>
      <p:cxnSp>
        <p:nvCxnSpPr>
          <p:cNvPr id="32" name="Straight Connector 28">
            <a:extLst>
              <a:ext uri="{FF2B5EF4-FFF2-40B4-BE49-F238E27FC236}">
                <a16:creationId xmlns:a16="http://schemas.microsoft.com/office/drawing/2014/main" id="{BFD9B0FD-E18A-4BDD-A291-583BF62E282C}"/>
              </a:ext>
            </a:extLst>
          </p:cNvPr>
          <p:cNvCxnSpPr>
            <a:cxnSpLocks/>
            <a:stCxn id="31" idx="4"/>
          </p:cNvCxnSpPr>
          <p:nvPr/>
        </p:nvCxnSpPr>
        <p:spPr>
          <a:xfrm>
            <a:off x="10985546" y="4097624"/>
            <a:ext cx="0" cy="659290"/>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20">
            <a:extLst>
              <a:ext uri="{FF2B5EF4-FFF2-40B4-BE49-F238E27FC236}">
                <a16:creationId xmlns:a16="http://schemas.microsoft.com/office/drawing/2014/main" id="{0936D483-4D72-4AD1-9942-1AB24F772683}"/>
              </a:ext>
            </a:extLst>
          </p:cNvPr>
          <p:cNvCxnSpPr/>
          <p:nvPr/>
        </p:nvCxnSpPr>
        <p:spPr>
          <a:xfrm flipH="1">
            <a:off x="1218569" y="4058069"/>
            <a:ext cx="1" cy="707665"/>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473684A-1002-43AF-9816-3477F8718F35}"/>
              </a:ext>
            </a:extLst>
          </p:cNvPr>
          <p:cNvSpPr/>
          <p:nvPr/>
        </p:nvSpPr>
        <p:spPr bwMode="auto">
          <a:xfrm>
            <a:off x="432000" y="4765734"/>
            <a:ext cx="2461044" cy="127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Tree>
    <p:extLst>
      <p:ext uri="{BB962C8B-B14F-4D97-AF65-F5344CB8AC3E}">
        <p14:creationId xmlns:p14="http://schemas.microsoft.com/office/powerpoint/2010/main" val="11090220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CE99BE9-FFE2-473D-BCAA-AF68641070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0CE99BE9-FFE2-473D-BCAA-AF68641070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B87838-FD59-4703-B134-9207804F974C}"/>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C65D4CC2-6D2C-4440-A867-373CFB04F56F}"/>
              </a:ext>
            </a:extLst>
          </p:cNvPr>
          <p:cNvSpPr>
            <a:spLocks noGrp="1"/>
          </p:cNvSpPr>
          <p:nvPr>
            <p:ph type="title"/>
          </p:nvPr>
        </p:nvSpPr>
        <p:spPr/>
        <p:txBody>
          <a:bodyPr/>
          <a:lstStyle/>
          <a:p>
            <a:r>
              <a:rPr lang="en-GB"/>
              <a:t>Six-phase approach presentation</a:t>
            </a:r>
            <a:endParaRPr lang="en-GB" dirty="0"/>
          </a:p>
        </p:txBody>
      </p:sp>
      <p:cxnSp>
        <p:nvCxnSpPr>
          <p:cNvPr id="5" name="Straight Connector 4"/>
          <p:cNvCxnSpPr>
            <a:cxnSpLocks/>
            <a:stCxn id="6" idx="2"/>
            <a:endCxn id="26" idx="6"/>
          </p:cNvCxnSpPr>
          <p:nvPr/>
        </p:nvCxnSpPr>
        <p:spPr>
          <a:xfrm>
            <a:off x="432547" y="3698069"/>
            <a:ext cx="11096008"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749092" y="1292109"/>
            <a:ext cx="2237314" cy="136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a:t>
            </a:r>
          </a:p>
          <a:p>
            <a:pPr lvl="0" algn="l" eaLnBrk="1" hangingPunct="1">
              <a:lnSpc>
                <a:spcPct val="90000"/>
              </a:lnSpc>
              <a:spcBef>
                <a:spcPts val="400"/>
              </a:spcBef>
              <a:spcAft>
                <a:spcPts val="400"/>
              </a:spcAft>
              <a:buClrTx/>
              <a:defRPr/>
            </a:pPr>
            <a:r>
              <a:rPr lang="en-GB" kern="0" dirty="0">
                <a:solidFill>
                  <a:srgbClr val="000000"/>
                </a:solidFill>
                <a:cs typeface="Arial" pitchFamily="34" charset="0"/>
              </a:rPr>
              <a:t> </a:t>
            </a:r>
          </a:p>
        </p:txBody>
      </p:sp>
      <p:sp>
        <p:nvSpPr>
          <p:cNvPr id="12" name="Rectangle 11"/>
          <p:cNvSpPr/>
          <p:nvPr/>
        </p:nvSpPr>
        <p:spPr bwMode="auto">
          <a:xfrm>
            <a:off x="4544932" y="4756914"/>
            <a:ext cx="2237314" cy="139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6" name="Oval 5"/>
          <p:cNvSpPr>
            <a:spLocks noChangeAspect="1"/>
          </p:cNvSpPr>
          <p:nvPr/>
        </p:nvSpPr>
        <p:spPr>
          <a:xfrm>
            <a:off x="432547" y="3338069"/>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69" name="Rectangle 68"/>
          <p:cNvSpPr/>
          <p:nvPr/>
        </p:nvSpPr>
        <p:spPr bwMode="auto">
          <a:xfrm>
            <a:off x="5899494" y="1292109"/>
            <a:ext cx="2237314" cy="136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43" name="Oval 42">
            <a:extLst>
              <a:ext uri="{FF2B5EF4-FFF2-40B4-BE49-F238E27FC236}">
                <a16:creationId xmlns:a16="http://schemas.microsoft.com/office/drawing/2014/main" id="{18B137EF-B5DA-4461-BA34-0E653720A233}"/>
              </a:ext>
            </a:extLst>
          </p:cNvPr>
          <p:cNvSpPr>
            <a:spLocks noChangeAspect="1"/>
          </p:cNvSpPr>
          <p:nvPr/>
        </p:nvSpPr>
        <p:spPr>
          <a:xfrm>
            <a:off x="4582951" y="3377624"/>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44" name="Oval 43">
            <a:extLst>
              <a:ext uri="{FF2B5EF4-FFF2-40B4-BE49-F238E27FC236}">
                <a16:creationId xmlns:a16="http://schemas.microsoft.com/office/drawing/2014/main" id="{B516BE4D-7F46-478D-B473-E793F3A0F268}"/>
              </a:ext>
            </a:extLst>
          </p:cNvPr>
          <p:cNvSpPr>
            <a:spLocks noChangeAspect="1"/>
          </p:cNvSpPr>
          <p:nvPr/>
        </p:nvSpPr>
        <p:spPr>
          <a:xfrm>
            <a:off x="2507749" y="3377624"/>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45" name="Oval 44">
            <a:extLst>
              <a:ext uri="{FF2B5EF4-FFF2-40B4-BE49-F238E27FC236}">
                <a16:creationId xmlns:a16="http://schemas.microsoft.com/office/drawing/2014/main" id="{A9C93F3D-7235-4C8A-9117-1D41EE13FF68}"/>
              </a:ext>
            </a:extLst>
          </p:cNvPr>
          <p:cNvSpPr>
            <a:spLocks noChangeAspect="1"/>
          </p:cNvSpPr>
          <p:nvPr/>
        </p:nvSpPr>
        <p:spPr>
          <a:xfrm>
            <a:off x="6658153" y="3338069"/>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cxnSp>
        <p:nvCxnSpPr>
          <p:cNvPr id="19" name="Straight Connector 18">
            <a:extLst>
              <a:ext uri="{FF2B5EF4-FFF2-40B4-BE49-F238E27FC236}">
                <a16:creationId xmlns:a16="http://schemas.microsoft.com/office/drawing/2014/main" id="{70EF9F40-4247-4827-BA50-2A058C3F3047}"/>
              </a:ext>
            </a:extLst>
          </p:cNvPr>
          <p:cNvCxnSpPr>
            <a:cxnSpLocks/>
            <a:stCxn id="44" idx="0"/>
            <a:endCxn id="11" idx="2"/>
          </p:cNvCxnSpPr>
          <p:nvPr/>
        </p:nvCxnSpPr>
        <p:spPr>
          <a:xfrm flipV="1">
            <a:off x="2867749" y="2659388"/>
            <a:ext cx="0" cy="718236"/>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00F623E-94A8-44F1-AB26-9D635FB05BF7}"/>
              </a:ext>
            </a:extLst>
          </p:cNvPr>
          <p:cNvCxnSpPr>
            <a:cxnSpLocks/>
            <a:stCxn id="6" idx="4"/>
          </p:cNvCxnSpPr>
          <p:nvPr/>
        </p:nvCxnSpPr>
        <p:spPr>
          <a:xfrm>
            <a:off x="792547" y="4058069"/>
            <a:ext cx="0" cy="707665"/>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FBD5FC-0540-4DC7-B891-7558D38A544A}"/>
              </a:ext>
            </a:extLst>
          </p:cNvPr>
          <p:cNvCxnSpPr>
            <a:cxnSpLocks/>
            <a:stCxn id="45" idx="0"/>
            <a:endCxn id="69" idx="2"/>
          </p:cNvCxnSpPr>
          <p:nvPr/>
        </p:nvCxnSpPr>
        <p:spPr>
          <a:xfrm flipH="1" flipV="1">
            <a:off x="7018151" y="2659388"/>
            <a:ext cx="2" cy="678681"/>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D9ABECF-403C-41AF-A543-46DE6102297C}"/>
              </a:ext>
            </a:extLst>
          </p:cNvPr>
          <p:cNvCxnSpPr>
            <a:cxnSpLocks/>
            <a:stCxn id="43" idx="4"/>
          </p:cNvCxnSpPr>
          <p:nvPr/>
        </p:nvCxnSpPr>
        <p:spPr>
          <a:xfrm>
            <a:off x="4942951" y="4097624"/>
            <a:ext cx="0" cy="639127"/>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60BAEFF-D89D-4AB4-8060-42A099D2D223}"/>
              </a:ext>
            </a:extLst>
          </p:cNvPr>
          <p:cNvSpPr/>
          <p:nvPr/>
        </p:nvSpPr>
        <p:spPr bwMode="auto">
          <a:xfrm>
            <a:off x="8196933" y="4756914"/>
            <a:ext cx="2237314" cy="139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24" name="Rectangle 23">
            <a:extLst>
              <a:ext uri="{FF2B5EF4-FFF2-40B4-BE49-F238E27FC236}">
                <a16:creationId xmlns:a16="http://schemas.microsoft.com/office/drawing/2014/main" id="{3DA653ED-85EF-4C22-9E8B-5C7A56C6CC61}"/>
              </a:ext>
            </a:extLst>
          </p:cNvPr>
          <p:cNvSpPr/>
          <p:nvPr/>
        </p:nvSpPr>
        <p:spPr bwMode="auto">
          <a:xfrm>
            <a:off x="9534686" y="1292109"/>
            <a:ext cx="2237314" cy="136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
        <p:nvSpPr>
          <p:cNvPr id="25" name="Oval 42">
            <a:extLst>
              <a:ext uri="{FF2B5EF4-FFF2-40B4-BE49-F238E27FC236}">
                <a16:creationId xmlns:a16="http://schemas.microsoft.com/office/drawing/2014/main" id="{FAC055F4-8273-4F16-A5B2-6B316D36C3B5}"/>
              </a:ext>
            </a:extLst>
          </p:cNvPr>
          <p:cNvSpPr>
            <a:spLocks noChangeAspect="1"/>
          </p:cNvSpPr>
          <p:nvPr/>
        </p:nvSpPr>
        <p:spPr>
          <a:xfrm>
            <a:off x="8733355" y="3377624"/>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sp>
        <p:nvSpPr>
          <p:cNvPr id="26" name="Oval 44">
            <a:extLst>
              <a:ext uri="{FF2B5EF4-FFF2-40B4-BE49-F238E27FC236}">
                <a16:creationId xmlns:a16="http://schemas.microsoft.com/office/drawing/2014/main" id="{DCB184B6-9BE6-4E11-8694-E2E13FAE54EF}"/>
              </a:ext>
            </a:extLst>
          </p:cNvPr>
          <p:cNvSpPr>
            <a:spLocks noChangeAspect="1"/>
          </p:cNvSpPr>
          <p:nvPr/>
        </p:nvSpPr>
        <p:spPr>
          <a:xfrm>
            <a:off x="10808555" y="3338069"/>
            <a:ext cx="720000" cy="720000"/>
          </a:xfrm>
          <a:prstGeom prst="ellipse">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ea typeface="+mn-ea"/>
                <a:cs typeface="+mn-cs"/>
              </a:rPr>
              <a:t>Text</a:t>
            </a:r>
            <a:endParaRPr kumimoji="0" lang="en-GB" sz="1200" b="0" i="0" u="none" strike="noStrike" kern="1200" cap="none" spc="0" normalizeH="0" baseline="0" noProof="0" dirty="0">
              <a:ln>
                <a:noFill/>
              </a:ln>
              <a:solidFill>
                <a:schemeClr val="bg1"/>
              </a:solidFill>
              <a:effectLst/>
              <a:uLnTx/>
              <a:uFillTx/>
              <a:ea typeface="+mn-ea"/>
              <a:cs typeface="+mn-cs"/>
            </a:endParaRPr>
          </a:p>
        </p:txBody>
      </p:sp>
      <p:cxnSp>
        <p:nvCxnSpPr>
          <p:cNvPr id="28" name="Straight Connector 28">
            <a:extLst>
              <a:ext uri="{FF2B5EF4-FFF2-40B4-BE49-F238E27FC236}">
                <a16:creationId xmlns:a16="http://schemas.microsoft.com/office/drawing/2014/main" id="{5AF8E21E-3F04-40E6-9187-DB14740E24D5}"/>
              </a:ext>
            </a:extLst>
          </p:cNvPr>
          <p:cNvCxnSpPr>
            <a:cxnSpLocks/>
            <a:stCxn id="25" idx="4"/>
          </p:cNvCxnSpPr>
          <p:nvPr/>
        </p:nvCxnSpPr>
        <p:spPr>
          <a:xfrm>
            <a:off x="9093355" y="4097624"/>
            <a:ext cx="0" cy="639127"/>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2">
            <a:extLst>
              <a:ext uri="{FF2B5EF4-FFF2-40B4-BE49-F238E27FC236}">
                <a16:creationId xmlns:a16="http://schemas.microsoft.com/office/drawing/2014/main" id="{C09731C3-8764-4D0C-A2E4-47DDF3364144}"/>
              </a:ext>
            </a:extLst>
          </p:cNvPr>
          <p:cNvCxnSpPr>
            <a:cxnSpLocks/>
          </p:cNvCxnSpPr>
          <p:nvPr/>
        </p:nvCxnSpPr>
        <p:spPr>
          <a:xfrm flipV="1">
            <a:off x="11168555" y="2659388"/>
            <a:ext cx="0" cy="678681"/>
          </a:xfrm>
          <a:prstGeom prst="line">
            <a:avLst/>
          </a:prstGeom>
          <a:ln w="381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7DED2E99-2EA7-4BA4-B66B-068F3FAED535}"/>
              </a:ext>
            </a:extLst>
          </p:cNvPr>
          <p:cNvSpPr/>
          <p:nvPr/>
        </p:nvSpPr>
        <p:spPr bwMode="auto">
          <a:xfrm>
            <a:off x="432000" y="4765733"/>
            <a:ext cx="2237314" cy="13804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lvl="0" algn="l" eaLnBrk="1" hangingPunct="1">
              <a:lnSpc>
                <a:spcPct val="90000"/>
              </a:lnSpc>
              <a:spcBef>
                <a:spcPts val="400"/>
              </a:spcBef>
              <a:spcAft>
                <a:spcPts val="400"/>
              </a:spcAft>
              <a:buClrTx/>
              <a:defRPr/>
            </a:pPr>
            <a:r>
              <a:rPr lang="en-GB" kern="0" dirty="0">
                <a:solidFill>
                  <a:schemeClr val="tx2"/>
                </a:solidFill>
                <a:cs typeface="Arial" pitchFamily="34" charset="0"/>
              </a:rPr>
              <a:t>Lorem ipsum</a:t>
            </a:r>
          </a:p>
          <a:p>
            <a:pPr lvl="0" algn="l" eaLnBrk="1" hangingPunct="1">
              <a:lnSpc>
                <a:spcPct val="90000"/>
              </a:lnSpc>
              <a:spcBef>
                <a:spcPts val="400"/>
              </a:spcBef>
              <a:spcAft>
                <a:spcPts val="400"/>
              </a:spcAft>
              <a:buClrTx/>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r>
              <a:rPr lang="en-GB" kern="0" dirty="0">
                <a:solidFill>
                  <a:schemeClr val="tx1"/>
                </a:solidFill>
                <a:cs typeface="Arial" pitchFamily="34" charset="0"/>
              </a:rPr>
              <a:t>. </a:t>
            </a:r>
          </a:p>
        </p:txBody>
      </p:sp>
    </p:spTree>
    <p:extLst>
      <p:ext uri="{BB962C8B-B14F-4D97-AF65-F5344CB8AC3E}">
        <p14:creationId xmlns:p14="http://schemas.microsoft.com/office/powerpoint/2010/main" val="9814047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14C9E1F8-0F87-4609-AA8A-7090583F13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 name="Objet 1" hidden="1">
                        <a:extLst>
                          <a:ext uri="{FF2B5EF4-FFF2-40B4-BE49-F238E27FC236}">
                            <a16:creationId xmlns:a16="http://schemas.microsoft.com/office/drawing/2014/main" id="{14C9E1F8-0F87-4609-AA8A-7090583F13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4355EA3-8CB8-4D95-A9D3-3900ADC9A67B}"/>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itle 9">
            <a:extLst>
              <a:ext uri="{FF2B5EF4-FFF2-40B4-BE49-F238E27FC236}">
                <a16:creationId xmlns:a16="http://schemas.microsoft.com/office/drawing/2014/main" id="{CD00B0C5-F188-4329-878E-EE5E293FC6C6}"/>
              </a:ext>
            </a:extLst>
          </p:cNvPr>
          <p:cNvSpPr>
            <a:spLocks noGrp="1"/>
          </p:cNvSpPr>
          <p:nvPr>
            <p:ph type="title"/>
          </p:nvPr>
        </p:nvSpPr>
        <p:spPr/>
        <p:txBody>
          <a:bodyPr/>
          <a:lstStyle/>
          <a:p>
            <a:r>
              <a:rPr lang="en-GB" dirty="0"/>
              <a:t>Approach presentation – three steps/ deliverables</a:t>
            </a:r>
          </a:p>
        </p:txBody>
      </p:sp>
      <p:sp>
        <p:nvSpPr>
          <p:cNvPr id="4" name="Oval 3"/>
          <p:cNvSpPr>
            <a:spLocks noChangeAspect="1"/>
          </p:cNvSpPr>
          <p:nvPr/>
        </p:nvSpPr>
        <p:spPr>
          <a:xfrm>
            <a:off x="1792096" y="1766927"/>
            <a:ext cx="2767378" cy="2767379"/>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5" name="Arc 4"/>
          <p:cNvSpPr>
            <a:spLocks noChangeAspect="1"/>
          </p:cNvSpPr>
          <p:nvPr/>
        </p:nvSpPr>
        <p:spPr>
          <a:xfrm>
            <a:off x="1793541" y="1768372"/>
            <a:ext cx="2764488" cy="2764488"/>
          </a:xfrm>
          <a:prstGeom prst="arc">
            <a:avLst>
              <a:gd name="adj1" fmla="val 10766207"/>
              <a:gd name="adj2" fmla="val 0"/>
            </a:avLst>
          </a:prstGeom>
          <a:ln w="69850" cap="rnd">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6" name="Oval 5"/>
          <p:cNvSpPr>
            <a:spLocks noChangeAspect="1"/>
          </p:cNvSpPr>
          <p:nvPr/>
        </p:nvSpPr>
        <p:spPr>
          <a:xfrm>
            <a:off x="4559429" y="1766927"/>
            <a:ext cx="2767378" cy="2767379"/>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7" name="Arc 6"/>
          <p:cNvSpPr>
            <a:spLocks noChangeAspect="1"/>
          </p:cNvSpPr>
          <p:nvPr/>
        </p:nvSpPr>
        <p:spPr>
          <a:xfrm rot="10800000">
            <a:off x="4560875" y="1768372"/>
            <a:ext cx="2764488" cy="2764488"/>
          </a:xfrm>
          <a:prstGeom prst="arc">
            <a:avLst>
              <a:gd name="adj1" fmla="val 10766207"/>
              <a:gd name="adj2" fmla="val 0"/>
            </a:avLst>
          </a:prstGeom>
          <a:ln w="6985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8" name="Oval 7"/>
          <p:cNvSpPr>
            <a:spLocks noChangeAspect="1"/>
          </p:cNvSpPr>
          <p:nvPr/>
        </p:nvSpPr>
        <p:spPr>
          <a:xfrm>
            <a:off x="7325661" y="1766927"/>
            <a:ext cx="2767378" cy="2767379"/>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9" name="Arc 8"/>
          <p:cNvSpPr>
            <a:spLocks noChangeAspect="1"/>
          </p:cNvSpPr>
          <p:nvPr/>
        </p:nvSpPr>
        <p:spPr>
          <a:xfrm>
            <a:off x="7327106" y="1768372"/>
            <a:ext cx="2764488" cy="2764488"/>
          </a:xfrm>
          <a:prstGeom prst="arc">
            <a:avLst>
              <a:gd name="adj1" fmla="val 10766207"/>
              <a:gd name="adj2" fmla="val 0"/>
            </a:avLst>
          </a:prstGeom>
          <a:ln w="6985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14" name="Oval 19"/>
          <p:cNvSpPr>
            <a:spLocks noChangeAspect="1" noChangeArrowheads="1"/>
          </p:cNvSpPr>
          <p:nvPr/>
        </p:nvSpPr>
        <p:spPr bwMode="auto">
          <a:xfrm>
            <a:off x="5519881" y="2111906"/>
            <a:ext cx="828000" cy="828000"/>
          </a:xfrm>
          <a:prstGeom prst="ellipse">
            <a:avLst/>
          </a:prstGeom>
          <a:solidFill>
            <a:schemeClr val="accent3"/>
          </a:solidFill>
          <a:ln>
            <a:noFill/>
          </a:ln>
        </p:spPr>
        <p:txBody>
          <a:bodyPr vert="horz" wrap="square" lIns="36000" tIns="36000" rIns="36000" bIns="34290" numCol="1" anchor="ctr" anchorCtr="1" compatLnSpc="1">
            <a:prstTxWarp prst="textNoShape">
              <a:avLst/>
            </a:prstTxWarp>
          </a:bodyPr>
          <a:lstStyle/>
          <a:p>
            <a:r>
              <a:rPr lang="en-GB" sz="2800">
                <a:solidFill>
                  <a:schemeClr val="bg1"/>
                </a:solidFill>
                <a:latin typeface="+mn-lt"/>
              </a:rPr>
              <a:t>2</a:t>
            </a:r>
            <a:endParaRPr lang="en-GB" sz="2800" dirty="0">
              <a:solidFill>
                <a:schemeClr val="bg1"/>
              </a:solidFill>
              <a:latin typeface="+mn-lt"/>
            </a:endParaRPr>
          </a:p>
        </p:txBody>
      </p:sp>
      <p:sp>
        <p:nvSpPr>
          <p:cNvPr id="17" name="Oval 20"/>
          <p:cNvSpPr>
            <a:spLocks noChangeAspect="1" noChangeArrowheads="1"/>
          </p:cNvSpPr>
          <p:nvPr/>
        </p:nvSpPr>
        <p:spPr bwMode="auto">
          <a:xfrm>
            <a:off x="8295350" y="2111906"/>
            <a:ext cx="828000" cy="828000"/>
          </a:xfrm>
          <a:prstGeom prst="ellipse">
            <a:avLst/>
          </a:prstGeom>
          <a:solidFill>
            <a:schemeClr val="accent5"/>
          </a:solidFill>
          <a:ln>
            <a:noFill/>
          </a:ln>
        </p:spPr>
        <p:txBody>
          <a:bodyPr vert="horz" wrap="square" lIns="36000" tIns="34290" rIns="36000" bIns="34290" numCol="1" anchor="ctr" anchorCtr="1" compatLnSpc="1">
            <a:prstTxWarp prst="textNoShape">
              <a:avLst/>
            </a:prstTxWarp>
          </a:bodyPr>
          <a:lstStyle/>
          <a:p>
            <a:r>
              <a:rPr lang="en-GB" sz="2800">
                <a:solidFill>
                  <a:schemeClr val="bg1"/>
                </a:solidFill>
                <a:latin typeface="+mn-lt"/>
              </a:rPr>
              <a:t>3</a:t>
            </a:r>
            <a:endParaRPr lang="en-GB" sz="2800" dirty="0">
              <a:solidFill>
                <a:schemeClr val="bg1"/>
              </a:solidFill>
              <a:latin typeface="+mn-lt"/>
            </a:endParaRPr>
          </a:p>
        </p:txBody>
      </p:sp>
      <p:sp>
        <p:nvSpPr>
          <p:cNvPr id="23" name="Oval 15"/>
          <p:cNvSpPr>
            <a:spLocks noChangeAspect="1" noChangeArrowheads="1"/>
          </p:cNvSpPr>
          <p:nvPr/>
        </p:nvSpPr>
        <p:spPr bwMode="auto">
          <a:xfrm>
            <a:off x="2761785" y="2111906"/>
            <a:ext cx="828000" cy="828000"/>
          </a:xfrm>
          <a:prstGeom prst="ellipse">
            <a:avLst/>
          </a:prstGeom>
          <a:solidFill>
            <a:schemeClr val="tx2"/>
          </a:solidFill>
          <a:ln>
            <a:noFill/>
          </a:ln>
        </p:spPr>
        <p:txBody>
          <a:bodyPr vert="horz" wrap="square" lIns="36000" tIns="34290" rIns="36000" bIns="34290" numCol="1" anchor="ctr" anchorCtr="1" compatLnSpc="1">
            <a:prstTxWarp prst="textNoShape">
              <a:avLst/>
            </a:prstTxWarp>
          </a:bodyPr>
          <a:lstStyle/>
          <a:p>
            <a:r>
              <a:rPr lang="en-GB" sz="2800">
                <a:solidFill>
                  <a:schemeClr val="bg1"/>
                </a:solidFill>
                <a:latin typeface="+mn-lt"/>
              </a:rPr>
              <a:t>1</a:t>
            </a:r>
            <a:endParaRPr lang="en-GB" sz="2800" dirty="0">
              <a:solidFill>
                <a:schemeClr val="bg1"/>
              </a:solidFill>
              <a:latin typeface="+mn-lt"/>
            </a:endParaRPr>
          </a:p>
        </p:txBody>
      </p:sp>
      <p:sp>
        <p:nvSpPr>
          <p:cNvPr id="25" name="Rectangle 24"/>
          <p:cNvSpPr>
            <a:spLocks noChangeAspect="1"/>
          </p:cNvSpPr>
          <p:nvPr/>
        </p:nvSpPr>
        <p:spPr>
          <a:xfrm>
            <a:off x="1790652" y="4984650"/>
            <a:ext cx="2767378"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
        <p:nvSpPr>
          <p:cNvPr id="33" name="Rectangle 32"/>
          <p:cNvSpPr>
            <a:spLocks noChangeAspect="1"/>
          </p:cNvSpPr>
          <p:nvPr/>
        </p:nvSpPr>
        <p:spPr>
          <a:xfrm>
            <a:off x="1793541" y="3219055"/>
            <a:ext cx="2764488" cy="523220"/>
          </a:xfrm>
          <a:prstGeom prst="rect">
            <a:avLst/>
          </a:prstGeom>
        </p:spPr>
        <p:txBody>
          <a:bodyPr wrap="square">
            <a:spAutoFit/>
          </a:bodyPr>
          <a:lstStyle/>
          <a:p>
            <a:pPr lvl="0" eaLnBrk="1" fontAlgn="auto" hangingPunct="1">
              <a:spcBef>
                <a:spcPts val="400"/>
              </a:spcBef>
              <a:spcAft>
                <a:spcPts val="400"/>
              </a:spcAft>
              <a:buClrTx/>
              <a:defRPr/>
            </a:pPr>
            <a:r>
              <a:rPr lang="en-GB" kern="0">
                <a:latin typeface="+mn-lt"/>
              </a:rPr>
              <a:t>Lorem ipsum dolor sit amet, consectetur adipiscing elit. </a:t>
            </a:r>
            <a:endParaRPr lang="en-GB" kern="0" dirty="0">
              <a:latin typeface="+mn-lt"/>
            </a:endParaRPr>
          </a:p>
        </p:txBody>
      </p:sp>
      <p:sp>
        <p:nvSpPr>
          <p:cNvPr id="36" name="Rectangle 35"/>
          <p:cNvSpPr>
            <a:spLocks noChangeAspect="1"/>
          </p:cNvSpPr>
          <p:nvPr/>
        </p:nvSpPr>
        <p:spPr>
          <a:xfrm>
            <a:off x="4560874" y="3265221"/>
            <a:ext cx="2764488" cy="430887"/>
          </a:xfrm>
          <a:prstGeom prst="rect">
            <a:avLst/>
          </a:prstGeom>
        </p:spPr>
        <p:txBody>
          <a:bodyPr wrap="square" lIns="0" tIns="0" rIns="0" bIns="0" anchor="b" anchorCtr="0">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37" name="Rectangle 36"/>
          <p:cNvSpPr>
            <a:spLocks noChangeAspect="1"/>
          </p:cNvSpPr>
          <p:nvPr/>
        </p:nvSpPr>
        <p:spPr>
          <a:xfrm>
            <a:off x="7327106" y="3219055"/>
            <a:ext cx="2764488" cy="523220"/>
          </a:xfrm>
          <a:prstGeom prst="rect">
            <a:avLst/>
          </a:prstGeom>
        </p:spPr>
        <p:txBody>
          <a:bodyPr wrap="square">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35" name="Rectangle 34">
            <a:extLst>
              <a:ext uri="{FF2B5EF4-FFF2-40B4-BE49-F238E27FC236}">
                <a16:creationId xmlns:a16="http://schemas.microsoft.com/office/drawing/2014/main" id="{4624FA47-B3E7-4B01-A2B8-B24458D9D301}"/>
              </a:ext>
            </a:extLst>
          </p:cNvPr>
          <p:cNvSpPr>
            <a:spLocks noChangeAspect="1"/>
          </p:cNvSpPr>
          <p:nvPr/>
        </p:nvSpPr>
        <p:spPr>
          <a:xfrm>
            <a:off x="4557628" y="4984651"/>
            <a:ext cx="2767378"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
        <p:nvSpPr>
          <p:cNvPr id="45" name="Rectangle 44">
            <a:extLst>
              <a:ext uri="{FF2B5EF4-FFF2-40B4-BE49-F238E27FC236}">
                <a16:creationId xmlns:a16="http://schemas.microsoft.com/office/drawing/2014/main" id="{C2C35C15-6FA8-47B8-95DE-5A32FD315E4E}"/>
              </a:ext>
            </a:extLst>
          </p:cNvPr>
          <p:cNvSpPr>
            <a:spLocks noChangeAspect="1"/>
          </p:cNvSpPr>
          <p:nvPr/>
        </p:nvSpPr>
        <p:spPr>
          <a:xfrm>
            <a:off x="7324216" y="4984651"/>
            <a:ext cx="2767378" cy="503590"/>
          </a:xfrm>
          <a:prstGeom prst="rect">
            <a:avLst/>
          </a:prstGeom>
        </p:spPr>
        <p:txBody>
          <a:bodyPr wrap="square" lIns="180000" tIns="36000" rIns="180000" bIns="36000" anchor="ctr">
            <a:spAutoFit/>
          </a:bodyPr>
          <a:lstStyle/>
          <a:p>
            <a:pPr algn="l">
              <a:spcBef>
                <a:spcPts val="400"/>
              </a:spcBef>
              <a:spcAft>
                <a:spcPts val="400"/>
              </a:spcAft>
            </a:pPr>
            <a:r>
              <a:rPr lang="en-GB">
                <a:latin typeface="+mn-lt"/>
              </a:rPr>
              <a:t>Text text text text text text text Text text text text text text text</a:t>
            </a:r>
            <a:endParaRPr lang="en-GB" dirty="0">
              <a:latin typeface="+mn-lt"/>
            </a:endParaRPr>
          </a:p>
        </p:txBody>
      </p:sp>
    </p:spTree>
    <p:extLst>
      <p:ext uri="{BB962C8B-B14F-4D97-AF65-F5344CB8AC3E}">
        <p14:creationId xmlns:p14="http://schemas.microsoft.com/office/powerpoint/2010/main" val="3876515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295B0D0-5383-483C-B9BB-5B22AB343110}"/>
              </a:ext>
            </a:extLst>
          </p:cNvPr>
          <p:cNvGraphicFramePr>
            <a:graphicFrameLocks noGrp="1"/>
          </p:cNvGraphicFramePr>
          <p:nvPr>
            <p:extLst>
              <p:ext uri="{D42A27DB-BD31-4B8C-83A1-F6EECF244321}">
                <p14:modId xmlns:p14="http://schemas.microsoft.com/office/powerpoint/2010/main" val="1464433322"/>
              </p:ext>
            </p:extLst>
          </p:nvPr>
        </p:nvGraphicFramePr>
        <p:xfrm>
          <a:off x="864804" y="1395222"/>
          <a:ext cx="6210026" cy="4067556"/>
        </p:xfrm>
        <a:graphic>
          <a:graphicData uri="http://schemas.openxmlformats.org/drawingml/2006/table">
            <a:tbl>
              <a:tblPr firstRow="1" bandRow="1">
                <a:tableStyleId>{5C22544A-7EE6-4342-B048-85BDC9FD1C3A}</a:tableStyleId>
              </a:tblPr>
              <a:tblGrid>
                <a:gridCol w="1088547">
                  <a:extLst>
                    <a:ext uri="{9D8B030D-6E8A-4147-A177-3AD203B41FA5}">
                      <a16:colId xmlns:a16="http://schemas.microsoft.com/office/drawing/2014/main" val="1938377839"/>
                    </a:ext>
                  </a:extLst>
                </a:gridCol>
                <a:gridCol w="5121479">
                  <a:extLst>
                    <a:ext uri="{9D8B030D-6E8A-4147-A177-3AD203B41FA5}">
                      <a16:colId xmlns:a16="http://schemas.microsoft.com/office/drawing/2014/main" val="2812990491"/>
                    </a:ext>
                  </a:extLst>
                </a:gridCol>
              </a:tblGrid>
              <a:tr h="378715">
                <a:tc>
                  <a:txBody>
                    <a:bodyPr/>
                    <a:lstStyle/>
                    <a:p>
                      <a:r>
                        <a:rPr lang="en-GB" sz="1400" b="0" dirty="0">
                          <a:solidFill>
                            <a:schemeClr val="bg1"/>
                          </a:solidFill>
                          <a:latin typeface="+mn-lt"/>
                        </a:rPr>
                        <a:t>Criteria 1</a:t>
                      </a:r>
                    </a:p>
                  </a:txBody>
                  <a:tcP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sym typeface="Open Sans"/>
                        </a:rPr>
                        <a:t>Lorem ipsum </a:t>
                      </a:r>
                      <a:r>
                        <a:rPr lang="en-GB" sz="1400" b="0" kern="1200" dirty="0" err="1">
                          <a:solidFill>
                            <a:schemeClr val="tx1"/>
                          </a:solidFill>
                          <a:latin typeface="+mn-lt"/>
                          <a:ea typeface="+mn-ea"/>
                          <a:cs typeface="+mn-cs"/>
                          <a:sym typeface="Open Sans"/>
                        </a:rPr>
                        <a:t>dolor</a:t>
                      </a:r>
                      <a:r>
                        <a:rPr lang="en-GB" sz="1400" b="0" kern="1200" dirty="0">
                          <a:solidFill>
                            <a:schemeClr val="tx1"/>
                          </a:solidFill>
                          <a:latin typeface="+mn-lt"/>
                          <a:ea typeface="+mn-ea"/>
                          <a:cs typeface="+mn-cs"/>
                          <a:sym typeface="Open Sans"/>
                        </a:rPr>
                        <a:t> sit </a:t>
                      </a:r>
                      <a:r>
                        <a:rPr lang="en-GB" sz="1400" b="0" kern="1200" dirty="0" err="1">
                          <a:solidFill>
                            <a:schemeClr val="tx1"/>
                          </a:solidFill>
                          <a:latin typeface="+mn-lt"/>
                          <a:ea typeface="+mn-ea"/>
                          <a:cs typeface="+mn-cs"/>
                          <a:sym typeface="Open Sans"/>
                        </a:rPr>
                        <a:t>amet</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consectetuer</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adipiscing</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elit</a:t>
                      </a:r>
                      <a:r>
                        <a:rPr lang="en-GB" sz="1400" b="0" kern="1200" dirty="0">
                          <a:solidFill>
                            <a:schemeClr val="tx1"/>
                          </a:solidFill>
                          <a:latin typeface="+mn-lt"/>
                          <a:ea typeface="+mn-ea"/>
                          <a:cs typeface="+mn-cs"/>
                          <a:sym typeface="Open Sans"/>
                        </a:rPr>
                        <a:t> </a:t>
                      </a:r>
                    </a:p>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sym typeface="Open Sans"/>
                        </a:rPr>
                        <a:t>Lorem ipsum </a:t>
                      </a:r>
                      <a:r>
                        <a:rPr lang="en-GB" sz="1400" b="0" kern="1200" dirty="0" err="1">
                          <a:solidFill>
                            <a:schemeClr val="tx1"/>
                          </a:solidFill>
                          <a:latin typeface="+mn-lt"/>
                          <a:ea typeface="+mn-ea"/>
                          <a:cs typeface="+mn-cs"/>
                          <a:sym typeface="Open Sans"/>
                        </a:rPr>
                        <a:t>dolor</a:t>
                      </a:r>
                      <a:r>
                        <a:rPr lang="en-GB" sz="1400" b="0" kern="1200" dirty="0">
                          <a:solidFill>
                            <a:schemeClr val="tx1"/>
                          </a:solidFill>
                          <a:latin typeface="+mn-lt"/>
                          <a:ea typeface="+mn-ea"/>
                          <a:cs typeface="+mn-cs"/>
                          <a:sym typeface="Open Sans"/>
                        </a:rPr>
                        <a:t> sit </a:t>
                      </a:r>
                      <a:r>
                        <a:rPr lang="en-GB" sz="1400" b="0" kern="1200" dirty="0" err="1">
                          <a:solidFill>
                            <a:schemeClr val="tx1"/>
                          </a:solidFill>
                          <a:latin typeface="+mn-lt"/>
                          <a:ea typeface="+mn-ea"/>
                          <a:cs typeface="+mn-cs"/>
                          <a:sym typeface="Open Sans"/>
                        </a:rPr>
                        <a:t>amet</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consectetuer</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adipiscing</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elit</a:t>
                      </a:r>
                      <a:endParaRPr lang="en-GB" sz="1400" b="0" kern="1200" dirty="0">
                        <a:solidFill>
                          <a:schemeClr val="tx1"/>
                        </a:solidFill>
                        <a:latin typeface="+mn-lt"/>
                        <a:ea typeface="+mn-ea"/>
                        <a:cs typeface="+mn-cs"/>
                        <a:sym typeface="Open Sans"/>
                      </a:endParaRPr>
                    </a:p>
                    <a:p>
                      <a:pPr marL="180975" lvl="1" indent="-180975" algn="l" defTabSz="1125444" rtl="0" eaLnBrk="1" fontAlgn="base" hangingPunct="1">
                        <a:spcBef>
                          <a:spcPts val="720"/>
                        </a:spcBef>
                        <a:spcAft>
                          <a:spcPts val="0"/>
                        </a:spcAft>
                        <a:buClr>
                          <a:schemeClr val="accent3"/>
                        </a:buClr>
                        <a:buSzPct val="77000"/>
                        <a:buFont typeface="Wingdings 3" panose="05040102010807070707" pitchFamily="18" charset="2"/>
                        <a:buChar char=""/>
                        <a:defRPr/>
                      </a:pPr>
                      <a:endParaRPr lang="en-GB" sz="1400" b="0" kern="1200" dirty="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03454248"/>
                  </a:ext>
                </a:extLst>
              </a:tr>
              <a:tr h="462348">
                <a:tc>
                  <a:txBody>
                    <a:bodyPr/>
                    <a:lstStyle/>
                    <a:p>
                      <a:r>
                        <a:rPr lang="en-GB" sz="1400">
                          <a:solidFill>
                            <a:schemeClr val="bg1"/>
                          </a:solidFill>
                          <a:latin typeface="+mn-lt"/>
                        </a:rPr>
                        <a:t>Criteria 2</a:t>
                      </a:r>
                      <a:endParaRPr lang="en-GB" sz="1400" dirty="0">
                        <a:solidFill>
                          <a:schemeClr val="bg1"/>
                        </a:solidFill>
                        <a:latin typeface="+mn-lt"/>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sym typeface="Open Sans"/>
                        </a:rPr>
                        <a:t>Lorem ipsum dolor sit amet, consectetuer adipiscing elit </a:t>
                      </a:r>
                    </a:p>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sym typeface="Open Sans"/>
                        </a:rPr>
                        <a:t>Lorem ipsum dolor sit amet, consectetuer adipiscing elit </a:t>
                      </a:r>
                    </a:p>
                    <a:p>
                      <a:pPr marL="180975" lvl="1" indent="-180975" algn="l" defTabSz="1125444" rtl="0" eaLnBrk="1" fontAlgn="base" hangingPunct="1">
                        <a:spcBef>
                          <a:spcPts val="840"/>
                        </a:spcBef>
                        <a:spcAft>
                          <a:spcPts val="0"/>
                        </a:spcAft>
                        <a:buClr>
                          <a:schemeClr val="accent3"/>
                        </a:buClr>
                        <a:buSzPct val="77000"/>
                        <a:buFont typeface="Wingdings 3" panose="05040102010807070707" pitchFamily="18" charset="2"/>
                        <a:buChar char=""/>
                        <a:defRPr/>
                      </a:pPr>
                      <a:endParaRPr lang="en-GB" sz="1400" b="0" kern="1200" dirty="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506439068"/>
                  </a:ext>
                </a:extLst>
              </a:tr>
              <a:tr h="462348">
                <a:tc>
                  <a:txBody>
                    <a:bodyPr/>
                    <a:lstStyle/>
                    <a:p>
                      <a:r>
                        <a:rPr lang="en-GB" sz="1400">
                          <a:solidFill>
                            <a:schemeClr val="bg1"/>
                          </a:solidFill>
                          <a:latin typeface="+mn-lt"/>
                        </a:rPr>
                        <a:t>Criteria 3</a:t>
                      </a:r>
                      <a:endParaRPr lang="en-GB" sz="1400" dirty="0">
                        <a:solidFill>
                          <a:schemeClr val="bg1"/>
                        </a:solidFill>
                        <a:latin typeface="+mn-lt"/>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sym typeface="Open Sans"/>
                        </a:rPr>
                        <a:t>Lorem ipsum dolor sit amet, consectetuer adipiscing elit </a:t>
                      </a:r>
                    </a:p>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sym typeface="Open Sans"/>
                        </a:rPr>
                        <a:t>Lorem ipsum dolor sit amet, consectetuer adipiscing elit </a:t>
                      </a:r>
                    </a:p>
                    <a:p>
                      <a:pPr marL="180975" lvl="1" indent="-180975" algn="l" defTabSz="1125444" rtl="0" eaLnBrk="1" fontAlgn="base" hangingPunct="1">
                        <a:spcBef>
                          <a:spcPts val="840"/>
                        </a:spcBef>
                        <a:spcAft>
                          <a:spcPts val="0"/>
                        </a:spcAft>
                        <a:buClr>
                          <a:schemeClr val="accent3"/>
                        </a:buClr>
                        <a:buSzPct val="77000"/>
                        <a:buFont typeface="Wingdings 3" panose="05040102010807070707" pitchFamily="18" charset="2"/>
                        <a:buChar char=""/>
                        <a:defRPr/>
                      </a:pPr>
                      <a:endParaRPr lang="en-GB" sz="1400" b="0" kern="1200" dirty="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677350318"/>
                  </a:ext>
                </a:extLst>
              </a:tr>
              <a:tr h="462348">
                <a:tc>
                  <a:txBody>
                    <a:bodyPr/>
                    <a:lstStyle/>
                    <a:p>
                      <a:r>
                        <a:rPr lang="en-GB" sz="1400">
                          <a:solidFill>
                            <a:schemeClr val="bg1"/>
                          </a:solidFill>
                          <a:latin typeface="+mn-lt"/>
                        </a:rPr>
                        <a:t>Criteria 4</a:t>
                      </a:r>
                      <a:endParaRPr lang="en-GB" sz="1400" dirty="0">
                        <a:solidFill>
                          <a:schemeClr val="bg1"/>
                        </a:solidFill>
                        <a:latin typeface="+mn-lt"/>
                      </a:endParaRP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tx2"/>
                    </a:solidFill>
                  </a:tcPr>
                </a:tc>
                <a:tc>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sym typeface="Open Sans"/>
                        </a:rPr>
                        <a:t>Lorem ipsum </a:t>
                      </a:r>
                      <a:r>
                        <a:rPr lang="en-GB" sz="1400" b="0" kern="1200" dirty="0" err="1">
                          <a:solidFill>
                            <a:schemeClr val="tx1"/>
                          </a:solidFill>
                          <a:latin typeface="+mn-lt"/>
                          <a:ea typeface="+mn-ea"/>
                          <a:cs typeface="+mn-cs"/>
                          <a:sym typeface="Open Sans"/>
                        </a:rPr>
                        <a:t>dolor</a:t>
                      </a:r>
                      <a:r>
                        <a:rPr lang="en-GB" sz="1400" b="0" kern="1200" dirty="0">
                          <a:solidFill>
                            <a:schemeClr val="tx1"/>
                          </a:solidFill>
                          <a:latin typeface="+mn-lt"/>
                          <a:ea typeface="+mn-ea"/>
                          <a:cs typeface="+mn-cs"/>
                          <a:sym typeface="Open Sans"/>
                        </a:rPr>
                        <a:t> sit </a:t>
                      </a:r>
                      <a:r>
                        <a:rPr lang="en-GB" sz="1400" b="0" kern="1200" dirty="0" err="1">
                          <a:solidFill>
                            <a:schemeClr val="tx1"/>
                          </a:solidFill>
                          <a:latin typeface="+mn-lt"/>
                          <a:ea typeface="+mn-ea"/>
                          <a:cs typeface="+mn-cs"/>
                          <a:sym typeface="Open Sans"/>
                        </a:rPr>
                        <a:t>amet</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consectetuer</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adipiscing</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elit</a:t>
                      </a:r>
                      <a:r>
                        <a:rPr lang="en-GB" sz="1400" b="0" kern="1200" dirty="0">
                          <a:solidFill>
                            <a:schemeClr val="tx1"/>
                          </a:solidFill>
                          <a:latin typeface="+mn-lt"/>
                          <a:ea typeface="+mn-ea"/>
                          <a:cs typeface="+mn-cs"/>
                          <a:sym typeface="Open Sans"/>
                        </a:rPr>
                        <a:t> </a:t>
                      </a:r>
                    </a:p>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sym typeface="Open Sans"/>
                        </a:rPr>
                        <a:t>Lorem ipsum </a:t>
                      </a:r>
                      <a:r>
                        <a:rPr lang="en-GB" sz="1400" b="0" kern="1200" dirty="0" err="1">
                          <a:solidFill>
                            <a:schemeClr val="tx1"/>
                          </a:solidFill>
                          <a:latin typeface="+mn-lt"/>
                          <a:ea typeface="+mn-ea"/>
                          <a:cs typeface="+mn-cs"/>
                          <a:sym typeface="Open Sans"/>
                        </a:rPr>
                        <a:t>dolor</a:t>
                      </a:r>
                      <a:r>
                        <a:rPr lang="en-GB" sz="1400" b="0" kern="1200" dirty="0">
                          <a:solidFill>
                            <a:schemeClr val="tx1"/>
                          </a:solidFill>
                          <a:latin typeface="+mn-lt"/>
                          <a:ea typeface="+mn-ea"/>
                          <a:cs typeface="+mn-cs"/>
                          <a:sym typeface="Open Sans"/>
                        </a:rPr>
                        <a:t> sit </a:t>
                      </a:r>
                      <a:r>
                        <a:rPr lang="en-GB" sz="1400" b="0" kern="1200" dirty="0" err="1">
                          <a:solidFill>
                            <a:schemeClr val="tx1"/>
                          </a:solidFill>
                          <a:latin typeface="+mn-lt"/>
                          <a:ea typeface="+mn-ea"/>
                          <a:cs typeface="+mn-cs"/>
                          <a:sym typeface="Open Sans"/>
                        </a:rPr>
                        <a:t>amet</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consectetuer</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adipiscing</a:t>
                      </a:r>
                      <a:r>
                        <a:rPr lang="en-GB" sz="1400" b="0" kern="1200" dirty="0">
                          <a:solidFill>
                            <a:schemeClr val="tx1"/>
                          </a:solidFill>
                          <a:latin typeface="+mn-lt"/>
                          <a:ea typeface="+mn-ea"/>
                          <a:cs typeface="+mn-cs"/>
                          <a:sym typeface="Open Sans"/>
                        </a:rPr>
                        <a:t> </a:t>
                      </a:r>
                      <a:r>
                        <a:rPr lang="en-GB" sz="1400" b="0" kern="1200" dirty="0" err="1">
                          <a:solidFill>
                            <a:schemeClr val="tx1"/>
                          </a:solidFill>
                          <a:latin typeface="+mn-lt"/>
                          <a:ea typeface="+mn-ea"/>
                          <a:cs typeface="+mn-cs"/>
                          <a:sym typeface="Open Sans"/>
                        </a:rPr>
                        <a:t>elit</a:t>
                      </a:r>
                      <a:r>
                        <a:rPr lang="en-GB" sz="1400" b="0" kern="1200" dirty="0">
                          <a:solidFill>
                            <a:schemeClr val="tx1"/>
                          </a:solidFill>
                          <a:latin typeface="+mn-lt"/>
                          <a:ea typeface="+mn-ea"/>
                          <a:cs typeface="+mn-cs"/>
                          <a:sym typeface="Open Sans"/>
                        </a:rPr>
                        <a:t> </a:t>
                      </a:r>
                    </a:p>
                    <a:p>
                      <a:pPr marL="180975" lvl="1" indent="-180975" algn="l" defTabSz="1125444" rtl="0" eaLnBrk="1" fontAlgn="base" hangingPunct="1">
                        <a:spcBef>
                          <a:spcPts val="840"/>
                        </a:spcBef>
                        <a:spcAft>
                          <a:spcPts val="0"/>
                        </a:spcAft>
                        <a:buClr>
                          <a:schemeClr val="accent3"/>
                        </a:buClr>
                        <a:buSzPct val="77000"/>
                        <a:buFont typeface="Wingdings 3" panose="05040102010807070707" pitchFamily="18" charset="2"/>
                        <a:buChar char=""/>
                        <a:defRPr/>
                      </a:pPr>
                      <a:endParaRPr lang="en-GB" sz="1400" b="0" kern="1200" dirty="0">
                        <a:solidFill>
                          <a:schemeClr val="tx1"/>
                        </a:solidFill>
                        <a:latin typeface="+mn-lt"/>
                        <a:ea typeface="+mn-ea"/>
                        <a:cs typeface="+mn-cs"/>
                      </a:endParaRP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rgbClr val="D9D9D9"/>
                    </a:solidFill>
                  </a:tcPr>
                </a:tc>
                <a:extLst>
                  <a:ext uri="{0D108BD9-81ED-4DB2-BD59-A6C34878D82A}">
                    <a16:rowId xmlns:a16="http://schemas.microsoft.com/office/drawing/2014/main" val="1893273832"/>
                  </a:ext>
                </a:extLst>
              </a:tr>
            </a:tbl>
          </a:graphicData>
        </a:graphic>
      </p:graphicFrame>
      <p:graphicFrame>
        <p:nvGraphicFramePr>
          <p:cNvPr id="3" name="Objet 2" hidden="1">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EB1068A5-1B0B-49AA-87DD-DF0537659A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738" name="Google Shape;1738;p230"/>
          <p:cNvSpPr/>
          <p:nvPr/>
        </p:nvSpPr>
        <p:spPr>
          <a:xfrm>
            <a:off x="7446265" y="2001346"/>
            <a:ext cx="4013232" cy="3710138"/>
          </a:xfrm>
          <a:prstGeom prst="rect">
            <a:avLst/>
          </a:prstGeom>
          <a:noFill/>
          <a:ln>
            <a:noFill/>
          </a:ln>
        </p:spPr>
        <p:txBody>
          <a:bodyPr spcFirstLastPara="1" wrap="square" lIns="121900" tIns="121900" rIns="121900" bIns="121900" anchor="ctr" anchorCtr="0">
            <a:noAutofit/>
          </a:bodyPr>
          <a:lstStyle/>
          <a:p>
            <a:pPr lvl="0" algn="l">
              <a:spcBef>
                <a:spcPts val="0"/>
              </a:spcBef>
              <a:spcAft>
                <a:spcPts val="0"/>
              </a:spcAft>
              <a:buClr>
                <a:srgbClr val="B40646"/>
              </a:buClr>
            </a:pPr>
            <a:r>
              <a:rPr lang="en-GB">
                <a:solidFill>
                  <a:schemeClr val="tx2"/>
                </a:solidFill>
                <a:latin typeface="+mn-lt"/>
                <a:ea typeface="Arial"/>
                <a:cs typeface="Arial"/>
                <a:sym typeface="Arial"/>
              </a:rPr>
              <a:t>Key consequences</a:t>
            </a:r>
          </a:p>
          <a:p>
            <a:pPr lvl="0" algn="l">
              <a:spcBef>
                <a:spcPts val="0"/>
              </a:spcBef>
              <a:spcAft>
                <a:spcPts val="0"/>
              </a:spcAft>
              <a:buClr>
                <a:srgbClr val="B40646"/>
              </a:buClr>
            </a:pPr>
            <a:endParaRPr lang="en-GB">
              <a:solidFill>
                <a:srgbClr val="000000"/>
              </a:solidFill>
              <a:latin typeface="+mn-lt"/>
              <a:ea typeface="Arial"/>
              <a:cs typeface="Arial"/>
              <a:sym typeface="Arial"/>
            </a:endParaRPr>
          </a:p>
          <a:p>
            <a:pPr lvl="0" algn="l">
              <a:spcBef>
                <a:spcPts val="0"/>
              </a:spcBef>
              <a:spcAft>
                <a:spcPts val="0"/>
              </a:spcAft>
              <a:buClr>
                <a:srgbClr val="B40646"/>
              </a:buClr>
            </a:pPr>
            <a:r>
              <a:rPr lang="en-GB">
                <a:latin typeface="+mn-lt"/>
                <a:ea typeface="Arial"/>
                <a:cs typeface="Arial"/>
                <a:sym typeface="Arial"/>
              </a:rPr>
              <a:t>Lorem ipsum dolor sit amet, consectetuer adipiscing elit </a:t>
            </a:r>
          </a:p>
          <a:p>
            <a:pPr lvl="0" algn="l">
              <a:spcBef>
                <a:spcPts val="0"/>
              </a:spcBef>
              <a:spcAft>
                <a:spcPts val="0"/>
              </a:spcAft>
              <a:buClr>
                <a:srgbClr val="B40646"/>
              </a:buClr>
            </a:pPr>
            <a:r>
              <a:rPr lang="en-GB">
                <a:latin typeface="+mn-lt"/>
                <a:ea typeface="Arial"/>
                <a:cs typeface="Arial"/>
                <a:sym typeface="Arial"/>
              </a:rPr>
              <a:t>Lorem ipsum dolor sit amet, consectetuer adipiscing elit</a:t>
            </a:r>
          </a:p>
          <a:p>
            <a:pPr lvl="0" algn="l">
              <a:spcBef>
                <a:spcPts val="0"/>
              </a:spcBef>
              <a:spcAft>
                <a:spcPts val="0"/>
              </a:spcAft>
              <a:buClr>
                <a:srgbClr val="B40646"/>
              </a:buClr>
            </a:pPr>
            <a:r>
              <a:rPr lang="en-GB">
                <a:latin typeface="+mn-lt"/>
                <a:ea typeface="Arial"/>
                <a:cs typeface="Arial"/>
                <a:sym typeface="Arial"/>
              </a:rPr>
              <a:t>Lorem ipsum dolor sit amet, consectetuer adipiscing elit </a:t>
            </a:r>
          </a:p>
          <a:p>
            <a:pPr lvl="0" algn="l">
              <a:spcBef>
                <a:spcPts val="0"/>
              </a:spcBef>
              <a:spcAft>
                <a:spcPts val="0"/>
              </a:spcAft>
              <a:buClr>
                <a:srgbClr val="B40646"/>
              </a:buClr>
            </a:pPr>
            <a:r>
              <a:rPr lang="en-GB">
                <a:latin typeface="+mn-lt"/>
                <a:ea typeface="Arial"/>
                <a:cs typeface="Arial"/>
                <a:sym typeface="Arial"/>
              </a:rPr>
              <a:t>Lorem ipsum dolor sit amet, consectetuer adipiscing elit </a:t>
            </a:r>
          </a:p>
          <a:p>
            <a:pPr marL="0" lvl="1" algn="l" eaLnBrk="1" hangingPunct="1">
              <a:lnSpc>
                <a:spcPct val="120000"/>
              </a:lnSpc>
              <a:spcBef>
                <a:spcPts val="0"/>
              </a:spcBef>
              <a:spcAft>
                <a:spcPts val="400"/>
              </a:spcAft>
              <a:buClr>
                <a:schemeClr val="accent3"/>
              </a:buClr>
              <a:buSzPct val="100000"/>
              <a:defRPr/>
            </a:pPr>
            <a:endParaRPr lang="en-GB" dirty="0">
              <a:solidFill>
                <a:srgbClr val="000000"/>
              </a:solidFill>
              <a:latin typeface="+mn-lt"/>
              <a:cs typeface="Arial" panose="020B0604020202020204" pitchFamily="34" charset="0"/>
              <a:sym typeface="Open Sans"/>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a:lstStyle/>
          <a:p>
            <a:r>
              <a:rPr lang="en-GB" dirty="0">
                <a:latin typeface="+mn-lt"/>
              </a:rPr>
              <a:t>Four criteria presentation and comments</a:t>
            </a:r>
          </a:p>
        </p:txBody>
      </p:sp>
    </p:spTree>
    <p:extLst>
      <p:ext uri="{BB962C8B-B14F-4D97-AF65-F5344CB8AC3E}">
        <p14:creationId xmlns:p14="http://schemas.microsoft.com/office/powerpoint/2010/main" val="37763241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58F357E-DA42-45BD-986F-93C294361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 name="Objet 1" hidden="1">
                        <a:extLst>
                          <a:ext uri="{FF2B5EF4-FFF2-40B4-BE49-F238E27FC236}">
                            <a16:creationId xmlns:a16="http://schemas.microsoft.com/office/drawing/2014/main" id="{958F357E-DA42-45BD-986F-93C2943619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2827EA8-6CCF-4101-B5CF-CA0F32139A38}"/>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88D8ADA2-C659-42AB-8641-C7FEC592CA5A}"/>
              </a:ext>
            </a:extLst>
          </p:cNvPr>
          <p:cNvSpPr>
            <a:spLocks noGrp="1"/>
          </p:cNvSpPr>
          <p:nvPr>
            <p:ph type="title"/>
          </p:nvPr>
        </p:nvSpPr>
        <p:spPr/>
        <p:txBody>
          <a:bodyPr/>
          <a:lstStyle/>
          <a:p>
            <a:r>
              <a:rPr lang="en-GB" dirty="0"/>
              <a:t>Approach presentation – four steps/ deliverables</a:t>
            </a:r>
          </a:p>
        </p:txBody>
      </p:sp>
      <p:sp>
        <p:nvSpPr>
          <p:cNvPr id="28" name="Oval 27">
            <a:extLst>
              <a:ext uri="{FF2B5EF4-FFF2-40B4-BE49-F238E27FC236}">
                <a16:creationId xmlns:a16="http://schemas.microsoft.com/office/drawing/2014/main" id="{9D9DD08E-DCFC-4A78-ACCF-74551FB198AB}"/>
              </a:ext>
            </a:extLst>
          </p:cNvPr>
          <p:cNvSpPr>
            <a:spLocks noChangeAspect="1"/>
          </p:cNvSpPr>
          <p:nvPr/>
        </p:nvSpPr>
        <p:spPr>
          <a:xfrm>
            <a:off x="1423168" y="2064773"/>
            <a:ext cx="2348463" cy="2348464"/>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29" name="Arc 28">
            <a:extLst>
              <a:ext uri="{FF2B5EF4-FFF2-40B4-BE49-F238E27FC236}">
                <a16:creationId xmlns:a16="http://schemas.microsoft.com/office/drawing/2014/main" id="{F50B89C5-2984-4036-B74B-7BB1F4F0AE8F}"/>
              </a:ext>
            </a:extLst>
          </p:cNvPr>
          <p:cNvSpPr>
            <a:spLocks noChangeAspect="1"/>
          </p:cNvSpPr>
          <p:nvPr/>
        </p:nvSpPr>
        <p:spPr>
          <a:xfrm>
            <a:off x="1424395" y="2065999"/>
            <a:ext cx="2346011" cy="2346011"/>
          </a:xfrm>
          <a:prstGeom prst="arc">
            <a:avLst>
              <a:gd name="adj1" fmla="val 10766207"/>
              <a:gd name="adj2" fmla="val 0"/>
            </a:avLst>
          </a:prstGeom>
          <a:ln w="69850" cap="rnd">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30" name="Oval 29">
            <a:extLst>
              <a:ext uri="{FF2B5EF4-FFF2-40B4-BE49-F238E27FC236}">
                <a16:creationId xmlns:a16="http://schemas.microsoft.com/office/drawing/2014/main" id="{670F402A-2CE7-4CC7-AE7E-BE101248F4D8}"/>
              </a:ext>
            </a:extLst>
          </p:cNvPr>
          <p:cNvSpPr>
            <a:spLocks noChangeAspect="1"/>
          </p:cNvSpPr>
          <p:nvPr/>
        </p:nvSpPr>
        <p:spPr>
          <a:xfrm>
            <a:off x="3771593" y="2064773"/>
            <a:ext cx="2348463" cy="2348464"/>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31" name="Arc 30">
            <a:extLst>
              <a:ext uri="{FF2B5EF4-FFF2-40B4-BE49-F238E27FC236}">
                <a16:creationId xmlns:a16="http://schemas.microsoft.com/office/drawing/2014/main" id="{DD5C5E74-9655-4C03-ACDB-064AE5A6488A}"/>
              </a:ext>
            </a:extLst>
          </p:cNvPr>
          <p:cNvSpPr>
            <a:spLocks noChangeAspect="1"/>
          </p:cNvSpPr>
          <p:nvPr/>
        </p:nvSpPr>
        <p:spPr>
          <a:xfrm rot="10800000">
            <a:off x="3772820" y="2067225"/>
            <a:ext cx="2346011" cy="2346011"/>
          </a:xfrm>
          <a:prstGeom prst="arc">
            <a:avLst>
              <a:gd name="adj1" fmla="val 10766207"/>
              <a:gd name="adj2" fmla="val 0"/>
            </a:avLst>
          </a:prstGeom>
          <a:ln w="6985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32" name="Oval 31">
            <a:extLst>
              <a:ext uri="{FF2B5EF4-FFF2-40B4-BE49-F238E27FC236}">
                <a16:creationId xmlns:a16="http://schemas.microsoft.com/office/drawing/2014/main" id="{09046446-8D1B-4F36-9090-FB46646D79A7}"/>
              </a:ext>
            </a:extLst>
          </p:cNvPr>
          <p:cNvSpPr>
            <a:spLocks noChangeAspect="1"/>
          </p:cNvSpPr>
          <p:nvPr/>
        </p:nvSpPr>
        <p:spPr>
          <a:xfrm>
            <a:off x="6119084" y="2064773"/>
            <a:ext cx="2348463" cy="2348464"/>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34" name="Arc 33">
            <a:extLst>
              <a:ext uri="{FF2B5EF4-FFF2-40B4-BE49-F238E27FC236}">
                <a16:creationId xmlns:a16="http://schemas.microsoft.com/office/drawing/2014/main" id="{6E8B7E6E-5413-41BB-A565-79BCBDD6DDD5}"/>
              </a:ext>
            </a:extLst>
          </p:cNvPr>
          <p:cNvSpPr>
            <a:spLocks noChangeAspect="1"/>
          </p:cNvSpPr>
          <p:nvPr/>
        </p:nvSpPr>
        <p:spPr>
          <a:xfrm>
            <a:off x="6120310" y="2065999"/>
            <a:ext cx="2346011" cy="2346011"/>
          </a:xfrm>
          <a:prstGeom prst="arc">
            <a:avLst>
              <a:gd name="adj1" fmla="val 10766207"/>
              <a:gd name="adj2" fmla="val 0"/>
            </a:avLst>
          </a:prstGeom>
          <a:ln w="69850" cap="rnd">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39" name="Oval 19">
            <a:extLst>
              <a:ext uri="{FF2B5EF4-FFF2-40B4-BE49-F238E27FC236}">
                <a16:creationId xmlns:a16="http://schemas.microsoft.com/office/drawing/2014/main" id="{8DA6D20F-7D40-4B10-8CC9-1727E240C068}"/>
              </a:ext>
            </a:extLst>
          </p:cNvPr>
          <p:cNvSpPr>
            <a:spLocks noChangeAspect="1" noChangeArrowheads="1"/>
          </p:cNvSpPr>
          <p:nvPr/>
        </p:nvSpPr>
        <p:spPr bwMode="auto">
          <a:xfrm>
            <a:off x="4594495" y="2357530"/>
            <a:ext cx="702661" cy="702661"/>
          </a:xfrm>
          <a:prstGeom prst="ellipse">
            <a:avLst/>
          </a:prstGeom>
          <a:solidFill>
            <a:schemeClr val="accent3"/>
          </a:solidFill>
          <a:ln>
            <a:noFill/>
          </a:ln>
        </p:spPr>
        <p:txBody>
          <a:bodyPr vert="horz" wrap="square" lIns="68580" tIns="34290" rIns="68580" bIns="34290" numCol="1" anchor="ctr" anchorCtr="1" compatLnSpc="1">
            <a:prstTxWarp prst="textNoShape">
              <a:avLst/>
            </a:prstTxWarp>
          </a:bodyPr>
          <a:lstStyle/>
          <a:p>
            <a:r>
              <a:rPr lang="en-GB" sz="2800">
                <a:solidFill>
                  <a:schemeClr val="bg1"/>
                </a:solidFill>
                <a:latin typeface="+mn-lt"/>
              </a:rPr>
              <a:t>2</a:t>
            </a:r>
            <a:endParaRPr lang="en-GB" sz="2800" dirty="0">
              <a:solidFill>
                <a:schemeClr val="bg1"/>
              </a:solidFill>
              <a:latin typeface="+mn-lt"/>
            </a:endParaRPr>
          </a:p>
        </p:txBody>
      </p:sp>
      <p:sp>
        <p:nvSpPr>
          <p:cNvPr id="40" name="Oval 20">
            <a:extLst>
              <a:ext uri="{FF2B5EF4-FFF2-40B4-BE49-F238E27FC236}">
                <a16:creationId xmlns:a16="http://schemas.microsoft.com/office/drawing/2014/main" id="{DCFF81E4-793C-4D28-AFDE-7FF02A1AE116}"/>
              </a:ext>
            </a:extLst>
          </p:cNvPr>
          <p:cNvSpPr>
            <a:spLocks noChangeAspect="1" noChangeArrowheads="1"/>
          </p:cNvSpPr>
          <p:nvPr/>
        </p:nvSpPr>
        <p:spPr bwMode="auto">
          <a:xfrm>
            <a:off x="6941985" y="2357530"/>
            <a:ext cx="702661" cy="702661"/>
          </a:xfrm>
          <a:prstGeom prst="ellipse">
            <a:avLst/>
          </a:prstGeom>
          <a:solidFill>
            <a:schemeClr val="accent5"/>
          </a:solidFill>
          <a:ln>
            <a:noFill/>
          </a:ln>
        </p:spPr>
        <p:txBody>
          <a:bodyPr vert="horz" wrap="square" lIns="68580" tIns="34290" rIns="68580" bIns="34290" numCol="1" anchor="ctr" anchorCtr="1" compatLnSpc="1">
            <a:prstTxWarp prst="textNoShape">
              <a:avLst/>
            </a:prstTxWarp>
          </a:bodyPr>
          <a:lstStyle/>
          <a:p>
            <a:r>
              <a:rPr lang="en-GB" sz="2800">
                <a:solidFill>
                  <a:schemeClr val="bg1"/>
                </a:solidFill>
                <a:latin typeface="+mn-lt"/>
              </a:rPr>
              <a:t>3</a:t>
            </a:r>
            <a:endParaRPr lang="en-GB" sz="2800" dirty="0">
              <a:solidFill>
                <a:schemeClr val="bg1"/>
              </a:solidFill>
              <a:latin typeface="+mn-lt"/>
            </a:endParaRPr>
          </a:p>
        </p:txBody>
      </p:sp>
      <p:sp>
        <p:nvSpPr>
          <p:cNvPr id="41" name="Oval 15">
            <a:extLst>
              <a:ext uri="{FF2B5EF4-FFF2-40B4-BE49-F238E27FC236}">
                <a16:creationId xmlns:a16="http://schemas.microsoft.com/office/drawing/2014/main" id="{C139273A-4F7E-4D0F-B5E2-767721289473}"/>
              </a:ext>
            </a:extLst>
          </p:cNvPr>
          <p:cNvSpPr>
            <a:spLocks noChangeAspect="1" noChangeArrowheads="1"/>
          </p:cNvSpPr>
          <p:nvPr/>
        </p:nvSpPr>
        <p:spPr bwMode="auto">
          <a:xfrm>
            <a:off x="2246070" y="2357530"/>
            <a:ext cx="702661" cy="702661"/>
          </a:xfrm>
          <a:prstGeom prst="ellipse">
            <a:avLst/>
          </a:prstGeom>
          <a:solidFill>
            <a:schemeClr val="tx2"/>
          </a:solidFill>
          <a:ln>
            <a:noFill/>
          </a:ln>
        </p:spPr>
        <p:txBody>
          <a:bodyPr vert="horz" wrap="square" lIns="68580" tIns="34290" rIns="68580" bIns="34290" numCol="1" anchor="ctr" anchorCtr="1" compatLnSpc="1">
            <a:prstTxWarp prst="textNoShape">
              <a:avLst/>
            </a:prstTxWarp>
          </a:bodyPr>
          <a:lstStyle/>
          <a:p>
            <a:r>
              <a:rPr lang="en-GB" sz="2800">
                <a:solidFill>
                  <a:schemeClr val="bg1"/>
                </a:solidFill>
                <a:latin typeface="+mn-lt"/>
              </a:rPr>
              <a:t>1</a:t>
            </a:r>
            <a:endParaRPr lang="en-GB" sz="2800" dirty="0">
              <a:solidFill>
                <a:schemeClr val="bg1"/>
              </a:solidFill>
              <a:latin typeface="+mn-lt"/>
            </a:endParaRPr>
          </a:p>
        </p:txBody>
      </p:sp>
      <p:sp>
        <p:nvSpPr>
          <p:cNvPr id="42" name="Rectangle 41">
            <a:extLst>
              <a:ext uri="{FF2B5EF4-FFF2-40B4-BE49-F238E27FC236}">
                <a16:creationId xmlns:a16="http://schemas.microsoft.com/office/drawing/2014/main" id="{501B132C-C09C-4F03-A1B7-75B4D282D113}"/>
              </a:ext>
            </a:extLst>
          </p:cNvPr>
          <p:cNvSpPr>
            <a:spLocks noChangeAspect="1"/>
          </p:cNvSpPr>
          <p:nvPr/>
        </p:nvSpPr>
        <p:spPr>
          <a:xfrm>
            <a:off x="1421943" y="4757295"/>
            <a:ext cx="2348463"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
        <p:nvSpPr>
          <p:cNvPr id="43" name="Rectangle 42">
            <a:extLst>
              <a:ext uri="{FF2B5EF4-FFF2-40B4-BE49-F238E27FC236}">
                <a16:creationId xmlns:a16="http://schemas.microsoft.com/office/drawing/2014/main" id="{4B86654B-158D-498B-AC30-86502E0B724B}"/>
              </a:ext>
            </a:extLst>
          </p:cNvPr>
          <p:cNvSpPr>
            <a:spLocks noChangeAspect="1"/>
          </p:cNvSpPr>
          <p:nvPr/>
        </p:nvSpPr>
        <p:spPr>
          <a:xfrm>
            <a:off x="1424395" y="3297084"/>
            <a:ext cx="2346011" cy="738664"/>
          </a:xfrm>
          <a:prstGeom prst="rect">
            <a:avLst/>
          </a:prstGeom>
        </p:spPr>
        <p:txBody>
          <a:bodyPr wrap="square">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44" name="Rectangle 43">
            <a:extLst>
              <a:ext uri="{FF2B5EF4-FFF2-40B4-BE49-F238E27FC236}">
                <a16:creationId xmlns:a16="http://schemas.microsoft.com/office/drawing/2014/main" id="{16568219-7017-406E-8A97-B5AE2B5377FE}"/>
              </a:ext>
            </a:extLst>
          </p:cNvPr>
          <p:cNvSpPr>
            <a:spLocks noChangeAspect="1"/>
          </p:cNvSpPr>
          <p:nvPr/>
        </p:nvSpPr>
        <p:spPr>
          <a:xfrm>
            <a:off x="3772820" y="3297084"/>
            <a:ext cx="2346011" cy="738664"/>
          </a:xfrm>
          <a:prstGeom prst="rect">
            <a:avLst/>
          </a:prstGeom>
        </p:spPr>
        <p:txBody>
          <a:bodyPr wrap="square">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46" name="Rectangle 45">
            <a:extLst>
              <a:ext uri="{FF2B5EF4-FFF2-40B4-BE49-F238E27FC236}">
                <a16:creationId xmlns:a16="http://schemas.microsoft.com/office/drawing/2014/main" id="{8FAD9302-DBFF-4231-9D19-C054B197036C}"/>
              </a:ext>
            </a:extLst>
          </p:cNvPr>
          <p:cNvSpPr>
            <a:spLocks noChangeAspect="1"/>
          </p:cNvSpPr>
          <p:nvPr/>
        </p:nvSpPr>
        <p:spPr>
          <a:xfrm>
            <a:off x="6120310" y="3297084"/>
            <a:ext cx="2346011" cy="738664"/>
          </a:xfrm>
          <a:prstGeom prst="rect">
            <a:avLst/>
          </a:prstGeom>
        </p:spPr>
        <p:txBody>
          <a:bodyPr wrap="square">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47" name="Rectangle 46">
            <a:extLst>
              <a:ext uri="{FF2B5EF4-FFF2-40B4-BE49-F238E27FC236}">
                <a16:creationId xmlns:a16="http://schemas.microsoft.com/office/drawing/2014/main" id="{AC2B0C88-D8CF-4BC2-A7AF-CE64E103BEE6}"/>
              </a:ext>
            </a:extLst>
          </p:cNvPr>
          <p:cNvSpPr>
            <a:spLocks noChangeAspect="1"/>
          </p:cNvSpPr>
          <p:nvPr/>
        </p:nvSpPr>
        <p:spPr>
          <a:xfrm>
            <a:off x="3770065" y="4757295"/>
            <a:ext cx="2348463"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
        <p:nvSpPr>
          <p:cNvPr id="49" name="Rectangle 48">
            <a:extLst>
              <a:ext uri="{FF2B5EF4-FFF2-40B4-BE49-F238E27FC236}">
                <a16:creationId xmlns:a16="http://schemas.microsoft.com/office/drawing/2014/main" id="{EA9BFE4E-7260-4C86-A7E3-B53CFE81A8C6}"/>
              </a:ext>
            </a:extLst>
          </p:cNvPr>
          <p:cNvSpPr>
            <a:spLocks noChangeAspect="1"/>
          </p:cNvSpPr>
          <p:nvPr/>
        </p:nvSpPr>
        <p:spPr>
          <a:xfrm>
            <a:off x="6117858" y="4757295"/>
            <a:ext cx="2348463"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
        <p:nvSpPr>
          <p:cNvPr id="50" name="Oval 49">
            <a:extLst>
              <a:ext uri="{FF2B5EF4-FFF2-40B4-BE49-F238E27FC236}">
                <a16:creationId xmlns:a16="http://schemas.microsoft.com/office/drawing/2014/main" id="{CEF436B3-1B12-4289-B876-440472D0859E}"/>
              </a:ext>
            </a:extLst>
          </p:cNvPr>
          <p:cNvSpPr>
            <a:spLocks noChangeAspect="1"/>
          </p:cNvSpPr>
          <p:nvPr/>
        </p:nvSpPr>
        <p:spPr>
          <a:xfrm>
            <a:off x="8466535" y="2065999"/>
            <a:ext cx="2348463" cy="2348464"/>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FFFFFF"/>
              </a:solidFill>
            </a:endParaRPr>
          </a:p>
        </p:txBody>
      </p:sp>
      <p:sp>
        <p:nvSpPr>
          <p:cNvPr id="54" name="Arc 53">
            <a:extLst>
              <a:ext uri="{FF2B5EF4-FFF2-40B4-BE49-F238E27FC236}">
                <a16:creationId xmlns:a16="http://schemas.microsoft.com/office/drawing/2014/main" id="{9E711428-BA8C-47C0-B213-763BB8EAFED2}"/>
              </a:ext>
            </a:extLst>
          </p:cNvPr>
          <p:cNvSpPr>
            <a:spLocks noChangeAspect="1"/>
          </p:cNvSpPr>
          <p:nvPr/>
        </p:nvSpPr>
        <p:spPr>
          <a:xfrm rot="10800000">
            <a:off x="8467762" y="2067226"/>
            <a:ext cx="2346011" cy="2346011"/>
          </a:xfrm>
          <a:prstGeom prst="arc">
            <a:avLst>
              <a:gd name="adj1" fmla="val 10766207"/>
              <a:gd name="adj2" fmla="val 0"/>
            </a:avLst>
          </a:prstGeom>
          <a:ln w="69850"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dirty="0">
              <a:solidFill>
                <a:srgbClr val="000000"/>
              </a:solidFill>
            </a:endParaRPr>
          </a:p>
        </p:txBody>
      </p:sp>
      <p:sp>
        <p:nvSpPr>
          <p:cNvPr id="55" name="Oval 19">
            <a:extLst>
              <a:ext uri="{FF2B5EF4-FFF2-40B4-BE49-F238E27FC236}">
                <a16:creationId xmlns:a16="http://schemas.microsoft.com/office/drawing/2014/main" id="{1C92FD75-A202-479D-A56E-48DA6F1AE4C0}"/>
              </a:ext>
            </a:extLst>
          </p:cNvPr>
          <p:cNvSpPr>
            <a:spLocks noChangeAspect="1" noChangeArrowheads="1"/>
          </p:cNvSpPr>
          <p:nvPr/>
        </p:nvSpPr>
        <p:spPr bwMode="auto">
          <a:xfrm>
            <a:off x="9289437" y="2357530"/>
            <a:ext cx="702661" cy="702661"/>
          </a:xfrm>
          <a:prstGeom prst="ellipse">
            <a:avLst/>
          </a:prstGeom>
          <a:solidFill>
            <a:schemeClr val="accent3"/>
          </a:solidFill>
          <a:ln>
            <a:noFill/>
          </a:ln>
        </p:spPr>
        <p:txBody>
          <a:bodyPr vert="horz" wrap="square" lIns="68580" tIns="34290" rIns="68580" bIns="34290" numCol="1" anchor="ctr" anchorCtr="1" compatLnSpc="1">
            <a:prstTxWarp prst="textNoShape">
              <a:avLst/>
            </a:prstTxWarp>
          </a:bodyPr>
          <a:lstStyle/>
          <a:p>
            <a:r>
              <a:rPr lang="en-GB" sz="2800">
                <a:solidFill>
                  <a:schemeClr val="bg1"/>
                </a:solidFill>
                <a:latin typeface="+mn-lt"/>
              </a:rPr>
              <a:t>4</a:t>
            </a:r>
            <a:endParaRPr lang="en-GB" sz="2800" dirty="0">
              <a:solidFill>
                <a:schemeClr val="bg1"/>
              </a:solidFill>
              <a:latin typeface="+mn-lt"/>
            </a:endParaRPr>
          </a:p>
        </p:txBody>
      </p:sp>
      <p:sp>
        <p:nvSpPr>
          <p:cNvPr id="56" name="Rectangle 55">
            <a:extLst>
              <a:ext uri="{FF2B5EF4-FFF2-40B4-BE49-F238E27FC236}">
                <a16:creationId xmlns:a16="http://schemas.microsoft.com/office/drawing/2014/main" id="{23E53112-151E-401D-8F88-8FBB5FE5DDEB}"/>
              </a:ext>
            </a:extLst>
          </p:cNvPr>
          <p:cNvSpPr>
            <a:spLocks noChangeAspect="1"/>
          </p:cNvSpPr>
          <p:nvPr/>
        </p:nvSpPr>
        <p:spPr>
          <a:xfrm>
            <a:off x="8467762" y="3297084"/>
            <a:ext cx="2346011" cy="738664"/>
          </a:xfrm>
          <a:prstGeom prst="rect">
            <a:avLst/>
          </a:prstGeom>
        </p:spPr>
        <p:txBody>
          <a:bodyPr wrap="square">
            <a:spAutoFit/>
          </a:bodyPr>
          <a:lstStyle/>
          <a:p>
            <a:pPr lvl="0"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r>
              <a:rPr lang="en-GB" kern="0" dirty="0">
                <a:latin typeface="+mn-lt"/>
              </a:rPr>
              <a:t>. </a:t>
            </a:r>
          </a:p>
        </p:txBody>
      </p:sp>
      <p:sp>
        <p:nvSpPr>
          <p:cNvPr id="57" name="Rectangle 56">
            <a:extLst>
              <a:ext uri="{FF2B5EF4-FFF2-40B4-BE49-F238E27FC236}">
                <a16:creationId xmlns:a16="http://schemas.microsoft.com/office/drawing/2014/main" id="{544BCE48-D451-4CA0-9625-D873066CB7A2}"/>
              </a:ext>
            </a:extLst>
          </p:cNvPr>
          <p:cNvSpPr>
            <a:spLocks noChangeAspect="1"/>
          </p:cNvSpPr>
          <p:nvPr/>
        </p:nvSpPr>
        <p:spPr>
          <a:xfrm>
            <a:off x="8465007" y="4757295"/>
            <a:ext cx="2348463" cy="503590"/>
          </a:xfrm>
          <a:prstGeom prst="rect">
            <a:avLst/>
          </a:prstGeom>
        </p:spPr>
        <p:txBody>
          <a:bodyPr wrap="square" lIns="180000" tIns="36000" rIns="180000" bIns="36000" anchor="ctr">
            <a:spAutoFit/>
          </a:bodyPr>
          <a:lstStyle/>
          <a:p>
            <a:pPr algn="l">
              <a:spcBef>
                <a:spcPts val="400"/>
              </a:spcBef>
              <a:spcAft>
                <a:spcPts val="400"/>
              </a:spcAft>
            </a:pPr>
            <a:r>
              <a:rPr lang="en-GB" dirty="0">
                <a:latin typeface="+mn-lt"/>
              </a:rPr>
              <a:t>Tex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r>
              <a:rPr lang="en-GB" dirty="0">
                <a:latin typeface="+mn-lt"/>
              </a:rPr>
              <a:t> </a:t>
            </a:r>
            <a:r>
              <a:rPr lang="en-GB" dirty="0" err="1">
                <a:latin typeface="+mn-lt"/>
              </a:rPr>
              <a:t>text</a:t>
            </a:r>
            <a:endParaRPr lang="en-GB" dirty="0">
              <a:latin typeface="+mn-lt"/>
            </a:endParaRPr>
          </a:p>
        </p:txBody>
      </p:sp>
    </p:spTree>
    <p:extLst>
      <p:ext uri="{BB962C8B-B14F-4D97-AF65-F5344CB8AC3E}">
        <p14:creationId xmlns:p14="http://schemas.microsoft.com/office/powerpoint/2010/main" val="160535531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D9ADD0E0-ACF7-4DE5-8386-A2B9EEFE15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D9ADD0E0-ACF7-4DE5-8386-A2B9EEFE15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3FBC1E-89F9-43C0-A51E-962FE5B2BC92}"/>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D98E2A01-90CA-4484-9972-E262A8586D29}"/>
              </a:ext>
            </a:extLst>
          </p:cNvPr>
          <p:cNvSpPr>
            <a:spLocks noGrp="1"/>
          </p:cNvSpPr>
          <p:nvPr>
            <p:ph type="title"/>
          </p:nvPr>
        </p:nvSpPr>
        <p:spPr/>
        <p:txBody>
          <a:bodyPr/>
          <a:lstStyle/>
          <a:p>
            <a:r>
              <a:rPr lang="en-GB" dirty="0"/>
              <a:t>Approach presentation – four steps/ deliverables and description</a:t>
            </a:r>
          </a:p>
        </p:txBody>
      </p:sp>
      <p:sp>
        <p:nvSpPr>
          <p:cNvPr id="6" name="Bent Arrow 5"/>
          <p:cNvSpPr>
            <a:spLocks noChangeAspect="1"/>
          </p:cNvSpPr>
          <p:nvPr/>
        </p:nvSpPr>
        <p:spPr>
          <a:xfrm rot="16200000" flipV="1">
            <a:off x="4656596" y="-1756348"/>
            <a:ext cx="1535787" cy="9974329"/>
          </a:xfrm>
          <a:prstGeom prst="bentArrow">
            <a:avLst>
              <a:gd name="adj1" fmla="val 24008"/>
              <a:gd name="adj2" fmla="val 25000"/>
              <a:gd name="adj3" fmla="val 25000"/>
              <a:gd name="adj4" fmla="val 4375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ea typeface="+mn-ea"/>
              <a:cs typeface="+mn-cs"/>
            </a:endParaRPr>
          </a:p>
        </p:txBody>
      </p:sp>
      <p:sp>
        <p:nvSpPr>
          <p:cNvPr id="7" name="Bent Arrow 6"/>
          <p:cNvSpPr>
            <a:spLocks noChangeAspect="1"/>
          </p:cNvSpPr>
          <p:nvPr/>
        </p:nvSpPr>
        <p:spPr>
          <a:xfrm rot="5400000">
            <a:off x="3493686" y="561870"/>
            <a:ext cx="1549674" cy="7662399"/>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ea typeface="+mn-ea"/>
              <a:cs typeface="+mn-cs"/>
            </a:endParaRPr>
          </a:p>
        </p:txBody>
      </p:sp>
      <p:sp>
        <p:nvSpPr>
          <p:cNvPr id="8" name="Bent Arrow 7"/>
          <p:cNvSpPr>
            <a:spLocks noChangeAspect="1"/>
          </p:cNvSpPr>
          <p:nvPr/>
        </p:nvSpPr>
        <p:spPr>
          <a:xfrm rot="16200000" flipV="1">
            <a:off x="2158350" y="732568"/>
            <a:ext cx="1545116" cy="4987167"/>
          </a:xfrm>
          <a:prstGeom prst="ben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ea typeface="+mn-ea"/>
              <a:cs typeface="+mn-cs"/>
            </a:endParaRPr>
          </a:p>
        </p:txBody>
      </p:sp>
      <p:sp>
        <p:nvSpPr>
          <p:cNvPr id="9" name="Bent Arrow 8"/>
          <p:cNvSpPr>
            <a:spLocks noChangeAspect="1"/>
          </p:cNvSpPr>
          <p:nvPr/>
        </p:nvSpPr>
        <p:spPr>
          <a:xfrm rot="5400000">
            <a:off x="808492" y="2804805"/>
            <a:ext cx="1545116" cy="3162100"/>
          </a:xfrm>
          <a:prstGeom prst="bentArrow">
            <a:avLst>
              <a:gd name="adj1" fmla="val 25781"/>
              <a:gd name="adj2" fmla="val 25000"/>
              <a:gd name="adj3" fmla="val 25000"/>
              <a:gd name="adj4" fmla="val 43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ea typeface="+mn-ea"/>
              <a:cs typeface="+mn-cs"/>
            </a:endParaRPr>
          </a:p>
        </p:txBody>
      </p:sp>
      <p:sp>
        <p:nvSpPr>
          <p:cNvPr id="10" name="TextBox 9"/>
          <p:cNvSpPr txBox="1"/>
          <p:nvPr/>
        </p:nvSpPr>
        <p:spPr>
          <a:xfrm>
            <a:off x="1435264" y="5220469"/>
            <a:ext cx="3167861" cy="1056700"/>
          </a:xfrm>
          <a:prstGeom prst="rect">
            <a:avLst/>
          </a:prstGeom>
          <a:noFill/>
          <a:extLst>
            <a:ext uri="{909E8E84-426E-40DD-AFC4-6F175D3DCCD1}">
              <a14:hiddenFill xmlns:a14="http://schemas.microsoft.com/office/drawing/2010/main">
                <a:solidFill>
                  <a:schemeClr val="bg2"/>
                </a:solidFill>
              </a14:hiddenFill>
            </a:ext>
          </a:extLst>
        </p:spPr>
        <p:txBody>
          <a:bodyPr wrap="square" rtlCol="0">
            <a:spAutoFit/>
          </a:bodyPr>
          <a:lstStyle/>
          <a:p>
            <a:pPr lvl="0" algn="l" eaLnBrk="1" fontAlgn="auto" hangingPunct="1">
              <a:spcBef>
                <a:spcPts val="400"/>
              </a:spcBef>
              <a:spcAft>
                <a:spcPts val="400"/>
              </a:spcAft>
              <a:buClrTx/>
              <a:defRPr/>
            </a:pPr>
            <a:r>
              <a:rPr lang="en-GB" dirty="0">
                <a:latin typeface="+mn-lt"/>
              </a:rPr>
              <a:t>Step 1</a:t>
            </a:r>
          </a:p>
          <a:p>
            <a:pPr lvl="0" algn="l" eaLnBrk="1" fontAlgn="auto" hangingPunct="1">
              <a:spcBef>
                <a:spcPts val="400"/>
              </a:spcBef>
              <a:spcAft>
                <a:spcPts val="400"/>
              </a:spcAft>
              <a:buClrTx/>
              <a:defRPr/>
            </a:pPr>
            <a:r>
              <a:rPr lang="en-GB" dirty="0">
                <a:latin typeface="+mn-lt"/>
              </a:rPr>
              <a:t>Text should be a maximum of three lines long with less wide text boxes. Otherwise you lose the message. </a:t>
            </a:r>
          </a:p>
        </p:txBody>
      </p:sp>
      <p:sp>
        <p:nvSpPr>
          <p:cNvPr id="11" name="TextBox 10"/>
          <p:cNvSpPr txBox="1"/>
          <p:nvPr/>
        </p:nvSpPr>
        <p:spPr>
          <a:xfrm>
            <a:off x="6372379" y="5220468"/>
            <a:ext cx="3167861" cy="1056700"/>
          </a:xfrm>
          <a:prstGeom prst="rect">
            <a:avLst/>
          </a:prstGeom>
          <a:noFill/>
        </p:spPr>
        <p:txBody>
          <a:bodyPr wrap="square" rtlCol="0">
            <a:spAutoFit/>
          </a:bodyPr>
          <a:lstStyle/>
          <a:p>
            <a:pPr lvl="0" algn="l" eaLnBrk="1" fontAlgn="auto" hangingPunct="1">
              <a:spcBef>
                <a:spcPts val="400"/>
              </a:spcBef>
              <a:spcAft>
                <a:spcPts val="400"/>
              </a:spcAft>
              <a:buClrTx/>
              <a:defRPr/>
            </a:pPr>
            <a:r>
              <a:rPr lang="en-GB" dirty="0">
                <a:latin typeface="+mn-lt"/>
              </a:rPr>
              <a:t>Step 3</a:t>
            </a:r>
          </a:p>
          <a:p>
            <a:pPr lvl="0" algn="l" eaLnBrk="1" fontAlgn="auto" hangingPunct="1">
              <a:spcBef>
                <a:spcPts val="400"/>
              </a:spcBef>
              <a:spcAft>
                <a:spcPts val="400"/>
              </a:spcAft>
              <a:buClrTx/>
              <a:defRPr/>
            </a:pPr>
            <a:r>
              <a:rPr lang="en-GB" dirty="0">
                <a:latin typeface="+mn-lt"/>
              </a:rPr>
              <a:t>Text should be a maximum of three lines long with less wide text boxes. Otherwise you lose the message. </a:t>
            </a:r>
          </a:p>
        </p:txBody>
      </p:sp>
      <p:sp>
        <p:nvSpPr>
          <p:cNvPr id="12" name="TextBox 11"/>
          <p:cNvSpPr txBox="1"/>
          <p:nvPr/>
        </p:nvSpPr>
        <p:spPr>
          <a:xfrm>
            <a:off x="8678556" y="1439589"/>
            <a:ext cx="3168000" cy="1056700"/>
          </a:xfrm>
          <a:prstGeom prst="rect">
            <a:avLst/>
          </a:prstGeom>
          <a:noFill/>
        </p:spPr>
        <p:txBody>
          <a:bodyPr wrap="square" rtlCol="0">
            <a:spAutoFit/>
          </a:bodyPr>
          <a:lstStyle/>
          <a:p>
            <a:pPr lvl="0" algn="l" eaLnBrk="1" fontAlgn="auto" hangingPunct="1">
              <a:spcBef>
                <a:spcPts val="400"/>
              </a:spcBef>
              <a:spcAft>
                <a:spcPts val="400"/>
              </a:spcAft>
              <a:buClrTx/>
              <a:defRPr/>
            </a:pPr>
            <a:r>
              <a:rPr lang="en-GB" dirty="0">
                <a:latin typeface="+mn-lt"/>
              </a:rPr>
              <a:t>Step 4</a:t>
            </a:r>
          </a:p>
          <a:p>
            <a:pPr lvl="0" algn="l" eaLnBrk="1" fontAlgn="auto" hangingPunct="1">
              <a:spcBef>
                <a:spcPts val="400"/>
              </a:spcBef>
              <a:spcAft>
                <a:spcPts val="400"/>
              </a:spcAft>
              <a:buClrTx/>
              <a:defRPr/>
            </a:pPr>
            <a:r>
              <a:rPr lang="en-GB" dirty="0">
                <a:latin typeface="+mn-lt"/>
              </a:rPr>
              <a:t>Text should be a maximum of three lines long with less wide text boxes. Otherwise you lose the message. </a:t>
            </a:r>
          </a:p>
        </p:txBody>
      </p:sp>
      <p:sp>
        <p:nvSpPr>
          <p:cNvPr id="13" name="TextBox 12"/>
          <p:cNvSpPr txBox="1"/>
          <p:nvPr/>
        </p:nvSpPr>
        <p:spPr>
          <a:xfrm>
            <a:off x="3712878" y="1439588"/>
            <a:ext cx="3168000" cy="10567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Step 2</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Text should be a maximum of three lines long with less wide text boxes. Otherwise you lose the message. </a:t>
            </a:r>
          </a:p>
        </p:txBody>
      </p:sp>
      <p:sp>
        <p:nvSpPr>
          <p:cNvPr id="14" name="Oval 13"/>
          <p:cNvSpPr>
            <a:spLocks noChangeAspect="1"/>
          </p:cNvSpPr>
          <p:nvPr/>
        </p:nvSpPr>
        <p:spPr>
          <a:xfrm>
            <a:off x="3147964" y="1450479"/>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solidFill>
                <a:effectLst/>
                <a:uLnTx/>
                <a:uFillTx/>
                <a:ea typeface="+mn-ea"/>
                <a:cs typeface="+mn-cs"/>
              </a:rPr>
              <a:t>2</a:t>
            </a:r>
            <a:endParaRPr kumimoji="0" lang="en-GB" sz="2000" b="1" i="0" u="none" strike="noStrike" kern="1200" cap="none" spc="0" normalizeH="0" baseline="0" noProof="0" dirty="0">
              <a:ln>
                <a:noFill/>
              </a:ln>
              <a:solidFill>
                <a:schemeClr val="bg1"/>
              </a:solidFill>
              <a:effectLst/>
              <a:uLnTx/>
              <a:uFillTx/>
              <a:ea typeface="+mn-ea"/>
              <a:cs typeface="+mn-cs"/>
            </a:endParaRPr>
          </a:p>
        </p:txBody>
      </p:sp>
      <p:sp>
        <p:nvSpPr>
          <p:cNvPr id="15" name="Oval 14"/>
          <p:cNvSpPr>
            <a:spLocks noChangeAspect="1"/>
          </p:cNvSpPr>
          <p:nvPr/>
        </p:nvSpPr>
        <p:spPr>
          <a:xfrm>
            <a:off x="856261" y="5231360"/>
            <a:ext cx="540000" cy="5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solidFill>
                <a:effectLst/>
                <a:uLnTx/>
                <a:uFillTx/>
                <a:ea typeface="+mn-ea"/>
                <a:cs typeface="+mn-cs"/>
              </a:rPr>
              <a:t>1</a:t>
            </a:r>
            <a:endParaRPr kumimoji="0" lang="en-GB" sz="2000" b="1" i="0" u="none" strike="noStrike" kern="1200" cap="none" spc="0" normalizeH="0" baseline="0" noProof="0" dirty="0">
              <a:ln>
                <a:noFill/>
              </a:ln>
              <a:solidFill>
                <a:schemeClr val="bg1"/>
              </a:solidFill>
              <a:effectLst/>
              <a:uLnTx/>
              <a:uFillTx/>
              <a:ea typeface="+mn-ea"/>
              <a:cs typeface="+mn-cs"/>
            </a:endParaRPr>
          </a:p>
        </p:txBody>
      </p:sp>
      <p:sp>
        <p:nvSpPr>
          <p:cNvPr id="16" name="Oval 15"/>
          <p:cNvSpPr>
            <a:spLocks noChangeAspect="1"/>
          </p:cNvSpPr>
          <p:nvPr/>
        </p:nvSpPr>
        <p:spPr>
          <a:xfrm>
            <a:off x="5807465" y="5231359"/>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solidFill>
                <a:effectLst/>
                <a:uLnTx/>
                <a:uFillTx/>
                <a:ea typeface="+mn-ea"/>
                <a:cs typeface="+mn-cs"/>
              </a:rPr>
              <a:t>3</a:t>
            </a:r>
            <a:endParaRPr kumimoji="0" lang="en-GB" sz="2000" b="1" i="0" u="none" strike="noStrike" kern="1200" cap="none" spc="0" normalizeH="0" baseline="0" noProof="0" dirty="0">
              <a:ln>
                <a:noFill/>
              </a:ln>
              <a:solidFill>
                <a:schemeClr val="bg1"/>
              </a:solidFill>
              <a:effectLst/>
              <a:uLnTx/>
              <a:uFillTx/>
              <a:ea typeface="+mn-ea"/>
              <a:cs typeface="+mn-cs"/>
            </a:endParaRPr>
          </a:p>
        </p:txBody>
      </p:sp>
      <p:sp>
        <p:nvSpPr>
          <p:cNvPr id="17" name="Oval 16"/>
          <p:cNvSpPr>
            <a:spLocks noChangeAspect="1"/>
          </p:cNvSpPr>
          <p:nvPr/>
        </p:nvSpPr>
        <p:spPr>
          <a:xfrm>
            <a:off x="8113643" y="1450480"/>
            <a:ext cx="540000" cy="54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1"/>
                </a:solidFill>
                <a:effectLst/>
                <a:uLnTx/>
                <a:uFillTx/>
                <a:ea typeface="+mn-ea"/>
                <a:cs typeface="+mn-cs"/>
              </a:rPr>
              <a:t>4</a:t>
            </a:r>
            <a:endParaRPr kumimoji="0" lang="en-GB" sz="2000" b="1"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398799129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Arrow Connector 65">
            <a:extLst>
              <a:ext uri="{FF2B5EF4-FFF2-40B4-BE49-F238E27FC236}">
                <a16:creationId xmlns:a16="http://schemas.microsoft.com/office/drawing/2014/main" id="{F2F7CF0E-F1EC-4ABA-8B12-37C3988836E9}"/>
              </a:ext>
            </a:extLst>
          </p:cNvPr>
          <p:cNvCxnSpPr>
            <a:cxnSpLocks/>
          </p:cNvCxnSpPr>
          <p:nvPr/>
        </p:nvCxnSpPr>
        <p:spPr>
          <a:xfrm flipV="1">
            <a:off x="2603297" y="3525718"/>
            <a:ext cx="2528379" cy="873912"/>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2" name="Rectangle 51"/>
          <p:cNvSpPr/>
          <p:nvPr/>
        </p:nvSpPr>
        <p:spPr>
          <a:xfrm>
            <a:off x="1419290" y="5386016"/>
            <a:ext cx="2350070"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sp>
        <p:nvSpPr>
          <p:cNvPr id="57" name="Rectangle 56"/>
          <p:cNvSpPr/>
          <p:nvPr/>
        </p:nvSpPr>
        <p:spPr>
          <a:xfrm>
            <a:off x="5503405" y="4257710"/>
            <a:ext cx="2350800"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sp>
        <p:nvSpPr>
          <p:cNvPr id="58" name="Rectangle 57"/>
          <p:cNvSpPr/>
          <p:nvPr/>
        </p:nvSpPr>
        <p:spPr>
          <a:xfrm>
            <a:off x="9532533" y="3078318"/>
            <a:ext cx="2239467"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cxnSp>
        <p:nvCxnSpPr>
          <p:cNvPr id="66" name="Straight Arrow Connector 65"/>
          <p:cNvCxnSpPr>
            <a:cxnSpLocks/>
          </p:cNvCxnSpPr>
          <p:nvPr/>
        </p:nvCxnSpPr>
        <p:spPr>
          <a:xfrm flipV="1">
            <a:off x="6558018" y="2177552"/>
            <a:ext cx="2533144" cy="870466"/>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a:lstStyle/>
          <a:p>
            <a:r>
              <a:rPr lang="en-GB" dirty="0"/>
              <a:t>Approach presentation – three steps/deliverables and description with logo</a:t>
            </a:r>
          </a:p>
        </p:txBody>
      </p:sp>
      <p:sp>
        <p:nvSpPr>
          <p:cNvPr id="5" name="Oval 4"/>
          <p:cNvSpPr>
            <a:spLocks noChangeAspect="1"/>
          </p:cNvSpPr>
          <p:nvPr/>
        </p:nvSpPr>
        <p:spPr>
          <a:xfrm>
            <a:off x="1119995" y="3774369"/>
            <a:ext cx="1459962" cy="1459963"/>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1" name="Oval 60"/>
          <p:cNvSpPr/>
          <p:nvPr/>
        </p:nvSpPr>
        <p:spPr>
          <a:xfrm>
            <a:off x="1143335" y="3622685"/>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1</a:t>
            </a:r>
            <a:endParaRPr lang="en-GB" sz="1600" dirty="0">
              <a:solidFill>
                <a:schemeClr val="bg1"/>
              </a:solidFill>
            </a:endParaRPr>
          </a:p>
        </p:txBody>
      </p:sp>
      <p:sp>
        <p:nvSpPr>
          <p:cNvPr id="6" name="Oval 5"/>
          <p:cNvSpPr>
            <a:spLocks noChangeAspect="1"/>
          </p:cNvSpPr>
          <p:nvPr/>
        </p:nvSpPr>
        <p:spPr>
          <a:xfrm>
            <a:off x="5119433" y="2600217"/>
            <a:ext cx="1459962" cy="1459958"/>
          </a:xfrm>
          <a:prstGeom prst="ellipse">
            <a:avLst/>
          </a:pr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2" name="Oval 61"/>
          <p:cNvSpPr/>
          <p:nvPr/>
        </p:nvSpPr>
        <p:spPr>
          <a:xfrm>
            <a:off x="5241304" y="2413296"/>
            <a:ext cx="551911" cy="551911"/>
          </a:xfrm>
          <a:prstGeom prst="ellipse">
            <a:avLst/>
          </a:prstGeom>
          <a:solidFill>
            <a:schemeClr val="accent5"/>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2</a:t>
            </a:r>
            <a:endParaRPr lang="en-GB" sz="1600" dirty="0">
              <a:solidFill>
                <a:schemeClr val="bg1"/>
              </a:solidFill>
            </a:endParaRPr>
          </a:p>
        </p:txBody>
      </p:sp>
      <p:sp>
        <p:nvSpPr>
          <p:cNvPr id="7" name="Oval 6"/>
          <p:cNvSpPr>
            <a:spLocks noChangeAspect="1"/>
          </p:cNvSpPr>
          <p:nvPr/>
        </p:nvSpPr>
        <p:spPr>
          <a:xfrm>
            <a:off x="9118870" y="1390824"/>
            <a:ext cx="1459962" cy="1459962"/>
          </a:xfrm>
          <a:prstGeom prst="ellipse">
            <a:avLst/>
          </a:prstGeom>
          <a:solidFill>
            <a:schemeClr val="accent4"/>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3" name="Oval 62"/>
          <p:cNvSpPr/>
          <p:nvPr/>
        </p:nvSpPr>
        <p:spPr>
          <a:xfrm>
            <a:off x="9256578" y="1172528"/>
            <a:ext cx="551911" cy="551911"/>
          </a:xfrm>
          <a:prstGeom prst="ellipse">
            <a:avLst/>
          </a:prstGeom>
          <a:solidFill>
            <a:schemeClr val="accent4"/>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3</a:t>
            </a:r>
            <a:endParaRPr lang="en-GB" sz="1600" dirty="0">
              <a:solidFill>
                <a:schemeClr val="bg1"/>
              </a:solidFill>
            </a:endParaRPr>
          </a:p>
        </p:txBody>
      </p:sp>
      <p:pic>
        <p:nvPicPr>
          <p:cNvPr id="14" name="Graphique 13">
            <a:extLst>
              <a:ext uri="{FF2B5EF4-FFF2-40B4-BE49-F238E27FC236}">
                <a16:creationId xmlns:a16="http://schemas.microsoft.com/office/drawing/2014/main" id="{BDA1E0D1-AAE0-41DC-8A82-4B5B24CB8B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8474" y="3066488"/>
            <a:ext cx="621880" cy="527417"/>
          </a:xfrm>
          <a:prstGeom prst="rect">
            <a:avLst/>
          </a:prstGeom>
        </p:spPr>
      </p:pic>
      <p:pic>
        <p:nvPicPr>
          <p:cNvPr id="18" name="Graphique 17">
            <a:extLst>
              <a:ext uri="{FF2B5EF4-FFF2-40B4-BE49-F238E27FC236}">
                <a16:creationId xmlns:a16="http://schemas.microsoft.com/office/drawing/2014/main" id="{9897C894-28A6-4D83-A4D7-228803BE5A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8514" y="4232888"/>
            <a:ext cx="542925" cy="542925"/>
          </a:xfrm>
          <a:prstGeom prst="rect">
            <a:avLst/>
          </a:prstGeom>
        </p:spPr>
      </p:pic>
      <p:grpSp>
        <p:nvGrpSpPr>
          <p:cNvPr id="195" name="Groupe 194">
            <a:extLst>
              <a:ext uri="{FF2B5EF4-FFF2-40B4-BE49-F238E27FC236}">
                <a16:creationId xmlns:a16="http://schemas.microsoft.com/office/drawing/2014/main" id="{F28D315B-B31F-4203-9E99-AB0D42C002F9}"/>
              </a:ext>
            </a:extLst>
          </p:cNvPr>
          <p:cNvGrpSpPr/>
          <p:nvPr/>
        </p:nvGrpSpPr>
        <p:grpSpPr>
          <a:xfrm>
            <a:off x="9615489" y="1820768"/>
            <a:ext cx="457200" cy="600075"/>
            <a:chOff x="9615489" y="1820768"/>
            <a:chExt cx="457200" cy="600075"/>
          </a:xfrm>
        </p:grpSpPr>
        <p:sp>
          <p:nvSpPr>
            <p:cNvPr id="189" name="Forme libre : forme 188">
              <a:extLst>
                <a:ext uri="{FF2B5EF4-FFF2-40B4-BE49-F238E27FC236}">
                  <a16:creationId xmlns:a16="http://schemas.microsoft.com/office/drawing/2014/main" id="{F8AE721B-3BDA-4D46-850D-9CE07FF7BBC0}"/>
                </a:ext>
              </a:extLst>
            </p:cNvPr>
            <p:cNvSpPr/>
            <p:nvPr/>
          </p:nvSpPr>
          <p:spPr>
            <a:xfrm>
              <a:off x="9682164" y="1820768"/>
              <a:ext cx="333375" cy="257175"/>
            </a:xfrm>
            <a:custGeom>
              <a:avLst/>
              <a:gdLst>
                <a:gd name="connsiteX0" fmla="*/ 239944 w 333375"/>
                <a:gd name="connsiteY0" fmla="*/ 0 h 257175"/>
                <a:gd name="connsiteX1" fmla="*/ 93431 w 333375"/>
                <a:gd name="connsiteY1" fmla="*/ 0 h 257175"/>
                <a:gd name="connsiteX2" fmla="*/ 0 w 333375"/>
                <a:gd name="connsiteY2" fmla="*/ 93097 h 257175"/>
                <a:gd name="connsiteX3" fmla="*/ 0 w 333375"/>
                <a:gd name="connsiteY3" fmla="*/ 257175 h 257175"/>
                <a:gd name="connsiteX4" fmla="*/ 70075 w 333375"/>
                <a:gd name="connsiteY4" fmla="*/ 257175 h 257175"/>
                <a:gd name="connsiteX5" fmla="*/ 70075 w 333375"/>
                <a:gd name="connsiteY5" fmla="*/ 104737 h 257175"/>
                <a:gd name="connsiteX6" fmla="*/ 105108 w 333375"/>
                <a:gd name="connsiteY6" fmla="*/ 69818 h 257175"/>
                <a:gd name="connsiteX7" fmla="*/ 228267 w 333375"/>
                <a:gd name="connsiteY7" fmla="*/ 69818 h 257175"/>
                <a:gd name="connsiteX8" fmla="*/ 263300 w 333375"/>
                <a:gd name="connsiteY8" fmla="*/ 104737 h 257175"/>
                <a:gd name="connsiteX9" fmla="*/ 263300 w 333375"/>
                <a:gd name="connsiteY9" fmla="*/ 257175 h 257175"/>
                <a:gd name="connsiteX10" fmla="*/ 333375 w 333375"/>
                <a:gd name="connsiteY10" fmla="*/ 257175 h 257175"/>
                <a:gd name="connsiteX11" fmla="*/ 333375 w 333375"/>
                <a:gd name="connsiteY11" fmla="*/ 93097 h 257175"/>
                <a:gd name="connsiteX12" fmla="*/ 239944 w 333375"/>
                <a:gd name="connsiteY12"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75" h="257175">
                  <a:moveTo>
                    <a:pt x="239944" y="0"/>
                  </a:moveTo>
                  <a:lnTo>
                    <a:pt x="93431" y="0"/>
                  </a:lnTo>
                  <a:cubicBezTo>
                    <a:pt x="41824" y="0"/>
                    <a:pt x="0" y="41681"/>
                    <a:pt x="0" y="93097"/>
                  </a:cubicBezTo>
                  <a:lnTo>
                    <a:pt x="0" y="257175"/>
                  </a:lnTo>
                  <a:lnTo>
                    <a:pt x="70075" y="257175"/>
                  </a:lnTo>
                  <a:lnTo>
                    <a:pt x="70075" y="104737"/>
                  </a:lnTo>
                  <a:cubicBezTo>
                    <a:pt x="70075" y="85449"/>
                    <a:pt x="85753" y="69818"/>
                    <a:pt x="105108" y="69818"/>
                  </a:cubicBezTo>
                  <a:lnTo>
                    <a:pt x="228267" y="69818"/>
                  </a:lnTo>
                  <a:cubicBezTo>
                    <a:pt x="247622" y="69818"/>
                    <a:pt x="263300" y="85449"/>
                    <a:pt x="263300" y="104737"/>
                  </a:cubicBezTo>
                  <a:lnTo>
                    <a:pt x="263300" y="257175"/>
                  </a:lnTo>
                  <a:lnTo>
                    <a:pt x="333375" y="257175"/>
                  </a:lnTo>
                  <a:lnTo>
                    <a:pt x="333375" y="93097"/>
                  </a:lnTo>
                  <a:cubicBezTo>
                    <a:pt x="333375" y="41681"/>
                    <a:pt x="291541" y="0"/>
                    <a:pt x="239944"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190" name="Forme libre : forme 189">
              <a:extLst>
                <a:ext uri="{FF2B5EF4-FFF2-40B4-BE49-F238E27FC236}">
                  <a16:creationId xmlns:a16="http://schemas.microsoft.com/office/drawing/2014/main" id="{80805CDE-5000-4FE6-9B34-60145F431F11}"/>
                </a:ext>
              </a:extLst>
            </p:cNvPr>
            <p:cNvSpPr/>
            <p:nvPr/>
          </p:nvSpPr>
          <p:spPr>
            <a:xfrm>
              <a:off x="9844089" y="1820768"/>
              <a:ext cx="171450" cy="257175"/>
            </a:xfrm>
            <a:custGeom>
              <a:avLst/>
              <a:gdLst>
                <a:gd name="connsiteX0" fmla="*/ 75352 w 171450"/>
                <a:gd name="connsiteY0" fmla="*/ 0 h 257175"/>
                <a:gd name="connsiteX1" fmla="*/ 0 w 171450"/>
                <a:gd name="connsiteY1" fmla="*/ 0 h 257175"/>
                <a:gd name="connsiteX2" fmla="*/ 0 w 171450"/>
                <a:gd name="connsiteY2" fmla="*/ 69818 h 257175"/>
                <a:gd name="connsiteX3" fmla="*/ 63341 w 171450"/>
                <a:gd name="connsiteY3" fmla="*/ 69818 h 257175"/>
                <a:gd name="connsiteX4" fmla="*/ 99374 w 171450"/>
                <a:gd name="connsiteY4" fmla="*/ 104737 h 257175"/>
                <a:gd name="connsiteX5" fmla="*/ 99374 w 171450"/>
                <a:gd name="connsiteY5" fmla="*/ 257175 h 257175"/>
                <a:gd name="connsiteX6" fmla="*/ 171450 w 171450"/>
                <a:gd name="connsiteY6" fmla="*/ 257175 h 257175"/>
                <a:gd name="connsiteX7" fmla="*/ 171450 w 171450"/>
                <a:gd name="connsiteY7" fmla="*/ 93097 h 257175"/>
                <a:gd name="connsiteX8" fmla="*/ 75352 w 171450"/>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75352" y="0"/>
                  </a:moveTo>
                  <a:lnTo>
                    <a:pt x="0" y="0"/>
                  </a:lnTo>
                  <a:lnTo>
                    <a:pt x="0" y="69818"/>
                  </a:lnTo>
                  <a:lnTo>
                    <a:pt x="63341" y="69818"/>
                  </a:lnTo>
                  <a:cubicBezTo>
                    <a:pt x="83239" y="69818"/>
                    <a:pt x="99374" y="85449"/>
                    <a:pt x="99374" y="104737"/>
                  </a:cubicBezTo>
                  <a:lnTo>
                    <a:pt x="99374" y="257175"/>
                  </a:lnTo>
                  <a:lnTo>
                    <a:pt x="171450" y="257175"/>
                  </a:lnTo>
                  <a:lnTo>
                    <a:pt x="171450" y="93097"/>
                  </a:lnTo>
                  <a:cubicBezTo>
                    <a:pt x="171450" y="41681"/>
                    <a:pt x="128426" y="0"/>
                    <a:pt x="75352"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191" name="Forme libre : forme 190">
              <a:extLst>
                <a:ext uri="{FF2B5EF4-FFF2-40B4-BE49-F238E27FC236}">
                  <a16:creationId xmlns:a16="http://schemas.microsoft.com/office/drawing/2014/main" id="{EF9D16CA-7CF3-4BD5-9B29-DA5579C649A1}"/>
                </a:ext>
              </a:extLst>
            </p:cNvPr>
            <p:cNvSpPr/>
            <p:nvPr/>
          </p:nvSpPr>
          <p:spPr>
            <a:xfrm>
              <a:off x="9615489" y="2058893"/>
              <a:ext cx="457200" cy="361950"/>
            </a:xfrm>
            <a:custGeom>
              <a:avLst/>
              <a:gdLst>
                <a:gd name="connsiteX0" fmla="*/ 439617 w 457200"/>
                <a:gd name="connsiteY0" fmla="*/ 361950 h 361950"/>
                <a:gd name="connsiteX1" fmla="*/ 17583 w 457200"/>
                <a:gd name="connsiteY1" fmla="*/ 361950 h 361950"/>
                <a:gd name="connsiteX2" fmla="*/ 0 w 457200"/>
                <a:gd name="connsiteY2" fmla="*/ 344205 h 361950"/>
                <a:gd name="connsiteX3" fmla="*/ 0 w 457200"/>
                <a:gd name="connsiteY3" fmla="*/ 17745 h 361950"/>
                <a:gd name="connsiteX4" fmla="*/ 17583 w 457200"/>
                <a:gd name="connsiteY4" fmla="*/ 0 h 361950"/>
                <a:gd name="connsiteX5" fmla="*/ 439617 w 457200"/>
                <a:gd name="connsiteY5" fmla="*/ 0 h 361950"/>
                <a:gd name="connsiteX6" fmla="*/ 457200 w 457200"/>
                <a:gd name="connsiteY6" fmla="*/ 17745 h 361950"/>
                <a:gd name="connsiteX7" fmla="*/ 457200 w 457200"/>
                <a:gd name="connsiteY7" fmla="*/ 344205 h 361950"/>
                <a:gd name="connsiteX8" fmla="*/ 439617 w 457200"/>
                <a:gd name="connsiteY8" fmla="*/ 36195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61950">
                  <a:moveTo>
                    <a:pt x="439617" y="361950"/>
                  </a:moveTo>
                  <a:lnTo>
                    <a:pt x="17583" y="361950"/>
                  </a:lnTo>
                  <a:cubicBezTo>
                    <a:pt x="7868" y="361950"/>
                    <a:pt x="0" y="354006"/>
                    <a:pt x="0" y="344205"/>
                  </a:cubicBezTo>
                  <a:lnTo>
                    <a:pt x="0" y="17745"/>
                  </a:lnTo>
                  <a:cubicBezTo>
                    <a:pt x="0" y="7944"/>
                    <a:pt x="7868" y="0"/>
                    <a:pt x="17583" y="0"/>
                  </a:cubicBezTo>
                  <a:lnTo>
                    <a:pt x="439617" y="0"/>
                  </a:lnTo>
                  <a:cubicBezTo>
                    <a:pt x="449332" y="0"/>
                    <a:pt x="457200" y="7944"/>
                    <a:pt x="457200" y="17745"/>
                  </a:cubicBezTo>
                  <a:lnTo>
                    <a:pt x="457200" y="344205"/>
                  </a:lnTo>
                  <a:cubicBezTo>
                    <a:pt x="457200" y="354006"/>
                    <a:pt x="449332" y="361950"/>
                    <a:pt x="439617" y="36195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192" name="Forme libre : forme 191">
              <a:extLst>
                <a:ext uri="{FF2B5EF4-FFF2-40B4-BE49-F238E27FC236}">
                  <a16:creationId xmlns:a16="http://schemas.microsoft.com/office/drawing/2014/main" id="{6D456BB1-1D30-4C36-B60C-8A023209463C}"/>
                </a:ext>
              </a:extLst>
            </p:cNvPr>
            <p:cNvSpPr/>
            <p:nvPr/>
          </p:nvSpPr>
          <p:spPr>
            <a:xfrm>
              <a:off x="9844089" y="2058893"/>
              <a:ext cx="228600" cy="361950"/>
            </a:xfrm>
            <a:custGeom>
              <a:avLst/>
              <a:gdLst>
                <a:gd name="connsiteX0" fmla="*/ 211007 w 228600"/>
                <a:gd name="connsiteY0" fmla="*/ 0 h 361950"/>
                <a:gd name="connsiteX1" fmla="*/ 0 w 228600"/>
                <a:gd name="connsiteY1" fmla="*/ 0 h 361950"/>
                <a:gd name="connsiteX2" fmla="*/ 0 w 228600"/>
                <a:gd name="connsiteY2" fmla="*/ 361950 h 361950"/>
                <a:gd name="connsiteX3" fmla="*/ 211007 w 228600"/>
                <a:gd name="connsiteY3" fmla="*/ 361950 h 361950"/>
                <a:gd name="connsiteX4" fmla="*/ 228600 w 228600"/>
                <a:gd name="connsiteY4" fmla="*/ 344205 h 361950"/>
                <a:gd name="connsiteX5" fmla="*/ 228600 w 228600"/>
                <a:gd name="connsiteY5" fmla="*/ 17745 h 361950"/>
                <a:gd name="connsiteX6" fmla="*/ 211007 w 228600"/>
                <a:gd name="connsiteY6"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361950">
                  <a:moveTo>
                    <a:pt x="211007" y="0"/>
                  </a:moveTo>
                  <a:lnTo>
                    <a:pt x="0" y="0"/>
                  </a:lnTo>
                  <a:lnTo>
                    <a:pt x="0" y="361950"/>
                  </a:lnTo>
                  <a:lnTo>
                    <a:pt x="211007" y="361950"/>
                  </a:lnTo>
                  <a:cubicBezTo>
                    <a:pt x="220723" y="361950"/>
                    <a:pt x="228600" y="354006"/>
                    <a:pt x="228600" y="344205"/>
                  </a:cubicBezTo>
                  <a:lnTo>
                    <a:pt x="228600" y="17745"/>
                  </a:lnTo>
                  <a:cubicBezTo>
                    <a:pt x="228600" y="7944"/>
                    <a:pt x="220723" y="0"/>
                    <a:pt x="211007"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193" name="Forme libre : forme 192">
              <a:extLst>
                <a:ext uri="{FF2B5EF4-FFF2-40B4-BE49-F238E27FC236}">
                  <a16:creationId xmlns:a16="http://schemas.microsoft.com/office/drawing/2014/main" id="{1DE83992-7DA0-4FA8-BDF2-D39DB04FCC99}"/>
                </a:ext>
              </a:extLst>
            </p:cNvPr>
            <p:cNvSpPr/>
            <p:nvPr/>
          </p:nvSpPr>
          <p:spPr>
            <a:xfrm>
              <a:off x="9777414" y="2135093"/>
              <a:ext cx="142875" cy="209550"/>
            </a:xfrm>
            <a:custGeom>
              <a:avLst/>
              <a:gdLst>
                <a:gd name="connsiteX0" fmla="*/ 106289 w 142875"/>
                <a:gd name="connsiteY0" fmla="*/ 209550 h 209550"/>
                <a:gd name="connsiteX1" fmla="*/ 36595 w 142875"/>
                <a:gd name="connsiteY1" fmla="*/ 209550 h 209550"/>
                <a:gd name="connsiteX2" fmla="*/ 19164 w 142875"/>
                <a:gd name="connsiteY2" fmla="*/ 192491 h 209550"/>
                <a:gd name="connsiteX3" fmla="*/ 19164 w 142875"/>
                <a:gd name="connsiteY3" fmla="*/ 117605 h 209550"/>
                <a:gd name="connsiteX4" fmla="*/ 0 w 142875"/>
                <a:gd name="connsiteY4" fmla="*/ 69942 h 209550"/>
                <a:gd name="connsiteX5" fmla="*/ 71438 w 142875"/>
                <a:gd name="connsiteY5" fmla="*/ 0 h 209550"/>
                <a:gd name="connsiteX6" fmla="*/ 142875 w 142875"/>
                <a:gd name="connsiteY6" fmla="*/ 69942 h 209550"/>
                <a:gd name="connsiteX7" fmla="*/ 123711 w 142875"/>
                <a:gd name="connsiteY7" fmla="*/ 117605 h 209550"/>
                <a:gd name="connsiteX8" fmla="*/ 123711 w 142875"/>
                <a:gd name="connsiteY8" fmla="*/ 192491 h 209550"/>
                <a:gd name="connsiteX9" fmla="*/ 106289 w 142875"/>
                <a:gd name="connsiteY9" fmla="*/ 20955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209550">
                  <a:moveTo>
                    <a:pt x="106289" y="209550"/>
                  </a:moveTo>
                  <a:lnTo>
                    <a:pt x="36595" y="209550"/>
                  </a:lnTo>
                  <a:cubicBezTo>
                    <a:pt x="26965" y="209550"/>
                    <a:pt x="19164" y="201911"/>
                    <a:pt x="19164" y="192491"/>
                  </a:cubicBezTo>
                  <a:lnTo>
                    <a:pt x="19164" y="117605"/>
                  </a:lnTo>
                  <a:cubicBezTo>
                    <a:pt x="6906" y="104727"/>
                    <a:pt x="0" y="87763"/>
                    <a:pt x="0" y="69942"/>
                  </a:cubicBezTo>
                  <a:cubicBezTo>
                    <a:pt x="0" y="31375"/>
                    <a:pt x="32052" y="0"/>
                    <a:pt x="71438" y="0"/>
                  </a:cubicBezTo>
                  <a:cubicBezTo>
                    <a:pt x="110823" y="0"/>
                    <a:pt x="142875" y="31375"/>
                    <a:pt x="142875" y="69942"/>
                  </a:cubicBezTo>
                  <a:cubicBezTo>
                    <a:pt x="142875" y="87763"/>
                    <a:pt x="135969" y="104727"/>
                    <a:pt x="123711" y="117605"/>
                  </a:cubicBezTo>
                  <a:lnTo>
                    <a:pt x="123711" y="192491"/>
                  </a:lnTo>
                  <a:cubicBezTo>
                    <a:pt x="123711" y="201911"/>
                    <a:pt x="115910" y="209550"/>
                    <a:pt x="106289" y="20955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sp>
          <p:nvSpPr>
            <p:cNvPr id="194" name="Forme libre : forme 193">
              <a:extLst>
                <a:ext uri="{FF2B5EF4-FFF2-40B4-BE49-F238E27FC236}">
                  <a16:creationId xmlns:a16="http://schemas.microsoft.com/office/drawing/2014/main" id="{27FC8A7C-104E-49CB-B112-2934713128FF}"/>
                </a:ext>
              </a:extLst>
            </p:cNvPr>
            <p:cNvSpPr/>
            <p:nvPr/>
          </p:nvSpPr>
          <p:spPr>
            <a:xfrm>
              <a:off x="9844089" y="2135093"/>
              <a:ext cx="76200" cy="209550"/>
            </a:xfrm>
            <a:custGeom>
              <a:avLst/>
              <a:gdLst>
                <a:gd name="connsiteX0" fmla="*/ 0 w 76200"/>
                <a:gd name="connsiteY0" fmla="*/ 0 h 209550"/>
                <a:gd name="connsiteX1" fmla="*/ 0 w 76200"/>
                <a:gd name="connsiteY1" fmla="*/ 209550 h 209550"/>
                <a:gd name="connsiteX2" fmla="*/ 37119 w 76200"/>
                <a:gd name="connsiteY2" fmla="*/ 209550 h 209550"/>
                <a:gd name="connsiteX3" fmla="*/ 55731 w 76200"/>
                <a:gd name="connsiteY3" fmla="*/ 192491 h 209550"/>
                <a:gd name="connsiteX4" fmla="*/ 55731 w 76200"/>
                <a:gd name="connsiteY4" fmla="*/ 117605 h 209550"/>
                <a:gd name="connsiteX5" fmla="*/ 76200 w 76200"/>
                <a:gd name="connsiteY5" fmla="*/ 69942 h 209550"/>
                <a:gd name="connsiteX6" fmla="*/ 0 w 76200"/>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09550">
                  <a:moveTo>
                    <a:pt x="0" y="0"/>
                  </a:moveTo>
                  <a:lnTo>
                    <a:pt x="0" y="209550"/>
                  </a:lnTo>
                  <a:lnTo>
                    <a:pt x="37119" y="209550"/>
                  </a:lnTo>
                  <a:cubicBezTo>
                    <a:pt x="47397" y="209550"/>
                    <a:pt x="55731" y="201911"/>
                    <a:pt x="55731" y="192491"/>
                  </a:cubicBezTo>
                  <a:lnTo>
                    <a:pt x="55731" y="117605"/>
                  </a:lnTo>
                  <a:cubicBezTo>
                    <a:pt x="68837" y="104718"/>
                    <a:pt x="76200" y="87763"/>
                    <a:pt x="76200" y="69942"/>
                  </a:cubicBezTo>
                  <a:cubicBezTo>
                    <a:pt x="76200" y="31404"/>
                    <a:pt x="42034" y="57"/>
                    <a:pt x="0" y="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grpSp>
    </p:spTree>
    <p:extLst>
      <p:ext uri="{BB962C8B-B14F-4D97-AF65-F5344CB8AC3E}">
        <p14:creationId xmlns:p14="http://schemas.microsoft.com/office/powerpoint/2010/main" val="5001526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Arrow Connector 65">
            <a:extLst>
              <a:ext uri="{FF2B5EF4-FFF2-40B4-BE49-F238E27FC236}">
                <a16:creationId xmlns:a16="http://schemas.microsoft.com/office/drawing/2014/main" id="{F2F7CF0E-F1EC-4ABA-8B12-37C3988836E9}"/>
              </a:ext>
            </a:extLst>
          </p:cNvPr>
          <p:cNvCxnSpPr>
            <a:cxnSpLocks/>
          </p:cNvCxnSpPr>
          <p:nvPr/>
        </p:nvCxnSpPr>
        <p:spPr>
          <a:xfrm>
            <a:off x="2894121" y="3043146"/>
            <a:ext cx="2393988" cy="0"/>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a:lstStyle/>
          <a:p>
            <a:r>
              <a:rPr lang="en-GB" dirty="0"/>
              <a:t>Approach presentation – three steps/deliverables and description with logo</a:t>
            </a:r>
          </a:p>
        </p:txBody>
      </p:sp>
      <p:sp>
        <p:nvSpPr>
          <p:cNvPr id="52" name="Rectangle 51"/>
          <p:cNvSpPr/>
          <p:nvPr/>
        </p:nvSpPr>
        <p:spPr>
          <a:xfrm>
            <a:off x="891592" y="3930119"/>
            <a:ext cx="2398131"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a:t>
            </a:r>
            <a:r>
              <a:rPr lang="en-GB" dirty="0" err="1">
                <a:latin typeface="+mn-lt"/>
              </a:rPr>
              <a:t>malesuada</a:t>
            </a:r>
            <a:r>
              <a:rPr lang="en-GB" dirty="0">
                <a:latin typeface="+mn-lt"/>
              </a:rPr>
              <a:t> libero</a:t>
            </a:r>
          </a:p>
        </p:txBody>
      </p:sp>
      <p:sp>
        <p:nvSpPr>
          <p:cNvPr id="5" name="Oval 4"/>
          <p:cNvSpPr>
            <a:spLocks noChangeAspect="1"/>
          </p:cNvSpPr>
          <p:nvPr/>
        </p:nvSpPr>
        <p:spPr>
          <a:xfrm>
            <a:off x="1377448" y="2318472"/>
            <a:ext cx="1459962" cy="1459963"/>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1" name="Oval 60"/>
          <p:cNvSpPr/>
          <p:nvPr/>
        </p:nvSpPr>
        <p:spPr>
          <a:xfrm>
            <a:off x="1400788" y="2166788"/>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1</a:t>
            </a:r>
            <a:endParaRPr lang="en-GB" sz="1600" dirty="0">
              <a:solidFill>
                <a:schemeClr val="bg1"/>
              </a:solidFill>
            </a:endParaRPr>
          </a:p>
        </p:txBody>
      </p:sp>
      <p:sp>
        <p:nvSpPr>
          <p:cNvPr id="57" name="Rectangle 56"/>
          <p:cNvSpPr/>
          <p:nvPr/>
        </p:nvSpPr>
        <p:spPr>
          <a:xfrm>
            <a:off x="4957953" y="3970660"/>
            <a:ext cx="2398131"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a:t>
            </a:r>
            <a:r>
              <a:rPr lang="en-GB" dirty="0" err="1">
                <a:latin typeface="+mn-lt"/>
              </a:rPr>
              <a:t>malesuada</a:t>
            </a:r>
            <a:r>
              <a:rPr lang="en-GB" dirty="0">
                <a:latin typeface="+mn-lt"/>
              </a:rPr>
              <a:t> libero</a:t>
            </a:r>
          </a:p>
        </p:txBody>
      </p:sp>
      <p:sp>
        <p:nvSpPr>
          <p:cNvPr id="6" name="Oval 5"/>
          <p:cNvSpPr>
            <a:spLocks noChangeAspect="1"/>
          </p:cNvSpPr>
          <p:nvPr/>
        </p:nvSpPr>
        <p:spPr>
          <a:xfrm>
            <a:off x="5376886" y="2313167"/>
            <a:ext cx="1459962" cy="1459958"/>
          </a:xfrm>
          <a:prstGeom prst="ellipse">
            <a:avLst/>
          </a:pr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2" name="Oval 61"/>
          <p:cNvSpPr/>
          <p:nvPr/>
        </p:nvSpPr>
        <p:spPr>
          <a:xfrm>
            <a:off x="5498757" y="2126246"/>
            <a:ext cx="551911" cy="551911"/>
          </a:xfrm>
          <a:prstGeom prst="ellipse">
            <a:avLst/>
          </a:prstGeom>
          <a:solidFill>
            <a:schemeClr val="accent5"/>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2</a:t>
            </a:r>
            <a:endParaRPr lang="en-GB" sz="1600" dirty="0">
              <a:solidFill>
                <a:schemeClr val="bg1"/>
              </a:solidFill>
            </a:endParaRPr>
          </a:p>
        </p:txBody>
      </p:sp>
      <p:sp>
        <p:nvSpPr>
          <p:cNvPr id="58" name="Rectangle 57"/>
          <p:cNvSpPr/>
          <p:nvPr/>
        </p:nvSpPr>
        <p:spPr>
          <a:xfrm>
            <a:off x="8916059" y="4001347"/>
            <a:ext cx="2398131" cy="1070202"/>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a:t>
            </a:r>
            <a:r>
              <a:rPr lang="en-GB" dirty="0" err="1">
                <a:latin typeface="+mn-lt"/>
              </a:rPr>
              <a:t>malesuada</a:t>
            </a:r>
            <a:r>
              <a:rPr lang="en-GB" dirty="0">
                <a:latin typeface="+mn-lt"/>
              </a:rPr>
              <a:t> libero</a:t>
            </a:r>
          </a:p>
        </p:txBody>
      </p:sp>
      <p:sp>
        <p:nvSpPr>
          <p:cNvPr id="7" name="Oval 6"/>
          <p:cNvSpPr>
            <a:spLocks noChangeAspect="1"/>
          </p:cNvSpPr>
          <p:nvPr/>
        </p:nvSpPr>
        <p:spPr>
          <a:xfrm>
            <a:off x="9367446" y="2313853"/>
            <a:ext cx="1459962" cy="1459962"/>
          </a:xfrm>
          <a:prstGeom prst="ellipse">
            <a:avLst/>
          </a:prstGeom>
          <a:solidFill>
            <a:schemeClr val="accent4"/>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3" name="Oval 62"/>
          <p:cNvSpPr/>
          <p:nvPr/>
        </p:nvSpPr>
        <p:spPr>
          <a:xfrm>
            <a:off x="9505154" y="2095557"/>
            <a:ext cx="551911" cy="551911"/>
          </a:xfrm>
          <a:prstGeom prst="ellipse">
            <a:avLst/>
          </a:prstGeom>
          <a:solidFill>
            <a:schemeClr val="accent4"/>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rgbClr val="FFFFFF"/>
                </a:solidFill>
              </a:rPr>
              <a:t>3</a:t>
            </a:r>
            <a:endParaRPr lang="en-GB" sz="1600" dirty="0">
              <a:solidFill>
                <a:srgbClr val="FFFFFF"/>
              </a:solidFill>
            </a:endParaRPr>
          </a:p>
        </p:txBody>
      </p:sp>
      <p:cxnSp>
        <p:nvCxnSpPr>
          <p:cNvPr id="34" name="Straight Arrow Connector 65">
            <a:extLst>
              <a:ext uri="{FF2B5EF4-FFF2-40B4-BE49-F238E27FC236}">
                <a16:creationId xmlns:a16="http://schemas.microsoft.com/office/drawing/2014/main" id="{F463EDEF-0A36-445F-96BC-CAC1C0086D6D}"/>
              </a:ext>
            </a:extLst>
          </p:cNvPr>
          <p:cNvCxnSpPr>
            <a:cxnSpLocks/>
          </p:cNvCxnSpPr>
          <p:nvPr/>
        </p:nvCxnSpPr>
        <p:spPr>
          <a:xfrm>
            <a:off x="6880195" y="3043146"/>
            <a:ext cx="2393988" cy="0"/>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pic>
        <p:nvPicPr>
          <p:cNvPr id="20" name="Graphique 19">
            <a:extLst>
              <a:ext uri="{FF2B5EF4-FFF2-40B4-BE49-F238E27FC236}">
                <a16:creationId xmlns:a16="http://schemas.microsoft.com/office/drawing/2014/main" id="{073633D7-6A1F-4080-92C2-8FB894A82C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85060" y="2794413"/>
            <a:ext cx="621880" cy="527417"/>
          </a:xfrm>
          <a:prstGeom prst="rect">
            <a:avLst/>
          </a:prstGeom>
        </p:spPr>
      </p:pic>
      <p:pic>
        <p:nvPicPr>
          <p:cNvPr id="22" name="Graphique 21">
            <a:extLst>
              <a:ext uri="{FF2B5EF4-FFF2-40B4-BE49-F238E27FC236}">
                <a16:creationId xmlns:a16="http://schemas.microsoft.com/office/drawing/2014/main" id="{556D9545-D645-44B5-86FB-F7B85EC864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5967" y="2776991"/>
            <a:ext cx="542925" cy="542925"/>
          </a:xfrm>
          <a:prstGeom prst="rect">
            <a:avLst/>
          </a:prstGeom>
        </p:spPr>
      </p:pic>
      <p:grpSp>
        <p:nvGrpSpPr>
          <p:cNvPr id="23" name="Groupe 22">
            <a:extLst>
              <a:ext uri="{FF2B5EF4-FFF2-40B4-BE49-F238E27FC236}">
                <a16:creationId xmlns:a16="http://schemas.microsoft.com/office/drawing/2014/main" id="{FC612F31-800A-4022-B756-611689F81DB2}"/>
              </a:ext>
            </a:extLst>
          </p:cNvPr>
          <p:cNvGrpSpPr/>
          <p:nvPr/>
        </p:nvGrpSpPr>
        <p:grpSpPr>
          <a:xfrm>
            <a:off x="9868827" y="2743797"/>
            <a:ext cx="457200" cy="600075"/>
            <a:chOff x="9615489" y="1820768"/>
            <a:chExt cx="457200" cy="600075"/>
          </a:xfrm>
        </p:grpSpPr>
        <p:sp>
          <p:nvSpPr>
            <p:cNvPr id="24" name="Forme libre : forme 23">
              <a:extLst>
                <a:ext uri="{FF2B5EF4-FFF2-40B4-BE49-F238E27FC236}">
                  <a16:creationId xmlns:a16="http://schemas.microsoft.com/office/drawing/2014/main" id="{42E8A884-0D15-4F94-9678-85867BB81BC3}"/>
                </a:ext>
              </a:extLst>
            </p:cNvPr>
            <p:cNvSpPr/>
            <p:nvPr/>
          </p:nvSpPr>
          <p:spPr>
            <a:xfrm>
              <a:off x="9682164" y="1820768"/>
              <a:ext cx="333375" cy="257175"/>
            </a:xfrm>
            <a:custGeom>
              <a:avLst/>
              <a:gdLst>
                <a:gd name="connsiteX0" fmla="*/ 239944 w 333375"/>
                <a:gd name="connsiteY0" fmla="*/ 0 h 257175"/>
                <a:gd name="connsiteX1" fmla="*/ 93431 w 333375"/>
                <a:gd name="connsiteY1" fmla="*/ 0 h 257175"/>
                <a:gd name="connsiteX2" fmla="*/ 0 w 333375"/>
                <a:gd name="connsiteY2" fmla="*/ 93097 h 257175"/>
                <a:gd name="connsiteX3" fmla="*/ 0 w 333375"/>
                <a:gd name="connsiteY3" fmla="*/ 257175 h 257175"/>
                <a:gd name="connsiteX4" fmla="*/ 70075 w 333375"/>
                <a:gd name="connsiteY4" fmla="*/ 257175 h 257175"/>
                <a:gd name="connsiteX5" fmla="*/ 70075 w 333375"/>
                <a:gd name="connsiteY5" fmla="*/ 104737 h 257175"/>
                <a:gd name="connsiteX6" fmla="*/ 105108 w 333375"/>
                <a:gd name="connsiteY6" fmla="*/ 69818 h 257175"/>
                <a:gd name="connsiteX7" fmla="*/ 228267 w 333375"/>
                <a:gd name="connsiteY7" fmla="*/ 69818 h 257175"/>
                <a:gd name="connsiteX8" fmla="*/ 263300 w 333375"/>
                <a:gd name="connsiteY8" fmla="*/ 104737 h 257175"/>
                <a:gd name="connsiteX9" fmla="*/ 263300 w 333375"/>
                <a:gd name="connsiteY9" fmla="*/ 257175 h 257175"/>
                <a:gd name="connsiteX10" fmla="*/ 333375 w 333375"/>
                <a:gd name="connsiteY10" fmla="*/ 257175 h 257175"/>
                <a:gd name="connsiteX11" fmla="*/ 333375 w 333375"/>
                <a:gd name="connsiteY11" fmla="*/ 93097 h 257175"/>
                <a:gd name="connsiteX12" fmla="*/ 239944 w 333375"/>
                <a:gd name="connsiteY12"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75" h="257175">
                  <a:moveTo>
                    <a:pt x="239944" y="0"/>
                  </a:moveTo>
                  <a:lnTo>
                    <a:pt x="93431" y="0"/>
                  </a:lnTo>
                  <a:cubicBezTo>
                    <a:pt x="41824" y="0"/>
                    <a:pt x="0" y="41681"/>
                    <a:pt x="0" y="93097"/>
                  </a:cubicBezTo>
                  <a:lnTo>
                    <a:pt x="0" y="257175"/>
                  </a:lnTo>
                  <a:lnTo>
                    <a:pt x="70075" y="257175"/>
                  </a:lnTo>
                  <a:lnTo>
                    <a:pt x="70075" y="104737"/>
                  </a:lnTo>
                  <a:cubicBezTo>
                    <a:pt x="70075" y="85449"/>
                    <a:pt x="85753" y="69818"/>
                    <a:pt x="105108" y="69818"/>
                  </a:cubicBezTo>
                  <a:lnTo>
                    <a:pt x="228267" y="69818"/>
                  </a:lnTo>
                  <a:cubicBezTo>
                    <a:pt x="247622" y="69818"/>
                    <a:pt x="263300" y="85449"/>
                    <a:pt x="263300" y="104737"/>
                  </a:cubicBezTo>
                  <a:lnTo>
                    <a:pt x="263300" y="257175"/>
                  </a:lnTo>
                  <a:lnTo>
                    <a:pt x="333375" y="257175"/>
                  </a:lnTo>
                  <a:lnTo>
                    <a:pt x="333375" y="93097"/>
                  </a:lnTo>
                  <a:cubicBezTo>
                    <a:pt x="333375" y="41681"/>
                    <a:pt x="291541" y="0"/>
                    <a:pt x="239944"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25" name="Forme libre : forme 24">
              <a:extLst>
                <a:ext uri="{FF2B5EF4-FFF2-40B4-BE49-F238E27FC236}">
                  <a16:creationId xmlns:a16="http://schemas.microsoft.com/office/drawing/2014/main" id="{53F8969D-E22F-4ADE-B61C-7BB5187E9123}"/>
                </a:ext>
              </a:extLst>
            </p:cNvPr>
            <p:cNvSpPr/>
            <p:nvPr/>
          </p:nvSpPr>
          <p:spPr>
            <a:xfrm>
              <a:off x="9844089" y="1820768"/>
              <a:ext cx="171450" cy="257175"/>
            </a:xfrm>
            <a:custGeom>
              <a:avLst/>
              <a:gdLst>
                <a:gd name="connsiteX0" fmla="*/ 75352 w 171450"/>
                <a:gd name="connsiteY0" fmla="*/ 0 h 257175"/>
                <a:gd name="connsiteX1" fmla="*/ 0 w 171450"/>
                <a:gd name="connsiteY1" fmla="*/ 0 h 257175"/>
                <a:gd name="connsiteX2" fmla="*/ 0 w 171450"/>
                <a:gd name="connsiteY2" fmla="*/ 69818 h 257175"/>
                <a:gd name="connsiteX3" fmla="*/ 63341 w 171450"/>
                <a:gd name="connsiteY3" fmla="*/ 69818 h 257175"/>
                <a:gd name="connsiteX4" fmla="*/ 99374 w 171450"/>
                <a:gd name="connsiteY4" fmla="*/ 104737 h 257175"/>
                <a:gd name="connsiteX5" fmla="*/ 99374 w 171450"/>
                <a:gd name="connsiteY5" fmla="*/ 257175 h 257175"/>
                <a:gd name="connsiteX6" fmla="*/ 171450 w 171450"/>
                <a:gd name="connsiteY6" fmla="*/ 257175 h 257175"/>
                <a:gd name="connsiteX7" fmla="*/ 171450 w 171450"/>
                <a:gd name="connsiteY7" fmla="*/ 93097 h 257175"/>
                <a:gd name="connsiteX8" fmla="*/ 75352 w 171450"/>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75352" y="0"/>
                  </a:moveTo>
                  <a:lnTo>
                    <a:pt x="0" y="0"/>
                  </a:lnTo>
                  <a:lnTo>
                    <a:pt x="0" y="69818"/>
                  </a:lnTo>
                  <a:lnTo>
                    <a:pt x="63341" y="69818"/>
                  </a:lnTo>
                  <a:cubicBezTo>
                    <a:pt x="83239" y="69818"/>
                    <a:pt x="99374" y="85449"/>
                    <a:pt x="99374" y="104737"/>
                  </a:cubicBezTo>
                  <a:lnTo>
                    <a:pt x="99374" y="257175"/>
                  </a:lnTo>
                  <a:lnTo>
                    <a:pt x="171450" y="257175"/>
                  </a:lnTo>
                  <a:lnTo>
                    <a:pt x="171450" y="93097"/>
                  </a:lnTo>
                  <a:cubicBezTo>
                    <a:pt x="171450" y="41681"/>
                    <a:pt x="128426" y="0"/>
                    <a:pt x="75352"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26" name="Forme libre : forme 25">
              <a:extLst>
                <a:ext uri="{FF2B5EF4-FFF2-40B4-BE49-F238E27FC236}">
                  <a16:creationId xmlns:a16="http://schemas.microsoft.com/office/drawing/2014/main" id="{D52E9B69-2B2F-4931-8A7D-C71C74BAEF46}"/>
                </a:ext>
              </a:extLst>
            </p:cNvPr>
            <p:cNvSpPr/>
            <p:nvPr/>
          </p:nvSpPr>
          <p:spPr>
            <a:xfrm>
              <a:off x="9615489" y="2058893"/>
              <a:ext cx="457200" cy="361950"/>
            </a:xfrm>
            <a:custGeom>
              <a:avLst/>
              <a:gdLst>
                <a:gd name="connsiteX0" fmla="*/ 439617 w 457200"/>
                <a:gd name="connsiteY0" fmla="*/ 361950 h 361950"/>
                <a:gd name="connsiteX1" fmla="*/ 17583 w 457200"/>
                <a:gd name="connsiteY1" fmla="*/ 361950 h 361950"/>
                <a:gd name="connsiteX2" fmla="*/ 0 w 457200"/>
                <a:gd name="connsiteY2" fmla="*/ 344205 h 361950"/>
                <a:gd name="connsiteX3" fmla="*/ 0 w 457200"/>
                <a:gd name="connsiteY3" fmla="*/ 17745 h 361950"/>
                <a:gd name="connsiteX4" fmla="*/ 17583 w 457200"/>
                <a:gd name="connsiteY4" fmla="*/ 0 h 361950"/>
                <a:gd name="connsiteX5" fmla="*/ 439617 w 457200"/>
                <a:gd name="connsiteY5" fmla="*/ 0 h 361950"/>
                <a:gd name="connsiteX6" fmla="*/ 457200 w 457200"/>
                <a:gd name="connsiteY6" fmla="*/ 17745 h 361950"/>
                <a:gd name="connsiteX7" fmla="*/ 457200 w 457200"/>
                <a:gd name="connsiteY7" fmla="*/ 344205 h 361950"/>
                <a:gd name="connsiteX8" fmla="*/ 439617 w 457200"/>
                <a:gd name="connsiteY8" fmla="*/ 36195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61950">
                  <a:moveTo>
                    <a:pt x="439617" y="361950"/>
                  </a:moveTo>
                  <a:lnTo>
                    <a:pt x="17583" y="361950"/>
                  </a:lnTo>
                  <a:cubicBezTo>
                    <a:pt x="7868" y="361950"/>
                    <a:pt x="0" y="354006"/>
                    <a:pt x="0" y="344205"/>
                  </a:cubicBezTo>
                  <a:lnTo>
                    <a:pt x="0" y="17745"/>
                  </a:lnTo>
                  <a:cubicBezTo>
                    <a:pt x="0" y="7944"/>
                    <a:pt x="7868" y="0"/>
                    <a:pt x="17583" y="0"/>
                  </a:cubicBezTo>
                  <a:lnTo>
                    <a:pt x="439617" y="0"/>
                  </a:lnTo>
                  <a:cubicBezTo>
                    <a:pt x="449332" y="0"/>
                    <a:pt x="457200" y="7944"/>
                    <a:pt x="457200" y="17745"/>
                  </a:cubicBezTo>
                  <a:lnTo>
                    <a:pt x="457200" y="344205"/>
                  </a:lnTo>
                  <a:cubicBezTo>
                    <a:pt x="457200" y="354006"/>
                    <a:pt x="449332" y="361950"/>
                    <a:pt x="439617" y="36195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27" name="Forme libre : forme 26">
              <a:extLst>
                <a:ext uri="{FF2B5EF4-FFF2-40B4-BE49-F238E27FC236}">
                  <a16:creationId xmlns:a16="http://schemas.microsoft.com/office/drawing/2014/main" id="{F57F866F-DA47-4689-AF11-0BE9D4B756F4}"/>
                </a:ext>
              </a:extLst>
            </p:cNvPr>
            <p:cNvSpPr/>
            <p:nvPr/>
          </p:nvSpPr>
          <p:spPr>
            <a:xfrm>
              <a:off x="9844089" y="2058893"/>
              <a:ext cx="228600" cy="361950"/>
            </a:xfrm>
            <a:custGeom>
              <a:avLst/>
              <a:gdLst>
                <a:gd name="connsiteX0" fmla="*/ 211007 w 228600"/>
                <a:gd name="connsiteY0" fmla="*/ 0 h 361950"/>
                <a:gd name="connsiteX1" fmla="*/ 0 w 228600"/>
                <a:gd name="connsiteY1" fmla="*/ 0 h 361950"/>
                <a:gd name="connsiteX2" fmla="*/ 0 w 228600"/>
                <a:gd name="connsiteY2" fmla="*/ 361950 h 361950"/>
                <a:gd name="connsiteX3" fmla="*/ 211007 w 228600"/>
                <a:gd name="connsiteY3" fmla="*/ 361950 h 361950"/>
                <a:gd name="connsiteX4" fmla="*/ 228600 w 228600"/>
                <a:gd name="connsiteY4" fmla="*/ 344205 h 361950"/>
                <a:gd name="connsiteX5" fmla="*/ 228600 w 228600"/>
                <a:gd name="connsiteY5" fmla="*/ 17745 h 361950"/>
                <a:gd name="connsiteX6" fmla="*/ 211007 w 228600"/>
                <a:gd name="connsiteY6"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361950">
                  <a:moveTo>
                    <a:pt x="211007" y="0"/>
                  </a:moveTo>
                  <a:lnTo>
                    <a:pt x="0" y="0"/>
                  </a:lnTo>
                  <a:lnTo>
                    <a:pt x="0" y="361950"/>
                  </a:lnTo>
                  <a:lnTo>
                    <a:pt x="211007" y="361950"/>
                  </a:lnTo>
                  <a:cubicBezTo>
                    <a:pt x="220723" y="361950"/>
                    <a:pt x="228600" y="354006"/>
                    <a:pt x="228600" y="344205"/>
                  </a:cubicBezTo>
                  <a:lnTo>
                    <a:pt x="228600" y="17745"/>
                  </a:lnTo>
                  <a:cubicBezTo>
                    <a:pt x="228600" y="7944"/>
                    <a:pt x="220723" y="0"/>
                    <a:pt x="211007"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28" name="Forme libre : forme 27">
              <a:extLst>
                <a:ext uri="{FF2B5EF4-FFF2-40B4-BE49-F238E27FC236}">
                  <a16:creationId xmlns:a16="http://schemas.microsoft.com/office/drawing/2014/main" id="{294842C8-2050-4E37-B511-E431EABF3C8C}"/>
                </a:ext>
              </a:extLst>
            </p:cNvPr>
            <p:cNvSpPr/>
            <p:nvPr/>
          </p:nvSpPr>
          <p:spPr>
            <a:xfrm>
              <a:off x="9777414" y="2135093"/>
              <a:ext cx="142875" cy="209550"/>
            </a:xfrm>
            <a:custGeom>
              <a:avLst/>
              <a:gdLst>
                <a:gd name="connsiteX0" fmla="*/ 106289 w 142875"/>
                <a:gd name="connsiteY0" fmla="*/ 209550 h 209550"/>
                <a:gd name="connsiteX1" fmla="*/ 36595 w 142875"/>
                <a:gd name="connsiteY1" fmla="*/ 209550 h 209550"/>
                <a:gd name="connsiteX2" fmla="*/ 19164 w 142875"/>
                <a:gd name="connsiteY2" fmla="*/ 192491 h 209550"/>
                <a:gd name="connsiteX3" fmla="*/ 19164 w 142875"/>
                <a:gd name="connsiteY3" fmla="*/ 117605 h 209550"/>
                <a:gd name="connsiteX4" fmla="*/ 0 w 142875"/>
                <a:gd name="connsiteY4" fmla="*/ 69942 h 209550"/>
                <a:gd name="connsiteX5" fmla="*/ 71438 w 142875"/>
                <a:gd name="connsiteY5" fmla="*/ 0 h 209550"/>
                <a:gd name="connsiteX6" fmla="*/ 142875 w 142875"/>
                <a:gd name="connsiteY6" fmla="*/ 69942 h 209550"/>
                <a:gd name="connsiteX7" fmla="*/ 123711 w 142875"/>
                <a:gd name="connsiteY7" fmla="*/ 117605 h 209550"/>
                <a:gd name="connsiteX8" fmla="*/ 123711 w 142875"/>
                <a:gd name="connsiteY8" fmla="*/ 192491 h 209550"/>
                <a:gd name="connsiteX9" fmla="*/ 106289 w 142875"/>
                <a:gd name="connsiteY9" fmla="*/ 20955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209550">
                  <a:moveTo>
                    <a:pt x="106289" y="209550"/>
                  </a:moveTo>
                  <a:lnTo>
                    <a:pt x="36595" y="209550"/>
                  </a:lnTo>
                  <a:cubicBezTo>
                    <a:pt x="26965" y="209550"/>
                    <a:pt x="19164" y="201911"/>
                    <a:pt x="19164" y="192491"/>
                  </a:cubicBezTo>
                  <a:lnTo>
                    <a:pt x="19164" y="117605"/>
                  </a:lnTo>
                  <a:cubicBezTo>
                    <a:pt x="6906" y="104727"/>
                    <a:pt x="0" y="87763"/>
                    <a:pt x="0" y="69942"/>
                  </a:cubicBezTo>
                  <a:cubicBezTo>
                    <a:pt x="0" y="31375"/>
                    <a:pt x="32052" y="0"/>
                    <a:pt x="71438" y="0"/>
                  </a:cubicBezTo>
                  <a:cubicBezTo>
                    <a:pt x="110823" y="0"/>
                    <a:pt x="142875" y="31375"/>
                    <a:pt x="142875" y="69942"/>
                  </a:cubicBezTo>
                  <a:cubicBezTo>
                    <a:pt x="142875" y="87763"/>
                    <a:pt x="135969" y="104727"/>
                    <a:pt x="123711" y="117605"/>
                  </a:cubicBezTo>
                  <a:lnTo>
                    <a:pt x="123711" y="192491"/>
                  </a:lnTo>
                  <a:cubicBezTo>
                    <a:pt x="123711" y="201911"/>
                    <a:pt x="115910" y="209550"/>
                    <a:pt x="106289" y="20955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sp>
          <p:nvSpPr>
            <p:cNvPr id="29" name="Forme libre : forme 28">
              <a:extLst>
                <a:ext uri="{FF2B5EF4-FFF2-40B4-BE49-F238E27FC236}">
                  <a16:creationId xmlns:a16="http://schemas.microsoft.com/office/drawing/2014/main" id="{2619747C-DF6F-40BD-B7D7-A4565AE257CB}"/>
                </a:ext>
              </a:extLst>
            </p:cNvPr>
            <p:cNvSpPr/>
            <p:nvPr/>
          </p:nvSpPr>
          <p:spPr>
            <a:xfrm>
              <a:off x="9844089" y="2135093"/>
              <a:ext cx="76200" cy="209550"/>
            </a:xfrm>
            <a:custGeom>
              <a:avLst/>
              <a:gdLst>
                <a:gd name="connsiteX0" fmla="*/ 0 w 76200"/>
                <a:gd name="connsiteY0" fmla="*/ 0 h 209550"/>
                <a:gd name="connsiteX1" fmla="*/ 0 w 76200"/>
                <a:gd name="connsiteY1" fmla="*/ 209550 h 209550"/>
                <a:gd name="connsiteX2" fmla="*/ 37119 w 76200"/>
                <a:gd name="connsiteY2" fmla="*/ 209550 h 209550"/>
                <a:gd name="connsiteX3" fmla="*/ 55731 w 76200"/>
                <a:gd name="connsiteY3" fmla="*/ 192491 h 209550"/>
                <a:gd name="connsiteX4" fmla="*/ 55731 w 76200"/>
                <a:gd name="connsiteY4" fmla="*/ 117605 h 209550"/>
                <a:gd name="connsiteX5" fmla="*/ 76200 w 76200"/>
                <a:gd name="connsiteY5" fmla="*/ 69942 h 209550"/>
                <a:gd name="connsiteX6" fmla="*/ 0 w 76200"/>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09550">
                  <a:moveTo>
                    <a:pt x="0" y="0"/>
                  </a:moveTo>
                  <a:lnTo>
                    <a:pt x="0" y="209550"/>
                  </a:lnTo>
                  <a:lnTo>
                    <a:pt x="37119" y="209550"/>
                  </a:lnTo>
                  <a:cubicBezTo>
                    <a:pt x="47397" y="209550"/>
                    <a:pt x="55731" y="201911"/>
                    <a:pt x="55731" y="192491"/>
                  </a:cubicBezTo>
                  <a:lnTo>
                    <a:pt x="55731" y="117605"/>
                  </a:lnTo>
                  <a:cubicBezTo>
                    <a:pt x="68837" y="104718"/>
                    <a:pt x="76200" y="87763"/>
                    <a:pt x="76200" y="69942"/>
                  </a:cubicBezTo>
                  <a:cubicBezTo>
                    <a:pt x="76200" y="31404"/>
                    <a:pt x="42034" y="57"/>
                    <a:pt x="0" y="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grpSp>
    </p:spTree>
    <p:extLst>
      <p:ext uri="{BB962C8B-B14F-4D97-AF65-F5344CB8AC3E}">
        <p14:creationId xmlns:p14="http://schemas.microsoft.com/office/powerpoint/2010/main" val="265900712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Arrow Connector 41"/>
          <p:cNvCxnSpPr>
            <a:cxnSpLocks/>
          </p:cNvCxnSpPr>
          <p:nvPr/>
        </p:nvCxnSpPr>
        <p:spPr>
          <a:xfrm flipV="1">
            <a:off x="2578251" y="3977640"/>
            <a:ext cx="1246989" cy="370858"/>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a:lstStyle/>
          <a:p>
            <a:r>
              <a:rPr lang="en-GB"/>
              <a:t>Approach presentation – four steps/deliverables and description with logo</a:t>
            </a:r>
            <a:endParaRPr lang="en-GB" dirty="0"/>
          </a:p>
        </p:txBody>
      </p:sp>
      <p:sp>
        <p:nvSpPr>
          <p:cNvPr id="52" name="Rectangle 51"/>
          <p:cNvSpPr/>
          <p:nvPr/>
        </p:nvSpPr>
        <p:spPr>
          <a:xfrm>
            <a:off x="1419290" y="5386016"/>
            <a:ext cx="2350800"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sp>
        <p:nvSpPr>
          <p:cNvPr id="57" name="Rectangle 56"/>
          <p:cNvSpPr/>
          <p:nvPr/>
        </p:nvSpPr>
        <p:spPr>
          <a:xfrm>
            <a:off x="4184170" y="4657540"/>
            <a:ext cx="2350800"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sp>
        <p:nvSpPr>
          <p:cNvPr id="58" name="Rectangle 57"/>
          <p:cNvSpPr/>
          <p:nvPr/>
        </p:nvSpPr>
        <p:spPr>
          <a:xfrm>
            <a:off x="6866356" y="3897738"/>
            <a:ext cx="2350800"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sp>
        <p:nvSpPr>
          <p:cNvPr id="59" name="Rectangle 58"/>
          <p:cNvSpPr/>
          <p:nvPr/>
        </p:nvSpPr>
        <p:spPr>
          <a:xfrm>
            <a:off x="9470531" y="3085921"/>
            <a:ext cx="2301469"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endParaRPr lang="en-GB" dirty="0">
              <a:latin typeface="+mn-lt"/>
            </a:endParaRPr>
          </a:p>
        </p:txBody>
      </p:sp>
      <p:cxnSp>
        <p:nvCxnSpPr>
          <p:cNvPr id="66" name="Straight Arrow Connector 65"/>
          <p:cNvCxnSpPr>
            <a:cxnSpLocks/>
          </p:cNvCxnSpPr>
          <p:nvPr/>
        </p:nvCxnSpPr>
        <p:spPr>
          <a:xfrm flipV="1">
            <a:off x="4572199" y="3537427"/>
            <a:ext cx="578711" cy="186848"/>
          </a:xfrm>
          <a:prstGeom prst="straightConnector1">
            <a:avLst/>
          </a:prstGeom>
          <a:ln>
            <a:solidFill>
              <a:srgbClr val="000000">
                <a:alpha val="34000"/>
              </a:srgb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5" name="Oval 4"/>
          <p:cNvSpPr>
            <a:spLocks noChangeAspect="1"/>
          </p:cNvSpPr>
          <p:nvPr/>
        </p:nvSpPr>
        <p:spPr>
          <a:xfrm>
            <a:off x="1119995" y="3774369"/>
            <a:ext cx="1459962" cy="1459963"/>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1" name="Oval 60"/>
          <p:cNvSpPr/>
          <p:nvPr/>
        </p:nvSpPr>
        <p:spPr>
          <a:xfrm>
            <a:off x="1143335" y="3622685"/>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1</a:t>
            </a:r>
            <a:endParaRPr lang="en-GB" sz="1600" dirty="0">
              <a:solidFill>
                <a:schemeClr val="bg1"/>
              </a:solidFill>
            </a:endParaRPr>
          </a:p>
        </p:txBody>
      </p:sp>
      <p:sp>
        <p:nvSpPr>
          <p:cNvPr id="6" name="Oval 5"/>
          <p:cNvSpPr>
            <a:spLocks noChangeAspect="1"/>
          </p:cNvSpPr>
          <p:nvPr/>
        </p:nvSpPr>
        <p:spPr>
          <a:xfrm>
            <a:off x="3786344" y="3014545"/>
            <a:ext cx="1459962" cy="1459958"/>
          </a:xfrm>
          <a:prstGeom prst="ellipse">
            <a:avLst/>
          </a:pr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2" name="Oval 61"/>
          <p:cNvSpPr/>
          <p:nvPr/>
        </p:nvSpPr>
        <p:spPr>
          <a:xfrm>
            <a:off x="3908215" y="2827624"/>
            <a:ext cx="551911" cy="551911"/>
          </a:xfrm>
          <a:prstGeom prst="ellipse">
            <a:avLst/>
          </a:prstGeom>
          <a:solidFill>
            <a:schemeClr val="accent5"/>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2</a:t>
            </a:r>
            <a:endParaRPr lang="en-GB" sz="1600" dirty="0">
              <a:solidFill>
                <a:schemeClr val="bg1"/>
              </a:solidFill>
            </a:endParaRPr>
          </a:p>
        </p:txBody>
      </p:sp>
      <p:sp>
        <p:nvSpPr>
          <p:cNvPr id="7" name="Oval 6"/>
          <p:cNvSpPr>
            <a:spLocks noChangeAspect="1"/>
          </p:cNvSpPr>
          <p:nvPr/>
        </p:nvSpPr>
        <p:spPr>
          <a:xfrm>
            <a:off x="6452693" y="2219480"/>
            <a:ext cx="1459962" cy="1459962"/>
          </a:xfrm>
          <a:prstGeom prst="ellipse">
            <a:avLst/>
          </a:prstGeom>
          <a:solidFill>
            <a:schemeClr val="accent4"/>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3" name="Oval 62"/>
          <p:cNvSpPr/>
          <p:nvPr/>
        </p:nvSpPr>
        <p:spPr>
          <a:xfrm>
            <a:off x="6590401" y="2001184"/>
            <a:ext cx="551911" cy="551911"/>
          </a:xfrm>
          <a:prstGeom prst="ellipse">
            <a:avLst/>
          </a:prstGeom>
          <a:solidFill>
            <a:schemeClr val="accent4"/>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3</a:t>
            </a:r>
            <a:endParaRPr lang="en-GB" sz="1600" dirty="0">
              <a:solidFill>
                <a:schemeClr val="bg1"/>
              </a:solidFill>
            </a:endParaRPr>
          </a:p>
        </p:txBody>
      </p:sp>
      <p:sp>
        <p:nvSpPr>
          <p:cNvPr id="8" name="Oval 7"/>
          <p:cNvSpPr>
            <a:spLocks noChangeAspect="1"/>
          </p:cNvSpPr>
          <p:nvPr/>
        </p:nvSpPr>
        <p:spPr>
          <a:xfrm>
            <a:off x="9119043" y="1393043"/>
            <a:ext cx="1459962" cy="1459959"/>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4" name="Oval 63"/>
          <p:cNvSpPr/>
          <p:nvPr/>
        </p:nvSpPr>
        <p:spPr>
          <a:xfrm>
            <a:off x="9194576" y="1155387"/>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4</a:t>
            </a:r>
            <a:endParaRPr lang="en-GB" sz="1600" dirty="0">
              <a:solidFill>
                <a:schemeClr val="bg1"/>
              </a:solidFill>
            </a:endParaRPr>
          </a:p>
        </p:txBody>
      </p:sp>
      <p:cxnSp>
        <p:nvCxnSpPr>
          <p:cNvPr id="43" name="Straight Arrow Connector 41">
            <a:extLst>
              <a:ext uri="{FF2B5EF4-FFF2-40B4-BE49-F238E27FC236}">
                <a16:creationId xmlns:a16="http://schemas.microsoft.com/office/drawing/2014/main" id="{4D6725DF-6D6C-4B1C-9A5C-6CDF520663C8}"/>
              </a:ext>
            </a:extLst>
          </p:cNvPr>
          <p:cNvCxnSpPr>
            <a:cxnSpLocks/>
          </p:cNvCxnSpPr>
          <p:nvPr/>
        </p:nvCxnSpPr>
        <p:spPr>
          <a:xfrm flipV="1">
            <a:off x="5238783" y="3197582"/>
            <a:ext cx="1246989" cy="370858"/>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1">
            <a:extLst>
              <a:ext uri="{FF2B5EF4-FFF2-40B4-BE49-F238E27FC236}">
                <a16:creationId xmlns:a16="http://schemas.microsoft.com/office/drawing/2014/main" id="{13FE6D69-8BBB-4A94-A9BC-4AE36876E205}"/>
              </a:ext>
            </a:extLst>
          </p:cNvPr>
          <p:cNvCxnSpPr>
            <a:cxnSpLocks/>
          </p:cNvCxnSpPr>
          <p:nvPr/>
        </p:nvCxnSpPr>
        <p:spPr>
          <a:xfrm flipV="1">
            <a:off x="7930924" y="2400300"/>
            <a:ext cx="1246989" cy="370858"/>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pic>
        <p:nvPicPr>
          <p:cNvPr id="26" name="Graphique 25">
            <a:extLst>
              <a:ext uri="{FF2B5EF4-FFF2-40B4-BE49-F238E27FC236}">
                <a16:creationId xmlns:a16="http://schemas.microsoft.com/office/drawing/2014/main" id="{C437CA7E-3A95-47B9-BDC8-7BAB041C3F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05385" y="3480816"/>
            <a:ext cx="621880" cy="527417"/>
          </a:xfrm>
          <a:prstGeom prst="rect">
            <a:avLst/>
          </a:prstGeom>
        </p:spPr>
      </p:pic>
      <p:pic>
        <p:nvPicPr>
          <p:cNvPr id="27" name="Graphique 26">
            <a:extLst>
              <a:ext uri="{FF2B5EF4-FFF2-40B4-BE49-F238E27FC236}">
                <a16:creationId xmlns:a16="http://schemas.microsoft.com/office/drawing/2014/main" id="{51E983EC-7383-40B0-AAE1-1EC82FBBEC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8514" y="4232888"/>
            <a:ext cx="542925" cy="542925"/>
          </a:xfrm>
          <a:prstGeom prst="rect">
            <a:avLst/>
          </a:prstGeom>
        </p:spPr>
      </p:pic>
      <p:grpSp>
        <p:nvGrpSpPr>
          <p:cNvPr id="28" name="Groupe 27">
            <a:extLst>
              <a:ext uri="{FF2B5EF4-FFF2-40B4-BE49-F238E27FC236}">
                <a16:creationId xmlns:a16="http://schemas.microsoft.com/office/drawing/2014/main" id="{67116370-7629-4C28-8280-F35659CB88A6}"/>
              </a:ext>
            </a:extLst>
          </p:cNvPr>
          <p:cNvGrpSpPr/>
          <p:nvPr/>
        </p:nvGrpSpPr>
        <p:grpSpPr>
          <a:xfrm>
            <a:off x="6957718" y="2649423"/>
            <a:ext cx="457200" cy="600075"/>
            <a:chOff x="9615489" y="1820768"/>
            <a:chExt cx="457200" cy="600075"/>
          </a:xfrm>
        </p:grpSpPr>
        <p:sp>
          <p:nvSpPr>
            <p:cNvPr id="29" name="Forme libre : forme 28">
              <a:extLst>
                <a:ext uri="{FF2B5EF4-FFF2-40B4-BE49-F238E27FC236}">
                  <a16:creationId xmlns:a16="http://schemas.microsoft.com/office/drawing/2014/main" id="{48A83280-A8AB-4AA2-A410-9D3E510823CD}"/>
                </a:ext>
              </a:extLst>
            </p:cNvPr>
            <p:cNvSpPr/>
            <p:nvPr/>
          </p:nvSpPr>
          <p:spPr>
            <a:xfrm>
              <a:off x="9682164" y="1820768"/>
              <a:ext cx="333375" cy="257175"/>
            </a:xfrm>
            <a:custGeom>
              <a:avLst/>
              <a:gdLst>
                <a:gd name="connsiteX0" fmla="*/ 239944 w 333375"/>
                <a:gd name="connsiteY0" fmla="*/ 0 h 257175"/>
                <a:gd name="connsiteX1" fmla="*/ 93431 w 333375"/>
                <a:gd name="connsiteY1" fmla="*/ 0 h 257175"/>
                <a:gd name="connsiteX2" fmla="*/ 0 w 333375"/>
                <a:gd name="connsiteY2" fmla="*/ 93097 h 257175"/>
                <a:gd name="connsiteX3" fmla="*/ 0 w 333375"/>
                <a:gd name="connsiteY3" fmla="*/ 257175 h 257175"/>
                <a:gd name="connsiteX4" fmla="*/ 70075 w 333375"/>
                <a:gd name="connsiteY4" fmla="*/ 257175 h 257175"/>
                <a:gd name="connsiteX5" fmla="*/ 70075 w 333375"/>
                <a:gd name="connsiteY5" fmla="*/ 104737 h 257175"/>
                <a:gd name="connsiteX6" fmla="*/ 105108 w 333375"/>
                <a:gd name="connsiteY6" fmla="*/ 69818 h 257175"/>
                <a:gd name="connsiteX7" fmla="*/ 228267 w 333375"/>
                <a:gd name="connsiteY7" fmla="*/ 69818 h 257175"/>
                <a:gd name="connsiteX8" fmla="*/ 263300 w 333375"/>
                <a:gd name="connsiteY8" fmla="*/ 104737 h 257175"/>
                <a:gd name="connsiteX9" fmla="*/ 263300 w 333375"/>
                <a:gd name="connsiteY9" fmla="*/ 257175 h 257175"/>
                <a:gd name="connsiteX10" fmla="*/ 333375 w 333375"/>
                <a:gd name="connsiteY10" fmla="*/ 257175 h 257175"/>
                <a:gd name="connsiteX11" fmla="*/ 333375 w 333375"/>
                <a:gd name="connsiteY11" fmla="*/ 93097 h 257175"/>
                <a:gd name="connsiteX12" fmla="*/ 239944 w 333375"/>
                <a:gd name="connsiteY12"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75" h="257175">
                  <a:moveTo>
                    <a:pt x="239944" y="0"/>
                  </a:moveTo>
                  <a:lnTo>
                    <a:pt x="93431" y="0"/>
                  </a:lnTo>
                  <a:cubicBezTo>
                    <a:pt x="41824" y="0"/>
                    <a:pt x="0" y="41681"/>
                    <a:pt x="0" y="93097"/>
                  </a:cubicBezTo>
                  <a:lnTo>
                    <a:pt x="0" y="257175"/>
                  </a:lnTo>
                  <a:lnTo>
                    <a:pt x="70075" y="257175"/>
                  </a:lnTo>
                  <a:lnTo>
                    <a:pt x="70075" y="104737"/>
                  </a:lnTo>
                  <a:cubicBezTo>
                    <a:pt x="70075" y="85449"/>
                    <a:pt x="85753" y="69818"/>
                    <a:pt x="105108" y="69818"/>
                  </a:cubicBezTo>
                  <a:lnTo>
                    <a:pt x="228267" y="69818"/>
                  </a:lnTo>
                  <a:cubicBezTo>
                    <a:pt x="247622" y="69818"/>
                    <a:pt x="263300" y="85449"/>
                    <a:pt x="263300" y="104737"/>
                  </a:cubicBezTo>
                  <a:lnTo>
                    <a:pt x="263300" y="257175"/>
                  </a:lnTo>
                  <a:lnTo>
                    <a:pt x="333375" y="257175"/>
                  </a:lnTo>
                  <a:lnTo>
                    <a:pt x="333375" y="93097"/>
                  </a:lnTo>
                  <a:cubicBezTo>
                    <a:pt x="333375" y="41681"/>
                    <a:pt x="291541" y="0"/>
                    <a:pt x="239944"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0" name="Forme libre : forme 29">
              <a:extLst>
                <a:ext uri="{FF2B5EF4-FFF2-40B4-BE49-F238E27FC236}">
                  <a16:creationId xmlns:a16="http://schemas.microsoft.com/office/drawing/2014/main" id="{79934955-707D-4D6D-8200-07F9B5C5FC39}"/>
                </a:ext>
              </a:extLst>
            </p:cNvPr>
            <p:cNvSpPr/>
            <p:nvPr/>
          </p:nvSpPr>
          <p:spPr>
            <a:xfrm>
              <a:off x="9844089" y="1820768"/>
              <a:ext cx="171450" cy="257175"/>
            </a:xfrm>
            <a:custGeom>
              <a:avLst/>
              <a:gdLst>
                <a:gd name="connsiteX0" fmla="*/ 75352 w 171450"/>
                <a:gd name="connsiteY0" fmla="*/ 0 h 257175"/>
                <a:gd name="connsiteX1" fmla="*/ 0 w 171450"/>
                <a:gd name="connsiteY1" fmla="*/ 0 h 257175"/>
                <a:gd name="connsiteX2" fmla="*/ 0 w 171450"/>
                <a:gd name="connsiteY2" fmla="*/ 69818 h 257175"/>
                <a:gd name="connsiteX3" fmla="*/ 63341 w 171450"/>
                <a:gd name="connsiteY3" fmla="*/ 69818 h 257175"/>
                <a:gd name="connsiteX4" fmla="*/ 99374 w 171450"/>
                <a:gd name="connsiteY4" fmla="*/ 104737 h 257175"/>
                <a:gd name="connsiteX5" fmla="*/ 99374 w 171450"/>
                <a:gd name="connsiteY5" fmla="*/ 257175 h 257175"/>
                <a:gd name="connsiteX6" fmla="*/ 171450 w 171450"/>
                <a:gd name="connsiteY6" fmla="*/ 257175 h 257175"/>
                <a:gd name="connsiteX7" fmla="*/ 171450 w 171450"/>
                <a:gd name="connsiteY7" fmla="*/ 93097 h 257175"/>
                <a:gd name="connsiteX8" fmla="*/ 75352 w 171450"/>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75352" y="0"/>
                  </a:moveTo>
                  <a:lnTo>
                    <a:pt x="0" y="0"/>
                  </a:lnTo>
                  <a:lnTo>
                    <a:pt x="0" y="69818"/>
                  </a:lnTo>
                  <a:lnTo>
                    <a:pt x="63341" y="69818"/>
                  </a:lnTo>
                  <a:cubicBezTo>
                    <a:pt x="83239" y="69818"/>
                    <a:pt x="99374" y="85449"/>
                    <a:pt x="99374" y="104737"/>
                  </a:cubicBezTo>
                  <a:lnTo>
                    <a:pt x="99374" y="257175"/>
                  </a:lnTo>
                  <a:lnTo>
                    <a:pt x="171450" y="257175"/>
                  </a:lnTo>
                  <a:lnTo>
                    <a:pt x="171450" y="93097"/>
                  </a:lnTo>
                  <a:cubicBezTo>
                    <a:pt x="171450" y="41681"/>
                    <a:pt x="128426" y="0"/>
                    <a:pt x="75352"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1" name="Forme libre : forme 30">
              <a:extLst>
                <a:ext uri="{FF2B5EF4-FFF2-40B4-BE49-F238E27FC236}">
                  <a16:creationId xmlns:a16="http://schemas.microsoft.com/office/drawing/2014/main" id="{9B7F43BC-15F8-4813-8F65-13CA2CE76E02}"/>
                </a:ext>
              </a:extLst>
            </p:cNvPr>
            <p:cNvSpPr/>
            <p:nvPr/>
          </p:nvSpPr>
          <p:spPr>
            <a:xfrm>
              <a:off x="9615489" y="2058893"/>
              <a:ext cx="457200" cy="361950"/>
            </a:xfrm>
            <a:custGeom>
              <a:avLst/>
              <a:gdLst>
                <a:gd name="connsiteX0" fmla="*/ 439617 w 457200"/>
                <a:gd name="connsiteY0" fmla="*/ 361950 h 361950"/>
                <a:gd name="connsiteX1" fmla="*/ 17583 w 457200"/>
                <a:gd name="connsiteY1" fmla="*/ 361950 h 361950"/>
                <a:gd name="connsiteX2" fmla="*/ 0 w 457200"/>
                <a:gd name="connsiteY2" fmla="*/ 344205 h 361950"/>
                <a:gd name="connsiteX3" fmla="*/ 0 w 457200"/>
                <a:gd name="connsiteY3" fmla="*/ 17745 h 361950"/>
                <a:gd name="connsiteX4" fmla="*/ 17583 w 457200"/>
                <a:gd name="connsiteY4" fmla="*/ 0 h 361950"/>
                <a:gd name="connsiteX5" fmla="*/ 439617 w 457200"/>
                <a:gd name="connsiteY5" fmla="*/ 0 h 361950"/>
                <a:gd name="connsiteX6" fmla="*/ 457200 w 457200"/>
                <a:gd name="connsiteY6" fmla="*/ 17745 h 361950"/>
                <a:gd name="connsiteX7" fmla="*/ 457200 w 457200"/>
                <a:gd name="connsiteY7" fmla="*/ 344205 h 361950"/>
                <a:gd name="connsiteX8" fmla="*/ 439617 w 457200"/>
                <a:gd name="connsiteY8" fmla="*/ 36195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61950">
                  <a:moveTo>
                    <a:pt x="439617" y="361950"/>
                  </a:moveTo>
                  <a:lnTo>
                    <a:pt x="17583" y="361950"/>
                  </a:lnTo>
                  <a:cubicBezTo>
                    <a:pt x="7868" y="361950"/>
                    <a:pt x="0" y="354006"/>
                    <a:pt x="0" y="344205"/>
                  </a:cubicBezTo>
                  <a:lnTo>
                    <a:pt x="0" y="17745"/>
                  </a:lnTo>
                  <a:cubicBezTo>
                    <a:pt x="0" y="7944"/>
                    <a:pt x="7868" y="0"/>
                    <a:pt x="17583" y="0"/>
                  </a:cubicBezTo>
                  <a:lnTo>
                    <a:pt x="439617" y="0"/>
                  </a:lnTo>
                  <a:cubicBezTo>
                    <a:pt x="449332" y="0"/>
                    <a:pt x="457200" y="7944"/>
                    <a:pt x="457200" y="17745"/>
                  </a:cubicBezTo>
                  <a:lnTo>
                    <a:pt x="457200" y="344205"/>
                  </a:lnTo>
                  <a:cubicBezTo>
                    <a:pt x="457200" y="354006"/>
                    <a:pt x="449332" y="361950"/>
                    <a:pt x="439617" y="36195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2" name="Forme libre : forme 31">
              <a:extLst>
                <a:ext uri="{FF2B5EF4-FFF2-40B4-BE49-F238E27FC236}">
                  <a16:creationId xmlns:a16="http://schemas.microsoft.com/office/drawing/2014/main" id="{6A0A0855-4308-46AA-BAF7-439C6F969BB5}"/>
                </a:ext>
              </a:extLst>
            </p:cNvPr>
            <p:cNvSpPr/>
            <p:nvPr/>
          </p:nvSpPr>
          <p:spPr>
            <a:xfrm>
              <a:off x="9844089" y="2058893"/>
              <a:ext cx="228600" cy="361950"/>
            </a:xfrm>
            <a:custGeom>
              <a:avLst/>
              <a:gdLst>
                <a:gd name="connsiteX0" fmla="*/ 211007 w 228600"/>
                <a:gd name="connsiteY0" fmla="*/ 0 h 361950"/>
                <a:gd name="connsiteX1" fmla="*/ 0 w 228600"/>
                <a:gd name="connsiteY1" fmla="*/ 0 h 361950"/>
                <a:gd name="connsiteX2" fmla="*/ 0 w 228600"/>
                <a:gd name="connsiteY2" fmla="*/ 361950 h 361950"/>
                <a:gd name="connsiteX3" fmla="*/ 211007 w 228600"/>
                <a:gd name="connsiteY3" fmla="*/ 361950 h 361950"/>
                <a:gd name="connsiteX4" fmla="*/ 228600 w 228600"/>
                <a:gd name="connsiteY4" fmla="*/ 344205 h 361950"/>
                <a:gd name="connsiteX5" fmla="*/ 228600 w 228600"/>
                <a:gd name="connsiteY5" fmla="*/ 17745 h 361950"/>
                <a:gd name="connsiteX6" fmla="*/ 211007 w 228600"/>
                <a:gd name="connsiteY6"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361950">
                  <a:moveTo>
                    <a:pt x="211007" y="0"/>
                  </a:moveTo>
                  <a:lnTo>
                    <a:pt x="0" y="0"/>
                  </a:lnTo>
                  <a:lnTo>
                    <a:pt x="0" y="361950"/>
                  </a:lnTo>
                  <a:lnTo>
                    <a:pt x="211007" y="361950"/>
                  </a:lnTo>
                  <a:cubicBezTo>
                    <a:pt x="220723" y="361950"/>
                    <a:pt x="228600" y="354006"/>
                    <a:pt x="228600" y="344205"/>
                  </a:cubicBezTo>
                  <a:lnTo>
                    <a:pt x="228600" y="17745"/>
                  </a:lnTo>
                  <a:cubicBezTo>
                    <a:pt x="228600" y="7944"/>
                    <a:pt x="220723" y="0"/>
                    <a:pt x="211007"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3" name="Forme libre : forme 32">
              <a:extLst>
                <a:ext uri="{FF2B5EF4-FFF2-40B4-BE49-F238E27FC236}">
                  <a16:creationId xmlns:a16="http://schemas.microsoft.com/office/drawing/2014/main" id="{8D173F92-B98B-4221-B7DE-8B3C7BF2EBE5}"/>
                </a:ext>
              </a:extLst>
            </p:cNvPr>
            <p:cNvSpPr/>
            <p:nvPr/>
          </p:nvSpPr>
          <p:spPr>
            <a:xfrm>
              <a:off x="9777414" y="2135093"/>
              <a:ext cx="142875" cy="209550"/>
            </a:xfrm>
            <a:custGeom>
              <a:avLst/>
              <a:gdLst>
                <a:gd name="connsiteX0" fmla="*/ 106289 w 142875"/>
                <a:gd name="connsiteY0" fmla="*/ 209550 h 209550"/>
                <a:gd name="connsiteX1" fmla="*/ 36595 w 142875"/>
                <a:gd name="connsiteY1" fmla="*/ 209550 h 209550"/>
                <a:gd name="connsiteX2" fmla="*/ 19164 w 142875"/>
                <a:gd name="connsiteY2" fmla="*/ 192491 h 209550"/>
                <a:gd name="connsiteX3" fmla="*/ 19164 w 142875"/>
                <a:gd name="connsiteY3" fmla="*/ 117605 h 209550"/>
                <a:gd name="connsiteX4" fmla="*/ 0 w 142875"/>
                <a:gd name="connsiteY4" fmla="*/ 69942 h 209550"/>
                <a:gd name="connsiteX5" fmla="*/ 71438 w 142875"/>
                <a:gd name="connsiteY5" fmla="*/ 0 h 209550"/>
                <a:gd name="connsiteX6" fmla="*/ 142875 w 142875"/>
                <a:gd name="connsiteY6" fmla="*/ 69942 h 209550"/>
                <a:gd name="connsiteX7" fmla="*/ 123711 w 142875"/>
                <a:gd name="connsiteY7" fmla="*/ 117605 h 209550"/>
                <a:gd name="connsiteX8" fmla="*/ 123711 w 142875"/>
                <a:gd name="connsiteY8" fmla="*/ 192491 h 209550"/>
                <a:gd name="connsiteX9" fmla="*/ 106289 w 142875"/>
                <a:gd name="connsiteY9" fmla="*/ 20955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209550">
                  <a:moveTo>
                    <a:pt x="106289" y="209550"/>
                  </a:moveTo>
                  <a:lnTo>
                    <a:pt x="36595" y="209550"/>
                  </a:lnTo>
                  <a:cubicBezTo>
                    <a:pt x="26965" y="209550"/>
                    <a:pt x="19164" y="201911"/>
                    <a:pt x="19164" y="192491"/>
                  </a:cubicBezTo>
                  <a:lnTo>
                    <a:pt x="19164" y="117605"/>
                  </a:lnTo>
                  <a:cubicBezTo>
                    <a:pt x="6906" y="104727"/>
                    <a:pt x="0" y="87763"/>
                    <a:pt x="0" y="69942"/>
                  </a:cubicBezTo>
                  <a:cubicBezTo>
                    <a:pt x="0" y="31375"/>
                    <a:pt x="32052" y="0"/>
                    <a:pt x="71438" y="0"/>
                  </a:cubicBezTo>
                  <a:cubicBezTo>
                    <a:pt x="110823" y="0"/>
                    <a:pt x="142875" y="31375"/>
                    <a:pt x="142875" y="69942"/>
                  </a:cubicBezTo>
                  <a:cubicBezTo>
                    <a:pt x="142875" y="87763"/>
                    <a:pt x="135969" y="104727"/>
                    <a:pt x="123711" y="117605"/>
                  </a:cubicBezTo>
                  <a:lnTo>
                    <a:pt x="123711" y="192491"/>
                  </a:lnTo>
                  <a:cubicBezTo>
                    <a:pt x="123711" y="201911"/>
                    <a:pt x="115910" y="209550"/>
                    <a:pt x="106289" y="20955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sp>
          <p:nvSpPr>
            <p:cNvPr id="34" name="Forme libre : forme 33">
              <a:extLst>
                <a:ext uri="{FF2B5EF4-FFF2-40B4-BE49-F238E27FC236}">
                  <a16:creationId xmlns:a16="http://schemas.microsoft.com/office/drawing/2014/main" id="{F86C35A9-DAAB-4153-9956-CD7027F23BD5}"/>
                </a:ext>
              </a:extLst>
            </p:cNvPr>
            <p:cNvSpPr/>
            <p:nvPr/>
          </p:nvSpPr>
          <p:spPr>
            <a:xfrm>
              <a:off x="9844089" y="2135093"/>
              <a:ext cx="76200" cy="209550"/>
            </a:xfrm>
            <a:custGeom>
              <a:avLst/>
              <a:gdLst>
                <a:gd name="connsiteX0" fmla="*/ 0 w 76200"/>
                <a:gd name="connsiteY0" fmla="*/ 0 h 209550"/>
                <a:gd name="connsiteX1" fmla="*/ 0 w 76200"/>
                <a:gd name="connsiteY1" fmla="*/ 209550 h 209550"/>
                <a:gd name="connsiteX2" fmla="*/ 37119 w 76200"/>
                <a:gd name="connsiteY2" fmla="*/ 209550 h 209550"/>
                <a:gd name="connsiteX3" fmla="*/ 55731 w 76200"/>
                <a:gd name="connsiteY3" fmla="*/ 192491 h 209550"/>
                <a:gd name="connsiteX4" fmla="*/ 55731 w 76200"/>
                <a:gd name="connsiteY4" fmla="*/ 117605 h 209550"/>
                <a:gd name="connsiteX5" fmla="*/ 76200 w 76200"/>
                <a:gd name="connsiteY5" fmla="*/ 69942 h 209550"/>
                <a:gd name="connsiteX6" fmla="*/ 0 w 76200"/>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09550">
                  <a:moveTo>
                    <a:pt x="0" y="0"/>
                  </a:moveTo>
                  <a:lnTo>
                    <a:pt x="0" y="209550"/>
                  </a:lnTo>
                  <a:lnTo>
                    <a:pt x="37119" y="209550"/>
                  </a:lnTo>
                  <a:cubicBezTo>
                    <a:pt x="47397" y="209550"/>
                    <a:pt x="55731" y="201911"/>
                    <a:pt x="55731" y="192491"/>
                  </a:cubicBezTo>
                  <a:lnTo>
                    <a:pt x="55731" y="117605"/>
                  </a:lnTo>
                  <a:cubicBezTo>
                    <a:pt x="68837" y="104718"/>
                    <a:pt x="76200" y="87763"/>
                    <a:pt x="76200" y="69942"/>
                  </a:cubicBezTo>
                  <a:cubicBezTo>
                    <a:pt x="76200" y="31404"/>
                    <a:pt x="42034" y="57"/>
                    <a:pt x="0" y="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grpSp>
      <p:pic>
        <p:nvPicPr>
          <p:cNvPr id="15" name="Graphique 14">
            <a:extLst>
              <a:ext uri="{FF2B5EF4-FFF2-40B4-BE49-F238E27FC236}">
                <a16:creationId xmlns:a16="http://schemas.microsoft.com/office/drawing/2014/main" id="{6AE1DA3F-3291-4CDB-923B-6DD52FC3B0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55130" y="1834891"/>
            <a:ext cx="587788" cy="576263"/>
          </a:xfrm>
          <a:prstGeom prst="rect">
            <a:avLst/>
          </a:prstGeom>
        </p:spPr>
      </p:pic>
    </p:spTree>
    <p:extLst>
      <p:ext uri="{BB962C8B-B14F-4D97-AF65-F5344CB8AC3E}">
        <p14:creationId xmlns:p14="http://schemas.microsoft.com/office/powerpoint/2010/main" val="206094375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Arrow Connector 41"/>
          <p:cNvCxnSpPr>
            <a:cxnSpLocks/>
          </p:cNvCxnSpPr>
          <p:nvPr/>
        </p:nvCxnSpPr>
        <p:spPr>
          <a:xfrm flipV="1">
            <a:off x="2436205" y="3086877"/>
            <a:ext cx="1246989" cy="0"/>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a:lstStyle/>
          <a:p>
            <a:r>
              <a:rPr lang="en-GB" dirty="0"/>
              <a:t>Approach presentation – four steps/deliverables and description with logo</a:t>
            </a:r>
          </a:p>
        </p:txBody>
      </p:sp>
      <p:sp>
        <p:nvSpPr>
          <p:cNvPr id="52" name="Rectangle 51"/>
          <p:cNvSpPr/>
          <p:nvPr/>
        </p:nvSpPr>
        <p:spPr>
          <a:xfrm>
            <a:off x="432424" y="4006871"/>
            <a:ext cx="2180119"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libero</a:t>
            </a:r>
          </a:p>
        </p:txBody>
      </p:sp>
      <p:sp>
        <p:nvSpPr>
          <p:cNvPr id="57" name="Rectangle 56"/>
          <p:cNvSpPr/>
          <p:nvPr/>
        </p:nvSpPr>
        <p:spPr>
          <a:xfrm>
            <a:off x="3454757" y="4006871"/>
            <a:ext cx="2180119"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libero</a:t>
            </a:r>
          </a:p>
        </p:txBody>
      </p:sp>
      <p:sp>
        <p:nvSpPr>
          <p:cNvPr id="58" name="Rectangle 57"/>
          <p:cNvSpPr/>
          <p:nvPr/>
        </p:nvSpPr>
        <p:spPr>
          <a:xfrm>
            <a:off x="6474294" y="4006871"/>
            <a:ext cx="2180119"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libero</a:t>
            </a:r>
          </a:p>
        </p:txBody>
      </p:sp>
      <p:sp>
        <p:nvSpPr>
          <p:cNvPr id="59" name="Rectangle 58"/>
          <p:cNvSpPr/>
          <p:nvPr/>
        </p:nvSpPr>
        <p:spPr>
          <a:xfrm>
            <a:off x="9637763" y="4006871"/>
            <a:ext cx="2121814" cy="1088675"/>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 </a:t>
            </a:r>
            <a:r>
              <a:rPr lang="en-GB" dirty="0" err="1">
                <a:latin typeface="+mn-lt"/>
              </a:rPr>
              <a:t>ultricies</a:t>
            </a:r>
            <a:r>
              <a:rPr lang="en-GB" dirty="0">
                <a:latin typeface="+mn-lt"/>
              </a:rPr>
              <a:t>, </a:t>
            </a:r>
            <a:r>
              <a:rPr lang="en-GB" dirty="0" err="1">
                <a:latin typeface="+mn-lt"/>
              </a:rPr>
              <a:t>purus</a:t>
            </a:r>
            <a:r>
              <a:rPr lang="en-GB" dirty="0">
                <a:latin typeface="+mn-lt"/>
              </a:rPr>
              <a:t> </a:t>
            </a:r>
            <a:r>
              <a:rPr lang="en-GB" dirty="0" err="1">
                <a:latin typeface="+mn-lt"/>
              </a:rPr>
              <a:t>lectus</a:t>
            </a:r>
            <a:r>
              <a:rPr lang="en-GB" dirty="0">
                <a:latin typeface="+mn-lt"/>
              </a:rPr>
              <a:t> libero</a:t>
            </a:r>
          </a:p>
        </p:txBody>
      </p:sp>
      <p:cxnSp>
        <p:nvCxnSpPr>
          <p:cNvPr id="66" name="Straight Arrow Connector 65"/>
          <p:cNvCxnSpPr>
            <a:cxnSpLocks/>
          </p:cNvCxnSpPr>
          <p:nvPr/>
        </p:nvCxnSpPr>
        <p:spPr>
          <a:xfrm flipV="1">
            <a:off x="4598829" y="2871602"/>
            <a:ext cx="578711" cy="186848"/>
          </a:xfrm>
          <a:prstGeom prst="straightConnector1">
            <a:avLst/>
          </a:prstGeom>
          <a:ln>
            <a:solidFill>
              <a:srgbClr val="000000">
                <a:alpha val="34000"/>
              </a:srgb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5" name="Oval 4"/>
          <p:cNvSpPr>
            <a:spLocks noChangeAspect="1"/>
          </p:cNvSpPr>
          <p:nvPr/>
        </p:nvSpPr>
        <p:spPr>
          <a:xfrm>
            <a:off x="782641" y="2361764"/>
            <a:ext cx="1459962" cy="1459963"/>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1" name="Oval 60"/>
          <p:cNvSpPr/>
          <p:nvPr/>
        </p:nvSpPr>
        <p:spPr>
          <a:xfrm>
            <a:off x="805981" y="2167094"/>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1</a:t>
            </a:r>
            <a:endParaRPr lang="en-GB" sz="1600" dirty="0">
              <a:solidFill>
                <a:schemeClr val="bg1"/>
              </a:solidFill>
            </a:endParaRPr>
          </a:p>
        </p:txBody>
      </p:sp>
      <p:sp>
        <p:nvSpPr>
          <p:cNvPr id="6" name="Oval 5"/>
          <p:cNvSpPr>
            <a:spLocks noChangeAspect="1"/>
          </p:cNvSpPr>
          <p:nvPr/>
        </p:nvSpPr>
        <p:spPr>
          <a:xfrm>
            <a:off x="3812974" y="2361766"/>
            <a:ext cx="1459962" cy="1459958"/>
          </a:xfrm>
          <a:prstGeom prst="ellipse">
            <a:avLst/>
          </a:pr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2" name="Oval 61"/>
          <p:cNvSpPr/>
          <p:nvPr/>
        </p:nvSpPr>
        <p:spPr>
          <a:xfrm>
            <a:off x="3934845" y="2167094"/>
            <a:ext cx="551911" cy="551911"/>
          </a:xfrm>
          <a:prstGeom prst="ellipse">
            <a:avLst/>
          </a:prstGeom>
          <a:solidFill>
            <a:schemeClr val="accent5"/>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2</a:t>
            </a:r>
            <a:endParaRPr lang="en-GB" sz="1600" dirty="0">
              <a:solidFill>
                <a:schemeClr val="bg1"/>
              </a:solidFill>
            </a:endParaRPr>
          </a:p>
        </p:txBody>
      </p:sp>
      <p:sp>
        <p:nvSpPr>
          <p:cNvPr id="7" name="Oval 6"/>
          <p:cNvSpPr>
            <a:spLocks noChangeAspect="1"/>
          </p:cNvSpPr>
          <p:nvPr/>
        </p:nvSpPr>
        <p:spPr>
          <a:xfrm>
            <a:off x="6834430" y="2361764"/>
            <a:ext cx="1459962" cy="1459962"/>
          </a:xfrm>
          <a:prstGeom prst="ellipse">
            <a:avLst/>
          </a:prstGeom>
          <a:solidFill>
            <a:schemeClr val="accent4"/>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3" name="Oval 62"/>
          <p:cNvSpPr/>
          <p:nvPr/>
        </p:nvSpPr>
        <p:spPr>
          <a:xfrm>
            <a:off x="6972138" y="2167094"/>
            <a:ext cx="551911" cy="551911"/>
          </a:xfrm>
          <a:prstGeom prst="ellipse">
            <a:avLst/>
          </a:prstGeom>
          <a:solidFill>
            <a:schemeClr val="accent4"/>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3</a:t>
            </a:r>
            <a:endParaRPr lang="en-GB" sz="1600" dirty="0">
              <a:solidFill>
                <a:schemeClr val="bg1"/>
              </a:solidFill>
            </a:endParaRPr>
          </a:p>
        </p:txBody>
      </p:sp>
      <p:sp>
        <p:nvSpPr>
          <p:cNvPr id="8" name="Oval 7"/>
          <p:cNvSpPr>
            <a:spLocks noChangeAspect="1"/>
          </p:cNvSpPr>
          <p:nvPr/>
        </p:nvSpPr>
        <p:spPr>
          <a:xfrm>
            <a:off x="9731599" y="2361766"/>
            <a:ext cx="1459962" cy="1459959"/>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4" name="Oval 63"/>
          <p:cNvSpPr/>
          <p:nvPr/>
        </p:nvSpPr>
        <p:spPr>
          <a:xfrm>
            <a:off x="9807132" y="2167094"/>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4</a:t>
            </a:r>
            <a:endParaRPr lang="en-GB" sz="1600" dirty="0">
              <a:solidFill>
                <a:schemeClr val="bg1"/>
              </a:solidFill>
            </a:endParaRPr>
          </a:p>
        </p:txBody>
      </p:sp>
      <p:cxnSp>
        <p:nvCxnSpPr>
          <p:cNvPr id="43" name="Straight Arrow Connector 41">
            <a:extLst>
              <a:ext uri="{FF2B5EF4-FFF2-40B4-BE49-F238E27FC236}">
                <a16:creationId xmlns:a16="http://schemas.microsoft.com/office/drawing/2014/main" id="{4D6725DF-6D6C-4B1C-9A5C-6CDF520663C8}"/>
              </a:ext>
            </a:extLst>
          </p:cNvPr>
          <p:cNvCxnSpPr>
            <a:cxnSpLocks/>
          </p:cNvCxnSpPr>
          <p:nvPr/>
        </p:nvCxnSpPr>
        <p:spPr>
          <a:xfrm flipV="1">
            <a:off x="5434089" y="3086877"/>
            <a:ext cx="1246989" cy="0"/>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1">
            <a:extLst>
              <a:ext uri="{FF2B5EF4-FFF2-40B4-BE49-F238E27FC236}">
                <a16:creationId xmlns:a16="http://schemas.microsoft.com/office/drawing/2014/main" id="{13FE6D69-8BBB-4A94-A9BC-4AE36876E205}"/>
              </a:ext>
            </a:extLst>
          </p:cNvPr>
          <p:cNvCxnSpPr>
            <a:cxnSpLocks/>
          </p:cNvCxnSpPr>
          <p:nvPr/>
        </p:nvCxnSpPr>
        <p:spPr>
          <a:xfrm flipV="1">
            <a:off x="8392560" y="3086877"/>
            <a:ext cx="1246989" cy="0"/>
          </a:xfrm>
          <a:prstGeom prst="straightConnector1">
            <a:avLst/>
          </a:prstGeom>
          <a:ln>
            <a:solidFill>
              <a:schemeClr val="tx2">
                <a:lumMod val="2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pic>
        <p:nvPicPr>
          <p:cNvPr id="26" name="Graphique 25">
            <a:extLst>
              <a:ext uri="{FF2B5EF4-FFF2-40B4-BE49-F238E27FC236}">
                <a16:creationId xmlns:a16="http://schemas.microsoft.com/office/drawing/2014/main" id="{79F31507-FC2E-4C4C-83AA-7BFA7D66EC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32015" y="2828037"/>
            <a:ext cx="621880" cy="527417"/>
          </a:xfrm>
          <a:prstGeom prst="rect">
            <a:avLst/>
          </a:prstGeom>
        </p:spPr>
      </p:pic>
      <p:pic>
        <p:nvPicPr>
          <p:cNvPr id="27" name="Graphique 26">
            <a:extLst>
              <a:ext uri="{FF2B5EF4-FFF2-40B4-BE49-F238E27FC236}">
                <a16:creationId xmlns:a16="http://schemas.microsoft.com/office/drawing/2014/main" id="{936FC734-38C6-4F25-A642-045F0F3317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41160" y="2820283"/>
            <a:ext cx="542925" cy="542925"/>
          </a:xfrm>
          <a:prstGeom prst="rect">
            <a:avLst/>
          </a:prstGeom>
        </p:spPr>
      </p:pic>
      <p:grpSp>
        <p:nvGrpSpPr>
          <p:cNvPr id="28" name="Groupe 27">
            <a:extLst>
              <a:ext uri="{FF2B5EF4-FFF2-40B4-BE49-F238E27FC236}">
                <a16:creationId xmlns:a16="http://schemas.microsoft.com/office/drawing/2014/main" id="{8886152B-13AF-4130-B597-36BC4760226C}"/>
              </a:ext>
            </a:extLst>
          </p:cNvPr>
          <p:cNvGrpSpPr/>
          <p:nvPr/>
        </p:nvGrpSpPr>
        <p:grpSpPr>
          <a:xfrm>
            <a:off x="7335811" y="2791708"/>
            <a:ext cx="457200" cy="600075"/>
            <a:chOff x="9615489" y="1820768"/>
            <a:chExt cx="457200" cy="600075"/>
          </a:xfrm>
        </p:grpSpPr>
        <p:sp>
          <p:nvSpPr>
            <p:cNvPr id="29" name="Forme libre : forme 28">
              <a:extLst>
                <a:ext uri="{FF2B5EF4-FFF2-40B4-BE49-F238E27FC236}">
                  <a16:creationId xmlns:a16="http://schemas.microsoft.com/office/drawing/2014/main" id="{0B3AFAC8-71C9-493D-A16C-7BD75F71132B}"/>
                </a:ext>
              </a:extLst>
            </p:cNvPr>
            <p:cNvSpPr/>
            <p:nvPr/>
          </p:nvSpPr>
          <p:spPr>
            <a:xfrm>
              <a:off x="9682164" y="1820768"/>
              <a:ext cx="333375" cy="257175"/>
            </a:xfrm>
            <a:custGeom>
              <a:avLst/>
              <a:gdLst>
                <a:gd name="connsiteX0" fmla="*/ 239944 w 333375"/>
                <a:gd name="connsiteY0" fmla="*/ 0 h 257175"/>
                <a:gd name="connsiteX1" fmla="*/ 93431 w 333375"/>
                <a:gd name="connsiteY1" fmla="*/ 0 h 257175"/>
                <a:gd name="connsiteX2" fmla="*/ 0 w 333375"/>
                <a:gd name="connsiteY2" fmla="*/ 93097 h 257175"/>
                <a:gd name="connsiteX3" fmla="*/ 0 w 333375"/>
                <a:gd name="connsiteY3" fmla="*/ 257175 h 257175"/>
                <a:gd name="connsiteX4" fmla="*/ 70075 w 333375"/>
                <a:gd name="connsiteY4" fmla="*/ 257175 h 257175"/>
                <a:gd name="connsiteX5" fmla="*/ 70075 w 333375"/>
                <a:gd name="connsiteY5" fmla="*/ 104737 h 257175"/>
                <a:gd name="connsiteX6" fmla="*/ 105108 w 333375"/>
                <a:gd name="connsiteY6" fmla="*/ 69818 h 257175"/>
                <a:gd name="connsiteX7" fmla="*/ 228267 w 333375"/>
                <a:gd name="connsiteY7" fmla="*/ 69818 h 257175"/>
                <a:gd name="connsiteX8" fmla="*/ 263300 w 333375"/>
                <a:gd name="connsiteY8" fmla="*/ 104737 h 257175"/>
                <a:gd name="connsiteX9" fmla="*/ 263300 w 333375"/>
                <a:gd name="connsiteY9" fmla="*/ 257175 h 257175"/>
                <a:gd name="connsiteX10" fmla="*/ 333375 w 333375"/>
                <a:gd name="connsiteY10" fmla="*/ 257175 h 257175"/>
                <a:gd name="connsiteX11" fmla="*/ 333375 w 333375"/>
                <a:gd name="connsiteY11" fmla="*/ 93097 h 257175"/>
                <a:gd name="connsiteX12" fmla="*/ 239944 w 333375"/>
                <a:gd name="connsiteY12"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75" h="257175">
                  <a:moveTo>
                    <a:pt x="239944" y="0"/>
                  </a:moveTo>
                  <a:lnTo>
                    <a:pt x="93431" y="0"/>
                  </a:lnTo>
                  <a:cubicBezTo>
                    <a:pt x="41824" y="0"/>
                    <a:pt x="0" y="41681"/>
                    <a:pt x="0" y="93097"/>
                  </a:cubicBezTo>
                  <a:lnTo>
                    <a:pt x="0" y="257175"/>
                  </a:lnTo>
                  <a:lnTo>
                    <a:pt x="70075" y="257175"/>
                  </a:lnTo>
                  <a:lnTo>
                    <a:pt x="70075" y="104737"/>
                  </a:lnTo>
                  <a:cubicBezTo>
                    <a:pt x="70075" y="85449"/>
                    <a:pt x="85753" y="69818"/>
                    <a:pt x="105108" y="69818"/>
                  </a:cubicBezTo>
                  <a:lnTo>
                    <a:pt x="228267" y="69818"/>
                  </a:lnTo>
                  <a:cubicBezTo>
                    <a:pt x="247622" y="69818"/>
                    <a:pt x="263300" y="85449"/>
                    <a:pt x="263300" y="104737"/>
                  </a:cubicBezTo>
                  <a:lnTo>
                    <a:pt x="263300" y="257175"/>
                  </a:lnTo>
                  <a:lnTo>
                    <a:pt x="333375" y="257175"/>
                  </a:lnTo>
                  <a:lnTo>
                    <a:pt x="333375" y="93097"/>
                  </a:lnTo>
                  <a:cubicBezTo>
                    <a:pt x="333375" y="41681"/>
                    <a:pt x="291541" y="0"/>
                    <a:pt x="239944"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0" name="Forme libre : forme 29">
              <a:extLst>
                <a:ext uri="{FF2B5EF4-FFF2-40B4-BE49-F238E27FC236}">
                  <a16:creationId xmlns:a16="http://schemas.microsoft.com/office/drawing/2014/main" id="{7DFB0B39-450C-4212-9D8B-9B946961A8C7}"/>
                </a:ext>
              </a:extLst>
            </p:cNvPr>
            <p:cNvSpPr/>
            <p:nvPr/>
          </p:nvSpPr>
          <p:spPr>
            <a:xfrm>
              <a:off x="9844089" y="1820768"/>
              <a:ext cx="171450" cy="257175"/>
            </a:xfrm>
            <a:custGeom>
              <a:avLst/>
              <a:gdLst>
                <a:gd name="connsiteX0" fmla="*/ 75352 w 171450"/>
                <a:gd name="connsiteY0" fmla="*/ 0 h 257175"/>
                <a:gd name="connsiteX1" fmla="*/ 0 w 171450"/>
                <a:gd name="connsiteY1" fmla="*/ 0 h 257175"/>
                <a:gd name="connsiteX2" fmla="*/ 0 w 171450"/>
                <a:gd name="connsiteY2" fmla="*/ 69818 h 257175"/>
                <a:gd name="connsiteX3" fmla="*/ 63341 w 171450"/>
                <a:gd name="connsiteY3" fmla="*/ 69818 h 257175"/>
                <a:gd name="connsiteX4" fmla="*/ 99374 w 171450"/>
                <a:gd name="connsiteY4" fmla="*/ 104737 h 257175"/>
                <a:gd name="connsiteX5" fmla="*/ 99374 w 171450"/>
                <a:gd name="connsiteY5" fmla="*/ 257175 h 257175"/>
                <a:gd name="connsiteX6" fmla="*/ 171450 w 171450"/>
                <a:gd name="connsiteY6" fmla="*/ 257175 h 257175"/>
                <a:gd name="connsiteX7" fmla="*/ 171450 w 171450"/>
                <a:gd name="connsiteY7" fmla="*/ 93097 h 257175"/>
                <a:gd name="connsiteX8" fmla="*/ 75352 w 171450"/>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75352" y="0"/>
                  </a:moveTo>
                  <a:lnTo>
                    <a:pt x="0" y="0"/>
                  </a:lnTo>
                  <a:lnTo>
                    <a:pt x="0" y="69818"/>
                  </a:lnTo>
                  <a:lnTo>
                    <a:pt x="63341" y="69818"/>
                  </a:lnTo>
                  <a:cubicBezTo>
                    <a:pt x="83239" y="69818"/>
                    <a:pt x="99374" y="85449"/>
                    <a:pt x="99374" y="104737"/>
                  </a:cubicBezTo>
                  <a:lnTo>
                    <a:pt x="99374" y="257175"/>
                  </a:lnTo>
                  <a:lnTo>
                    <a:pt x="171450" y="257175"/>
                  </a:lnTo>
                  <a:lnTo>
                    <a:pt x="171450" y="93097"/>
                  </a:lnTo>
                  <a:cubicBezTo>
                    <a:pt x="171450" y="41681"/>
                    <a:pt x="128426" y="0"/>
                    <a:pt x="75352"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1" name="Forme libre : forme 30">
              <a:extLst>
                <a:ext uri="{FF2B5EF4-FFF2-40B4-BE49-F238E27FC236}">
                  <a16:creationId xmlns:a16="http://schemas.microsoft.com/office/drawing/2014/main" id="{672460D0-0655-4F28-88F0-A66619AB5E6E}"/>
                </a:ext>
              </a:extLst>
            </p:cNvPr>
            <p:cNvSpPr/>
            <p:nvPr/>
          </p:nvSpPr>
          <p:spPr>
            <a:xfrm>
              <a:off x="9615489" y="2058893"/>
              <a:ext cx="457200" cy="361950"/>
            </a:xfrm>
            <a:custGeom>
              <a:avLst/>
              <a:gdLst>
                <a:gd name="connsiteX0" fmla="*/ 439617 w 457200"/>
                <a:gd name="connsiteY0" fmla="*/ 361950 h 361950"/>
                <a:gd name="connsiteX1" fmla="*/ 17583 w 457200"/>
                <a:gd name="connsiteY1" fmla="*/ 361950 h 361950"/>
                <a:gd name="connsiteX2" fmla="*/ 0 w 457200"/>
                <a:gd name="connsiteY2" fmla="*/ 344205 h 361950"/>
                <a:gd name="connsiteX3" fmla="*/ 0 w 457200"/>
                <a:gd name="connsiteY3" fmla="*/ 17745 h 361950"/>
                <a:gd name="connsiteX4" fmla="*/ 17583 w 457200"/>
                <a:gd name="connsiteY4" fmla="*/ 0 h 361950"/>
                <a:gd name="connsiteX5" fmla="*/ 439617 w 457200"/>
                <a:gd name="connsiteY5" fmla="*/ 0 h 361950"/>
                <a:gd name="connsiteX6" fmla="*/ 457200 w 457200"/>
                <a:gd name="connsiteY6" fmla="*/ 17745 h 361950"/>
                <a:gd name="connsiteX7" fmla="*/ 457200 w 457200"/>
                <a:gd name="connsiteY7" fmla="*/ 344205 h 361950"/>
                <a:gd name="connsiteX8" fmla="*/ 439617 w 457200"/>
                <a:gd name="connsiteY8" fmla="*/ 36195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61950">
                  <a:moveTo>
                    <a:pt x="439617" y="361950"/>
                  </a:moveTo>
                  <a:lnTo>
                    <a:pt x="17583" y="361950"/>
                  </a:lnTo>
                  <a:cubicBezTo>
                    <a:pt x="7868" y="361950"/>
                    <a:pt x="0" y="354006"/>
                    <a:pt x="0" y="344205"/>
                  </a:cubicBezTo>
                  <a:lnTo>
                    <a:pt x="0" y="17745"/>
                  </a:lnTo>
                  <a:cubicBezTo>
                    <a:pt x="0" y="7944"/>
                    <a:pt x="7868" y="0"/>
                    <a:pt x="17583" y="0"/>
                  </a:cubicBezTo>
                  <a:lnTo>
                    <a:pt x="439617" y="0"/>
                  </a:lnTo>
                  <a:cubicBezTo>
                    <a:pt x="449332" y="0"/>
                    <a:pt x="457200" y="7944"/>
                    <a:pt x="457200" y="17745"/>
                  </a:cubicBezTo>
                  <a:lnTo>
                    <a:pt x="457200" y="344205"/>
                  </a:lnTo>
                  <a:cubicBezTo>
                    <a:pt x="457200" y="354006"/>
                    <a:pt x="449332" y="361950"/>
                    <a:pt x="439617" y="36195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2" name="Forme libre : forme 31">
              <a:extLst>
                <a:ext uri="{FF2B5EF4-FFF2-40B4-BE49-F238E27FC236}">
                  <a16:creationId xmlns:a16="http://schemas.microsoft.com/office/drawing/2014/main" id="{5D09919E-6146-4F77-BC0C-F1FC242F6E7B}"/>
                </a:ext>
              </a:extLst>
            </p:cNvPr>
            <p:cNvSpPr/>
            <p:nvPr/>
          </p:nvSpPr>
          <p:spPr>
            <a:xfrm>
              <a:off x="9844089" y="2058893"/>
              <a:ext cx="228600" cy="361950"/>
            </a:xfrm>
            <a:custGeom>
              <a:avLst/>
              <a:gdLst>
                <a:gd name="connsiteX0" fmla="*/ 211007 w 228600"/>
                <a:gd name="connsiteY0" fmla="*/ 0 h 361950"/>
                <a:gd name="connsiteX1" fmla="*/ 0 w 228600"/>
                <a:gd name="connsiteY1" fmla="*/ 0 h 361950"/>
                <a:gd name="connsiteX2" fmla="*/ 0 w 228600"/>
                <a:gd name="connsiteY2" fmla="*/ 361950 h 361950"/>
                <a:gd name="connsiteX3" fmla="*/ 211007 w 228600"/>
                <a:gd name="connsiteY3" fmla="*/ 361950 h 361950"/>
                <a:gd name="connsiteX4" fmla="*/ 228600 w 228600"/>
                <a:gd name="connsiteY4" fmla="*/ 344205 h 361950"/>
                <a:gd name="connsiteX5" fmla="*/ 228600 w 228600"/>
                <a:gd name="connsiteY5" fmla="*/ 17745 h 361950"/>
                <a:gd name="connsiteX6" fmla="*/ 211007 w 228600"/>
                <a:gd name="connsiteY6"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361950">
                  <a:moveTo>
                    <a:pt x="211007" y="0"/>
                  </a:moveTo>
                  <a:lnTo>
                    <a:pt x="0" y="0"/>
                  </a:lnTo>
                  <a:lnTo>
                    <a:pt x="0" y="361950"/>
                  </a:lnTo>
                  <a:lnTo>
                    <a:pt x="211007" y="361950"/>
                  </a:lnTo>
                  <a:cubicBezTo>
                    <a:pt x="220723" y="361950"/>
                    <a:pt x="228600" y="354006"/>
                    <a:pt x="228600" y="344205"/>
                  </a:cubicBezTo>
                  <a:lnTo>
                    <a:pt x="228600" y="17745"/>
                  </a:lnTo>
                  <a:cubicBezTo>
                    <a:pt x="228600" y="7944"/>
                    <a:pt x="220723" y="0"/>
                    <a:pt x="211007"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3" name="Forme libre : forme 32">
              <a:extLst>
                <a:ext uri="{FF2B5EF4-FFF2-40B4-BE49-F238E27FC236}">
                  <a16:creationId xmlns:a16="http://schemas.microsoft.com/office/drawing/2014/main" id="{9A454606-8DCA-41E0-8426-91E7E32112D9}"/>
                </a:ext>
              </a:extLst>
            </p:cNvPr>
            <p:cNvSpPr/>
            <p:nvPr/>
          </p:nvSpPr>
          <p:spPr>
            <a:xfrm>
              <a:off x="9777414" y="2135093"/>
              <a:ext cx="142875" cy="209550"/>
            </a:xfrm>
            <a:custGeom>
              <a:avLst/>
              <a:gdLst>
                <a:gd name="connsiteX0" fmla="*/ 106289 w 142875"/>
                <a:gd name="connsiteY0" fmla="*/ 209550 h 209550"/>
                <a:gd name="connsiteX1" fmla="*/ 36595 w 142875"/>
                <a:gd name="connsiteY1" fmla="*/ 209550 h 209550"/>
                <a:gd name="connsiteX2" fmla="*/ 19164 w 142875"/>
                <a:gd name="connsiteY2" fmla="*/ 192491 h 209550"/>
                <a:gd name="connsiteX3" fmla="*/ 19164 w 142875"/>
                <a:gd name="connsiteY3" fmla="*/ 117605 h 209550"/>
                <a:gd name="connsiteX4" fmla="*/ 0 w 142875"/>
                <a:gd name="connsiteY4" fmla="*/ 69942 h 209550"/>
                <a:gd name="connsiteX5" fmla="*/ 71438 w 142875"/>
                <a:gd name="connsiteY5" fmla="*/ 0 h 209550"/>
                <a:gd name="connsiteX6" fmla="*/ 142875 w 142875"/>
                <a:gd name="connsiteY6" fmla="*/ 69942 h 209550"/>
                <a:gd name="connsiteX7" fmla="*/ 123711 w 142875"/>
                <a:gd name="connsiteY7" fmla="*/ 117605 h 209550"/>
                <a:gd name="connsiteX8" fmla="*/ 123711 w 142875"/>
                <a:gd name="connsiteY8" fmla="*/ 192491 h 209550"/>
                <a:gd name="connsiteX9" fmla="*/ 106289 w 142875"/>
                <a:gd name="connsiteY9" fmla="*/ 20955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209550">
                  <a:moveTo>
                    <a:pt x="106289" y="209550"/>
                  </a:moveTo>
                  <a:lnTo>
                    <a:pt x="36595" y="209550"/>
                  </a:lnTo>
                  <a:cubicBezTo>
                    <a:pt x="26965" y="209550"/>
                    <a:pt x="19164" y="201911"/>
                    <a:pt x="19164" y="192491"/>
                  </a:cubicBezTo>
                  <a:lnTo>
                    <a:pt x="19164" y="117605"/>
                  </a:lnTo>
                  <a:cubicBezTo>
                    <a:pt x="6906" y="104727"/>
                    <a:pt x="0" y="87763"/>
                    <a:pt x="0" y="69942"/>
                  </a:cubicBezTo>
                  <a:cubicBezTo>
                    <a:pt x="0" y="31375"/>
                    <a:pt x="32052" y="0"/>
                    <a:pt x="71438" y="0"/>
                  </a:cubicBezTo>
                  <a:cubicBezTo>
                    <a:pt x="110823" y="0"/>
                    <a:pt x="142875" y="31375"/>
                    <a:pt x="142875" y="69942"/>
                  </a:cubicBezTo>
                  <a:cubicBezTo>
                    <a:pt x="142875" y="87763"/>
                    <a:pt x="135969" y="104727"/>
                    <a:pt x="123711" y="117605"/>
                  </a:cubicBezTo>
                  <a:lnTo>
                    <a:pt x="123711" y="192491"/>
                  </a:lnTo>
                  <a:cubicBezTo>
                    <a:pt x="123711" y="201911"/>
                    <a:pt x="115910" y="209550"/>
                    <a:pt x="106289" y="20955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sp>
          <p:nvSpPr>
            <p:cNvPr id="34" name="Forme libre : forme 33">
              <a:extLst>
                <a:ext uri="{FF2B5EF4-FFF2-40B4-BE49-F238E27FC236}">
                  <a16:creationId xmlns:a16="http://schemas.microsoft.com/office/drawing/2014/main" id="{6F9C79B4-09A5-4AC6-BEDB-514F12C65C50}"/>
                </a:ext>
              </a:extLst>
            </p:cNvPr>
            <p:cNvSpPr/>
            <p:nvPr/>
          </p:nvSpPr>
          <p:spPr>
            <a:xfrm>
              <a:off x="9844089" y="2135093"/>
              <a:ext cx="76200" cy="209550"/>
            </a:xfrm>
            <a:custGeom>
              <a:avLst/>
              <a:gdLst>
                <a:gd name="connsiteX0" fmla="*/ 0 w 76200"/>
                <a:gd name="connsiteY0" fmla="*/ 0 h 209550"/>
                <a:gd name="connsiteX1" fmla="*/ 0 w 76200"/>
                <a:gd name="connsiteY1" fmla="*/ 209550 h 209550"/>
                <a:gd name="connsiteX2" fmla="*/ 37119 w 76200"/>
                <a:gd name="connsiteY2" fmla="*/ 209550 h 209550"/>
                <a:gd name="connsiteX3" fmla="*/ 55731 w 76200"/>
                <a:gd name="connsiteY3" fmla="*/ 192491 h 209550"/>
                <a:gd name="connsiteX4" fmla="*/ 55731 w 76200"/>
                <a:gd name="connsiteY4" fmla="*/ 117605 h 209550"/>
                <a:gd name="connsiteX5" fmla="*/ 76200 w 76200"/>
                <a:gd name="connsiteY5" fmla="*/ 69942 h 209550"/>
                <a:gd name="connsiteX6" fmla="*/ 0 w 76200"/>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09550">
                  <a:moveTo>
                    <a:pt x="0" y="0"/>
                  </a:moveTo>
                  <a:lnTo>
                    <a:pt x="0" y="209550"/>
                  </a:lnTo>
                  <a:lnTo>
                    <a:pt x="37119" y="209550"/>
                  </a:lnTo>
                  <a:cubicBezTo>
                    <a:pt x="47397" y="209550"/>
                    <a:pt x="55731" y="201911"/>
                    <a:pt x="55731" y="192491"/>
                  </a:cubicBezTo>
                  <a:lnTo>
                    <a:pt x="55731" y="117605"/>
                  </a:lnTo>
                  <a:cubicBezTo>
                    <a:pt x="68837" y="104718"/>
                    <a:pt x="76200" y="87763"/>
                    <a:pt x="76200" y="69942"/>
                  </a:cubicBezTo>
                  <a:cubicBezTo>
                    <a:pt x="76200" y="31404"/>
                    <a:pt x="42034" y="57"/>
                    <a:pt x="0" y="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grpSp>
      <p:pic>
        <p:nvPicPr>
          <p:cNvPr id="35" name="Graphique 34">
            <a:extLst>
              <a:ext uri="{FF2B5EF4-FFF2-40B4-BE49-F238E27FC236}">
                <a16:creationId xmlns:a16="http://schemas.microsoft.com/office/drawing/2014/main" id="{6CF28D34-AEF0-4F15-9FCD-75D41EA536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67686" y="2803614"/>
            <a:ext cx="587788" cy="576263"/>
          </a:xfrm>
          <a:prstGeom prst="rect">
            <a:avLst/>
          </a:prstGeom>
        </p:spPr>
      </p:pic>
    </p:spTree>
    <p:extLst>
      <p:ext uri="{BB962C8B-B14F-4D97-AF65-F5344CB8AC3E}">
        <p14:creationId xmlns:p14="http://schemas.microsoft.com/office/powerpoint/2010/main" val="1470529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67" name="Straight Arrow Connector 66"/>
          <p:cNvCxnSpPr>
            <a:cxnSpLocks/>
          </p:cNvCxnSpPr>
          <p:nvPr/>
        </p:nvCxnSpPr>
        <p:spPr>
          <a:xfrm flipV="1">
            <a:off x="6551780" y="2913941"/>
            <a:ext cx="583251" cy="200169"/>
          </a:xfrm>
          <a:prstGeom prst="straightConnector1">
            <a:avLst/>
          </a:prstGeom>
          <a:ln>
            <a:solidFill>
              <a:schemeClr val="accent2">
                <a:lumMod val="7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7" name="Oval 6"/>
          <p:cNvSpPr>
            <a:spLocks noChangeAspect="1"/>
          </p:cNvSpPr>
          <p:nvPr/>
        </p:nvSpPr>
        <p:spPr>
          <a:xfrm>
            <a:off x="5119513" y="2583703"/>
            <a:ext cx="1459962" cy="1459962"/>
          </a:xfrm>
          <a:prstGeom prst="ellipse">
            <a:avLst/>
          </a:prstGeom>
          <a:solidFill>
            <a:schemeClr val="accent4"/>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 name="Oval 5"/>
          <p:cNvSpPr>
            <a:spLocks noChangeAspect="1"/>
          </p:cNvSpPr>
          <p:nvPr/>
        </p:nvSpPr>
        <p:spPr>
          <a:xfrm>
            <a:off x="3119760" y="3179035"/>
            <a:ext cx="1459962" cy="1459958"/>
          </a:xfrm>
          <a:prstGeom prst="ellipse">
            <a:avLst/>
          </a:pr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9" name="Oval 8"/>
          <p:cNvSpPr>
            <a:spLocks noChangeAspect="1"/>
          </p:cNvSpPr>
          <p:nvPr/>
        </p:nvSpPr>
        <p:spPr>
          <a:xfrm>
            <a:off x="9119043" y="1393043"/>
            <a:ext cx="1459962" cy="1459960"/>
          </a:xfrm>
          <a:prstGeom prst="ellipse">
            <a:avLst/>
          </a:prstGeom>
          <a:solidFill>
            <a:schemeClr val="accent3"/>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 name="Oval 4"/>
          <p:cNvSpPr>
            <a:spLocks noChangeAspect="1"/>
          </p:cNvSpPr>
          <p:nvPr/>
        </p:nvSpPr>
        <p:spPr>
          <a:xfrm>
            <a:off x="1119995" y="3774369"/>
            <a:ext cx="1459962" cy="1459963"/>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2" name="Rectangle 51"/>
          <p:cNvSpPr/>
          <p:nvPr/>
        </p:nvSpPr>
        <p:spPr>
          <a:xfrm>
            <a:off x="1421674" y="5386016"/>
            <a:ext cx="2350800" cy="715501"/>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endParaRPr lang="en-GB" dirty="0">
              <a:latin typeface="+mn-lt"/>
            </a:endParaRPr>
          </a:p>
        </p:txBody>
      </p:sp>
      <p:sp>
        <p:nvSpPr>
          <p:cNvPr id="57" name="Rectangle 56"/>
          <p:cNvSpPr/>
          <p:nvPr/>
        </p:nvSpPr>
        <p:spPr>
          <a:xfrm>
            <a:off x="3517586" y="4797586"/>
            <a:ext cx="2350800" cy="715501"/>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endParaRPr lang="en-GB" dirty="0">
              <a:latin typeface="+mn-lt"/>
            </a:endParaRPr>
          </a:p>
        </p:txBody>
      </p:sp>
      <p:sp>
        <p:nvSpPr>
          <p:cNvPr id="58" name="Rectangle 57"/>
          <p:cNvSpPr/>
          <p:nvPr/>
        </p:nvSpPr>
        <p:spPr>
          <a:xfrm>
            <a:off x="5529985" y="4209155"/>
            <a:ext cx="2350800" cy="715501"/>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endParaRPr lang="en-GB" dirty="0">
              <a:latin typeface="+mn-lt"/>
            </a:endParaRPr>
          </a:p>
        </p:txBody>
      </p:sp>
      <p:sp>
        <p:nvSpPr>
          <p:cNvPr id="59" name="Rectangle 58"/>
          <p:cNvSpPr/>
          <p:nvPr/>
        </p:nvSpPr>
        <p:spPr>
          <a:xfrm>
            <a:off x="7464793" y="3620724"/>
            <a:ext cx="2350800" cy="715501"/>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endParaRPr lang="en-GB" dirty="0">
              <a:latin typeface="+mn-lt"/>
            </a:endParaRPr>
          </a:p>
        </p:txBody>
      </p:sp>
      <p:sp>
        <p:nvSpPr>
          <p:cNvPr id="60" name="Rectangle 59"/>
          <p:cNvSpPr/>
          <p:nvPr/>
        </p:nvSpPr>
        <p:spPr>
          <a:xfrm>
            <a:off x="9500575" y="3032293"/>
            <a:ext cx="2271425" cy="715501"/>
          </a:xfrm>
          <a:prstGeom prst="rect">
            <a:avLst/>
          </a:prstGeom>
        </p:spPr>
        <p:txBody>
          <a:bodyPr wrap="square" lIns="182880" rIns="182880" bIns="45720">
            <a:noAutofit/>
          </a:bodyPr>
          <a:lstStyle/>
          <a:p>
            <a:pPr lvl="0" algn="l" eaLnBrk="1" fontAlgn="auto" hangingPunct="1">
              <a:spcBef>
                <a:spcPts val="400"/>
              </a:spcBef>
              <a:spcAft>
                <a:spcPts val="400"/>
              </a:spcAft>
              <a:buClrTx/>
              <a:defRPr/>
            </a:pPr>
            <a:r>
              <a:rPr lang="en-GB" dirty="0">
                <a:latin typeface="+mn-lt"/>
              </a:rPr>
              <a:t>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endParaRPr lang="en-GB" dirty="0">
              <a:latin typeface="+mn-lt"/>
            </a:endParaRPr>
          </a:p>
        </p:txBody>
      </p:sp>
      <p:sp>
        <p:nvSpPr>
          <p:cNvPr id="61" name="Oval 60"/>
          <p:cNvSpPr/>
          <p:nvPr/>
        </p:nvSpPr>
        <p:spPr>
          <a:xfrm>
            <a:off x="1143335" y="3622685"/>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1</a:t>
            </a:r>
            <a:endParaRPr lang="en-GB" sz="1600" dirty="0">
              <a:solidFill>
                <a:schemeClr val="bg1"/>
              </a:solidFill>
            </a:endParaRPr>
          </a:p>
        </p:txBody>
      </p:sp>
      <p:sp>
        <p:nvSpPr>
          <p:cNvPr id="62" name="Oval 61"/>
          <p:cNvSpPr/>
          <p:nvPr/>
        </p:nvSpPr>
        <p:spPr>
          <a:xfrm>
            <a:off x="3241631" y="2992114"/>
            <a:ext cx="551911" cy="551911"/>
          </a:xfrm>
          <a:prstGeom prst="ellipse">
            <a:avLst/>
          </a:prstGeom>
          <a:solidFill>
            <a:schemeClr val="accent5"/>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2</a:t>
            </a:r>
            <a:endParaRPr lang="en-GB" sz="1600" dirty="0">
              <a:solidFill>
                <a:schemeClr val="bg1"/>
              </a:solidFill>
            </a:endParaRPr>
          </a:p>
        </p:txBody>
      </p:sp>
      <p:sp>
        <p:nvSpPr>
          <p:cNvPr id="63" name="Oval 62"/>
          <p:cNvSpPr/>
          <p:nvPr/>
        </p:nvSpPr>
        <p:spPr>
          <a:xfrm>
            <a:off x="5257221" y="2365407"/>
            <a:ext cx="551911" cy="551911"/>
          </a:xfrm>
          <a:prstGeom prst="ellipse">
            <a:avLst/>
          </a:prstGeom>
          <a:solidFill>
            <a:schemeClr val="accent4"/>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3</a:t>
            </a:r>
            <a:endParaRPr lang="en-GB" sz="1600" dirty="0">
              <a:solidFill>
                <a:schemeClr val="bg1"/>
              </a:solidFill>
            </a:endParaRPr>
          </a:p>
        </p:txBody>
      </p:sp>
      <p:sp>
        <p:nvSpPr>
          <p:cNvPr id="65" name="Oval 64"/>
          <p:cNvSpPr/>
          <p:nvPr/>
        </p:nvSpPr>
        <p:spPr>
          <a:xfrm>
            <a:off x="9224620" y="1213753"/>
            <a:ext cx="551911" cy="551911"/>
          </a:xfrm>
          <a:prstGeom prst="ellipse">
            <a:avLst/>
          </a:prstGeom>
          <a:solidFill>
            <a:schemeClr val="accent3"/>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5</a:t>
            </a:r>
            <a:endParaRPr lang="en-GB" sz="1600" dirty="0">
              <a:solidFill>
                <a:schemeClr val="bg1"/>
              </a:solidFill>
            </a:endParaRPr>
          </a:p>
        </p:txBody>
      </p:sp>
      <p:cxnSp>
        <p:nvCxnSpPr>
          <p:cNvPr id="42" name="Straight Arrow Connector 41"/>
          <p:cNvCxnSpPr>
            <a:cxnSpLocks/>
          </p:cNvCxnSpPr>
          <p:nvPr/>
        </p:nvCxnSpPr>
        <p:spPr>
          <a:xfrm flipV="1">
            <a:off x="2573171" y="4159368"/>
            <a:ext cx="581897" cy="189130"/>
          </a:xfrm>
          <a:prstGeom prst="straightConnector1">
            <a:avLst/>
          </a:prstGeom>
          <a:ln>
            <a:solidFill>
              <a:schemeClr val="accent2">
                <a:lumMod val="7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cxnSpLocks/>
          </p:cNvCxnSpPr>
          <p:nvPr/>
        </p:nvCxnSpPr>
        <p:spPr>
          <a:xfrm flipV="1">
            <a:off x="4572199" y="3537427"/>
            <a:ext cx="578711" cy="186848"/>
          </a:xfrm>
          <a:prstGeom prst="straightConnector1">
            <a:avLst/>
          </a:prstGeom>
          <a:ln>
            <a:solidFill>
              <a:schemeClr val="accent2">
                <a:lumMod val="7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cxnSpLocks/>
          </p:cNvCxnSpPr>
          <p:nvPr/>
        </p:nvCxnSpPr>
        <p:spPr>
          <a:xfrm flipV="1">
            <a:off x="8541145" y="2293199"/>
            <a:ext cx="592836" cy="192826"/>
          </a:xfrm>
          <a:prstGeom prst="straightConnector1">
            <a:avLst/>
          </a:prstGeom>
          <a:ln>
            <a:solidFill>
              <a:schemeClr val="accent2">
                <a:lumMod val="75000"/>
                <a:alpha val="34000"/>
              </a:schemeClr>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8" name="Oval 7"/>
          <p:cNvSpPr>
            <a:spLocks noChangeAspect="1"/>
          </p:cNvSpPr>
          <p:nvPr/>
        </p:nvSpPr>
        <p:spPr>
          <a:xfrm>
            <a:off x="7119275" y="1988373"/>
            <a:ext cx="1459962" cy="1459959"/>
          </a:xfrm>
          <a:prstGeom prst="ellipse">
            <a:avLst/>
          </a:prstGeom>
          <a:solidFill>
            <a:schemeClr val="accent6"/>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4" name="Oval 63"/>
          <p:cNvSpPr/>
          <p:nvPr/>
        </p:nvSpPr>
        <p:spPr>
          <a:xfrm>
            <a:off x="7194808" y="1750717"/>
            <a:ext cx="551911" cy="551911"/>
          </a:xfrm>
          <a:prstGeom prst="ellipse">
            <a:avLst/>
          </a:prstGeom>
          <a:solidFill>
            <a:schemeClr val="accent6"/>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9000"/>
              </a:lnSpc>
            </a:pPr>
            <a:r>
              <a:rPr lang="en-GB" sz="1600">
                <a:solidFill>
                  <a:schemeClr val="bg1"/>
                </a:solidFill>
              </a:rPr>
              <a:t>4</a:t>
            </a:r>
            <a:endParaRPr lang="en-GB" sz="1600" dirty="0">
              <a:solidFill>
                <a:schemeClr val="bg1"/>
              </a:solidFill>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a:lstStyle/>
          <a:p>
            <a:r>
              <a:rPr lang="en-GB" dirty="0"/>
              <a:t>Approach presentation – five steps/deliverables and description with logo</a:t>
            </a:r>
          </a:p>
        </p:txBody>
      </p:sp>
      <p:pic>
        <p:nvPicPr>
          <p:cNvPr id="30" name="Graphique 29">
            <a:extLst>
              <a:ext uri="{FF2B5EF4-FFF2-40B4-BE49-F238E27FC236}">
                <a16:creationId xmlns:a16="http://schemas.microsoft.com/office/drawing/2014/main" id="{0A14E838-A059-41A3-900E-28C295EB69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8801" y="3645306"/>
            <a:ext cx="621880" cy="527417"/>
          </a:xfrm>
          <a:prstGeom prst="rect">
            <a:avLst/>
          </a:prstGeom>
        </p:spPr>
      </p:pic>
      <p:pic>
        <p:nvPicPr>
          <p:cNvPr id="31" name="Graphique 30">
            <a:extLst>
              <a:ext uri="{FF2B5EF4-FFF2-40B4-BE49-F238E27FC236}">
                <a16:creationId xmlns:a16="http://schemas.microsoft.com/office/drawing/2014/main" id="{ED952732-A7F0-42B8-AA46-B46E7C5D35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78514" y="4232888"/>
            <a:ext cx="542925" cy="542925"/>
          </a:xfrm>
          <a:prstGeom prst="rect">
            <a:avLst/>
          </a:prstGeom>
        </p:spPr>
      </p:pic>
      <p:grpSp>
        <p:nvGrpSpPr>
          <p:cNvPr id="32" name="Groupe 31">
            <a:extLst>
              <a:ext uri="{FF2B5EF4-FFF2-40B4-BE49-F238E27FC236}">
                <a16:creationId xmlns:a16="http://schemas.microsoft.com/office/drawing/2014/main" id="{E9AADA7A-8BE8-4D07-A96A-3FC136B1FF73}"/>
              </a:ext>
            </a:extLst>
          </p:cNvPr>
          <p:cNvGrpSpPr/>
          <p:nvPr/>
        </p:nvGrpSpPr>
        <p:grpSpPr>
          <a:xfrm>
            <a:off x="5620894" y="3013647"/>
            <a:ext cx="457200" cy="600075"/>
            <a:chOff x="9615489" y="1820768"/>
            <a:chExt cx="457200" cy="600075"/>
          </a:xfrm>
        </p:grpSpPr>
        <p:sp>
          <p:nvSpPr>
            <p:cNvPr id="33" name="Forme libre : forme 32">
              <a:extLst>
                <a:ext uri="{FF2B5EF4-FFF2-40B4-BE49-F238E27FC236}">
                  <a16:creationId xmlns:a16="http://schemas.microsoft.com/office/drawing/2014/main" id="{FDAF85FB-7BA3-4E5D-930D-CAFBF9598558}"/>
                </a:ext>
              </a:extLst>
            </p:cNvPr>
            <p:cNvSpPr/>
            <p:nvPr/>
          </p:nvSpPr>
          <p:spPr>
            <a:xfrm>
              <a:off x="9682164" y="1820768"/>
              <a:ext cx="333375" cy="257175"/>
            </a:xfrm>
            <a:custGeom>
              <a:avLst/>
              <a:gdLst>
                <a:gd name="connsiteX0" fmla="*/ 239944 w 333375"/>
                <a:gd name="connsiteY0" fmla="*/ 0 h 257175"/>
                <a:gd name="connsiteX1" fmla="*/ 93431 w 333375"/>
                <a:gd name="connsiteY1" fmla="*/ 0 h 257175"/>
                <a:gd name="connsiteX2" fmla="*/ 0 w 333375"/>
                <a:gd name="connsiteY2" fmla="*/ 93097 h 257175"/>
                <a:gd name="connsiteX3" fmla="*/ 0 w 333375"/>
                <a:gd name="connsiteY3" fmla="*/ 257175 h 257175"/>
                <a:gd name="connsiteX4" fmla="*/ 70075 w 333375"/>
                <a:gd name="connsiteY4" fmla="*/ 257175 h 257175"/>
                <a:gd name="connsiteX5" fmla="*/ 70075 w 333375"/>
                <a:gd name="connsiteY5" fmla="*/ 104737 h 257175"/>
                <a:gd name="connsiteX6" fmla="*/ 105108 w 333375"/>
                <a:gd name="connsiteY6" fmla="*/ 69818 h 257175"/>
                <a:gd name="connsiteX7" fmla="*/ 228267 w 333375"/>
                <a:gd name="connsiteY7" fmla="*/ 69818 h 257175"/>
                <a:gd name="connsiteX8" fmla="*/ 263300 w 333375"/>
                <a:gd name="connsiteY8" fmla="*/ 104737 h 257175"/>
                <a:gd name="connsiteX9" fmla="*/ 263300 w 333375"/>
                <a:gd name="connsiteY9" fmla="*/ 257175 h 257175"/>
                <a:gd name="connsiteX10" fmla="*/ 333375 w 333375"/>
                <a:gd name="connsiteY10" fmla="*/ 257175 h 257175"/>
                <a:gd name="connsiteX11" fmla="*/ 333375 w 333375"/>
                <a:gd name="connsiteY11" fmla="*/ 93097 h 257175"/>
                <a:gd name="connsiteX12" fmla="*/ 239944 w 333375"/>
                <a:gd name="connsiteY12"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375" h="257175">
                  <a:moveTo>
                    <a:pt x="239944" y="0"/>
                  </a:moveTo>
                  <a:lnTo>
                    <a:pt x="93431" y="0"/>
                  </a:lnTo>
                  <a:cubicBezTo>
                    <a:pt x="41824" y="0"/>
                    <a:pt x="0" y="41681"/>
                    <a:pt x="0" y="93097"/>
                  </a:cubicBezTo>
                  <a:lnTo>
                    <a:pt x="0" y="257175"/>
                  </a:lnTo>
                  <a:lnTo>
                    <a:pt x="70075" y="257175"/>
                  </a:lnTo>
                  <a:lnTo>
                    <a:pt x="70075" y="104737"/>
                  </a:lnTo>
                  <a:cubicBezTo>
                    <a:pt x="70075" y="85449"/>
                    <a:pt x="85753" y="69818"/>
                    <a:pt x="105108" y="69818"/>
                  </a:cubicBezTo>
                  <a:lnTo>
                    <a:pt x="228267" y="69818"/>
                  </a:lnTo>
                  <a:cubicBezTo>
                    <a:pt x="247622" y="69818"/>
                    <a:pt x="263300" y="85449"/>
                    <a:pt x="263300" y="104737"/>
                  </a:cubicBezTo>
                  <a:lnTo>
                    <a:pt x="263300" y="257175"/>
                  </a:lnTo>
                  <a:lnTo>
                    <a:pt x="333375" y="257175"/>
                  </a:lnTo>
                  <a:lnTo>
                    <a:pt x="333375" y="93097"/>
                  </a:lnTo>
                  <a:cubicBezTo>
                    <a:pt x="333375" y="41681"/>
                    <a:pt x="291541" y="0"/>
                    <a:pt x="239944"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4" name="Forme libre : forme 33">
              <a:extLst>
                <a:ext uri="{FF2B5EF4-FFF2-40B4-BE49-F238E27FC236}">
                  <a16:creationId xmlns:a16="http://schemas.microsoft.com/office/drawing/2014/main" id="{000ADC94-1D86-4211-B015-299CD62B42B1}"/>
                </a:ext>
              </a:extLst>
            </p:cNvPr>
            <p:cNvSpPr/>
            <p:nvPr/>
          </p:nvSpPr>
          <p:spPr>
            <a:xfrm>
              <a:off x="9844089" y="1820768"/>
              <a:ext cx="171450" cy="257175"/>
            </a:xfrm>
            <a:custGeom>
              <a:avLst/>
              <a:gdLst>
                <a:gd name="connsiteX0" fmla="*/ 75352 w 171450"/>
                <a:gd name="connsiteY0" fmla="*/ 0 h 257175"/>
                <a:gd name="connsiteX1" fmla="*/ 0 w 171450"/>
                <a:gd name="connsiteY1" fmla="*/ 0 h 257175"/>
                <a:gd name="connsiteX2" fmla="*/ 0 w 171450"/>
                <a:gd name="connsiteY2" fmla="*/ 69818 h 257175"/>
                <a:gd name="connsiteX3" fmla="*/ 63341 w 171450"/>
                <a:gd name="connsiteY3" fmla="*/ 69818 h 257175"/>
                <a:gd name="connsiteX4" fmla="*/ 99374 w 171450"/>
                <a:gd name="connsiteY4" fmla="*/ 104737 h 257175"/>
                <a:gd name="connsiteX5" fmla="*/ 99374 w 171450"/>
                <a:gd name="connsiteY5" fmla="*/ 257175 h 257175"/>
                <a:gd name="connsiteX6" fmla="*/ 171450 w 171450"/>
                <a:gd name="connsiteY6" fmla="*/ 257175 h 257175"/>
                <a:gd name="connsiteX7" fmla="*/ 171450 w 171450"/>
                <a:gd name="connsiteY7" fmla="*/ 93097 h 257175"/>
                <a:gd name="connsiteX8" fmla="*/ 75352 w 171450"/>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75352" y="0"/>
                  </a:moveTo>
                  <a:lnTo>
                    <a:pt x="0" y="0"/>
                  </a:lnTo>
                  <a:lnTo>
                    <a:pt x="0" y="69818"/>
                  </a:lnTo>
                  <a:lnTo>
                    <a:pt x="63341" y="69818"/>
                  </a:lnTo>
                  <a:cubicBezTo>
                    <a:pt x="83239" y="69818"/>
                    <a:pt x="99374" y="85449"/>
                    <a:pt x="99374" y="104737"/>
                  </a:cubicBezTo>
                  <a:lnTo>
                    <a:pt x="99374" y="257175"/>
                  </a:lnTo>
                  <a:lnTo>
                    <a:pt x="171450" y="257175"/>
                  </a:lnTo>
                  <a:lnTo>
                    <a:pt x="171450" y="93097"/>
                  </a:lnTo>
                  <a:cubicBezTo>
                    <a:pt x="171450" y="41681"/>
                    <a:pt x="128426" y="0"/>
                    <a:pt x="75352"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5" name="Forme libre : forme 34">
              <a:extLst>
                <a:ext uri="{FF2B5EF4-FFF2-40B4-BE49-F238E27FC236}">
                  <a16:creationId xmlns:a16="http://schemas.microsoft.com/office/drawing/2014/main" id="{8294FDDC-5A88-4E25-9CA9-51F6DEAD5388}"/>
                </a:ext>
              </a:extLst>
            </p:cNvPr>
            <p:cNvSpPr/>
            <p:nvPr/>
          </p:nvSpPr>
          <p:spPr>
            <a:xfrm>
              <a:off x="9615489" y="2058893"/>
              <a:ext cx="457200" cy="361950"/>
            </a:xfrm>
            <a:custGeom>
              <a:avLst/>
              <a:gdLst>
                <a:gd name="connsiteX0" fmla="*/ 439617 w 457200"/>
                <a:gd name="connsiteY0" fmla="*/ 361950 h 361950"/>
                <a:gd name="connsiteX1" fmla="*/ 17583 w 457200"/>
                <a:gd name="connsiteY1" fmla="*/ 361950 h 361950"/>
                <a:gd name="connsiteX2" fmla="*/ 0 w 457200"/>
                <a:gd name="connsiteY2" fmla="*/ 344205 h 361950"/>
                <a:gd name="connsiteX3" fmla="*/ 0 w 457200"/>
                <a:gd name="connsiteY3" fmla="*/ 17745 h 361950"/>
                <a:gd name="connsiteX4" fmla="*/ 17583 w 457200"/>
                <a:gd name="connsiteY4" fmla="*/ 0 h 361950"/>
                <a:gd name="connsiteX5" fmla="*/ 439617 w 457200"/>
                <a:gd name="connsiteY5" fmla="*/ 0 h 361950"/>
                <a:gd name="connsiteX6" fmla="*/ 457200 w 457200"/>
                <a:gd name="connsiteY6" fmla="*/ 17745 h 361950"/>
                <a:gd name="connsiteX7" fmla="*/ 457200 w 457200"/>
                <a:gd name="connsiteY7" fmla="*/ 344205 h 361950"/>
                <a:gd name="connsiteX8" fmla="*/ 439617 w 457200"/>
                <a:gd name="connsiteY8" fmla="*/ 36195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61950">
                  <a:moveTo>
                    <a:pt x="439617" y="361950"/>
                  </a:moveTo>
                  <a:lnTo>
                    <a:pt x="17583" y="361950"/>
                  </a:lnTo>
                  <a:cubicBezTo>
                    <a:pt x="7868" y="361950"/>
                    <a:pt x="0" y="354006"/>
                    <a:pt x="0" y="344205"/>
                  </a:cubicBezTo>
                  <a:lnTo>
                    <a:pt x="0" y="17745"/>
                  </a:lnTo>
                  <a:cubicBezTo>
                    <a:pt x="0" y="7944"/>
                    <a:pt x="7868" y="0"/>
                    <a:pt x="17583" y="0"/>
                  </a:cubicBezTo>
                  <a:lnTo>
                    <a:pt x="439617" y="0"/>
                  </a:lnTo>
                  <a:cubicBezTo>
                    <a:pt x="449332" y="0"/>
                    <a:pt x="457200" y="7944"/>
                    <a:pt x="457200" y="17745"/>
                  </a:cubicBezTo>
                  <a:lnTo>
                    <a:pt x="457200" y="344205"/>
                  </a:lnTo>
                  <a:cubicBezTo>
                    <a:pt x="457200" y="354006"/>
                    <a:pt x="449332" y="361950"/>
                    <a:pt x="439617" y="36195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6" name="Forme libre : forme 35">
              <a:extLst>
                <a:ext uri="{FF2B5EF4-FFF2-40B4-BE49-F238E27FC236}">
                  <a16:creationId xmlns:a16="http://schemas.microsoft.com/office/drawing/2014/main" id="{4367A1D5-E192-4804-8A47-7370626E2C5F}"/>
                </a:ext>
              </a:extLst>
            </p:cNvPr>
            <p:cNvSpPr/>
            <p:nvPr/>
          </p:nvSpPr>
          <p:spPr>
            <a:xfrm>
              <a:off x="9844089" y="2058893"/>
              <a:ext cx="228600" cy="361950"/>
            </a:xfrm>
            <a:custGeom>
              <a:avLst/>
              <a:gdLst>
                <a:gd name="connsiteX0" fmla="*/ 211007 w 228600"/>
                <a:gd name="connsiteY0" fmla="*/ 0 h 361950"/>
                <a:gd name="connsiteX1" fmla="*/ 0 w 228600"/>
                <a:gd name="connsiteY1" fmla="*/ 0 h 361950"/>
                <a:gd name="connsiteX2" fmla="*/ 0 w 228600"/>
                <a:gd name="connsiteY2" fmla="*/ 361950 h 361950"/>
                <a:gd name="connsiteX3" fmla="*/ 211007 w 228600"/>
                <a:gd name="connsiteY3" fmla="*/ 361950 h 361950"/>
                <a:gd name="connsiteX4" fmla="*/ 228600 w 228600"/>
                <a:gd name="connsiteY4" fmla="*/ 344205 h 361950"/>
                <a:gd name="connsiteX5" fmla="*/ 228600 w 228600"/>
                <a:gd name="connsiteY5" fmla="*/ 17745 h 361950"/>
                <a:gd name="connsiteX6" fmla="*/ 211007 w 228600"/>
                <a:gd name="connsiteY6"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361950">
                  <a:moveTo>
                    <a:pt x="211007" y="0"/>
                  </a:moveTo>
                  <a:lnTo>
                    <a:pt x="0" y="0"/>
                  </a:lnTo>
                  <a:lnTo>
                    <a:pt x="0" y="361950"/>
                  </a:lnTo>
                  <a:lnTo>
                    <a:pt x="211007" y="361950"/>
                  </a:lnTo>
                  <a:cubicBezTo>
                    <a:pt x="220723" y="361950"/>
                    <a:pt x="228600" y="354006"/>
                    <a:pt x="228600" y="344205"/>
                  </a:cubicBezTo>
                  <a:lnTo>
                    <a:pt x="228600" y="17745"/>
                  </a:lnTo>
                  <a:cubicBezTo>
                    <a:pt x="228600" y="7944"/>
                    <a:pt x="220723" y="0"/>
                    <a:pt x="211007" y="0"/>
                  </a:cubicBezTo>
                  <a:close/>
                </a:path>
              </a:pathLst>
            </a:custGeom>
            <a:solidFill>
              <a:srgbClr val="FFFFFF"/>
            </a:solidFill>
            <a:ln w="9525" cap="flat">
              <a:noFill/>
              <a:prstDash val="solid"/>
              <a:miter/>
            </a:ln>
          </p:spPr>
          <p:txBody>
            <a:bodyPr rtlCol="0" anchor="ctr"/>
            <a:lstStyle/>
            <a:p>
              <a:endParaRPr lang="en-GB" dirty="0">
                <a:solidFill>
                  <a:srgbClr val="000000"/>
                </a:solidFill>
                <a:latin typeface="+mn-lt"/>
              </a:endParaRPr>
            </a:p>
          </p:txBody>
        </p:sp>
        <p:sp>
          <p:nvSpPr>
            <p:cNvPr id="37" name="Forme libre : forme 36">
              <a:extLst>
                <a:ext uri="{FF2B5EF4-FFF2-40B4-BE49-F238E27FC236}">
                  <a16:creationId xmlns:a16="http://schemas.microsoft.com/office/drawing/2014/main" id="{D563EF7B-1D5B-42DF-8560-B94774874EC0}"/>
                </a:ext>
              </a:extLst>
            </p:cNvPr>
            <p:cNvSpPr/>
            <p:nvPr/>
          </p:nvSpPr>
          <p:spPr>
            <a:xfrm>
              <a:off x="9777414" y="2135093"/>
              <a:ext cx="142875" cy="209550"/>
            </a:xfrm>
            <a:custGeom>
              <a:avLst/>
              <a:gdLst>
                <a:gd name="connsiteX0" fmla="*/ 106289 w 142875"/>
                <a:gd name="connsiteY0" fmla="*/ 209550 h 209550"/>
                <a:gd name="connsiteX1" fmla="*/ 36595 w 142875"/>
                <a:gd name="connsiteY1" fmla="*/ 209550 h 209550"/>
                <a:gd name="connsiteX2" fmla="*/ 19164 w 142875"/>
                <a:gd name="connsiteY2" fmla="*/ 192491 h 209550"/>
                <a:gd name="connsiteX3" fmla="*/ 19164 w 142875"/>
                <a:gd name="connsiteY3" fmla="*/ 117605 h 209550"/>
                <a:gd name="connsiteX4" fmla="*/ 0 w 142875"/>
                <a:gd name="connsiteY4" fmla="*/ 69942 h 209550"/>
                <a:gd name="connsiteX5" fmla="*/ 71438 w 142875"/>
                <a:gd name="connsiteY5" fmla="*/ 0 h 209550"/>
                <a:gd name="connsiteX6" fmla="*/ 142875 w 142875"/>
                <a:gd name="connsiteY6" fmla="*/ 69942 h 209550"/>
                <a:gd name="connsiteX7" fmla="*/ 123711 w 142875"/>
                <a:gd name="connsiteY7" fmla="*/ 117605 h 209550"/>
                <a:gd name="connsiteX8" fmla="*/ 123711 w 142875"/>
                <a:gd name="connsiteY8" fmla="*/ 192491 h 209550"/>
                <a:gd name="connsiteX9" fmla="*/ 106289 w 142875"/>
                <a:gd name="connsiteY9" fmla="*/ 20955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209550">
                  <a:moveTo>
                    <a:pt x="106289" y="209550"/>
                  </a:moveTo>
                  <a:lnTo>
                    <a:pt x="36595" y="209550"/>
                  </a:lnTo>
                  <a:cubicBezTo>
                    <a:pt x="26965" y="209550"/>
                    <a:pt x="19164" y="201911"/>
                    <a:pt x="19164" y="192491"/>
                  </a:cubicBezTo>
                  <a:lnTo>
                    <a:pt x="19164" y="117605"/>
                  </a:lnTo>
                  <a:cubicBezTo>
                    <a:pt x="6906" y="104727"/>
                    <a:pt x="0" y="87763"/>
                    <a:pt x="0" y="69942"/>
                  </a:cubicBezTo>
                  <a:cubicBezTo>
                    <a:pt x="0" y="31375"/>
                    <a:pt x="32052" y="0"/>
                    <a:pt x="71438" y="0"/>
                  </a:cubicBezTo>
                  <a:cubicBezTo>
                    <a:pt x="110823" y="0"/>
                    <a:pt x="142875" y="31375"/>
                    <a:pt x="142875" y="69942"/>
                  </a:cubicBezTo>
                  <a:cubicBezTo>
                    <a:pt x="142875" y="87763"/>
                    <a:pt x="135969" y="104727"/>
                    <a:pt x="123711" y="117605"/>
                  </a:cubicBezTo>
                  <a:lnTo>
                    <a:pt x="123711" y="192491"/>
                  </a:lnTo>
                  <a:cubicBezTo>
                    <a:pt x="123711" y="201911"/>
                    <a:pt x="115910" y="209550"/>
                    <a:pt x="106289" y="20955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sp>
          <p:nvSpPr>
            <p:cNvPr id="38" name="Forme libre : forme 37">
              <a:extLst>
                <a:ext uri="{FF2B5EF4-FFF2-40B4-BE49-F238E27FC236}">
                  <a16:creationId xmlns:a16="http://schemas.microsoft.com/office/drawing/2014/main" id="{1E7BF292-1268-4533-ACD3-711D7BFC8B7F}"/>
                </a:ext>
              </a:extLst>
            </p:cNvPr>
            <p:cNvSpPr/>
            <p:nvPr/>
          </p:nvSpPr>
          <p:spPr>
            <a:xfrm>
              <a:off x="9844089" y="2135093"/>
              <a:ext cx="76200" cy="209550"/>
            </a:xfrm>
            <a:custGeom>
              <a:avLst/>
              <a:gdLst>
                <a:gd name="connsiteX0" fmla="*/ 0 w 76200"/>
                <a:gd name="connsiteY0" fmla="*/ 0 h 209550"/>
                <a:gd name="connsiteX1" fmla="*/ 0 w 76200"/>
                <a:gd name="connsiteY1" fmla="*/ 209550 h 209550"/>
                <a:gd name="connsiteX2" fmla="*/ 37119 w 76200"/>
                <a:gd name="connsiteY2" fmla="*/ 209550 h 209550"/>
                <a:gd name="connsiteX3" fmla="*/ 55731 w 76200"/>
                <a:gd name="connsiteY3" fmla="*/ 192491 h 209550"/>
                <a:gd name="connsiteX4" fmla="*/ 55731 w 76200"/>
                <a:gd name="connsiteY4" fmla="*/ 117605 h 209550"/>
                <a:gd name="connsiteX5" fmla="*/ 76200 w 76200"/>
                <a:gd name="connsiteY5" fmla="*/ 69942 h 209550"/>
                <a:gd name="connsiteX6" fmla="*/ 0 w 76200"/>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09550">
                  <a:moveTo>
                    <a:pt x="0" y="0"/>
                  </a:moveTo>
                  <a:lnTo>
                    <a:pt x="0" y="209550"/>
                  </a:lnTo>
                  <a:lnTo>
                    <a:pt x="37119" y="209550"/>
                  </a:lnTo>
                  <a:cubicBezTo>
                    <a:pt x="47397" y="209550"/>
                    <a:pt x="55731" y="201911"/>
                    <a:pt x="55731" y="192491"/>
                  </a:cubicBezTo>
                  <a:lnTo>
                    <a:pt x="55731" y="117605"/>
                  </a:lnTo>
                  <a:cubicBezTo>
                    <a:pt x="68837" y="104718"/>
                    <a:pt x="76200" y="87763"/>
                    <a:pt x="76200" y="69942"/>
                  </a:cubicBezTo>
                  <a:cubicBezTo>
                    <a:pt x="76200" y="31404"/>
                    <a:pt x="42034" y="57"/>
                    <a:pt x="0" y="0"/>
                  </a:cubicBezTo>
                  <a:close/>
                </a:path>
              </a:pathLst>
            </a:custGeom>
            <a:solidFill>
              <a:schemeClr val="accent4"/>
            </a:solidFill>
            <a:ln w="9525" cap="flat">
              <a:noFill/>
              <a:prstDash val="solid"/>
              <a:miter/>
            </a:ln>
          </p:spPr>
          <p:txBody>
            <a:bodyPr rtlCol="0" anchor="ctr"/>
            <a:lstStyle/>
            <a:p>
              <a:endParaRPr lang="en-GB" dirty="0">
                <a:solidFill>
                  <a:srgbClr val="000000"/>
                </a:solidFill>
                <a:latin typeface="+mn-lt"/>
              </a:endParaRPr>
            </a:p>
          </p:txBody>
        </p:sp>
      </p:grpSp>
      <p:pic>
        <p:nvPicPr>
          <p:cNvPr id="39" name="Graphique 38">
            <a:extLst>
              <a:ext uri="{FF2B5EF4-FFF2-40B4-BE49-F238E27FC236}">
                <a16:creationId xmlns:a16="http://schemas.microsoft.com/office/drawing/2014/main" id="{0FCF04BB-1815-40F6-BD66-B2DB42431B8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55362" y="2430221"/>
            <a:ext cx="587788" cy="576263"/>
          </a:xfrm>
          <a:prstGeom prst="rect">
            <a:avLst/>
          </a:prstGeom>
        </p:spPr>
      </p:pic>
      <p:grpSp>
        <p:nvGrpSpPr>
          <p:cNvPr id="25" name="Groupe 24">
            <a:extLst>
              <a:ext uri="{FF2B5EF4-FFF2-40B4-BE49-F238E27FC236}">
                <a16:creationId xmlns:a16="http://schemas.microsoft.com/office/drawing/2014/main" id="{7EC40628-ED27-4B9D-BA58-3713862E2F5F}"/>
              </a:ext>
            </a:extLst>
          </p:cNvPr>
          <p:cNvGrpSpPr/>
          <p:nvPr/>
        </p:nvGrpSpPr>
        <p:grpSpPr>
          <a:xfrm>
            <a:off x="9582322" y="1780123"/>
            <a:ext cx="542929" cy="695325"/>
            <a:chOff x="9582322" y="1780123"/>
            <a:chExt cx="542929" cy="695325"/>
          </a:xfrm>
        </p:grpSpPr>
        <p:sp>
          <p:nvSpPr>
            <p:cNvPr id="17" name="Forme libre : forme 16">
              <a:extLst>
                <a:ext uri="{FF2B5EF4-FFF2-40B4-BE49-F238E27FC236}">
                  <a16:creationId xmlns:a16="http://schemas.microsoft.com/office/drawing/2014/main" id="{184E8A04-E462-4E68-92F4-D34BFE89BA19}"/>
                </a:ext>
              </a:extLst>
            </p:cNvPr>
            <p:cNvSpPr/>
            <p:nvPr/>
          </p:nvSpPr>
          <p:spPr>
            <a:xfrm>
              <a:off x="9639474" y="1837273"/>
              <a:ext cx="476250" cy="314325"/>
            </a:xfrm>
            <a:custGeom>
              <a:avLst/>
              <a:gdLst>
                <a:gd name="connsiteX0" fmla="*/ 38157 w 476250"/>
                <a:gd name="connsiteY0" fmla="*/ 0 h 314325"/>
                <a:gd name="connsiteX1" fmla="*/ 401945 w 476250"/>
                <a:gd name="connsiteY1" fmla="*/ 0 h 314325"/>
                <a:gd name="connsiteX2" fmla="*/ 411537 w 476250"/>
                <a:gd name="connsiteY2" fmla="*/ 8687 h 314325"/>
                <a:gd name="connsiteX3" fmla="*/ 426911 w 476250"/>
                <a:gd name="connsiteY3" fmla="*/ 25060 h 314325"/>
                <a:gd name="connsiteX4" fmla="*/ 471249 w 476250"/>
                <a:gd name="connsiteY4" fmla="*/ 90907 h 314325"/>
                <a:gd name="connsiteX5" fmla="*/ 476250 w 476250"/>
                <a:gd name="connsiteY5" fmla="*/ 103422 h 314325"/>
                <a:gd name="connsiteX6" fmla="*/ 476250 w 476250"/>
                <a:gd name="connsiteY6" fmla="*/ 246602 h 314325"/>
                <a:gd name="connsiteX7" fmla="*/ 468963 w 476250"/>
                <a:gd name="connsiteY7" fmla="*/ 261814 h 314325"/>
                <a:gd name="connsiteX8" fmla="*/ 444675 w 476250"/>
                <a:gd name="connsiteY8" fmla="*/ 303047 h 314325"/>
                <a:gd name="connsiteX9" fmla="*/ 437159 w 476250"/>
                <a:gd name="connsiteY9" fmla="*/ 314325 h 314325"/>
                <a:gd name="connsiteX10" fmla="*/ 0 w 476250"/>
                <a:gd name="connsiteY10" fmla="*/ 314325 h 314325"/>
                <a:gd name="connsiteX11" fmla="*/ 0 w 476250"/>
                <a:gd name="connsiteY11" fmla="*/ 43196 h 314325"/>
                <a:gd name="connsiteX12" fmla="*/ 23346 w 476250"/>
                <a:gd name="connsiteY12" fmla="*/ 13907 h 314325"/>
                <a:gd name="connsiteX13" fmla="*/ 38157 w 476250"/>
                <a:gd name="connsiteY13" fmla="*/ 0 h 314325"/>
                <a:gd name="connsiteX14" fmla="*/ 124892 w 476250"/>
                <a:gd name="connsiteY14" fmla="*/ 22746 h 314325"/>
                <a:gd name="connsiteX15" fmla="*/ 124892 w 476250"/>
                <a:gd name="connsiteY15" fmla="*/ 47282 h 314325"/>
                <a:gd name="connsiteX16" fmla="*/ 100860 w 476250"/>
                <a:gd name="connsiteY16" fmla="*/ 57378 h 314325"/>
                <a:gd name="connsiteX17" fmla="*/ 83744 w 476250"/>
                <a:gd name="connsiteY17" fmla="*/ 40005 h 314325"/>
                <a:gd name="connsiteX18" fmla="*/ 43491 w 476250"/>
                <a:gd name="connsiteY18" fmla="*/ 80858 h 314325"/>
                <a:gd name="connsiteX19" fmla="*/ 60617 w 476250"/>
                <a:gd name="connsiteY19" fmla="*/ 98231 h 314325"/>
                <a:gd name="connsiteX20" fmla="*/ 50692 w 476250"/>
                <a:gd name="connsiteY20" fmla="*/ 122634 h 314325"/>
                <a:gd name="connsiteX21" fmla="*/ 26470 w 476250"/>
                <a:gd name="connsiteY21" fmla="*/ 122634 h 314325"/>
                <a:gd name="connsiteX22" fmla="*/ 26470 w 476250"/>
                <a:gd name="connsiteY22" fmla="*/ 180423 h 314325"/>
                <a:gd name="connsiteX23" fmla="*/ 50692 w 476250"/>
                <a:gd name="connsiteY23" fmla="*/ 180423 h 314325"/>
                <a:gd name="connsiteX24" fmla="*/ 60617 w 476250"/>
                <a:gd name="connsiteY24" fmla="*/ 204844 h 314325"/>
                <a:gd name="connsiteX25" fmla="*/ 43491 w 476250"/>
                <a:gd name="connsiteY25" fmla="*/ 222190 h 314325"/>
                <a:gd name="connsiteX26" fmla="*/ 83744 w 476250"/>
                <a:gd name="connsiteY26" fmla="*/ 263052 h 314325"/>
                <a:gd name="connsiteX27" fmla="*/ 100860 w 476250"/>
                <a:gd name="connsiteY27" fmla="*/ 245697 h 314325"/>
                <a:gd name="connsiteX28" fmla="*/ 124892 w 476250"/>
                <a:gd name="connsiteY28" fmla="*/ 255765 h 314325"/>
                <a:gd name="connsiteX29" fmla="*/ 124892 w 476250"/>
                <a:gd name="connsiteY29" fmla="*/ 280321 h 314325"/>
                <a:gd name="connsiteX30" fmla="*/ 181823 w 476250"/>
                <a:gd name="connsiteY30" fmla="*/ 280321 h 314325"/>
                <a:gd name="connsiteX31" fmla="*/ 181823 w 476250"/>
                <a:gd name="connsiteY31" fmla="*/ 255765 h 314325"/>
                <a:gd name="connsiteX32" fmla="*/ 205864 w 476250"/>
                <a:gd name="connsiteY32" fmla="*/ 245697 h 314325"/>
                <a:gd name="connsiteX33" fmla="*/ 222961 w 476250"/>
                <a:gd name="connsiteY33" fmla="*/ 263052 h 314325"/>
                <a:gd name="connsiteX34" fmla="*/ 263233 w 476250"/>
                <a:gd name="connsiteY34" fmla="*/ 222190 h 314325"/>
                <a:gd name="connsiteX35" fmla="*/ 246136 w 476250"/>
                <a:gd name="connsiteY35" fmla="*/ 204844 h 314325"/>
                <a:gd name="connsiteX36" fmla="*/ 256061 w 476250"/>
                <a:gd name="connsiteY36" fmla="*/ 180423 h 314325"/>
                <a:gd name="connsiteX37" fmla="*/ 280254 w 476250"/>
                <a:gd name="connsiteY37" fmla="*/ 180423 h 314325"/>
                <a:gd name="connsiteX38" fmla="*/ 280254 w 476250"/>
                <a:gd name="connsiteY38" fmla="*/ 122634 h 314325"/>
                <a:gd name="connsiteX39" fmla="*/ 256061 w 476250"/>
                <a:gd name="connsiteY39" fmla="*/ 122634 h 314325"/>
                <a:gd name="connsiteX40" fmla="*/ 246136 w 476250"/>
                <a:gd name="connsiteY40" fmla="*/ 98231 h 314325"/>
                <a:gd name="connsiteX41" fmla="*/ 263233 w 476250"/>
                <a:gd name="connsiteY41" fmla="*/ 80858 h 314325"/>
                <a:gd name="connsiteX42" fmla="*/ 222961 w 476250"/>
                <a:gd name="connsiteY42" fmla="*/ 40005 h 314325"/>
                <a:gd name="connsiteX43" fmla="*/ 205864 w 476250"/>
                <a:gd name="connsiteY43" fmla="*/ 57378 h 314325"/>
                <a:gd name="connsiteX44" fmla="*/ 181823 w 476250"/>
                <a:gd name="connsiteY44" fmla="*/ 47282 h 314325"/>
                <a:gd name="connsiteX45" fmla="*/ 181823 w 476250"/>
                <a:gd name="connsiteY45" fmla="*/ 22746 h 314325"/>
                <a:gd name="connsiteX46" fmla="*/ 124892 w 476250"/>
                <a:gd name="connsiteY46" fmla="*/ 22746 h 314325"/>
                <a:gd name="connsiteX47" fmla="*/ 357359 w 476250"/>
                <a:gd name="connsiteY47" fmla="*/ 108614 h 314325"/>
                <a:gd name="connsiteX48" fmla="*/ 357359 w 476250"/>
                <a:gd name="connsiteY48" fmla="*/ 123368 h 314325"/>
                <a:gd name="connsiteX49" fmla="*/ 343843 w 476250"/>
                <a:gd name="connsiteY49" fmla="*/ 129074 h 314325"/>
                <a:gd name="connsiteX50" fmla="*/ 333566 w 476250"/>
                <a:gd name="connsiteY50" fmla="*/ 118624 h 314325"/>
                <a:gd name="connsiteX51" fmla="*/ 306724 w 476250"/>
                <a:gd name="connsiteY51" fmla="*/ 145866 h 314325"/>
                <a:gd name="connsiteX52" fmla="*/ 317011 w 476250"/>
                <a:gd name="connsiteY52" fmla="*/ 156305 h 314325"/>
                <a:gd name="connsiteX53" fmla="*/ 311410 w 476250"/>
                <a:gd name="connsiteY53" fmla="*/ 170002 h 314325"/>
                <a:gd name="connsiteX54" fmla="*/ 296856 w 476250"/>
                <a:gd name="connsiteY54" fmla="*/ 170002 h 314325"/>
                <a:gd name="connsiteX55" fmla="*/ 296856 w 476250"/>
                <a:gd name="connsiteY55" fmla="*/ 208522 h 314325"/>
                <a:gd name="connsiteX56" fmla="*/ 311410 w 476250"/>
                <a:gd name="connsiteY56" fmla="*/ 208522 h 314325"/>
                <a:gd name="connsiteX57" fmla="*/ 317011 w 476250"/>
                <a:gd name="connsiteY57" fmla="*/ 222218 h 314325"/>
                <a:gd name="connsiteX58" fmla="*/ 306724 w 476250"/>
                <a:gd name="connsiteY58" fmla="*/ 232658 h 314325"/>
                <a:gd name="connsiteX59" fmla="*/ 333566 w 476250"/>
                <a:gd name="connsiteY59" fmla="*/ 259889 h 314325"/>
                <a:gd name="connsiteX60" fmla="*/ 343843 w 476250"/>
                <a:gd name="connsiteY60" fmla="*/ 249450 h 314325"/>
                <a:gd name="connsiteX61" fmla="*/ 357359 w 476250"/>
                <a:gd name="connsiteY61" fmla="*/ 255146 h 314325"/>
                <a:gd name="connsiteX62" fmla="*/ 357359 w 476250"/>
                <a:gd name="connsiteY62" fmla="*/ 269929 h 314325"/>
                <a:gd name="connsiteX63" fmla="*/ 395316 w 476250"/>
                <a:gd name="connsiteY63" fmla="*/ 269929 h 314325"/>
                <a:gd name="connsiteX64" fmla="*/ 395316 w 476250"/>
                <a:gd name="connsiteY64" fmla="*/ 255146 h 314325"/>
                <a:gd name="connsiteX65" fmla="*/ 408823 w 476250"/>
                <a:gd name="connsiteY65" fmla="*/ 249450 h 314325"/>
                <a:gd name="connsiteX66" fmla="*/ 419109 w 476250"/>
                <a:gd name="connsiteY66" fmla="*/ 259889 h 314325"/>
                <a:gd name="connsiteX67" fmla="*/ 445941 w 476250"/>
                <a:gd name="connsiteY67" fmla="*/ 232658 h 314325"/>
                <a:gd name="connsiteX68" fmla="*/ 435654 w 476250"/>
                <a:gd name="connsiteY68" fmla="*/ 222218 h 314325"/>
                <a:gd name="connsiteX69" fmla="*/ 441255 w 476250"/>
                <a:gd name="connsiteY69" fmla="*/ 208522 h 314325"/>
                <a:gd name="connsiteX70" fmla="*/ 455809 w 476250"/>
                <a:gd name="connsiteY70" fmla="*/ 208522 h 314325"/>
                <a:gd name="connsiteX71" fmla="*/ 455809 w 476250"/>
                <a:gd name="connsiteY71" fmla="*/ 170002 h 314325"/>
                <a:gd name="connsiteX72" fmla="*/ 455790 w 476250"/>
                <a:gd name="connsiteY72" fmla="*/ 170002 h 314325"/>
                <a:gd name="connsiteX73" fmla="*/ 441236 w 476250"/>
                <a:gd name="connsiteY73" fmla="*/ 170002 h 314325"/>
                <a:gd name="connsiteX74" fmla="*/ 435636 w 476250"/>
                <a:gd name="connsiteY74" fmla="*/ 156305 h 314325"/>
                <a:gd name="connsiteX75" fmla="*/ 445922 w 476250"/>
                <a:gd name="connsiteY75" fmla="*/ 145866 h 314325"/>
                <a:gd name="connsiteX76" fmla="*/ 419091 w 476250"/>
                <a:gd name="connsiteY76" fmla="*/ 118624 h 314325"/>
                <a:gd name="connsiteX77" fmla="*/ 408823 w 476250"/>
                <a:gd name="connsiteY77" fmla="*/ 129074 h 314325"/>
                <a:gd name="connsiteX78" fmla="*/ 395316 w 476250"/>
                <a:gd name="connsiteY78" fmla="*/ 123368 h 314325"/>
                <a:gd name="connsiteX79" fmla="*/ 395316 w 476250"/>
                <a:gd name="connsiteY79" fmla="*/ 108614 h 314325"/>
                <a:gd name="connsiteX80" fmla="*/ 357359 w 476250"/>
                <a:gd name="connsiteY80" fmla="*/ 10861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76250" h="314325">
                  <a:moveTo>
                    <a:pt x="38157" y="0"/>
                  </a:moveTo>
                  <a:lnTo>
                    <a:pt x="401945" y="0"/>
                  </a:lnTo>
                  <a:lnTo>
                    <a:pt x="411537" y="8687"/>
                  </a:lnTo>
                  <a:cubicBezTo>
                    <a:pt x="416938" y="14049"/>
                    <a:pt x="422024" y="19526"/>
                    <a:pt x="426911" y="25060"/>
                  </a:cubicBezTo>
                  <a:cubicBezTo>
                    <a:pt x="447247" y="48073"/>
                    <a:pt x="461429" y="70380"/>
                    <a:pt x="471249" y="90907"/>
                  </a:cubicBezTo>
                  <a:lnTo>
                    <a:pt x="476250" y="103422"/>
                  </a:lnTo>
                  <a:lnTo>
                    <a:pt x="476250" y="246602"/>
                  </a:lnTo>
                  <a:lnTo>
                    <a:pt x="468963" y="261814"/>
                  </a:lnTo>
                  <a:cubicBezTo>
                    <a:pt x="461143" y="276730"/>
                    <a:pt x="452381" y="291132"/>
                    <a:pt x="444675" y="303047"/>
                  </a:cubicBezTo>
                  <a:lnTo>
                    <a:pt x="437159" y="314325"/>
                  </a:lnTo>
                  <a:lnTo>
                    <a:pt x="0" y="314325"/>
                  </a:lnTo>
                  <a:lnTo>
                    <a:pt x="0" y="43196"/>
                  </a:lnTo>
                  <a:lnTo>
                    <a:pt x="23346" y="13907"/>
                  </a:lnTo>
                  <a:lnTo>
                    <a:pt x="38157" y="0"/>
                  </a:lnTo>
                  <a:close/>
                  <a:moveTo>
                    <a:pt x="124892" y="22746"/>
                  </a:moveTo>
                  <a:lnTo>
                    <a:pt x="124892" y="47282"/>
                  </a:lnTo>
                  <a:cubicBezTo>
                    <a:pt x="116424" y="49673"/>
                    <a:pt x="108338" y="53083"/>
                    <a:pt x="100860" y="57378"/>
                  </a:cubicBezTo>
                  <a:lnTo>
                    <a:pt x="83744" y="40005"/>
                  </a:lnTo>
                  <a:lnTo>
                    <a:pt x="43491" y="80858"/>
                  </a:lnTo>
                  <a:lnTo>
                    <a:pt x="60617" y="98231"/>
                  </a:lnTo>
                  <a:cubicBezTo>
                    <a:pt x="56359" y="105842"/>
                    <a:pt x="53035" y="114005"/>
                    <a:pt x="50692" y="122634"/>
                  </a:cubicBezTo>
                  <a:lnTo>
                    <a:pt x="26470" y="122634"/>
                  </a:lnTo>
                  <a:lnTo>
                    <a:pt x="26470" y="180423"/>
                  </a:lnTo>
                  <a:lnTo>
                    <a:pt x="50692" y="180423"/>
                  </a:lnTo>
                  <a:cubicBezTo>
                    <a:pt x="53035" y="189033"/>
                    <a:pt x="56379" y="197215"/>
                    <a:pt x="60617" y="204844"/>
                  </a:cubicBezTo>
                  <a:lnTo>
                    <a:pt x="43491" y="222190"/>
                  </a:lnTo>
                  <a:lnTo>
                    <a:pt x="83744" y="263052"/>
                  </a:lnTo>
                  <a:lnTo>
                    <a:pt x="100860" y="245697"/>
                  </a:lnTo>
                  <a:cubicBezTo>
                    <a:pt x="108356" y="250031"/>
                    <a:pt x="116405" y="253375"/>
                    <a:pt x="124892" y="255765"/>
                  </a:cubicBezTo>
                  <a:lnTo>
                    <a:pt x="124892" y="280321"/>
                  </a:lnTo>
                  <a:lnTo>
                    <a:pt x="181823" y="280321"/>
                  </a:lnTo>
                  <a:lnTo>
                    <a:pt x="181823" y="255765"/>
                  </a:lnTo>
                  <a:cubicBezTo>
                    <a:pt x="190300" y="253375"/>
                    <a:pt x="198368" y="249984"/>
                    <a:pt x="205864" y="245697"/>
                  </a:cubicBezTo>
                  <a:lnTo>
                    <a:pt x="222961" y="263052"/>
                  </a:lnTo>
                  <a:lnTo>
                    <a:pt x="263233" y="222190"/>
                  </a:lnTo>
                  <a:lnTo>
                    <a:pt x="246136" y="204844"/>
                  </a:lnTo>
                  <a:cubicBezTo>
                    <a:pt x="250403" y="197215"/>
                    <a:pt x="253698" y="189043"/>
                    <a:pt x="256061" y="180423"/>
                  </a:cubicBezTo>
                  <a:lnTo>
                    <a:pt x="280254" y="180423"/>
                  </a:lnTo>
                  <a:lnTo>
                    <a:pt x="280254" y="122634"/>
                  </a:lnTo>
                  <a:lnTo>
                    <a:pt x="256061" y="122634"/>
                  </a:lnTo>
                  <a:cubicBezTo>
                    <a:pt x="253698" y="114024"/>
                    <a:pt x="250346" y="105842"/>
                    <a:pt x="246136" y="98231"/>
                  </a:cubicBezTo>
                  <a:lnTo>
                    <a:pt x="263233" y="80858"/>
                  </a:lnTo>
                  <a:lnTo>
                    <a:pt x="222961" y="40005"/>
                  </a:lnTo>
                  <a:lnTo>
                    <a:pt x="205864" y="57378"/>
                  </a:lnTo>
                  <a:cubicBezTo>
                    <a:pt x="198348" y="53026"/>
                    <a:pt x="190319" y="49673"/>
                    <a:pt x="181823" y="47282"/>
                  </a:cubicBezTo>
                  <a:lnTo>
                    <a:pt x="181823" y="22746"/>
                  </a:lnTo>
                  <a:lnTo>
                    <a:pt x="124892" y="22746"/>
                  </a:lnTo>
                  <a:close/>
                  <a:moveTo>
                    <a:pt x="357359" y="108614"/>
                  </a:moveTo>
                  <a:lnTo>
                    <a:pt x="357359" y="123368"/>
                  </a:lnTo>
                  <a:cubicBezTo>
                    <a:pt x="352616" y="124777"/>
                    <a:pt x="348139" y="126682"/>
                    <a:pt x="343843" y="129074"/>
                  </a:cubicBezTo>
                  <a:lnTo>
                    <a:pt x="333566" y="118624"/>
                  </a:lnTo>
                  <a:lnTo>
                    <a:pt x="306724" y="145866"/>
                  </a:lnTo>
                  <a:lnTo>
                    <a:pt x="317011" y="156305"/>
                  </a:lnTo>
                  <a:cubicBezTo>
                    <a:pt x="314677" y="160639"/>
                    <a:pt x="312782" y="165182"/>
                    <a:pt x="311410" y="170002"/>
                  </a:cubicBezTo>
                  <a:lnTo>
                    <a:pt x="296856" y="170002"/>
                  </a:lnTo>
                  <a:lnTo>
                    <a:pt x="296856" y="208522"/>
                  </a:lnTo>
                  <a:lnTo>
                    <a:pt x="311410" y="208522"/>
                  </a:lnTo>
                  <a:cubicBezTo>
                    <a:pt x="312801" y="213331"/>
                    <a:pt x="314677" y="217904"/>
                    <a:pt x="317011" y="222218"/>
                  </a:cubicBezTo>
                  <a:lnTo>
                    <a:pt x="306724" y="232658"/>
                  </a:lnTo>
                  <a:lnTo>
                    <a:pt x="333566" y="259889"/>
                  </a:lnTo>
                  <a:lnTo>
                    <a:pt x="343843" y="249450"/>
                  </a:lnTo>
                  <a:cubicBezTo>
                    <a:pt x="348139" y="251841"/>
                    <a:pt x="352597" y="253765"/>
                    <a:pt x="357359" y="255146"/>
                  </a:cubicBezTo>
                  <a:lnTo>
                    <a:pt x="357359" y="269929"/>
                  </a:lnTo>
                  <a:lnTo>
                    <a:pt x="395316" y="269929"/>
                  </a:lnTo>
                  <a:lnTo>
                    <a:pt x="395316" y="255146"/>
                  </a:lnTo>
                  <a:cubicBezTo>
                    <a:pt x="400059" y="253765"/>
                    <a:pt x="404536" y="251841"/>
                    <a:pt x="408823" y="249450"/>
                  </a:cubicBezTo>
                  <a:lnTo>
                    <a:pt x="419109" y="259889"/>
                  </a:lnTo>
                  <a:lnTo>
                    <a:pt x="445941" y="232658"/>
                  </a:lnTo>
                  <a:lnTo>
                    <a:pt x="435654" y="222218"/>
                  </a:lnTo>
                  <a:cubicBezTo>
                    <a:pt x="437988" y="217904"/>
                    <a:pt x="439893" y="213331"/>
                    <a:pt x="441255" y="208522"/>
                  </a:cubicBezTo>
                  <a:lnTo>
                    <a:pt x="455809" y="208522"/>
                  </a:lnTo>
                  <a:lnTo>
                    <a:pt x="455809" y="170002"/>
                  </a:lnTo>
                  <a:lnTo>
                    <a:pt x="455790" y="170002"/>
                  </a:lnTo>
                  <a:lnTo>
                    <a:pt x="441236" y="170002"/>
                  </a:lnTo>
                  <a:cubicBezTo>
                    <a:pt x="439855" y="165182"/>
                    <a:pt x="437969" y="160639"/>
                    <a:pt x="435636" y="156305"/>
                  </a:cubicBezTo>
                  <a:lnTo>
                    <a:pt x="445922" y="145866"/>
                  </a:lnTo>
                  <a:lnTo>
                    <a:pt x="419091" y="118624"/>
                  </a:lnTo>
                  <a:lnTo>
                    <a:pt x="408823" y="129074"/>
                  </a:lnTo>
                  <a:cubicBezTo>
                    <a:pt x="404536" y="126682"/>
                    <a:pt x="400079" y="124777"/>
                    <a:pt x="395316" y="123368"/>
                  </a:cubicBezTo>
                  <a:lnTo>
                    <a:pt x="395316" y="108614"/>
                  </a:lnTo>
                  <a:lnTo>
                    <a:pt x="357359" y="108614"/>
                  </a:lnTo>
                  <a:close/>
                </a:path>
              </a:pathLst>
            </a:custGeom>
            <a:solidFill>
              <a:srgbClr val="FFFFFF"/>
            </a:solidFill>
            <a:ln w="9525" cap="flat">
              <a:solidFill>
                <a:srgbClr val="FFFFFF"/>
              </a:solidFill>
              <a:prstDash val="solid"/>
              <a:round/>
            </a:ln>
          </p:spPr>
          <p:txBody>
            <a:bodyPr rtlCol="0" anchor="ctr"/>
            <a:lstStyle/>
            <a:p>
              <a:endParaRPr lang="en-GB" dirty="0">
                <a:solidFill>
                  <a:srgbClr val="000000"/>
                </a:solidFill>
                <a:latin typeface="+mn-lt"/>
              </a:endParaRPr>
            </a:p>
          </p:txBody>
        </p:sp>
        <p:sp>
          <p:nvSpPr>
            <p:cNvPr id="18" name="Forme libre : forme 17">
              <a:extLst>
                <a:ext uri="{FF2B5EF4-FFF2-40B4-BE49-F238E27FC236}">
                  <a16:creationId xmlns:a16="http://schemas.microsoft.com/office/drawing/2014/main" id="{1800783D-B016-4D32-BE85-F88A0042A4CE}"/>
                </a:ext>
              </a:extLst>
            </p:cNvPr>
            <p:cNvSpPr/>
            <p:nvPr/>
          </p:nvSpPr>
          <p:spPr>
            <a:xfrm>
              <a:off x="9744249" y="1932523"/>
              <a:ext cx="95250" cy="104775"/>
            </a:xfrm>
            <a:custGeom>
              <a:avLst/>
              <a:gdLst>
                <a:gd name="connsiteX0" fmla="*/ 47625 w 95250"/>
                <a:gd name="connsiteY0" fmla="*/ 0 h 104775"/>
                <a:gd name="connsiteX1" fmla="*/ 95250 w 95250"/>
                <a:gd name="connsiteY1" fmla="*/ 52388 h 104775"/>
                <a:gd name="connsiteX2" fmla="*/ 47625 w 95250"/>
                <a:gd name="connsiteY2" fmla="*/ 104775 h 104775"/>
                <a:gd name="connsiteX3" fmla="*/ 0 w 95250"/>
                <a:gd name="connsiteY3" fmla="*/ 52388 h 104775"/>
                <a:gd name="connsiteX4" fmla="*/ 47625 w 95250"/>
                <a:gd name="connsiteY4" fmla="*/ 0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47625" y="0"/>
                  </a:moveTo>
                  <a:cubicBezTo>
                    <a:pt x="73895" y="0"/>
                    <a:pt x="95250" y="23536"/>
                    <a:pt x="95250" y="52388"/>
                  </a:cubicBezTo>
                  <a:cubicBezTo>
                    <a:pt x="95250" y="81277"/>
                    <a:pt x="73886" y="104775"/>
                    <a:pt x="47625" y="104775"/>
                  </a:cubicBezTo>
                  <a:cubicBezTo>
                    <a:pt x="21384" y="104775"/>
                    <a:pt x="0" y="81277"/>
                    <a:pt x="0" y="52388"/>
                  </a:cubicBezTo>
                  <a:cubicBezTo>
                    <a:pt x="0" y="23517"/>
                    <a:pt x="21384" y="0"/>
                    <a:pt x="47625" y="0"/>
                  </a:cubicBezTo>
                  <a:close/>
                </a:path>
              </a:pathLst>
            </a:custGeom>
            <a:solidFill>
              <a:srgbClr val="87737B"/>
            </a:solidFill>
            <a:ln w="9525" cap="flat">
              <a:solidFill>
                <a:srgbClr val="87737B"/>
              </a:solidFill>
              <a:prstDash val="solid"/>
              <a:round/>
            </a:ln>
          </p:spPr>
          <p:txBody>
            <a:bodyPr rtlCol="0" anchor="ctr"/>
            <a:lstStyle/>
            <a:p>
              <a:endParaRPr lang="en-GB" dirty="0">
                <a:solidFill>
                  <a:srgbClr val="000000"/>
                </a:solidFill>
                <a:latin typeface="+mn-lt"/>
              </a:endParaRPr>
            </a:p>
          </p:txBody>
        </p:sp>
        <p:sp>
          <p:nvSpPr>
            <p:cNvPr id="19" name="Forme libre : forme 18">
              <a:extLst>
                <a:ext uri="{FF2B5EF4-FFF2-40B4-BE49-F238E27FC236}">
                  <a16:creationId xmlns:a16="http://schemas.microsoft.com/office/drawing/2014/main" id="{F7E3AC67-0D87-4D34-9585-004F555011C5}"/>
                </a:ext>
              </a:extLst>
            </p:cNvPr>
            <p:cNvSpPr/>
            <p:nvPr/>
          </p:nvSpPr>
          <p:spPr>
            <a:xfrm>
              <a:off x="9982374" y="1989673"/>
              <a:ext cx="57150" cy="66675"/>
            </a:xfrm>
            <a:custGeom>
              <a:avLst/>
              <a:gdLst>
                <a:gd name="connsiteX0" fmla="*/ 28575 w 57150"/>
                <a:gd name="connsiteY0" fmla="*/ 0 h 66675"/>
                <a:gd name="connsiteX1" fmla="*/ 57150 w 57150"/>
                <a:gd name="connsiteY1" fmla="*/ 33338 h 66675"/>
                <a:gd name="connsiteX2" fmla="*/ 28575 w 57150"/>
                <a:gd name="connsiteY2" fmla="*/ 66675 h 66675"/>
                <a:gd name="connsiteX3" fmla="*/ 0 w 57150"/>
                <a:gd name="connsiteY3" fmla="*/ 33338 h 66675"/>
                <a:gd name="connsiteX4" fmla="*/ 28575 w 57150"/>
                <a:gd name="connsiteY4" fmla="*/ 0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66675">
                  <a:moveTo>
                    <a:pt x="28575" y="0"/>
                  </a:moveTo>
                  <a:cubicBezTo>
                    <a:pt x="44339" y="0"/>
                    <a:pt x="57150" y="14954"/>
                    <a:pt x="57150" y="33338"/>
                  </a:cubicBezTo>
                  <a:cubicBezTo>
                    <a:pt x="57150" y="51731"/>
                    <a:pt x="44339" y="66675"/>
                    <a:pt x="28575" y="66675"/>
                  </a:cubicBezTo>
                  <a:cubicBezTo>
                    <a:pt x="12811" y="66675"/>
                    <a:pt x="0" y="51731"/>
                    <a:pt x="0" y="33338"/>
                  </a:cubicBezTo>
                  <a:cubicBezTo>
                    <a:pt x="0" y="14954"/>
                    <a:pt x="12811" y="0"/>
                    <a:pt x="28575" y="0"/>
                  </a:cubicBezTo>
                  <a:close/>
                </a:path>
              </a:pathLst>
            </a:custGeom>
            <a:solidFill>
              <a:srgbClr val="87737B"/>
            </a:solidFill>
            <a:ln w="9525" cap="flat">
              <a:solidFill>
                <a:srgbClr val="87737B"/>
              </a:solidFill>
              <a:prstDash val="solid"/>
              <a:round/>
            </a:ln>
          </p:spPr>
          <p:txBody>
            <a:bodyPr rtlCol="0" anchor="ctr"/>
            <a:lstStyle/>
            <a:p>
              <a:endParaRPr lang="en-GB" dirty="0">
                <a:solidFill>
                  <a:srgbClr val="000000"/>
                </a:solidFill>
                <a:latin typeface="+mn-lt"/>
              </a:endParaRPr>
            </a:p>
          </p:txBody>
        </p:sp>
        <p:sp>
          <p:nvSpPr>
            <p:cNvPr id="20" name="Forme libre : forme 19">
              <a:extLst>
                <a:ext uri="{FF2B5EF4-FFF2-40B4-BE49-F238E27FC236}">
                  <a16:creationId xmlns:a16="http://schemas.microsoft.com/office/drawing/2014/main" id="{ACF7248F-B926-4420-9102-784A99F62A12}"/>
                </a:ext>
              </a:extLst>
            </p:cNvPr>
            <p:cNvSpPr/>
            <p:nvPr/>
          </p:nvSpPr>
          <p:spPr>
            <a:xfrm>
              <a:off x="9677574" y="1780123"/>
              <a:ext cx="361950" cy="57149"/>
            </a:xfrm>
            <a:custGeom>
              <a:avLst/>
              <a:gdLst>
                <a:gd name="connsiteX0" fmla="*/ 169555 w 361950"/>
                <a:gd name="connsiteY0" fmla="*/ 9 h 57149"/>
                <a:gd name="connsiteX1" fmla="*/ 354302 w 361950"/>
                <a:gd name="connsiteY1" fmla="*/ 50654 h 57149"/>
                <a:gd name="connsiteX2" fmla="*/ 361950 w 361950"/>
                <a:gd name="connsiteY2" fmla="*/ 57150 h 57149"/>
                <a:gd name="connsiteX3" fmla="*/ 0 w 361950"/>
                <a:gd name="connsiteY3" fmla="*/ 57150 h 57149"/>
                <a:gd name="connsiteX4" fmla="*/ 8058 w 361950"/>
                <a:gd name="connsiteY4" fmla="*/ 50063 h 57149"/>
                <a:gd name="connsiteX5" fmla="*/ 169555 w 361950"/>
                <a:gd name="connsiteY5" fmla="*/ 9 h 5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57149">
                  <a:moveTo>
                    <a:pt x="169555" y="9"/>
                  </a:moveTo>
                  <a:cubicBezTo>
                    <a:pt x="264786" y="667"/>
                    <a:pt x="317497" y="22413"/>
                    <a:pt x="354302" y="50654"/>
                  </a:cubicBezTo>
                  <a:lnTo>
                    <a:pt x="361950" y="57150"/>
                  </a:lnTo>
                  <a:lnTo>
                    <a:pt x="0" y="57150"/>
                  </a:lnTo>
                  <a:lnTo>
                    <a:pt x="8058" y="50063"/>
                  </a:lnTo>
                  <a:cubicBezTo>
                    <a:pt x="62722" y="8172"/>
                    <a:pt x="126159" y="-324"/>
                    <a:pt x="169555" y="9"/>
                  </a:cubicBezTo>
                  <a:close/>
                </a:path>
              </a:pathLst>
            </a:custGeom>
            <a:solidFill>
              <a:srgbClr val="FFFFFF"/>
            </a:solidFill>
            <a:ln w="9525" cap="flat">
              <a:noFill/>
              <a:prstDash val="solid"/>
              <a:round/>
            </a:ln>
          </p:spPr>
          <p:txBody>
            <a:bodyPr rtlCol="0" anchor="ctr"/>
            <a:lstStyle/>
            <a:p>
              <a:endParaRPr lang="en-GB" dirty="0">
                <a:solidFill>
                  <a:srgbClr val="000000"/>
                </a:solidFill>
                <a:latin typeface="+mn-lt"/>
              </a:endParaRPr>
            </a:p>
          </p:txBody>
        </p:sp>
        <p:sp>
          <p:nvSpPr>
            <p:cNvPr id="21" name="Forme libre : forme 20">
              <a:extLst>
                <a:ext uri="{FF2B5EF4-FFF2-40B4-BE49-F238E27FC236}">
                  <a16:creationId xmlns:a16="http://schemas.microsoft.com/office/drawing/2014/main" id="{93BE7307-2752-482A-BFF7-16FD75863231}"/>
                </a:ext>
              </a:extLst>
            </p:cNvPr>
            <p:cNvSpPr/>
            <p:nvPr/>
          </p:nvSpPr>
          <p:spPr>
            <a:xfrm>
              <a:off x="9668049" y="1856323"/>
              <a:ext cx="247650" cy="257175"/>
            </a:xfrm>
            <a:custGeom>
              <a:avLst/>
              <a:gdLst>
                <a:gd name="connsiteX0" fmla="*/ 96041 w 247650"/>
                <a:gd name="connsiteY0" fmla="*/ 0 h 257175"/>
                <a:gd name="connsiteX1" fmla="*/ 151600 w 247650"/>
                <a:gd name="connsiteY1" fmla="*/ 0 h 257175"/>
                <a:gd name="connsiteX2" fmla="*/ 151600 w 247650"/>
                <a:gd name="connsiteY2" fmla="*/ 24499 h 257175"/>
                <a:gd name="connsiteX3" fmla="*/ 175060 w 247650"/>
                <a:gd name="connsiteY3" fmla="*/ 34576 h 257175"/>
                <a:gd name="connsiteX4" fmla="*/ 191748 w 247650"/>
                <a:gd name="connsiteY4" fmla="*/ 17231 h 257175"/>
                <a:gd name="connsiteX5" fmla="*/ 231038 w 247650"/>
                <a:gd name="connsiteY5" fmla="*/ 58017 h 257175"/>
                <a:gd name="connsiteX6" fmla="*/ 214351 w 247650"/>
                <a:gd name="connsiteY6" fmla="*/ 75372 h 257175"/>
                <a:gd name="connsiteX7" fmla="*/ 224037 w 247650"/>
                <a:gd name="connsiteY7" fmla="*/ 99726 h 257175"/>
                <a:gd name="connsiteX8" fmla="*/ 247650 w 247650"/>
                <a:gd name="connsiteY8" fmla="*/ 99726 h 257175"/>
                <a:gd name="connsiteX9" fmla="*/ 247650 w 247650"/>
                <a:gd name="connsiteY9" fmla="*/ 157429 h 257175"/>
                <a:gd name="connsiteX10" fmla="*/ 224037 w 247650"/>
                <a:gd name="connsiteY10" fmla="*/ 157429 h 257175"/>
                <a:gd name="connsiteX11" fmla="*/ 214351 w 247650"/>
                <a:gd name="connsiteY11" fmla="*/ 181813 h 257175"/>
                <a:gd name="connsiteX12" fmla="*/ 231038 w 247650"/>
                <a:gd name="connsiteY12" fmla="*/ 199139 h 257175"/>
                <a:gd name="connsiteX13" fmla="*/ 191748 w 247650"/>
                <a:gd name="connsiteY13" fmla="*/ 239925 h 257175"/>
                <a:gd name="connsiteX14" fmla="*/ 175060 w 247650"/>
                <a:gd name="connsiteY14" fmla="*/ 222599 h 257175"/>
                <a:gd name="connsiteX15" fmla="*/ 151600 w 247650"/>
                <a:gd name="connsiteY15" fmla="*/ 232658 h 257175"/>
                <a:gd name="connsiteX16" fmla="*/ 151600 w 247650"/>
                <a:gd name="connsiteY16" fmla="*/ 257175 h 257175"/>
                <a:gd name="connsiteX17" fmla="*/ 96041 w 247650"/>
                <a:gd name="connsiteY17" fmla="*/ 257175 h 257175"/>
                <a:gd name="connsiteX18" fmla="*/ 96041 w 247650"/>
                <a:gd name="connsiteY18" fmla="*/ 232658 h 257175"/>
                <a:gd name="connsiteX19" fmla="*/ 72600 w 247650"/>
                <a:gd name="connsiteY19" fmla="*/ 222599 h 257175"/>
                <a:gd name="connsiteX20" fmla="*/ 55893 w 247650"/>
                <a:gd name="connsiteY20" fmla="*/ 239925 h 257175"/>
                <a:gd name="connsiteX21" fmla="*/ 16612 w 247650"/>
                <a:gd name="connsiteY21" fmla="*/ 199139 h 257175"/>
                <a:gd name="connsiteX22" fmla="*/ 33318 w 247650"/>
                <a:gd name="connsiteY22" fmla="*/ 181813 h 257175"/>
                <a:gd name="connsiteX23" fmla="*/ 23632 w 247650"/>
                <a:gd name="connsiteY23" fmla="*/ 157429 h 257175"/>
                <a:gd name="connsiteX24" fmla="*/ 0 w 247650"/>
                <a:gd name="connsiteY24" fmla="*/ 157429 h 257175"/>
                <a:gd name="connsiteX25" fmla="*/ 0 w 247650"/>
                <a:gd name="connsiteY25" fmla="*/ 99726 h 257175"/>
                <a:gd name="connsiteX26" fmla="*/ 23632 w 247650"/>
                <a:gd name="connsiteY26" fmla="*/ 99726 h 257175"/>
                <a:gd name="connsiteX27" fmla="*/ 33318 w 247650"/>
                <a:gd name="connsiteY27" fmla="*/ 75372 h 257175"/>
                <a:gd name="connsiteX28" fmla="*/ 16612 w 247650"/>
                <a:gd name="connsiteY28" fmla="*/ 58017 h 257175"/>
                <a:gd name="connsiteX29" fmla="*/ 55893 w 247650"/>
                <a:gd name="connsiteY29" fmla="*/ 17231 h 257175"/>
                <a:gd name="connsiteX30" fmla="*/ 72600 w 247650"/>
                <a:gd name="connsiteY30" fmla="*/ 34576 h 257175"/>
                <a:gd name="connsiteX31" fmla="*/ 96041 w 247650"/>
                <a:gd name="connsiteY31" fmla="*/ 24499 h 257175"/>
                <a:gd name="connsiteX32" fmla="*/ 96041 w 247650"/>
                <a:gd name="connsiteY32" fmla="*/ 0 h 257175"/>
                <a:gd name="connsiteX33" fmla="*/ 123797 w 247650"/>
                <a:gd name="connsiteY33" fmla="*/ 78171 h 257175"/>
                <a:gd name="connsiteX34" fmla="*/ 75257 w 247650"/>
                <a:gd name="connsiteY34" fmla="*/ 128597 h 257175"/>
                <a:gd name="connsiteX35" fmla="*/ 123797 w 247650"/>
                <a:gd name="connsiteY35" fmla="*/ 179022 h 257175"/>
                <a:gd name="connsiteX36" fmla="*/ 172336 w 247650"/>
                <a:gd name="connsiteY36" fmla="*/ 128597 h 257175"/>
                <a:gd name="connsiteX37" fmla="*/ 123797 w 247650"/>
                <a:gd name="connsiteY37" fmla="*/ 7817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7650" h="257175">
                  <a:moveTo>
                    <a:pt x="96041" y="0"/>
                  </a:moveTo>
                  <a:lnTo>
                    <a:pt x="151600" y="0"/>
                  </a:lnTo>
                  <a:lnTo>
                    <a:pt x="151600" y="24499"/>
                  </a:lnTo>
                  <a:cubicBezTo>
                    <a:pt x="159887" y="26889"/>
                    <a:pt x="167726" y="30232"/>
                    <a:pt x="175060" y="34576"/>
                  </a:cubicBezTo>
                  <a:lnTo>
                    <a:pt x="191748" y="17231"/>
                  </a:lnTo>
                  <a:lnTo>
                    <a:pt x="231038" y="58017"/>
                  </a:lnTo>
                  <a:lnTo>
                    <a:pt x="214351" y="75372"/>
                  </a:lnTo>
                  <a:cubicBezTo>
                    <a:pt x="218465" y="82963"/>
                    <a:pt x="221742" y="91135"/>
                    <a:pt x="224037" y="99726"/>
                  </a:cubicBezTo>
                  <a:lnTo>
                    <a:pt x="247650" y="99726"/>
                  </a:lnTo>
                  <a:lnTo>
                    <a:pt x="247650" y="157429"/>
                  </a:lnTo>
                  <a:lnTo>
                    <a:pt x="224037" y="157429"/>
                  </a:lnTo>
                  <a:cubicBezTo>
                    <a:pt x="221742" y="166040"/>
                    <a:pt x="218523" y="174193"/>
                    <a:pt x="214351" y="181813"/>
                  </a:cubicBezTo>
                  <a:lnTo>
                    <a:pt x="231038" y="199139"/>
                  </a:lnTo>
                  <a:lnTo>
                    <a:pt x="191748" y="239925"/>
                  </a:lnTo>
                  <a:lnTo>
                    <a:pt x="175060" y="222599"/>
                  </a:lnTo>
                  <a:cubicBezTo>
                    <a:pt x="167745" y="226886"/>
                    <a:pt x="159877" y="230267"/>
                    <a:pt x="151600" y="232658"/>
                  </a:cubicBezTo>
                  <a:lnTo>
                    <a:pt x="151600" y="257175"/>
                  </a:lnTo>
                  <a:lnTo>
                    <a:pt x="96041" y="257175"/>
                  </a:lnTo>
                  <a:lnTo>
                    <a:pt x="96041" y="232658"/>
                  </a:lnTo>
                  <a:cubicBezTo>
                    <a:pt x="87763" y="230267"/>
                    <a:pt x="79905" y="226923"/>
                    <a:pt x="72600" y="222599"/>
                  </a:cubicBezTo>
                  <a:lnTo>
                    <a:pt x="55893" y="239925"/>
                  </a:lnTo>
                  <a:lnTo>
                    <a:pt x="16612" y="199139"/>
                  </a:lnTo>
                  <a:lnTo>
                    <a:pt x="33318" y="181813"/>
                  </a:lnTo>
                  <a:cubicBezTo>
                    <a:pt x="29185" y="174193"/>
                    <a:pt x="25927" y="166021"/>
                    <a:pt x="23632" y="157429"/>
                  </a:cubicBezTo>
                  <a:lnTo>
                    <a:pt x="0" y="157429"/>
                  </a:lnTo>
                  <a:lnTo>
                    <a:pt x="0" y="99726"/>
                  </a:lnTo>
                  <a:lnTo>
                    <a:pt x="23632" y="99726"/>
                  </a:lnTo>
                  <a:cubicBezTo>
                    <a:pt x="25927" y="91116"/>
                    <a:pt x="29166" y="82963"/>
                    <a:pt x="33318" y="75372"/>
                  </a:cubicBezTo>
                  <a:lnTo>
                    <a:pt x="16612" y="58017"/>
                  </a:lnTo>
                  <a:lnTo>
                    <a:pt x="55893" y="17231"/>
                  </a:lnTo>
                  <a:lnTo>
                    <a:pt x="72600" y="34576"/>
                  </a:lnTo>
                  <a:cubicBezTo>
                    <a:pt x="79886" y="30289"/>
                    <a:pt x="87782" y="26889"/>
                    <a:pt x="96041" y="24499"/>
                  </a:cubicBezTo>
                  <a:lnTo>
                    <a:pt x="96041" y="0"/>
                  </a:lnTo>
                  <a:close/>
                  <a:moveTo>
                    <a:pt x="123797" y="78171"/>
                  </a:moveTo>
                  <a:cubicBezTo>
                    <a:pt x="97060" y="78171"/>
                    <a:pt x="75257" y="100812"/>
                    <a:pt x="75257" y="128597"/>
                  </a:cubicBezTo>
                  <a:cubicBezTo>
                    <a:pt x="75257" y="156410"/>
                    <a:pt x="97060" y="179022"/>
                    <a:pt x="123797" y="179022"/>
                  </a:cubicBezTo>
                  <a:cubicBezTo>
                    <a:pt x="150562" y="179022"/>
                    <a:pt x="172336" y="156410"/>
                    <a:pt x="172336" y="128597"/>
                  </a:cubicBezTo>
                  <a:cubicBezTo>
                    <a:pt x="172336" y="100832"/>
                    <a:pt x="150571" y="78171"/>
                    <a:pt x="123797" y="78171"/>
                  </a:cubicBezTo>
                  <a:close/>
                </a:path>
              </a:pathLst>
            </a:custGeom>
            <a:solidFill>
              <a:srgbClr val="D9D9D9"/>
            </a:solidFill>
            <a:ln w="9525" cap="flat">
              <a:solidFill>
                <a:srgbClr val="FFFFFF"/>
              </a:solidFill>
              <a:prstDash val="solid"/>
              <a:round/>
            </a:ln>
          </p:spPr>
          <p:txBody>
            <a:bodyPr rtlCol="0" anchor="ctr"/>
            <a:lstStyle/>
            <a:p>
              <a:endParaRPr lang="en-GB" dirty="0">
                <a:solidFill>
                  <a:srgbClr val="000000"/>
                </a:solidFill>
                <a:latin typeface="+mn-lt"/>
              </a:endParaRPr>
            </a:p>
          </p:txBody>
        </p:sp>
        <p:sp>
          <p:nvSpPr>
            <p:cNvPr id="22" name="Forme libre : forme 21">
              <a:extLst>
                <a:ext uri="{FF2B5EF4-FFF2-40B4-BE49-F238E27FC236}">
                  <a16:creationId xmlns:a16="http://schemas.microsoft.com/office/drawing/2014/main" id="{5B2B9F42-A464-4D2E-A120-0ED998F5587A}"/>
                </a:ext>
              </a:extLst>
            </p:cNvPr>
            <p:cNvSpPr/>
            <p:nvPr/>
          </p:nvSpPr>
          <p:spPr>
            <a:xfrm>
              <a:off x="9582322" y="1884898"/>
              <a:ext cx="495301" cy="590550"/>
            </a:xfrm>
            <a:custGeom>
              <a:avLst/>
              <a:gdLst>
                <a:gd name="connsiteX0" fmla="*/ 57856 w 495301"/>
                <a:gd name="connsiteY0" fmla="*/ 0 h 590550"/>
                <a:gd name="connsiteX1" fmla="*/ 57856 w 495301"/>
                <a:gd name="connsiteY1" fmla="*/ 265243 h 590550"/>
                <a:gd name="connsiteX2" fmla="*/ 495302 w 495301"/>
                <a:gd name="connsiteY2" fmla="*/ 265243 h 590550"/>
                <a:gd name="connsiteX3" fmla="*/ 492311 w 495301"/>
                <a:gd name="connsiteY3" fmla="*/ 269624 h 590550"/>
                <a:gd name="connsiteX4" fmla="*/ 482100 w 495301"/>
                <a:gd name="connsiteY4" fmla="*/ 283702 h 590550"/>
                <a:gd name="connsiteX5" fmla="*/ 455611 w 495301"/>
                <a:gd name="connsiteY5" fmla="*/ 415090 h 590550"/>
                <a:gd name="connsiteX6" fmla="*/ 264540 w 495301"/>
                <a:gd name="connsiteY6" fmla="*/ 590550 h 590550"/>
                <a:gd name="connsiteX7" fmla="*/ 210304 w 495301"/>
                <a:gd name="connsiteY7" fmla="*/ 473011 h 590550"/>
                <a:gd name="connsiteX8" fmla="*/ 134666 w 495301"/>
                <a:gd name="connsiteY8" fmla="*/ 458276 h 590550"/>
                <a:gd name="connsiteX9" fmla="*/ 66229 w 495301"/>
                <a:gd name="connsiteY9" fmla="*/ 448951 h 590550"/>
                <a:gd name="connsiteX10" fmla="*/ 59924 w 495301"/>
                <a:gd name="connsiteY10" fmla="*/ 411413 h 590550"/>
                <a:gd name="connsiteX11" fmla="*/ 52694 w 495301"/>
                <a:gd name="connsiteY11" fmla="*/ 381981 h 590550"/>
                <a:gd name="connsiteX12" fmla="*/ 47636 w 495301"/>
                <a:gd name="connsiteY12" fmla="*/ 357597 h 590550"/>
                <a:gd name="connsiteX13" fmla="*/ 48874 w 495301"/>
                <a:gd name="connsiteY13" fmla="*/ 350368 h 590550"/>
                <a:gd name="connsiteX14" fmla="*/ 34692 w 495301"/>
                <a:gd name="connsiteY14" fmla="*/ 338833 h 590550"/>
                <a:gd name="connsiteX15" fmla="*/ 35035 w 495301"/>
                <a:gd name="connsiteY15" fmla="*/ 314716 h 590550"/>
                <a:gd name="connsiteX16" fmla="*/ 29653 w 495301"/>
                <a:gd name="connsiteY16" fmla="*/ 297189 h 590550"/>
                <a:gd name="connsiteX17" fmla="*/ 30 w 495301"/>
                <a:gd name="connsiteY17" fmla="*/ 277177 h 590550"/>
                <a:gd name="connsiteX18" fmla="*/ 35292 w 495301"/>
                <a:gd name="connsiteY18" fmla="*/ 202730 h 590550"/>
                <a:gd name="connsiteX19" fmla="*/ 26472 w 495301"/>
                <a:gd name="connsiteY19" fmla="*/ 133960 h 590550"/>
                <a:gd name="connsiteX20" fmla="*/ 56485 w 495301"/>
                <a:gd name="connsiteY20" fmla="*/ 1686 h 590550"/>
                <a:gd name="connsiteX21" fmla="*/ 57856 w 495301"/>
                <a:gd name="connsiteY21" fmla="*/ 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301" h="590550">
                  <a:moveTo>
                    <a:pt x="57856" y="0"/>
                  </a:moveTo>
                  <a:lnTo>
                    <a:pt x="57856" y="265243"/>
                  </a:lnTo>
                  <a:lnTo>
                    <a:pt x="495302" y="265243"/>
                  </a:lnTo>
                  <a:lnTo>
                    <a:pt x="492311" y="269624"/>
                  </a:lnTo>
                  <a:cubicBezTo>
                    <a:pt x="486177" y="278359"/>
                    <a:pt x="482100" y="283702"/>
                    <a:pt x="482100" y="283702"/>
                  </a:cubicBezTo>
                  <a:cubicBezTo>
                    <a:pt x="430084" y="357844"/>
                    <a:pt x="455611" y="415090"/>
                    <a:pt x="455611" y="415090"/>
                  </a:cubicBezTo>
                  <a:cubicBezTo>
                    <a:pt x="350636" y="438531"/>
                    <a:pt x="264540" y="590550"/>
                    <a:pt x="264540" y="590550"/>
                  </a:cubicBezTo>
                  <a:cubicBezTo>
                    <a:pt x="260720" y="568071"/>
                    <a:pt x="210304" y="473011"/>
                    <a:pt x="210304" y="473011"/>
                  </a:cubicBezTo>
                  <a:cubicBezTo>
                    <a:pt x="189187" y="446704"/>
                    <a:pt x="153792" y="455943"/>
                    <a:pt x="134666" y="458276"/>
                  </a:cubicBezTo>
                  <a:cubicBezTo>
                    <a:pt x="79859" y="464944"/>
                    <a:pt x="66229" y="448951"/>
                    <a:pt x="66229" y="448951"/>
                  </a:cubicBezTo>
                  <a:cubicBezTo>
                    <a:pt x="54247" y="441693"/>
                    <a:pt x="59924" y="411413"/>
                    <a:pt x="59924" y="411413"/>
                  </a:cubicBezTo>
                  <a:cubicBezTo>
                    <a:pt x="64334" y="395735"/>
                    <a:pt x="57152" y="388087"/>
                    <a:pt x="52694" y="381981"/>
                  </a:cubicBezTo>
                  <a:cubicBezTo>
                    <a:pt x="40674" y="365313"/>
                    <a:pt x="47636" y="357597"/>
                    <a:pt x="47636" y="357597"/>
                  </a:cubicBezTo>
                  <a:cubicBezTo>
                    <a:pt x="51399" y="352873"/>
                    <a:pt x="48874" y="350368"/>
                    <a:pt x="48874" y="350368"/>
                  </a:cubicBezTo>
                  <a:cubicBezTo>
                    <a:pt x="35635" y="346005"/>
                    <a:pt x="34692" y="338833"/>
                    <a:pt x="34692" y="338833"/>
                  </a:cubicBezTo>
                  <a:lnTo>
                    <a:pt x="35035" y="314716"/>
                  </a:lnTo>
                  <a:cubicBezTo>
                    <a:pt x="37197" y="298171"/>
                    <a:pt x="29653" y="297189"/>
                    <a:pt x="29653" y="297189"/>
                  </a:cubicBezTo>
                  <a:cubicBezTo>
                    <a:pt x="-636" y="296609"/>
                    <a:pt x="30" y="277177"/>
                    <a:pt x="30" y="277177"/>
                  </a:cubicBezTo>
                  <a:cubicBezTo>
                    <a:pt x="-1198" y="266576"/>
                    <a:pt x="35292" y="202730"/>
                    <a:pt x="35292" y="202730"/>
                  </a:cubicBezTo>
                  <a:cubicBezTo>
                    <a:pt x="52313" y="170212"/>
                    <a:pt x="28120" y="150743"/>
                    <a:pt x="26472" y="133960"/>
                  </a:cubicBezTo>
                  <a:cubicBezTo>
                    <a:pt x="20823" y="75762"/>
                    <a:pt x="34282" y="34509"/>
                    <a:pt x="56485" y="1686"/>
                  </a:cubicBezTo>
                  <a:lnTo>
                    <a:pt x="57856" y="0"/>
                  </a:lnTo>
                  <a:close/>
                </a:path>
              </a:pathLst>
            </a:custGeom>
            <a:solidFill>
              <a:srgbClr val="FFFFFF"/>
            </a:solidFill>
            <a:ln w="9525" cap="flat">
              <a:solidFill>
                <a:srgbClr val="FFFFFF"/>
              </a:solidFill>
              <a:prstDash val="solid"/>
              <a:round/>
            </a:ln>
          </p:spPr>
          <p:txBody>
            <a:bodyPr rtlCol="0" anchor="ctr"/>
            <a:lstStyle/>
            <a:p>
              <a:endParaRPr lang="en-GB" dirty="0">
                <a:solidFill>
                  <a:srgbClr val="000000"/>
                </a:solidFill>
                <a:latin typeface="+mn-lt"/>
              </a:endParaRPr>
            </a:p>
          </p:txBody>
        </p:sp>
        <p:sp>
          <p:nvSpPr>
            <p:cNvPr id="23" name="Forme libre : forme 22">
              <a:extLst>
                <a:ext uri="{FF2B5EF4-FFF2-40B4-BE49-F238E27FC236}">
                  <a16:creationId xmlns:a16="http://schemas.microsoft.com/office/drawing/2014/main" id="{4C6E7EE3-BE69-433F-B4CC-A7123A56E062}"/>
                </a:ext>
              </a:extLst>
            </p:cNvPr>
            <p:cNvSpPr/>
            <p:nvPr/>
          </p:nvSpPr>
          <p:spPr>
            <a:xfrm>
              <a:off x="10115724" y="1942048"/>
              <a:ext cx="9527" cy="142875"/>
            </a:xfrm>
            <a:custGeom>
              <a:avLst/>
              <a:gdLst>
                <a:gd name="connsiteX0" fmla="*/ 0 w 9527"/>
                <a:gd name="connsiteY0" fmla="*/ 0 h 142875"/>
                <a:gd name="connsiteX1" fmla="*/ 3915 w 9527"/>
                <a:gd name="connsiteY1" fmla="*/ 16754 h 142875"/>
                <a:gd name="connsiteX2" fmla="*/ 8639 w 9527"/>
                <a:gd name="connsiteY2" fmla="*/ 94316 h 142875"/>
                <a:gd name="connsiteX3" fmla="*/ 2038 w 9527"/>
                <a:gd name="connsiteY3" fmla="*/ 135598 h 142875"/>
                <a:gd name="connsiteX4" fmla="*/ 0 w 9527"/>
                <a:gd name="connsiteY4" fmla="*/ 142875 h 142875"/>
                <a:gd name="connsiteX5" fmla="*/ 0 w 9527"/>
                <a:gd name="connsiteY5"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7" h="142875">
                  <a:moveTo>
                    <a:pt x="0" y="0"/>
                  </a:moveTo>
                  <a:lnTo>
                    <a:pt x="3915" y="16754"/>
                  </a:lnTo>
                  <a:cubicBezTo>
                    <a:pt x="12563" y="62808"/>
                    <a:pt x="8639" y="94316"/>
                    <a:pt x="8639" y="94316"/>
                  </a:cubicBezTo>
                  <a:cubicBezTo>
                    <a:pt x="8354" y="106280"/>
                    <a:pt x="5762" y="120701"/>
                    <a:pt x="2038" y="135598"/>
                  </a:cubicBezTo>
                  <a:lnTo>
                    <a:pt x="0" y="142875"/>
                  </a:lnTo>
                  <a:lnTo>
                    <a:pt x="0" y="0"/>
                  </a:lnTo>
                  <a:close/>
                </a:path>
              </a:pathLst>
            </a:custGeom>
            <a:solidFill>
              <a:srgbClr val="FFFFFF"/>
            </a:solidFill>
            <a:ln w="9525" cap="flat">
              <a:noFill/>
              <a:prstDash val="solid"/>
              <a:round/>
            </a:ln>
          </p:spPr>
          <p:txBody>
            <a:bodyPr rtlCol="0" anchor="ctr"/>
            <a:lstStyle/>
            <a:p>
              <a:endParaRPr lang="en-GB" dirty="0">
                <a:solidFill>
                  <a:srgbClr val="000000"/>
                </a:solidFill>
                <a:latin typeface="+mn-lt"/>
              </a:endParaRPr>
            </a:p>
          </p:txBody>
        </p:sp>
        <p:sp>
          <p:nvSpPr>
            <p:cNvPr id="24" name="Forme libre : forme 23">
              <a:extLst>
                <a:ext uri="{FF2B5EF4-FFF2-40B4-BE49-F238E27FC236}">
                  <a16:creationId xmlns:a16="http://schemas.microsoft.com/office/drawing/2014/main" id="{34E50A0C-9F44-43C0-B312-80BC859CCA48}"/>
                </a:ext>
              </a:extLst>
            </p:cNvPr>
            <p:cNvSpPr/>
            <p:nvPr/>
          </p:nvSpPr>
          <p:spPr>
            <a:xfrm>
              <a:off x="9934749" y="1942048"/>
              <a:ext cx="161925" cy="161925"/>
            </a:xfrm>
            <a:custGeom>
              <a:avLst/>
              <a:gdLst>
                <a:gd name="connsiteX0" fmla="*/ 61636 w 161925"/>
                <a:gd name="connsiteY0" fmla="*/ 0 h 161925"/>
                <a:gd name="connsiteX1" fmla="*/ 100299 w 161925"/>
                <a:gd name="connsiteY1" fmla="*/ 0 h 161925"/>
                <a:gd name="connsiteX2" fmla="*/ 100299 w 161925"/>
                <a:gd name="connsiteY2" fmla="*/ 14811 h 161925"/>
                <a:gd name="connsiteX3" fmla="*/ 114062 w 161925"/>
                <a:gd name="connsiteY3" fmla="*/ 20536 h 161925"/>
                <a:gd name="connsiteX4" fmla="*/ 124520 w 161925"/>
                <a:gd name="connsiteY4" fmla="*/ 10049 h 161925"/>
                <a:gd name="connsiteX5" fmla="*/ 151857 w 161925"/>
                <a:gd name="connsiteY5" fmla="*/ 37395 h 161925"/>
                <a:gd name="connsiteX6" fmla="*/ 141380 w 161925"/>
                <a:gd name="connsiteY6" fmla="*/ 47873 h 161925"/>
                <a:gd name="connsiteX7" fmla="*/ 147085 w 161925"/>
                <a:gd name="connsiteY7" fmla="*/ 61617 h 161925"/>
                <a:gd name="connsiteX8" fmla="*/ 161906 w 161925"/>
                <a:gd name="connsiteY8" fmla="*/ 61617 h 161925"/>
                <a:gd name="connsiteX9" fmla="*/ 161925 w 161925"/>
                <a:gd name="connsiteY9" fmla="*/ 61617 h 161925"/>
                <a:gd name="connsiteX10" fmla="*/ 161925 w 161925"/>
                <a:gd name="connsiteY10" fmla="*/ 100289 h 161925"/>
                <a:gd name="connsiteX11" fmla="*/ 147095 w 161925"/>
                <a:gd name="connsiteY11" fmla="*/ 100289 h 161925"/>
                <a:gd name="connsiteX12" fmla="*/ 141398 w 161925"/>
                <a:gd name="connsiteY12" fmla="*/ 114033 h 161925"/>
                <a:gd name="connsiteX13" fmla="*/ 151876 w 161925"/>
                <a:gd name="connsiteY13" fmla="*/ 124511 h 161925"/>
                <a:gd name="connsiteX14" fmla="*/ 124539 w 161925"/>
                <a:gd name="connsiteY14" fmla="*/ 151857 h 161925"/>
                <a:gd name="connsiteX15" fmla="*/ 114062 w 161925"/>
                <a:gd name="connsiteY15" fmla="*/ 141380 h 161925"/>
                <a:gd name="connsiteX16" fmla="*/ 100299 w 161925"/>
                <a:gd name="connsiteY16" fmla="*/ 147095 h 161925"/>
                <a:gd name="connsiteX17" fmla="*/ 100299 w 161925"/>
                <a:gd name="connsiteY17" fmla="*/ 161925 h 161925"/>
                <a:gd name="connsiteX18" fmla="*/ 61636 w 161925"/>
                <a:gd name="connsiteY18" fmla="*/ 161925 h 161925"/>
                <a:gd name="connsiteX19" fmla="*/ 61636 w 161925"/>
                <a:gd name="connsiteY19" fmla="*/ 147095 h 161925"/>
                <a:gd name="connsiteX20" fmla="*/ 47873 w 161925"/>
                <a:gd name="connsiteY20" fmla="*/ 141380 h 161925"/>
                <a:gd name="connsiteX21" fmla="*/ 37386 w 161925"/>
                <a:gd name="connsiteY21" fmla="*/ 151857 h 161925"/>
                <a:gd name="connsiteX22" fmla="*/ 10049 w 161925"/>
                <a:gd name="connsiteY22" fmla="*/ 124511 h 161925"/>
                <a:gd name="connsiteX23" fmla="*/ 20527 w 161925"/>
                <a:gd name="connsiteY23" fmla="*/ 114033 h 161925"/>
                <a:gd name="connsiteX24" fmla="*/ 14830 w 161925"/>
                <a:gd name="connsiteY24" fmla="*/ 100289 h 161925"/>
                <a:gd name="connsiteX25" fmla="*/ 0 w 161925"/>
                <a:gd name="connsiteY25" fmla="*/ 100289 h 161925"/>
                <a:gd name="connsiteX26" fmla="*/ 0 w 161925"/>
                <a:gd name="connsiteY26" fmla="*/ 61617 h 161925"/>
                <a:gd name="connsiteX27" fmla="*/ 14830 w 161925"/>
                <a:gd name="connsiteY27" fmla="*/ 61617 h 161925"/>
                <a:gd name="connsiteX28" fmla="*/ 20527 w 161925"/>
                <a:gd name="connsiteY28" fmla="*/ 47873 h 161925"/>
                <a:gd name="connsiteX29" fmla="*/ 10049 w 161925"/>
                <a:gd name="connsiteY29" fmla="*/ 37395 h 161925"/>
                <a:gd name="connsiteX30" fmla="*/ 37386 w 161925"/>
                <a:gd name="connsiteY30" fmla="*/ 10049 h 161925"/>
                <a:gd name="connsiteX31" fmla="*/ 47873 w 161925"/>
                <a:gd name="connsiteY31" fmla="*/ 20536 h 161925"/>
                <a:gd name="connsiteX32" fmla="*/ 61636 w 161925"/>
                <a:gd name="connsiteY32" fmla="*/ 14811 h 161925"/>
                <a:gd name="connsiteX33" fmla="*/ 61636 w 161925"/>
                <a:gd name="connsiteY33" fmla="*/ 0 h 161925"/>
                <a:gd name="connsiteX34" fmla="*/ 80963 w 161925"/>
                <a:gd name="connsiteY34" fmla="*/ 50387 h 161925"/>
                <a:gd name="connsiteX35" fmla="*/ 50397 w 161925"/>
                <a:gd name="connsiteY35" fmla="*/ 80953 h 161925"/>
                <a:gd name="connsiteX36" fmla="*/ 80963 w 161925"/>
                <a:gd name="connsiteY36" fmla="*/ 111519 h 161925"/>
                <a:gd name="connsiteX37" fmla="*/ 111528 w 161925"/>
                <a:gd name="connsiteY37" fmla="*/ 80953 h 161925"/>
                <a:gd name="connsiteX38" fmla="*/ 80963 w 161925"/>
                <a:gd name="connsiteY38" fmla="*/ 5038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1925" h="161925">
                  <a:moveTo>
                    <a:pt x="61636" y="0"/>
                  </a:moveTo>
                  <a:lnTo>
                    <a:pt x="100299" y="0"/>
                  </a:lnTo>
                  <a:lnTo>
                    <a:pt x="100299" y="14811"/>
                  </a:lnTo>
                  <a:cubicBezTo>
                    <a:pt x="105146" y="16221"/>
                    <a:pt x="109690" y="18136"/>
                    <a:pt x="114062" y="20536"/>
                  </a:cubicBezTo>
                  <a:lnTo>
                    <a:pt x="124520" y="10049"/>
                  </a:lnTo>
                  <a:lnTo>
                    <a:pt x="151857" y="37395"/>
                  </a:lnTo>
                  <a:lnTo>
                    <a:pt x="141380" y="47873"/>
                  </a:lnTo>
                  <a:cubicBezTo>
                    <a:pt x="143751" y="52225"/>
                    <a:pt x="145666" y="56788"/>
                    <a:pt x="147085" y="61617"/>
                  </a:cubicBezTo>
                  <a:lnTo>
                    <a:pt x="161906" y="61617"/>
                  </a:lnTo>
                  <a:lnTo>
                    <a:pt x="161925" y="61617"/>
                  </a:lnTo>
                  <a:lnTo>
                    <a:pt x="161925" y="100289"/>
                  </a:lnTo>
                  <a:lnTo>
                    <a:pt x="147095" y="100289"/>
                  </a:lnTo>
                  <a:cubicBezTo>
                    <a:pt x="145704" y="105118"/>
                    <a:pt x="143770" y="109709"/>
                    <a:pt x="141398" y="114033"/>
                  </a:cubicBezTo>
                  <a:lnTo>
                    <a:pt x="151876" y="124511"/>
                  </a:lnTo>
                  <a:lnTo>
                    <a:pt x="124539" y="151857"/>
                  </a:lnTo>
                  <a:lnTo>
                    <a:pt x="114062" y="141380"/>
                  </a:lnTo>
                  <a:cubicBezTo>
                    <a:pt x="109690" y="143770"/>
                    <a:pt x="105127" y="145704"/>
                    <a:pt x="100299" y="147095"/>
                  </a:cubicBezTo>
                  <a:lnTo>
                    <a:pt x="100299" y="161925"/>
                  </a:lnTo>
                  <a:lnTo>
                    <a:pt x="61636" y="161925"/>
                  </a:lnTo>
                  <a:lnTo>
                    <a:pt x="61636" y="147095"/>
                  </a:lnTo>
                  <a:cubicBezTo>
                    <a:pt x="56779" y="145704"/>
                    <a:pt x="52235" y="143770"/>
                    <a:pt x="47873" y="141380"/>
                  </a:cubicBezTo>
                  <a:lnTo>
                    <a:pt x="37386" y="151857"/>
                  </a:lnTo>
                  <a:lnTo>
                    <a:pt x="10049" y="124511"/>
                  </a:lnTo>
                  <a:lnTo>
                    <a:pt x="20527" y="114033"/>
                  </a:lnTo>
                  <a:cubicBezTo>
                    <a:pt x="18155" y="109709"/>
                    <a:pt x="16240" y="105118"/>
                    <a:pt x="14830" y="100289"/>
                  </a:cubicBezTo>
                  <a:lnTo>
                    <a:pt x="0" y="100289"/>
                  </a:lnTo>
                  <a:lnTo>
                    <a:pt x="0" y="61617"/>
                  </a:lnTo>
                  <a:lnTo>
                    <a:pt x="14830" y="61617"/>
                  </a:lnTo>
                  <a:cubicBezTo>
                    <a:pt x="16221" y="56788"/>
                    <a:pt x="18155" y="52225"/>
                    <a:pt x="20527" y="47873"/>
                  </a:cubicBezTo>
                  <a:lnTo>
                    <a:pt x="10049" y="37395"/>
                  </a:lnTo>
                  <a:lnTo>
                    <a:pt x="37386" y="10049"/>
                  </a:lnTo>
                  <a:lnTo>
                    <a:pt x="47873" y="20536"/>
                  </a:lnTo>
                  <a:cubicBezTo>
                    <a:pt x="52235" y="18136"/>
                    <a:pt x="56798" y="16221"/>
                    <a:pt x="61636" y="14811"/>
                  </a:cubicBezTo>
                  <a:lnTo>
                    <a:pt x="61636" y="0"/>
                  </a:lnTo>
                  <a:close/>
                  <a:moveTo>
                    <a:pt x="80963" y="50387"/>
                  </a:moveTo>
                  <a:cubicBezTo>
                    <a:pt x="64103" y="50387"/>
                    <a:pt x="50397" y="64094"/>
                    <a:pt x="50397" y="80953"/>
                  </a:cubicBezTo>
                  <a:cubicBezTo>
                    <a:pt x="50397" y="97812"/>
                    <a:pt x="64103" y="111519"/>
                    <a:pt x="80963" y="111519"/>
                  </a:cubicBezTo>
                  <a:cubicBezTo>
                    <a:pt x="97822" y="111519"/>
                    <a:pt x="111528" y="97812"/>
                    <a:pt x="111528" y="80953"/>
                  </a:cubicBezTo>
                  <a:cubicBezTo>
                    <a:pt x="111528" y="64094"/>
                    <a:pt x="97822" y="50387"/>
                    <a:pt x="80963" y="50387"/>
                  </a:cubicBezTo>
                  <a:close/>
                </a:path>
              </a:pathLst>
            </a:custGeom>
            <a:solidFill>
              <a:srgbClr val="D9D9D9"/>
            </a:solidFill>
            <a:ln w="9525" cap="flat">
              <a:solidFill>
                <a:srgbClr val="FFFFFF"/>
              </a:solidFill>
              <a:prstDash val="solid"/>
              <a:round/>
            </a:ln>
          </p:spPr>
          <p:txBody>
            <a:bodyPr rtlCol="0" anchor="ctr"/>
            <a:lstStyle/>
            <a:p>
              <a:endParaRPr lang="en-GB" dirty="0">
                <a:solidFill>
                  <a:srgbClr val="000000"/>
                </a:solidFill>
                <a:latin typeface="+mn-lt"/>
              </a:endParaRPr>
            </a:p>
          </p:txBody>
        </p:sp>
      </p:grpSp>
    </p:spTree>
    <p:extLst>
      <p:ext uri="{BB962C8B-B14F-4D97-AF65-F5344CB8AC3E}">
        <p14:creationId xmlns:p14="http://schemas.microsoft.com/office/powerpoint/2010/main" val="17174937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Shape 40"/>
          <p:cNvSpPr/>
          <p:nvPr/>
        </p:nvSpPr>
        <p:spPr>
          <a:xfrm rot="18859635">
            <a:off x="5537009" y="3326844"/>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600" kern="0" dirty="0">
              <a:solidFill>
                <a:srgbClr val="000000"/>
              </a:solidFill>
            </a:endParaRPr>
          </a:p>
        </p:txBody>
      </p:sp>
      <p:sp>
        <p:nvSpPr>
          <p:cNvPr id="55" name="Freeform: Shape 54"/>
          <p:cNvSpPr/>
          <p:nvPr/>
        </p:nvSpPr>
        <p:spPr>
          <a:xfrm rot="2284121">
            <a:off x="7752710" y="3148585"/>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600" kern="0" dirty="0">
              <a:solidFill>
                <a:srgbClr val="000000"/>
              </a:solidFill>
            </a:endParaRPr>
          </a:p>
        </p:txBody>
      </p:sp>
      <p:sp>
        <p:nvSpPr>
          <p:cNvPr id="59" name="Oval 58"/>
          <p:cNvSpPr>
            <a:spLocks noChangeAspect="1"/>
          </p:cNvSpPr>
          <p:nvPr/>
        </p:nvSpPr>
        <p:spPr>
          <a:xfrm rot="2284121">
            <a:off x="7275832" y="2121408"/>
            <a:ext cx="1106424" cy="11064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61" name="Oval 60"/>
          <p:cNvSpPr>
            <a:spLocks noChangeAspect="1"/>
          </p:cNvSpPr>
          <p:nvPr/>
        </p:nvSpPr>
        <p:spPr>
          <a:xfrm rot="2284121">
            <a:off x="7371844" y="2217420"/>
            <a:ext cx="914400" cy="914400"/>
          </a:xfrm>
          <a:prstGeom prst="ellipse">
            <a:avLst/>
          </a:prstGeom>
          <a:solidFill>
            <a:srgbClr val="C63E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29" name="Freeform: Shape 28"/>
          <p:cNvSpPr/>
          <p:nvPr/>
        </p:nvSpPr>
        <p:spPr>
          <a:xfrm rot="2284121">
            <a:off x="3277013" y="3492303"/>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600" kern="0" dirty="0">
              <a:solidFill>
                <a:srgbClr val="000000"/>
              </a:solidFill>
            </a:endParaRPr>
          </a:p>
        </p:txBody>
      </p:sp>
      <p:sp>
        <p:nvSpPr>
          <p:cNvPr id="44" name="Oval 43"/>
          <p:cNvSpPr>
            <a:spLocks noChangeAspect="1"/>
          </p:cNvSpPr>
          <p:nvPr/>
        </p:nvSpPr>
        <p:spPr>
          <a:xfrm rot="18859635">
            <a:off x="5193804" y="4311130"/>
            <a:ext cx="1106424" cy="110642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45" name="Oval 44"/>
          <p:cNvSpPr>
            <a:spLocks noChangeAspect="1"/>
          </p:cNvSpPr>
          <p:nvPr/>
        </p:nvSpPr>
        <p:spPr>
          <a:xfrm rot="18859635">
            <a:off x="5289816" y="4407142"/>
            <a:ext cx="9144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graphicFrame>
        <p:nvGraphicFramePr>
          <p:cNvPr id="4" name="Objet 3" hidden="1">
            <a:extLst>
              <a:ext uri="{FF2B5EF4-FFF2-40B4-BE49-F238E27FC236}">
                <a16:creationId xmlns:a16="http://schemas.microsoft.com/office/drawing/2014/main" id="{4D35FADC-2100-43E3-B53F-356BB449D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4D35FADC-2100-43E3-B53F-356BB449D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CE26519-2631-4450-8BA1-471F06068A9F}"/>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F35A18EB-4042-4642-BC15-683C3315E702}"/>
              </a:ext>
            </a:extLst>
          </p:cNvPr>
          <p:cNvSpPr>
            <a:spLocks noGrp="1"/>
          </p:cNvSpPr>
          <p:nvPr>
            <p:ph type="title"/>
          </p:nvPr>
        </p:nvSpPr>
        <p:spPr/>
        <p:txBody>
          <a:bodyPr/>
          <a:lstStyle/>
          <a:p>
            <a:r>
              <a:rPr lang="en-GB" dirty="0"/>
              <a:t>Approach presentation – five steps/ deliverables and description</a:t>
            </a:r>
          </a:p>
        </p:txBody>
      </p:sp>
      <p:sp>
        <p:nvSpPr>
          <p:cNvPr id="21" name="Freeform: Shape 20"/>
          <p:cNvSpPr/>
          <p:nvPr/>
        </p:nvSpPr>
        <p:spPr>
          <a:xfrm rot="18859635">
            <a:off x="1061312" y="3670562"/>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24" name="Oval 23"/>
          <p:cNvSpPr>
            <a:spLocks noChangeAspect="1"/>
          </p:cNvSpPr>
          <p:nvPr/>
        </p:nvSpPr>
        <p:spPr>
          <a:xfrm rot="18859635">
            <a:off x="718107" y="4654848"/>
            <a:ext cx="1106424" cy="110642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25" name="Oval 24"/>
          <p:cNvSpPr>
            <a:spLocks noChangeAspect="1"/>
          </p:cNvSpPr>
          <p:nvPr/>
        </p:nvSpPr>
        <p:spPr>
          <a:xfrm rot="18859635">
            <a:off x="814119" y="4750860"/>
            <a:ext cx="914400" cy="914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32" name="Oval 31"/>
          <p:cNvSpPr>
            <a:spLocks noChangeAspect="1"/>
          </p:cNvSpPr>
          <p:nvPr/>
        </p:nvSpPr>
        <p:spPr>
          <a:xfrm rot="2284121">
            <a:off x="2800029" y="2429903"/>
            <a:ext cx="1106424" cy="110642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33" name="Oval 32"/>
          <p:cNvSpPr>
            <a:spLocks noChangeAspect="1"/>
          </p:cNvSpPr>
          <p:nvPr/>
        </p:nvSpPr>
        <p:spPr>
          <a:xfrm rot="2284121">
            <a:off x="2896041" y="2525915"/>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64" name="TextBox 63"/>
          <p:cNvSpPr txBox="1"/>
          <p:nvPr/>
        </p:nvSpPr>
        <p:spPr>
          <a:xfrm>
            <a:off x="8966969" y="5342448"/>
            <a:ext cx="2805031" cy="954107"/>
          </a:xfrm>
          <a:prstGeom prst="rect">
            <a:avLst/>
          </a:prstGeom>
          <a:noFill/>
        </p:spPr>
        <p:txBody>
          <a:bodyPr wrap="square" rtlCol="0" anchor="t">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a:ln>
                  <a:noFill/>
                </a:ln>
                <a:solidFill>
                  <a:schemeClr val="accent2"/>
                </a:solidFill>
                <a:effectLst/>
                <a:uLnTx/>
                <a:uFillTx/>
                <a:latin typeface="+mn-lt"/>
                <a:ea typeface="+mn-ea"/>
                <a:cs typeface="+mn-cs"/>
              </a:rPr>
              <a:t>Lorem ipsum </a:t>
            </a:r>
            <a:r>
              <a:rPr kumimoji="0" lang="en-GB" i="0" u="none" strike="noStrike" kern="0" cap="none" spc="0" normalizeH="0" baseline="0" noProof="0" dirty="0" err="1">
                <a:ln>
                  <a:noFill/>
                </a:ln>
                <a:solidFill>
                  <a:schemeClr val="accent2"/>
                </a:solidFill>
                <a:effectLst/>
                <a:uLnTx/>
                <a:uFillTx/>
                <a:latin typeface="+mn-lt"/>
                <a:ea typeface="+mn-ea"/>
                <a:cs typeface="+mn-cs"/>
              </a:rPr>
              <a:t>dolor</a:t>
            </a:r>
            <a:r>
              <a:rPr kumimoji="0" lang="en-GB" i="0" u="none" strike="noStrike" kern="0" cap="none" spc="0" normalizeH="0" baseline="0" noProof="0" dirty="0">
                <a:ln>
                  <a:noFill/>
                </a:ln>
                <a:solidFill>
                  <a:schemeClr val="accent2"/>
                </a:solidFill>
                <a:effectLst/>
                <a:uLnTx/>
                <a:uFillTx/>
                <a:latin typeface="+mn-lt"/>
                <a:ea typeface="+mn-ea"/>
                <a:cs typeface="+mn-cs"/>
              </a:rPr>
              <a:t> sit </a:t>
            </a:r>
            <a:r>
              <a:rPr kumimoji="0" lang="en-GB" i="0" u="none" strike="noStrike" kern="0" cap="none" spc="0" normalizeH="0" baseline="0" noProof="0" dirty="0" err="1">
                <a:ln>
                  <a:noFill/>
                </a:ln>
                <a:solidFill>
                  <a:schemeClr val="accent2"/>
                </a:solidFill>
                <a:effectLst/>
                <a:uLnTx/>
                <a:uFillTx/>
                <a:latin typeface="+mn-lt"/>
                <a:ea typeface="+mn-ea"/>
                <a:cs typeface="+mn-cs"/>
              </a:rPr>
              <a:t>amet</a:t>
            </a:r>
            <a:r>
              <a:rPr kumimoji="0" lang="en-GB" i="0" u="none" strike="noStrike" kern="0" cap="none" spc="0" normalizeH="0" baseline="0" noProof="0" dirty="0">
                <a:ln>
                  <a:noFill/>
                </a:ln>
                <a:solidFill>
                  <a:schemeClr val="accent2"/>
                </a:solidFill>
                <a:effectLst/>
                <a:uLnTx/>
                <a:uFillTx/>
                <a:latin typeface="+mn-lt"/>
                <a:ea typeface="+mn-ea"/>
                <a:cs typeface="+mn-cs"/>
              </a:rPr>
              <a:t>, </a:t>
            </a:r>
            <a:r>
              <a:rPr kumimoji="0" lang="en-GB" i="0" u="none" strike="noStrike" kern="0" cap="none" spc="0" normalizeH="0" baseline="0" noProof="0" dirty="0" err="1">
                <a:ln>
                  <a:noFill/>
                </a:ln>
                <a:solidFill>
                  <a:schemeClr val="accent2"/>
                </a:solidFill>
                <a:effectLst/>
                <a:uLnTx/>
                <a:uFillTx/>
                <a:latin typeface="+mn-lt"/>
                <a:ea typeface="+mn-ea"/>
                <a:cs typeface="+mn-cs"/>
              </a:rPr>
              <a:t>consectetur</a:t>
            </a:r>
            <a:r>
              <a:rPr kumimoji="0" lang="en-GB" i="0" u="none" strike="noStrike" kern="0" cap="none" spc="0" normalizeH="0" baseline="0" noProof="0" dirty="0">
                <a:ln>
                  <a:noFill/>
                </a:ln>
                <a:solidFill>
                  <a:schemeClr val="accent2"/>
                </a:solidFill>
                <a:effectLst/>
                <a:uLnTx/>
                <a:uFillTx/>
                <a:latin typeface="+mn-lt"/>
                <a:ea typeface="+mn-ea"/>
                <a:cs typeface="+mn-cs"/>
              </a:rPr>
              <a:t> </a:t>
            </a:r>
            <a:r>
              <a:rPr kumimoji="0" lang="en-GB" i="0" u="none" strike="noStrike" kern="0" cap="none" spc="0" normalizeH="0" baseline="0" noProof="0" dirty="0" err="1">
                <a:ln>
                  <a:noFill/>
                </a:ln>
                <a:solidFill>
                  <a:schemeClr val="accent2"/>
                </a:solidFill>
                <a:effectLst/>
                <a:uLnTx/>
                <a:uFillTx/>
                <a:latin typeface="+mn-lt"/>
                <a:ea typeface="+mn-ea"/>
                <a:cs typeface="+mn-cs"/>
              </a:rPr>
              <a:t>adipiscing</a:t>
            </a:r>
            <a:r>
              <a:rPr kumimoji="0" lang="en-GB" i="0" u="none" strike="noStrike" kern="0" cap="none" spc="0" normalizeH="0" baseline="0" noProof="0" dirty="0">
                <a:ln>
                  <a:noFill/>
                </a:ln>
                <a:solidFill>
                  <a:schemeClr val="accent2"/>
                </a:solidFill>
                <a:effectLst/>
                <a:uLnTx/>
                <a:uFillTx/>
                <a:latin typeface="+mn-lt"/>
                <a:ea typeface="+mn-ea"/>
                <a:cs typeface="+mn-cs"/>
              </a:rPr>
              <a:t> </a:t>
            </a:r>
            <a:r>
              <a:rPr kumimoji="0" lang="en-GB" i="0" u="none" strike="noStrike" kern="0" cap="none" spc="0" normalizeH="0" baseline="0" noProof="0" dirty="0" err="1">
                <a:ln>
                  <a:noFill/>
                </a:ln>
                <a:solidFill>
                  <a:schemeClr val="accent2"/>
                </a:solidFill>
                <a:effectLst/>
                <a:uLnTx/>
                <a:uFillTx/>
                <a:latin typeface="+mn-lt"/>
                <a:ea typeface="+mn-ea"/>
                <a:cs typeface="+mn-cs"/>
              </a:rPr>
              <a:t>elit</a:t>
            </a:r>
            <a:endParaRPr kumimoji="0" lang="en-GB" i="0" u="none" strike="noStrike" kern="0" cap="none" spc="0" normalizeH="0" baseline="0" noProof="0" dirty="0">
              <a:ln>
                <a:noFill/>
              </a:ln>
              <a:solidFill>
                <a:schemeClr val="accent2"/>
              </a:solidFill>
              <a:effectLst/>
              <a:uLnTx/>
              <a:uFillTx/>
              <a:latin typeface="+mn-lt"/>
              <a:ea typeface="+mn-ea"/>
              <a:cs typeface="+mn-cs"/>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err="1">
                <a:ln>
                  <a:noFill/>
                </a:ln>
                <a:effectLst/>
                <a:uLnTx/>
                <a:uFillTx/>
                <a:latin typeface="+mn-lt"/>
                <a:ea typeface="+mn-ea"/>
                <a:cs typeface="+mn-cs"/>
              </a:rPr>
              <a:t>Pellentesque</a:t>
            </a:r>
            <a:r>
              <a:rPr kumimoji="0" lang="en-GB" i="0" u="none" strike="noStrike" kern="0" cap="none" spc="0" normalizeH="0" baseline="0" noProof="0" dirty="0">
                <a:ln>
                  <a:noFill/>
                </a:ln>
                <a:effectLst/>
                <a:uLnTx/>
                <a:uFillTx/>
                <a:latin typeface="+mn-lt"/>
                <a:ea typeface="+mn-ea"/>
                <a:cs typeface="+mn-cs"/>
              </a:rPr>
              <a:t> a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quis</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uctor </a:t>
            </a:r>
            <a:r>
              <a:rPr kumimoji="0" lang="en-GB" i="0" u="none" strike="noStrike" kern="0" cap="none" spc="0" normalizeH="0" baseline="0" noProof="0" dirty="0" err="1">
                <a:ln>
                  <a:noFill/>
                </a:ln>
                <a:effectLst/>
                <a:uLnTx/>
                <a:uFillTx/>
                <a:latin typeface="+mn-lt"/>
                <a:ea typeface="+mn-ea"/>
                <a:cs typeface="+mn-cs"/>
              </a:rPr>
              <a:t>posuere</a:t>
            </a:r>
            <a:r>
              <a:rPr kumimoji="0" lang="en-GB" i="0" u="none" strike="noStrike" kern="0" cap="none" spc="0" normalizeH="0" baseline="0" noProof="0" dirty="0">
                <a:ln>
                  <a:noFill/>
                </a:ln>
                <a:effectLst/>
                <a:uLnTx/>
                <a:uFillTx/>
                <a:latin typeface="+mn-lt"/>
                <a:ea typeface="+mn-ea"/>
                <a:cs typeface="+mn-cs"/>
              </a:rPr>
              <a:t>. </a:t>
            </a:r>
          </a:p>
        </p:txBody>
      </p:sp>
      <p:sp>
        <p:nvSpPr>
          <p:cNvPr id="66" name="TextBox 65"/>
          <p:cNvSpPr txBox="1"/>
          <p:nvPr/>
        </p:nvSpPr>
        <p:spPr>
          <a:xfrm>
            <a:off x="5368632" y="5342448"/>
            <a:ext cx="2805031" cy="954107"/>
          </a:xfrm>
          <a:prstGeom prst="rect">
            <a:avLst/>
          </a:prstGeom>
          <a:noFill/>
        </p:spPr>
        <p:txBody>
          <a:bodyPr wrap="square" rtlCol="0" anchor="t">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a:ln>
                  <a:noFill/>
                </a:ln>
                <a:solidFill>
                  <a:schemeClr val="accent5"/>
                </a:solidFill>
                <a:effectLst/>
                <a:uLnTx/>
                <a:uFillTx/>
                <a:latin typeface="+mn-lt"/>
                <a:ea typeface="+mn-ea"/>
                <a:cs typeface="+mn-cs"/>
              </a:rPr>
              <a:t>Lorem ipsum </a:t>
            </a:r>
            <a:r>
              <a:rPr kumimoji="0" lang="en-GB" i="0" u="none" strike="noStrike" kern="0" cap="none" spc="0" normalizeH="0" baseline="0" noProof="0" dirty="0" err="1">
                <a:ln>
                  <a:noFill/>
                </a:ln>
                <a:solidFill>
                  <a:schemeClr val="accent5"/>
                </a:solidFill>
                <a:effectLst/>
                <a:uLnTx/>
                <a:uFillTx/>
                <a:latin typeface="+mn-lt"/>
                <a:ea typeface="+mn-ea"/>
                <a:cs typeface="+mn-cs"/>
              </a:rPr>
              <a:t>dolor</a:t>
            </a:r>
            <a:r>
              <a:rPr kumimoji="0" lang="en-GB" i="0" u="none" strike="noStrike" kern="0" cap="none" spc="0" normalizeH="0" baseline="0" noProof="0" dirty="0">
                <a:ln>
                  <a:noFill/>
                </a:ln>
                <a:solidFill>
                  <a:schemeClr val="accent5"/>
                </a:solidFill>
                <a:effectLst/>
                <a:uLnTx/>
                <a:uFillTx/>
                <a:latin typeface="+mn-lt"/>
                <a:ea typeface="+mn-ea"/>
                <a:cs typeface="+mn-cs"/>
              </a:rPr>
              <a:t> sit </a:t>
            </a:r>
            <a:r>
              <a:rPr kumimoji="0" lang="en-GB" i="0" u="none" strike="noStrike" kern="0" cap="none" spc="0" normalizeH="0" baseline="0" noProof="0" dirty="0" err="1">
                <a:ln>
                  <a:noFill/>
                </a:ln>
                <a:solidFill>
                  <a:schemeClr val="accent5"/>
                </a:solidFill>
                <a:effectLst/>
                <a:uLnTx/>
                <a:uFillTx/>
                <a:latin typeface="+mn-lt"/>
                <a:ea typeface="+mn-ea"/>
                <a:cs typeface="+mn-cs"/>
              </a:rPr>
              <a:t>amet</a:t>
            </a:r>
            <a:r>
              <a:rPr kumimoji="0" lang="en-GB" i="0" u="none" strike="noStrike" kern="0" cap="none" spc="0" normalizeH="0" baseline="0" noProof="0" dirty="0">
                <a:ln>
                  <a:noFill/>
                </a:ln>
                <a:solidFill>
                  <a:schemeClr val="accent5"/>
                </a:solidFill>
                <a:effectLst/>
                <a:uLnTx/>
                <a:uFillTx/>
                <a:latin typeface="+mn-lt"/>
                <a:ea typeface="+mn-ea"/>
                <a:cs typeface="+mn-cs"/>
              </a:rPr>
              <a:t>, </a:t>
            </a:r>
            <a:r>
              <a:rPr kumimoji="0" lang="en-GB" i="0" u="none" strike="noStrike" kern="0" cap="none" spc="0" normalizeH="0" baseline="0" noProof="0" dirty="0" err="1">
                <a:ln>
                  <a:noFill/>
                </a:ln>
                <a:solidFill>
                  <a:schemeClr val="accent5"/>
                </a:solidFill>
                <a:effectLst/>
                <a:uLnTx/>
                <a:uFillTx/>
                <a:latin typeface="+mn-lt"/>
                <a:ea typeface="+mn-ea"/>
                <a:cs typeface="+mn-cs"/>
              </a:rPr>
              <a:t>consectetur</a:t>
            </a:r>
            <a:r>
              <a:rPr kumimoji="0" lang="en-GB" i="0" u="none" strike="noStrike" kern="0" cap="none" spc="0" normalizeH="0" baseline="0" noProof="0" dirty="0">
                <a:ln>
                  <a:noFill/>
                </a:ln>
                <a:solidFill>
                  <a:schemeClr val="accent5"/>
                </a:solidFill>
                <a:effectLst/>
                <a:uLnTx/>
                <a:uFillTx/>
                <a:latin typeface="+mn-lt"/>
                <a:ea typeface="+mn-ea"/>
                <a:cs typeface="+mn-cs"/>
              </a:rPr>
              <a:t> </a:t>
            </a:r>
            <a:r>
              <a:rPr kumimoji="0" lang="en-GB" i="0" u="none" strike="noStrike" kern="0" cap="none" spc="0" normalizeH="0" baseline="0" noProof="0" dirty="0" err="1">
                <a:ln>
                  <a:noFill/>
                </a:ln>
                <a:solidFill>
                  <a:schemeClr val="accent5"/>
                </a:solidFill>
                <a:effectLst/>
                <a:uLnTx/>
                <a:uFillTx/>
                <a:latin typeface="+mn-lt"/>
                <a:ea typeface="+mn-ea"/>
                <a:cs typeface="+mn-cs"/>
              </a:rPr>
              <a:t>adipiscing</a:t>
            </a:r>
            <a:r>
              <a:rPr kumimoji="0" lang="en-GB" i="0" u="none" strike="noStrike" kern="0" cap="none" spc="0" normalizeH="0" baseline="0" noProof="0" dirty="0">
                <a:ln>
                  <a:noFill/>
                </a:ln>
                <a:solidFill>
                  <a:schemeClr val="accent5"/>
                </a:solidFill>
                <a:effectLst/>
                <a:uLnTx/>
                <a:uFillTx/>
                <a:latin typeface="+mn-lt"/>
                <a:ea typeface="+mn-ea"/>
                <a:cs typeface="+mn-cs"/>
              </a:rPr>
              <a:t> </a:t>
            </a:r>
            <a:r>
              <a:rPr kumimoji="0" lang="en-GB" i="0" u="none" strike="noStrike" kern="0" cap="none" spc="0" normalizeH="0" baseline="0" noProof="0" dirty="0" err="1">
                <a:ln>
                  <a:noFill/>
                </a:ln>
                <a:solidFill>
                  <a:schemeClr val="accent5"/>
                </a:solidFill>
                <a:effectLst/>
                <a:uLnTx/>
                <a:uFillTx/>
                <a:latin typeface="+mn-lt"/>
                <a:ea typeface="+mn-ea"/>
                <a:cs typeface="+mn-cs"/>
              </a:rPr>
              <a:t>elit</a:t>
            </a:r>
            <a:r>
              <a:rPr kumimoji="0" lang="en-GB" i="0" u="none" strike="noStrike" kern="0" cap="none" spc="0" normalizeH="0" baseline="0" noProof="0" dirty="0">
                <a:ln>
                  <a:noFill/>
                </a:ln>
                <a:solidFill>
                  <a:schemeClr val="accent5"/>
                </a:solidFill>
                <a:effectLst/>
                <a:uLnTx/>
                <a:uFillTx/>
                <a:latin typeface="+mn-lt"/>
                <a:ea typeface="+mn-ea"/>
                <a:cs typeface="+mn-cs"/>
              </a:rPr>
              <a:t> </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err="1">
                <a:ln>
                  <a:noFill/>
                </a:ln>
                <a:effectLst/>
                <a:uLnTx/>
                <a:uFillTx/>
                <a:latin typeface="+mn-lt"/>
                <a:ea typeface="+mn-ea"/>
                <a:cs typeface="+mn-cs"/>
              </a:rPr>
              <a:t>Pellentesque</a:t>
            </a:r>
            <a:r>
              <a:rPr kumimoji="0" lang="en-GB" i="0" u="none" strike="noStrike" kern="0" cap="none" spc="0" normalizeH="0" baseline="0" noProof="0" dirty="0">
                <a:ln>
                  <a:noFill/>
                </a:ln>
                <a:effectLst/>
                <a:uLnTx/>
                <a:uFillTx/>
                <a:latin typeface="+mn-lt"/>
                <a:ea typeface="+mn-ea"/>
                <a:cs typeface="+mn-cs"/>
              </a:rPr>
              <a:t> a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quis</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uctor </a:t>
            </a:r>
            <a:r>
              <a:rPr kumimoji="0" lang="en-GB" i="0" u="none" strike="noStrike" kern="0" cap="none" spc="0" normalizeH="0" baseline="0" noProof="0" dirty="0" err="1">
                <a:ln>
                  <a:noFill/>
                </a:ln>
                <a:effectLst/>
                <a:uLnTx/>
                <a:uFillTx/>
                <a:latin typeface="+mn-lt"/>
                <a:ea typeface="+mn-ea"/>
                <a:cs typeface="+mn-cs"/>
              </a:rPr>
              <a:t>posuere</a:t>
            </a:r>
            <a:r>
              <a:rPr kumimoji="0" lang="en-GB" i="0" u="none" strike="noStrike" kern="0" cap="none" spc="0" normalizeH="0" baseline="0" noProof="0" dirty="0">
                <a:ln>
                  <a:noFill/>
                </a:ln>
                <a:effectLst/>
                <a:uLnTx/>
                <a:uFillTx/>
                <a:latin typeface="+mn-lt"/>
                <a:ea typeface="+mn-ea"/>
                <a:cs typeface="+mn-cs"/>
              </a:rPr>
              <a:t>. </a:t>
            </a:r>
          </a:p>
        </p:txBody>
      </p:sp>
      <p:sp>
        <p:nvSpPr>
          <p:cNvPr id="67" name="TextBox 66"/>
          <p:cNvSpPr txBox="1"/>
          <p:nvPr/>
        </p:nvSpPr>
        <p:spPr>
          <a:xfrm>
            <a:off x="1917853" y="5342448"/>
            <a:ext cx="2805031" cy="954107"/>
          </a:xfrm>
          <a:prstGeom prst="rect">
            <a:avLst/>
          </a:prstGeom>
          <a:noFill/>
        </p:spPr>
        <p:txBody>
          <a:bodyPr wrap="square" rtlCol="0" anchor="t">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a:ln>
                  <a:noFill/>
                </a:ln>
                <a:solidFill>
                  <a:schemeClr val="accent6"/>
                </a:solidFill>
                <a:effectLst/>
                <a:uLnTx/>
                <a:uFillTx/>
                <a:latin typeface="+mn-lt"/>
                <a:ea typeface="+mn-ea"/>
                <a:cs typeface="+mn-cs"/>
              </a:rPr>
              <a:t>Lorem ipsum </a:t>
            </a:r>
            <a:r>
              <a:rPr kumimoji="0" lang="en-GB" i="0" u="none" strike="noStrike" kern="0" cap="none" spc="0" normalizeH="0" baseline="0" noProof="0" dirty="0" err="1">
                <a:ln>
                  <a:noFill/>
                </a:ln>
                <a:solidFill>
                  <a:schemeClr val="accent6"/>
                </a:solidFill>
                <a:effectLst/>
                <a:uLnTx/>
                <a:uFillTx/>
                <a:latin typeface="+mn-lt"/>
                <a:ea typeface="+mn-ea"/>
                <a:cs typeface="+mn-cs"/>
              </a:rPr>
              <a:t>dolor</a:t>
            </a:r>
            <a:r>
              <a:rPr kumimoji="0" lang="en-GB" i="0" u="none" strike="noStrike" kern="0" cap="none" spc="0" normalizeH="0" baseline="0" noProof="0" dirty="0">
                <a:ln>
                  <a:noFill/>
                </a:ln>
                <a:solidFill>
                  <a:schemeClr val="accent6"/>
                </a:solidFill>
                <a:effectLst/>
                <a:uLnTx/>
                <a:uFillTx/>
                <a:latin typeface="+mn-lt"/>
                <a:ea typeface="+mn-ea"/>
                <a:cs typeface="+mn-cs"/>
              </a:rPr>
              <a:t> sit </a:t>
            </a:r>
            <a:r>
              <a:rPr kumimoji="0" lang="en-GB" i="0" u="none" strike="noStrike" kern="0" cap="none" spc="0" normalizeH="0" baseline="0" noProof="0" dirty="0" err="1">
                <a:ln>
                  <a:noFill/>
                </a:ln>
                <a:solidFill>
                  <a:schemeClr val="accent6"/>
                </a:solidFill>
                <a:effectLst/>
                <a:uLnTx/>
                <a:uFillTx/>
                <a:latin typeface="+mn-lt"/>
                <a:ea typeface="+mn-ea"/>
                <a:cs typeface="+mn-cs"/>
              </a:rPr>
              <a:t>amet</a:t>
            </a:r>
            <a:r>
              <a:rPr kumimoji="0" lang="en-GB" i="0" u="none" strike="noStrike" kern="0" cap="none" spc="0" normalizeH="0" baseline="0" noProof="0" dirty="0">
                <a:ln>
                  <a:noFill/>
                </a:ln>
                <a:solidFill>
                  <a:schemeClr val="accent6"/>
                </a:solidFill>
                <a:effectLst/>
                <a:uLnTx/>
                <a:uFillTx/>
                <a:latin typeface="+mn-lt"/>
                <a:ea typeface="+mn-ea"/>
                <a:cs typeface="+mn-cs"/>
              </a:rPr>
              <a:t>, </a:t>
            </a:r>
            <a:r>
              <a:rPr kumimoji="0" lang="en-GB" i="0" u="none" strike="noStrike" kern="0" cap="none" spc="0" normalizeH="0" baseline="0" noProof="0" dirty="0" err="1">
                <a:ln>
                  <a:noFill/>
                </a:ln>
                <a:solidFill>
                  <a:schemeClr val="accent6"/>
                </a:solidFill>
                <a:effectLst/>
                <a:uLnTx/>
                <a:uFillTx/>
                <a:latin typeface="+mn-lt"/>
                <a:ea typeface="+mn-ea"/>
                <a:cs typeface="+mn-cs"/>
              </a:rPr>
              <a:t>consectetur</a:t>
            </a:r>
            <a:r>
              <a:rPr kumimoji="0" lang="en-GB" i="0" u="none" strike="noStrike" kern="0" cap="none" spc="0" normalizeH="0" baseline="0" noProof="0" dirty="0">
                <a:ln>
                  <a:noFill/>
                </a:ln>
                <a:solidFill>
                  <a:schemeClr val="accent6"/>
                </a:solidFill>
                <a:effectLst/>
                <a:uLnTx/>
                <a:uFillTx/>
                <a:latin typeface="+mn-lt"/>
                <a:ea typeface="+mn-ea"/>
                <a:cs typeface="+mn-cs"/>
              </a:rPr>
              <a:t> </a:t>
            </a:r>
            <a:r>
              <a:rPr kumimoji="0" lang="en-GB" i="0" u="none" strike="noStrike" kern="0" cap="none" spc="0" normalizeH="0" baseline="0" noProof="0" dirty="0" err="1">
                <a:ln>
                  <a:noFill/>
                </a:ln>
                <a:solidFill>
                  <a:schemeClr val="accent6"/>
                </a:solidFill>
                <a:effectLst/>
                <a:uLnTx/>
                <a:uFillTx/>
                <a:latin typeface="+mn-lt"/>
                <a:ea typeface="+mn-ea"/>
                <a:cs typeface="+mn-cs"/>
              </a:rPr>
              <a:t>adipiscing</a:t>
            </a:r>
            <a:r>
              <a:rPr kumimoji="0" lang="en-GB" i="0" u="none" strike="noStrike" kern="0" cap="none" spc="0" normalizeH="0" baseline="0" noProof="0" dirty="0">
                <a:ln>
                  <a:noFill/>
                </a:ln>
                <a:solidFill>
                  <a:schemeClr val="accent6"/>
                </a:solidFill>
                <a:effectLst/>
                <a:uLnTx/>
                <a:uFillTx/>
                <a:latin typeface="+mn-lt"/>
                <a:ea typeface="+mn-ea"/>
                <a:cs typeface="+mn-cs"/>
              </a:rPr>
              <a:t> </a:t>
            </a:r>
            <a:r>
              <a:rPr kumimoji="0" lang="en-GB" i="0" u="none" strike="noStrike" kern="0" cap="none" spc="0" normalizeH="0" baseline="0" noProof="0" dirty="0" err="1">
                <a:ln>
                  <a:noFill/>
                </a:ln>
                <a:solidFill>
                  <a:schemeClr val="accent6"/>
                </a:solidFill>
                <a:effectLst/>
                <a:uLnTx/>
                <a:uFillTx/>
                <a:latin typeface="+mn-lt"/>
                <a:ea typeface="+mn-ea"/>
                <a:cs typeface="+mn-cs"/>
              </a:rPr>
              <a:t>elit</a:t>
            </a:r>
            <a:r>
              <a:rPr kumimoji="0" lang="en-GB" i="0" u="none" strike="noStrike" kern="0" cap="none" spc="0" normalizeH="0" baseline="0" noProof="0" dirty="0">
                <a:ln>
                  <a:noFill/>
                </a:ln>
                <a:solidFill>
                  <a:schemeClr val="accent6"/>
                </a:solidFill>
                <a:effectLst/>
                <a:uLnTx/>
                <a:uFillTx/>
                <a:latin typeface="+mn-lt"/>
                <a:ea typeface="+mn-ea"/>
                <a:cs typeface="+mn-cs"/>
              </a:rPr>
              <a:t> </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err="1">
                <a:ln>
                  <a:noFill/>
                </a:ln>
                <a:effectLst/>
                <a:uLnTx/>
                <a:uFillTx/>
                <a:latin typeface="+mn-lt"/>
                <a:ea typeface="+mn-ea"/>
                <a:cs typeface="+mn-cs"/>
              </a:rPr>
              <a:t>Pellentesque</a:t>
            </a:r>
            <a:r>
              <a:rPr kumimoji="0" lang="en-GB" i="0" u="none" strike="noStrike" kern="0" cap="none" spc="0" normalizeH="0" baseline="0" noProof="0" dirty="0">
                <a:ln>
                  <a:noFill/>
                </a:ln>
                <a:effectLst/>
                <a:uLnTx/>
                <a:uFillTx/>
                <a:latin typeface="+mn-lt"/>
                <a:ea typeface="+mn-ea"/>
                <a:cs typeface="+mn-cs"/>
              </a:rPr>
              <a:t> a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quis</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uctor </a:t>
            </a:r>
            <a:r>
              <a:rPr kumimoji="0" lang="en-GB" i="0" u="none" strike="noStrike" kern="0" cap="none" spc="0" normalizeH="0" baseline="0" noProof="0" dirty="0" err="1">
                <a:ln>
                  <a:noFill/>
                </a:ln>
                <a:effectLst/>
                <a:uLnTx/>
                <a:uFillTx/>
                <a:latin typeface="+mn-lt"/>
                <a:ea typeface="+mn-ea"/>
                <a:cs typeface="+mn-cs"/>
              </a:rPr>
              <a:t>posuere</a:t>
            </a:r>
            <a:r>
              <a:rPr kumimoji="0" lang="en-GB" i="0" u="none" strike="noStrike" kern="0" cap="none" spc="0" normalizeH="0" baseline="0" noProof="0" dirty="0">
                <a:ln>
                  <a:noFill/>
                </a:ln>
                <a:effectLst/>
                <a:uLnTx/>
                <a:uFillTx/>
                <a:latin typeface="+mn-lt"/>
                <a:ea typeface="+mn-ea"/>
                <a:cs typeface="+mn-cs"/>
              </a:rPr>
              <a:t>. </a:t>
            </a:r>
          </a:p>
        </p:txBody>
      </p:sp>
      <p:sp>
        <p:nvSpPr>
          <p:cNvPr id="68" name="TextBox 67"/>
          <p:cNvSpPr txBox="1"/>
          <p:nvPr/>
        </p:nvSpPr>
        <p:spPr>
          <a:xfrm>
            <a:off x="8480259" y="1678454"/>
            <a:ext cx="2805031" cy="954107"/>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a:ln>
                  <a:noFill/>
                </a:ln>
                <a:solidFill>
                  <a:schemeClr val="accent4"/>
                </a:solidFill>
                <a:effectLst/>
                <a:uLnTx/>
                <a:uFillTx/>
                <a:latin typeface="+mn-lt"/>
                <a:ea typeface="+mn-ea"/>
                <a:cs typeface="+mn-cs"/>
              </a:rPr>
              <a:t>Lorem ipsum </a:t>
            </a:r>
            <a:r>
              <a:rPr kumimoji="0" lang="en-GB" i="0" u="none" strike="noStrike" kern="0" cap="none" spc="0" normalizeH="0" baseline="0" noProof="0" dirty="0" err="1">
                <a:ln>
                  <a:noFill/>
                </a:ln>
                <a:solidFill>
                  <a:schemeClr val="accent4"/>
                </a:solidFill>
                <a:effectLst/>
                <a:uLnTx/>
                <a:uFillTx/>
                <a:latin typeface="+mn-lt"/>
                <a:ea typeface="+mn-ea"/>
                <a:cs typeface="+mn-cs"/>
              </a:rPr>
              <a:t>dolor</a:t>
            </a:r>
            <a:r>
              <a:rPr kumimoji="0" lang="en-GB" i="0" u="none" strike="noStrike" kern="0" cap="none" spc="0" normalizeH="0" baseline="0" noProof="0" dirty="0">
                <a:ln>
                  <a:noFill/>
                </a:ln>
                <a:solidFill>
                  <a:schemeClr val="accent4"/>
                </a:solidFill>
                <a:effectLst/>
                <a:uLnTx/>
                <a:uFillTx/>
                <a:latin typeface="+mn-lt"/>
                <a:ea typeface="+mn-ea"/>
                <a:cs typeface="+mn-cs"/>
              </a:rPr>
              <a:t> sit </a:t>
            </a:r>
            <a:r>
              <a:rPr kumimoji="0" lang="en-GB" i="0" u="none" strike="noStrike" kern="0" cap="none" spc="0" normalizeH="0" baseline="0" noProof="0" dirty="0" err="1">
                <a:ln>
                  <a:noFill/>
                </a:ln>
                <a:solidFill>
                  <a:schemeClr val="accent4"/>
                </a:solidFill>
                <a:effectLst/>
                <a:uLnTx/>
                <a:uFillTx/>
                <a:latin typeface="+mn-lt"/>
                <a:ea typeface="+mn-ea"/>
                <a:cs typeface="+mn-cs"/>
              </a:rPr>
              <a:t>amet</a:t>
            </a:r>
            <a:r>
              <a:rPr kumimoji="0" lang="en-GB" i="0" u="none" strike="noStrike" kern="0" cap="none" spc="0" normalizeH="0" baseline="0" noProof="0" dirty="0">
                <a:ln>
                  <a:noFill/>
                </a:ln>
                <a:solidFill>
                  <a:schemeClr val="accent4"/>
                </a:solidFill>
                <a:effectLst/>
                <a:uLnTx/>
                <a:uFillTx/>
                <a:latin typeface="+mn-lt"/>
                <a:ea typeface="+mn-ea"/>
                <a:cs typeface="+mn-cs"/>
              </a:rPr>
              <a:t>, </a:t>
            </a:r>
            <a:r>
              <a:rPr kumimoji="0" lang="en-GB" i="0" u="none" strike="noStrike" kern="0" cap="none" spc="0" normalizeH="0" baseline="0" noProof="0" dirty="0" err="1">
                <a:ln>
                  <a:noFill/>
                </a:ln>
                <a:solidFill>
                  <a:schemeClr val="accent4"/>
                </a:solidFill>
                <a:effectLst/>
                <a:uLnTx/>
                <a:uFillTx/>
                <a:latin typeface="+mn-lt"/>
                <a:ea typeface="+mn-ea"/>
                <a:cs typeface="+mn-cs"/>
              </a:rPr>
              <a:t>consectetur</a:t>
            </a:r>
            <a:r>
              <a:rPr kumimoji="0" lang="en-GB" i="0" u="none" strike="noStrike" kern="0" cap="none" spc="0" normalizeH="0" baseline="0" noProof="0" dirty="0">
                <a:ln>
                  <a:noFill/>
                </a:ln>
                <a:solidFill>
                  <a:schemeClr val="accent4"/>
                </a:solidFill>
                <a:effectLst/>
                <a:uLnTx/>
                <a:uFillTx/>
                <a:latin typeface="+mn-lt"/>
                <a:ea typeface="+mn-ea"/>
                <a:cs typeface="+mn-cs"/>
              </a:rPr>
              <a:t> </a:t>
            </a:r>
            <a:r>
              <a:rPr kumimoji="0" lang="en-GB" i="0" u="none" strike="noStrike" kern="0" cap="none" spc="0" normalizeH="0" baseline="0" noProof="0" dirty="0" err="1">
                <a:ln>
                  <a:noFill/>
                </a:ln>
                <a:solidFill>
                  <a:schemeClr val="accent4"/>
                </a:solidFill>
                <a:effectLst/>
                <a:uLnTx/>
                <a:uFillTx/>
                <a:latin typeface="+mn-lt"/>
                <a:ea typeface="+mn-ea"/>
                <a:cs typeface="+mn-cs"/>
              </a:rPr>
              <a:t>adipiscing</a:t>
            </a:r>
            <a:r>
              <a:rPr kumimoji="0" lang="en-GB" i="0" u="none" strike="noStrike" kern="0" cap="none" spc="0" normalizeH="0" baseline="0" noProof="0" dirty="0">
                <a:ln>
                  <a:noFill/>
                </a:ln>
                <a:solidFill>
                  <a:schemeClr val="accent4"/>
                </a:solidFill>
                <a:effectLst/>
                <a:uLnTx/>
                <a:uFillTx/>
                <a:latin typeface="+mn-lt"/>
                <a:ea typeface="+mn-ea"/>
                <a:cs typeface="+mn-cs"/>
              </a:rPr>
              <a:t> </a:t>
            </a:r>
            <a:r>
              <a:rPr kumimoji="0" lang="en-GB" i="0" u="none" strike="noStrike" kern="0" cap="none" spc="0" normalizeH="0" baseline="0" noProof="0" dirty="0" err="1">
                <a:ln>
                  <a:noFill/>
                </a:ln>
                <a:solidFill>
                  <a:schemeClr val="accent4"/>
                </a:solidFill>
                <a:effectLst/>
                <a:uLnTx/>
                <a:uFillTx/>
                <a:latin typeface="+mn-lt"/>
                <a:ea typeface="+mn-ea"/>
                <a:cs typeface="+mn-cs"/>
              </a:rPr>
              <a:t>elit</a:t>
            </a:r>
            <a:endParaRPr kumimoji="0" lang="en-GB" i="0" u="none" strike="noStrike" kern="0" cap="none" spc="0" normalizeH="0" baseline="0" noProof="0" dirty="0">
              <a:ln>
                <a:noFill/>
              </a:ln>
              <a:solidFill>
                <a:schemeClr val="accent4"/>
              </a:solidFill>
              <a:effectLst/>
              <a:uLnTx/>
              <a:uFillTx/>
              <a:latin typeface="+mn-lt"/>
              <a:ea typeface="+mn-ea"/>
              <a:cs typeface="+mn-cs"/>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err="1">
                <a:ln>
                  <a:noFill/>
                </a:ln>
                <a:effectLst/>
                <a:uLnTx/>
                <a:uFillTx/>
                <a:latin typeface="+mn-lt"/>
                <a:ea typeface="+mn-ea"/>
                <a:cs typeface="+mn-cs"/>
              </a:rPr>
              <a:t>Pellentesque</a:t>
            </a:r>
            <a:r>
              <a:rPr kumimoji="0" lang="en-GB" i="0" u="none" strike="noStrike" kern="0" cap="none" spc="0" normalizeH="0" baseline="0" noProof="0" dirty="0">
                <a:ln>
                  <a:noFill/>
                </a:ln>
                <a:effectLst/>
                <a:uLnTx/>
                <a:uFillTx/>
                <a:latin typeface="+mn-lt"/>
                <a:ea typeface="+mn-ea"/>
                <a:cs typeface="+mn-cs"/>
              </a:rPr>
              <a:t> a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quis</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uctor </a:t>
            </a:r>
            <a:r>
              <a:rPr kumimoji="0" lang="en-GB" i="0" u="none" strike="noStrike" kern="0" cap="none" spc="0" normalizeH="0" baseline="0" noProof="0" dirty="0" err="1">
                <a:ln>
                  <a:noFill/>
                </a:ln>
                <a:effectLst/>
                <a:uLnTx/>
                <a:uFillTx/>
                <a:latin typeface="+mn-lt"/>
                <a:ea typeface="+mn-ea"/>
                <a:cs typeface="+mn-cs"/>
              </a:rPr>
              <a:t>posuere</a:t>
            </a:r>
            <a:r>
              <a:rPr kumimoji="0" lang="en-GB" i="0" u="none" strike="noStrike" kern="0" cap="none" spc="0" normalizeH="0" baseline="0" noProof="0" dirty="0">
                <a:ln>
                  <a:noFill/>
                </a:ln>
                <a:effectLst/>
                <a:uLnTx/>
                <a:uFillTx/>
                <a:latin typeface="+mn-lt"/>
                <a:ea typeface="+mn-ea"/>
                <a:cs typeface="+mn-cs"/>
              </a:rPr>
              <a:t>. </a:t>
            </a:r>
          </a:p>
        </p:txBody>
      </p:sp>
      <p:sp>
        <p:nvSpPr>
          <p:cNvPr id="69" name="TextBox 68"/>
          <p:cNvSpPr txBox="1"/>
          <p:nvPr/>
        </p:nvSpPr>
        <p:spPr>
          <a:xfrm>
            <a:off x="3885077" y="1678454"/>
            <a:ext cx="2805031" cy="954107"/>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2"/>
                </a:solidFill>
                <a:effectLst/>
                <a:uLnTx/>
                <a:uFillTx/>
                <a:latin typeface="+mn-lt"/>
                <a:ea typeface="+mn-ea"/>
                <a:cs typeface="+mn-cs"/>
              </a:rPr>
              <a:t>Lorem ipsum </a:t>
            </a:r>
            <a:r>
              <a:rPr kumimoji="0" lang="en-GB" i="0" u="none" strike="noStrike" kern="0" cap="none" spc="0" normalizeH="0" baseline="0" noProof="0" dirty="0" err="1">
                <a:ln>
                  <a:noFill/>
                </a:ln>
                <a:solidFill>
                  <a:schemeClr val="tx2"/>
                </a:solidFill>
                <a:effectLst/>
                <a:uLnTx/>
                <a:uFillTx/>
                <a:latin typeface="+mn-lt"/>
                <a:ea typeface="+mn-ea"/>
                <a:cs typeface="+mn-cs"/>
              </a:rPr>
              <a:t>dolor</a:t>
            </a:r>
            <a:r>
              <a:rPr kumimoji="0" lang="en-GB" i="0" u="none" strike="noStrike" kern="0" cap="none" spc="0" normalizeH="0" baseline="0" noProof="0" dirty="0">
                <a:ln>
                  <a:noFill/>
                </a:ln>
                <a:solidFill>
                  <a:schemeClr val="tx2"/>
                </a:solidFill>
                <a:effectLst/>
                <a:uLnTx/>
                <a:uFillTx/>
                <a:latin typeface="+mn-lt"/>
                <a:ea typeface="+mn-ea"/>
                <a:cs typeface="+mn-cs"/>
              </a:rPr>
              <a:t> sit </a:t>
            </a:r>
            <a:r>
              <a:rPr kumimoji="0" lang="en-GB" i="0" u="none" strike="noStrike" kern="0" cap="none" spc="0" normalizeH="0" baseline="0" noProof="0" dirty="0" err="1">
                <a:ln>
                  <a:noFill/>
                </a:ln>
                <a:solidFill>
                  <a:schemeClr val="tx2"/>
                </a:solidFill>
                <a:effectLst/>
                <a:uLnTx/>
                <a:uFillTx/>
                <a:latin typeface="+mn-lt"/>
                <a:ea typeface="+mn-ea"/>
                <a:cs typeface="+mn-cs"/>
              </a:rPr>
              <a:t>amet</a:t>
            </a:r>
            <a:r>
              <a:rPr kumimoji="0" lang="en-GB" i="0" u="none" strike="noStrike" kern="0" cap="none" spc="0" normalizeH="0" baseline="0" noProof="0" dirty="0">
                <a:ln>
                  <a:noFill/>
                </a:ln>
                <a:solidFill>
                  <a:schemeClr val="tx2"/>
                </a:solidFill>
                <a:effectLst/>
                <a:uLnTx/>
                <a:uFillTx/>
                <a:latin typeface="+mn-lt"/>
                <a:ea typeface="+mn-ea"/>
                <a:cs typeface="+mn-cs"/>
              </a:rPr>
              <a:t>, </a:t>
            </a:r>
            <a:r>
              <a:rPr kumimoji="0" lang="en-GB" i="0" u="none" strike="noStrike" kern="0" cap="none" spc="0" normalizeH="0" baseline="0" noProof="0" dirty="0" err="1">
                <a:ln>
                  <a:noFill/>
                </a:ln>
                <a:solidFill>
                  <a:schemeClr val="tx2"/>
                </a:solidFill>
                <a:effectLst/>
                <a:uLnTx/>
                <a:uFillTx/>
                <a:latin typeface="+mn-lt"/>
                <a:ea typeface="+mn-ea"/>
                <a:cs typeface="+mn-cs"/>
              </a:rPr>
              <a:t>consectetur</a:t>
            </a:r>
            <a:r>
              <a:rPr kumimoji="0" lang="en-GB" i="0" u="none" strike="noStrike" kern="0" cap="none" spc="0" normalizeH="0" baseline="0" noProof="0" dirty="0">
                <a:ln>
                  <a:noFill/>
                </a:ln>
                <a:solidFill>
                  <a:schemeClr val="tx2"/>
                </a:solidFill>
                <a:effectLst/>
                <a:uLnTx/>
                <a:uFillTx/>
                <a:latin typeface="+mn-lt"/>
                <a:ea typeface="+mn-ea"/>
                <a:cs typeface="+mn-cs"/>
              </a:rPr>
              <a:t> </a:t>
            </a:r>
            <a:r>
              <a:rPr kumimoji="0" lang="en-GB" i="0" u="none" strike="noStrike" kern="0" cap="none" spc="0" normalizeH="0" baseline="0" noProof="0" dirty="0" err="1">
                <a:ln>
                  <a:noFill/>
                </a:ln>
                <a:solidFill>
                  <a:schemeClr val="tx2"/>
                </a:solidFill>
                <a:effectLst/>
                <a:uLnTx/>
                <a:uFillTx/>
                <a:latin typeface="+mn-lt"/>
                <a:ea typeface="+mn-ea"/>
                <a:cs typeface="+mn-cs"/>
              </a:rPr>
              <a:t>adipiscing</a:t>
            </a:r>
            <a:r>
              <a:rPr kumimoji="0" lang="en-GB" i="0" u="none" strike="noStrike" kern="0" cap="none" spc="0" normalizeH="0" baseline="0" noProof="0" dirty="0">
                <a:ln>
                  <a:noFill/>
                </a:ln>
                <a:solidFill>
                  <a:schemeClr val="tx2"/>
                </a:solidFill>
                <a:effectLst/>
                <a:uLnTx/>
                <a:uFillTx/>
                <a:latin typeface="+mn-lt"/>
                <a:ea typeface="+mn-ea"/>
                <a:cs typeface="+mn-cs"/>
              </a:rPr>
              <a:t> </a:t>
            </a:r>
            <a:r>
              <a:rPr kumimoji="0" lang="en-GB" i="0" u="none" strike="noStrike" kern="0" cap="none" spc="0" normalizeH="0" baseline="0" noProof="0" dirty="0" err="1">
                <a:ln>
                  <a:noFill/>
                </a:ln>
                <a:solidFill>
                  <a:schemeClr val="tx2"/>
                </a:solidFill>
                <a:effectLst/>
                <a:uLnTx/>
                <a:uFillTx/>
                <a:latin typeface="+mn-lt"/>
                <a:ea typeface="+mn-ea"/>
                <a:cs typeface="+mn-cs"/>
              </a:rPr>
              <a:t>elit</a:t>
            </a:r>
            <a:endParaRPr kumimoji="0" lang="en-GB" i="0" u="none" strike="noStrike" kern="0" cap="none" spc="0" normalizeH="0" baseline="0" noProof="0" dirty="0">
              <a:ln>
                <a:noFill/>
              </a:ln>
              <a:solidFill>
                <a:schemeClr val="tx2"/>
              </a:solidFill>
              <a:effectLst/>
              <a:uLnTx/>
              <a:uFillTx/>
              <a:latin typeface="+mn-lt"/>
              <a:ea typeface="+mn-ea"/>
              <a:cs typeface="+mn-cs"/>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i="0" u="none" strike="noStrike" kern="0" cap="none" spc="0" normalizeH="0" baseline="0" noProof="0" dirty="0" err="1">
                <a:ln>
                  <a:noFill/>
                </a:ln>
                <a:effectLst/>
                <a:uLnTx/>
                <a:uFillTx/>
                <a:latin typeface="+mn-lt"/>
                <a:ea typeface="+mn-ea"/>
                <a:cs typeface="+mn-cs"/>
              </a:rPr>
              <a:t>Pellentesque</a:t>
            </a:r>
            <a:r>
              <a:rPr kumimoji="0" lang="en-GB" i="0" u="none" strike="noStrike" kern="0" cap="none" spc="0" normalizeH="0" baseline="0" noProof="0" dirty="0">
                <a:ln>
                  <a:noFill/>
                </a:ln>
                <a:effectLst/>
                <a:uLnTx/>
                <a:uFillTx/>
                <a:latin typeface="+mn-lt"/>
                <a:ea typeface="+mn-ea"/>
                <a:cs typeface="+mn-cs"/>
              </a:rPr>
              <a:t> a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quis</a:t>
            </a:r>
            <a:r>
              <a:rPr kumimoji="0" lang="en-GB" i="0" u="none" strike="noStrike" kern="0" cap="none" spc="0" normalizeH="0" baseline="0" noProof="0" dirty="0">
                <a:ln>
                  <a:noFill/>
                </a:ln>
                <a:effectLst/>
                <a:uLnTx/>
                <a:uFillTx/>
                <a:latin typeface="+mn-lt"/>
                <a:ea typeface="+mn-ea"/>
                <a:cs typeface="+mn-cs"/>
              </a:rPr>
              <a:t> </a:t>
            </a:r>
            <a:r>
              <a:rPr kumimoji="0" lang="en-GB" i="0" u="none" strike="noStrike" kern="0" cap="none" spc="0" normalizeH="0" baseline="0" noProof="0" dirty="0" err="1">
                <a:ln>
                  <a:noFill/>
                </a:ln>
                <a:effectLst/>
                <a:uLnTx/>
                <a:uFillTx/>
                <a:latin typeface="+mn-lt"/>
                <a:ea typeface="+mn-ea"/>
                <a:cs typeface="+mn-cs"/>
              </a:rPr>
              <a:t>diam</a:t>
            </a:r>
            <a:r>
              <a:rPr kumimoji="0" lang="en-GB" i="0" u="none" strike="noStrike" kern="0" cap="none" spc="0" normalizeH="0" baseline="0" noProof="0" dirty="0">
                <a:ln>
                  <a:noFill/>
                </a:ln>
                <a:effectLst/>
                <a:uLnTx/>
                <a:uFillTx/>
                <a:latin typeface="+mn-lt"/>
                <a:ea typeface="+mn-ea"/>
                <a:cs typeface="+mn-cs"/>
              </a:rPr>
              <a:t> auctor </a:t>
            </a:r>
            <a:r>
              <a:rPr kumimoji="0" lang="en-GB" i="0" u="none" strike="noStrike" kern="0" cap="none" spc="0" normalizeH="0" baseline="0" noProof="0" dirty="0" err="1">
                <a:ln>
                  <a:noFill/>
                </a:ln>
                <a:effectLst/>
                <a:uLnTx/>
                <a:uFillTx/>
                <a:latin typeface="+mn-lt"/>
                <a:ea typeface="+mn-ea"/>
                <a:cs typeface="+mn-cs"/>
              </a:rPr>
              <a:t>posuere</a:t>
            </a:r>
            <a:r>
              <a:rPr kumimoji="0" lang="en-GB" i="0" u="none" strike="noStrike" kern="0" cap="none" spc="0" normalizeH="0" baseline="0" noProof="0" dirty="0">
                <a:ln>
                  <a:noFill/>
                </a:ln>
                <a:effectLst/>
                <a:uLnTx/>
                <a:uFillTx/>
                <a:latin typeface="+mn-lt"/>
                <a:ea typeface="+mn-ea"/>
                <a:cs typeface="+mn-cs"/>
              </a:rPr>
              <a:t>. </a:t>
            </a:r>
          </a:p>
        </p:txBody>
      </p:sp>
      <p:sp>
        <p:nvSpPr>
          <p:cNvPr id="62" name="Oval 61"/>
          <p:cNvSpPr>
            <a:spLocks noChangeAspect="1"/>
          </p:cNvSpPr>
          <p:nvPr/>
        </p:nvSpPr>
        <p:spPr>
          <a:xfrm rot="2284121">
            <a:off x="9683224" y="3945944"/>
            <a:ext cx="1106424" cy="110642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
        <p:nvSpPr>
          <p:cNvPr id="63" name="Oval 62"/>
          <p:cNvSpPr>
            <a:spLocks noChangeAspect="1"/>
          </p:cNvSpPr>
          <p:nvPr/>
        </p:nvSpPr>
        <p:spPr>
          <a:xfrm rot="2284121">
            <a:off x="9779236" y="4041956"/>
            <a:ext cx="914400" cy="914400"/>
          </a:xfrm>
          <a:prstGeom prst="ellips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00"/>
              </a:solidFill>
              <a:effectLst/>
              <a:uLnTx/>
              <a:uFillTx/>
              <a:ea typeface="+mn-ea"/>
              <a:cs typeface="+mn-cs"/>
            </a:endParaRPr>
          </a:p>
        </p:txBody>
      </p:sp>
    </p:spTree>
    <p:custDataLst>
      <p:tags r:id="rId1"/>
    </p:custDataLst>
    <p:extLst>
      <p:ext uri="{BB962C8B-B14F-4D97-AF65-F5344CB8AC3E}">
        <p14:creationId xmlns:p14="http://schemas.microsoft.com/office/powerpoint/2010/main" val="11284463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map">
            <a:extLst>
              <a:ext uri="{FF2B5EF4-FFF2-40B4-BE49-F238E27FC236}">
                <a16:creationId xmlns:a16="http://schemas.microsoft.com/office/drawing/2014/main" id="{E1A9A76A-FF3B-4F8B-A7ED-97A9AFFE6B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3313" y="2708209"/>
            <a:ext cx="523875" cy="447675"/>
          </a:xfrm>
          <a:prstGeom prst="rect">
            <a:avLst/>
          </a:prstGeom>
        </p:spPr>
      </p:pic>
      <p:pic>
        <p:nvPicPr>
          <p:cNvPr id="19" name="school">
            <a:extLst>
              <a:ext uri="{FF2B5EF4-FFF2-40B4-BE49-F238E27FC236}">
                <a16:creationId xmlns:a16="http://schemas.microsoft.com/office/drawing/2014/main" id="{636DE928-D172-4C51-8B17-01AD75657B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15159" y="2635233"/>
            <a:ext cx="554182" cy="441614"/>
          </a:xfrm>
          <a:prstGeom prst="rect">
            <a:avLst/>
          </a:prstGeom>
        </p:spPr>
      </p:pic>
      <p:pic>
        <p:nvPicPr>
          <p:cNvPr id="21" name="housing">
            <a:extLst>
              <a:ext uri="{FF2B5EF4-FFF2-40B4-BE49-F238E27FC236}">
                <a16:creationId xmlns:a16="http://schemas.microsoft.com/office/drawing/2014/main" id="{7A26E6EB-024E-40A7-91C8-12CC248CE8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52763" y="2667000"/>
            <a:ext cx="561975" cy="457200"/>
          </a:xfrm>
          <a:prstGeom prst="rect">
            <a:avLst/>
          </a:prstGeom>
        </p:spPr>
      </p:pic>
      <p:pic>
        <p:nvPicPr>
          <p:cNvPr id="24" name="directions">
            <a:extLst>
              <a:ext uri="{FF2B5EF4-FFF2-40B4-BE49-F238E27FC236}">
                <a16:creationId xmlns:a16="http://schemas.microsoft.com/office/drawing/2014/main" id="{1411041D-C099-41AE-BD10-45028A7033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6337" y="2734600"/>
            <a:ext cx="440826" cy="456570"/>
          </a:xfrm>
          <a:prstGeom prst="rect">
            <a:avLst/>
          </a:prstGeom>
        </p:spPr>
      </p:pic>
      <p:pic>
        <p:nvPicPr>
          <p:cNvPr id="28" name="cart">
            <a:extLst>
              <a:ext uri="{FF2B5EF4-FFF2-40B4-BE49-F238E27FC236}">
                <a16:creationId xmlns:a16="http://schemas.microsoft.com/office/drawing/2014/main" id="{9D947715-3BA1-46F2-B966-379EBBAB4C6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04475" y="2889378"/>
            <a:ext cx="590550" cy="419100"/>
          </a:xfrm>
          <a:prstGeom prst="rect">
            <a:avLst/>
          </a:prstGeom>
        </p:spPr>
      </p:pic>
      <p:pic>
        <p:nvPicPr>
          <p:cNvPr id="30" name="government">
            <a:extLst>
              <a:ext uri="{FF2B5EF4-FFF2-40B4-BE49-F238E27FC236}">
                <a16:creationId xmlns:a16="http://schemas.microsoft.com/office/drawing/2014/main" id="{CAC95501-3EA0-498B-B6C9-6CC8F2F66DF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460719" y="2662442"/>
            <a:ext cx="795062" cy="527417"/>
          </a:xfrm>
          <a:prstGeom prst="rect">
            <a:avLst/>
          </a:prstGeom>
        </p:spPr>
      </p:pic>
      <p:graphicFrame>
        <p:nvGraphicFramePr>
          <p:cNvPr id="4" name="Objet 3" hidden="1">
            <a:extLst>
              <a:ext uri="{FF2B5EF4-FFF2-40B4-BE49-F238E27FC236}">
                <a16:creationId xmlns:a16="http://schemas.microsoft.com/office/drawing/2014/main" id="{51FA5F91-C065-40F8-B25B-D83D09D48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270" imgH="270" progId="TCLayout.ActiveDocument.1">
                  <p:embed/>
                </p:oleObj>
              </mc:Choice>
              <mc:Fallback>
                <p:oleObj name="Diapositive think-cell" r:id="rId17" imgW="270" imgH="270" progId="TCLayout.ActiveDocument.1">
                  <p:embed/>
                  <p:pic>
                    <p:nvPicPr>
                      <p:cNvPr id="4" name="Objet 3" hidden="1">
                        <a:extLst>
                          <a:ext uri="{FF2B5EF4-FFF2-40B4-BE49-F238E27FC236}">
                            <a16:creationId xmlns:a16="http://schemas.microsoft.com/office/drawing/2014/main" id="{51FA5F91-C065-40F8-B25B-D83D09D48EA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9AFFA-7607-4C70-B932-63476B32B05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2" name="Title 71">
            <a:extLst>
              <a:ext uri="{FF2B5EF4-FFF2-40B4-BE49-F238E27FC236}">
                <a16:creationId xmlns:a16="http://schemas.microsoft.com/office/drawing/2014/main" id="{8B3FA7BD-5C18-447D-8DF1-D5485D01DD2E}"/>
              </a:ext>
            </a:extLst>
          </p:cNvPr>
          <p:cNvSpPr>
            <a:spLocks noGrp="1"/>
          </p:cNvSpPr>
          <p:nvPr>
            <p:ph type="title"/>
          </p:nvPr>
        </p:nvSpPr>
        <p:spPr/>
        <p:txBody>
          <a:bodyPr/>
          <a:lstStyle/>
          <a:p>
            <a:r>
              <a:rPr lang="en-GB" dirty="0"/>
              <a:t>Approach presentation – six steps &amp; logos</a:t>
            </a:r>
          </a:p>
        </p:txBody>
      </p:sp>
      <p:sp>
        <p:nvSpPr>
          <p:cNvPr id="5" name="Pentagon 4"/>
          <p:cNvSpPr/>
          <p:nvPr/>
        </p:nvSpPr>
        <p:spPr>
          <a:xfrm>
            <a:off x="597478" y="3650732"/>
            <a:ext cx="1789545" cy="377023"/>
          </a:xfrm>
          <a:prstGeom prst="homePlate">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6" name="Chevron 5"/>
          <p:cNvSpPr/>
          <p:nvPr/>
        </p:nvSpPr>
        <p:spPr>
          <a:xfrm>
            <a:off x="2438978" y="3650732"/>
            <a:ext cx="1789545" cy="377023"/>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7" name="Chevron 6"/>
          <p:cNvSpPr/>
          <p:nvPr/>
        </p:nvSpPr>
        <p:spPr>
          <a:xfrm>
            <a:off x="4280478" y="3650732"/>
            <a:ext cx="1789545" cy="377023"/>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8" name="Chevron 7"/>
          <p:cNvSpPr/>
          <p:nvPr/>
        </p:nvSpPr>
        <p:spPr>
          <a:xfrm>
            <a:off x="6121978" y="3650732"/>
            <a:ext cx="1789545" cy="377023"/>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9" name="Chevron 8"/>
          <p:cNvSpPr/>
          <p:nvPr/>
        </p:nvSpPr>
        <p:spPr>
          <a:xfrm>
            <a:off x="7963478" y="3650732"/>
            <a:ext cx="1789545" cy="377023"/>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10" name="Chevron 9"/>
          <p:cNvSpPr/>
          <p:nvPr/>
        </p:nvSpPr>
        <p:spPr>
          <a:xfrm>
            <a:off x="9804978" y="3650732"/>
            <a:ext cx="1789545" cy="377023"/>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12" name="Oval 11"/>
          <p:cNvSpPr>
            <a:spLocks noChangeAspect="1"/>
          </p:cNvSpPr>
          <p:nvPr/>
        </p:nvSpPr>
        <p:spPr>
          <a:xfrm>
            <a:off x="1257634"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1</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3" name="Oval 12"/>
          <p:cNvSpPr>
            <a:spLocks noChangeAspect="1"/>
          </p:cNvSpPr>
          <p:nvPr/>
        </p:nvSpPr>
        <p:spPr>
          <a:xfrm>
            <a:off x="3099133"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2</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4" name="Oval 13"/>
          <p:cNvSpPr>
            <a:spLocks noChangeAspect="1"/>
          </p:cNvSpPr>
          <p:nvPr/>
        </p:nvSpPr>
        <p:spPr>
          <a:xfrm>
            <a:off x="4940632"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3</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5" name="Oval 14"/>
          <p:cNvSpPr>
            <a:spLocks noChangeAspect="1"/>
          </p:cNvSpPr>
          <p:nvPr/>
        </p:nvSpPr>
        <p:spPr>
          <a:xfrm>
            <a:off x="6782131"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4</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6" name="Oval 15"/>
          <p:cNvSpPr>
            <a:spLocks noChangeAspect="1"/>
          </p:cNvSpPr>
          <p:nvPr/>
        </p:nvSpPr>
        <p:spPr>
          <a:xfrm>
            <a:off x="8623630"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5</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7" name="Oval 16"/>
          <p:cNvSpPr>
            <a:spLocks noChangeAspect="1"/>
          </p:cNvSpPr>
          <p:nvPr/>
        </p:nvSpPr>
        <p:spPr>
          <a:xfrm>
            <a:off x="10465129" y="3600758"/>
            <a:ext cx="469233" cy="469233"/>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6</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60" name="TextBox 59-1"/>
          <p:cNvSpPr txBox="1"/>
          <p:nvPr/>
        </p:nvSpPr>
        <p:spPr>
          <a:xfrm>
            <a:off x="597478"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grpSp>
        <p:nvGrpSpPr>
          <p:cNvPr id="22" name="Groupe 21">
            <a:extLst>
              <a:ext uri="{FF2B5EF4-FFF2-40B4-BE49-F238E27FC236}">
                <a16:creationId xmlns:a16="http://schemas.microsoft.com/office/drawing/2014/main" id="{C40F7A3F-5211-48D3-ADCF-3418EE1382BD}"/>
              </a:ext>
            </a:extLst>
          </p:cNvPr>
          <p:cNvGrpSpPr/>
          <p:nvPr/>
        </p:nvGrpSpPr>
        <p:grpSpPr>
          <a:xfrm>
            <a:off x="832652" y="1985202"/>
            <a:ext cx="10548778" cy="307777"/>
            <a:chOff x="832652" y="1985202"/>
            <a:chExt cx="10548778" cy="307777"/>
          </a:xfrm>
        </p:grpSpPr>
        <p:sp>
          <p:nvSpPr>
            <p:cNvPr id="66" name="TextBox 65"/>
            <p:cNvSpPr txBox="1"/>
            <p:nvPr/>
          </p:nvSpPr>
          <p:spPr>
            <a:xfrm>
              <a:off x="832652"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7" name="TextBox 66"/>
            <p:cNvSpPr txBox="1"/>
            <p:nvPr/>
          </p:nvSpPr>
          <p:spPr>
            <a:xfrm>
              <a:off x="4509455"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8" name="TextBox 67"/>
            <p:cNvSpPr txBox="1"/>
            <p:nvPr/>
          </p:nvSpPr>
          <p:spPr>
            <a:xfrm>
              <a:off x="8186258"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9" name="TextBox 68"/>
            <p:cNvSpPr txBox="1"/>
            <p:nvPr/>
          </p:nvSpPr>
          <p:spPr>
            <a:xfrm>
              <a:off x="2644278"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70" name="TextBox 69"/>
            <p:cNvSpPr txBox="1"/>
            <p:nvPr/>
          </p:nvSpPr>
          <p:spPr>
            <a:xfrm>
              <a:off x="6321081"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71" name="TextBox 70"/>
            <p:cNvSpPr txBox="1"/>
            <p:nvPr/>
          </p:nvSpPr>
          <p:spPr>
            <a:xfrm>
              <a:off x="9997884" y="1985202"/>
              <a:ext cx="1383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i="0" u="none" strike="noStrike" kern="1200" cap="none" spc="0" normalizeH="0" baseline="0" noProof="0" dirty="0">
                  <a:ln>
                    <a:noFill/>
                  </a:ln>
                  <a:solidFill>
                    <a:schemeClr val="tx2"/>
                  </a:solidFill>
                  <a:effectLst/>
                  <a:uLnTx/>
                  <a:uFillTx/>
                  <a:latin typeface="+mn-lt"/>
                  <a:ea typeface="+mn-ea"/>
                  <a:cs typeface="+mn-cs"/>
                </a:rPr>
                <a:t>Lorem ipsum</a:t>
              </a:r>
            </a:p>
          </p:txBody>
        </p:sp>
      </p:grpSp>
      <p:sp>
        <p:nvSpPr>
          <p:cNvPr id="35" name="TextBox 59-6">
            <a:extLst>
              <a:ext uri="{FF2B5EF4-FFF2-40B4-BE49-F238E27FC236}">
                <a16:creationId xmlns:a16="http://schemas.microsoft.com/office/drawing/2014/main" id="{EA32552B-3029-4052-8131-C7408BB607E5}"/>
              </a:ext>
            </a:extLst>
          </p:cNvPr>
          <p:cNvSpPr txBox="1"/>
          <p:nvPr/>
        </p:nvSpPr>
        <p:spPr>
          <a:xfrm>
            <a:off x="9804978"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6" name="TextBox 59-5">
            <a:extLst>
              <a:ext uri="{FF2B5EF4-FFF2-40B4-BE49-F238E27FC236}">
                <a16:creationId xmlns:a16="http://schemas.microsoft.com/office/drawing/2014/main" id="{7917EBFC-6F0A-489A-B944-903C6A19ABE6}"/>
              </a:ext>
            </a:extLst>
          </p:cNvPr>
          <p:cNvSpPr txBox="1"/>
          <p:nvPr/>
        </p:nvSpPr>
        <p:spPr>
          <a:xfrm>
            <a:off x="7963479"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7" name="TextBox 59-4">
            <a:extLst>
              <a:ext uri="{FF2B5EF4-FFF2-40B4-BE49-F238E27FC236}">
                <a16:creationId xmlns:a16="http://schemas.microsoft.com/office/drawing/2014/main" id="{34204E22-65E7-4E3F-8A03-D8D6D6B5887B}"/>
              </a:ext>
            </a:extLst>
          </p:cNvPr>
          <p:cNvSpPr txBox="1"/>
          <p:nvPr/>
        </p:nvSpPr>
        <p:spPr>
          <a:xfrm>
            <a:off x="6126890"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8" name="TextBox 59-3">
            <a:extLst>
              <a:ext uri="{FF2B5EF4-FFF2-40B4-BE49-F238E27FC236}">
                <a16:creationId xmlns:a16="http://schemas.microsoft.com/office/drawing/2014/main" id="{DFD765BE-B953-43A2-AB78-5A3A7ACA8E4D}"/>
              </a:ext>
            </a:extLst>
          </p:cNvPr>
          <p:cNvSpPr txBox="1"/>
          <p:nvPr/>
        </p:nvSpPr>
        <p:spPr>
          <a:xfrm>
            <a:off x="4275567"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9" name="TextBox 59-2">
            <a:extLst>
              <a:ext uri="{FF2B5EF4-FFF2-40B4-BE49-F238E27FC236}">
                <a16:creationId xmlns:a16="http://schemas.microsoft.com/office/drawing/2014/main" id="{46B1185A-5839-4CD2-AF36-E972C3DCEAC8}"/>
              </a:ext>
            </a:extLst>
          </p:cNvPr>
          <p:cNvSpPr txBox="1"/>
          <p:nvPr/>
        </p:nvSpPr>
        <p:spPr>
          <a:xfrm>
            <a:off x="2438977" y="4374595"/>
            <a:ext cx="178954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Tree>
    <p:extLst>
      <p:ext uri="{BB962C8B-B14F-4D97-AF65-F5344CB8AC3E}">
        <p14:creationId xmlns:p14="http://schemas.microsoft.com/office/powerpoint/2010/main" val="35215817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map">
            <a:extLst>
              <a:ext uri="{FF2B5EF4-FFF2-40B4-BE49-F238E27FC236}">
                <a16:creationId xmlns:a16="http://schemas.microsoft.com/office/drawing/2014/main" id="{73D791AD-9414-4F7F-AEE8-D31CE836A7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16155" y="2396896"/>
            <a:ext cx="697278" cy="595856"/>
          </a:xfrm>
          <a:prstGeom prst="rect">
            <a:avLst/>
          </a:prstGeom>
        </p:spPr>
      </p:pic>
      <p:pic>
        <p:nvPicPr>
          <p:cNvPr id="25" name="school">
            <a:extLst>
              <a:ext uri="{FF2B5EF4-FFF2-40B4-BE49-F238E27FC236}">
                <a16:creationId xmlns:a16="http://schemas.microsoft.com/office/drawing/2014/main" id="{27015390-8B42-45A7-A757-9721510660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58397" y="2344790"/>
            <a:ext cx="737616" cy="587788"/>
          </a:xfrm>
          <a:prstGeom prst="rect">
            <a:avLst/>
          </a:prstGeom>
        </p:spPr>
      </p:pic>
      <p:pic>
        <p:nvPicPr>
          <p:cNvPr id="26" name="housing">
            <a:extLst>
              <a:ext uri="{FF2B5EF4-FFF2-40B4-BE49-F238E27FC236}">
                <a16:creationId xmlns:a16="http://schemas.microsoft.com/office/drawing/2014/main" id="{4BCAB7CB-C045-4E43-924D-70756AF6D6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2006" y="2287698"/>
            <a:ext cx="747988" cy="608533"/>
          </a:xfrm>
          <a:prstGeom prst="rect">
            <a:avLst/>
          </a:prstGeom>
        </p:spPr>
      </p:pic>
      <p:graphicFrame>
        <p:nvGraphicFramePr>
          <p:cNvPr id="4" name="Objet 3" hidden="1">
            <a:extLst>
              <a:ext uri="{FF2B5EF4-FFF2-40B4-BE49-F238E27FC236}">
                <a16:creationId xmlns:a16="http://schemas.microsoft.com/office/drawing/2014/main" id="{51FA5F91-C065-40F8-B25B-D83D09D48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270" imgH="270" progId="TCLayout.ActiveDocument.1">
                  <p:embed/>
                </p:oleObj>
              </mc:Choice>
              <mc:Fallback>
                <p:oleObj name="Diapositive think-cell" r:id="rId11" imgW="270" imgH="270" progId="TCLayout.ActiveDocument.1">
                  <p:embed/>
                  <p:pic>
                    <p:nvPicPr>
                      <p:cNvPr id="4" name="Objet 3" hidden="1">
                        <a:extLst>
                          <a:ext uri="{FF2B5EF4-FFF2-40B4-BE49-F238E27FC236}">
                            <a16:creationId xmlns:a16="http://schemas.microsoft.com/office/drawing/2014/main" id="{51FA5F91-C065-40F8-B25B-D83D09D48EA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9AFFA-7607-4C70-B932-63476B32B05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2" name="Title 71">
            <a:extLst>
              <a:ext uri="{FF2B5EF4-FFF2-40B4-BE49-F238E27FC236}">
                <a16:creationId xmlns:a16="http://schemas.microsoft.com/office/drawing/2014/main" id="{8B3FA7BD-5C18-447D-8DF1-D5485D01DD2E}"/>
              </a:ext>
            </a:extLst>
          </p:cNvPr>
          <p:cNvSpPr>
            <a:spLocks noGrp="1"/>
          </p:cNvSpPr>
          <p:nvPr>
            <p:ph type="title"/>
          </p:nvPr>
        </p:nvSpPr>
        <p:spPr/>
        <p:txBody>
          <a:bodyPr/>
          <a:lstStyle/>
          <a:p>
            <a:r>
              <a:rPr lang="en-GB" dirty="0"/>
              <a:t>Approach presentation – three steps &amp; logos</a:t>
            </a:r>
          </a:p>
        </p:txBody>
      </p:sp>
      <p:sp>
        <p:nvSpPr>
          <p:cNvPr id="5" name="Pentagon 4"/>
          <p:cNvSpPr/>
          <p:nvPr/>
        </p:nvSpPr>
        <p:spPr>
          <a:xfrm>
            <a:off x="1090331" y="3516507"/>
            <a:ext cx="3273749" cy="555757"/>
          </a:xfrm>
          <a:prstGeom prst="homePlate">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6" name="Chevron 5"/>
          <p:cNvSpPr/>
          <p:nvPr/>
        </p:nvSpPr>
        <p:spPr>
          <a:xfrm>
            <a:off x="4459125" y="3516507"/>
            <a:ext cx="3273749" cy="555757"/>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7" name="Chevron 6"/>
          <p:cNvSpPr/>
          <p:nvPr/>
        </p:nvSpPr>
        <p:spPr>
          <a:xfrm>
            <a:off x="7827920" y="3516507"/>
            <a:ext cx="3273749" cy="555757"/>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12" name="Oval 11"/>
          <p:cNvSpPr>
            <a:spLocks/>
          </p:cNvSpPr>
          <p:nvPr/>
        </p:nvSpPr>
        <p:spPr>
          <a:xfrm>
            <a:off x="2436413" y="3516507"/>
            <a:ext cx="540000" cy="540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1</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60" name="TextBox 59-1"/>
          <p:cNvSpPr txBox="1"/>
          <p:nvPr/>
        </p:nvSpPr>
        <p:spPr>
          <a:xfrm>
            <a:off x="1090331" y="4459243"/>
            <a:ext cx="32737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grpSp>
        <p:nvGrpSpPr>
          <p:cNvPr id="9" name="Groupe 8">
            <a:extLst>
              <a:ext uri="{FF2B5EF4-FFF2-40B4-BE49-F238E27FC236}">
                <a16:creationId xmlns:a16="http://schemas.microsoft.com/office/drawing/2014/main" id="{6D54A7EB-9562-44FE-BDA8-3F6B0AB69713}"/>
              </a:ext>
            </a:extLst>
          </p:cNvPr>
          <p:cNvGrpSpPr/>
          <p:nvPr/>
        </p:nvGrpSpPr>
        <p:grpSpPr>
          <a:xfrm>
            <a:off x="1520552" y="1425389"/>
            <a:ext cx="9257278" cy="338554"/>
            <a:chOff x="1520552" y="1425389"/>
            <a:chExt cx="9257278" cy="338554"/>
          </a:xfrm>
        </p:grpSpPr>
        <p:sp>
          <p:nvSpPr>
            <p:cNvPr id="66" name="TextBox 65"/>
            <p:cNvSpPr txBox="1"/>
            <p:nvPr/>
          </p:nvSpPr>
          <p:spPr>
            <a:xfrm>
              <a:off x="1520552" y="1425389"/>
              <a:ext cx="253102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7" name="TextBox 66"/>
            <p:cNvSpPr txBox="1"/>
            <p:nvPr/>
          </p:nvSpPr>
          <p:spPr>
            <a:xfrm>
              <a:off x="8246805" y="1425389"/>
              <a:ext cx="253102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9" name="TextBox 68"/>
            <p:cNvSpPr txBox="1"/>
            <p:nvPr/>
          </p:nvSpPr>
          <p:spPr>
            <a:xfrm>
              <a:off x="4834696" y="1425389"/>
              <a:ext cx="253102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grpSp>
      <p:sp>
        <p:nvSpPr>
          <p:cNvPr id="38" name="TextBox 59-3">
            <a:extLst>
              <a:ext uri="{FF2B5EF4-FFF2-40B4-BE49-F238E27FC236}">
                <a16:creationId xmlns:a16="http://schemas.microsoft.com/office/drawing/2014/main" id="{DFD765BE-B953-43A2-AB78-5A3A7ACA8E4D}"/>
              </a:ext>
            </a:extLst>
          </p:cNvPr>
          <p:cNvSpPr txBox="1"/>
          <p:nvPr/>
        </p:nvSpPr>
        <p:spPr>
          <a:xfrm>
            <a:off x="7818936" y="4459243"/>
            <a:ext cx="32737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a:ln>
                  <a:noFill/>
                </a:ln>
                <a:solidFill>
                  <a:schemeClr val="accent3">
                    <a:lumMod val="50000"/>
                  </a:schemeClr>
                </a:solidFill>
                <a:effectLst/>
                <a:uLnTx/>
                <a:uFillTx/>
                <a:latin typeface="+mn-lt"/>
                <a:ea typeface="+mn-ea"/>
                <a:cs typeface="+mn-cs"/>
              </a:rPr>
              <a:t>Lorem ipsum dolor sit amet, consectetuer adipiscing elit. Maecenas porttitor congue massa. </a:t>
            </a:r>
            <a:endPar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endParaRPr>
          </a:p>
        </p:txBody>
      </p:sp>
      <p:sp>
        <p:nvSpPr>
          <p:cNvPr id="39" name="TextBox 59-2">
            <a:extLst>
              <a:ext uri="{FF2B5EF4-FFF2-40B4-BE49-F238E27FC236}">
                <a16:creationId xmlns:a16="http://schemas.microsoft.com/office/drawing/2014/main" id="{46B1185A-5839-4CD2-AF36-E972C3DCEAC8}"/>
              </a:ext>
            </a:extLst>
          </p:cNvPr>
          <p:cNvSpPr txBox="1"/>
          <p:nvPr/>
        </p:nvSpPr>
        <p:spPr>
          <a:xfrm>
            <a:off x="4459124" y="4459243"/>
            <a:ext cx="32737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23" name="Oval 11">
            <a:extLst>
              <a:ext uri="{FF2B5EF4-FFF2-40B4-BE49-F238E27FC236}">
                <a16:creationId xmlns:a16="http://schemas.microsoft.com/office/drawing/2014/main" id="{BF10E2B5-7C7A-4E65-B1B1-B201BD71C644}"/>
              </a:ext>
            </a:extLst>
          </p:cNvPr>
          <p:cNvSpPr>
            <a:spLocks/>
          </p:cNvSpPr>
          <p:nvPr/>
        </p:nvSpPr>
        <p:spPr>
          <a:xfrm>
            <a:off x="5825997" y="3516507"/>
            <a:ext cx="540000" cy="540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a:solidFill>
                  <a:schemeClr val="tx2"/>
                </a:solidFill>
              </a:rPr>
              <a:t>2</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24" name="Oval 11">
            <a:extLst>
              <a:ext uri="{FF2B5EF4-FFF2-40B4-BE49-F238E27FC236}">
                <a16:creationId xmlns:a16="http://schemas.microsoft.com/office/drawing/2014/main" id="{4C081753-0779-4C5F-B07D-A683A541BEB4}"/>
              </a:ext>
            </a:extLst>
          </p:cNvPr>
          <p:cNvSpPr>
            <a:spLocks/>
          </p:cNvSpPr>
          <p:nvPr/>
        </p:nvSpPr>
        <p:spPr>
          <a:xfrm>
            <a:off x="9185809" y="3516507"/>
            <a:ext cx="540000" cy="540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3</a:t>
            </a:r>
            <a:endParaRPr kumimoji="0" lang="en-GB" sz="2000" i="0" u="none" strike="noStrike" kern="1200" cap="none" spc="0" normalizeH="0" baseline="0" noProof="0" dirty="0">
              <a:ln>
                <a:noFill/>
              </a:ln>
              <a:solidFill>
                <a:schemeClr val="tx2"/>
              </a:solidFill>
              <a:effectLst/>
              <a:uLnTx/>
              <a:uFillTx/>
              <a:ea typeface="+mn-ea"/>
              <a:cs typeface="+mn-cs"/>
            </a:endParaRPr>
          </a:p>
        </p:txBody>
      </p:sp>
    </p:spTree>
    <p:extLst>
      <p:ext uri="{BB962C8B-B14F-4D97-AF65-F5344CB8AC3E}">
        <p14:creationId xmlns:p14="http://schemas.microsoft.com/office/powerpoint/2010/main" val="1571224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3" name="Objet 2">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extLst>
              <p:ext uri="{D42A27DB-BD31-4B8C-83A1-F6EECF244321}">
                <p14:modId xmlns:p14="http://schemas.microsoft.com/office/powerpoint/2010/main" val="448116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a:extLst>
                          <a:ext uri="{FF2B5EF4-FFF2-40B4-BE49-F238E27FC236}">
                            <a16:creationId xmlns:a16="http://schemas.microsoft.com/office/drawing/2014/main" id="{EB1068A5-1B0B-49AA-87DD-DF0537659A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a:lstStyle/>
          <a:p>
            <a:r>
              <a:rPr lang="en-GB" dirty="0"/>
              <a:t>Slide message and recommendations</a:t>
            </a:r>
            <a:endParaRPr lang="en-GB" dirty="0">
              <a:latin typeface="+mn-lt"/>
            </a:endParaRPr>
          </a:p>
        </p:txBody>
      </p:sp>
      <p:sp>
        <p:nvSpPr>
          <p:cNvPr id="19" name="ZoneTexte 18">
            <a:extLst>
              <a:ext uri="{FF2B5EF4-FFF2-40B4-BE49-F238E27FC236}">
                <a16:creationId xmlns:a16="http://schemas.microsoft.com/office/drawing/2014/main" id="{4CCBBED2-1003-4735-BC7F-57F8C581BE79}"/>
              </a:ext>
            </a:extLst>
          </p:cNvPr>
          <p:cNvSpPr txBox="1"/>
          <p:nvPr/>
        </p:nvSpPr>
        <p:spPr>
          <a:xfrm>
            <a:off x="1059244" y="1538856"/>
            <a:ext cx="6246015" cy="4544854"/>
          </a:xfrm>
          <a:prstGeom prst="rect">
            <a:avLst/>
          </a:prstGeom>
          <a:noFill/>
          <a:ln w="6350">
            <a:noFill/>
          </a:ln>
        </p:spPr>
        <p:txBody>
          <a:bodyPr wrap="none" rtlCol="0">
            <a:noAutofit/>
          </a:bodyPr>
          <a:lstStyle/>
          <a:p>
            <a:pPr marL="285750" indent="-285750" algn="l" defTabSz="1125444" eaLnBrk="1" hangingPunct="1">
              <a:lnSpc>
                <a:spcPct val="120000"/>
              </a:lnSpc>
              <a:spcBef>
                <a:spcPts val="400"/>
              </a:spcBef>
              <a:spcAft>
                <a:spcPts val="400"/>
              </a:spcAft>
              <a:buClr>
                <a:srgbClr val="B40646"/>
              </a:buClr>
              <a:buSzPct val="82000"/>
              <a:buFont typeface="Wingdings 3" panose="05040102010807070707" pitchFamily="18" charset="2"/>
              <a:buChar char=""/>
              <a:defRPr/>
            </a:pPr>
            <a:r>
              <a:rPr lang="en-GB">
                <a:latin typeface="Arial" panose="020B0604020202020204" pitchFamily="34" charset="0"/>
                <a:cs typeface="Arial" panose="020B0604020202020204" pitchFamily="34" charset="0"/>
                <a:sym typeface="Open Sans"/>
              </a:rPr>
              <a:t>Lorem ipsum dolor sit amet, consectetuer adipiscing elit </a:t>
            </a:r>
          </a:p>
          <a:p>
            <a:pPr marL="285750" indent="-285750" algn="l" defTabSz="1125444" eaLnBrk="1" hangingPunct="1">
              <a:lnSpc>
                <a:spcPct val="120000"/>
              </a:lnSpc>
              <a:spcBef>
                <a:spcPts val="400"/>
              </a:spcBef>
              <a:spcAft>
                <a:spcPts val="400"/>
              </a:spcAft>
              <a:buClr>
                <a:srgbClr val="B40646"/>
              </a:buClr>
              <a:buSzPct val="82000"/>
              <a:buFont typeface="Wingdings 3" panose="05040102010807070707" pitchFamily="18" charset="2"/>
              <a:buChar char=""/>
              <a:defRPr/>
            </a:pPr>
            <a:r>
              <a:rPr lang="en-GB">
                <a:latin typeface="Arial" panose="020B0604020202020204" pitchFamily="34" charset="0"/>
                <a:cs typeface="Arial" panose="020B0604020202020204" pitchFamily="34" charset="0"/>
                <a:sym typeface="Open Sans"/>
              </a:rPr>
              <a:t>Lorem ipsum dolor sit amet, consectetuer adipiscing elit </a:t>
            </a:r>
            <a:endParaRPr lang="en-GB" dirty="0">
              <a:latin typeface="Arial" panose="020B0604020202020204" pitchFamily="34" charset="0"/>
              <a:cs typeface="Arial" panose="020B0604020202020204" pitchFamily="34" charset="0"/>
              <a:sym typeface="Open Sans"/>
            </a:endParaRPr>
          </a:p>
        </p:txBody>
      </p:sp>
      <p:sp>
        <p:nvSpPr>
          <p:cNvPr id="1738" name="Google Shape;1738;p230"/>
          <p:cNvSpPr/>
          <p:nvPr/>
        </p:nvSpPr>
        <p:spPr>
          <a:xfrm>
            <a:off x="7623651" y="1538853"/>
            <a:ext cx="3374893" cy="4544855"/>
          </a:xfrm>
          <a:prstGeom prst="rect">
            <a:avLst/>
          </a:prstGeom>
          <a:solidFill>
            <a:schemeClr val="bg2"/>
          </a:solidFill>
          <a:ln>
            <a:noFill/>
          </a:ln>
        </p:spPr>
        <p:txBody>
          <a:bodyPr spcFirstLastPara="1" wrap="square" lIns="121900" tIns="121900" rIns="121900" bIns="121900" anchor="t" anchorCtr="0">
            <a:noAutofit/>
          </a:bodyPr>
          <a:lstStyle/>
          <a:p>
            <a:pPr lvl="0" algn="l">
              <a:spcBef>
                <a:spcPts val="0"/>
              </a:spcBef>
              <a:spcAft>
                <a:spcPts val="0"/>
              </a:spcAft>
              <a:buClr>
                <a:srgbClr val="B40646"/>
              </a:buClr>
            </a:pPr>
            <a:r>
              <a:rPr lang="en-GB" dirty="0">
                <a:latin typeface="+mn-lt"/>
                <a:ea typeface="Arial"/>
                <a:cs typeface="Arial"/>
                <a:sym typeface="Arial"/>
              </a:rPr>
              <a:t>Key messages / conclusion </a:t>
            </a:r>
          </a:p>
          <a:p>
            <a:pPr lvl="0" algn="l">
              <a:spcBef>
                <a:spcPts val="0"/>
              </a:spcBef>
              <a:spcAft>
                <a:spcPts val="0"/>
              </a:spcAft>
              <a:buClr>
                <a:srgbClr val="B40646"/>
              </a:buClr>
            </a:pPr>
            <a:endParaRPr lang="en-GB" dirty="0">
              <a:latin typeface="+mn-lt"/>
              <a:ea typeface="Arial"/>
              <a:cs typeface="Arial"/>
              <a:sym typeface="Arial"/>
            </a:endParaRP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sym typeface="Arial"/>
              </a:rPr>
              <a:t>Lorem ipsum </a:t>
            </a:r>
            <a:r>
              <a:rPr lang="en-GB" dirty="0" err="1">
                <a:latin typeface="+mn-lt"/>
                <a:sym typeface="Arial"/>
              </a:rPr>
              <a:t>dolor</a:t>
            </a:r>
            <a:r>
              <a:rPr lang="en-GB" dirty="0">
                <a:latin typeface="+mn-lt"/>
                <a:sym typeface="Arial"/>
              </a:rPr>
              <a:t> sit </a:t>
            </a:r>
            <a:r>
              <a:rPr lang="en-GB" dirty="0" err="1">
                <a:latin typeface="+mn-lt"/>
                <a:sym typeface="Arial"/>
              </a:rPr>
              <a:t>amet</a:t>
            </a:r>
            <a:r>
              <a:rPr lang="en-GB" dirty="0">
                <a:latin typeface="+mn-lt"/>
                <a:sym typeface="Arial"/>
              </a:rPr>
              <a:t>, </a:t>
            </a:r>
            <a:r>
              <a:rPr lang="en-GB" dirty="0" err="1">
                <a:latin typeface="+mn-lt"/>
                <a:sym typeface="Arial"/>
              </a:rPr>
              <a:t>consectetuer</a:t>
            </a:r>
            <a:r>
              <a:rPr lang="en-GB" dirty="0">
                <a:latin typeface="+mn-lt"/>
                <a:sym typeface="Arial"/>
              </a:rPr>
              <a:t> </a:t>
            </a:r>
            <a:r>
              <a:rPr lang="en-GB" dirty="0" err="1">
                <a:latin typeface="+mn-lt"/>
                <a:sym typeface="Arial"/>
              </a:rPr>
              <a:t>adipiscing</a:t>
            </a:r>
            <a:r>
              <a:rPr lang="en-GB" dirty="0">
                <a:latin typeface="+mn-lt"/>
                <a:sym typeface="Arial"/>
              </a:rPr>
              <a:t> </a:t>
            </a:r>
            <a:r>
              <a:rPr lang="en-GB" dirty="0" err="1">
                <a:latin typeface="+mn-lt"/>
                <a:sym typeface="Arial"/>
              </a:rPr>
              <a:t>elit</a:t>
            </a:r>
            <a:endParaRPr lang="en-GB" dirty="0">
              <a:latin typeface="+mn-lt"/>
              <a:sym typeface="Arial"/>
            </a:endParaRP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sym typeface="Arial"/>
              </a:rPr>
              <a:t>Maecenas </a:t>
            </a:r>
            <a:r>
              <a:rPr lang="en-GB" dirty="0" err="1">
                <a:latin typeface="+mn-lt"/>
                <a:sym typeface="Arial"/>
              </a:rPr>
              <a:t>porttitor</a:t>
            </a:r>
            <a:r>
              <a:rPr lang="en-GB" dirty="0">
                <a:latin typeface="+mn-lt"/>
                <a:sym typeface="Arial"/>
              </a:rPr>
              <a:t> </a:t>
            </a:r>
            <a:r>
              <a:rPr lang="en-GB" dirty="0" err="1">
                <a:latin typeface="+mn-lt"/>
                <a:sym typeface="Arial"/>
              </a:rPr>
              <a:t>congue</a:t>
            </a:r>
            <a:r>
              <a:rPr lang="en-GB" dirty="0">
                <a:latin typeface="+mn-lt"/>
                <a:sym typeface="Arial"/>
              </a:rPr>
              <a:t> </a:t>
            </a:r>
            <a:r>
              <a:rPr lang="en-GB" dirty="0" err="1">
                <a:latin typeface="+mn-lt"/>
                <a:sym typeface="Arial"/>
              </a:rPr>
              <a:t>massa</a:t>
            </a:r>
            <a:endParaRPr lang="en-GB" dirty="0">
              <a:latin typeface="+mn-lt"/>
              <a:sym typeface="Arial"/>
            </a:endParaRP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err="1">
                <a:latin typeface="+mn-lt"/>
                <a:sym typeface="Arial"/>
              </a:rPr>
              <a:t>Fusce</a:t>
            </a:r>
            <a:r>
              <a:rPr lang="en-GB" dirty="0">
                <a:latin typeface="+mn-lt"/>
                <a:sym typeface="Arial"/>
              </a:rPr>
              <a:t> </a:t>
            </a:r>
            <a:r>
              <a:rPr lang="en-GB" dirty="0" err="1">
                <a:latin typeface="+mn-lt"/>
                <a:sym typeface="Arial"/>
              </a:rPr>
              <a:t>posuere</a:t>
            </a:r>
            <a:r>
              <a:rPr lang="en-GB" dirty="0">
                <a:latin typeface="+mn-lt"/>
                <a:sym typeface="Arial"/>
              </a:rPr>
              <a:t>, magna </a:t>
            </a:r>
            <a:r>
              <a:rPr lang="en-GB" dirty="0" err="1">
                <a:latin typeface="+mn-lt"/>
                <a:sym typeface="Arial"/>
              </a:rPr>
              <a:t>sed</a:t>
            </a:r>
            <a:r>
              <a:rPr lang="en-GB" dirty="0">
                <a:latin typeface="+mn-lt"/>
                <a:sym typeface="Arial"/>
              </a:rPr>
              <a:t> pulvinar </a:t>
            </a:r>
            <a:r>
              <a:rPr lang="en-GB" dirty="0" err="1">
                <a:latin typeface="+mn-lt"/>
                <a:sym typeface="Arial"/>
              </a:rPr>
              <a:t>ultricies</a:t>
            </a:r>
            <a:r>
              <a:rPr lang="en-GB" dirty="0">
                <a:latin typeface="+mn-lt"/>
                <a:sym typeface="Arial"/>
              </a:rPr>
              <a:t>, </a:t>
            </a:r>
            <a:r>
              <a:rPr lang="en-GB" dirty="0" err="1">
                <a:latin typeface="+mn-lt"/>
                <a:sym typeface="Arial"/>
              </a:rPr>
              <a:t>purus</a:t>
            </a:r>
            <a:r>
              <a:rPr lang="en-GB" dirty="0">
                <a:latin typeface="+mn-lt"/>
                <a:sym typeface="Arial"/>
              </a:rPr>
              <a:t> </a:t>
            </a:r>
            <a:r>
              <a:rPr lang="en-GB" dirty="0" err="1">
                <a:latin typeface="+mn-lt"/>
                <a:sym typeface="Arial"/>
              </a:rPr>
              <a:t>lectus</a:t>
            </a:r>
            <a:r>
              <a:rPr lang="en-GB" dirty="0">
                <a:latin typeface="+mn-lt"/>
                <a:sym typeface="Arial"/>
              </a:rPr>
              <a:t> </a:t>
            </a:r>
            <a:r>
              <a:rPr lang="en-GB" dirty="0" err="1">
                <a:latin typeface="+mn-lt"/>
                <a:sym typeface="Arial"/>
              </a:rPr>
              <a:t>malesuada</a:t>
            </a:r>
            <a:r>
              <a:rPr lang="en-GB" dirty="0">
                <a:latin typeface="+mn-lt"/>
                <a:sym typeface="Arial"/>
              </a:rPr>
              <a:t> libero, sit </a:t>
            </a:r>
            <a:r>
              <a:rPr lang="en-GB" dirty="0" err="1">
                <a:latin typeface="+mn-lt"/>
                <a:sym typeface="Arial"/>
              </a:rPr>
              <a:t>amet</a:t>
            </a:r>
            <a:r>
              <a:rPr lang="en-GB" dirty="0">
                <a:latin typeface="+mn-lt"/>
                <a:sym typeface="Arial"/>
              </a:rPr>
              <a:t> </a:t>
            </a:r>
            <a:r>
              <a:rPr lang="en-GB" dirty="0" err="1">
                <a:latin typeface="+mn-lt"/>
                <a:sym typeface="Arial"/>
              </a:rPr>
              <a:t>commodo</a:t>
            </a:r>
            <a:r>
              <a:rPr lang="en-GB" dirty="0">
                <a:latin typeface="+mn-lt"/>
                <a:sym typeface="Arial"/>
              </a:rPr>
              <a:t> magna eros </a:t>
            </a:r>
            <a:r>
              <a:rPr lang="en-GB" dirty="0" err="1">
                <a:latin typeface="+mn-lt"/>
                <a:sym typeface="Arial"/>
              </a:rPr>
              <a:t>quis</a:t>
            </a:r>
            <a:r>
              <a:rPr lang="en-GB" dirty="0">
                <a:latin typeface="+mn-lt"/>
                <a:sym typeface="Arial"/>
              </a:rPr>
              <a:t> </a:t>
            </a:r>
            <a:r>
              <a:rPr lang="en-GB" dirty="0" err="1">
                <a:latin typeface="+mn-lt"/>
                <a:sym typeface="Arial"/>
              </a:rPr>
              <a:t>urna</a:t>
            </a:r>
            <a:endParaRPr lang="en-GB" dirty="0">
              <a:latin typeface="+mn-lt"/>
            </a:endParaRP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sym typeface="Arial"/>
              </a:rPr>
              <a:t>Lorem ipsum </a:t>
            </a:r>
            <a:r>
              <a:rPr lang="en-GB" dirty="0" err="1">
                <a:latin typeface="+mn-lt"/>
                <a:sym typeface="Arial"/>
              </a:rPr>
              <a:t>dolor</a:t>
            </a:r>
            <a:r>
              <a:rPr lang="en-GB" dirty="0">
                <a:latin typeface="+mn-lt"/>
                <a:sym typeface="Arial"/>
              </a:rPr>
              <a:t> sit </a:t>
            </a:r>
            <a:r>
              <a:rPr lang="en-GB" dirty="0" err="1">
                <a:latin typeface="+mn-lt"/>
                <a:sym typeface="Arial"/>
              </a:rPr>
              <a:t>amet</a:t>
            </a:r>
            <a:r>
              <a:rPr lang="en-GB" dirty="0">
                <a:latin typeface="+mn-lt"/>
                <a:sym typeface="Arial"/>
              </a:rPr>
              <a:t>, </a:t>
            </a:r>
            <a:r>
              <a:rPr lang="en-GB" dirty="0" err="1">
                <a:latin typeface="+mn-lt"/>
                <a:sym typeface="Arial"/>
              </a:rPr>
              <a:t>consectetuer</a:t>
            </a:r>
            <a:r>
              <a:rPr lang="en-GB" dirty="0">
                <a:latin typeface="+mn-lt"/>
                <a:sym typeface="Arial"/>
              </a:rPr>
              <a:t> </a:t>
            </a:r>
            <a:r>
              <a:rPr lang="en-GB" dirty="0" err="1">
                <a:latin typeface="+mn-lt"/>
                <a:sym typeface="Arial"/>
              </a:rPr>
              <a:t>adipiscing</a:t>
            </a:r>
            <a:r>
              <a:rPr lang="en-GB" dirty="0">
                <a:latin typeface="+mn-lt"/>
                <a:sym typeface="Arial"/>
              </a:rPr>
              <a:t> </a:t>
            </a:r>
            <a:r>
              <a:rPr lang="en-GB" dirty="0" err="1">
                <a:latin typeface="+mn-lt"/>
                <a:sym typeface="Arial"/>
              </a:rPr>
              <a:t>elit</a:t>
            </a:r>
            <a:endParaRPr lang="en-GB" dirty="0">
              <a:latin typeface="+mn-lt"/>
              <a:sym typeface="Arial"/>
            </a:endParaRPr>
          </a:p>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defRPr/>
            </a:pPr>
            <a:r>
              <a:rPr lang="en-GB" dirty="0">
                <a:latin typeface="+mn-lt"/>
                <a:sym typeface="Arial"/>
              </a:rPr>
              <a:t>Maecenas </a:t>
            </a:r>
            <a:r>
              <a:rPr lang="en-GB" dirty="0" err="1">
                <a:latin typeface="+mn-lt"/>
                <a:sym typeface="Arial"/>
              </a:rPr>
              <a:t>porttitor</a:t>
            </a:r>
            <a:r>
              <a:rPr lang="en-GB" dirty="0">
                <a:latin typeface="+mn-lt"/>
                <a:sym typeface="Arial"/>
              </a:rPr>
              <a:t> </a:t>
            </a:r>
            <a:r>
              <a:rPr lang="en-GB" dirty="0" err="1">
                <a:latin typeface="+mn-lt"/>
                <a:sym typeface="Arial"/>
              </a:rPr>
              <a:t>congue</a:t>
            </a:r>
            <a:r>
              <a:rPr lang="en-GB" dirty="0">
                <a:latin typeface="+mn-lt"/>
                <a:sym typeface="Arial"/>
              </a:rPr>
              <a:t> </a:t>
            </a:r>
            <a:r>
              <a:rPr lang="en-GB" dirty="0" err="1">
                <a:latin typeface="+mn-lt"/>
                <a:sym typeface="Arial"/>
              </a:rPr>
              <a:t>massa</a:t>
            </a:r>
            <a:endParaRPr lang="en-GB" dirty="0">
              <a:latin typeface="+mn-lt"/>
              <a:sym typeface="Arial"/>
            </a:endParaRPr>
          </a:p>
        </p:txBody>
      </p:sp>
      <p:sp>
        <p:nvSpPr>
          <p:cNvPr id="12" name="Google Shape;1739;p230">
            <a:extLst>
              <a:ext uri="{FF2B5EF4-FFF2-40B4-BE49-F238E27FC236}">
                <a16:creationId xmlns:a16="http://schemas.microsoft.com/office/drawing/2014/main" id="{A6CF6C2D-21AE-4A77-A1E0-1384592A92CC}"/>
              </a:ext>
            </a:extLst>
          </p:cNvPr>
          <p:cNvSpPr/>
          <p:nvPr/>
        </p:nvSpPr>
        <p:spPr>
          <a:xfrm>
            <a:off x="7623651" y="1538854"/>
            <a:ext cx="47025" cy="4544854"/>
          </a:xfrm>
          <a:prstGeom prst="rect">
            <a:avLst/>
          </a:prstGeom>
          <a:solidFill>
            <a:schemeClr val="accent5"/>
          </a:solidFill>
          <a:ln>
            <a:noFill/>
          </a:ln>
        </p:spPr>
        <p:txBody>
          <a:bodyPr spcFirstLastPara="1" wrap="square" lIns="121900" tIns="121900" rIns="121900" bIns="121900" anchor="t" anchorCtr="0">
            <a:noAutofit/>
          </a:bodyPr>
          <a:lstStyle/>
          <a:p>
            <a:pPr algn="l">
              <a:spcBef>
                <a:spcPts val="0"/>
              </a:spcBef>
              <a:spcAft>
                <a:spcPts val="0"/>
              </a:spcAft>
              <a:buClr>
                <a:srgbClr val="000000"/>
              </a:buClr>
              <a:buSzPts val="1400"/>
            </a:pPr>
            <a:r>
              <a:rPr lang="en-GB" sz="1867">
                <a:solidFill>
                  <a:srgbClr val="000000"/>
                </a:solidFill>
                <a:latin typeface="+mn-lt"/>
                <a:ea typeface="Arial"/>
                <a:cs typeface="Arial"/>
                <a:sym typeface="Arial"/>
              </a:rPr>
              <a:t>     </a:t>
            </a:r>
            <a:endParaRPr lang="en-GB" sz="1867" dirty="0">
              <a:solidFill>
                <a:srgbClr val="000000"/>
              </a:solidFill>
              <a:latin typeface="+mn-lt"/>
              <a:ea typeface="Arial"/>
              <a:cs typeface="Arial"/>
              <a:sym typeface="Arial"/>
            </a:endParaRPr>
          </a:p>
        </p:txBody>
      </p:sp>
    </p:spTree>
    <p:extLst>
      <p:ext uri="{BB962C8B-B14F-4D97-AF65-F5344CB8AC3E}">
        <p14:creationId xmlns:p14="http://schemas.microsoft.com/office/powerpoint/2010/main" val="7983138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map">
            <a:extLst>
              <a:ext uri="{FF2B5EF4-FFF2-40B4-BE49-F238E27FC236}">
                <a16:creationId xmlns:a16="http://schemas.microsoft.com/office/drawing/2014/main" id="{6616E8E8-1545-49E4-A145-EAAE766180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5665" y="2959131"/>
            <a:ext cx="687837" cy="587788"/>
          </a:xfrm>
          <a:prstGeom prst="rect">
            <a:avLst/>
          </a:prstGeom>
        </p:spPr>
      </p:pic>
      <p:pic>
        <p:nvPicPr>
          <p:cNvPr id="31" name="school">
            <a:extLst>
              <a:ext uri="{FF2B5EF4-FFF2-40B4-BE49-F238E27FC236}">
                <a16:creationId xmlns:a16="http://schemas.microsoft.com/office/drawing/2014/main" id="{13CC5C04-E18E-4CCB-9A98-E9BBC8E7ED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32036" y="2982181"/>
            <a:ext cx="737616" cy="587788"/>
          </a:xfrm>
          <a:prstGeom prst="rect">
            <a:avLst/>
          </a:prstGeom>
        </p:spPr>
      </p:pic>
      <p:pic>
        <p:nvPicPr>
          <p:cNvPr id="32" name="housing">
            <a:extLst>
              <a:ext uri="{FF2B5EF4-FFF2-40B4-BE49-F238E27FC236}">
                <a16:creationId xmlns:a16="http://schemas.microsoft.com/office/drawing/2014/main" id="{056B73BC-1D69-4A63-8593-1A0D5F22F9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0207" y="2992554"/>
            <a:ext cx="722489" cy="587788"/>
          </a:xfrm>
          <a:prstGeom prst="rect">
            <a:avLst/>
          </a:prstGeom>
        </p:spPr>
      </p:pic>
      <p:pic>
        <p:nvPicPr>
          <p:cNvPr id="33" name="directions">
            <a:extLst>
              <a:ext uri="{FF2B5EF4-FFF2-40B4-BE49-F238E27FC236}">
                <a16:creationId xmlns:a16="http://schemas.microsoft.com/office/drawing/2014/main" id="{B880A345-1CA3-4078-8D33-209BEA968AA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10265" y="2992136"/>
            <a:ext cx="567519" cy="587788"/>
          </a:xfrm>
          <a:prstGeom prst="rect">
            <a:avLst/>
          </a:prstGeom>
        </p:spPr>
      </p:pic>
      <p:graphicFrame>
        <p:nvGraphicFramePr>
          <p:cNvPr id="4" name="Objet 3" hidden="1">
            <a:extLst>
              <a:ext uri="{FF2B5EF4-FFF2-40B4-BE49-F238E27FC236}">
                <a16:creationId xmlns:a16="http://schemas.microsoft.com/office/drawing/2014/main" id="{51FA5F91-C065-40F8-B25B-D83D09D48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3" imgW="270" imgH="270" progId="TCLayout.ActiveDocument.1">
                  <p:embed/>
                </p:oleObj>
              </mc:Choice>
              <mc:Fallback>
                <p:oleObj name="Diapositive think-cell" r:id="rId13" imgW="270" imgH="270" progId="TCLayout.ActiveDocument.1">
                  <p:embed/>
                  <p:pic>
                    <p:nvPicPr>
                      <p:cNvPr id="4" name="Objet 3" hidden="1">
                        <a:extLst>
                          <a:ext uri="{FF2B5EF4-FFF2-40B4-BE49-F238E27FC236}">
                            <a16:creationId xmlns:a16="http://schemas.microsoft.com/office/drawing/2014/main" id="{51FA5F91-C065-40F8-B25B-D83D09D48EA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9AFFA-7607-4C70-B932-63476B32B05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2" name="Title 71">
            <a:extLst>
              <a:ext uri="{FF2B5EF4-FFF2-40B4-BE49-F238E27FC236}">
                <a16:creationId xmlns:a16="http://schemas.microsoft.com/office/drawing/2014/main" id="{8B3FA7BD-5C18-447D-8DF1-D5485D01DD2E}"/>
              </a:ext>
            </a:extLst>
          </p:cNvPr>
          <p:cNvSpPr>
            <a:spLocks noGrp="1"/>
          </p:cNvSpPr>
          <p:nvPr>
            <p:ph type="title"/>
          </p:nvPr>
        </p:nvSpPr>
        <p:spPr/>
        <p:txBody>
          <a:bodyPr/>
          <a:lstStyle/>
          <a:p>
            <a:r>
              <a:rPr lang="en-GB" dirty="0"/>
              <a:t>Approach presentation – four steps &amp; logos</a:t>
            </a:r>
          </a:p>
        </p:txBody>
      </p:sp>
      <p:sp>
        <p:nvSpPr>
          <p:cNvPr id="5" name="Pentagon 4"/>
          <p:cNvSpPr/>
          <p:nvPr/>
        </p:nvSpPr>
        <p:spPr>
          <a:xfrm>
            <a:off x="1072576" y="3988697"/>
            <a:ext cx="2456537" cy="453528"/>
          </a:xfrm>
          <a:prstGeom prst="homePlate">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6" name="Chevron 5"/>
          <p:cNvSpPr/>
          <p:nvPr/>
        </p:nvSpPr>
        <p:spPr>
          <a:xfrm>
            <a:off x="3600433" y="3988697"/>
            <a:ext cx="2456537" cy="453528"/>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7" name="Chevron 6"/>
          <p:cNvSpPr/>
          <p:nvPr/>
        </p:nvSpPr>
        <p:spPr>
          <a:xfrm>
            <a:off x="6128289" y="3988697"/>
            <a:ext cx="2456537" cy="453528"/>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8" name="Chevron 7"/>
          <p:cNvSpPr/>
          <p:nvPr/>
        </p:nvSpPr>
        <p:spPr>
          <a:xfrm>
            <a:off x="8656146" y="3988697"/>
            <a:ext cx="2456537" cy="453528"/>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60" name="TextBox 59-1"/>
          <p:cNvSpPr txBox="1"/>
          <p:nvPr/>
        </p:nvSpPr>
        <p:spPr>
          <a:xfrm>
            <a:off x="1072576" y="4779546"/>
            <a:ext cx="24565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grpSp>
        <p:nvGrpSpPr>
          <p:cNvPr id="10" name="Groupe 9">
            <a:extLst>
              <a:ext uri="{FF2B5EF4-FFF2-40B4-BE49-F238E27FC236}">
                <a16:creationId xmlns:a16="http://schemas.microsoft.com/office/drawing/2014/main" id="{BC5CC043-B3CC-47CF-9293-8D7B9B7F8547}"/>
              </a:ext>
            </a:extLst>
          </p:cNvPr>
          <p:cNvGrpSpPr/>
          <p:nvPr/>
        </p:nvGrpSpPr>
        <p:grpSpPr>
          <a:xfrm>
            <a:off x="1395403" y="2224900"/>
            <a:ext cx="9433270" cy="338554"/>
            <a:chOff x="1395403" y="2224900"/>
            <a:chExt cx="9433270" cy="338554"/>
          </a:xfrm>
        </p:grpSpPr>
        <p:sp>
          <p:nvSpPr>
            <p:cNvPr id="66" name="TextBox 65"/>
            <p:cNvSpPr txBox="1"/>
            <p:nvPr/>
          </p:nvSpPr>
          <p:spPr>
            <a:xfrm>
              <a:off x="1395403" y="2224900"/>
              <a:ext cx="189921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a:ln>
                    <a:noFill/>
                  </a:ln>
                  <a:solidFill>
                    <a:schemeClr val="tx2"/>
                  </a:solidFill>
                  <a:effectLst/>
                  <a:uLnTx/>
                  <a:uFillTx/>
                  <a:latin typeface="+mn-lt"/>
                  <a:ea typeface="+mn-ea"/>
                  <a:cs typeface="+mn-cs"/>
                </a:rPr>
                <a:t>Lorem ipsum</a:t>
              </a:r>
              <a:endParaRPr kumimoji="0" lang="en-GB" sz="1600" i="0" u="none" strike="noStrike" kern="1200" cap="none" spc="0" normalizeH="0" baseline="0" noProof="0" dirty="0">
                <a:ln>
                  <a:noFill/>
                </a:ln>
                <a:solidFill>
                  <a:schemeClr val="tx2"/>
                </a:solidFill>
                <a:effectLst/>
                <a:uLnTx/>
                <a:uFillTx/>
                <a:latin typeface="+mn-lt"/>
                <a:ea typeface="+mn-ea"/>
                <a:cs typeface="+mn-cs"/>
              </a:endParaRPr>
            </a:p>
          </p:txBody>
        </p:sp>
        <p:sp>
          <p:nvSpPr>
            <p:cNvPr id="67" name="TextBox 66"/>
            <p:cNvSpPr txBox="1"/>
            <p:nvPr/>
          </p:nvSpPr>
          <p:spPr>
            <a:xfrm>
              <a:off x="6442609" y="2224900"/>
              <a:ext cx="189921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a:ln>
                    <a:noFill/>
                  </a:ln>
                  <a:solidFill>
                    <a:schemeClr val="tx2"/>
                  </a:solidFill>
                  <a:effectLst/>
                  <a:uLnTx/>
                  <a:uFillTx/>
                  <a:latin typeface="+mn-lt"/>
                  <a:ea typeface="+mn-ea"/>
                  <a:cs typeface="+mn-cs"/>
                </a:rPr>
                <a:t>Lorem ipsum</a:t>
              </a:r>
              <a:endParaRPr kumimoji="0" lang="en-GB" sz="1600" i="0" u="none" strike="noStrike" kern="1200" cap="none" spc="0" normalizeH="0" baseline="0" noProof="0" dirty="0">
                <a:ln>
                  <a:noFill/>
                </a:ln>
                <a:solidFill>
                  <a:schemeClr val="tx2"/>
                </a:solidFill>
                <a:effectLst/>
                <a:uLnTx/>
                <a:uFillTx/>
                <a:latin typeface="+mn-lt"/>
                <a:ea typeface="+mn-ea"/>
                <a:cs typeface="+mn-cs"/>
              </a:endParaRPr>
            </a:p>
          </p:txBody>
        </p:sp>
        <p:sp>
          <p:nvSpPr>
            <p:cNvPr id="69" name="TextBox 68"/>
            <p:cNvSpPr txBox="1"/>
            <p:nvPr/>
          </p:nvSpPr>
          <p:spPr>
            <a:xfrm>
              <a:off x="3882251" y="2224900"/>
              <a:ext cx="189921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a:ln>
                    <a:noFill/>
                  </a:ln>
                  <a:solidFill>
                    <a:schemeClr val="tx2"/>
                  </a:solidFill>
                  <a:effectLst/>
                  <a:uLnTx/>
                  <a:uFillTx/>
                  <a:latin typeface="+mn-lt"/>
                  <a:ea typeface="+mn-ea"/>
                  <a:cs typeface="+mn-cs"/>
                </a:rPr>
                <a:t>Lorem ipsum</a:t>
              </a:r>
              <a:endParaRPr kumimoji="0" lang="en-GB" sz="1600" i="0" u="none" strike="noStrike" kern="1200" cap="none" spc="0" normalizeH="0" baseline="0" noProof="0" dirty="0">
                <a:ln>
                  <a:noFill/>
                </a:ln>
                <a:solidFill>
                  <a:schemeClr val="tx2"/>
                </a:solidFill>
                <a:effectLst/>
                <a:uLnTx/>
                <a:uFillTx/>
                <a:latin typeface="+mn-lt"/>
                <a:ea typeface="+mn-ea"/>
                <a:cs typeface="+mn-cs"/>
              </a:endParaRPr>
            </a:p>
          </p:txBody>
        </p:sp>
        <p:sp>
          <p:nvSpPr>
            <p:cNvPr id="70" name="TextBox 69"/>
            <p:cNvSpPr txBox="1"/>
            <p:nvPr/>
          </p:nvSpPr>
          <p:spPr>
            <a:xfrm>
              <a:off x="8929457" y="2224900"/>
              <a:ext cx="189921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a:ln>
                    <a:noFill/>
                  </a:ln>
                  <a:solidFill>
                    <a:schemeClr val="tx2"/>
                  </a:solidFill>
                  <a:effectLst/>
                  <a:uLnTx/>
                  <a:uFillTx/>
                  <a:latin typeface="+mn-lt"/>
                  <a:ea typeface="+mn-ea"/>
                  <a:cs typeface="+mn-cs"/>
                </a:rPr>
                <a:t>Lorem ipsum</a:t>
              </a:r>
              <a:endParaRPr kumimoji="0" lang="en-GB" sz="1600" i="0" u="none" strike="noStrike" kern="1200" cap="none" spc="0" normalizeH="0" baseline="0" noProof="0" dirty="0">
                <a:ln>
                  <a:noFill/>
                </a:ln>
                <a:solidFill>
                  <a:schemeClr val="tx2"/>
                </a:solidFill>
                <a:effectLst/>
                <a:uLnTx/>
                <a:uFillTx/>
                <a:latin typeface="+mn-lt"/>
                <a:ea typeface="+mn-ea"/>
                <a:cs typeface="+mn-cs"/>
              </a:endParaRPr>
            </a:p>
          </p:txBody>
        </p:sp>
      </p:grpSp>
      <p:sp>
        <p:nvSpPr>
          <p:cNvPr id="37" name="TextBox 59-4">
            <a:extLst>
              <a:ext uri="{FF2B5EF4-FFF2-40B4-BE49-F238E27FC236}">
                <a16:creationId xmlns:a16="http://schemas.microsoft.com/office/drawing/2014/main" id="{34204E22-65E7-4E3F-8A03-D8D6D6B5887B}"/>
              </a:ext>
            </a:extLst>
          </p:cNvPr>
          <p:cNvSpPr txBox="1"/>
          <p:nvPr/>
        </p:nvSpPr>
        <p:spPr>
          <a:xfrm>
            <a:off x="8662888" y="4779546"/>
            <a:ext cx="24565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8" name="TextBox 59-3">
            <a:extLst>
              <a:ext uri="{FF2B5EF4-FFF2-40B4-BE49-F238E27FC236}">
                <a16:creationId xmlns:a16="http://schemas.microsoft.com/office/drawing/2014/main" id="{DFD765BE-B953-43A2-AB78-5A3A7ACA8E4D}"/>
              </a:ext>
            </a:extLst>
          </p:cNvPr>
          <p:cNvSpPr txBox="1"/>
          <p:nvPr/>
        </p:nvSpPr>
        <p:spPr>
          <a:xfrm>
            <a:off x="6121548" y="4779546"/>
            <a:ext cx="24565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9" name="TextBox 59-2">
            <a:extLst>
              <a:ext uri="{FF2B5EF4-FFF2-40B4-BE49-F238E27FC236}">
                <a16:creationId xmlns:a16="http://schemas.microsoft.com/office/drawing/2014/main" id="{46B1185A-5839-4CD2-AF36-E972C3DCEAC8}"/>
              </a:ext>
            </a:extLst>
          </p:cNvPr>
          <p:cNvSpPr txBox="1"/>
          <p:nvPr/>
        </p:nvSpPr>
        <p:spPr>
          <a:xfrm>
            <a:off x="3600431" y="4779546"/>
            <a:ext cx="245653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26" name="Oval 11">
            <a:extLst>
              <a:ext uri="{FF2B5EF4-FFF2-40B4-BE49-F238E27FC236}">
                <a16:creationId xmlns:a16="http://schemas.microsoft.com/office/drawing/2014/main" id="{F7C8A387-D0B9-4DA3-B861-746B2D402EFC}"/>
              </a:ext>
            </a:extLst>
          </p:cNvPr>
          <p:cNvSpPr>
            <a:spLocks/>
          </p:cNvSpPr>
          <p:nvPr/>
        </p:nvSpPr>
        <p:spPr>
          <a:xfrm>
            <a:off x="2075011" y="3999461"/>
            <a:ext cx="432000" cy="43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1</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27" name="Oval 11">
            <a:extLst>
              <a:ext uri="{FF2B5EF4-FFF2-40B4-BE49-F238E27FC236}">
                <a16:creationId xmlns:a16="http://schemas.microsoft.com/office/drawing/2014/main" id="{B08210A6-687D-405B-9434-92F78E0CA3ED}"/>
              </a:ext>
            </a:extLst>
          </p:cNvPr>
          <p:cNvSpPr>
            <a:spLocks/>
          </p:cNvSpPr>
          <p:nvPr/>
        </p:nvSpPr>
        <p:spPr>
          <a:xfrm>
            <a:off x="4612699" y="3999461"/>
            <a:ext cx="432000" cy="43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2</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28" name="Oval 11">
            <a:extLst>
              <a:ext uri="{FF2B5EF4-FFF2-40B4-BE49-F238E27FC236}">
                <a16:creationId xmlns:a16="http://schemas.microsoft.com/office/drawing/2014/main" id="{29945859-6E7F-4C54-89FD-9012C79632A9}"/>
              </a:ext>
            </a:extLst>
          </p:cNvPr>
          <p:cNvSpPr>
            <a:spLocks/>
          </p:cNvSpPr>
          <p:nvPr/>
        </p:nvSpPr>
        <p:spPr>
          <a:xfrm>
            <a:off x="7140553" y="3999461"/>
            <a:ext cx="432000" cy="43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3</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29" name="Oval 11">
            <a:extLst>
              <a:ext uri="{FF2B5EF4-FFF2-40B4-BE49-F238E27FC236}">
                <a16:creationId xmlns:a16="http://schemas.microsoft.com/office/drawing/2014/main" id="{939CA9D8-BE16-439E-98C7-ED983B98FFBC}"/>
              </a:ext>
            </a:extLst>
          </p:cNvPr>
          <p:cNvSpPr>
            <a:spLocks/>
          </p:cNvSpPr>
          <p:nvPr/>
        </p:nvSpPr>
        <p:spPr>
          <a:xfrm>
            <a:off x="9663065" y="3999461"/>
            <a:ext cx="432000" cy="43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4</a:t>
            </a:r>
            <a:endParaRPr kumimoji="0" lang="en-GB" sz="2000" i="0" u="none" strike="noStrike" kern="1200" cap="none" spc="0" normalizeH="0" baseline="0" noProof="0" dirty="0">
              <a:ln>
                <a:noFill/>
              </a:ln>
              <a:solidFill>
                <a:schemeClr val="tx2"/>
              </a:solidFill>
              <a:effectLst/>
              <a:uLnTx/>
              <a:uFillTx/>
              <a:ea typeface="+mn-ea"/>
              <a:cs typeface="+mn-cs"/>
            </a:endParaRPr>
          </a:p>
        </p:txBody>
      </p:sp>
    </p:spTree>
    <p:extLst>
      <p:ext uri="{BB962C8B-B14F-4D97-AF65-F5344CB8AC3E}">
        <p14:creationId xmlns:p14="http://schemas.microsoft.com/office/powerpoint/2010/main" val="124383337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map">
            <a:extLst>
              <a:ext uri="{FF2B5EF4-FFF2-40B4-BE49-F238E27FC236}">
                <a16:creationId xmlns:a16="http://schemas.microsoft.com/office/drawing/2014/main" id="{64F2EF1E-E1BE-40DB-BCC7-DC1E5373AB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2916" y="2944042"/>
            <a:ext cx="535021" cy="457200"/>
          </a:xfrm>
          <a:prstGeom prst="rect">
            <a:avLst/>
          </a:prstGeom>
        </p:spPr>
      </p:pic>
      <p:pic>
        <p:nvPicPr>
          <p:cNvPr id="32" name="school">
            <a:extLst>
              <a:ext uri="{FF2B5EF4-FFF2-40B4-BE49-F238E27FC236}">
                <a16:creationId xmlns:a16="http://schemas.microsoft.com/office/drawing/2014/main" id="{D7471BF5-351A-4D59-9370-D794DB9F2C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0947" y="2910570"/>
            <a:ext cx="573741" cy="457200"/>
          </a:xfrm>
          <a:prstGeom prst="rect">
            <a:avLst/>
          </a:prstGeom>
        </p:spPr>
      </p:pic>
      <p:pic>
        <p:nvPicPr>
          <p:cNvPr id="33" name="housing">
            <a:extLst>
              <a:ext uri="{FF2B5EF4-FFF2-40B4-BE49-F238E27FC236}">
                <a16:creationId xmlns:a16="http://schemas.microsoft.com/office/drawing/2014/main" id="{3A38C5F0-FB27-4D43-BBB1-B70B20DAD5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032" y="2933173"/>
            <a:ext cx="561975" cy="457200"/>
          </a:xfrm>
          <a:prstGeom prst="rect">
            <a:avLst/>
          </a:prstGeom>
        </p:spPr>
      </p:pic>
      <p:pic>
        <p:nvPicPr>
          <p:cNvPr id="34" name="directions">
            <a:extLst>
              <a:ext uri="{FF2B5EF4-FFF2-40B4-BE49-F238E27FC236}">
                <a16:creationId xmlns:a16="http://schemas.microsoft.com/office/drawing/2014/main" id="{C57CF01C-07F1-4C30-9533-A3E090F99C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93959" y="2984008"/>
            <a:ext cx="441434" cy="457200"/>
          </a:xfrm>
          <a:prstGeom prst="rect">
            <a:avLst/>
          </a:prstGeom>
        </p:spPr>
      </p:pic>
      <p:pic>
        <p:nvPicPr>
          <p:cNvPr id="35" name="government">
            <a:extLst>
              <a:ext uri="{FF2B5EF4-FFF2-40B4-BE49-F238E27FC236}">
                <a16:creationId xmlns:a16="http://schemas.microsoft.com/office/drawing/2014/main" id="{83683476-C75E-45AD-BCCB-DEF13A73D3D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42280" y="2956805"/>
            <a:ext cx="689212" cy="457200"/>
          </a:xfrm>
          <a:prstGeom prst="rect">
            <a:avLst/>
          </a:prstGeom>
        </p:spPr>
      </p:pic>
      <p:graphicFrame>
        <p:nvGraphicFramePr>
          <p:cNvPr id="4" name="Objet 3" hidden="1">
            <a:extLst>
              <a:ext uri="{FF2B5EF4-FFF2-40B4-BE49-F238E27FC236}">
                <a16:creationId xmlns:a16="http://schemas.microsoft.com/office/drawing/2014/main" id="{51FA5F91-C065-40F8-B25B-D83D09D48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270" imgH="270" progId="TCLayout.ActiveDocument.1">
                  <p:embed/>
                </p:oleObj>
              </mc:Choice>
              <mc:Fallback>
                <p:oleObj name="Diapositive think-cell" r:id="rId15" imgW="270" imgH="270" progId="TCLayout.ActiveDocument.1">
                  <p:embed/>
                  <p:pic>
                    <p:nvPicPr>
                      <p:cNvPr id="4" name="Objet 3" hidden="1">
                        <a:extLst>
                          <a:ext uri="{FF2B5EF4-FFF2-40B4-BE49-F238E27FC236}">
                            <a16:creationId xmlns:a16="http://schemas.microsoft.com/office/drawing/2014/main" id="{51FA5F91-C065-40F8-B25B-D83D09D48EA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9AFFA-7607-4C70-B932-63476B32B05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2" name="Title 71">
            <a:extLst>
              <a:ext uri="{FF2B5EF4-FFF2-40B4-BE49-F238E27FC236}">
                <a16:creationId xmlns:a16="http://schemas.microsoft.com/office/drawing/2014/main" id="{8B3FA7BD-5C18-447D-8DF1-D5485D01DD2E}"/>
              </a:ext>
            </a:extLst>
          </p:cNvPr>
          <p:cNvSpPr>
            <a:spLocks noGrp="1"/>
          </p:cNvSpPr>
          <p:nvPr>
            <p:ph type="title"/>
          </p:nvPr>
        </p:nvSpPr>
        <p:spPr/>
        <p:txBody>
          <a:bodyPr/>
          <a:lstStyle/>
          <a:p>
            <a:r>
              <a:rPr lang="en-GB"/>
              <a:t>Approach presentation – five steps &amp; logos</a:t>
            </a:r>
            <a:endParaRPr lang="en-GB" dirty="0"/>
          </a:p>
        </p:txBody>
      </p:sp>
      <p:sp>
        <p:nvSpPr>
          <p:cNvPr id="5" name="Pentagon 4"/>
          <p:cNvSpPr/>
          <p:nvPr/>
        </p:nvSpPr>
        <p:spPr>
          <a:xfrm>
            <a:off x="828440" y="3897508"/>
            <a:ext cx="2059197" cy="432885"/>
          </a:xfrm>
          <a:prstGeom prst="homePlate">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6" name="Chevron 5"/>
          <p:cNvSpPr/>
          <p:nvPr/>
        </p:nvSpPr>
        <p:spPr>
          <a:xfrm>
            <a:off x="2947421" y="3897508"/>
            <a:ext cx="2059197" cy="432885"/>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7" name="Chevron 6"/>
          <p:cNvSpPr/>
          <p:nvPr/>
        </p:nvSpPr>
        <p:spPr>
          <a:xfrm>
            <a:off x="5066401" y="3897508"/>
            <a:ext cx="2059197" cy="432885"/>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8" name="Chevron 7"/>
          <p:cNvSpPr/>
          <p:nvPr/>
        </p:nvSpPr>
        <p:spPr>
          <a:xfrm>
            <a:off x="7185382" y="3897508"/>
            <a:ext cx="2059197" cy="432885"/>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9" name="Chevron 8"/>
          <p:cNvSpPr/>
          <p:nvPr/>
        </p:nvSpPr>
        <p:spPr>
          <a:xfrm>
            <a:off x="9304363" y="3897508"/>
            <a:ext cx="2059197" cy="432885"/>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chemeClr val="bg2"/>
              </a:solidFill>
              <a:effectLst>
                <a:glow>
                  <a:scrgbClr r="0" g="0" b="0"/>
                </a:glow>
              </a:effectLst>
              <a:uLnTx/>
              <a:uFillTx/>
              <a:ea typeface="+mn-ea"/>
              <a:cs typeface="+mn-cs"/>
            </a:endParaRPr>
          </a:p>
        </p:txBody>
      </p:sp>
      <p:sp>
        <p:nvSpPr>
          <p:cNvPr id="12" name="Oval 11"/>
          <p:cNvSpPr>
            <a:spLocks noChangeAspect="1"/>
          </p:cNvSpPr>
          <p:nvPr/>
        </p:nvSpPr>
        <p:spPr>
          <a:xfrm>
            <a:off x="1588070" y="3840129"/>
            <a:ext cx="539938" cy="538758"/>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1</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3" name="Oval 12"/>
          <p:cNvSpPr>
            <a:spLocks noChangeAspect="1"/>
          </p:cNvSpPr>
          <p:nvPr/>
        </p:nvSpPr>
        <p:spPr>
          <a:xfrm>
            <a:off x="3707049" y="3840129"/>
            <a:ext cx="539938" cy="538758"/>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2</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4" name="Oval 13"/>
          <p:cNvSpPr>
            <a:spLocks noChangeAspect="1"/>
          </p:cNvSpPr>
          <p:nvPr/>
        </p:nvSpPr>
        <p:spPr>
          <a:xfrm>
            <a:off x="5826029" y="3840129"/>
            <a:ext cx="539938" cy="538758"/>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3</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5" name="Oval 14"/>
          <p:cNvSpPr>
            <a:spLocks noChangeAspect="1"/>
          </p:cNvSpPr>
          <p:nvPr/>
        </p:nvSpPr>
        <p:spPr>
          <a:xfrm>
            <a:off x="7945008" y="3840129"/>
            <a:ext cx="539938" cy="538758"/>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4</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16" name="Oval 15"/>
          <p:cNvSpPr>
            <a:spLocks noChangeAspect="1"/>
          </p:cNvSpPr>
          <p:nvPr/>
        </p:nvSpPr>
        <p:spPr>
          <a:xfrm>
            <a:off x="10063988" y="3840129"/>
            <a:ext cx="539938" cy="538758"/>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tx2"/>
                </a:solidFill>
                <a:effectLst/>
                <a:uLnTx/>
                <a:uFillTx/>
                <a:ea typeface="+mn-ea"/>
                <a:cs typeface="+mn-cs"/>
              </a:rPr>
              <a:t>5</a:t>
            </a:r>
            <a:endParaRPr kumimoji="0" lang="en-GB" sz="2000" i="0" u="none" strike="noStrike" kern="1200" cap="none" spc="0" normalizeH="0" baseline="0" noProof="0" dirty="0">
              <a:ln>
                <a:noFill/>
              </a:ln>
              <a:solidFill>
                <a:schemeClr val="tx2"/>
              </a:solidFill>
              <a:effectLst/>
              <a:uLnTx/>
              <a:uFillTx/>
              <a:ea typeface="+mn-ea"/>
              <a:cs typeface="+mn-cs"/>
            </a:endParaRPr>
          </a:p>
        </p:txBody>
      </p:sp>
      <p:sp>
        <p:nvSpPr>
          <p:cNvPr id="60" name="TextBox 59-1"/>
          <p:cNvSpPr txBox="1"/>
          <p:nvPr/>
        </p:nvSpPr>
        <p:spPr>
          <a:xfrm>
            <a:off x="828440" y="4657602"/>
            <a:ext cx="20591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66" name="TextBox 65"/>
          <p:cNvSpPr txBox="1"/>
          <p:nvPr/>
        </p:nvSpPr>
        <p:spPr>
          <a:xfrm>
            <a:off x="1099050" y="2091733"/>
            <a:ext cx="15920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7" name="TextBox 66"/>
          <p:cNvSpPr txBox="1"/>
          <p:nvPr/>
        </p:nvSpPr>
        <p:spPr>
          <a:xfrm>
            <a:off x="5329881" y="2091733"/>
            <a:ext cx="15920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8" name="TextBox 67"/>
          <p:cNvSpPr txBox="1"/>
          <p:nvPr/>
        </p:nvSpPr>
        <p:spPr>
          <a:xfrm>
            <a:off x="9560712" y="2091733"/>
            <a:ext cx="15920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69" name="TextBox 68"/>
          <p:cNvSpPr txBox="1"/>
          <p:nvPr/>
        </p:nvSpPr>
        <p:spPr>
          <a:xfrm>
            <a:off x="3183656" y="2091733"/>
            <a:ext cx="15920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70" name="TextBox 69"/>
          <p:cNvSpPr txBox="1"/>
          <p:nvPr/>
        </p:nvSpPr>
        <p:spPr>
          <a:xfrm>
            <a:off x="7414486" y="2091733"/>
            <a:ext cx="159202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1200" cap="none" spc="0" normalizeH="0" baseline="0" noProof="0" dirty="0">
                <a:ln>
                  <a:noFill/>
                </a:ln>
                <a:solidFill>
                  <a:schemeClr val="tx2"/>
                </a:solidFill>
                <a:effectLst/>
                <a:uLnTx/>
                <a:uFillTx/>
                <a:latin typeface="+mn-lt"/>
                <a:ea typeface="+mn-ea"/>
                <a:cs typeface="+mn-cs"/>
              </a:rPr>
              <a:t>Lorem ipsum</a:t>
            </a:r>
          </a:p>
        </p:txBody>
      </p:sp>
      <p:sp>
        <p:nvSpPr>
          <p:cNvPr id="36" name="TextBox 59-5">
            <a:extLst>
              <a:ext uri="{FF2B5EF4-FFF2-40B4-BE49-F238E27FC236}">
                <a16:creationId xmlns:a16="http://schemas.microsoft.com/office/drawing/2014/main" id="{7917EBFC-6F0A-489A-B944-903C6A19ABE6}"/>
              </a:ext>
            </a:extLst>
          </p:cNvPr>
          <p:cNvSpPr txBox="1"/>
          <p:nvPr/>
        </p:nvSpPr>
        <p:spPr>
          <a:xfrm>
            <a:off x="9304364" y="4657602"/>
            <a:ext cx="20591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7" name="TextBox 59-4">
            <a:extLst>
              <a:ext uri="{FF2B5EF4-FFF2-40B4-BE49-F238E27FC236}">
                <a16:creationId xmlns:a16="http://schemas.microsoft.com/office/drawing/2014/main" id="{34204E22-65E7-4E3F-8A03-D8D6D6B5887B}"/>
              </a:ext>
            </a:extLst>
          </p:cNvPr>
          <p:cNvSpPr txBox="1"/>
          <p:nvPr/>
        </p:nvSpPr>
        <p:spPr>
          <a:xfrm>
            <a:off x="7191034" y="4657602"/>
            <a:ext cx="20591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8" name="TextBox 59-3">
            <a:extLst>
              <a:ext uri="{FF2B5EF4-FFF2-40B4-BE49-F238E27FC236}">
                <a16:creationId xmlns:a16="http://schemas.microsoft.com/office/drawing/2014/main" id="{DFD765BE-B953-43A2-AB78-5A3A7ACA8E4D}"/>
              </a:ext>
            </a:extLst>
          </p:cNvPr>
          <p:cNvSpPr txBox="1"/>
          <p:nvPr/>
        </p:nvSpPr>
        <p:spPr>
          <a:xfrm>
            <a:off x="5060750" y="4657602"/>
            <a:ext cx="20591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
        <p:nvSpPr>
          <p:cNvPr id="39" name="TextBox 59-2">
            <a:extLst>
              <a:ext uri="{FF2B5EF4-FFF2-40B4-BE49-F238E27FC236}">
                <a16:creationId xmlns:a16="http://schemas.microsoft.com/office/drawing/2014/main" id="{46B1185A-5839-4CD2-AF36-E972C3DCEAC8}"/>
              </a:ext>
            </a:extLst>
          </p:cNvPr>
          <p:cNvSpPr txBox="1"/>
          <p:nvPr/>
        </p:nvSpPr>
        <p:spPr>
          <a:xfrm>
            <a:off x="2947420" y="4657602"/>
            <a:ext cx="20591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Lorem ipsum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dol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si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me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sectetue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adipiscing</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elit</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Maecenas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porttitor</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congue</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r>
              <a:rPr kumimoji="0" lang="en-GB" b="0" i="0" u="none" strike="noStrike" kern="1200" cap="none" spc="0" normalizeH="0" baseline="0" noProof="0" dirty="0" err="1">
                <a:ln>
                  <a:noFill/>
                </a:ln>
                <a:solidFill>
                  <a:schemeClr val="accent3">
                    <a:lumMod val="50000"/>
                  </a:schemeClr>
                </a:solidFill>
                <a:effectLst/>
                <a:uLnTx/>
                <a:uFillTx/>
                <a:latin typeface="+mn-lt"/>
                <a:ea typeface="+mn-ea"/>
                <a:cs typeface="+mn-cs"/>
              </a:rPr>
              <a:t>massa</a:t>
            </a:r>
            <a:r>
              <a:rPr kumimoji="0" lang="en-GB" b="0" i="0" u="none" strike="noStrike" kern="1200" cap="none" spc="0" normalizeH="0" baseline="0" noProof="0" dirty="0">
                <a:ln>
                  <a:noFill/>
                </a:ln>
                <a:solidFill>
                  <a:schemeClr val="accent3">
                    <a:lumMod val="50000"/>
                  </a:schemeClr>
                </a:solidFill>
                <a:effectLst/>
                <a:uLnTx/>
                <a:uFillTx/>
                <a:latin typeface="+mn-lt"/>
                <a:ea typeface="+mn-ea"/>
                <a:cs typeface="+mn-cs"/>
              </a:rPr>
              <a:t>. </a:t>
            </a:r>
          </a:p>
        </p:txBody>
      </p:sp>
    </p:spTree>
    <p:extLst>
      <p:ext uri="{BB962C8B-B14F-4D97-AF65-F5344CB8AC3E}">
        <p14:creationId xmlns:p14="http://schemas.microsoft.com/office/powerpoint/2010/main" val="309040096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FEDEBF45-CB2C-49E1-9DCB-2FF83CEB54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6" progId="TCLayout.ActiveDocument.1">
                  <p:embed/>
                </p:oleObj>
              </mc:Choice>
              <mc:Fallback>
                <p:oleObj name="Diapositive think-cell" r:id="rId5" imgW="473" imgH="476" progId="TCLayout.ActiveDocument.1">
                  <p:embed/>
                  <p:pic>
                    <p:nvPicPr>
                      <p:cNvPr id="2" name="Objet 1" hidden="1">
                        <a:extLst>
                          <a:ext uri="{FF2B5EF4-FFF2-40B4-BE49-F238E27FC236}">
                            <a16:creationId xmlns:a16="http://schemas.microsoft.com/office/drawing/2014/main" id="{FEDEBF45-CB2C-49E1-9DCB-2FF83CEB54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646C84-8A0A-40FD-995D-DAC8625D811B}"/>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5" name="Table 14">
            <a:extLst>
              <a:ext uri="{FF2B5EF4-FFF2-40B4-BE49-F238E27FC236}">
                <a16:creationId xmlns:a16="http://schemas.microsoft.com/office/drawing/2014/main" id="{3643F592-578A-470D-ABF5-DAAA13B53037}"/>
              </a:ext>
            </a:extLst>
          </p:cNvPr>
          <p:cNvGraphicFramePr>
            <a:graphicFrameLocks noGrp="1"/>
          </p:cNvGraphicFramePr>
          <p:nvPr>
            <p:extLst>
              <p:ext uri="{D42A27DB-BD31-4B8C-83A1-F6EECF244321}">
                <p14:modId xmlns:p14="http://schemas.microsoft.com/office/powerpoint/2010/main" val="1382124806"/>
              </p:ext>
            </p:extLst>
          </p:nvPr>
        </p:nvGraphicFramePr>
        <p:xfrm>
          <a:off x="3644900" y="1273482"/>
          <a:ext cx="8024330" cy="2882993"/>
        </p:xfrm>
        <a:graphic>
          <a:graphicData uri="http://schemas.openxmlformats.org/drawingml/2006/table">
            <a:tbl>
              <a:tblPr firstRow="1" bandRow="1">
                <a:tableStyleId>{5C22544A-7EE6-4342-B048-85BDC9FD1C3A}</a:tableStyleId>
              </a:tblPr>
              <a:tblGrid>
                <a:gridCol w="802433">
                  <a:extLst>
                    <a:ext uri="{9D8B030D-6E8A-4147-A177-3AD203B41FA5}">
                      <a16:colId xmlns:a16="http://schemas.microsoft.com/office/drawing/2014/main" val="20000"/>
                    </a:ext>
                  </a:extLst>
                </a:gridCol>
                <a:gridCol w="802433">
                  <a:extLst>
                    <a:ext uri="{9D8B030D-6E8A-4147-A177-3AD203B41FA5}">
                      <a16:colId xmlns:a16="http://schemas.microsoft.com/office/drawing/2014/main" val="20001"/>
                    </a:ext>
                  </a:extLst>
                </a:gridCol>
                <a:gridCol w="802433">
                  <a:extLst>
                    <a:ext uri="{9D8B030D-6E8A-4147-A177-3AD203B41FA5}">
                      <a16:colId xmlns:a16="http://schemas.microsoft.com/office/drawing/2014/main" val="20002"/>
                    </a:ext>
                  </a:extLst>
                </a:gridCol>
                <a:gridCol w="802433">
                  <a:extLst>
                    <a:ext uri="{9D8B030D-6E8A-4147-A177-3AD203B41FA5}">
                      <a16:colId xmlns:a16="http://schemas.microsoft.com/office/drawing/2014/main" val="20003"/>
                    </a:ext>
                  </a:extLst>
                </a:gridCol>
                <a:gridCol w="802433">
                  <a:extLst>
                    <a:ext uri="{9D8B030D-6E8A-4147-A177-3AD203B41FA5}">
                      <a16:colId xmlns:a16="http://schemas.microsoft.com/office/drawing/2014/main" val="20004"/>
                    </a:ext>
                  </a:extLst>
                </a:gridCol>
                <a:gridCol w="802433">
                  <a:extLst>
                    <a:ext uri="{9D8B030D-6E8A-4147-A177-3AD203B41FA5}">
                      <a16:colId xmlns:a16="http://schemas.microsoft.com/office/drawing/2014/main" val="20005"/>
                    </a:ext>
                  </a:extLst>
                </a:gridCol>
                <a:gridCol w="802433">
                  <a:extLst>
                    <a:ext uri="{9D8B030D-6E8A-4147-A177-3AD203B41FA5}">
                      <a16:colId xmlns:a16="http://schemas.microsoft.com/office/drawing/2014/main" val="20006"/>
                    </a:ext>
                  </a:extLst>
                </a:gridCol>
                <a:gridCol w="802433">
                  <a:extLst>
                    <a:ext uri="{9D8B030D-6E8A-4147-A177-3AD203B41FA5}">
                      <a16:colId xmlns:a16="http://schemas.microsoft.com/office/drawing/2014/main" val="20007"/>
                    </a:ext>
                  </a:extLst>
                </a:gridCol>
                <a:gridCol w="802433">
                  <a:extLst>
                    <a:ext uri="{9D8B030D-6E8A-4147-A177-3AD203B41FA5}">
                      <a16:colId xmlns:a16="http://schemas.microsoft.com/office/drawing/2014/main" val="20008"/>
                    </a:ext>
                  </a:extLst>
                </a:gridCol>
                <a:gridCol w="802433">
                  <a:extLst>
                    <a:ext uri="{9D8B030D-6E8A-4147-A177-3AD203B41FA5}">
                      <a16:colId xmlns:a16="http://schemas.microsoft.com/office/drawing/2014/main" val="20009"/>
                    </a:ext>
                  </a:extLst>
                </a:gridCol>
              </a:tblGrid>
              <a:tr h="465064">
                <a:tc>
                  <a:txBody>
                    <a:bodyPr/>
                    <a:lstStyle/>
                    <a:p>
                      <a:pPr algn="ctr"/>
                      <a:r>
                        <a:rPr lang="en-GB" sz="1200">
                          <a:solidFill>
                            <a:schemeClr val="bg1"/>
                          </a:solidFill>
                          <a:latin typeface="+mn-lt"/>
                        </a:rPr>
                        <a:t>M1</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2</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3</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4</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5</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6</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7</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8</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9</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200">
                          <a:solidFill>
                            <a:schemeClr val="bg1"/>
                          </a:solidFill>
                          <a:latin typeface="+mn-lt"/>
                        </a:rPr>
                        <a:t>M10+</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417929">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bl>
          </a:graphicData>
        </a:graphic>
      </p:graphicFrame>
      <p:sp>
        <p:nvSpPr>
          <p:cNvPr id="12290" name="Title 1"/>
          <p:cNvSpPr>
            <a:spLocks noGrp="1"/>
          </p:cNvSpPr>
          <p:nvPr>
            <p:ph type="title"/>
          </p:nvPr>
        </p:nvSpPr>
        <p:spPr/>
        <p:txBody>
          <a:bodyPr/>
          <a:lstStyle/>
          <a:p>
            <a:r>
              <a:rPr lang="en-GB" altLang="en-US"/>
              <a:t>Project timeline </a:t>
            </a:r>
            <a:endParaRPr lang="en-GB" altLang="en-US" dirty="0"/>
          </a:p>
        </p:txBody>
      </p:sp>
      <p:sp>
        <p:nvSpPr>
          <p:cNvPr id="12291" name="Content Placeholder 1"/>
          <p:cNvSpPr>
            <a:spLocks noGrp="1"/>
          </p:cNvSpPr>
          <p:nvPr>
            <p:ph idx="1"/>
          </p:nvPr>
        </p:nvSpPr>
        <p:spPr>
          <a:xfrm>
            <a:off x="432000" y="1273482"/>
            <a:ext cx="2904215" cy="2217768"/>
          </a:xfrm>
        </p:spPr>
        <p:txBody>
          <a:bodyPr/>
          <a:lstStyle/>
          <a:p>
            <a:pPr marL="342900" indent="-342900">
              <a:spcAft>
                <a:spcPts val="1200"/>
              </a:spcAft>
              <a:buClr>
                <a:srgbClr val="B40646"/>
              </a:buClr>
              <a:buSzPct val="82000"/>
              <a:buFont typeface="Wingdings 3" panose="05040102010807070707" pitchFamily="18" charset="2"/>
              <a:buChar char=""/>
            </a:pPr>
            <a:r>
              <a:rPr lang="en-GB" altLang="en-US">
                <a:latin typeface="+mn-lt"/>
              </a:rPr>
              <a:t>The project has four stages</a:t>
            </a:r>
          </a:p>
          <a:p>
            <a:pPr marL="342900" indent="-342900">
              <a:spcAft>
                <a:spcPts val="1200"/>
              </a:spcAft>
              <a:buClr>
                <a:srgbClr val="B40646"/>
              </a:buClr>
              <a:buSzPct val="82000"/>
              <a:buFont typeface="Wingdings 3" panose="05040102010807070707" pitchFamily="18" charset="2"/>
              <a:buChar char=""/>
            </a:pPr>
            <a:r>
              <a:rPr lang="en-GB" altLang="en-US">
                <a:latin typeface="+mn-lt"/>
              </a:rPr>
              <a:t>By the end of Stage 3 you will be self-sufficient in …</a:t>
            </a:r>
          </a:p>
          <a:p>
            <a:pPr marL="342900" indent="-342900">
              <a:spcAft>
                <a:spcPts val="1200"/>
              </a:spcAft>
              <a:buClr>
                <a:srgbClr val="B40646"/>
              </a:buClr>
              <a:buSzPct val="82000"/>
              <a:buFont typeface="Wingdings 3" panose="05040102010807070707" pitchFamily="18" charset="2"/>
              <a:buChar char=""/>
            </a:pPr>
            <a:r>
              <a:rPr lang="en-GB" altLang="en-US">
                <a:latin typeface="+mn-lt"/>
              </a:rPr>
              <a:t>Text text text</a:t>
            </a:r>
            <a:endParaRPr lang="en-GB" altLang="en-US" dirty="0">
              <a:latin typeface="+mn-lt"/>
            </a:endParaRPr>
          </a:p>
        </p:txBody>
      </p:sp>
      <p:sp>
        <p:nvSpPr>
          <p:cNvPr id="30" name="TextBox 1">
            <a:extLst>
              <a:ext uri="{FF2B5EF4-FFF2-40B4-BE49-F238E27FC236}">
                <a16:creationId xmlns:a16="http://schemas.microsoft.com/office/drawing/2014/main" id="{B74BDD64-3891-4133-A4DE-7C5A89665D4F}"/>
              </a:ext>
            </a:extLst>
          </p:cNvPr>
          <p:cNvSpPr txBox="1">
            <a:spLocks noChangeArrowheads="1"/>
          </p:cNvSpPr>
          <p:nvPr/>
        </p:nvSpPr>
        <p:spPr bwMode="auto">
          <a:xfrm>
            <a:off x="3644900" y="4435965"/>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Defines the project scope, resourcing and deliverables</a:t>
            </a:r>
          </a:p>
        </p:txBody>
      </p:sp>
      <p:sp>
        <p:nvSpPr>
          <p:cNvPr id="31" name="TextBox 32">
            <a:extLst>
              <a:ext uri="{FF2B5EF4-FFF2-40B4-BE49-F238E27FC236}">
                <a16:creationId xmlns:a16="http://schemas.microsoft.com/office/drawing/2014/main" id="{9927CACB-B89B-447D-87FA-5A992CF29769}"/>
              </a:ext>
            </a:extLst>
          </p:cNvPr>
          <p:cNvSpPr txBox="1">
            <a:spLocks noChangeArrowheads="1"/>
          </p:cNvSpPr>
          <p:nvPr/>
        </p:nvSpPr>
        <p:spPr bwMode="auto">
          <a:xfrm>
            <a:off x="5243830" y="5197612"/>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Defines the new processes and system specification</a:t>
            </a:r>
          </a:p>
        </p:txBody>
      </p:sp>
      <p:sp>
        <p:nvSpPr>
          <p:cNvPr id="32" name="TextBox 33">
            <a:extLst>
              <a:ext uri="{FF2B5EF4-FFF2-40B4-BE49-F238E27FC236}">
                <a16:creationId xmlns:a16="http://schemas.microsoft.com/office/drawing/2014/main" id="{2436FDB4-CA2C-4BC3-9FBC-78AA6F6D29C3}"/>
              </a:ext>
            </a:extLst>
          </p:cNvPr>
          <p:cNvSpPr txBox="1">
            <a:spLocks noChangeArrowheads="1"/>
          </p:cNvSpPr>
          <p:nvPr/>
        </p:nvSpPr>
        <p:spPr bwMode="auto">
          <a:xfrm>
            <a:off x="6967459" y="4435965"/>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Introduces the new process design and system support</a:t>
            </a:r>
          </a:p>
        </p:txBody>
      </p:sp>
      <p:sp>
        <p:nvSpPr>
          <p:cNvPr id="33" name="TextBox 34">
            <a:extLst>
              <a:ext uri="{FF2B5EF4-FFF2-40B4-BE49-F238E27FC236}">
                <a16:creationId xmlns:a16="http://schemas.microsoft.com/office/drawing/2014/main" id="{4D46FB25-CA03-4889-B510-EDD8A2AAA196}"/>
              </a:ext>
            </a:extLst>
          </p:cNvPr>
          <p:cNvSpPr txBox="1">
            <a:spLocks noChangeArrowheads="1"/>
          </p:cNvSpPr>
          <p:nvPr/>
        </p:nvSpPr>
        <p:spPr bwMode="auto">
          <a:xfrm>
            <a:off x="9702610" y="5197612"/>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Ongoing: embeds and continually improves the implemented processes</a:t>
            </a:r>
            <a:endParaRPr lang="en-GB" altLang="en-US" i="1" dirty="0">
              <a:solidFill>
                <a:schemeClr val="accent2"/>
              </a:solidFill>
              <a:latin typeface="+mn-lt"/>
            </a:endParaRPr>
          </a:p>
        </p:txBody>
      </p:sp>
      <p:cxnSp>
        <p:nvCxnSpPr>
          <p:cNvPr id="34" name="Straight Arrow Connector 33">
            <a:extLst>
              <a:ext uri="{FF2B5EF4-FFF2-40B4-BE49-F238E27FC236}">
                <a16:creationId xmlns:a16="http://schemas.microsoft.com/office/drawing/2014/main" id="{8C1FFB74-8952-45CF-A1B7-78B3ACBFC766}"/>
              </a:ext>
            </a:extLst>
          </p:cNvPr>
          <p:cNvCxnSpPr>
            <a:cxnSpLocks/>
          </p:cNvCxnSpPr>
          <p:nvPr/>
        </p:nvCxnSpPr>
        <p:spPr bwMode="auto">
          <a:xfrm flipV="1">
            <a:off x="4022790" y="2756179"/>
            <a:ext cx="0" cy="1656000"/>
          </a:xfrm>
          <a:prstGeom prst="straightConnector1">
            <a:avLst/>
          </a:prstGeom>
          <a:noFill/>
          <a:ln w="19050" cap="flat" cmpd="sng" algn="ctr">
            <a:solidFill>
              <a:schemeClr val="accent2"/>
            </a:solidFill>
            <a:prstDash val="solid"/>
            <a:round/>
            <a:headEnd type="none" w="med" len="med"/>
            <a:tailEnd type="arrow"/>
          </a:ln>
          <a:effectLst/>
        </p:spPr>
      </p:cxnSp>
      <p:cxnSp>
        <p:nvCxnSpPr>
          <p:cNvPr id="36" name="Straight Arrow Connector 35">
            <a:extLst>
              <a:ext uri="{FF2B5EF4-FFF2-40B4-BE49-F238E27FC236}">
                <a16:creationId xmlns:a16="http://schemas.microsoft.com/office/drawing/2014/main" id="{6E530ECD-4EEF-4AC2-8F33-C93034D72338}"/>
              </a:ext>
            </a:extLst>
          </p:cNvPr>
          <p:cNvCxnSpPr>
            <a:cxnSpLocks/>
          </p:cNvCxnSpPr>
          <p:nvPr/>
        </p:nvCxnSpPr>
        <p:spPr bwMode="auto">
          <a:xfrm flipV="1">
            <a:off x="5696900" y="3554200"/>
            <a:ext cx="0" cy="1620000"/>
          </a:xfrm>
          <a:prstGeom prst="straightConnector1">
            <a:avLst/>
          </a:prstGeom>
          <a:noFill/>
          <a:ln w="19050" cap="flat" cmpd="sng" algn="ctr">
            <a:solidFill>
              <a:schemeClr val="accent2"/>
            </a:solidFill>
            <a:prstDash val="solid"/>
            <a:round/>
            <a:headEnd type="none" w="med" len="med"/>
            <a:tailEnd type="arrow"/>
          </a:ln>
          <a:effectLst/>
        </p:spPr>
      </p:cxnSp>
      <p:cxnSp>
        <p:nvCxnSpPr>
          <p:cNvPr id="37" name="Straight Arrow Connector 36">
            <a:extLst>
              <a:ext uri="{FF2B5EF4-FFF2-40B4-BE49-F238E27FC236}">
                <a16:creationId xmlns:a16="http://schemas.microsoft.com/office/drawing/2014/main" id="{2ABB2C9D-998B-484B-B3F1-C960DB52538D}"/>
              </a:ext>
            </a:extLst>
          </p:cNvPr>
          <p:cNvCxnSpPr>
            <a:cxnSpLocks/>
          </p:cNvCxnSpPr>
          <p:nvPr/>
        </p:nvCxnSpPr>
        <p:spPr bwMode="auto">
          <a:xfrm flipV="1">
            <a:off x="10423590" y="3554200"/>
            <a:ext cx="0" cy="1620000"/>
          </a:xfrm>
          <a:prstGeom prst="straightConnector1">
            <a:avLst/>
          </a:prstGeom>
          <a:noFill/>
          <a:ln w="19050" cap="flat" cmpd="sng" algn="ctr">
            <a:solidFill>
              <a:schemeClr val="accent2"/>
            </a:solidFill>
            <a:prstDash val="solid"/>
            <a:round/>
            <a:headEnd type="none" w="med" len="med"/>
            <a:tailEnd type="arrow"/>
          </a:ln>
          <a:effectLst/>
        </p:spPr>
      </p:cxnSp>
      <p:cxnSp>
        <p:nvCxnSpPr>
          <p:cNvPr id="38" name="Straight Arrow Connector 37">
            <a:extLst>
              <a:ext uri="{FF2B5EF4-FFF2-40B4-BE49-F238E27FC236}">
                <a16:creationId xmlns:a16="http://schemas.microsoft.com/office/drawing/2014/main" id="{6AFBD268-04AC-47F2-AD5C-2FC6DA3E8516}"/>
              </a:ext>
            </a:extLst>
          </p:cNvPr>
          <p:cNvCxnSpPr>
            <a:cxnSpLocks/>
          </p:cNvCxnSpPr>
          <p:nvPr/>
        </p:nvCxnSpPr>
        <p:spPr bwMode="auto">
          <a:xfrm flipV="1">
            <a:off x="7353636" y="3554199"/>
            <a:ext cx="0" cy="864000"/>
          </a:xfrm>
          <a:prstGeom prst="straightConnector1">
            <a:avLst/>
          </a:prstGeom>
          <a:noFill/>
          <a:ln w="19050" cap="flat" cmpd="sng" algn="ctr">
            <a:solidFill>
              <a:schemeClr val="accent2"/>
            </a:solidFill>
            <a:prstDash val="solid"/>
            <a:round/>
            <a:headEnd type="none" w="med" len="med"/>
            <a:tailEnd type="arrow"/>
          </a:ln>
          <a:effectLst/>
        </p:spPr>
      </p:cxnSp>
      <p:sp>
        <p:nvSpPr>
          <p:cNvPr id="16" name="Text Box 83">
            <a:extLst>
              <a:ext uri="{FF2B5EF4-FFF2-40B4-BE49-F238E27FC236}">
                <a16:creationId xmlns:a16="http://schemas.microsoft.com/office/drawing/2014/main" id="{2BBD0355-F8F3-41FE-A3FE-CA30F71EE189}"/>
              </a:ext>
            </a:extLst>
          </p:cNvPr>
          <p:cNvSpPr txBox="1">
            <a:spLocks noChangeArrowheads="1"/>
          </p:cNvSpPr>
          <p:nvPr/>
        </p:nvSpPr>
        <p:spPr bwMode="auto">
          <a:xfrm>
            <a:off x="4615595" y="3136940"/>
            <a:ext cx="612000" cy="553998"/>
          </a:xfrm>
          <a:prstGeom prst="rect">
            <a:avLst/>
          </a:prstGeom>
          <a:noFill/>
          <a:ln>
            <a:noFill/>
          </a:ln>
          <a:effectLst/>
          <a:extLst>
            <a:ext uri="{909E8E84-426E-40DD-AFC4-6F175D3DCCD1}">
              <a14:hiddenFill xmlns:a14="http://schemas.microsoft.com/office/drawing/2010/main">
                <a:solidFill>
                  <a:srgbClr val="CCCCFF"/>
                </a:solidFill>
              </a14:hiddenFill>
            </a:ext>
            <a:ext uri="{91240B29-F687-4F45-9708-019B960494DF}">
              <a14:hiddenLine xmlns:a14="http://schemas.microsoft.com/office/drawing/2010/main" w="12700" algn="ctr">
                <a:solidFill>
                  <a:srgbClr val="333333"/>
                </a:solidFill>
                <a:miter lim="800000"/>
                <a:headEnd/>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1400">
                <a:solidFill>
                  <a:schemeClr val="tx1"/>
                </a:solidFill>
                <a:latin typeface="Arial" pitchFamily="34" charset="0"/>
              </a:defRPr>
            </a:lvl1pPr>
            <a:lvl2pPr marL="742950" indent="-285750">
              <a:defRPr sz="1400">
                <a:solidFill>
                  <a:schemeClr val="tx1"/>
                </a:solidFill>
                <a:latin typeface="Arial" pitchFamily="34" charset="0"/>
              </a:defRPr>
            </a:lvl2pPr>
            <a:lvl3pPr marL="1143000" indent="-228600">
              <a:defRPr sz="1400">
                <a:solidFill>
                  <a:schemeClr val="tx1"/>
                </a:solidFill>
                <a:latin typeface="Arial" pitchFamily="34" charset="0"/>
              </a:defRPr>
            </a:lvl3pPr>
            <a:lvl4pPr marL="1600200" indent="-228600">
              <a:defRPr sz="1400">
                <a:solidFill>
                  <a:schemeClr val="tx1"/>
                </a:solidFill>
                <a:latin typeface="Arial" pitchFamily="34" charset="0"/>
              </a:defRPr>
            </a:lvl4pPr>
            <a:lvl5pPr marL="2057400" indent="-228600">
              <a:defRPr sz="1400">
                <a:solidFill>
                  <a:schemeClr val="tx1"/>
                </a:solidFill>
                <a:latin typeface="Arial" pitchFamily="34"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l">
              <a:buClr>
                <a:srgbClr val="B40646"/>
              </a:buClr>
              <a:defRPr/>
            </a:pPr>
            <a:r>
              <a:rPr lang="en-GB" sz="1200" dirty="0">
                <a:solidFill>
                  <a:schemeClr val="accent2"/>
                </a:solidFill>
                <a:latin typeface="+mn-lt"/>
              </a:rPr>
              <a:t>Steering group meeting</a:t>
            </a:r>
          </a:p>
        </p:txBody>
      </p:sp>
      <p:sp>
        <p:nvSpPr>
          <p:cNvPr id="17" name="Isosceles Triangle 16">
            <a:extLst>
              <a:ext uri="{FF2B5EF4-FFF2-40B4-BE49-F238E27FC236}">
                <a16:creationId xmlns:a16="http://schemas.microsoft.com/office/drawing/2014/main" id="{E6F16DFE-865B-40E2-8DF2-E2B2808650AB}"/>
              </a:ext>
            </a:extLst>
          </p:cNvPr>
          <p:cNvSpPr/>
          <p:nvPr/>
        </p:nvSpPr>
        <p:spPr bwMode="auto">
          <a:xfrm>
            <a:off x="11124667" y="3577936"/>
            <a:ext cx="317756" cy="325438"/>
          </a:xfrm>
          <a:prstGeom prst="triangle">
            <a:avLst/>
          </a:prstGeom>
          <a:solidFill>
            <a:schemeClr val="accent6"/>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18" name="Isosceles Triangle 17">
            <a:extLst>
              <a:ext uri="{FF2B5EF4-FFF2-40B4-BE49-F238E27FC236}">
                <a16:creationId xmlns:a16="http://schemas.microsoft.com/office/drawing/2014/main" id="{38D660CD-7BA5-4A9F-847C-F48062F3D4BB}"/>
              </a:ext>
            </a:extLst>
          </p:cNvPr>
          <p:cNvSpPr/>
          <p:nvPr/>
        </p:nvSpPr>
        <p:spPr bwMode="auto">
          <a:xfrm>
            <a:off x="6568006" y="3577936"/>
            <a:ext cx="317756" cy="325438"/>
          </a:xfrm>
          <a:prstGeom prst="triangle">
            <a:avLst/>
          </a:prstGeom>
          <a:solidFill>
            <a:schemeClr val="accent6"/>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19" name="Isosceles Triangle 18">
            <a:extLst>
              <a:ext uri="{FF2B5EF4-FFF2-40B4-BE49-F238E27FC236}">
                <a16:creationId xmlns:a16="http://schemas.microsoft.com/office/drawing/2014/main" id="{F26F6B28-B7C2-4E1E-8B22-16E7D6AAE2D3}"/>
              </a:ext>
            </a:extLst>
          </p:cNvPr>
          <p:cNvSpPr/>
          <p:nvPr/>
        </p:nvSpPr>
        <p:spPr bwMode="auto">
          <a:xfrm>
            <a:off x="8016915" y="3577936"/>
            <a:ext cx="317756" cy="325438"/>
          </a:xfrm>
          <a:prstGeom prst="triangle">
            <a:avLst/>
          </a:prstGeom>
          <a:solidFill>
            <a:schemeClr val="accent6"/>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20" name="Isosceles Triangle 19">
            <a:extLst>
              <a:ext uri="{FF2B5EF4-FFF2-40B4-BE49-F238E27FC236}">
                <a16:creationId xmlns:a16="http://schemas.microsoft.com/office/drawing/2014/main" id="{CA506E81-3150-42B8-B500-C2B5BEF0C6B1}"/>
              </a:ext>
            </a:extLst>
          </p:cNvPr>
          <p:cNvSpPr/>
          <p:nvPr/>
        </p:nvSpPr>
        <p:spPr bwMode="auto">
          <a:xfrm>
            <a:off x="4759710" y="2747433"/>
            <a:ext cx="317756" cy="325438"/>
          </a:xfrm>
          <a:prstGeom prst="triangle">
            <a:avLst/>
          </a:prstGeom>
          <a:solidFill>
            <a:schemeClr val="accent6"/>
          </a:solidFill>
          <a:ln w="19050" cap="flat" cmpd="sng" algn="ctr">
            <a:noFill/>
            <a:prstDash val="solid"/>
            <a:round/>
            <a:headEnd type="none" w="med" len="med"/>
            <a:tailEnd type="none" w="med" len="med"/>
          </a:ln>
          <a:effectLst/>
        </p:spPr>
        <p:txBody>
          <a:bodyPr lIns="54000" rIns="54000" anchor="ctr" anchorCtr="1"/>
          <a:lstStyle/>
          <a:p>
            <a:pPr>
              <a:buClr>
                <a:srgbClr val="B40646"/>
              </a:buClr>
              <a:defRPr/>
            </a:pPr>
            <a:endParaRPr lang="en-GB" dirty="0">
              <a:solidFill>
                <a:srgbClr val="000000"/>
              </a:solidFill>
              <a:latin typeface="+mn-lt"/>
            </a:endParaRPr>
          </a:p>
        </p:txBody>
      </p:sp>
      <p:sp>
        <p:nvSpPr>
          <p:cNvPr id="21" name="Isosceles Triangle 20">
            <a:extLst>
              <a:ext uri="{FF2B5EF4-FFF2-40B4-BE49-F238E27FC236}">
                <a16:creationId xmlns:a16="http://schemas.microsoft.com/office/drawing/2014/main" id="{D337B443-EEE2-4C1C-815A-BB722DD9DBC7}"/>
              </a:ext>
            </a:extLst>
          </p:cNvPr>
          <p:cNvSpPr/>
          <p:nvPr/>
        </p:nvSpPr>
        <p:spPr bwMode="auto">
          <a:xfrm>
            <a:off x="9675459" y="3577936"/>
            <a:ext cx="317756" cy="325438"/>
          </a:xfrm>
          <a:prstGeom prst="triangle">
            <a:avLst/>
          </a:prstGeom>
          <a:solidFill>
            <a:schemeClr val="accent6"/>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22" name="AutoShape 15">
            <a:extLst>
              <a:ext uri="{FF2B5EF4-FFF2-40B4-BE49-F238E27FC236}">
                <a16:creationId xmlns:a16="http://schemas.microsoft.com/office/drawing/2014/main" id="{93C5D95B-AE12-42FC-B2F1-D616E50F7246}"/>
              </a:ext>
            </a:extLst>
          </p:cNvPr>
          <p:cNvSpPr>
            <a:spLocks noChangeArrowheads="1"/>
          </p:cNvSpPr>
          <p:nvPr/>
        </p:nvSpPr>
        <p:spPr bwMode="auto">
          <a:xfrm>
            <a:off x="5263997" y="2785531"/>
            <a:ext cx="1574356" cy="673100"/>
          </a:xfrm>
          <a:prstGeom prst="homePlate">
            <a:avLst>
              <a:gd name="adj" fmla="val 45524"/>
            </a:avLst>
          </a:prstGeom>
          <a:solidFill>
            <a:srgbClr val="87737B"/>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Process design</a:t>
            </a:r>
            <a:endParaRPr lang="en-GB" sz="1200" b="1" dirty="0">
              <a:solidFill>
                <a:schemeClr val="bg1"/>
              </a:solidFill>
              <a:latin typeface="+mn-lt"/>
            </a:endParaRPr>
          </a:p>
        </p:txBody>
      </p:sp>
      <p:sp>
        <p:nvSpPr>
          <p:cNvPr id="23" name="AutoShape 15">
            <a:extLst>
              <a:ext uri="{FF2B5EF4-FFF2-40B4-BE49-F238E27FC236}">
                <a16:creationId xmlns:a16="http://schemas.microsoft.com/office/drawing/2014/main" id="{DC944E0F-2276-4907-BD3F-09F6D2C0F6C9}"/>
              </a:ext>
            </a:extLst>
          </p:cNvPr>
          <p:cNvSpPr>
            <a:spLocks noChangeArrowheads="1"/>
          </p:cNvSpPr>
          <p:nvPr/>
        </p:nvSpPr>
        <p:spPr bwMode="auto">
          <a:xfrm>
            <a:off x="6870868" y="2785531"/>
            <a:ext cx="3166203" cy="673100"/>
          </a:xfrm>
          <a:prstGeom prst="homePlate">
            <a:avLst>
              <a:gd name="adj" fmla="val 45524"/>
            </a:avLst>
          </a:prstGeom>
          <a:solidFill>
            <a:srgbClr val="87737B"/>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Implementation</a:t>
            </a:r>
            <a:endParaRPr lang="en-GB" sz="1200" b="1" dirty="0">
              <a:solidFill>
                <a:schemeClr val="bg1"/>
              </a:solidFill>
              <a:latin typeface="+mn-lt"/>
            </a:endParaRPr>
          </a:p>
        </p:txBody>
      </p:sp>
      <p:sp>
        <p:nvSpPr>
          <p:cNvPr id="24" name="AutoShape 15">
            <a:extLst>
              <a:ext uri="{FF2B5EF4-FFF2-40B4-BE49-F238E27FC236}">
                <a16:creationId xmlns:a16="http://schemas.microsoft.com/office/drawing/2014/main" id="{40D087F7-B7F3-4E1B-AE37-7774A95469CD}"/>
              </a:ext>
            </a:extLst>
          </p:cNvPr>
          <p:cNvSpPr>
            <a:spLocks noChangeArrowheads="1"/>
          </p:cNvSpPr>
          <p:nvPr/>
        </p:nvSpPr>
        <p:spPr bwMode="auto">
          <a:xfrm>
            <a:off x="10079115" y="2785531"/>
            <a:ext cx="1564038" cy="673100"/>
          </a:xfrm>
          <a:prstGeom prst="homePlate">
            <a:avLst>
              <a:gd name="adj" fmla="val 45524"/>
            </a:avLst>
          </a:prstGeom>
          <a:solidFill>
            <a:srgbClr val="87737B"/>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Sustain</a:t>
            </a:r>
            <a:endParaRPr lang="en-GB" sz="1200" b="1" dirty="0">
              <a:solidFill>
                <a:schemeClr val="bg1"/>
              </a:solidFill>
              <a:latin typeface="+mn-lt"/>
            </a:endParaRPr>
          </a:p>
        </p:txBody>
      </p:sp>
      <p:sp>
        <p:nvSpPr>
          <p:cNvPr id="25" name="AutoShape 15">
            <a:extLst>
              <a:ext uri="{FF2B5EF4-FFF2-40B4-BE49-F238E27FC236}">
                <a16:creationId xmlns:a16="http://schemas.microsoft.com/office/drawing/2014/main" id="{08CE4539-D633-4CC0-AAD4-B768D26670D7}"/>
              </a:ext>
            </a:extLst>
          </p:cNvPr>
          <p:cNvSpPr>
            <a:spLocks noChangeArrowheads="1"/>
          </p:cNvSpPr>
          <p:nvPr/>
        </p:nvSpPr>
        <p:spPr bwMode="auto">
          <a:xfrm>
            <a:off x="3864100" y="1995687"/>
            <a:ext cx="1377961" cy="673100"/>
          </a:xfrm>
          <a:prstGeom prst="homePlate">
            <a:avLst>
              <a:gd name="adj" fmla="val 45524"/>
            </a:avLst>
          </a:prstGeom>
          <a:solidFill>
            <a:schemeClr val="accent3"/>
          </a:solidFill>
          <a:ln w="12700">
            <a:noFill/>
            <a:miter lim="800000"/>
            <a:headEnd/>
            <a:tailEnd/>
          </a:ln>
        </p:spPr>
        <p:txBody>
          <a:bodyPr lIns="36000" tIns="0" rIns="36000" bIns="0" anchor="ctr"/>
          <a:lstStyle/>
          <a:p>
            <a:pPr>
              <a:buClr>
                <a:srgbClr val="B40646"/>
              </a:buClr>
              <a:defRPr/>
            </a:pPr>
            <a:endParaRPr lang="en-GB" b="1" dirty="0">
              <a:solidFill>
                <a:srgbClr val="FFFFFF"/>
              </a:solidFill>
              <a:latin typeface="+mn-lt"/>
            </a:endParaRPr>
          </a:p>
        </p:txBody>
      </p:sp>
      <p:sp>
        <p:nvSpPr>
          <p:cNvPr id="27" name="AutoShape 15">
            <a:extLst>
              <a:ext uri="{FF2B5EF4-FFF2-40B4-BE49-F238E27FC236}">
                <a16:creationId xmlns:a16="http://schemas.microsoft.com/office/drawing/2014/main" id="{CF3F9C54-2416-45FB-B385-E0BC22423D88}"/>
              </a:ext>
            </a:extLst>
          </p:cNvPr>
          <p:cNvSpPr>
            <a:spLocks noChangeArrowheads="1"/>
          </p:cNvSpPr>
          <p:nvPr/>
        </p:nvSpPr>
        <p:spPr bwMode="auto">
          <a:xfrm>
            <a:off x="3661706" y="1995687"/>
            <a:ext cx="1256882" cy="673100"/>
          </a:xfrm>
          <a:prstGeom prst="homePlate">
            <a:avLst>
              <a:gd name="adj" fmla="val 45524"/>
            </a:avLst>
          </a:prstGeom>
          <a:solidFill>
            <a:schemeClr val="accent2"/>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Scoping diagnostic</a:t>
            </a:r>
            <a:endParaRPr lang="en-GB" sz="1200" b="1" dirty="0">
              <a:solidFill>
                <a:schemeClr val="bg1"/>
              </a:solidFill>
              <a:latin typeface="+mn-lt"/>
            </a:endParaRPr>
          </a:p>
        </p:txBody>
      </p:sp>
      <p:sp>
        <p:nvSpPr>
          <p:cNvPr id="29" name="Text Box 83">
            <a:extLst>
              <a:ext uri="{FF2B5EF4-FFF2-40B4-BE49-F238E27FC236}">
                <a16:creationId xmlns:a16="http://schemas.microsoft.com/office/drawing/2014/main" id="{6C432276-E8A0-4273-BE70-ED47487D8E80}"/>
              </a:ext>
            </a:extLst>
          </p:cNvPr>
          <p:cNvSpPr txBox="1">
            <a:spLocks noChangeArrowheads="1"/>
          </p:cNvSpPr>
          <p:nvPr/>
        </p:nvSpPr>
        <p:spPr bwMode="auto">
          <a:xfrm>
            <a:off x="5864612" y="1932188"/>
            <a:ext cx="1946256" cy="554037"/>
          </a:xfrm>
          <a:prstGeom prst="rect">
            <a:avLst/>
          </a:prstGeom>
          <a:noFill/>
          <a:ln>
            <a:noFill/>
          </a:ln>
          <a:effectLst/>
        </p:spPr>
        <p:txBody>
          <a:bodyPr wrap="square" lIns="0" tIns="0" rIns="0" bIns="0" anchor="ctr">
            <a:spAutoFit/>
          </a:bodyPr>
          <a:lstStyle>
            <a:lvl1pPr>
              <a:defRPr sz="1400">
                <a:solidFill>
                  <a:schemeClr val="tx1"/>
                </a:solidFill>
                <a:latin typeface="Arial" pitchFamily="34" charset="0"/>
              </a:defRPr>
            </a:lvl1pPr>
            <a:lvl2pPr marL="742950" indent="-285750">
              <a:defRPr sz="1400">
                <a:solidFill>
                  <a:schemeClr val="tx1"/>
                </a:solidFill>
                <a:latin typeface="Arial" pitchFamily="34" charset="0"/>
              </a:defRPr>
            </a:lvl2pPr>
            <a:lvl3pPr marL="1143000" indent="-228600">
              <a:defRPr sz="1400">
                <a:solidFill>
                  <a:schemeClr val="tx1"/>
                </a:solidFill>
                <a:latin typeface="Arial" pitchFamily="34" charset="0"/>
              </a:defRPr>
            </a:lvl3pPr>
            <a:lvl4pPr marL="1600200" indent="-228600">
              <a:defRPr sz="1400">
                <a:solidFill>
                  <a:schemeClr val="tx1"/>
                </a:solidFill>
                <a:latin typeface="Arial" pitchFamily="34" charset="0"/>
              </a:defRPr>
            </a:lvl4pPr>
            <a:lvl5pPr marL="2057400" indent="-228600">
              <a:defRPr sz="1400">
                <a:solidFill>
                  <a:schemeClr val="tx1"/>
                </a:solidFill>
                <a:latin typeface="Arial" pitchFamily="34"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l">
              <a:spcBef>
                <a:spcPts val="0"/>
              </a:spcBef>
              <a:buClr>
                <a:prstClr val="white">
                  <a:lumMod val="65000"/>
                </a:prstClr>
              </a:buClr>
              <a:defRPr/>
            </a:pPr>
            <a:r>
              <a:rPr lang="en-GB" sz="1200">
                <a:solidFill>
                  <a:schemeClr val="accent2"/>
                </a:solidFill>
                <a:latin typeface="+mn-lt"/>
              </a:rPr>
              <a:t>‘Go/no go’</a:t>
            </a:r>
          </a:p>
          <a:p>
            <a:pPr algn="l">
              <a:spcBef>
                <a:spcPts val="0"/>
              </a:spcBef>
              <a:buClr>
                <a:prstClr val="white">
                  <a:lumMod val="65000"/>
                </a:prstClr>
              </a:buClr>
              <a:defRPr/>
            </a:pPr>
            <a:r>
              <a:rPr lang="en-GB" sz="1200">
                <a:solidFill>
                  <a:schemeClr val="accent2"/>
                </a:solidFill>
                <a:latin typeface="+mn-lt"/>
              </a:rPr>
              <a:t>Agreement on design scope</a:t>
            </a:r>
          </a:p>
          <a:p>
            <a:pPr algn="l">
              <a:spcBef>
                <a:spcPts val="0"/>
              </a:spcBef>
              <a:buClr>
                <a:prstClr val="white">
                  <a:lumMod val="65000"/>
                </a:prstClr>
              </a:buClr>
              <a:defRPr/>
            </a:pPr>
            <a:r>
              <a:rPr lang="en-GB" sz="1200">
                <a:solidFill>
                  <a:schemeClr val="accent2"/>
                </a:solidFill>
                <a:latin typeface="+mn-lt"/>
              </a:rPr>
              <a:t>Mobilisation and positioning</a:t>
            </a:r>
            <a:endParaRPr lang="en-GB" sz="1200" dirty="0">
              <a:solidFill>
                <a:schemeClr val="accent2"/>
              </a:solidFill>
              <a:latin typeface="+mn-lt"/>
            </a:endParaRPr>
          </a:p>
        </p:txBody>
      </p:sp>
      <p:cxnSp>
        <p:nvCxnSpPr>
          <p:cNvPr id="35" name="Straight Arrow Connector 34">
            <a:extLst>
              <a:ext uri="{FF2B5EF4-FFF2-40B4-BE49-F238E27FC236}">
                <a16:creationId xmlns:a16="http://schemas.microsoft.com/office/drawing/2014/main" id="{F9364FA9-BB54-41BA-A349-EACB97A2B88E}"/>
              </a:ext>
            </a:extLst>
          </p:cNvPr>
          <p:cNvCxnSpPr>
            <a:cxnSpLocks/>
          </p:cNvCxnSpPr>
          <p:nvPr/>
        </p:nvCxnSpPr>
        <p:spPr bwMode="auto">
          <a:xfrm flipH="1">
            <a:off x="5193564" y="2089020"/>
            <a:ext cx="576382" cy="157327"/>
          </a:xfrm>
          <a:prstGeom prst="straightConnector1">
            <a:avLst/>
          </a:prstGeom>
          <a:noFill/>
          <a:ln w="19050" cap="flat" cmpd="sng" algn="ctr">
            <a:solidFill>
              <a:srgbClr val="87737B"/>
            </a:solidFill>
            <a:prstDash val="solid"/>
            <a:round/>
            <a:headEnd type="none" w="med" len="med"/>
            <a:tailEnd type="arrow"/>
          </a:ln>
          <a:effectLst/>
        </p:spPr>
      </p:cxnSp>
    </p:spTree>
    <p:extLst>
      <p:ext uri="{BB962C8B-B14F-4D97-AF65-F5344CB8AC3E}">
        <p14:creationId xmlns:p14="http://schemas.microsoft.com/office/powerpoint/2010/main" val="4370540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FEDEBF45-CB2C-49E1-9DCB-2FF83CEB54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6" progId="TCLayout.ActiveDocument.1">
                  <p:embed/>
                </p:oleObj>
              </mc:Choice>
              <mc:Fallback>
                <p:oleObj name="Diapositive think-cell" r:id="rId5" imgW="473" imgH="476" progId="TCLayout.ActiveDocument.1">
                  <p:embed/>
                  <p:pic>
                    <p:nvPicPr>
                      <p:cNvPr id="2" name="Objet 1" hidden="1">
                        <a:extLst>
                          <a:ext uri="{FF2B5EF4-FFF2-40B4-BE49-F238E27FC236}">
                            <a16:creationId xmlns:a16="http://schemas.microsoft.com/office/drawing/2014/main" id="{FEDEBF45-CB2C-49E1-9DCB-2FF83CEB54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646C84-8A0A-40FD-995D-DAC8625D811B}"/>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5" name="Table 14">
            <a:extLst>
              <a:ext uri="{FF2B5EF4-FFF2-40B4-BE49-F238E27FC236}">
                <a16:creationId xmlns:a16="http://schemas.microsoft.com/office/drawing/2014/main" id="{3643F592-578A-470D-ABF5-DAAA13B53037}"/>
              </a:ext>
            </a:extLst>
          </p:cNvPr>
          <p:cNvGraphicFramePr>
            <a:graphicFrameLocks noGrp="1"/>
          </p:cNvGraphicFramePr>
          <p:nvPr>
            <p:extLst>
              <p:ext uri="{D42A27DB-BD31-4B8C-83A1-F6EECF244321}">
                <p14:modId xmlns:p14="http://schemas.microsoft.com/office/powerpoint/2010/main" val="1493759928"/>
              </p:ext>
            </p:extLst>
          </p:nvPr>
        </p:nvGraphicFramePr>
        <p:xfrm>
          <a:off x="3644900" y="1273482"/>
          <a:ext cx="8024330" cy="2882993"/>
        </p:xfrm>
        <a:graphic>
          <a:graphicData uri="http://schemas.openxmlformats.org/drawingml/2006/table">
            <a:tbl>
              <a:tblPr firstRow="1" bandRow="1">
                <a:tableStyleId>{5C22544A-7EE6-4342-B048-85BDC9FD1C3A}</a:tableStyleId>
              </a:tblPr>
              <a:tblGrid>
                <a:gridCol w="802433">
                  <a:extLst>
                    <a:ext uri="{9D8B030D-6E8A-4147-A177-3AD203B41FA5}">
                      <a16:colId xmlns:a16="http://schemas.microsoft.com/office/drawing/2014/main" val="20000"/>
                    </a:ext>
                  </a:extLst>
                </a:gridCol>
                <a:gridCol w="802433">
                  <a:extLst>
                    <a:ext uri="{9D8B030D-6E8A-4147-A177-3AD203B41FA5}">
                      <a16:colId xmlns:a16="http://schemas.microsoft.com/office/drawing/2014/main" val="20001"/>
                    </a:ext>
                  </a:extLst>
                </a:gridCol>
                <a:gridCol w="802433">
                  <a:extLst>
                    <a:ext uri="{9D8B030D-6E8A-4147-A177-3AD203B41FA5}">
                      <a16:colId xmlns:a16="http://schemas.microsoft.com/office/drawing/2014/main" val="20002"/>
                    </a:ext>
                  </a:extLst>
                </a:gridCol>
                <a:gridCol w="802433">
                  <a:extLst>
                    <a:ext uri="{9D8B030D-6E8A-4147-A177-3AD203B41FA5}">
                      <a16:colId xmlns:a16="http://schemas.microsoft.com/office/drawing/2014/main" val="20003"/>
                    </a:ext>
                  </a:extLst>
                </a:gridCol>
                <a:gridCol w="802433">
                  <a:extLst>
                    <a:ext uri="{9D8B030D-6E8A-4147-A177-3AD203B41FA5}">
                      <a16:colId xmlns:a16="http://schemas.microsoft.com/office/drawing/2014/main" val="20004"/>
                    </a:ext>
                  </a:extLst>
                </a:gridCol>
                <a:gridCol w="802433">
                  <a:extLst>
                    <a:ext uri="{9D8B030D-6E8A-4147-A177-3AD203B41FA5}">
                      <a16:colId xmlns:a16="http://schemas.microsoft.com/office/drawing/2014/main" val="20005"/>
                    </a:ext>
                  </a:extLst>
                </a:gridCol>
                <a:gridCol w="802433">
                  <a:extLst>
                    <a:ext uri="{9D8B030D-6E8A-4147-A177-3AD203B41FA5}">
                      <a16:colId xmlns:a16="http://schemas.microsoft.com/office/drawing/2014/main" val="20006"/>
                    </a:ext>
                  </a:extLst>
                </a:gridCol>
                <a:gridCol w="802433">
                  <a:extLst>
                    <a:ext uri="{9D8B030D-6E8A-4147-A177-3AD203B41FA5}">
                      <a16:colId xmlns:a16="http://schemas.microsoft.com/office/drawing/2014/main" val="20007"/>
                    </a:ext>
                  </a:extLst>
                </a:gridCol>
                <a:gridCol w="802433">
                  <a:extLst>
                    <a:ext uri="{9D8B030D-6E8A-4147-A177-3AD203B41FA5}">
                      <a16:colId xmlns:a16="http://schemas.microsoft.com/office/drawing/2014/main" val="20008"/>
                    </a:ext>
                  </a:extLst>
                </a:gridCol>
                <a:gridCol w="802433">
                  <a:extLst>
                    <a:ext uri="{9D8B030D-6E8A-4147-A177-3AD203B41FA5}">
                      <a16:colId xmlns:a16="http://schemas.microsoft.com/office/drawing/2014/main" val="20009"/>
                    </a:ext>
                  </a:extLst>
                </a:gridCol>
              </a:tblGrid>
              <a:tr h="465064">
                <a:tc>
                  <a:txBody>
                    <a:bodyPr/>
                    <a:lstStyle/>
                    <a:p>
                      <a:pPr algn="ctr"/>
                      <a:r>
                        <a:rPr lang="en-GB" sz="1200">
                          <a:solidFill>
                            <a:schemeClr val="bg1"/>
                          </a:solidFill>
                          <a:latin typeface="+mn-lt"/>
                        </a:rPr>
                        <a:t>M1</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2</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3</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4</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5</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6</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7</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8</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9</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10+</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417929">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chemeClr val="bg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bl>
          </a:graphicData>
        </a:graphic>
      </p:graphicFrame>
      <p:sp>
        <p:nvSpPr>
          <p:cNvPr id="12290" name="Title 1"/>
          <p:cNvSpPr>
            <a:spLocks noGrp="1"/>
          </p:cNvSpPr>
          <p:nvPr>
            <p:ph type="title"/>
          </p:nvPr>
        </p:nvSpPr>
        <p:spPr/>
        <p:txBody>
          <a:bodyPr/>
          <a:lstStyle/>
          <a:p>
            <a:r>
              <a:rPr lang="en-GB" altLang="en-US"/>
              <a:t>Project timeline </a:t>
            </a:r>
            <a:endParaRPr lang="en-GB" altLang="en-US" dirty="0"/>
          </a:p>
        </p:txBody>
      </p:sp>
      <p:sp>
        <p:nvSpPr>
          <p:cNvPr id="12291" name="Content Placeholder 1"/>
          <p:cNvSpPr>
            <a:spLocks noGrp="1"/>
          </p:cNvSpPr>
          <p:nvPr>
            <p:ph idx="1"/>
          </p:nvPr>
        </p:nvSpPr>
        <p:spPr>
          <a:xfrm>
            <a:off x="432000" y="1273482"/>
            <a:ext cx="2904215" cy="2217768"/>
          </a:xfrm>
        </p:spPr>
        <p:txBody>
          <a:bodyPr/>
          <a:lstStyle/>
          <a:p>
            <a:pPr marL="342900" indent="-342900">
              <a:spcAft>
                <a:spcPts val="1200"/>
              </a:spcAft>
              <a:buClr>
                <a:srgbClr val="B40646"/>
              </a:buClr>
              <a:buSzPct val="82000"/>
              <a:buFont typeface="Wingdings 3" panose="05040102010807070707" pitchFamily="18" charset="2"/>
              <a:buChar char=""/>
            </a:pPr>
            <a:r>
              <a:rPr lang="en-GB" altLang="en-US">
                <a:latin typeface="+mn-lt"/>
              </a:rPr>
              <a:t>The project has four stages</a:t>
            </a:r>
          </a:p>
          <a:p>
            <a:pPr marL="342900" indent="-342900">
              <a:spcAft>
                <a:spcPts val="1200"/>
              </a:spcAft>
              <a:buClr>
                <a:srgbClr val="B40646"/>
              </a:buClr>
              <a:buSzPct val="82000"/>
              <a:buFont typeface="Wingdings 3" panose="05040102010807070707" pitchFamily="18" charset="2"/>
              <a:buChar char=""/>
            </a:pPr>
            <a:r>
              <a:rPr lang="en-GB" altLang="en-US">
                <a:latin typeface="+mn-lt"/>
              </a:rPr>
              <a:t>By the end of Stage 3 you will be self-sufficient in …</a:t>
            </a:r>
          </a:p>
          <a:p>
            <a:pPr marL="342900" indent="-342900">
              <a:spcAft>
                <a:spcPts val="1200"/>
              </a:spcAft>
              <a:buClr>
                <a:srgbClr val="B40646"/>
              </a:buClr>
              <a:buSzPct val="82000"/>
              <a:buFont typeface="Wingdings 3" panose="05040102010807070707" pitchFamily="18" charset="2"/>
              <a:buChar char=""/>
            </a:pPr>
            <a:r>
              <a:rPr lang="en-GB" altLang="en-US">
                <a:latin typeface="+mn-lt"/>
              </a:rPr>
              <a:t>Text text text</a:t>
            </a:r>
            <a:endParaRPr lang="en-GB" altLang="en-US" dirty="0">
              <a:latin typeface="+mn-lt"/>
            </a:endParaRPr>
          </a:p>
        </p:txBody>
      </p:sp>
      <p:sp>
        <p:nvSpPr>
          <p:cNvPr id="30" name="TextBox 1">
            <a:extLst>
              <a:ext uri="{FF2B5EF4-FFF2-40B4-BE49-F238E27FC236}">
                <a16:creationId xmlns:a16="http://schemas.microsoft.com/office/drawing/2014/main" id="{B74BDD64-3891-4133-A4DE-7C5A89665D4F}"/>
              </a:ext>
            </a:extLst>
          </p:cNvPr>
          <p:cNvSpPr txBox="1">
            <a:spLocks noChangeArrowheads="1"/>
          </p:cNvSpPr>
          <p:nvPr/>
        </p:nvSpPr>
        <p:spPr bwMode="auto">
          <a:xfrm>
            <a:off x="3644900" y="4435965"/>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Defines the project scope, resourcing and deliverables</a:t>
            </a:r>
          </a:p>
        </p:txBody>
      </p:sp>
      <p:sp>
        <p:nvSpPr>
          <p:cNvPr id="31" name="TextBox 32">
            <a:extLst>
              <a:ext uri="{FF2B5EF4-FFF2-40B4-BE49-F238E27FC236}">
                <a16:creationId xmlns:a16="http://schemas.microsoft.com/office/drawing/2014/main" id="{9927CACB-B89B-447D-87FA-5A992CF29769}"/>
              </a:ext>
            </a:extLst>
          </p:cNvPr>
          <p:cNvSpPr txBox="1">
            <a:spLocks noChangeArrowheads="1"/>
          </p:cNvSpPr>
          <p:nvPr/>
        </p:nvSpPr>
        <p:spPr bwMode="auto">
          <a:xfrm>
            <a:off x="5243830" y="5197612"/>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Defines the new processes and system specification</a:t>
            </a:r>
          </a:p>
        </p:txBody>
      </p:sp>
      <p:sp>
        <p:nvSpPr>
          <p:cNvPr id="32" name="TextBox 33">
            <a:extLst>
              <a:ext uri="{FF2B5EF4-FFF2-40B4-BE49-F238E27FC236}">
                <a16:creationId xmlns:a16="http://schemas.microsoft.com/office/drawing/2014/main" id="{2436FDB4-CA2C-4BC3-9FBC-78AA6F6D29C3}"/>
              </a:ext>
            </a:extLst>
          </p:cNvPr>
          <p:cNvSpPr txBox="1">
            <a:spLocks noChangeArrowheads="1"/>
          </p:cNvSpPr>
          <p:nvPr/>
        </p:nvSpPr>
        <p:spPr bwMode="auto">
          <a:xfrm>
            <a:off x="6967459" y="4435965"/>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Introduces the new process design and system support</a:t>
            </a:r>
          </a:p>
        </p:txBody>
      </p:sp>
      <p:sp>
        <p:nvSpPr>
          <p:cNvPr id="33" name="TextBox 34">
            <a:extLst>
              <a:ext uri="{FF2B5EF4-FFF2-40B4-BE49-F238E27FC236}">
                <a16:creationId xmlns:a16="http://schemas.microsoft.com/office/drawing/2014/main" id="{4D46FB25-CA03-4889-B510-EDD8A2AAA196}"/>
              </a:ext>
            </a:extLst>
          </p:cNvPr>
          <p:cNvSpPr txBox="1">
            <a:spLocks noChangeArrowheads="1"/>
          </p:cNvSpPr>
          <p:nvPr/>
        </p:nvSpPr>
        <p:spPr bwMode="auto">
          <a:xfrm>
            <a:off x="9702610" y="5197612"/>
            <a:ext cx="2052000" cy="738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rIns="54000">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algn="l">
              <a:spcBef>
                <a:spcPts val="400"/>
              </a:spcBef>
              <a:spcAft>
                <a:spcPts val="400"/>
              </a:spcAft>
              <a:buClr>
                <a:srgbClr val="B40646"/>
              </a:buClr>
            </a:pPr>
            <a:r>
              <a:rPr lang="en-GB" altLang="en-US" dirty="0">
                <a:solidFill>
                  <a:schemeClr val="accent2"/>
                </a:solidFill>
                <a:latin typeface="+mn-lt"/>
              </a:rPr>
              <a:t>Ongoing: embeds and continually improves the implemented processes</a:t>
            </a:r>
            <a:endParaRPr lang="en-GB" altLang="en-US" i="1" dirty="0">
              <a:solidFill>
                <a:schemeClr val="accent2"/>
              </a:solidFill>
              <a:latin typeface="+mn-lt"/>
            </a:endParaRPr>
          </a:p>
        </p:txBody>
      </p:sp>
      <p:cxnSp>
        <p:nvCxnSpPr>
          <p:cNvPr id="34" name="Straight Arrow Connector 33">
            <a:extLst>
              <a:ext uri="{FF2B5EF4-FFF2-40B4-BE49-F238E27FC236}">
                <a16:creationId xmlns:a16="http://schemas.microsoft.com/office/drawing/2014/main" id="{8C1FFB74-8952-45CF-A1B7-78B3ACBFC766}"/>
              </a:ext>
            </a:extLst>
          </p:cNvPr>
          <p:cNvCxnSpPr>
            <a:cxnSpLocks/>
          </p:cNvCxnSpPr>
          <p:nvPr/>
        </p:nvCxnSpPr>
        <p:spPr bwMode="auto">
          <a:xfrm flipV="1">
            <a:off x="4022790" y="2756179"/>
            <a:ext cx="0" cy="1656000"/>
          </a:xfrm>
          <a:prstGeom prst="straightConnector1">
            <a:avLst/>
          </a:prstGeom>
          <a:noFill/>
          <a:ln w="19050" cap="flat" cmpd="sng" algn="ctr">
            <a:solidFill>
              <a:schemeClr val="accent2"/>
            </a:solidFill>
            <a:prstDash val="solid"/>
            <a:round/>
            <a:headEnd type="none" w="med" len="med"/>
            <a:tailEnd type="arrow"/>
          </a:ln>
          <a:effectLst/>
        </p:spPr>
      </p:cxnSp>
      <p:cxnSp>
        <p:nvCxnSpPr>
          <p:cNvPr id="36" name="Straight Arrow Connector 35">
            <a:extLst>
              <a:ext uri="{FF2B5EF4-FFF2-40B4-BE49-F238E27FC236}">
                <a16:creationId xmlns:a16="http://schemas.microsoft.com/office/drawing/2014/main" id="{6E530ECD-4EEF-4AC2-8F33-C93034D72338}"/>
              </a:ext>
            </a:extLst>
          </p:cNvPr>
          <p:cNvCxnSpPr>
            <a:cxnSpLocks/>
          </p:cNvCxnSpPr>
          <p:nvPr/>
        </p:nvCxnSpPr>
        <p:spPr bwMode="auto">
          <a:xfrm flipV="1">
            <a:off x="5696900" y="3554200"/>
            <a:ext cx="0" cy="1620000"/>
          </a:xfrm>
          <a:prstGeom prst="straightConnector1">
            <a:avLst/>
          </a:prstGeom>
          <a:noFill/>
          <a:ln w="19050" cap="flat" cmpd="sng" algn="ctr">
            <a:solidFill>
              <a:schemeClr val="accent2"/>
            </a:solidFill>
            <a:prstDash val="solid"/>
            <a:round/>
            <a:headEnd type="none" w="med" len="med"/>
            <a:tailEnd type="arrow"/>
          </a:ln>
          <a:effectLst/>
        </p:spPr>
      </p:cxnSp>
      <p:cxnSp>
        <p:nvCxnSpPr>
          <p:cNvPr id="37" name="Straight Arrow Connector 36">
            <a:extLst>
              <a:ext uri="{FF2B5EF4-FFF2-40B4-BE49-F238E27FC236}">
                <a16:creationId xmlns:a16="http://schemas.microsoft.com/office/drawing/2014/main" id="{2ABB2C9D-998B-484B-B3F1-C960DB52538D}"/>
              </a:ext>
            </a:extLst>
          </p:cNvPr>
          <p:cNvCxnSpPr>
            <a:cxnSpLocks/>
          </p:cNvCxnSpPr>
          <p:nvPr/>
        </p:nvCxnSpPr>
        <p:spPr bwMode="auto">
          <a:xfrm flipV="1">
            <a:off x="10423590" y="3554200"/>
            <a:ext cx="0" cy="1620000"/>
          </a:xfrm>
          <a:prstGeom prst="straightConnector1">
            <a:avLst/>
          </a:prstGeom>
          <a:noFill/>
          <a:ln w="19050" cap="flat" cmpd="sng" algn="ctr">
            <a:solidFill>
              <a:schemeClr val="accent2"/>
            </a:solidFill>
            <a:prstDash val="solid"/>
            <a:round/>
            <a:headEnd type="none" w="med" len="med"/>
            <a:tailEnd type="arrow"/>
          </a:ln>
          <a:effectLst/>
        </p:spPr>
      </p:cxnSp>
      <p:cxnSp>
        <p:nvCxnSpPr>
          <p:cNvPr id="38" name="Straight Arrow Connector 37">
            <a:extLst>
              <a:ext uri="{FF2B5EF4-FFF2-40B4-BE49-F238E27FC236}">
                <a16:creationId xmlns:a16="http://schemas.microsoft.com/office/drawing/2014/main" id="{6AFBD268-04AC-47F2-AD5C-2FC6DA3E8516}"/>
              </a:ext>
            </a:extLst>
          </p:cNvPr>
          <p:cNvCxnSpPr>
            <a:cxnSpLocks/>
          </p:cNvCxnSpPr>
          <p:nvPr/>
        </p:nvCxnSpPr>
        <p:spPr bwMode="auto">
          <a:xfrm flipV="1">
            <a:off x="7353636" y="3554199"/>
            <a:ext cx="0" cy="864000"/>
          </a:xfrm>
          <a:prstGeom prst="straightConnector1">
            <a:avLst/>
          </a:prstGeom>
          <a:noFill/>
          <a:ln w="19050" cap="flat" cmpd="sng" algn="ctr">
            <a:solidFill>
              <a:schemeClr val="accent2"/>
            </a:solidFill>
            <a:prstDash val="solid"/>
            <a:round/>
            <a:headEnd type="none" w="med" len="med"/>
            <a:tailEnd type="arrow"/>
          </a:ln>
          <a:effectLst/>
        </p:spPr>
      </p:cxnSp>
      <p:sp>
        <p:nvSpPr>
          <p:cNvPr id="16" name="Text Box 83">
            <a:extLst>
              <a:ext uri="{FF2B5EF4-FFF2-40B4-BE49-F238E27FC236}">
                <a16:creationId xmlns:a16="http://schemas.microsoft.com/office/drawing/2014/main" id="{2BBD0355-F8F3-41FE-A3FE-CA30F71EE189}"/>
              </a:ext>
            </a:extLst>
          </p:cNvPr>
          <p:cNvSpPr txBox="1">
            <a:spLocks noChangeArrowheads="1"/>
          </p:cNvSpPr>
          <p:nvPr/>
        </p:nvSpPr>
        <p:spPr bwMode="auto">
          <a:xfrm>
            <a:off x="4615595" y="3136940"/>
            <a:ext cx="612000" cy="553998"/>
          </a:xfrm>
          <a:prstGeom prst="rect">
            <a:avLst/>
          </a:prstGeom>
          <a:noFill/>
          <a:ln>
            <a:noFill/>
          </a:ln>
          <a:effectLst/>
          <a:extLst>
            <a:ext uri="{909E8E84-426E-40DD-AFC4-6F175D3DCCD1}">
              <a14:hiddenFill xmlns:a14="http://schemas.microsoft.com/office/drawing/2010/main">
                <a:solidFill>
                  <a:srgbClr val="CCCCFF"/>
                </a:solidFill>
              </a14:hiddenFill>
            </a:ext>
            <a:ext uri="{91240B29-F687-4F45-9708-019B960494DF}">
              <a14:hiddenLine xmlns:a14="http://schemas.microsoft.com/office/drawing/2010/main" w="12700" algn="ctr">
                <a:solidFill>
                  <a:srgbClr val="333333"/>
                </a:solidFill>
                <a:miter lim="800000"/>
                <a:headEnd/>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1400">
                <a:solidFill>
                  <a:schemeClr val="tx1"/>
                </a:solidFill>
                <a:latin typeface="Arial" pitchFamily="34" charset="0"/>
              </a:defRPr>
            </a:lvl1pPr>
            <a:lvl2pPr marL="742950" indent="-285750">
              <a:defRPr sz="1400">
                <a:solidFill>
                  <a:schemeClr val="tx1"/>
                </a:solidFill>
                <a:latin typeface="Arial" pitchFamily="34" charset="0"/>
              </a:defRPr>
            </a:lvl2pPr>
            <a:lvl3pPr marL="1143000" indent="-228600">
              <a:defRPr sz="1400">
                <a:solidFill>
                  <a:schemeClr val="tx1"/>
                </a:solidFill>
                <a:latin typeface="Arial" pitchFamily="34" charset="0"/>
              </a:defRPr>
            </a:lvl3pPr>
            <a:lvl4pPr marL="1600200" indent="-228600">
              <a:defRPr sz="1400">
                <a:solidFill>
                  <a:schemeClr val="tx1"/>
                </a:solidFill>
                <a:latin typeface="Arial" pitchFamily="34" charset="0"/>
              </a:defRPr>
            </a:lvl4pPr>
            <a:lvl5pPr marL="2057400" indent="-228600">
              <a:defRPr sz="1400">
                <a:solidFill>
                  <a:schemeClr val="tx1"/>
                </a:solidFill>
                <a:latin typeface="Arial" pitchFamily="34"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l">
              <a:buClr>
                <a:srgbClr val="B40646"/>
              </a:buClr>
              <a:defRPr/>
            </a:pPr>
            <a:r>
              <a:rPr lang="en-GB" sz="1200" dirty="0">
                <a:solidFill>
                  <a:schemeClr val="accent2"/>
                </a:solidFill>
                <a:latin typeface="+mn-lt"/>
              </a:rPr>
              <a:t>Steering group meeting</a:t>
            </a:r>
          </a:p>
        </p:txBody>
      </p:sp>
      <p:sp>
        <p:nvSpPr>
          <p:cNvPr id="17" name="Isosceles Triangle 16">
            <a:extLst>
              <a:ext uri="{FF2B5EF4-FFF2-40B4-BE49-F238E27FC236}">
                <a16:creationId xmlns:a16="http://schemas.microsoft.com/office/drawing/2014/main" id="{E6F16DFE-865B-40E2-8DF2-E2B2808650AB}"/>
              </a:ext>
            </a:extLst>
          </p:cNvPr>
          <p:cNvSpPr/>
          <p:nvPr/>
        </p:nvSpPr>
        <p:spPr bwMode="auto">
          <a:xfrm>
            <a:off x="11124667" y="3577936"/>
            <a:ext cx="317756"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18" name="Isosceles Triangle 17">
            <a:extLst>
              <a:ext uri="{FF2B5EF4-FFF2-40B4-BE49-F238E27FC236}">
                <a16:creationId xmlns:a16="http://schemas.microsoft.com/office/drawing/2014/main" id="{38D660CD-7BA5-4A9F-847C-F48062F3D4BB}"/>
              </a:ext>
            </a:extLst>
          </p:cNvPr>
          <p:cNvSpPr/>
          <p:nvPr/>
        </p:nvSpPr>
        <p:spPr bwMode="auto">
          <a:xfrm>
            <a:off x="6568006" y="3577936"/>
            <a:ext cx="317756"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19" name="Isosceles Triangle 18">
            <a:extLst>
              <a:ext uri="{FF2B5EF4-FFF2-40B4-BE49-F238E27FC236}">
                <a16:creationId xmlns:a16="http://schemas.microsoft.com/office/drawing/2014/main" id="{F26F6B28-B7C2-4E1E-8B22-16E7D6AAE2D3}"/>
              </a:ext>
            </a:extLst>
          </p:cNvPr>
          <p:cNvSpPr/>
          <p:nvPr/>
        </p:nvSpPr>
        <p:spPr bwMode="auto">
          <a:xfrm>
            <a:off x="8016915" y="3577936"/>
            <a:ext cx="317756"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20" name="Isosceles Triangle 19">
            <a:extLst>
              <a:ext uri="{FF2B5EF4-FFF2-40B4-BE49-F238E27FC236}">
                <a16:creationId xmlns:a16="http://schemas.microsoft.com/office/drawing/2014/main" id="{CA506E81-3150-42B8-B500-C2B5BEF0C6B1}"/>
              </a:ext>
            </a:extLst>
          </p:cNvPr>
          <p:cNvSpPr/>
          <p:nvPr/>
        </p:nvSpPr>
        <p:spPr bwMode="auto">
          <a:xfrm>
            <a:off x="4759710" y="2747433"/>
            <a:ext cx="317756"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defRPr/>
            </a:pPr>
            <a:endParaRPr lang="en-GB" dirty="0">
              <a:solidFill>
                <a:srgbClr val="000000"/>
              </a:solidFill>
              <a:latin typeface="+mn-lt"/>
            </a:endParaRPr>
          </a:p>
        </p:txBody>
      </p:sp>
      <p:sp>
        <p:nvSpPr>
          <p:cNvPr id="21" name="Isosceles Triangle 20">
            <a:extLst>
              <a:ext uri="{FF2B5EF4-FFF2-40B4-BE49-F238E27FC236}">
                <a16:creationId xmlns:a16="http://schemas.microsoft.com/office/drawing/2014/main" id="{D337B443-EEE2-4C1C-815A-BB722DD9DBC7}"/>
              </a:ext>
            </a:extLst>
          </p:cNvPr>
          <p:cNvSpPr/>
          <p:nvPr/>
        </p:nvSpPr>
        <p:spPr bwMode="auto">
          <a:xfrm>
            <a:off x="9675459" y="3577936"/>
            <a:ext cx="317756"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pPr>
            <a:endParaRPr lang="en-GB" dirty="0">
              <a:solidFill>
                <a:srgbClr val="000000"/>
              </a:solidFill>
              <a:latin typeface="+mn-lt"/>
            </a:endParaRPr>
          </a:p>
        </p:txBody>
      </p:sp>
      <p:sp>
        <p:nvSpPr>
          <p:cNvPr id="22" name="AutoShape 15">
            <a:extLst>
              <a:ext uri="{FF2B5EF4-FFF2-40B4-BE49-F238E27FC236}">
                <a16:creationId xmlns:a16="http://schemas.microsoft.com/office/drawing/2014/main" id="{93C5D95B-AE12-42FC-B2F1-D616E50F7246}"/>
              </a:ext>
            </a:extLst>
          </p:cNvPr>
          <p:cNvSpPr>
            <a:spLocks noChangeArrowheads="1"/>
          </p:cNvSpPr>
          <p:nvPr/>
        </p:nvSpPr>
        <p:spPr bwMode="auto">
          <a:xfrm>
            <a:off x="5263997" y="2785531"/>
            <a:ext cx="1574356" cy="673100"/>
          </a:xfrm>
          <a:prstGeom prst="homePlate">
            <a:avLst>
              <a:gd name="adj" fmla="val 45524"/>
            </a:avLst>
          </a:prstGeom>
          <a:solidFill>
            <a:schemeClr val="accent5"/>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Process design</a:t>
            </a:r>
            <a:endParaRPr lang="en-GB" sz="1200" b="1" dirty="0">
              <a:solidFill>
                <a:schemeClr val="bg1"/>
              </a:solidFill>
              <a:latin typeface="+mn-lt"/>
            </a:endParaRPr>
          </a:p>
        </p:txBody>
      </p:sp>
      <p:sp>
        <p:nvSpPr>
          <p:cNvPr id="23" name="AutoShape 15">
            <a:extLst>
              <a:ext uri="{FF2B5EF4-FFF2-40B4-BE49-F238E27FC236}">
                <a16:creationId xmlns:a16="http://schemas.microsoft.com/office/drawing/2014/main" id="{DC944E0F-2276-4907-BD3F-09F6D2C0F6C9}"/>
              </a:ext>
            </a:extLst>
          </p:cNvPr>
          <p:cNvSpPr>
            <a:spLocks noChangeArrowheads="1"/>
          </p:cNvSpPr>
          <p:nvPr/>
        </p:nvSpPr>
        <p:spPr bwMode="auto">
          <a:xfrm>
            <a:off x="6870868" y="2785531"/>
            <a:ext cx="3166203" cy="673100"/>
          </a:xfrm>
          <a:prstGeom prst="homePlate">
            <a:avLst>
              <a:gd name="adj" fmla="val 45524"/>
            </a:avLst>
          </a:prstGeom>
          <a:solidFill>
            <a:schemeClr val="accent5"/>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Implementation</a:t>
            </a:r>
            <a:endParaRPr lang="en-GB" sz="1200" b="1" dirty="0">
              <a:solidFill>
                <a:schemeClr val="bg1"/>
              </a:solidFill>
              <a:latin typeface="+mn-lt"/>
            </a:endParaRPr>
          </a:p>
        </p:txBody>
      </p:sp>
      <p:sp>
        <p:nvSpPr>
          <p:cNvPr id="24" name="AutoShape 15">
            <a:extLst>
              <a:ext uri="{FF2B5EF4-FFF2-40B4-BE49-F238E27FC236}">
                <a16:creationId xmlns:a16="http://schemas.microsoft.com/office/drawing/2014/main" id="{40D087F7-B7F3-4E1B-AE37-7774A95469CD}"/>
              </a:ext>
            </a:extLst>
          </p:cNvPr>
          <p:cNvSpPr>
            <a:spLocks noChangeArrowheads="1"/>
          </p:cNvSpPr>
          <p:nvPr/>
        </p:nvSpPr>
        <p:spPr bwMode="auto">
          <a:xfrm>
            <a:off x="10079115" y="2785531"/>
            <a:ext cx="1564038" cy="673100"/>
          </a:xfrm>
          <a:prstGeom prst="homePlate">
            <a:avLst>
              <a:gd name="adj" fmla="val 45524"/>
            </a:avLst>
          </a:prstGeom>
          <a:solidFill>
            <a:schemeClr val="accent5"/>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Sustain</a:t>
            </a:r>
            <a:endParaRPr lang="en-GB" sz="1200" b="1" dirty="0">
              <a:solidFill>
                <a:schemeClr val="bg1"/>
              </a:solidFill>
              <a:latin typeface="+mn-lt"/>
            </a:endParaRPr>
          </a:p>
        </p:txBody>
      </p:sp>
      <p:sp>
        <p:nvSpPr>
          <p:cNvPr id="25" name="AutoShape 15">
            <a:extLst>
              <a:ext uri="{FF2B5EF4-FFF2-40B4-BE49-F238E27FC236}">
                <a16:creationId xmlns:a16="http://schemas.microsoft.com/office/drawing/2014/main" id="{08CE4539-D633-4CC0-AAD4-B768D26670D7}"/>
              </a:ext>
            </a:extLst>
          </p:cNvPr>
          <p:cNvSpPr>
            <a:spLocks noChangeArrowheads="1"/>
          </p:cNvSpPr>
          <p:nvPr/>
        </p:nvSpPr>
        <p:spPr bwMode="auto">
          <a:xfrm>
            <a:off x="3864100" y="1995687"/>
            <a:ext cx="1377961" cy="673100"/>
          </a:xfrm>
          <a:prstGeom prst="homePlate">
            <a:avLst>
              <a:gd name="adj" fmla="val 45524"/>
            </a:avLst>
          </a:prstGeom>
          <a:solidFill>
            <a:schemeClr val="accent3"/>
          </a:solidFill>
          <a:ln w="12700">
            <a:noFill/>
            <a:miter lim="800000"/>
            <a:headEnd/>
            <a:tailEnd/>
          </a:ln>
        </p:spPr>
        <p:txBody>
          <a:bodyPr lIns="36000" tIns="0" rIns="36000" bIns="0" anchor="ctr"/>
          <a:lstStyle/>
          <a:p>
            <a:pPr>
              <a:buClr>
                <a:srgbClr val="B40646"/>
              </a:buClr>
              <a:defRPr/>
            </a:pPr>
            <a:endParaRPr lang="en-GB" b="1" dirty="0">
              <a:solidFill>
                <a:srgbClr val="FFFFFF"/>
              </a:solidFill>
              <a:latin typeface="+mn-lt"/>
            </a:endParaRPr>
          </a:p>
        </p:txBody>
      </p:sp>
      <p:sp>
        <p:nvSpPr>
          <p:cNvPr id="27" name="AutoShape 15">
            <a:extLst>
              <a:ext uri="{FF2B5EF4-FFF2-40B4-BE49-F238E27FC236}">
                <a16:creationId xmlns:a16="http://schemas.microsoft.com/office/drawing/2014/main" id="{CF3F9C54-2416-45FB-B385-E0BC22423D88}"/>
              </a:ext>
            </a:extLst>
          </p:cNvPr>
          <p:cNvSpPr>
            <a:spLocks noChangeArrowheads="1"/>
          </p:cNvSpPr>
          <p:nvPr/>
        </p:nvSpPr>
        <p:spPr bwMode="auto">
          <a:xfrm>
            <a:off x="3661706" y="1995687"/>
            <a:ext cx="1256882" cy="673100"/>
          </a:xfrm>
          <a:prstGeom prst="homePlate">
            <a:avLst>
              <a:gd name="adj" fmla="val 45524"/>
            </a:avLst>
          </a:prstGeom>
          <a:solidFill>
            <a:schemeClr val="accent5"/>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Scoping diagnostic</a:t>
            </a:r>
            <a:endParaRPr lang="en-GB" sz="1200" b="1" dirty="0">
              <a:solidFill>
                <a:schemeClr val="bg1"/>
              </a:solidFill>
              <a:latin typeface="+mn-lt"/>
            </a:endParaRPr>
          </a:p>
        </p:txBody>
      </p:sp>
      <p:cxnSp>
        <p:nvCxnSpPr>
          <p:cNvPr id="35" name="Straight Arrow Connector 34">
            <a:extLst>
              <a:ext uri="{FF2B5EF4-FFF2-40B4-BE49-F238E27FC236}">
                <a16:creationId xmlns:a16="http://schemas.microsoft.com/office/drawing/2014/main" id="{F9364FA9-BB54-41BA-A349-EACB97A2B88E}"/>
              </a:ext>
            </a:extLst>
          </p:cNvPr>
          <p:cNvCxnSpPr>
            <a:cxnSpLocks/>
          </p:cNvCxnSpPr>
          <p:nvPr/>
        </p:nvCxnSpPr>
        <p:spPr bwMode="auto">
          <a:xfrm flipH="1">
            <a:off x="5193564" y="2089020"/>
            <a:ext cx="576382" cy="157327"/>
          </a:xfrm>
          <a:prstGeom prst="straightConnector1">
            <a:avLst/>
          </a:prstGeom>
          <a:noFill/>
          <a:ln w="19050" cap="flat" cmpd="sng" algn="ctr">
            <a:solidFill>
              <a:srgbClr val="87737B"/>
            </a:solidFill>
            <a:prstDash val="solid"/>
            <a:round/>
            <a:headEnd type="none" w="med" len="med"/>
            <a:tailEnd type="arrow"/>
          </a:ln>
          <a:effectLst/>
        </p:spPr>
      </p:cxnSp>
      <p:sp>
        <p:nvSpPr>
          <p:cNvPr id="39" name="Text Box 83">
            <a:extLst>
              <a:ext uri="{FF2B5EF4-FFF2-40B4-BE49-F238E27FC236}">
                <a16:creationId xmlns:a16="http://schemas.microsoft.com/office/drawing/2014/main" id="{124D2607-3BE5-47DB-A9D0-B0EC9D65C072}"/>
              </a:ext>
            </a:extLst>
          </p:cNvPr>
          <p:cNvSpPr txBox="1">
            <a:spLocks noChangeArrowheads="1"/>
          </p:cNvSpPr>
          <p:nvPr/>
        </p:nvSpPr>
        <p:spPr bwMode="auto">
          <a:xfrm>
            <a:off x="5864612" y="1829616"/>
            <a:ext cx="1946256" cy="759182"/>
          </a:xfrm>
          <a:prstGeom prst="rect">
            <a:avLst/>
          </a:prstGeom>
          <a:noFill/>
          <a:ln>
            <a:noFill/>
          </a:ln>
          <a:effectLst/>
        </p:spPr>
        <p:txBody>
          <a:bodyPr wrap="square" lIns="0" tIns="0" rIns="0" bIns="0" anchor="ctr">
            <a:spAutoFit/>
          </a:bodyPr>
          <a:lstStyle>
            <a:lvl1pPr>
              <a:defRPr sz="1400">
                <a:solidFill>
                  <a:schemeClr val="tx1"/>
                </a:solidFill>
                <a:latin typeface="Arial" pitchFamily="34" charset="0"/>
              </a:defRPr>
            </a:lvl1pPr>
            <a:lvl2pPr marL="742950" indent="-285750">
              <a:defRPr sz="1400">
                <a:solidFill>
                  <a:schemeClr val="tx1"/>
                </a:solidFill>
                <a:latin typeface="Arial" pitchFamily="34" charset="0"/>
              </a:defRPr>
            </a:lvl2pPr>
            <a:lvl3pPr marL="1143000" indent="-228600">
              <a:defRPr sz="1400">
                <a:solidFill>
                  <a:schemeClr val="tx1"/>
                </a:solidFill>
                <a:latin typeface="Arial" pitchFamily="34" charset="0"/>
              </a:defRPr>
            </a:lvl3pPr>
            <a:lvl4pPr marL="1600200" indent="-228600">
              <a:defRPr sz="1400">
                <a:solidFill>
                  <a:schemeClr val="tx1"/>
                </a:solidFill>
                <a:latin typeface="Arial" pitchFamily="34" charset="0"/>
              </a:defRPr>
            </a:lvl4pPr>
            <a:lvl5pPr marL="2057400" indent="-228600">
              <a:defRPr sz="1400">
                <a:solidFill>
                  <a:schemeClr val="tx1"/>
                </a:solidFill>
                <a:latin typeface="Arial" pitchFamily="34"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pitchFamily="34" charset="0"/>
              </a:defRPr>
            </a:lvl9pPr>
          </a:lstStyle>
          <a:p>
            <a:pPr algn="l">
              <a:spcBef>
                <a:spcPts val="400"/>
              </a:spcBef>
              <a:spcAft>
                <a:spcPts val="400"/>
              </a:spcAft>
              <a:buClr>
                <a:prstClr val="white">
                  <a:lumMod val="65000"/>
                </a:prstClr>
              </a:buClr>
              <a:defRPr/>
            </a:pPr>
            <a:r>
              <a:rPr lang="en-GB" sz="1200">
                <a:solidFill>
                  <a:schemeClr val="accent2"/>
                </a:solidFill>
                <a:latin typeface="+mn-lt"/>
              </a:rPr>
              <a:t>‘Go/no go’</a:t>
            </a:r>
          </a:p>
          <a:p>
            <a:pPr algn="l">
              <a:spcBef>
                <a:spcPts val="400"/>
              </a:spcBef>
              <a:spcAft>
                <a:spcPts val="400"/>
              </a:spcAft>
              <a:buClr>
                <a:prstClr val="white">
                  <a:lumMod val="65000"/>
                </a:prstClr>
              </a:buClr>
              <a:defRPr/>
            </a:pPr>
            <a:r>
              <a:rPr lang="en-GB" sz="1200">
                <a:solidFill>
                  <a:schemeClr val="accent2"/>
                </a:solidFill>
                <a:latin typeface="+mn-lt"/>
              </a:rPr>
              <a:t>Agreement on design scope</a:t>
            </a:r>
          </a:p>
          <a:p>
            <a:pPr algn="l">
              <a:spcBef>
                <a:spcPts val="400"/>
              </a:spcBef>
              <a:spcAft>
                <a:spcPts val="400"/>
              </a:spcAft>
              <a:buClr>
                <a:prstClr val="white">
                  <a:lumMod val="65000"/>
                </a:prstClr>
              </a:buClr>
              <a:defRPr/>
            </a:pPr>
            <a:r>
              <a:rPr lang="en-GB" sz="1200">
                <a:solidFill>
                  <a:schemeClr val="accent2"/>
                </a:solidFill>
                <a:latin typeface="+mn-lt"/>
              </a:rPr>
              <a:t>Mobilisation and positioning</a:t>
            </a:r>
            <a:endParaRPr lang="en-GB" sz="1200" dirty="0">
              <a:solidFill>
                <a:schemeClr val="accent2"/>
              </a:solidFill>
              <a:latin typeface="+mn-lt"/>
            </a:endParaRPr>
          </a:p>
        </p:txBody>
      </p:sp>
    </p:spTree>
    <p:extLst>
      <p:ext uri="{BB962C8B-B14F-4D97-AF65-F5344CB8AC3E}">
        <p14:creationId xmlns:p14="http://schemas.microsoft.com/office/powerpoint/2010/main" val="5420303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1AB87718-BAE9-4940-8ACA-E2A42161F7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6" progId="TCLayout.ActiveDocument.1">
                  <p:embed/>
                </p:oleObj>
              </mc:Choice>
              <mc:Fallback>
                <p:oleObj name="Diapositive think-cell" r:id="rId5" imgW="473" imgH="476" progId="TCLayout.ActiveDocument.1">
                  <p:embed/>
                  <p:pic>
                    <p:nvPicPr>
                      <p:cNvPr id="2" name="Objet 1" hidden="1">
                        <a:extLst>
                          <a:ext uri="{FF2B5EF4-FFF2-40B4-BE49-F238E27FC236}">
                            <a16:creationId xmlns:a16="http://schemas.microsoft.com/office/drawing/2014/main" id="{1AB87718-BAE9-4940-8ACA-E2A42161F7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24603B-982B-4274-B5BF-4B52087B2DB5}"/>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5" name="Table 14">
            <a:extLst>
              <a:ext uri="{FF2B5EF4-FFF2-40B4-BE49-F238E27FC236}">
                <a16:creationId xmlns:a16="http://schemas.microsoft.com/office/drawing/2014/main" id="{3643F592-578A-470D-ABF5-DAAA13B53037}"/>
              </a:ext>
            </a:extLst>
          </p:cNvPr>
          <p:cNvGraphicFramePr>
            <a:graphicFrameLocks noGrp="1"/>
          </p:cNvGraphicFramePr>
          <p:nvPr>
            <p:extLst>
              <p:ext uri="{D42A27DB-BD31-4B8C-83A1-F6EECF244321}">
                <p14:modId xmlns:p14="http://schemas.microsoft.com/office/powerpoint/2010/main" val="1324158979"/>
              </p:ext>
            </p:extLst>
          </p:nvPr>
        </p:nvGraphicFramePr>
        <p:xfrm>
          <a:off x="548847" y="1273484"/>
          <a:ext cx="11033550" cy="1616176"/>
        </p:xfrm>
        <a:graphic>
          <a:graphicData uri="http://schemas.openxmlformats.org/drawingml/2006/table">
            <a:tbl>
              <a:tblPr firstRow="1" bandRow="1">
                <a:tableStyleId>{5C22544A-7EE6-4342-B048-85BDC9FD1C3A}</a:tableStyleId>
              </a:tblPr>
              <a:tblGrid>
                <a:gridCol w="1103355">
                  <a:extLst>
                    <a:ext uri="{9D8B030D-6E8A-4147-A177-3AD203B41FA5}">
                      <a16:colId xmlns:a16="http://schemas.microsoft.com/office/drawing/2014/main" val="20000"/>
                    </a:ext>
                  </a:extLst>
                </a:gridCol>
                <a:gridCol w="1103355">
                  <a:extLst>
                    <a:ext uri="{9D8B030D-6E8A-4147-A177-3AD203B41FA5}">
                      <a16:colId xmlns:a16="http://schemas.microsoft.com/office/drawing/2014/main" val="20001"/>
                    </a:ext>
                  </a:extLst>
                </a:gridCol>
                <a:gridCol w="1103355">
                  <a:extLst>
                    <a:ext uri="{9D8B030D-6E8A-4147-A177-3AD203B41FA5}">
                      <a16:colId xmlns:a16="http://schemas.microsoft.com/office/drawing/2014/main" val="20002"/>
                    </a:ext>
                  </a:extLst>
                </a:gridCol>
                <a:gridCol w="1103355">
                  <a:extLst>
                    <a:ext uri="{9D8B030D-6E8A-4147-A177-3AD203B41FA5}">
                      <a16:colId xmlns:a16="http://schemas.microsoft.com/office/drawing/2014/main" val="20003"/>
                    </a:ext>
                  </a:extLst>
                </a:gridCol>
                <a:gridCol w="1103355">
                  <a:extLst>
                    <a:ext uri="{9D8B030D-6E8A-4147-A177-3AD203B41FA5}">
                      <a16:colId xmlns:a16="http://schemas.microsoft.com/office/drawing/2014/main" val="20004"/>
                    </a:ext>
                  </a:extLst>
                </a:gridCol>
                <a:gridCol w="1103355">
                  <a:extLst>
                    <a:ext uri="{9D8B030D-6E8A-4147-A177-3AD203B41FA5}">
                      <a16:colId xmlns:a16="http://schemas.microsoft.com/office/drawing/2014/main" val="20005"/>
                    </a:ext>
                  </a:extLst>
                </a:gridCol>
                <a:gridCol w="1103355">
                  <a:extLst>
                    <a:ext uri="{9D8B030D-6E8A-4147-A177-3AD203B41FA5}">
                      <a16:colId xmlns:a16="http://schemas.microsoft.com/office/drawing/2014/main" val="20006"/>
                    </a:ext>
                  </a:extLst>
                </a:gridCol>
                <a:gridCol w="1103355">
                  <a:extLst>
                    <a:ext uri="{9D8B030D-6E8A-4147-A177-3AD203B41FA5}">
                      <a16:colId xmlns:a16="http://schemas.microsoft.com/office/drawing/2014/main" val="20007"/>
                    </a:ext>
                  </a:extLst>
                </a:gridCol>
                <a:gridCol w="1103355">
                  <a:extLst>
                    <a:ext uri="{9D8B030D-6E8A-4147-A177-3AD203B41FA5}">
                      <a16:colId xmlns:a16="http://schemas.microsoft.com/office/drawing/2014/main" val="20008"/>
                    </a:ext>
                  </a:extLst>
                </a:gridCol>
                <a:gridCol w="1103355">
                  <a:extLst>
                    <a:ext uri="{9D8B030D-6E8A-4147-A177-3AD203B41FA5}">
                      <a16:colId xmlns:a16="http://schemas.microsoft.com/office/drawing/2014/main" val="20009"/>
                    </a:ext>
                  </a:extLst>
                </a:gridCol>
              </a:tblGrid>
              <a:tr h="509596">
                <a:tc>
                  <a:txBody>
                    <a:bodyPr/>
                    <a:lstStyle/>
                    <a:p>
                      <a:pPr algn="ctr"/>
                      <a:r>
                        <a:rPr lang="en-GB" sz="1200">
                          <a:solidFill>
                            <a:schemeClr val="bg1"/>
                          </a:solidFill>
                          <a:latin typeface="+mn-lt"/>
                        </a:rPr>
                        <a:t>M1</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2</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3</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4</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5</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6</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7</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8</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9</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a:solidFill>
                            <a:schemeClr val="bg1"/>
                          </a:solidFill>
                          <a:latin typeface="+mn-lt"/>
                        </a:rPr>
                        <a:t>M10+</a:t>
                      </a:r>
                      <a:endParaRPr lang="en-GB" sz="1200" dirty="0">
                        <a:solidFill>
                          <a:schemeClr val="bg1"/>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106580">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en-GB" dirty="0">
                        <a:solidFill>
                          <a:srgbClr val="000000"/>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1"/>
                  </a:ext>
                </a:extLst>
              </a:tr>
            </a:tbl>
          </a:graphicData>
        </a:graphic>
      </p:graphicFrame>
      <p:sp>
        <p:nvSpPr>
          <p:cNvPr id="12290" name="Title 1"/>
          <p:cNvSpPr>
            <a:spLocks noGrp="1"/>
          </p:cNvSpPr>
          <p:nvPr>
            <p:ph type="title"/>
          </p:nvPr>
        </p:nvSpPr>
        <p:spPr/>
        <p:txBody>
          <a:bodyPr/>
          <a:lstStyle/>
          <a:p>
            <a:r>
              <a:rPr lang="en-GB" altLang="en-US"/>
              <a:t>Project timeline – detailed description</a:t>
            </a:r>
            <a:endParaRPr lang="en-GB" altLang="en-US" dirty="0"/>
          </a:p>
        </p:txBody>
      </p:sp>
      <p:sp>
        <p:nvSpPr>
          <p:cNvPr id="22" name="AutoShape 15">
            <a:extLst>
              <a:ext uri="{FF2B5EF4-FFF2-40B4-BE49-F238E27FC236}">
                <a16:creationId xmlns:a16="http://schemas.microsoft.com/office/drawing/2014/main" id="{93C5D95B-AE12-42FC-B2F1-D616E50F7246}"/>
              </a:ext>
            </a:extLst>
          </p:cNvPr>
          <p:cNvSpPr>
            <a:spLocks noChangeArrowheads="1"/>
          </p:cNvSpPr>
          <p:nvPr/>
        </p:nvSpPr>
        <p:spPr bwMode="auto">
          <a:xfrm>
            <a:off x="2768766" y="1964661"/>
            <a:ext cx="3260828" cy="673100"/>
          </a:xfrm>
          <a:prstGeom prst="homePlate">
            <a:avLst>
              <a:gd name="adj" fmla="val 45524"/>
            </a:avLst>
          </a:prstGeom>
          <a:solidFill>
            <a:schemeClr val="accent5"/>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Phase 2</a:t>
            </a:r>
            <a:endParaRPr lang="en-GB" sz="1200" b="1" dirty="0">
              <a:solidFill>
                <a:schemeClr val="bg1"/>
              </a:solidFill>
              <a:latin typeface="+mn-lt"/>
            </a:endParaRPr>
          </a:p>
        </p:txBody>
      </p:sp>
      <p:sp>
        <p:nvSpPr>
          <p:cNvPr id="23" name="AutoShape 15">
            <a:extLst>
              <a:ext uri="{FF2B5EF4-FFF2-40B4-BE49-F238E27FC236}">
                <a16:creationId xmlns:a16="http://schemas.microsoft.com/office/drawing/2014/main" id="{DC944E0F-2276-4907-BD3F-09F6D2C0F6C9}"/>
              </a:ext>
            </a:extLst>
          </p:cNvPr>
          <p:cNvSpPr>
            <a:spLocks noChangeArrowheads="1"/>
          </p:cNvSpPr>
          <p:nvPr/>
        </p:nvSpPr>
        <p:spPr bwMode="auto">
          <a:xfrm>
            <a:off x="6096000" y="1964661"/>
            <a:ext cx="3260831" cy="673100"/>
          </a:xfrm>
          <a:prstGeom prst="homePlate">
            <a:avLst>
              <a:gd name="adj" fmla="val 45524"/>
            </a:avLst>
          </a:prstGeom>
          <a:solidFill>
            <a:schemeClr val="accent2"/>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Phase 3</a:t>
            </a:r>
            <a:endParaRPr lang="en-GB" sz="1200" b="1" dirty="0">
              <a:solidFill>
                <a:schemeClr val="bg1"/>
              </a:solidFill>
              <a:latin typeface="+mn-lt"/>
            </a:endParaRPr>
          </a:p>
        </p:txBody>
      </p:sp>
      <p:sp>
        <p:nvSpPr>
          <p:cNvPr id="24" name="AutoShape 15">
            <a:extLst>
              <a:ext uri="{FF2B5EF4-FFF2-40B4-BE49-F238E27FC236}">
                <a16:creationId xmlns:a16="http://schemas.microsoft.com/office/drawing/2014/main" id="{40D087F7-B7F3-4E1B-AE37-7774A95469CD}"/>
              </a:ext>
            </a:extLst>
          </p:cNvPr>
          <p:cNvSpPr>
            <a:spLocks noChangeArrowheads="1"/>
          </p:cNvSpPr>
          <p:nvPr/>
        </p:nvSpPr>
        <p:spPr bwMode="auto">
          <a:xfrm>
            <a:off x="9388172" y="1964661"/>
            <a:ext cx="2162891" cy="673100"/>
          </a:xfrm>
          <a:prstGeom prst="homePlate">
            <a:avLst>
              <a:gd name="adj" fmla="val 45524"/>
            </a:avLst>
          </a:prstGeom>
          <a:solidFill>
            <a:schemeClr val="accent2"/>
          </a:solidFill>
          <a:ln w="12700">
            <a:noFill/>
            <a:miter lim="800000"/>
            <a:headEnd/>
            <a:tailEnd/>
          </a:ln>
        </p:spPr>
        <p:txBody>
          <a:bodyPr lIns="72000" tIns="72000" rIns="72000" bIns="72000" anchor="ctr"/>
          <a:lstStyle/>
          <a:p>
            <a:pPr algn="l">
              <a:buClr>
                <a:srgbClr val="B40646"/>
              </a:buClr>
            </a:pPr>
            <a:r>
              <a:rPr lang="en-GB" sz="1200" b="1">
                <a:solidFill>
                  <a:schemeClr val="bg1"/>
                </a:solidFill>
                <a:latin typeface="+mn-lt"/>
              </a:rPr>
              <a:t>Phase 4</a:t>
            </a:r>
            <a:endParaRPr lang="en-GB" sz="1200" b="1" dirty="0">
              <a:solidFill>
                <a:schemeClr val="bg1"/>
              </a:solidFill>
              <a:latin typeface="+mn-lt"/>
            </a:endParaRPr>
          </a:p>
        </p:txBody>
      </p:sp>
      <p:sp>
        <p:nvSpPr>
          <p:cNvPr id="39" name="AutoShape 15">
            <a:extLst>
              <a:ext uri="{FF2B5EF4-FFF2-40B4-BE49-F238E27FC236}">
                <a16:creationId xmlns:a16="http://schemas.microsoft.com/office/drawing/2014/main" id="{545DF1B8-A4E3-4C55-81E4-3756E9E7664C}"/>
              </a:ext>
            </a:extLst>
          </p:cNvPr>
          <p:cNvSpPr>
            <a:spLocks noChangeArrowheads="1"/>
          </p:cNvSpPr>
          <p:nvPr/>
        </p:nvSpPr>
        <p:spPr bwMode="auto">
          <a:xfrm>
            <a:off x="882073" y="1964661"/>
            <a:ext cx="1863781" cy="673100"/>
          </a:xfrm>
          <a:prstGeom prst="homePlate">
            <a:avLst>
              <a:gd name="adj" fmla="val 45524"/>
            </a:avLst>
          </a:prstGeom>
          <a:solidFill>
            <a:schemeClr val="accent3"/>
          </a:solidFill>
          <a:ln w="12700">
            <a:noFill/>
            <a:miter lim="800000"/>
            <a:headEnd/>
            <a:tailEnd/>
          </a:ln>
        </p:spPr>
        <p:txBody>
          <a:bodyPr lIns="72000" tIns="72000" rIns="72000" bIns="72000" anchor="ctr"/>
          <a:lstStyle/>
          <a:p>
            <a:pPr algn="l">
              <a:buClr>
                <a:srgbClr val="B40646"/>
              </a:buClr>
              <a:defRPr/>
            </a:pPr>
            <a:endParaRPr lang="en-GB" sz="1200" b="1" dirty="0">
              <a:solidFill>
                <a:srgbClr val="FFFFFF"/>
              </a:solidFill>
              <a:latin typeface="+mn-lt"/>
            </a:endParaRPr>
          </a:p>
        </p:txBody>
      </p:sp>
      <p:sp>
        <p:nvSpPr>
          <p:cNvPr id="27" name="AutoShape 15">
            <a:extLst>
              <a:ext uri="{FF2B5EF4-FFF2-40B4-BE49-F238E27FC236}">
                <a16:creationId xmlns:a16="http://schemas.microsoft.com/office/drawing/2014/main" id="{CF3F9C54-2416-45FB-B385-E0BC22423D88}"/>
              </a:ext>
            </a:extLst>
          </p:cNvPr>
          <p:cNvSpPr>
            <a:spLocks noChangeArrowheads="1"/>
          </p:cNvSpPr>
          <p:nvPr/>
        </p:nvSpPr>
        <p:spPr bwMode="auto">
          <a:xfrm>
            <a:off x="560812" y="1964661"/>
            <a:ext cx="1863781" cy="673100"/>
          </a:xfrm>
          <a:prstGeom prst="homePlate">
            <a:avLst>
              <a:gd name="adj" fmla="val 45524"/>
            </a:avLst>
          </a:prstGeom>
          <a:solidFill>
            <a:schemeClr val="accent2"/>
          </a:solidFill>
          <a:ln w="12700">
            <a:noFill/>
            <a:miter lim="800000"/>
            <a:headEnd/>
            <a:tailEnd/>
          </a:ln>
        </p:spPr>
        <p:txBody>
          <a:bodyPr lIns="72000" tIns="72000" rIns="72000" bIns="72000" anchor="ctr"/>
          <a:lstStyle/>
          <a:p>
            <a:pPr algn="l">
              <a:buClr>
                <a:srgbClr val="B40646"/>
              </a:buClr>
              <a:defRPr/>
            </a:pPr>
            <a:r>
              <a:rPr lang="en-GB" sz="1200" b="1">
                <a:solidFill>
                  <a:schemeClr val="bg1"/>
                </a:solidFill>
                <a:latin typeface="+mn-lt"/>
              </a:rPr>
              <a:t>Phase 1</a:t>
            </a:r>
            <a:endParaRPr lang="en-GB" sz="1200" b="1" dirty="0">
              <a:solidFill>
                <a:schemeClr val="bg1"/>
              </a:solidFill>
              <a:latin typeface="+mn-lt"/>
            </a:endParaRPr>
          </a:p>
        </p:txBody>
      </p:sp>
      <p:graphicFrame>
        <p:nvGraphicFramePr>
          <p:cNvPr id="63" name="Table 62">
            <a:extLst>
              <a:ext uri="{FF2B5EF4-FFF2-40B4-BE49-F238E27FC236}">
                <a16:creationId xmlns:a16="http://schemas.microsoft.com/office/drawing/2014/main" id="{7BE7333C-B084-4920-BAF3-CFD22988AE0C}"/>
              </a:ext>
            </a:extLst>
          </p:cNvPr>
          <p:cNvGraphicFramePr>
            <a:graphicFrameLocks noGrp="1"/>
          </p:cNvGraphicFramePr>
          <p:nvPr>
            <p:extLst>
              <p:ext uri="{D42A27DB-BD31-4B8C-83A1-F6EECF244321}">
                <p14:modId xmlns:p14="http://schemas.microsoft.com/office/powerpoint/2010/main" val="1206900505"/>
              </p:ext>
            </p:extLst>
          </p:nvPr>
        </p:nvGraphicFramePr>
        <p:xfrm>
          <a:off x="7078111" y="3013078"/>
          <a:ext cx="4504286" cy="3174348"/>
        </p:xfrm>
        <a:graphic>
          <a:graphicData uri="http://schemas.openxmlformats.org/drawingml/2006/table">
            <a:tbl>
              <a:tblPr>
                <a:tableStyleId>{5C22544A-7EE6-4342-B048-85BDC9FD1C3A}</a:tableStyleId>
              </a:tblPr>
              <a:tblGrid>
                <a:gridCol w="963920">
                  <a:extLst>
                    <a:ext uri="{9D8B030D-6E8A-4147-A177-3AD203B41FA5}">
                      <a16:colId xmlns:a16="http://schemas.microsoft.com/office/drawing/2014/main" val="20000"/>
                    </a:ext>
                  </a:extLst>
                </a:gridCol>
                <a:gridCol w="3540366">
                  <a:extLst>
                    <a:ext uri="{9D8B030D-6E8A-4147-A177-3AD203B41FA5}">
                      <a16:colId xmlns:a16="http://schemas.microsoft.com/office/drawing/2014/main" val="20001"/>
                    </a:ext>
                  </a:extLst>
                </a:gridCol>
              </a:tblGrid>
              <a:tr h="281107">
                <a:tc gridSpan="2">
                  <a:txBody>
                    <a:bodyPr/>
                    <a:lstStyle/>
                    <a:p>
                      <a:pPr algn="ctr" fontAlgn="b"/>
                      <a:r>
                        <a:rPr lang="en-GB" sz="1200" b="1" i="0" u="none" strike="noStrike" dirty="0">
                          <a:solidFill>
                            <a:srgbClr val="87737B"/>
                          </a:solidFill>
                          <a:effectLst/>
                          <a:latin typeface="+mn-lt"/>
                        </a:rPr>
                        <a:t>Key roles</a:t>
                      </a:r>
                    </a:p>
                  </a:txBody>
                  <a:tcPr marL="35995" marR="35995"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GB" sz="1400" b="1" i="0" u="none" strike="noStrike">
                        <a:solidFill>
                          <a:schemeClr val="tx1"/>
                        </a:solidFill>
                        <a:effectLst/>
                        <a:latin typeface="Calibri"/>
                      </a:endParaRPr>
                    </a:p>
                  </a:txBody>
                  <a:tcPr marL="9523" marR="9523" marT="95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900997">
                <a:tc>
                  <a:txBody>
                    <a:bodyPr/>
                    <a:lstStyle/>
                    <a:p>
                      <a:pPr algn="l" fontAlgn="b"/>
                      <a:r>
                        <a:rPr lang="en-GB" sz="1200" b="1" u="none" strike="noStrike">
                          <a:solidFill>
                            <a:schemeClr val="bg1"/>
                          </a:solidFill>
                          <a:effectLst/>
                          <a:latin typeface="+mn-lt"/>
                        </a:rPr>
                        <a:t>Steering</a:t>
                      </a:r>
                      <a:br>
                        <a:rPr lang="en-GB" sz="1200" b="1" u="none" strike="noStrike">
                          <a:solidFill>
                            <a:schemeClr val="bg1"/>
                          </a:solidFill>
                          <a:effectLst/>
                          <a:latin typeface="+mn-lt"/>
                        </a:rPr>
                      </a:br>
                      <a:r>
                        <a:rPr lang="en-GB" sz="1200" b="1" u="none" strike="noStrike">
                          <a:solidFill>
                            <a:schemeClr val="bg1"/>
                          </a:solidFill>
                          <a:effectLst/>
                          <a:latin typeface="+mn-lt"/>
                        </a:rPr>
                        <a:t>Group</a:t>
                      </a:r>
                      <a:endParaRPr lang="en-GB" sz="1200" b="1" i="0" u="none" strike="noStrike" dirty="0">
                        <a:solidFill>
                          <a:schemeClr val="bg1"/>
                        </a:solidFill>
                        <a:effectLst/>
                        <a:latin typeface="+mn-lt"/>
                      </a:endParaRP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Approve system provider</a:t>
                      </a:r>
                    </a:p>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Go/no-go on cycle1-3</a:t>
                      </a:r>
                    </a:p>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Sign-off process desig</a:t>
                      </a:r>
                      <a:r>
                        <a:rPr lang="en-GB" sz="1200" u="none" strike="noStrike">
                          <a:solidFill>
                            <a:schemeClr val="tx1"/>
                          </a:solidFill>
                          <a:effectLst/>
                          <a:latin typeface="+mn-lt"/>
                        </a:rPr>
                        <a:t>n</a:t>
                      </a:r>
                      <a:endParaRPr lang="en-GB" sz="1200" u="none" strike="noStrike" dirty="0">
                        <a:solidFill>
                          <a:schemeClr val="tx1"/>
                        </a:solidFill>
                        <a:effectLst/>
                        <a:latin typeface="+mn-lt"/>
                      </a:endParaRPr>
                    </a:p>
                  </a:txBody>
                  <a:tcPr marL="35995" marR="35995"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143059">
                <a:tc>
                  <a:txBody>
                    <a:bodyPr/>
                    <a:lstStyle/>
                    <a:p>
                      <a:pPr algn="l" fontAlgn="b"/>
                      <a:r>
                        <a:rPr lang="en-GB" sz="1200" b="1" u="none" strike="noStrike">
                          <a:solidFill>
                            <a:schemeClr val="bg1"/>
                          </a:solidFill>
                          <a:effectLst/>
                          <a:latin typeface="+mn-lt"/>
                        </a:rPr>
                        <a:t>Project </a:t>
                      </a:r>
                      <a:br>
                        <a:rPr lang="en-GB" sz="1200" b="1" u="none" strike="noStrike">
                          <a:solidFill>
                            <a:schemeClr val="bg1"/>
                          </a:solidFill>
                          <a:effectLst/>
                          <a:latin typeface="+mn-lt"/>
                        </a:rPr>
                      </a:br>
                      <a:r>
                        <a:rPr lang="en-GB" sz="1200" b="1" u="none" strike="noStrike">
                          <a:solidFill>
                            <a:schemeClr val="bg1"/>
                          </a:solidFill>
                          <a:effectLst/>
                          <a:latin typeface="+mn-lt"/>
                        </a:rPr>
                        <a:t>Team</a:t>
                      </a:r>
                      <a:endParaRPr lang="en-GB" sz="1200" b="1" i="0" u="none" strike="noStrike" dirty="0">
                        <a:solidFill>
                          <a:schemeClr val="bg1"/>
                        </a:solidFill>
                        <a:effectLst/>
                        <a:latin typeface="+mn-lt"/>
                      </a:endParaRP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Agree communication </a:t>
                      </a:r>
                      <a:br>
                        <a:rPr lang="en-GB" sz="1200" kern="1200">
                          <a:solidFill>
                            <a:schemeClr val="tx1"/>
                          </a:solidFill>
                          <a:latin typeface="+mn-lt"/>
                          <a:ea typeface="+mn-ea"/>
                          <a:cs typeface="+mn-cs"/>
                        </a:rPr>
                      </a:br>
                      <a:r>
                        <a:rPr lang="en-GB" sz="1200" kern="1200">
                          <a:solidFill>
                            <a:schemeClr val="tx1"/>
                          </a:solidFill>
                          <a:latin typeface="+mn-lt"/>
                          <a:ea typeface="+mn-ea"/>
                          <a:cs typeface="+mn-cs"/>
                        </a:rPr>
                        <a:t>and stakeholder plan</a:t>
                      </a:r>
                    </a:p>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Define system specification and RFP for forecasting system</a:t>
                      </a:r>
                    </a:p>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Define product families</a:t>
                      </a:r>
                      <a:endParaRPr lang="en-GB" sz="1200" kern="1200" dirty="0">
                        <a:solidFill>
                          <a:schemeClr val="tx1"/>
                        </a:solidFill>
                        <a:latin typeface="+mn-lt"/>
                        <a:ea typeface="+mn-ea"/>
                        <a:cs typeface="+mn-cs"/>
                      </a:endParaRPr>
                    </a:p>
                  </a:txBody>
                  <a:tcPr marL="35995" marR="35995"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802644">
                <a:tc>
                  <a:txBody>
                    <a:bodyPr/>
                    <a:lstStyle/>
                    <a:p>
                      <a:pPr algn="l" fontAlgn="b"/>
                      <a:r>
                        <a:rPr lang="en-GB" sz="1200" b="1" u="none" strike="noStrike">
                          <a:solidFill>
                            <a:schemeClr val="bg1"/>
                          </a:solidFill>
                          <a:effectLst/>
                          <a:latin typeface="+mn-lt"/>
                        </a:rPr>
                        <a:t>Design </a:t>
                      </a:r>
                      <a:br>
                        <a:rPr lang="en-GB" sz="1200" b="1" u="none" strike="noStrike">
                          <a:solidFill>
                            <a:schemeClr val="bg1"/>
                          </a:solidFill>
                          <a:effectLst/>
                          <a:latin typeface="+mn-lt"/>
                        </a:rPr>
                      </a:br>
                      <a:r>
                        <a:rPr lang="en-GB" sz="1200" b="1" u="none" strike="noStrike">
                          <a:solidFill>
                            <a:schemeClr val="bg1"/>
                          </a:solidFill>
                          <a:effectLst/>
                          <a:latin typeface="+mn-lt"/>
                        </a:rPr>
                        <a:t>Reference Group</a:t>
                      </a:r>
                      <a:endParaRPr lang="en-GB" sz="1200" b="1" i="0" u="none" strike="noStrike" dirty="0">
                        <a:solidFill>
                          <a:schemeClr val="bg1"/>
                        </a:solidFill>
                        <a:effectLst/>
                        <a:latin typeface="+mn-lt"/>
                      </a:endParaRP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9388" marR="0" indent="-179388" algn="l" defTabSz="914400" rtl="0" eaLnBrk="0" fontAlgn="base" latinLnBrk="0" hangingPunct="0">
                        <a:lnSpc>
                          <a:spcPct val="100000"/>
                        </a:lnSpc>
                        <a:spcBef>
                          <a:spcPts val="840"/>
                        </a:spcBef>
                        <a:spcAft>
                          <a:spcPts val="0"/>
                        </a:spcAft>
                        <a:buClr>
                          <a:schemeClr val="accent3"/>
                        </a:buClr>
                        <a:buSzPct val="77000"/>
                        <a:buFont typeface="Wingdings 3" panose="05040102010807070707" pitchFamily="18" charset="2"/>
                        <a:buChar char=""/>
                        <a:tabLst/>
                        <a:defRPr/>
                      </a:pPr>
                      <a:r>
                        <a:rPr lang="en-GB" sz="1200" kern="1200">
                          <a:solidFill>
                            <a:schemeClr val="tx1"/>
                          </a:solidFill>
                          <a:latin typeface="+mn-lt"/>
                          <a:ea typeface="+mn-ea"/>
                          <a:cs typeface="+mn-cs"/>
                        </a:rPr>
                        <a:t>Sign-off S&amp;OP process design</a:t>
                      </a:r>
                      <a:endParaRPr lang="en-GB" sz="1200" kern="1200" dirty="0">
                        <a:solidFill>
                          <a:schemeClr val="tx1"/>
                        </a:solidFill>
                        <a:latin typeface="+mn-lt"/>
                        <a:ea typeface="+mn-ea"/>
                        <a:cs typeface="+mn-cs"/>
                      </a:endParaRPr>
                    </a:p>
                  </a:txBody>
                  <a:tcPr marL="35995" marR="35995"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graphicFrame>
        <p:nvGraphicFramePr>
          <p:cNvPr id="4" name="Table 4">
            <a:extLst>
              <a:ext uri="{FF2B5EF4-FFF2-40B4-BE49-F238E27FC236}">
                <a16:creationId xmlns:a16="http://schemas.microsoft.com/office/drawing/2014/main" id="{EAE2C6FA-CE1D-4A76-9F69-7405A6DFC556}"/>
              </a:ext>
            </a:extLst>
          </p:cNvPr>
          <p:cNvGraphicFramePr>
            <a:graphicFrameLocks noGrp="1"/>
          </p:cNvGraphicFramePr>
          <p:nvPr>
            <p:extLst>
              <p:ext uri="{D42A27DB-BD31-4B8C-83A1-F6EECF244321}">
                <p14:modId xmlns:p14="http://schemas.microsoft.com/office/powerpoint/2010/main" val="2236436658"/>
              </p:ext>
            </p:extLst>
          </p:nvPr>
        </p:nvGraphicFramePr>
        <p:xfrm>
          <a:off x="560812" y="2970817"/>
          <a:ext cx="6536504" cy="3186110"/>
        </p:xfrm>
        <a:graphic>
          <a:graphicData uri="http://schemas.openxmlformats.org/drawingml/2006/table">
            <a:tbl>
              <a:tblPr firstRow="1" bandRow="1">
                <a:tableStyleId>{5C22544A-7EE6-4342-B048-85BDC9FD1C3A}</a:tableStyleId>
              </a:tblPr>
              <a:tblGrid>
                <a:gridCol w="2674034">
                  <a:extLst>
                    <a:ext uri="{9D8B030D-6E8A-4147-A177-3AD203B41FA5}">
                      <a16:colId xmlns:a16="http://schemas.microsoft.com/office/drawing/2014/main" val="412169058"/>
                    </a:ext>
                  </a:extLst>
                </a:gridCol>
                <a:gridCol w="257498">
                  <a:extLst>
                    <a:ext uri="{9D8B030D-6E8A-4147-A177-3AD203B41FA5}">
                      <a16:colId xmlns:a16="http://schemas.microsoft.com/office/drawing/2014/main" val="1080793330"/>
                    </a:ext>
                  </a:extLst>
                </a:gridCol>
                <a:gridCol w="257498">
                  <a:extLst>
                    <a:ext uri="{9D8B030D-6E8A-4147-A177-3AD203B41FA5}">
                      <a16:colId xmlns:a16="http://schemas.microsoft.com/office/drawing/2014/main" val="2284394981"/>
                    </a:ext>
                  </a:extLst>
                </a:gridCol>
                <a:gridCol w="257498">
                  <a:extLst>
                    <a:ext uri="{9D8B030D-6E8A-4147-A177-3AD203B41FA5}">
                      <a16:colId xmlns:a16="http://schemas.microsoft.com/office/drawing/2014/main" val="969866887"/>
                    </a:ext>
                  </a:extLst>
                </a:gridCol>
                <a:gridCol w="257498">
                  <a:extLst>
                    <a:ext uri="{9D8B030D-6E8A-4147-A177-3AD203B41FA5}">
                      <a16:colId xmlns:a16="http://schemas.microsoft.com/office/drawing/2014/main" val="3769738844"/>
                    </a:ext>
                  </a:extLst>
                </a:gridCol>
                <a:gridCol w="257498">
                  <a:extLst>
                    <a:ext uri="{9D8B030D-6E8A-4147-A177-3AD203B41FA5}">
                      <a16:colId xmlns:a16="http://schemas.microsoft.com/office/drawing/2014/main" val="538589283"/>
                    </a:ext>
                  </a:extLst>
                </a:gridCol>
                <a:gridCol w="257498">
                  <a:extLst>
                    <a:ext uri="{9D8B030D-6E8A-4147-A177-3AD203B41FA5}">
                      <a16:colId xmlns:a16="http://schemas.microsoft.com/office/drawing/2014/main" val="1998173304"/>
                    </a:ext>
                  </a:extLst>
                </a:gridCol>
                <a:gridCol w="257498">
                  <a:extLst>
                    <a:ext uri="{9D8B030D-6E8A-4147-A177-3AD203B41FA5}">
                      <a16:colId xmlns:a16="http://schemas.microsoft.com/office/drawing/2014/main" val="3466400891"/>
                    </a:ext>
                  </a:extLst>
                </a:gridCol>
                <a:gridCol w="257498">
                  <a:extLst>
                    <a:ext uri="{9D8B030D-6E8A-4147-A177-3AD203B41FA5}">
                      <a16:colId xmlns:a16="http://schemas.microsoft.com/office/drawing/2014/main" val="2736212880"/>
                    </a:ext>
                  </a:extLst>
                </a:gridCol>
                <a:gridCol w="257498">
                  <a:extLst>
                    <a:ext uri="{9D8B030D-6E8A-4147-A177-3AD203B41FA5}">
                      <a16:colId xmlns:a16="http://schemas.microsoft.com/office/drawing/2014/main" val="2621746387"/>
                    </a:ext>
                  </a:extLst>
                </a:gridCol>
                <a:gridCol w="257498">
                  <a:extLst>
                    <a:ext uri="{9D8B030D-6E8A-4147-A177-3AD203B41FA5}">
                      <a16:colId xmlns:a16="http://schemas.microsoft.com/office/drawing/2014/main" val="1010021707"/>
                    </a:ext>
                  </a:extLst>
                </a:gridCol>
                <a:gridCol w="257498">
                  <a:extLst>
                    <a:ext uri="{9D8B030D-6E8A-4147-A177-3AD203B41FA5}">
                      <a16:colId xmlns:a16="http://schemas.microsoft.com/office/drawing/2014/main" val="948857533"/>
                    </a:ext>
                  </a:extLst>
                </a:gridCol>
                <a:gridCol w="257498">
                  <a:extLst>
                    <a:ext uri="{9D8B030D-6E8A-4147-A177-3AD203B41FA5}">
                      <a16:colId xmlns:a16="http://schemas.microsoft.com/office/drawing/2014/main" val="914112984"/>
                    </a:ext>
                  </a:extLst>
                </a:gridCol>
                <a:gridCol w="257498">
                  <a:extLst>
                    <a:ext uri="{9D8B030D-6E8A-4147-A177-3AD203B41FA5}">
                      <a16:colId xmlns:a16="http://schemas.microsoft.com/office/drawing/2014/main" val="1446134650"/>
                    </a:ext>
                  </a:extLst>
                </a:gridCol>
                <a:gridCol w="257498">
                  <a:extLst>
                    <a:ext uri="{9D8B030D-6E8A-4147-A177-3AD203B41FA5}">
                      <a16:colId xmlns:a16="http://schemas.microsoft.com/office/drawing/2014/main" val="1244468576"/>
                    </a:ext>
                  </a:extLst>
                </a:gridCol>
                <a:gridCol w="257498">
                  <a:extLst>
                    <a:ext uri="{9D8B030D-6E8A-4147-A177-3AD203B41FA5}">
                      <a16:colId xmlns:a16="http://schemas.microsoft.com/office/drawing/2014/main" val="160222203"/>
                    </a:ext>
                  </a:extLst>
                </a:gridCol>
              </a:tblGrid>
              <a:tr h="318611">
                <a:tc>
                  <a:txBody>
                    <a:bodyPr/>
                    <a:lstStyle/>
                    <a:p>
                      <a:endParaRPr lang="en-GB" sz="1100" dirty="0">
                        <a:solidFill>
                          <a:srgbClr val="FFFFFF"/>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gridSpan="5">
                  <a:txBody>
                    <a:bodyPr/>
                    <a:lstStyle/>
                    <a:p>
                      <a:pPr algn="ctr"/>
                      <a:r>
                        <a:rPr lang="en-GB" sz="1200" dirty="0">
                          <a:solidFill>
                            <a:schemeClr val="accent2"/>
                          </a:solidFill>
                        </a:rPr>
                        <a:t>M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GB" sz="1200" dirty="0">
                          <a:solidFill>
                            <a:schemeClr val="accent2"/>
                          </a:solidFill>
                        </a:rPr>
                        <a:t>M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GB" sz="1200" dirty="0">
                          <a:solidFill>
                            <a:schemeClr val="accent2"/>
                          </a:solidFill>
                        </a:rPr>
                        <a:t>M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197145024"/>
                  </a:ext>
                </a:extLst>
              </a:tr>
              <a:tr h="318611">
                <a:tc>
                  <a:txBody>
                    <a:bodyPr/>
                    <a:lstStyle/>
                    <a:p>
                      <a:r>
                        <a:rPr lang="en-GB" sz="1100">
                          <a:solidFill>
                            <a:schemeClr val="tx1"/>
                          </a:solidFill>
                        </a:rPr>
                        <a:t>Activity</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28009011"/>
                  </a:ext>
                </a:extLst>
              </a:tr>
              <a:tr h="318611">
                <a:tc>
                  <a:txBody>
                    <a:bodyPr/>
                    <a:lstStyle/>
                    <a:p>
                      <a:r>
                        <a:rPr lang="en-GB" sz="1100">
                          <a:solidFill>
                            <a:schemeClr val="tx1"/>
                          </a:solidFill>
                        </a:rPr>
                        <a:t>Activity</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13463953"/>
                  </a:ext>
                </a:extLst>
              </a:tr>
              <a:tr h="318611">
                <a:tc>
                  <a:txBody>
                    <a:bodyPr/>
                    <a:lstStyle/>
                    <a:p>
                      <a:r>
                        <a:rPr lang="en-GB" sz="1100">
                          <a:solidFill>
                            <a:schemeClr val="tx1"/>
                          </a:solidFill>
                        </a:rPr>
                        <a:t>Activity</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912156385"/>
                  </a:ext>
                </a:extLst>
              </a:tr>
              <a:tr h="318611">
                <a:tc>
                  <a:txBody>
                    <a:bodyPr/>
                    <a:lstStyle/>
                    <a:p>
                      <a:r>
                        <a:rPr lang="en-GB" sz="1100">
                          <a:solidFill>
                            <a:schemeClr val="tx1"/>
                          </a:solidFill>
                        </a:rPr>
                        <a:t>Activity </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417975174"/>
                  </a:ext>
                </a:extLst>
              </a:tr>
              <a:tr h="318611">
                <a:tc>
                  <a:txBody>
                    <a:bodyPr/>
                    <a:lstStyle/>
                    <a:p>
                      <a:r>
                        <a:rPr lang="en-GB" sz="1100">
                          <a:solidFill>
                            <a:schemeClr val="tx1"/>
                          </a:solidFill>
                        </a:rPr>
                        <a:t>Activity </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243358982"/>
                  </a:ext>
                </a:extLst>
              </a:tr>
              <a:tr h="318611">
                <a:tc>
                  <a:txBody>
                    <a:bodyPr/>
                    <a:lstStyle/>
                    <a:p>
                      <a:r>
                        <a:rPr lang="en-GB" sz="1100">
                          <a:solidFill>
                            <a:schemeClr val="tx1"/>
                          </a:solidFill>
                        </a:rPr>
                        <a:t>Activity </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034806189"/>
                  </a:ext>
                </a:extLst>
              </a:tr>
              <a:tr h="318611">
                <a:tc>
                  <a:txBody>
                    <a:bodyPr/>
                    <a:lstStyle/>
                    <a:p>
                      <a:r>
                        <a:rPr lang="en-GB" sz="1100">
                          <a:solidFill>
                            <a:schemeClr val="tx1"/>
                          </a:solidFill>
                        </a:rPr>
                        <a:t>Activity </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150325318"/>
                  </a:ext>
                </a:extLst>
              </a:tr>
              <a:tr h="318611">
                <a:tc>
                  <a:txBody>
                    <a:bodyPr/>
                    <a:lstStyle/>
                    <a:p>
                      <a:r>
                        <a:rPr lang="en-GB" sz="1100">
                          <a:solidFill>
                            <a:schemeClr val="tx1"/>
                          </a:solidFill>
                        </a:rPr>
                        <a:t>Activity </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858139106"/>
                  </a:ext>
                </a:extLst>
              </a:tr>
              <a:tr h="318611">
                <a:tc>
                  <a:txBody>
                    <a:bodyPr/>
                    <a:lstStyle/>
                    <a:p>
                      <a:r>
                        <a:rPr lang="en-GB" sz="1100">
                          <a:solidFill>
                            <a:schemeClr val="tx1"/>
                          </a:solidFill>
                        </a:rPr>
                        <a:t>Activity</a:t>
                      </a:r>
                      <a:endParaRPr lang="en-GB" sz="110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accent3"/>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endParaRPr lang="en-GB" sz="1100" dirty="0">
                        <a:solidFill>
                          <a:srgbClr val="000000"/>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548064500"/>
                  </a:ext>
                </a:extLst>
              </a:tr>
            </a:tbl>
          </a:graphicData>
        </a:graphic>
      </p:graphicFrame>
      <p:sp>
        <p:nvSpPr>
          <p:cNvPr id="62" name="Isosceles Triangle 61">
            <a:extLst>
              <a:ext uri="{FF2B5EF4-FFF2-40B4-BE49-F238E27FC236}">
                <a16:creationId xmlns:a16="http://schemas.microsoft.com/office/drawing/2014/main" id="{67C1459F-5276-4031-A6FA-EDBD6A953796}"/>
              </a:ext>
            </a:extLst>
          </p:cNvPr>
          <p:cNvSpPr/>
          <p:nvPr/>
        </p:nvSpPr>
        <p:spPr bwMode="auto">
          <a:xfrm>
            <a:off x="6790561" y="5934830"/>
            <a:ext cx="330200" cy="325438"/>
          </a:xfrm>
          <a:prstGeom prst="triangle">
            <a:avLst/>
          </a:prstGeom>
          <a:solidFill>
            <a:schemeClr val="accent2"/>
          </a:solidFill>
          <a:ln w="19050" cap="flat" cmpd="sng" algn="ctr">
            <a:noFill/>
            <a:prstDash val="solid"/>
            <a:round/>
            <a:headEnd type="none" w="med" len="med"/>
            <a:tailEnd type="none" w="med" len="med"/>
          </a:ln>
          <a:effectLst/>
        </p:spPr>
        <p:txBody>
          <a:bodyPr lIns="54000" rIns="54000" anchor="ctr" anchorCtr="1"/>
          <a:lstStyle/>
          <a:p>
            <a:pPr>
              <a:buClr>
                <a:srgbClr val="B40646"/>
              </a:buClr>
              <a:defRPr/>
            </a:pPr>
            <a:endParaRPr lang="en-GB" dirty="0">
              <a:solidFill>
                <a:srgbClr val="000000"/>
              </a:solidFill>
              <a:latin typeface="+mn-lt"/>
            </a:endParaRPr>
          </a:p>
        </p:txBody>
      </p:sp>
    </p:spTree>
    <p:extLst>
      <p:ext uri="{BB962C8B-B14F-4D97-AF65-F5344CB8AC3E}">
        <p14:creationId xmlns:p14="http://schemas.microsoft.com/office/powerpoint/2010/main" val="6551808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89BB204-6593-4801-A611-CD255FCC85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7" name="Objet 6" hidden="1">
                        <a:extLst>
                          <a:ext uri="{FF2B5EF4-FFF2-40B4-BE49-F238E27FC236}">
                            <a16:creationId xmlns:a16="http://schemas.microsoft.com/office/drawing/2014/main" id="{989BB204-6593-4801-A611-CD255FCC85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C6028CB-DBE6-4D53-BD49-E112E43E6F68}"/>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0B50774F-3B56-41B0-9AA5-373C2159072F}"/>
              </a:ext>
            </a:extLst>
          </p:cNvPr>
          <p:cNvSpPr>
            <a:spLocks noGrp="1"/>
          </p:cNvSpPr>
          <p:nvPr>
            <p:ph type="title"/>
          </p:nvPr>
        </p:nvSpPr>
        <p:spPr/>
        <p:txBody>
          <a:bodyPr/>
          <a:lstStyle/>
          <a:p>
            <a:r>
              <a:rPr lang="en-GB" dirty="0"/>
              <a:t>Approach &amp; deliverables presentation – three steps </a:t>
            </a:r>
          </a:p>
        </p:txBody>
      </p:sp>
      <p:sp>
        <p:nvSpPr>
          <p:cNvPr id="4" name="Flèche : pentagone 3">
            <a:extLst>
              <a:ext uri="{FF2B5EF4-FFF2-40B4-BE49-F238E27FC236}">
                <a16:creationId xmlns:a16="http://schemas.microsoft.com/office/drawing/2014/main" id="{E8C9CA20-4690-40A9-9CA6-9D443CD1A1D8}"/>
              </a:ext>
            </a:extLst>
          </p:cNvPr>
          <p:cNvSpPr/>
          <p:nvPr/>
        </p:nvSpPr>
        <p:spPr bwMode="auto">
          <a:xfrm>
            <a:off x="632320" y="1593687"/>
            <a:ext cx="3960000" cy="566280"/>
          </a:xfrm>
          <a:prstGeom prst="homePlate">
            <a:avLst/>
          </a:prstGeom>
          <a:solidFill>
            <a:schemeClr val="accent3">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828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sp>
        <p:nvSpPr>
          <p:cNvPr id="6" name="Flèche : chevron 5">
            <a:extLst>
              <a:ext uri="{FF2B5EF4-FFF2-40B4-BE49-F238E27FC236}">
                <a16:creationId xmlns:a16="http://schemas.microsoft.com/office/drawing/2014/main" id="{9F7F6541-92A1-4CEF-B73E-0C1DB07A11CD}"/>
              </a:ext>
            </a:extLst>
          </p:cNvPr>
          <p:cNvSpPr/>
          <p:nvPr/>
        </p:nvSpPr>
        <p:spPr bwMode="auto">
          <a:xfrm>
            <a:off x="8086763" y="1593687"/>
            <a:ext cx="3685238" cy="566280"/>
          </a:xfrm>
          <a:prstGeom prst="chevron">
            <a:avLst>
              <a:gd name="adj" fmla="val 28969"/>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612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sp>
        <p:nvSpPr>
          <p:cNvPr id="5" name="Flèche : chevron 4">
            <a:extLst>
              <a:ext uri="{FF2B5EF4-FFF2-40B4-BE49-F238E27FC236}">
                <a16:creationId xmlns:a16="http://schemas.microsoft.com/office/drawing/2014/main" id="{5B245B79-1A33-418F-A5A1-7D55C71A7DC4}"/>
              </a:ext>
            </a:extLst>
          </p:cNvPr>
          <p:cNvSpPr/>
          <p:nvPr/>
        </p:nvSpPr>
        <p:spPr bwMode="auto">
          <a:xfrm>
            <a:off x="4359541" y="1593687"/>
            <a:ext cx="3960000" cy="566280"/>
          </a:xfrm>
          <a:prstGeom prst="chevron">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sp>
        <p:nvSpPr>
          <p:cNvPr id="8" name="Ellipse 7">
            <a:extLst>
              <a:ext uri="{FF2B5EF4-FFF2-40B4-BE49-F238E27FC236}">
                <a16:creationId xmlns:a16="http://schemas.microsoft.com/office/drawing/2014/main" id="{1355CB2A-6539-40C1-BABA-7B16349A0F5D}"/>
              </a:ext>
            </a:extLst>
          </p:cNvPr>
          <p:cNvSpPr/>
          <p:nvPr/>
        </p:nvSpPr>
        <p:spPr bwMode="auto">
          <a:xfrm>
            <a:off x="432000" y="1439947"/>
            <a:ext cx="874321" cy="873760"/>
          </a:xfrm>
          <a:prstGeom prst="ellipse">
            <a:avLst/>
          </a:prstGeom>
          <a:solidFill>
            <a:schemeClr val="accent3">
              <a:lumMod val="75000"/>
            </a:schemeClr>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sp>
        <p:nvSpPr>
          <p:cNvPr id="10" name="Ellipse 9">
            <a:extLst>
              <a:ext uri="{FF2B5EF4-FFF2-40B4-BE49-F238E27FC236}">
                <a16:creationId xmlns:a16="http://schemas.microsoft.com/office/drawing/2014/main" id="{B1711590-D71D-405C-8046-644972CB3557}"/>
              </a:ext>
            </a:extLst>
          </p:cNvPr>
          <p:cNvSpPr/>
          <p:nvPr/>
        </p:nvSpPr>
        <p:spPr bwMode="auto">
          <a:xfrm>
            <a:off x="7882380" y="1439947"/>
            <a:ext cx="874321" cy="873760"/>
          </a:xfrm>
          <a:prstGeom prst="ellipse">
            <a:avLst/>
          </a:prstGeom>
          <a:solidFill>
            <a:schemeClr val="accent6"/>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cxnSp>
        <p:nvCxnSpPr>
          <p:cNvPr id="12" name="Connecteur droit 11">
            <a:extLst>
              <a:ext uri="{FF2B5EF4-FFF2-40B4-BE49-F238E27FC236}">
                <a16:creationId xmlns:a16="http://schemas.microsoft.com/office/drawing/2014/main" id="{4D29D007-2E54-451A-A621-E719ACD79BB8}"/>
              </a:ext>
            </a:extLst>
          </p:cNvPr>
          <p:cNvCxnSpPr>
            <a:cxnSpLocks/>
          </p:cNvCxnSpPr>
          <p:nvPr/>
        </p:nvCxnSpPr>
        <p:spPr>
          <a:xfrm>
            <a:off x="869160" y="2350858"/>
            <a:ext cx="0" cy="3888000"/>
          </a:xfrm>
          <a:prstGeom prst="line">
            <a:avLst/>
          </a:prstGeom>
          <a:ln w="19050">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504B3892-82BB-4853-A89B-2E27AC239DB9}"/>
              </a:ext>
            </a:extLst>
          </p:cNvPr>
          <p:cNvCxnSpPr>
            <a:cxnSpLocks/>
          </p:cNvCxnSpPr>
          <p:nvPr/>
        </p:nvCxnSpPr>
        <p:spPr>
          <a:xfrm>
            <a:off x="4594350" y="2350858"/>
            <a:ext cx="0" cy="388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68FA8468-0E7A-4E87-B320-F5007F7D4B97}"/>
              </a:ext>
            </a:extLst>
          </p:cNvPr>
          <p:cNvCxnSpPr>
            <a:cxnSpLocks/>
          </p:cNvCxnSpPr>
          <p:nvPr/>
        </p:nvCxnSpPr>
        <p:spPr>
          <a:xfrm>
            <a:off x="8319540" y="2350858"/>
            <a:ext cx="0" cy="388800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F75CEDCF-E494-48C6-9952-A4D4BF56A210}"/>
              </a:ext>
            </a:extLst>
          </p:cNvPr>
          <p:cNvSpPr/>
          <p:nvPr/>
        </p:nvSpPr>
        <p:spPr bwMode="auto">
          <a:xfrm>
            <a:off x="4157190" y="1439947"/>
            <a:ext cx="874321" cy="87376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sp>
        <p:nvSpPr>
          <p:cNvPr id="16" name="Ellipse 15">
            <a:extLst>
              <a:ext uri="{FF2B5EF4-FFF2-40B4-BE49-F238E27FC236}">
                <a16:creationId xmlns:a16="http://schemas.microsoft.com/office/drawing/2014/main" id="{7C2A07F1-42CB-45B9-AB72-3E9EB2B05A90}"/>
              </a:ext>
            </a:extLst>
          </p:cNvPr>
          <p:cNvSpPr/>
          <p:nvPr/>
        </p:nvSpPr>
        <p:spPr bwMode="auto">
          <a:xfrm>
            <a:off x="808599" y="2645075"/>
            <a:ext cx="121122" cy="120647"/>
          </a:xfrm>
          <a:prstGeom prst="ellipse">
            <a:avLst/>
          </a:prstGeom>
          <a:solidFill>
            <a:srgbClr val="FFFFFF"/>
          </a:solidFill>
          <a:ln w="28575" cap="flat" cmpd="sng" algn="ctr">
            <a:solidFill>
              <a:schemeClr val="accent3">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rgbClr val="FFFFFF"/>
              </a:solidFill>
              <a:latin typeface="+mn-lt"/>
            </a:endParaRPr>
          </a:p>
        </p:txBody>
      </p:sp>
      <p:sp>
        <p:nvSpPr>
          <p:cNvPr id="19" name="Ellipse 18">
            <a:extLst>
              <a:ext uri="{FF2B5EF4-FFF2-40B4-BE49-F238E27FC236}">
                <a16:creationId xmlns:a16="http://schemas.microsoft.com/office/drawing/2014/main" id="{EB51DA47-9455-4DFC-BC0C-544C771BF1E0}"/>
              </a:ext>
            </a:extLst>
          </p:cNvPr>
          <p:cNvSpPr/>
          <p:nvPr/>
        </p:nvSpPr>
        <p:spPr bwMode="auto">
          <a:xfrm>
            <a:off x="808599" y="4516208"/>
            <a:ext cx="121122" cy="120647"/>
          </a:xfrm>
          <a:prstGeom prst="ellipse">
            <a:avLst/>
          </a:prstGeom>
          <a:solidFill>
            <a:srgbClr val="FFFFFF"/>
          </a:solidFill>
          <a:ln w="28575" cap="flat" cmpd="sng" algn="ctr">
            <a:solidFill>
              <a:schemeClr val="accent3">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rgbClr val="FFFFFF"/>
              </a:solidFill>
              <a:latin typeface="+mn-lt"/>
            </a:endParaRPr>
          </a:p>
        </p:txBody>
      </p:sp>
      <p:sp>
        <p:nvSpPr>
          <p:cNvPr id="20" name="Ellipse 19">
            <a:extLst>
              <a:ext uri="{FF2B5EF4-FFF2-40B4-BE49-F238E27FC236}">
                <a16:creationId xmlns:a16="http://schemas.microsoft.com/office/drawing/2014/main" id="{EB02128F-3A16-4362-9E83-C06E66564F8F}"/>
              </a:ext>
            </a:extLst>
          </p:cNvPr>
          <p:cNvSpPr/>
          <p:nvPr/>
        </p:nvSpPr>
        <p:spPr bwMode="auto">
          <a:xfrm>
            <a:off x="4533789" y="2645075"/>
            <a:ext cx="121122" cy="120647"/>
          </a:xfrm>
          <a:prstGeom prst="ellipse">
            <a:avLst/>
          </a:prstGeom>
          <a:solidFill>
            <a:srgbClr val="FFFFFF"/>
          </a:solidFill>
          <a:ln w="2857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rgbClr val="FFFFFF"/>
              </a:solidFill>
              <a:latin typeface="+mn-lt"/>
            </a:endParaRPr>
          </a:p>
        </p:txBody>
      </p:sp>
      <p:sp>
        <p:nvSpPr>
          <p:cNvPr id="21" name="Ellipse 20">
            <a:extLst>
              <a:ext uri="{FF2B5EF4-FFF2-40B4-BE49-F238E27FC236}">
                <a16:creationId xmlns:a16="http://schemas.microsoft.com/office/drawing/2014/main" id="{8DE3C0EE-73CD-4935-8C9D-7C0262FF399A}"/>
              </a:ext>
            </a:extLst>
          </p:cNvPr>
          <p:cNvSpPr/>
          <p:nvPr/>
        </p:nvSpPr>
        <p:spPr bwMode="auto">
          <a:xfrm>
            <a:off x="4533789" y="4317509"/>
            <a:ext cx="121122" cy="120647"/>
          </a:xfrm>
          <a:prstGeom prst="ellipse">
            <a:avLst/>
          </a:prstGeom>
          <a:solidFill>
            <a:srgbClr val="FFFFFF"/>
          </a:solidFill>
          <a:ln w="2857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rgbClr val="FFFFFF"/>
              </a:solidFill>
              <a:latin typeface="+mn-lt"/>
            </a:endParaRPr>
          </a:p>
        </p:txBody>
      </p:sp>
      <p:sp>
        <p:nvSpPr>
          <p:cNvPr id="22" name="Ellipse 21">
            <a:extLst>
              <a:ext uri="{FF2B5EF4-FFF2-40B4-BE49-F238E27FC236}">
                <a16:creationId xmlns:a16="http://schemas.microsoft.com/office/drawing/2014/main" id="{80C72001-04FC-4844-A561-07024611FCF0}"/>
              </a:ext>
            </a:extLst>
          </p:cNvPr>
          <p:cNvSpPr/>
          <p:nvPr/>
        </p:nvSpPr>
        <p:spPr bwMode="auto">
          <a:xfrm>
            <a:off x="8258979" y="2645075"/>
            <a:ext cx="121122" cy="120647"/>
          </a:xfrm>
          <a:prstGeom prst="ellipse">
            <a:avLst/>
          </a:prstGeom>
          <a:solidFill>
            <a:srgbClr val="FFFFFF"/>
          </a:solidFill>
          <a:ln w="2857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chemeClr val="accent6"/>
              </a:solidFill>
              <a:latin typeface="+mn-lt"/>
            </a:endParaRPr>
          </a:p>
        </p:txBody>
      </p:sp>
      <p:sp>
        <p:nvSpPr>
          <p:cNvPr id="24" name="Ellipse 23">
            <a:extLst>
              <a:ext uri="{FF2B5EF4-FFF2-40B4-BE49-F238E27FC236}">
                <a16:creationId xmlns:a16="http://schemas.microsoft.com/office/drawing/2014/main" id="{1933FC41-CBE6-4301-8FE5-782B33F4989D}"/>
              </a:ext>
            </a:extLst>
          </p:cNvPr>
          <p:cNvSpPr/>
          <p:nvPr/>
        </p:nvSpPr>
        <p:spPr bwMode="auto">
          <a:xfrm>
            <a:off x="8258979" y="4697967"/>
            <a:ext cx="121122" cy="120647"/>
          </a:xfrm>
          <a:prstGeom prst="ellipse">
            <a:avLst/>
          </a:prstGeom>
          <a:solidFill>
            <a:srgbClr val="FFFFFF"/>
          </a:solidFill>
          <a:ln w="2857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algn="l">
              <a:buClr>
                <a:schemeClr val="accent3"/>
              </a:buClr>
              <a:buSzPct val="77000"/>
            </a:pPr>
            <a:endParaRPr lang="en-GB" sz="1400" b="1" dirty="0">
              <a:solidFill>
                <a:schemeClr val="accent6"/>
              </a:solidFill>
              <a:latin typeface="+mn-lt"/>
            </a:endParaRPr>
          </a:p>
        </p:txBody>
      </p:sp>
      <p:sp>
        <p:nvSpPr>
          <p:cNvPr id="25" name="ZoneTexte 24">
            <a:extLst>
              <a:ext uri="{FF2B5EF4-FFF2-40B4-BE49-F238E27FC236}">
                <a16:creationId xmlns:a16="http://schemas.microsoft.com/office/drawing/2014/main" id="{EF46D459-B3E0-4C17-91F6-444FF29EAA0E}"/>
              </a:ext>
            </a:extLst>
          </p:cNvPr>
          <p:cNvSpPr txBox="1"/>
          <p:nvPr/>
        </p:nvSpPr>
        <p:spPr>
          <a:xfrm>
            <a:off x="978381" y="2565072"/>
            <a:ext cx="3313080" cy="1477328"/>
          </a:xfrm>
          <a:prstGeom prst="rect">
            <a:avLst/>
          </a:prstGeom>
          <a:noFill/>
        </p:spPr>
        <p:txBody>
          <a:bodyPr wrap="square" rtlCol="0">
            <a:spAutoFit/>
          </a:bodyPr>
          <a:lstStyle/>
          <a:p>
            <a:pPr algn="l">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amet</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amet</a:t>
            </a:r>
            <a:r>
              <a:rPr lang="en-GB" kern="0" dirty="0">
                <a:latin typeface="+mn-lt"/>
                <a:cs typeface="Arial" pitchFamily="34" charset="0"/>
              </a:rPr>
              <a: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r>
              <a:rPr lang="en-GB" kern="0" dirty="0">
                <a:latin typeface="+mn-lt"/>
                <a:cs typeface="Arial" pitchFamily="34" charset="0"/>
              </a:rPr>
              <a:t> </a:t>
            </a:r>
            <a:r>
              <a:rPr lang="en-GB" kern="0" dirty="0" err="1">
                <a:latin typeface="+mn-lt"/>
                <a:cs typeface="Arial" pitchFamily="34" charset="0"/>
              </a:rPr>
              <a:t>elit</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amet</a:t>
            </a:r>
            <a:r>
              <a:rPr lang="en-GB" kern="0" dirty="0">
                <a:latin typeface="+mn-lt"/>
                <a:cs typeface="Arial" pitchFamily="34" charset="0"/>
              </a:rPr>
              <a: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r>
              <a:rPr lang="en-GB" kern="0" dirty="0">
                <a:latin typeface="+mn-lt"/>
                <a:cs typeface="Arial" pitchFamily="34" charset="0"/>
              </a:rPr>
              <a:t> </a:t>
            </a:r>
            <a:r>
              <a:rPr lang="en-GB" kern="0" dirty="0" err="1">
                <a:latin typeface="+mn-lt"/>
                <a:cs typeface="Arial" pitchFamily="34" charset="0"/>
              </a:rPr>
              <a:t>elit</a:t>
            </a:r>
            <a:endParaRPr lang="en-GB" dirty="0">
              <a:latin typeface="+mn-lt"/>
            </a:endParaRPr>
          </a:p>
        </p:txBody>
      </p:sp>
      <p:sp>
        <p:nvSpPr>
          <p:cNvPr id="29" name="ZoneTexte 28">
            <a:extLst>
              <a:ext uri="{FF2B5EF4-FFF2-40B4-BE49-F238E27FC236}">
                <a16:creationId xmlns:a16="http://schemas.microsoft.com/office/drawing/2014/main" id="{AFABED77-055E-4483-BF4C-2EBBF4DB64E2}"/>
              </a:ext>
            </a:extLst>
          </p:cNvPr>
          <p:cNvSpPr txBox="1"/>
          <p:nvPr/>
        </p:nvSpPr>
        <p:spPr>
          <a:xfrm>
            <a:off x="978381" y="4424543"/>
            <a:ext cx="3313080" cy="1959511"/>
          </a:xfrm>
          <a:prstGeom prst="rect">
            <a:avLst/>
          </a:prstGeom>
          <a:noFill/>
        </p:spPr>
        <p:txBody>
          <a:bodyPr wrap="square" rtlCol="0">
            <a:spAutoFit/>
          </a:bodyPr>
          <a:lstStyle>
            <a:defPPr>
              <a:defRPr lang="en-GB"/>
            </a:defPPr>
            <a:lvl1pPr algn="l">
              <a:spcBef>
                <a:spcPts val="400"/>
              </a:spcBef>
              <a:spcAft>
                <a:spcPts val="400"/>
              </a:spcAft>
              <a:defRPr kern="0">
                <a:solidFill>
                  <a:srgbClr val="000000"/>
                </a:solidFill>
                <a:latin typeface="Arial" panose="020B0604020202020204" pitchFamily="34" charset="0"/>
                <a:cs typeface="Arial" pitchFamily="34" charset="0"/>
              </a:defRPr>
            </a:lvl1pPr>
          </a:lstStyle>
          <a:p>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p:txBody>
      </p:sp>
      <p:sp>
        <p:nvSpPr>
          <p:cNvPr id="30" name="ZoneTexte 29">
            <a:extLst>
              <a:ext uri="{FF2B5EF4-FFF2-40B4-BE49-F238E27FC236}">
                <a16:creationId xmlns:a16="http://schemas.microsoft.com/office/drawing/2014/main" id="{AD596AD2-56FE-4FF3-82C8-0F129E158B98}"/>
              </a:ext>
            </a:extLst>
          </p:cNvPr>
          <p:cNvSpPr txBox="1"/>
          <p:nvPr/>
        </p:nvSpPr>
        <p:spPr>
          <a:xfrm>
            <a:off x="4715870" y="2555029"/>
            <a:ext cx="3313080" cy="1426031"/>
          </a:xfrm>
          <a:prstGeom prst="rect">
            <a:avLst/>
          </a:prstGeom>
          <a:noFill/>
        </p:spPr>
        <p:txBody>
          <a:bodyPr wrap="square" rtlCol="0">
            <a:spAutoFit/>
          </a:bodyPr>
          <a:lstStyle>
            <a:defPPr>
              <a:defRPr lang="en-GB"/>
            </a:defPPr>
            <a:lvl1pPr algn="l">
              <a:spcBef>
                <a:spcPts val="400"/>
              </a:spcBef>
              <a:spcAft>
                <a:spcPts val="400"/>
              </a:spcAft>
              <a:defRPr kern="0">
                <a:solidFill>
                  <a:srgbClr val="000000"/>
                </a:solidFill>
                <a:latin typeface="Arial" panose="020B0604020202020204" pitchFamily="34" charset="0"/>
                <a:cs typeface="Arial" pitchFamily="34" charset="0"/>
              </a:defRPr>
            </a:lvl1pPr>
          </a:lstStyle>
          <a:p>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p:txBody>
      </p:sp>
      <p:sp>
        <p:nvSpPr>
          <p:cNvPr id="31" name="ZoneTexte 30">
            <a:extLst>
              <a:ext uri="{FF2B5EF4-FFF2-40B4-BE49-F238E27FC236}">
                <a16:creationId xmlns:a16="http://schemas.microsoft.com/office/drawing/2014/main" id="{0A3903CE-81CF-4E18-A2C9-86C656CA2FF6}"/>
              </a:ext>
            </a:extLst>
          </p:cNvPr>
          <p:cNvSpPr txBox="1"/>
          <p:nvPr/>
        </p:nvSpPr>
        <p:spPr>
          <a:xfrm>
            <a:off x="4715870" y="4231673"/>
            <a:ext cx="3313080" cy="1959511"/>
          </a:xfrm>
          <a:prstGeom prst="rect">
            <a:avLst/>
          </a:prstGeom>
          <a:noFill/>
        </p:spPr>
        <p:txBody>
          <a:bodyPr wrap="square" rtlCol="0">
            <a:spAutoFit/>
          </a:bodyPr>
          <a:lstStyle>
            <a:defPPr>
              <a:defRPr lang="en-GB"/>
            </a:defPPr>
            <a:lvl1pPr algn="l">
              <a:spcBef>
                <a:spcPts val="400"/>
              </a:spcBef>
              <a:spcAft>
                <a:spcPts val="400"/>
              </a:spcAft>
              <a:defRPr kern="0">
                <a:solidFill>
                  <a:srgbClr val="000000"/>
                </a:solidFill>
                <a:latin typeface="Arial" panose="020B0604020202020204" pitchFamily="34" charset="0"/>
                <a:cs typeface="Arial" pitchFamily="34" charset="0"/>
              </a:defRPr>
            </a:lvl1pPr>
          </a:lstStyle>
          <a:p>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p:txBody>
      </p:sp>
      <p:sp>
        <p:nvSpPr>
          <p:cNvPr id="34" name="ZoneTexte 33">
            <a:extLst>
              <a:ext uri="{FF2B5EF4-FFF2-40B4-BE49-F238E27FC236}">
                <a16:creationId xmlns:a16="http://schemas.microsoft.com/office/drawing/2014/main" id="{862E0DD6-FB22-41F7-B333-BC7AFB8EBFB5}"/>
              </a:ext>
            </a:extLst>
          </p:cNvPr>
          <p:cNvSpPr txBox="1"/>
          <p:nvPr/>
        </p:nvSpPr>
        <p:spPr>
          <a:xfrm>
            <a:off x="8440662" y="2544869"/>
            <a:ext cx="3313080" cy="1959511"/>
          </a:xfrm>
          <a:prstGeom prst="rect">
            <a:avLst/>
          </a:prstGeom>
          <a:noFill/>
        </p:spPr>
        <p:txBody>
          <a:bodyPr wrap="square" rtlCol="0">
            <a:spAutoFit/>
          </a:bodyPr>
          <a:lstStyle>
            <a:defPPr>
              <a:defRPr lang="en-GB"/>
            </a:defPPr>
            <a:lvl1pPr algn="l">
              <a:spcBef>
                <a:spcPts val="400"/>
              </a:spcBef>
              <a:spcAft>
                <a:spcPts val="400"/>
              </a:spcAft>
              <a:defRPr kern="0">
                <a:solidFill>
                  <a:srgbClr val="000000"/>
                </a:solidFill>
                <a:latin typeface="Arial" panose="020B0604020202020204" pitchFamily="34" charset="0"/>
                <a:cs typeface="Arial" pitchFamily="34" charset="0"/>
              </a:defRPr>
            </a:lvl1pPr>
          </a:lstStyle>
          <a:p>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p:txBody>
      </p:sp>
      <p:sp>
        <p:nvSpPr>
          <p:cNvPr id="35" name="ZoneTexte 34">
            <a:extLst>
              <a:ext uri="{FF2B5EF4-FFF2-40B4-BE49-F238E27FC236}">
                <a16:creationId xmlns:a16="http://schemas.microsoft.com/office/drawing/2014/main" id="{2893D3FA-146E-4C0B-A656-316D6CEC57E6}"/>
              </a:ext>
            </a:extLst>
          </p:cNvPr>
          <p:cNvSpPr txBox="1"/>
          <p:nvPr/>
        </p:nvSpPr>
        <p:spPr>
          <a:xfrm>
            <a:off x="8440662" y="4604268"/>
            <a:ext cx="3313080" cy="1426031"/>
          </a:xfrm>
          <a:prstGeom prst="rect">
            <a:avLst/>
          </a:prstGeom>
          <a:noFill/>
        </p:spPr>
        <p:txBody>
          <a:bodyPr wrap="square" rtlCol="0">
            <a:spAutoFit/>
          </a:bodyPr>
          <a:lstStyle>
            <a:defPPr>
              <a:defRPr lang="en-GB"/>
            </a:defPPr>
            <a:lvl1pPr algn="l">
              <a:spcBef>
                <a:spcPts val="400"/>
              </a:spcBef>
              <a:spcAft>
                <a:spcPts val="400"/>
              </a:spcAft>
              <a:defRPr kern="0">
                <a:solidFill>
                  <a:srgbClr val="000000"/>
                </a:solidFill>
                <a:latin typeface="Arial" panose="020B0604020202020204" pitchFamily="34" charset="0"/>
                <a:cs typeface="Arial" pitchFamily="34" charset="0"/>
              </a:defRPr>
            </a:lvl1pPr>
          </a:lstStyle>
          <a:p>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a:p>
            <a:pPr marL="180000" indent="-180000">
              <a:spcBef>
                <a:spcPts val="840"/>
              </a:spcBef>
              <a:spcAft>
                <a:spcPts val="0"/>
              </a:spcAft>
              <a:buClr>
                <a:srgbClr val="C2C2C2"/>
              </a:buClr>
              <a:buSzPct val="77000"/>
              <a:buFont typeface="Wingdings 3" panose="05040102010807070707" pitchFamily="18" charset="2"/>
              <a:buChar char=""/>
            </a:pPr>
            <a:r>
              <a:rPr lang="en-GB" dirty="0">
                <a:solidFill>
                  <a:schemeClr val="tx1"/>
                </a:solidFill>
                <a:latin typeface="+mn-lt"/>
              </a:rPr>
              <a:t>Lorem ipsum </a:t>
            </a:r>
            <a:r>
              <a:rPr lang="en-GB" dirty="0" err="1">
                <a:solidFill>
                  <a:schemeClr val="tx1"/>
                </a:solidFill>
                <a:latin typeface="+mn-lt"/>
              </a:rPr>
              <a:t>dolor</a:t>
            </a:r>
            <a:r>
              <a:rPr lang="en-GB" dirty="0">
                <a:solidFill>
                  <a:schemeClr val="tx1"/>
                </a:solidFill>
                <a:latin typeface="+mn-lt"/>
              </a:rPr>
              <a:t> sit </a:t>
            </a:r>
            <a:r>
              <a:rPr lang="en-GB" dirty="0" err="1">
                <a:solidFill>
                  <a:schemeClr val="tx1"/>
                </a:solidFill>
                <a:latin typeface="+mn-lt"/>
              </a:rPr>
              <a:t>amet</a:t>
            </a:r>
            <a:r>
              <a:rPr lang="en-GB" dirty="0">
                <a:solidFill>
                  <a:schemeClr val="tx1"/>
                </a:solidFill>
                <a:latin typeface="+mn-lt"/>
              </a:rPr>
              <a:t>, </a:t>
            </a:r>
            <a:r>
              <a:rPr lang="en-GB" dirty="0" err="1">
                <a:solidFill>
                  <a:schemeClr val="tx1"/>
                </a:solidFill>
                <a:latin typeface="+mn-lt"/>
              </a:rPr>
              <a:t>consectetur</a:t>
            </a:r>
            <a:r>
              <a:rPr lang="en-GB" dirty="0">
                <a:solidFill>
                  <a:schemeClr val="tx1"/>
                </a:solidFill>
                <a:latin typeface="+mn-lt"/>
              </a:rPr>
              <a:t> </a:t>
            </a:r>
            <a:r>
              <a:rPr lang="en-GB" dirty="0" err="1">
                <a:solidFill>
                  <a:schemeClr val="tx1"/>
                </a:solidFill>
                <a:latin typeface="+mn-lt"/>
              </a:rPr>
              <a:t>adipiscing</a:t>
            </a:r>
            <a:r>
              <a:rPr lang="en-GB" dirty="0">
                <a:solidFill>
                  <a:schemeClr val="tx1"/>
                </a:solidFill>
                <a:latin typeface="+mn-lt"/>
              </a:rPr>
              <a:t> </a:t>
            </a:r>
            <a:r>
              <a:rPr lang="en-GB" dirty="0" err="1">
                <a:solidFill>
                  <a:schemeClr val="tx1"/>
                </a:solidFill>
                <a:latin typeface="+mn-lt"/>
              </a:rPr>
              <a:t>elit</a:t>
            </a:r>
            <a:endParaRPr lang="en-GB" dirty="0">
              <a:solidFill>
                <a:schemeClr val="tx1"/>
              </a:solidFill>
              <a:latin typeface="+mn-lt"/>
            </a:endParaRPr>
          </a:p>
        </p:txBody>
      </p:sp>
      <p:pic>
        <p:nvPicPr>
          <p:cNvPr id="32" name="Graphique 31">
            <a:extLst>
              <a:ext uri="{FF2B5EF4-FFF2-40B4-BE49-F238E27FC236}">
                <a16:creationId xmlns:a16="http://schemas.microsoft.com/office/drawing/2014/main" id="{427DA6C6-13BF-440E-9C7A-95082E3BEE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8747" y="1648542"/>
            <a:ext cx="440826" cy="456570"/>
          </a:xfrm>
          <a:prstGeom prst="rect">
            <a:avLst/>
          </a:prstGeom>
        </p:spPr>
      </p:pic>
      <p:pic>
        <p:nvPicPr>
          <p:cNvPr id="33" name="Graphique 32">
            <a:extLst>
              <a:ext uri="{FF2B5EF4-FFF2-40B4-BE49-F238E27FC236}">
                <a16:creationId xmlns:a16="http://schemas.microsoft.com/office/drawing/2014/main" id="{B142B9B3-7598-49E3-98E9-2224F947F35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95191" y="1652478"/>
            <a:ext cx="448698" cy="448698"/>
          </a:xfrm>
          <a:prstGeom prst="rect">
            <a:avLst/>
          </a:prstGeom>
        </p:spPr>
      </p:pic>
      <p:pic>
        <p:nvPicPr>
          <p:cNvPr id="49" name="Graphique 48">
            <a:extLst>
              <a:ext uri="{FF2B5EF4-FFF2-40B4-BE49-F238E27FC236}">
                <a16:creationId xmlns:a16="http://schemas.microsoft.com/office/drawing/2014/main" id="{6285D59D-0E40-4544-A75B-E1BAF79CE6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17912" y="1637247"/>
            <a:ext cx="552877" cy="479160"/>
          </a:xfrm>
          <a:prstGeom prst="rect">
            <a:avLst/>
          </a:prstGeom>
        </p:spPr>
      </p:pic>
    </p:spTree>
    <p:extLst>
      <p:ext uri="{BB962C8B-B14F-4D97-AF65-F5344CB8AC3E}">
        <p14:creationId xmlns:p14="http://schemas.microsoft.com/office/powerpoint/2010/main" val="180920695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89BB204-6593-4801-A611-CD255FCC85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7" name="Objet 6" hidden="1">
                        <a:extLst>
                          <a:ext uri="{FF2B5EF4-FFF2-40B4-BE49-F238E27FC236}">
                            <a16:creationId xmlns:a16="http://schemas.microsoft.com/office/drawing/2014/main" id="{989BB204-6593-4801-A611-CD255FCC85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C6028CB-DBE6-4D53-BD49-E112E43E6F68}"/>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0B50774F-3B56-41B0-9AA5-373C2159072F}"/>
              </a:ext>
            </a:extLst>
          </p:cNvPr>
          <p:cNvSpPr>
            <a:spLocks noGrp="1"/>
          </p:cNvSpPr>
          <p:nvPr>
            <p:ph type="title"/>
          </p:nvPr>
        </p:nvSpPr>
        <p:spPr/>
        <p:txBody>
          <a:bodyPr/>
          <a:lstStyle/>
          <a:p>
            <a:r>
              <a:rPr lang="en-GB"/>
              <a:t>Approach &amp; deliverables presentation – four steps </a:t>
            </a:r>
            <a:endParaRPr lang="en-GB" dirty="0"/>
          </a:p>
        </p:txBody>
      </p:sp>
      <p:sp>
        <p:nvSpPr>
          <p:cNvPr id="4" name="Flèche : pentagone 3">
            <a:extLst>
              <a:ext uri="{FF2B5EF4-FFF2-40B4-BE49-F238E27FC236}">
                <a16:creationId xmlns:a16="http://schemas.microsoft.com/office/drawing/2014/main" id="{E8C9CA20-4690-40A9-9CA6-9D443CD1A1D8}"/>
              </a:ext>
            </a:extLst>
          </p:cNvPr>
          <p:cNvSpPr/>
          <p:nvPr/>
        </p:nvSpPr>
        <p:spPr bwMode="auto">
          <a:xfrm>
            <a:off x="635367" y="1594065"/>
            <a:ext cx="3044726" cy="566280"/>
          </a:xfrm>
          <a:prstGeom prst="homePlate">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828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sp>
        <p:nvSpPr>
          <p:cNvPr id="6" name="Flèche : chevron 5">
            <a:extLst>
              <a:ext uri="{FF2B5EF4-FFF2-40B4-BE49-F238E27FC236}">
                <a16:creationId xmlns:a16="http://schemas.microsoft.com/office/drawing/2014/main" id="{9F7F6541-92A1-4CEF-B73E-0C1DB07A11CD}"/>
              </a:ext>
            </a:extLst>
          </p:cNvPr>
          <p:cNvSpPr/>
          <p:nvPr/>
        </p:nvSpPr>
        <p:spPr bwMode="auto">
          <a:xfrm>
            <a:off x="6257231" y="1594065"/>
            <a:ext cx="3044726" cy="566280"/>
          </a:xfrm>
          <a:prstGeom prst="chevron">
            <a:avLst>
              <a:gd name="adj" fmla="val 51453"/>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a:solidFill>
                  <a:schemeClr val="bg1"/>
                </a:solidFill>
                <a:latin typeface="+mn-lt"/>
                <a:cs typeface="Arial" pitchFamily="34" charset="0"/>
              </a:rPr>
              <a:t>Lorem ipsum</a:t>
            </a:r>
            <a:endParaRPr lang="en-GB" sz="1600" b="1" kern="0" dirty="0">
              <a:solidFill>
                <a:schemeClr val="bg1"/>
              </a:solidFill>
              <a:latin typeface="+mn-lt"/>
              <a:cs typeface="Arial" pitchFamily="34" charset="0"/>
            </a:endParaRPr>
          </a:p>
        </p:txBody>
      </p:sp>
      <p:sp>
        <p:nvSpPr>
          <p:cNvPr id="5" name="Flèche : chevron 4">
            <a:extLst>
              <a:ext uri="{FF2B5EF4-FFF2-40B4-BE49-F238E27FC236}">
                <a16:creationId xmlns:a16="http://schemas.microsoft.com/office/drawing/2014/main" id="{5B245B79-1A33-418F-A5A1-7D55C71A7DC4}"/>
              </a:ext>
            </a:extLst>
          </p:cNvPr>
          <p:cNvSpPr/>
          <p:nvPr/>
        </p:nvSpPr>
        <p:spPr bwMode="auto">
          <a:xfrm>
            <a:off x="3446299" y="1594065"/>
            <a:ext cx="3044726" cy="566280"/>
          </a:xfrm>
          <a:prstGeom prst="chevron">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540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sp>
        <p:nvSpPr>
          <p:cNvPr id="66" name="Flèche : chevron 65">
            <a:extLst>
              <a:ext uri="{FF2B5EF4-FFF2-40B4-BE49-F238E27FC236}">
                <a16:creationId xmlns:a16="http://schemas.microsoft.com/office/drawing/2014/main" id="{5B75F04C-D2C5-432C-83AE-35E582BB5B07}"/>
              </a:ext>
            </a:extLst>
          </p:cNvPr>
          <p:cNvSpPr/>
          <p:nvPr/>
        </p:nvSpPr>
        <p:spPr bwMode="auto">
          <a:xfrm>
            <a:off x="9068163" y="1594065"/>
            <a:ext cx="2703837" cy="566280"/>
          </a:xfrm>
          <a:prstGeom prst="chevron">
            <a:avLst>
              <a:gd name="adj" fmla="val 34479"/>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612000" tIns="0" rIns="0" bIns="0" numCol="1" spcCol="0" rtlCol="0" fromWordArt="0" anchor="ctr" anchorCtr="0" forceAA="0" compatLnSpc="1">
            <a:prstTxWarp prst="textNoShape">
              <a:avLst/>
            </a:prstTxWarp>
            <a:normAutofit/>
          </a:bodyPr>
          <a:lstStyle/>
          <a:p>
            <a:pPr algn="l">
              <a:buClr>
                <a:schemeClr val="accent3"/>
              </a:buClr>
              <a:buSzPct val="77000"/>
            </a:pPr>
            <a:r>
              <a:rPr lang="en-GB" sz="1600" b="1" kern="0" dirty="0">
                <a:solidFill>
                  <a:schemeClr val="bg1"/>
                </a:solidFill>
                <a:latin typeface="+mn-lt"/>
                <a:cs typeface="Arial" pitchFamily="34" charset="0"/>
              </a:rPr>
              <a:t>Lorem ipsum</a:t>
            </a:r>
            <a:endParaRPr lang="en-GB" sz="1600" b="1" dirty="0">
              <a:solidFill>
                <a:schemeClr val="bg1"/>
              </a:solidFill>
              <a:latin typeface="+mn-lt"/>
            </a:endParaRPr>
          </a:p>
        </p:txBody>
      </p:sp>
      <p:cxnSp>
        <p:nvCxnSpPr>
          <p:cNvPr id="12" name="Connecteur droit 11">
            <a:extLst>
              <a:ext uri="{FF2B5EF4-FFF2-40B4-BE49-F238E27FC236}">
                <a16:creationId xmlns:a16="http://schemas.microsoft.com/office/drawing/2014/main" id="{4D29D007-2E54-451A-A621-E719ACD79BB8}"/>
              </a:ext>
            </a:extLst>
          </p:cNvPr>
          <p:cNvCxnSpPr>
            <a:cxnSpLocks/>
          </p:cNvCxnSpPr>
          <p:nvPr/>
        </p:nvCxnSpPr>
        <p:spPr>
          <a:xfrm>
            <a:off x="869160" y="2351236"/>
            <a:ext cx="0" cy="388800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Ellipse 15">
            <a:extLst>
              <a:ext uri="{FF2B5EF4-FFF2-40B4-BE49-F238E27FC236}">
                <a16:creationId xmlns:a16="http://schemas.microsoft.com/office/drawing/2014/main" id="{7C2A07F1-42CB-45B9-AB72-3E9EB2B05A90}"/>
              </a:ext>
            </a:extLst>
          </p:cNvPr>
          <p:cNvSpPr/>
          <p:nvPr/>
        </p:nvSpPr>
        <p:spPr bwMode="auto">
          <a:xfrm>
            <a:off x="808599" y="2645453"/>
            <a:ext cx="121122" cy="120647"/>
          </a:xfrm>
          <a:prstGeom prst="ellipse">
            <a:avLst/>
          </a:prstGeom>
          <a:solidFill>
            <a:srgbClr val="FFFFFF"/>
          </a:solidFill>
          <a:ln w="28575" cap="flat" cmpd="sng" algn="ctr">
            <a:solidFill>
              <a:schemeClr val="accent3"/>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
        <p:nvSpPr>
          <p:cNvPr id="19" name="Ellipse 18">
            <a:extLst>
              <a:ext uri="{FF2B5EF4-FFF2-40B4-BE49-F238E27FC236}">
                <a16:creationId xmlns:a16="http://schemas.microsoft.com/office/drawing/2014/main" id="{EB51DA47-9455-4DFC-BC0C-544C771BF1E0}"/>
              </a:ext>
            </a:extLst>
          </p:cNvPr>
          <p:cNvSpPr/>
          <p:nvPr/>
        </p:nvSpPr>
        <p:spPr bwMode="auto">
          <a:xfrm>
            <a:off x="808599" y="4516586"/>
            <a:ext cx="121122" cy="120647"/>
          </a:xfrm>
          <a:prstGeom prst="ellipse">
            <a:avLst/>
          </a:prstGeom>
          <a:solidFill>
            <a:srgbClr val="FFFFFF"/>
          </a:solidFill>
          <a:ln w="28575" cap="flat" cmpd="sng" algn="ctr">
            <a:solidFill>
              <a:schemeClr val="accent3"/>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cxnSp>
        <p:nvCxnSpPr>
          <p:cNvPr id="14" name="Connecteur droit 13">
            <a:extLst>
              <a:ext uri="{FF2B5EF4-FFF2-40B4-BE49-F238E27FC236}">
                <a16:creationId xmlns:a16="http://schemas.microsoft.com/office/drawing/2014/main" id="{504B3892-82BB-4853-A89B-2E27AC239DB9}"/>
              </a:ext>
            </a:extLst>
          </p:cNvPr>
          <p:cNvCxnSpPr>
            <a:cxnSpLocks/>
          </p:cNvCxnSpPr>
          <p:nvPr/>
        </p:nvCxnSpPr>
        <p:spPr>
          <a:xfrm>
            <a:off x="3646847" y="2351236"/>
            <a:ext cx="0" cy="388800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Ellipse 19">
            <a:extLst>
              <a:ext uri="{FF2B5EF4-FFF2-40B4-BE49-F238E27FC236}">
                <a16:creationId xmlns:a16="http://schemas.microsoft.com/office/drawing/2014/main" id="{EB02128F-3A16-4362-9E83-C06E66564F8F}"/>
              </a:ext>
            </a:extLst>
          </p:cNvPr>
          <p:cNvSpPr/>
          <p:nvPr/>
        </p:nvSpPr>
        <p:spPr bwMode="auto">
          <a:xfrm>
            <a:off x="3586286" y="2645453"/>
            <a:ext cx="121122" cy="120647"/>
          </a:xfrm>
          <a:prstGeom prst="ellipse">
            <a:avLst/>
          </a:prstGeom>
          <a:solidFill>
            <a:srgbClr val="FFFFFF"/>
          </a:solidFill>
          <a:ln w="285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
        <p:nvSpPr>
          <p:cNvPr id="21" name="Ellipse 20">
            <a:extLst>
              <a:ext uri="{FF2B5EF4-FFF2-40B4-BE49-F238E27FC236}">
                <a16:creationId xmlns:a16="http://schemas.microsoft.com/office/drawing/2014/main" id="{8DE3C0EE-73CD-4935-8C9D-7C0262FF399A}"/>
              </a:ext>
            </a:extLst>
          </p:cNvPr>
          <p:cNvSpPr/>
          <p:nvPr/>
        </p:nvSpPr>
        <p:spPr bwMode="auto">
          <a:xfrm>
            <a:off x="3586286" y="4529559"/>
            <a:ext cx="121122" cy="120647"/>
          </a:xfrm>
          <a:prstGeom prst="ellipse">
            <a:avLst/>
          </a:prstGeom>
          <a:solidFill>
            <a:srgbClr val="FFFFFF"/>
          </a:solidFill>
          <a:ln w="28575"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cxnSp>
        <p:nvCxnSpPr>
          <p:cNvPr id="15" name="Connecteur droit 14">
            <a:extLst>
              <a:ext uri="{FF2B5EF4-FFF2-40B4-BE49-F238E27FC236}">
                <a16:creationId xmlns:a16="http://schemas.microsoft.com/office/drawing/2014/main" id="{68FA8468-0E7A-4E87-B320-F5007F7D4B97}"/>
              </a:ext>
            </a:extLst>
          </p:cNvPr>
          <p:cNvCxnSpPr>
            <a:cxnSpLocks/>
          </p:cNvCxnSpPr>
          <p:nvPr/>
        </p:nvCxnSpPr>
        <p:spPr>
          <a:xfrm>
            <a:off x="6463202" y="2351236"/>
            <a:ext cx="0" cy="388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80C72001-04FC-4844-A561-07024611FCF0}"/>
              </a:ext>
            </a:extLst>
          </p:cNvPr>
          <p:cNvSpPr/>
          <p:nvPr/>
        </p:nvSpPr>
        <p:spPr bwMode="auto">
          <a:xfrm>
            <a:off x="6402641" y="2645453"/>
            <a:ext cx="121122" cy="120647"/>
          </a:xfrm>
          <a:prstGeom prst="ellipse">
            <a:avLst/>
          </a:prstGeom>
          <a:solidFill>
            <a:srgbClr val="FFFFFF"/>
          </a:solidFill>
          <a:ln w="2857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
        <p:nvSpPr>
          <p:cNvPr id="24" name="Ellipse 23">
            <a:extLst>
              <a:ext uri="{FF2B5EF4-FFF2-40B4-BE49-F238E27FC236}">
                <a16:creationId xmlns:a16="http://schemas.microsoft.com/office/drawing/2014/main" id="{1933FC41-CBE6-4301-8FE5-782B33F4989D}"/>
              </a:ext>
            </a:extLst>
          </p:cNvPr>
          <p:cNvSpPr/>
          <p:nvPr/>
        </p:nvSpPr>
        <p:spPr bwMode="auto">
          <a:xfrm>
            <a:off x="6402641" y="4537477"/>
            <a:ext cx="121122" cy="120647"/>
          </a:xfrm>
          <a:prstGeom prst="ellipse">
            <a:avLst/>
          </a:prstGeom>
          <a:solidFill>
            <a:srgbClr val="FFFFFF"/>
          </a:solidFill>
          <a:ln w="2857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
        <p:nvSpPr>
          <p:cNvPr id="25" name="ZoneTexte 24">
            <a:extLst>
              <a:ext uri="{FF2B5EF4-FFF2-40B4-BE49-F238E27FC236}">
                <a16:creationId xmlns:a16="http://schemas.microsoft.com/office/drawing/2014/main" id="{EF46D459-B3E0-4C17-91F6-444FF29EAA0E}"/>
              </a:ext>
            </a:extLst>
          </p:cNvPr>
          <p:cNvSpPr txBox="1"/>
          <p:nvPr/>
        </p:nvSpPr>
        <p:spPr>
          <a:xfrm>
            <a:off x="1086177" y="2565450"/>
            <a:ext cx="2289472" cy="142603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29" name="ZoneTexte 28">
            <a:extLst>
              <a:ext uri="{FF2B5EF4-FFF2-40B4-BE49-F238E27FC236}">
                <a16:creationId xmlns:a16="http://schemas.microsoft.com/office/drawing/2014/main" id="{AFABED77-055E-4483-BF4C-2EBBF4DB64E2}"/>
              </a:ext>
            </a:extLst>
          </p:cNvPr>
          <p:cNvSpPr txBox="1"/>
          <p:nvPr/>
        </p:nvSpPr>
        <p:spPr>
          <a:xfrm>
            <a:off x="1086177" y="4424921"/>
            <a:ext cx="2279086" cy="195951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 name="Ellipse 7">
            <a:extLst>
              <a:ext uri="{FF2B5EF4-FFF2-40B4-BE49-F238E27FC236}">
                <a16:creationId xmlns:a16="http://schemas.microsoft.com/office/drawing/2014/main" id="{1355CB2A-6539-40C1-BABA-7B16349A0F5D}"/>
              </a:ext>
            </a:extLst>
          </p:cNvPr>
          <p:cNvSpPr/>
          <p:nvPr/>
        </p:nvSpPr>
        <p:spPr bwMode="auto">
          <a:xfrm>
            <a:off x="432000" y="1439947"/>
            <a:ext cx="874321" cy="873760"/>
          </a:xfrm>
          <a:prstGeom prst="ellipse">
            <a:avLst/>
          </a:prstGeom>
          <a:solidFill>
            <a:schemeClr val="accent3"/>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sp>
        <p:nvSpPr>
          <p:cNvPr id="9" name="Ellipse 8">
            <a:extLst>
              <a:ext uri="{FF2B5EF4-FFF2-40B4-BE49-F238E27FC236}">
                <a16:creationId xmlns:a16="http://schemas.microsoft.com/office/drawing/2014/main" id="{F75CEDCF-E494-48C6-9952-A4D4BF56A210}"/>
              </a:ext>
            </a:extLst>
          </p:cNvPr>
          <p:cNvSpPr/>
          <p:nvPr/>
        </p:nvSpPr>
        <p:spPr bwMode="auto">
          <a:xfrm>
            <a:off x="3209687" y="1470723"/>
            <a:ext cx="874321" cy="873760"/>
          </a:xfrm>
          <a:prstGeom prst="ellipse">
            <a:avLst/>
          </a:prstGeom>
          <a:solidFill>
            <a:schemeClr val="accent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sp>
        <p:nvSpPr>
          <p:cNvPr id="10" name="Ellipse 9">
            <a:extLst>
              <a:ext uri="{FF2B5EF4-FFF2-40B4-BE49-F238E27FC236}">
                <a16:creationId xmlns:a16="http://schemas.microsoft.com/office/drawing/2014/main" id="{B1711590-D71D-405C-8046-644972CB3557}"/>
              </a:ext>
            </a:extLst>
          </p:cNvPr>
          <p:cNvSpPr/>
          <p:nvPr/>
        </p:nvSpPr>
        <p:spPr bwMode="auto">
          <a:xfrm>
            <a:off x="6026042" y="1490860"/>
            <a:ext cx="874321" cy="87376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b="1" dirty="0">
              <a:solidFill>
                <a:schemeClr val="bg1"/>
              </a:solidFill>
              <a:latin typeface="+mn-lt"/>
            </a:endParaRPr>
          </a:p>
        </p:txBody>
      </p:sp>
      <p:cxnSp>
        <p:nvCxnSpPr>
          <p:cNvPr id="77" name="Connecteur droit 76">
            <a:extLst>
              <a:ext uri="{FF2B5EF4-FFF2-40B4-BE49-F238E27FC236}">
                <a16:creationId xmlns:a16="http://schemas.microsoft.com/office/drawing/2014/main" id="{4556F579-EC2F-48C2-B38F-FD50CFD6E5B7}"/>
              </a:ext>
            </a:extLst>
          </p:cNvPr>
          <p:cNvCxnSpPr>
            <a:cxnSpLocks/>
          </p:cNvCxnSpPr>
          <p:nvPr/>
        </p:nvCxnSpPr>
        <p:spPr>
          <a:xfrm>
            <a:off x="9142320" y="2351236"/>
            <a:ext cx="0" cy="3888000"/>
          </a:xfrm>
          <a:prstGeom prst="line">
            <a:avLst/>
          </a:prstGeom>
          <a:ln w="19050">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Ellipse 78">
            <a:extLst>
              <a:ext uri="{FF2B5EF4-FFF2-40B4-BE49-F238E27FC236}">
                <a16:creationId xmlns:a16="http://schemas.microsoft.com/office/drawing/2014/main" id="{1E9C0159-35DF-42DE-836E-5634A98AB189}"/>
              </a:ext>
            </a:extLst>
          </p:cNvPr>
          <p:cNvSpPr/>
          <p:nvPr/>
        </p:nvSpPr>
        <p:spPr bwMode="auto">
          <a:xfrm>
            <a:off x="9081759" y="4537472"/>
            <a:ext cx="121122" cy="120647"/>
          </a:xfrm>
          <a:prstGeom prst="ellipse">
            <a:avLst/>
          </a:prstGeom>
          <a:solidFill>
            <a:srgbClr val="FFFFFF"/>
          </a:solidFill>
          <a:ln w="285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
        <p:nvSpPr>
          <p:cNvPr id="67" name="Ellipse 66">
            <a:extLst>
              <a:ext uri="{FF2B5EF4-FFF2-40B4-BE49-F238E27FC236}">
                <a16:creationId xmlns:a16="http://schemas.microsoft.com/office/drawing/2014/main" id="{1EEF7193-E01A-4300-90B6-5B774199DAE1}"/>
              </a:ext>
            </a:extLst>
          </p:cNvPr>
          <p:cNvSpPr/>
          <p:nvPr/>
        </p:nvSpPr>
        <p:spPr bwMode="auto">
          <a:xfrm>
            <a:off x="8705160" y="1485031"/>
            <a:ext cx="874321" cy="873760"/>
          </a:xfrm>
          <a:prstGeom prst="ellipse">
            <a:avLst/>
          </a:prstGeom>
          <a:solidFill>
            <a:schemeClr val="accent6"/>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l">
              <a:buClr>
                <a:schemeClr val="accent3"/>
              </a:buClr>
              <a:buSzPct val="77000"/>
            </a:pPr>
            <a:endParaRPr lang="en-GB" sz="1400" b="1" dirty="0">
              <a:solidFill>
                <a:srgbClr val="FFFFFF"/>
              </a:solidFill>
              <a:latin typeface="+mn-lt"/>
            </a:endParaRPr>
          </a:p>
        </p:txBody>
      </p:sp>
      <p:sp>
        <p:nvSpPr>
          <p:cNvPr id="81" name="ZoneTexte 80">
            <a:extLst>
              <a:ext uri="{FF2B5EF4-FFF2-40B4-BE49-F238E27FC236}">
                <a16:creationId xmlns:a16="http://schemas.microsoft.com/office/drawing/2014/main" id="{1328E4D1-9553-47BC-9275-D1D1E53BF9F6}"/>
              </a:ext>
            </a:extLst>
          </p:cNvPr>
          <p:cNvSpPr txBox="1"/>
          <p:nvPr/>
        </p:nvSpPr>
        <p:spPr>
          <a:xfrm>
            <a:off x="3863863" y="2565450"/>
            <a:ext cx="2289472" cy="142603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2" name="ZoneTexte 81">
            <a:extLst>
              <a:ext uri="{FF2B5EF4-FFF2-40B4-BE49-F238E27FC236}">
                <a16:creationId xmlns:a16="http://schemas.microsoft.com/office/drawing/2014/main" id="{97C95927-ED1E-4A4E-88F1-4E837C64D513}"/>
              </a:ext>
            </a:extLst>
          </p:cNvPr>
          <p:cNvSpPr txBox="1"/>
          <p:nvPr/>
        </p:nvSpPr>
        <p:spPr>
          <a:xfrm>
            <a:off x="3863863" y="4424921"/>
            <a:ext cx="2279086" cy="195951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3" name="ZoneTexte 82">
            <a:extLst>
              <a:ext uri="{FF2B5EF4-FFF2-40B4-BE49-F238E27FC236}">
                <a16:creationId xmlns:a16="http://schemas.microsoft.com/office/drawing/2014/main" id="{E78D9DD4-4C40-471C-BD25-5D83B644E1C4}"/>
              </a:ext>
            </a:extLst>
          </p:cNvPr>
          <p:cNvSpPr txBox="1"/>
          <p:nvPr/>
        </p:nvSpPr>
        <p:spPr>
          <a:xfrm>
            <a:off x="6680217" y="2565450"/>
            <a:ext cx="2289472" cy="142603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4" name="ZoneTexte 83">
            <a:extLst>
              <a:ext uri="{FF2B5EF4-FFF2-40B4-BE49-F238E27FC236}">
                <a16:creationId xmlns:a16="http://schemas.microsoft.com/office/drawing/2014/main" id="{C93E999D-3C93-43E3-BB22-C3B2655BF642}"/>
              </a:ext>
            </a:extLst>
          </p:cNvPr>
          <p:cNvSpPr txBox="1"/>
          <p:nvPr/>
        </p:nvSpPr>
        <p:spPr>
          <a:xfrm>
            <a:off x="6680217" y="4424921"/>
            <a:ext cx="2279086" cy="195951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5" name="ZoneTexte 84">
            <a:extLst>
              <a:ext uri="{FF2B5EF4-FFF2-40B4-BE49-F238E27FC236}">
                <a16:creationId xmlns:a16="http://schemas.microsoft.com/office/drawing/2014/main" id="{1BDBFF39-18A1-4D86-8767-C6E20917A082}"/>
              </a:ext>
            </a:extLst>
          </p:cNvPr>
          <p:cNvSpPr txBox="1"/>
          <p:nvPr/>
        </p:nvSpPr>
        <p:spPr>
          <a:xfrm>
            <a:off x="9375512" y="2565450"/>
            <a:ext cx="2289472" cy="142603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p:txBody>
      </p:sp>
      <p:sp>
        <p:nvSpPr>
          <p:cNvPr id="86" name="ZoneTexte 85">
            <a:extLst>
              <a:ext uri="{FF2B5EF4-FFF2-40B4-BE49-F238E27FC236}">
                <a16:creationId xmlns:a16="http://schemas.microsoft.com/office/drawing/2014/main" id="{E7E2751C-1DDD-49D0-A75A-2C4C2DD5082C}"/>
              </a:ext>
            </a:extLst>
          </p:cNvPr>
          <p:cNvSpPr txBox="1"/>
          <p:nvPr/>
        </p:nvSpPr>
        <p:spPr>
          <a:xfrm>
            <a:off x="9375512" y="4424921"/>
            <a:ext cx="2279086" cy="1959511"/>
          </a:xfrm>
          <a:prstGeom prst="rect">
            <a:avLst/>
          </a:prstGeom>
          <a:noFill/>
        </p:spPr>
        <p:txBody>
          <a:bodyPr wrap="square" rtlCol="0">
            <a:spAutoFit/>
          </a:bodyPr>
          <a:lstStyle/>
          <a:p>
            <a:pPr marL="180000" indent="-180000" algn="just">
              <a:spcBef>
                <a:spcPts val="400"/>
              </a:spcBef>
              <a:spcAft>
                <a:spcPts val="400"/>
              </a:spcAft>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a:t>
            </a: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kern="0" dirty="0">
              <a:latin typeface="+mn-lt"/>
              <a:cs typeface="Arial" pitchFamily="34" charset="0"/>
            </a:endParaRPr>
          </a:p>
          <a:p>
            <a:pPr marL="180000" indent="-180000" algn="l">
              <a:spcBef>
                <a:spcPts val="840"/>
              </a:spcBef>
              <a:spcAft>
                <a:spcPts val="0"/>
              </a:spcAft>
              <a:buClr>
                <a:srgbClr val="C2C2C2"/>
              </a:buClr>
              <a:buSzPct val="77000"/>
              <a:buFont typeface="Wingdings 3" panose="05040102010807070707" pitchFamily="18" charset="2"/>
              <a:buChar char=""/>
            </a:pPr>
            <a:r>
              <a:rPr lang="en-GB" kern="0" dirty="0">
                <a:latin typeface="+mn-lt"/>
                <a:cs typeface="Arial" pitchFamily="34" charset="0"/>
              </a:rPr>
              <a:t>Lorem ipsum </a:t>
            </a:r>
            <a:r>
              <a:rPr lang="en-GB" kern="0" dirty="0" err="1">
                <a:latin typeface="+mn-lt"/>
                <a:cs typeface="Arial" pitchFamily="34" charset="0"/>
              </a:rPr>
              <a:t>dolor</a:t>
            </a:r>
            <a:r>
              <a:rPr lang="en-GB" kern="0" dirty="0">
                <a:latin typeface="+mn-lt"/>
                <a:cs typeface="Arial" pitchFamily="34" charset="0"/>
              </a:rPr>
              <a:t> sit, </a:t>
            </a:r>
            <a:r>
              <a:rPr lang="en-GB" kern="0" dirty="0" err="1">
                <a:latin typeface="+mn-lt"/>
                <a:cs typeface="Arial" pitchFamily="34" charset="0"/>
              </a:rPr>
              <a:t>consectetur</a:t>
            </a:r>
            <a:r>
              <a:rPr lang="en-GB" kern="0" dirty="0">
                <a:latin typeface="+mn-lt"/>
                <a:cs typeface="Arial" pitchFamily="34" charset="0"/>
              </a:rPr>
              <a:t> </a:t>
            </a:r>
            <a:r>
              <a:rPr lang="en-GB" kern="0" dirty="0" err="1">
                <a:latin typeface="+mn-lt"/>
                <a:cs typeface="Arial" pitchFamily="34" charset="0"/>
              </a:rPr>
              <a:t>adipiscing</a:t>
            </a:r>
            <a:endParaRPr lang="en-GB" dirty="0">
              <a:latin typeface="+mn-lt"/>
            </a:endParaRPr>
          </a:p>
        </p:txBody>
      </p:sp>
      <p:pic>
        <p:nvPicPr>
          <p:cNvPr id="38" name="Graphique 37">
            <a:extLst>
              <a:ext uri="{FF2B5EF4-FFF2-40B4-BE49-F238E27FC236}">
                <a16:creationId xmlns:a16="http://schemas.microsoft.com/office/drawing/2014/main" id="{35E2D8E6-3BB1-4C87-8480-A877D75FE3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8747" y="1648542"/>
            <a:ext cx="440826" cy="456570"/>
          </a:xfrm>
          <a:prstGeom prst="rect">
            <a:avLst/>
          </a:prstGeom>
        </p:spPr>
      </p:pic>
      <p:pic>
        <p:nvPicPr>
          <p:cNvPr id="39" name="Graphique 38">
            <a:extLst>
              <a:ext uri="{FF2B5EF4-FFF2-40B4-BE49-F238E27FC236}">
                <a16:creationId xmlns:a16="http://schemas.microsoft.com/office/drawing/2014/main" id="{A7267322-F0D7-4DB1-A48F-E378E9F72D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38853" y="1703391"/>
            <a:ext cx="448698" cy="448698"/>
          </a:xfrm>
          <a:prstGeom prst="rect">
            <a:avLst/>
          </a:prstGeom>
        </p:spPr>
      </p:pic>
      <p:pic>
        <p:nvPicPr>
          <p:cNvPr id="40" name="Graphique 39">
            <a:extLst>
              <a:ext uri="{FF2B5EF4-FFF2-40B4-BE49-F238E27FC236}">
                <a16:creationId xmlns:a16="http://schemas.microsoft.com/office/drawing/2014/main" id="{EB551A7A-B6D6-4B98-AB73-8A4E2C1E01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70409" y="1668023"/>
            <a:ext cx="552877" cy="479160"/>
          </a:xfrm>
          <a:prstGeom prst="rect">
            <a:avLst/>
          </a:prstGeom>
        </p:spPr>
      </p:pic>
      <p:sp>
        <p:nvSpPr>
          <p:cNvPr id="23" name="Forme libre : forme 22">
            <a:extLst>
              <a:ext uri="{FF2B5EF4-FFF2-40B4-BE49-F238E27FC236}">
                <a16:creationId xmlns:a16="http://schemas.microsoft.com/office/drawing/2014/main" id="{3571B84C-B9CF-4886-930E-3726795F318E}"/>
              </a:ext>
            </a:extLst>
          </p:cNvPr>
          <p:cNvSpPr/>
          <p:nvPr/>
        </p:nvSpPr>
        <p:spPr>
          <a:xfrm>
            <a:off x="8940713" y="1680162"/>
            <a:ext cx="71156" cy="158225"/>
          </a:xfrm>
          <a:custGeom>
            <a:avLst/>
            <a:gdLst>
              <a:gd name="connsiteX0" fmla="*/ 146896 w 162674"/>
              <a:gd name="connsiteY0" fmla="*/ 433796 h 433796"/>
              <a:gd name="connsiteX1" fmla="*/ 15779 w 162674"/>
              <a:gd name="connsiteY1" fmla="*/ 433796 h 433796"/>
              <a:gd name="connsiteX2" fmla="*/ 0 w 162674"/>
              <a:gd name="connsiteY2" fmla="*/ 419725 h 433796"/>
              <a:gd name="connsiteX3" fmla="*/ 0 w 162674"/>
              <a:gd name="connsiteY3" fmla="*/ 14072 h 433796"/>
              <a:gd name="connsiteX4" fmla="*/ 15779 w 162674"/>
              <a:gd name="connsiteY4" fmla="*/ 0 h 433796"/>
              <a:gd name="connsiteX5" fmla="*/ 146896 w 162674"/>
              <a:gd name="connsiteY5" fmla="*/ 0 h 433796"/>
              <a:gd name="connsiteX6" fmla="*/ 162674 w 162674"/>
              <a:gd name="connsiteY6" fmla="*/ 14072 h 433796"/>
              <a:gd name="connsiteX7" fmla="*/ 162674 w 162674"/>
              <a:gd name="connsiteY7" fmla="*/ 419725 h 433796"/>
              <a:gd name="connsiteX8" fmla="*/ 146896 w 162674"/>
              <a:gd name="connsiteY8" fmla="*/ 433796 h 43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74" h="433796">
                <a:moveTo>
                  <a:pt x="146896" y="433796"/>
                </a:moveTo>
                <a:lnTo>
                  <a:pt x="15779" y="433796"/>
                </a:lnTo>
                <a:cubicBezTo>
                  <a:pt x="7049" y="433796"/>
                  <a:pt x="0" y="427506"/>
                  <a:pt x="0" y="419725"/>
                </a:cubicBezTo>
                <a:lnTo>
                  <a:pt x="0" y="14072"/>
                </a:lnTo>
                <a:cubicBezTo>
                  <a:pt x="0" y="6290"/>
                  <a:pt x="7049" y="0"/>
                  <a:pt x="15779" y="0"/>
                </a:cubicBezTo>
                <a:lnTo>
                  <a:pt x="146896" y="0"/>
                </a:lnTo>
                <a:cubicBezTo>
                  <a:pt x="155625" y="0"/>
                  <a:pt x="162674" y="6290"/>
                  <a:pt x="162674" y="14072"/>
                </a:cubicBezTo>
                <a:lnTo>
                  <a:pt x="162674" y="419725"/>
                </a:lnTo>
                <a:cubicBezTo>
                  <a:pt x="162674" y="427506"/>
                  <a:pt x="155625" y="433796"/>
                  <a:pt x="146896" y="433796"/>
                </a:cubicBezTo>
                <a:close/>
              </a:path>
            </a:pathLst>
          </a:custGeom>
          <a:solidFill>
            <a:srgbClr val="FFFFFF"/>
          </a:solidFill>
          <a:ln w="26894" cap="flat">
            <a:solidFill>
              <a:srgbClr val="901237"/>
            </a:solidFill>
            <a:prstDash val="solid"/>
            <a:miter/>
          </a:ln>
        </p:spPr>
        <p:txBody>
          <a:bodyPr rtlCol="0" anchor="ctr"/>
          <a:lstStyle/>
          <a:p>
            <a:endParaRPr lang="en-GB" dirty="0">
              <a:solidFill>
                <a:srgbClr val="000000"/>
              </a:solidFill>
              <a:latin typeface="+mn-lt"/>
            </a:endParaRPr>
          </a:p>
        </p:txBody>
      </p:sp>
      <p:sp>
        <p:nvSpPr>
          <p:cNvPr id="26" name="Forme libre : forme 25">
            <a:extLst>
              <a:ext uri="{FF2B5EF4-FFF2-40B4-BE49-F238E27FC236}">
                <a16:creationId xmlns:a16="http://schemas.microsoft.com/office/drawing/2014/main" id="{7669173E-F33D-49A5-8C43-9D97122CD35E}"/>
              </a:ext>
            </a:extLst>
          </p:cNvPr>
          <p:cNvSpPr/>
          <p:nvPr/>
        </p:nvSpPr>
        <p:spPr>
          <a:xfrm>
            <a:off x="9094883" y="1620828"/>
            <a:ext cx="130454" cy="79112"/>
          </a:xfrm>
          <a:custGeom>
            <a:avLst/>
            <a:gdLst>
              <a:gd name="connsiteX0" fmla="*/ 297424 w 298240"/>
              <a:gd name="connsiteY0" fmla="*/ 24130 h 216898"/>
              <a:gd name="connsiteX1" fmla="*/ 279450 w 298240"/>
              <a:gd name="connsiteY1" fmla="*/ 10547 h 216898"/>
              <a:gd name="connsiteX2" fmla="*/ 254072 w 298240"/>
              <a:gd name="connsiteY2" fmla="*/ 19819 h 216898"/>
              <a:gd name="connsiteX3" fmla="*/ 201583 w 298240"/>
              <a:gd name="connsiteY3" fmla="*/ 0 h 216898"/>
              <a:gd name="connsiteX4" fmla="*/ 149120 w 298240"/>
              <a:gd name="connsiteY4" fmla="*/ 19819 h 216898"/>
              <a:gd name="connsiteX5" fmla="*/ 96631 w 298240"/>
              <a:gd name="connsiteY5" fmla="*/ 0 h 216898"/>
              <a:gd name="connsiteX6" fmla="*/ 44141 w 298240"/>
              <a:gd name="connsiteY6" fmla="*/ 19819 h 216898"/>
              <a:gd name="connsiteX7" fmla="*/ 18791 w 298240"/>
              <a:gd name="connsiteY7" fmla="*/ 10547 h 216898"/>
              <a:gd name="connsiteX8" fmla="*/ 816 w 298240"/>
              <a:gd name="connsiteY8" fmla="*/ 24130 h 216898"/>
              <a:gd name="connsiteX9" fmla="*/ 64123 w 298240"/>
              <a:gd name="connsiteY9" fmla="*/ 191060 h 216898"/>
              <a:gd name="connsiteX10" fmla="*/ 101511 w 298240"/>
              <a:gd name="connsiteY10" fmla="*/ 216898 h 216898"/>
              <a:gd name="connsiteX11" fmla="*/ 224330 w 298240"/>
              <a:gd name="connsiteY11" fmla="*/ 216898 h 21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240" h="216898">
                <a:moveTo>
                  <a:pt x="297424" y="24130"/>
                </a:moveTo>
                <a:cubicBezTo>
                  <a:pt x="301601" y="13123"/>
                  <a:pt x="288857" y="3497"/>
                  <a:pt x="279450" y="10547"/>
                </a:cubicBezTo>
                <a:cubicBezTo>
                  <a:pt x="273186" y="15291"/>
                  <a:pt x="266625" y="19819"/>
                  <a:pt x="254072" y="19819"/>
                </a:cubicBezTo>
                <a:cubicBezTo>
                  <a:pt x="227828" y="19819"/>
                  <a:pt x="227828" y="0"/>
                  <a:pt x="201583" y="0"/>
                </a:cubicBezTo>
                <a:cubicBezTo>
                  <a:pt x="175366" y="0"/>
                  <a:pt x="175366" y="19819"/>
                  <a:pt x="149120" y="19819"/>
                </a:cubicBezTo>
                <a:cubicBezTo>
                  <a:pt x="122875" y="19819"/>
                  <a:pt x="122875" y="0"/>
                  <a:pt x="96631" y="0"/>
                </a:cubicBezTo>
                <a:cubicBezTo>
                  <a:pt x="70386" y="0"/>
                  <a:pt x="70386" y="19819"/>
                  <a:pt x="44141" y="19819"/>
                </a:cubicBezTo>
                <a:cubicBezTo>
                  <a:pt x="31616" y="19819"/>
                  <a:pt x="25054" y="15291"/>
                  <a:pt x="18791" y="10547"/>
                </a:cubicBezTo>
                <a:cubicBezTo>
                  <a:pt x="9383" y="3497"/>
                  <a:pt x="-3360" y="13149"/>
                  <a:pt x="816" y="24130"/>
                </a:cubicBezTo>
                <a:lnTo>
                  <a:pt x="64123" y="191060"/>
                </a:lnTo>
                <a:cubicBezTo>
                  <a:pt x="70034" y="206623"/>
                  <a:pt x="84891" y="216898"/>
                  <a:pt x="101511" y="216898"/>
                </a:cubicBezTo>
                <a:lnTo>
                  <a:pt x="224330" y="216898"/>
                </a:lnTo>
                <a:close/>
              </a:path>
            </a:pathLst>
          </a:custGeom>
          <a:solidFill>
            <a:srgbClr val="FFFFFF"/>
          </a:solidFill>
          <a:ln w="26894" cap="flat">
            <a:noFill/>
            <a:prstDash val="solid"/>
            <a:miter/>
          </a:ln>
        </p:spPr>
        <p:txBody>
          <a:bodyPr rtlCol="0" anchor="ctr"/>
          <a:lstStyle/>
          <a:p>
            <a:endParaRPr lang="en-GB" dirty="0">
              <a:solidFill>
                <a:srgbClr val="000000"/>
              </a:solidFill>
              <a:latin typeface="+mn-lt"/>
            </a:endParaRPr>
          </a:p>
        </p:txBody>
      </p:sp>
      <p:sp>
        <p:nvSpPr>
          <p:cNvPr id="27" name="Forme libre : forme 26">
            <a:extLst>
              <a:ext uri="{FF2B5EF4-FFF2-40B4-BE49-F238E27FC236}">
                <a16:creationId xmlns:a16="http://schemas.microsoft.com/office/drawing/2014/main" id="{3FB6928B-E639-43C1-8E4C-0EB06E7D58FF}"/>
              </a:ext>
            </a:extLst>
          </p:cNvPr>
          <p:cNvSpPr/>
          <p:nvPr/>
        </p:nvSpPr>
        <p:spPr>
          <a:xfrm>
            <a:off x="8988152" y="1848276"/>
            <a:ext cx="355776" cy="336227"/>
          </a:xfrm>
          <a:custGeom>
            <a:avLst/>
            <a:gdLst>
              <a:gd name="connsiteX0" fmla="*/ 789724 w 813363"/>
              <a:gd name="connsiteY0" fmla="*/ 849942 h 921816"/>
              <a:gd name="connsiteX1" fmla="*/ 757541 w 813363"/>
              <a:gd name="connsiteY1" fmla="*/ 711155 h 921816"/>
              <a:gd name="connsiteX2" fmla="*/ 772291 w 813363"/>
              <a:gd name="connsiteY2" fmla="*/ 606040 h 921816"/>
              <a:gd name="connsiteX3" fmla="*/ 772291 w 813363"/>
              <a:gd name="connsiteY3" fmla="*/ 343539 h 921816"/>
              <a:gd name="connsiteX4" fmla="*/ 563146 w 813363"/>
              <a:gd name="connsiteY4" fmla="*/ 6859 h 921816"/>
              <a:gd name="connsiteX5" fmla="*/ 557290 w 813363"/>
              <a:gd name="connsiteY5" fmla="*/ 7185 h 921816"/>
              <a:gd name="connsiteX6" fmla="*/ 325805 w 813363"/>
              <a:gd name="connsiteY6" fmla="*/ 7185 h 921816"/>
              <a:gd name="connsiteX7" fmla="*/ 265262 w 813363"/>
              <a:gd name="connsiteY7" fmla="*/ 0 h 921816"/>
              <a:gd name="connsiteX8" fmla="*/ 41071 w 813363"/>
              <a:gd name="connsiteY8" fmla="*/ 343539 h 921816"/>
              <a:gd name="connsiteX9" fmla="*/ 41071 w 813363"/>
              <a:gd name="connsiteY9" fmla="*/ 606040 h 921816"/>
              <a:gd name="connsiteX10" fmla="*/ 55846 w 813363"/>
              <a:gd name="connsiteY10" fmla="*/ 711155 h 921816"/>
              <a:gd name="connsiteX11" fmla="*/ 23637 w 813363"/>
              <a:gd name="connsiteY11" fmla="*/ 849942 h 921816"/>
              <a:gd name="connsiteX12" fmla="*/ 23637 w 813363"/>
              <a:gd name="connsiteY12" fmla="*/ 849942 h 921816"/>
              <a:gd name="connsiteX13" fmla="*/ 1378 w 813363"/>
              <a:gd name="connsiteY13" fmla="*/ 887547 h 921816"/>
              <a:gd name="connsiteX14" fmla="*/ 25833 w 813363"/>
              <a:gd name="connsiteY14" fmla="*/ 921817 h 921816"/>
              <a:gd name="connsiteX15" fmla="*/ 787555 w 813363"/>
              <a:gd name="connsiteY15" fmla="*/ 921817 h 921816"/>
              <a:gd name="connsiteX16" fmla="*/ 811983 w 813363"/>
              <a:gd name="connsiteY16" fmla="*/ 887547 h 921816"/>
              <a:gd name="connsiteX17" fmla="*/ 789724 w 813363"/>
              <a:gd name="connsiteY17" fmla="*/ 849942 h 92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3363" h="921816">
                <a:moveTo>
                  <a:pt x="789724" y="849942"/>
                </a:moveTo>
                <a:cubicBezTo>
                  <a:pt x="755536" y="812799"/>
                  <a:pt x="743444" y="760011"/>
                  <a:pt x="757541" y="711155"/>
                </a:cubicBezTo>
                <a:cubicBezTo>
                  <a:pt x="767139" y="677834"/>
                  <a:pt x="772291" y="642534"/>
                  <a:pt x="772291" y="606040"/>
                </a:cubicBezTo>
                <a:lnTo>
                  <a:pt x="772291" y="343539"/>
                </a:lnTo>
                <a:cubicBezTo>
                  <a:pt x="772291" y="194883"/>
                  <a:pt x="686779" y="66560"/>
                  <a:pt x="563146" y="6859"/>
                </a:cubicBezTo>
                <a:cubicBezTo>
                  <a:pt x="561222" y="7049"/>
                  <a:pt x="559269" y="7185"/>
                  <a:pt x="557290" y="7185"/>
                </a:cubicBezTo>
                <a:lnTo>
                  <a:pt x="325805" y="7185"/>
                </a:lnTo>
                <a:cubicBezTo>
                  <a:pt x="304955" y="7185"/>
                  <a:pt x="284701" y="4691"/>
                  <a:pt x="265262" y="0"/>
                </a:cubicBezTo>
                <a:cubicBezTo>
                  <a:pt x="133551" y="56312"/>
                  <a:pt x="41071" y="188918"/>
                  <a:pt x="41071" y="343539"/>
                </a:cubicBezTo>
                <a:lnTo>
                  <a:pt x="41071" y="606040"/>
                </a:lnTo>
                <a:cubicBezTo>
                  <a:pt x="41071" y="642534"/>
                  <a:pt x="46222" y="677834"/>
                  <a:pt x="55846" y="711155"/>
                </a:cubicBezTo>
                <a:cubicBezTo>
                  <a:pt x="69917" y="760011"/>
                  <a:pt x="57825" y="812799"/>
                  <a:pt x="23637" y="849942"/>
                </a:cubicBezTo>
                <a:lnTo>
                  <a:pt x="23637" y="849942"/>
                </a:lnTo>
                <a:cubicBezTo>
                  <a:pt x="13606" y="860842"/>
                  <a:pt x="6068" y="873693"/>
                  <a:pt x="1378" y="887547"/>
                </a:cubicBezTo>
                <a:cubicBezTo>
                  <a:pt x="-4316" y="904356"/>
                  <a:pt x="8373" y="921817"/>
                  <a:pt x="25833" y="921817"/>
                </a:cubicBezTo>
                <a:lnTo>
                  <a:pt x="787555" y="921817"/>
                </a:lnTo>
                <a:cubicBezTo>
                  <a:pt x="805016" y="921817"/>
                  <a:pt x="817677" y="904356"/>
                  <a:pt x="811983" y="887547"/>
                </a:cubicBezTo>
                <a:cubicBezTo>
                  <a:pt x="807293" y="873693"/>
                  <a:pt x="799756" y="860842"/>
                  <a:pt x="789724" y="849942"/>
                </a:cubicBezTo>
                <a:close/>
              </a:path>
            </a:pathLst>
          </a:custGeom>
          <a:solidFill>
            <a:srgbClr val="FFFFFF"/>
          </a:solidFill>
          <a:ln w="26894" cap="flat">
            <a:noFill/>
            <a:prstDash val="solid"/>
            <a:miter/>
          </a:ln>
        </p:spPr>
        <p:txBody>
          <a:bodyPr rtlCol="0" anchor="ctr"/>
          <a:lstStyle/>
          <a:p>
            <a:endParaRPr lang="en-GB" dirty="0">
              <a:solidFill>
                <a:srgbClr val="000000"/>
              </a:solidFill>
              <a:latin typeface="+mn-lt"/>
            </a:endParaRPr>
          </a:p>
        </p:txBody>
      </p:sp>
      <p:sp>
        <p:nvSpPr>
          <p:cNvPr id="28" name="Forme libre : forme 27">
            <a:extLst>
              <a:ext uri="{FF2B5EF4-FFF2-40B4-BE49-F238E27FC236}">
                <a16:creationId xmlns:a16="http://schemas.microsoft.com/office/drawing/2014/main" id="{9173BA99-D160-455A-8BA6-67BBB51A2C26}"/>
              </a:ext>
            </a:extLst>
          </p:cNvPr>
          <p:cNvSpPr/>
          <p:nvPr/>
        </p:nvSpPr>
        <p:spPr>
          <a:xfrm>
            <a:off x="9011869" y="1670273"/>
            <a:ext cx="260909" cy="187892"/>
          </a:xfrm>
          <a:custGeom>
            <a:avLst/>
            <a:gdLst>
              <a:gd name="connsiteX0" fmla="*/ 528963 w 596481"/>
              <a:gd name="connsiteY0" fmla="*/ 308158 h 515133"/>
              <a:gd name="connsiteX1" fmla="*/ 542600 w 596481"/>
              <a:gd name="connsiteY1" fmla="*/ 308158 h 515133"/>
              <a:gd name="connsiteX2" fmla="*/ 596472 w 596481"/>
              <a:gd name="connsiteY2" fmla="*/ 255424 h 515133"/>
              <a:gd name="connsiteX3" fmla="*/ 543984 w 596481"/>
              <a:gd name="connsiteY3" fmla="*/ 204671 h 515133"/>
              <a:gd name="connsiteX4" fmla="*/ 525059 w 596481"/>
              <a:gd name="connsiteY4" fmla="*/ 204671 h 515133"/>
              <a:gd name="connsiteX5" fmla="*/ 577522 w 596481"/>
              <a:gd name="connsiteY5" fmla="*/ 153916 h 515133"/>
              <a:gd name="connsiteX6" fmla="*/ 523649 w 596481"/>
              <a:gd name="connsiteY6" fmla="*/ 101183 h 515133"/>
              <a:gd name="connsiteX7" fmla="*/ 295173 w 596481"/>
              <a:gd name="connsiteY7" fmla="*/ 101183 h 515133"/>
              <a:gd name="connsiteX8" fmla="*/ 256727 w 596481"/>
              <a:gd name="connsiteY8" fmla="*/ 75047 h 515133"/>
              <a:gd name="connsiteX9" fmla="*/ 227771 w 596481"/>
              <a:gd name="connsiteY9" fmla="*/ 0 h 515133"/>
              <a:gd name="connsiteX10" fmla="*/ 90990 w 596481"/>
              <a:gd name="connsiteY10" fmla="*/ 60975 h 515133"/>
              <a:gd name="connsiteX11" fmla="*/ 26028 w 596481"/>
              <a:gd name="connsiteY11" fmla="*/ 84428 h 515133"/>
              <a:gd name="connsiteX12" fmla="*/ 0 w 596481"/>
              <a:gd name="connsiteY12" fmla="*/ 84428 h 515133"/>
              <a:gd name="connsiteX13" fmla="*/ 0 w 596481"/>
              <a:gd name="connsiteY13" fmla="*/ 428373 h 515133"/>
              <a:gd name="connsiteX14" fmla="*/ 26028 w 596481"/>
              <a:gd name="connsiteY14" fmla="*/ 428401 h 515133"/>
              <a:gd name="connsiteX15" fmla="*/ 90990 w 596481"/>
              <a:gd name="connsiteY15" fmla="*/ 451853 h 515133"/>
              <a:gd name="connsiteX16" fmla="*/ 262962 w 596481"/>
              <a:gd name="connsiteY16" fmla="*/ 515133 h 515133"/>
              <a:gd name="connsiteX17" fmla="*/ 493960 w 596481"/>
              <a:gd name="connsiteY17" fmla="*/ 515133 h 515133"/>
              <a:gd name="connsiteX18" fmla="*/ 547833 w 596481"/>
              <a:gd name="connsiteY18" fmla="*/ 462399 h 515133"/>
              <a:gd name="connsiteX19" fmla="*/ 495344 w 596481"/>
              <a:gd name="connsiteY19" fmla="*/ 411646 h 515133"/>
              <a:gd name="connsiteX20" fmla="*/ 527608 w 596481"/>
              <a:gd name="connsiteY20" fmla="*/ 411646 h 515133"/>
              <a:gd name="connsiteX21" fmla="*/ 581452 w 596481"/>
              <a:gd name="connsiteY21" fmla="*/ 358912 h 515133"/>
              <a:gd name="connsiteX22" fmla="*/ 528963 w 596481"/>
              <a:gd name="connsiteY22" fmla="*/ 308158 h 51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6481" h="515133">
                <a:moveTo>
                  <a:pt x="528963" y="308158"/>
                </a:moveTo>
                <a:lnTo>
                  <a:pt x="542600" y="308158"/>
                </a:lnTo>
                <a:cubicBezTo>
                  <a:pt x="572044" y="308158"/>
                  <a:pt x="597015" y="284435"/>
                  <a:pt x="596472" y="255424"/>
                </a:cubicBezTo>
                <a:cubicBezTo>
                  <a:pt x="595930" y="227309"/>
                  <a:pt x="572640" y="204671"/>
                  <a:pt x="543984" y="204671"/>
                </a:cubicBezTo>
                <a:lnTo>
                  <a:pt x="525059" y="204671"/>
                </a:lnTo>
                <a:cubicBezTo>
                  <a:pt x="553689" y="204671"/>
                  <a:pt x="576979" y="182031"/>
                  <a:pt x="577522" y="153916"/>
                </a:cubicBezTo>
                <a:cubicBezTo>
                  <a:pt x="578063" y="124906"/>
                  <a:pt x="553093" y="101183"/>
                  <a:pt x="523649" y="101183"/>
                </a:cubicBezTo>
                <a:lnTo>
                  <a:pt x="295173" y="101183"/>
                </a:lnTo>
                <a:cubicBezTo>
                  <a:pt x="278092" y="101183"/>
                  <a:pt x="262774" y="90772"/>
                  <a:pt x="256727" y="75047"/>
                </a:cubicBezTo>
                <a:lnTo>
                  <a:pt x="227771" y="0"/>
                </a:lnTo>
                <a:cubicBezTo>
                  <a:pt x="175823" y="6859"/>
                  <a:pt x="128703" y="28712"/>
                  <a:pt x="90990" y="60975"/>
                </a:cubicBezTo>
                <a:cubicBezTo>
                  <a:pt x="73013" y="76348"/>
                  <a:pt x="49805" y="84428"/>
                  <a:pt x="26028" y="84428"/>
                </a:cubicBezTo>
                <a:lnTo>
                  <a:pt x="0" y="84428"/>
                </a:lnTo>
                <a:lnTo>
                  <a:pt x="0" y="428373"/>
                </a:lnTo>
                <a:lnTo>
                  <a:pt x="26028" y="428401"/>
                </a:lnTo>
                <a:cubicBezTo>
                  <a:pt x="49805" y="428401"/>
                  <a:pt x="73013" y="436480"/>
                  <a:pt x="90990" y="451853"/>
                </a:cubicBezTo>
                <a:cubicBezTo>
                  <a:pt x="137053" y="491274"/>
                  <a:pt x="197189" y="515133"/>
                  <a:pt x="262962" y="515133"/>
                </a:cubicBezTo>
                <a:lnTo>
                  <a:pt x="493960" y="515133"/>
                </a:lnTo>
                <a:cubicBezTo>
                  <a:pt x="523378" y="515133"/>
                  <a:pt x="548375" y="491410"/>
                  <a:pt x="547833" y="462399"/>
                </a:cubicBezTo>
                <a:cubicBezTo>
                  <a:pt x="547290" y="434284"/>
                  <a:pt x="524002" y="411646"/>
                  <a:pt x="495344" y="411646"/>
                </a:cubicBezTo>
                <a:lnTo>
                  <a:pt x="527608" y="411646"/>
                </a:lnTo>
                <a:cubicBezTo>
                  <a:pt x="557023" y="411646"/>
                  <a:pt x="581995" y="387895"/>
                  <a:pt x="581452" y="358912"/>
                </a:cubicBezTo>
                <a:cubicBezTo>
                  <a:pt x="580911" y="330796"/>
                  <a:pt x="557621" y="308158"/>
                  <a:pt x="528963" y="308158"/>
                </a:cubicBezTo>
                <a:close/>
              </a:path>
            </a:pathLst>
          </a:custGeom>
          <a:solidFill>
            <a:srgbClr val="FFFFFF"/>
          </a:solidFill>
          <a:ln w="26894" cap="flat">
            <a:solidFill>
              <a:srgbClr val="901237"/>
            </a:solidFill>
            <a:prstDash val="solid"/>
            <a:miter/>
          </a:ln>
        </p:spPr>
        <p:txBody>
          <a:bodyPr rtlCol="0" anchor="ctr"/>
          <a:lstStyle/>
          <a:p>
            <a:endParaRPr lang="en-GB" dirty="0">
              <a:solidFill>
                <a:srgbClr val="000000"/>
              </a:solidFill>
              <a:latin typeface="+mn-lt"/>
            </a:endParaRPr>
          </a:p>
        </p:txBody>
      </p:sp>
      <p:sp>
        <p:nvSpPr>
          <p:cNvPr id="30" name="Forme libre : forme 29">
            <a:extLst>
              <a:ext uri="{FF2B5EF4-FFF2-40B4-BE49-F238E27FC236}">
                <a16:creationId xmlns:a16="http://schemas.microsoft.com/office/drawing/2014/main" id="{DD51AC87-B5AB-4CC4-AB80-F7E9F32C8807}"/>
              </a:ext>
            </a:extLst>
          </p:cNvPr>
          <p:cNvSpPr/>
          <p:nvPr/>
        </p:nvSpPr>
        <p:spPr>
          <a:xfrm>
            <a:off x="9201618" y="1670273"/>
            <a:ext cx="47437" cy="29667"/>
          </a:xfrm>
          <a:custGeom>
            <a:avLst/>
            <a:gdLst>
              <a:gd name="connsiteX0" fmla="*/ 57668 w 108449"/>
              <a:gd name="connsiteY0" fmla="*/ 0 h 81336"/>
              <a:gd name="connsiteX1" fmla="*/ 41238 w 108449"/>
              <a:gd name="connsiteY1" fmla="*/ 0 h 81336"/>
              <a:gd name="connsiteX2" fmla="*/ 0 w 108449"/>
              <a:gd name="connsiteY2" fmla="*/ 81337 h 81336"/>
              <a:gd name="connsiteX3" fmla="*/ 108450 w 108449"/>
              <a:gd name="connsiteY3" fmla="*/ 81337 h 81336"/>
              <a:gd name="connsiteX4" fmla="*/ 108450 w 108449"/>
              <a:gd name="connsiteY4" fmla="*/ 38093 h 81336"/>
              <a:gd name="connsiteX5" fmla="*/ 57668 w 108449"/>
              <a:gd name="connsiteY5" fmla="*/ 0 h 8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449" h="81336">
                <a:moveTo>
                  <a:pt x="57668" y="0"/>
                </a:moveTo>
                <a:lnTo>
                  <a:pt x="41238" y="0"/>
                </a:lnTo>
                <a:lnTo>
                  <a:pt x="0" y="81337"/>
                </a:lnTo>
                <a:lnTo>
                  <a:pt x="108450" y="81337"/>
                </a:lnTo>
                <a:lnTo>
                  <a:pt x="108450" y="38093"/>
                </a:lnTo>
                <a:cubicBezTo>
                  <a:pt x="108450" y="17054"/>
                  <a:pt x="85703" y="0"/>
                  <a:pt x="57668" y="0"/>
                </a:cubicBezTo>
                <a:close/>
              </a:path>
            </a:pathLst>
          </a:custGeom>
          <a:solidFill>
            <a:srgbClr val="FFFFFF"/>
          </a:solidFill>
          <a:ln w="26894" cap="flat">
            <a:noFill/>
            <a:prstDash val="solid"/>
            <a:miter/>
          </a:ln>
        </p:spPr>
        <p:txBody>
          <a:bodyPr rtlCol="0" anchor="ctr"/>
          <a:lstStyle/>
          <a:p>
            <a:endParaRPr lang="en-GB" dirty="0">
              <a:solidFill>
                <a:srgbClr val="000000"/>
              </a:solidFill>
              <a:latin typeface="+mn-lt"/>
            </a:endParaRPr>
          </a:p>
        </p:txBody>
      </p:sp>
      <p:sp>
        <p:nvSpPr>
          <p:cNvPr id="31" name="Forme libre : forme 30">
            <a:extLst>
              <a:ext uri="{FF2B5EF4-FFF2-40B4-BE49-F238E27FC236}">
                <a16:creationId xmlns:a16="http://schemas.microsoft.com/office/drawing/2014/main" id="{DA43E0E6-55CE-458E-9BF2-A44A467030AE}"/>
              </a:ext>
            </a:extLst>
          </p:cNvPr>
          <p:cNvSpPr/>
          <p:nvPr/>
        </p:nvSpPr>
        <p:spPr>
          <a:xfrm>
            <a:off x="9083696" y="1927942"/>
            <a:ext cx="140982" cy="137339"/>
          </a:xfrm>
          <a:custGeom>
            <a:avLst/>
            <a:gdLst>
              <a:gd name="connsiteX0" fmla="*/ 320591 w 322309"/>
              <a:gd name="connsiteY0" fmla="*/ 335658 h 376535"/>
              <a:gd name="connsiteX1" fmla="*/ 307351 w 322309"/>
              <a:gd name="connsiteY1" fmla="*/ 304851 h 376535"/>
              <a:gd name="connsiteX2" fmla="*/ 287920 w 322309"/>
              <a:gd name="connsiteY2" fmla="*/ 295391 h 376535"/>
              <a:gd name="connsiteX3" fmla="*/ 250314 w 322309"/>
              <a:gd name="connsiteY3" fmla="*/ 304693 h 376535"/>
              <a:gd name="connsiteX4" fmla="*/ 177452 w 322309"/>
              <a:gd name="connsiteY4" fmla="*/ 302663 h 376535"/>
              <a:gd name="connsiteX5" fmla="*/ 121357 w 322309"/>
              <a:gd name="connsiteY5" fmla="*/ 243238 h 376535"/>
              <a:gd name="connsiteX6" fmla="*/ 203151 w 322309"/>
              <a:gd name="connsiteY6" fmla="*/ 243238 h 376535"/>
              <a:gd name="connsiteX7" fmla="*/ 214746 w 322309"/>
              <a:gd name="connsiteY7" fmla="*/ 231664 h 376535"/>
              <a:gd name="connsiteX8" fmla="*/ 214746 w 322309"/>
              <a:gd name="connsiteY8" fmla="*/ 205940 h 376535"/>
              <a:gd name="connsiteX9" fmla="*/ 203151 w 322309"/>
              <a:gd name="connsiteY9" fmla="*/ 194371 h 376535"/>
              <a:gd name="connsiteX10" fmla="*/ 113522 w 322309"/>
              <a:gd name="connsiteY10" fmla="*/ 194371 h 376535"/>
              <a:gd name="connsiteX11" fmla="*/ 113522 w 322309"/>
              <a:gd name="connsiteY11" fmla="*/ 173416 h 376535"/>
              <a:gd name="connsiteX12" fmla="*/ 203151 w 322309"/>
              <a:gd name="connsiteY12" fmla="*/ 173416 h 376535"/>
              <a:gd name="connsiteX13" fmla="*/ 214746 w 322309"/>
              <a:gd name="connsiteY13" fmla="*/ 161841 h 376535"/>
              <a:gd name="connsiteX14" fmla="*/ 214746 w 322309"/>
              <a:gd name="connsiteY14" fmla="*/ 136117 h 376535"/>
              <a:gd name="connsiteX15" fmla="*/ 203151 w 322309"/>
              <a:gd name="connsiteY15" fmla="*/ 124546 h 376535"/>
              <a:gd name="connsiteX16" fmla="*/ 124805 w 322309"/>
              <a:gd name="connsiteY16" fmla="*/ 124546 h 376535"/>
              <a:gd name="connsiteX17" fmla="*/ 124963 w 322309"/>
              <a:gd name="connsiteY17" fmla="*/ 123765 h 376535"/>
              <a:gd name="connsiteX18" fmla="*/ 170559 w 322309"/>
              <a:gd name="connsiteY18" fmla="*/ 76381 h 376535"/>
              <a:gd name="connsiteX19" fmla="*/ 250393 w 322309"/>
              <a:gd name="connsiteY19" fmla="*/ 71848 h 376535"/>
              <a:gd name="connsiteX20" fmla="*/ 288469 w 322309"/>
              <a:gd name="connsiteY20" fmla="*/ 81229 h 376535"/>
              <a:gd name="connsiteX21" fmla="*/ 307193 w 322309"/>
              <a:gd name="connsiteY21" fmla="*/ 71924 h 376535"/>
              <a:gd name="connsiteX22" fmla="*/ 320276 w 322309"/>
              <a:gd name="connsiteY22" fmla="*/ 41509 h 376535"/>
              <a:gd name="connsiteX23" fmla="*/ 312835 w 322309"/>
              <a:gd name="connsiteY23" fmla="*/ 19773 h 376535"/>
              <a:gd name="connsiteX24" fmla="*/ 305784 w 322309"/>
              <a:gd name="connsiteY24" fmla="*/ 16409 h 376535"/>
              <a:gd name="connsiteX25" fmla="*/ 188893 w 322309"/>
              <a:gd name="connsiteY25" fmla="*/ 2649 h 376535"/>
              <a:gd name="connsiteX26" fmla="*/ 111407 w 322309"/>
              <a:gd name="connsiteY26" fmla="*/ 34549 h 376535"/>
              <a:gd name="connsiteX27" fmla="*/ 53195 w 322309"/>
              <a:gd name="connsiteY27" fmla="*/ 120558 h 376535"/>
              <a:gd name="connsiteX28" fmla="*/ 51865 w 322309"/>
              <a:gd name="connsiteY28" fmla="*/ 124546 h 376535"/>
              <a:gd name="connsiteX29" fmla="*/ 11595 w 322309"/>
              <a:gd name="connsiteY29" fmla="*/ 124546 h 376535"/>
              <a:gd name="connsiteX30" fmla="*/ 0 w 322309"/>
              <a:gd name="connsiteY30" fmla="*/ 136117 h 376535"/>
              <a:gd name="connsiteX31" fmla="*/ 0 w 322309"/>
              <a:gd name="connsiteY31" fmla="*/ 161841 h 376535"/>
              <a:gd name="connsiteX32" fmla="*/ 11595 w 322309"/>
              <a:gd name="connsiteY32" fmla="*/ 173416 h 376535"/>
              <a:gd name="connsiteX33" fmla="*/ 43324 w 322309"/>
              <a:gd name="connsiteY33" fmla="*/ 173416 h 376535"/>
              <a:gd name="connsiteX34" fmla="*/ 43324 w 322309"/>
              <a:gd name="connsiteY34" fmla="*/ 194371 h 376535"/>
              <a:gd name="connsiteX35" fmla="*/ 11595 w 322309"/>
              <a:gd name="connsiteY35" fmla="*/ 194371 h 376535"/>
              <a:gd name="connsiteX36" fmla="*/ 0 w 322309"/>
              <a:gd name="connsiteY36" fmla="*/ 205940 h 376535"/>
              <a:gd name="connsiteX37" fmla="*/ 0 w 322309"/>
              <a:gd name="connsiteY37" fmla="*/ 231664 h 376535"/>
              <a:gd name="connsiteX38" fmla="*/ 11595 w 322309"/>
              <a:gd name="connsiteY38" fmla="*/ 243238 h 376535"/>
              <a:gd name="connsiteX39" fmla="*/ 49826 w 322309"/>
              <a:gd name="connsiteY39" fmla="*/ 243238 h 376535"/>
              <a:gd name="connsiteX40" fmla="*/ 58839 w 322309"/>
              <a:gd name="connsiteY40" fmla="*/ 271150 h 376535"/>
              <a:gd name="connsiteX41" fmla="*/ 159434 w 322309"/>
              <a:gd name="connsiteY41" fmla="*/ 366699 h 376535"/>
              <a:gd name="connsiteX42" fmla="*/ 281103 w 322309"/>
              <a:gd name="connsiteY42" fmla="*/ 368185 h 376535"/>
              <a:gd name="connsiteX43" fmla="*/ 312207 w 322309"/>
              <a:gd name="connsiteY43" fmla="*/ 356925 h 376535"/>
              <a:gd name="connsiteX44" fmla="*/ 320591 w 322309"/>
              <a:gd name="connsiteY44" fmla="*/ 335658 h 37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2309" h="376535">
                <a:moveTo>
                  <a:pt x="320591" y="335658"/>
                </a:moveTo>
                <a:cubicBezTo>
                  <a:pt x="316361" y="325337"/>
                  <a:pt x="312053" y="315015"/>
                  <a:pt x="307351" y="304851"/>
                </a:cubicBezTo>
                <a:cubicBezTo>
                  <a:pt x="303197" y="295781"/>
                  <a:pt x="297870" y="293122"/>
                  <a:pt x="287920" y="295391"/>
                </a:cubicBezTo>
                <a:cubicBezTo>
                  <a:pt x="275307" y="298284"/>
                  <a:pt x="262930" y="302112"/>
                  <a:pt x="250314" y="304693"/>
                </a:cubicBezTo>
                <a:cubicBezTo>
                  <a:pt x="225951" y="309777"/>
                  <a:pt x="201506" y="310246"/>
                  <a:pt x="177452" y="302663"/>
                </a:cubicBezTo>
                <a:cubicBezTo>
                  <a:pt x="147290" y="293200"/>
                  <a:pt x="131229" y="271386"/>
                  <a:pt x="121357" y="243238"/>
                </a:cubicBezTo>
                <a:lnTo>
                  <a:pt x="203151" y="243238"/>
                </a:lnTo>
                <a:cubicBezTo>
                  <a:pt x="209575" y="243238"/>
                  <a:pt x="214746" y="238076"/>
                  <a:pt x="214746" y="231664"/>
                </a:cubicBezTo>
                <a:lnTo>
                  <a:pt x="214746" y="205940"/>
                </a:lnTo>
                <a:cubicBezTo>
                  <a:pt x="214746" y="199530"/>
                  <a:pt x="209575" y="194371"/>
                  <a:pt x="203151" y="194371"/>
                </a:cubicBezTo>
                <a:lnTo>
                  <a:pt x="113522" y="194371"/>
                </a:lnTo>
                <a:cubicBezTo>
                  <a:pt x="113522" y="187175"/>
                  <a:pt x="113446" y="180294"/>
                  <a:pt x="113522" y="173416"/>
                </a:cubicBezTo>
                <a:lnTo>
                  <a:pt x="203151" y="173416"/>
                </a:lnTo>
                <a:cubicBezTo>
                  <a:pt x="209575" y="173416"/>
                  <a:pt x="214746" y="168254"/>
                  <a:pt x="214746" y="161841"/>
                </a:cubicBezTo>
                <a:lnTo>
                  <a:pt x="214746" y="136117"/>
                </a:lnTo>
                <a:cubicBezTo>
                  <a:pt x="214746" y="129705"/>
                  <a:pt x="209575" y="124546"/>
                  <a:pt x="203151" y="124546"/>
                </a:cubicBezTo>
                <a:lnTo>
                  <a:pt x="124805" y="124546"/>
                </a:lnTo>
                <a:cubicBezTo>
                  <a:pt x="124805" y="124234"/>
                  <a:pt x="124805" y="123922"/>
                  <a:pt x="124963" y="123765"/>
                </a:cubicBezTo>
                <a:cubicBezTo>
                  <a:pt x="134364" y="102419"/>
                  <a:pt x="148075" y="85295"/>
                  <a:pt x="170559" y="76381"/>
                </a:cubicBezTo>
                <a:cubicBezTo>
                  <a:pt x="196725" y="66062"/>
                  <a:pt x="223442" y="66295"/>
                  <a:pt x="250393" y="71848"/>
                </a:cubicBezTo>
                <a:cubicBezTo>
                  <a:pt x="263163" y="74426"/>
                  <a:pt x="275701" y="78336"/>
                  <a:pt x="288469" y="81229"/>
                </a:cubicBezTo>
                <a:cubicBezTo>
                  <a:pt x="297792" y="83341"/>
                  <a:pt x="303197" y="80605"/>
                  <a:pt x="307193" y="71924"/>
                </a:cubicBezTo>
                <a:cubicBezTo>
                  <a:pt x="311817" y="61916"/>
                  <a:pt x="316046" y="51752"/>
                  <a:pt x="320276" y="41509"/>
                </a:cubicBezTo>
                <a:cubicBezTo>
                  <a:pt x="324275" y="31892"/>
                  <a:pt x="321924" y="25090"/>
                  <a:pt x="312835" y="19773"/>
                </a:cubicBezTo>
                <a:cubicBezTo>
                  <a:pt x="310562" y="18442"/>
                  <a:pt x="308214" y="17349"/>
                  <a:pt x="305784" y="16409"/>
                </a:cubicBezTo>
                <a:cubicBezTo>
                  <a:pt x="268023" y="1711"/>
                  <a:pt x="229084" y="-3763"/>
                  <a:pt x="188893" y="2649"/>
                </a:cubicBezTo>
                <a:cubicBezTo>
                  <a:pt x="160609" y="7185"/>
                  <a:pt x="134207" y="16880"/>
                  <a:pt x="111407" y="34549"/>
                </a:cubicBezTo>
                <a:cubicBezTo>
                  <a:pt x="82654" y="56757"/>
                  <a:pt x="64009" y="86076"/>
                  <a:pt x="53195" y="120558"/>
                </a:cubicBezTo>
                <a:lnTo>
                  <a:pt x="51865" y="124546"/>
                </a:lnTo>
                <a:lnTo>
                  <a:pt x="11595" y="124546"/>
                </a:lnTo>
                <a:cubicBezTo>
                  <a:pt x="5172" y="124546"/>
                  <a:pt x="0" y="129705"/>
                  <a:pt x="0" y="136117"/>
                </a:cubicBezTo>
                <a:lnTo>
                  <a:pt x="0" y="161841"/>
                </a:lnTo>
                <a:cubicBezTo>
                  <a:pt x="0" y="168254"/>
                  <a:pt x="5172" y="173416"/>
                  <a:pt x="11595" y="173416"/>
                </a:cubicBezTo>
                <a:lnTo>
                  <a:pt x="43324" y="173416"/>
                </a:lnTo>
                <a:cubicBezTo>
                  <a:pt x="43324" y="180451"/>
                  <a:pt x="43324" y="187254"/>
                  <a:pt x="43324" y="194371"/>
                </a:cubicBezTo>
                <a:lnTo>
                  <a:pt x="11595" y="194371"/>
                </a:lnTo>
                <a:cubicBezTo>
                  <a:pt x="5172" y="194371"/>
                  <a:pt x="0" y="199530"/>
                  <a:pt x="0" y="205940"/>
                </a:cubicBezTo>
                <a:lnTo>
                  <a:pt x="0" y="231664"/>
                </a:lnTo>
                <a:cubicBezTo>
                  <a:pt x="0" y="238076"/>
                  <a:pt x="5172" y="243238"/>
                  <a:pt x="11595" y="243238"/>
                </a:cubicBezTo>
                <a:lnTo>
                  <a:pt x="49826" y="243238"/>
                </a:lnTo>
                <a:cubicBezTo>
                  <a:pt x="52726" y="252621"/>
                  <a:pt x="55155" y="262160"/>
                  <a:pt x="58839" y="271150"/>
                </a:cubicBezTo>
                <a:cubicBezTo>
                  <a:pt x="78188" y="317753"/>
                  <a:pt x="110623" y="350903"/>
                  <a:pt x="159434" y="366699"/>
                </a:cubicBezTo>
                <a:cubicBezTo>
                  <a:pt x="199782" y="379756"/>
                  <a:pt x="240443" y="379366"/>
                  <a:pt x="281103" y="368185"/>
                </a:cubicBezTo>
                <a:cubicBezTo>
                  <a:pt x="291680" y="365292"/>
                  <a:pt x="302181" y="361537"/>
                  <a:pt x="312207" y="356925"/>
                </a:cubicBezTo>
                <a:cubicBezTo>
                  <a:pt x="321924" y="352468"/>
                  <a:pt x="324430" y="344963"/>
                  <a:pt x="320591" y="335658"/>
                </a:cubicBezTo>
                <a:close/>
              </a:path>
            </a:pathLst>
          </a:custGeom>
          <a:solidFill>
            <a:srgbClr val="901237"/>
          </a:solidFill>
          <a:ln w="26912" cap="flat">
            <a:noFill/>
            <a:prstDash val="solid"/>
            <a:miter/>
          </a:ln>
        </p:spPr>
        <p:txBody>
          <a:bodyPr rtlCol="0" anchor="ctr"/>
          <a:lstStyle/>
          <a:p>
            <a:endParaRPr lang="en-GB" dirty="0">
              <a:solidFill>
                <a:srgbClr val="000000"/>
              </a:solidFill>
              <a:latin typeface="+mn-lt"/>
            </a:endParaRPr>
          </a:p>
        </p:txBody>
      </p:sp>
      <p:sp>
        <p:nvSpPr>
          <p:cNvPr id="43" name="Ellipse 42">
            <a:extLst>
              <a:ext uri="{FF2B5EF4-FFF2-40B4-BE49-F238E27FC236}">
                <a16:creationId xmlns:a16="http://schemas.microsoft.com/office/drawing/2014/main" id="{B1E04E92-63EC-4A9A-A091-8A34656CD261}"/>
              </a:ext>
            </a:extLst>
          </p:cNvPr>
          <p:cNvSpPr/>
          <p:nvPr/>
        </p:nvSpPr>
        <p:spPr bwMode="auto">
          <a:xfrm>
            <a:off x="9081759" y="2645453"/>
            <a:ext cx="121122" cy="120647"/>
          </a:xfrm>
          <a:prstGeom prst="ellipse">
            <a:avLst/>
          </a:prstGeom>
          <a:solidFill>
            <a:srgbClr val="FFFFFF"/>
          </a:solidFill>
          <a:ln w="28575"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40000" lnSpcReduction="20000"/>
          </a:bodyPr>
          <a:lstStyle/>
          <a:p>
            <a:pPr marL="180000" indent="-180000" algn="l">
              <a:buClr>
                <a:schemeClr val="accent3"/>
              </a:buClr>
              <a:buSzPct val="77000"/>
            </a:pPr>
            <a:endParaRPr lang="en-GB" sz="1400" b="1" dirty="0">
              <a:solidFill>
                <a:srgbClr val="FFFFFF"/>
              </a:solidFill>
              <a:latin typeface="+mn-lt"/>
            </a:endParaRPr>
          </a:p>
        </p:txBody>
      </p:sp>
    </p:spTree>
    <p:extLst>
      <p:ext uri="{BB962C8B-B14F-4D97-AF65-F5344CB8AC3E}">
        <p14:creationId xmlns:p14="http://schemas.microsoft.com/office/powerpoint/2010/main" val="35657876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C60BC62-0D9D-47EF-8C60-0DFB373013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9C60BC62-0D9D-47EF-8C60-0DFB373013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A3F89E-4606-402C-B209-7F9CA5F9B8D7}"/>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2" name="Chevron 10">
            <a:extLst>
              <a:ext uri="{FF2B5EF4-FFF2-40B4-BE49-F238E27FC236}">
                <a16:creationId xmlns:a16="http://schemas.microsoft.com/office/drawing/2014/main" id="{3AF49BE2-AB4A-4873-BC7D-5FF53CAD3A7C}"/>
              </a:ext>
            </a:extLst>
          </p:cNvPr>
          <p:cNvSpPr/>
          <p:nvPr/>
        </p:nvSpPr>
        <p:spPr>
          <a:xfrm>
            <a:off x="4430123" y="1356404"/>
            <a:ext cx="3331755" cy="756000"/>
          </a:xfrm>
          <a:prstGeom prst="chevron">
            <a:avLst>
              <a:gd name="adj" fmla="val 21622"/>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2</a:t>
            </a:r>
            <a:endParaRPr lang="en-GB" b="1" dirty="0">
              <a:solidFill>
                <a:schemeClr val="bg1"/>
              </a:solidFill>
            </a:endParaRPr>
          </a:p>
        </p:txBody>
      </p:sp>
      <p:sp>
        <p:nvSpPr>
          <p:cNvPr id="33" name="Pentagone 17">
            <a:extLst>
              <a:ext uri="{FF2B5EF4-FFF2-40B4-BE49-F238E27FC236}">
                <a16:creationId xmlns:a16="http://schemas.microsoft.com/office/drawing/2014/main" id="{B22CDF54-09A3-4578-A446-51DB7D8A6C3F}"/>
              </a:ext>
            </a:extLst>
          </p:cNvPr>
          <p:cNvSpPr/>
          <p:nvPr/>
        </p:nvSpPr>
        <p:spPr>
          <a:xfrm>
            <a:off x="1190667" y="1356404"/>
            <a:ext cx="3331755" cy="756000"/>
          </a:xfrm>
          <a:prstGeom prst="homePlate">
            <a:avLst>
              <a:gd name="adj" fmla="val 22368"/>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1</a:t>
            </a:r>
            <a:endParaRPr lang="en-GB" b="1" dirty="0">
              <a:solidFill>
                <a:schemeClr val="bg1"/>
              </a:solidFill>
            </a:endParaRPr>
          </a:p>
        </p:txBody>
      </p:sp>
      <p:sp>
        <p:nvSpPr>
          <p:cNvPr id="34" name="Chevron 24">
            <a:extLst>
              <a:ext uri="{FF2B5EF4-FFF2-40B4-BE49-F238E27FC236}">
                <a16:creationId xmlns:a16="http://schemas.microsoft.com/office/drawing/2014/main" id="{BCB2322C-7910-4894-ACCF-30B3386B72E1}"/>
              </a:ext>
            </a:extLst>
          </p:cNvPr>
          <p:cNvSpPr/>
          <p:nvPr/>
        </p:nvSpPr>
        <p:spPr>
          <a:xfrm>
            <a:off x="7669578" y="1356404"/>
            <a:ext cx="3331755" cy="756000"/>
          </a:xfrm>
          <a:prstGeom prst="chevron">
            <a:avLst>
              <a:gd name="adj" fmla="val 21622"/>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3</a:t>
            </a:r>
            <a:endParaRPr lang="en-GB" b="1" dirty="0">
              <a:solidFill>
                <a:schemeClr val="bg1"/>
              </a:solidFill>
            </a:endParaRPr>
          </a:p>
        </p:txBody>
      </p:sp>
      <p:graphicFrame>
        <p:nvGraphicFramePr>
          <p:cNvPr id="35" name="Content Placeholder 3">
            <a:extLst>
              <a:ext uri="{FF2B5EF4-FFF2-40B4-BE49-F238E27FC236}">
                <a16:creationId xmlns:a16="http://schemas.microsoft.com/office/drawing/2014/main" id="{310AB8D9-B57A-4D86-B4FE-359CCAFBD69C}"/>
              </a:ext>
            </a:extLst>
          </p:cNvPr>
          <p:cNvGraphicFramePr>
            <a:graphicFrameLocks/>
          </p:cNvGraphicFramePr>
          <p:nvPr>
            <p:extLst>
              <p:ext uri="{D42A27DB-BD31-4B8C-83A1-F6EECF244321}">
                <p14:modId xmlns:p14="http://schemas.microsoft.com/office/powerpoint/2010/main" val="409344421"/>
              </p:ext>
            </p:extLst>
          </p:nvPr>
        </p:nvGraphicFramePr>
        <p:xfrm>
          <a:off x="1209379" y="2129073"/>
          <a:ext cx="9619008" cy="4463280"/>
        </p:xfrm>
        <a:graphic>
          <a:graphicData uri="http://schemas.openxmlformats.org/drawingml/2006/table">
            <a:tbl>
              <a:tblPr firstRow="1" bandRow="1">
                <a:tableStyleId>{5C22544A-7EE6-4342-B048-85BDC9FD1C3A}</a:tableStyleId>
              </a:tblPr>
              <a:tblGrid>
                <a:gridCol w="3148400">
                  <a:extLst>
                    <a:ext uri="{9D8B030D-6E8A-4147-A177-3AD203B41FA5}">
                      <a16:colId xmlns:a16="http://schemas.microsoft.com/office/drawing/2014/main" val="153939354"/>
                    </a:ext>
                  </a:extLst>
                </a:gridCol>
                <a:gridCol w="3235304">
                  <a:extLst>
                    <a:ext uri="{9D8B030D-6E8A-4147-A177-3AD203B41FA5}">
                      <a16:colId xmlns:a16="http://schemas.microsoft.com/office/drawing/2014/main" val="3321906666"/>
                    </a:ext>
                  </a:extLst>
                </a:gridCol>
                <a:gridCol w="3235304">
                  <a:extLst>
                    <a:ext uri="{9D8B030D-6E8A-4147-A177-3AD203B41FA5}">
                      <a16:colId xmlns:a16="http://schemas.microsoft.com/office/drawing/2014/main" val="987433802"/>
                    </a:ext>
                  </a:extLst>
                </a:gridCol>
              </a:tblGrid>
              <a:tr h="397414">
                <a:tc gridSpan="3">
                  <a:txBody>
                    <a:bodyPr/>
                    <a:lstStyle/>
                    <a:p>
                      <a:r>
                        <a:rPr lang="en-GB" sz="1400" b="1" dirty="0">
                          <a:solidFill>
                            <a:schemeClr val="accent2"/>
                          </a:solidFill>
                          <a:latin typeface="+mn-lt"/>
                        </a:rPr>
                        <a:t>Name / Characteristic 1</a:t>
                      </a:r>
                    </a:p>
                  </a:txBody>
                  <a:tcPr marL="72000" marR="72000" marT="108000" marB="108000">
                    <a:lnR w="12700"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55309684"/>
                  </a:ext>
                </a:extLst>
              </a:tr>
              <a:tr h="622296">
                <a:tc>
                  <a:txBody>
                    <a:bodyPr/>
                    <a:lstStyle/>
                    <a:p>
                      <a:pPr marL="0" indent="0">
                        <a:spcBef>
                          <a:spcPts val="400"/>
                        </a:spcBef>
                        <a:spcAft>
                          <a:spcPts val="400"/>
                        </a:spcAft>
                        <a:buClr>
                          <a:schemeClr val="accent3"/>
                        </a:buClr>
                        <a:buSzPct val="82000"/>
                        <a:buFont typeface="Wingdings 3" panose="05040102010807070707" pitchFamily="18" charset="2"/>
                        <a:buNone/>
                      </a:pPr>
                      <a:r>
                        <a:rPr lang="en-GB" sz="1400" dirty="0">
                          <a:solidFill>
                            <a:schemeClr val="tx1"/>
                          </a:solidFill>
                          <a:latin typeface="+mn-lt"/>
                        </a:rPr>
                        <a:t>Description</a:t>
                      </a:r>
                    </a:p>
                    <a:p>
                      <a:pPr marL="0" indent="0">
                        <a:spcBef>
                          <a:spcPts val="400"/>
                        </a:spcBef>
                        <a:spcAft>
                          <a:spcPts val="400"/>
                        </a:spcAft>
                        <a:buClr>
                          <a:schemeClr val="accent3"/>
                        </a:buClr>
                        <a:buSzPct val="82000"/>
                        <a:buFont typeface="Wingdings 3" panose="05040102010807070707" pitchFamily="18" charset="2"/>
                        <a:buNone/>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spcBef>
                          <a:spcPts val="400"/>
                        </a:spcBef>
                        <a:spcAft>
                          <a:spcPts val="400"/>
                        </a:spcAft>
                        <a:buClr>
                          <a:schemeClr val="accent3"/>
                        </a:buClr>
                        <a:buSzPct val="82000"/>
                        <a:buFont typeface="Wingdings 3" panose="05040102010807070707" pitchFamily="18" charset="2"/>
                        <a:buNone/>
                      </a:pPr>
                      <a:r>
                        <a:rPr lang="en-GB" sz="1400">
                          <a:solidFill>
                            <a:schemeClr val="tx1"/>
                          </a:solidFill>
                          <a:latin typeface="+mn-lt"/>
                        </a:rPr>
                        <a:t>Description</a:t>
                      </a: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400"/>
                        </a:spcBef>
                        <a:spcAft>
                          <a:spcPts val="400"/>
                        </a:spcAft>
                        <a:buClr>
                          <a:schemeClr val="accent3"/>
                        </a:buClr>
                        <a:buSzPct val="82000"/>
                        <a:buFont typeface="Wingdings 3" panose="05040102010807070707" pitchFamily="18" charset="2"/>
                        <a:buNone/>
                        <a:tabLst/>
                        <a:defRPr/>
                      </a:pPr>
                      <a:r>
                        <a:rPr lang="en-GB" sz="1400">
                          <a:solidFill>
                            <a:schemeClr val="tx1"/>
                          </a:solidFill>
                          <a:latin typeface="+mn-lt"/>
                        </a:rPr>
                        <a:t>Description</a:t>
                      </a:r>
                    </a:p>
                    <a:p>
                      <a:pPr marL="0" indent="0">
                        <a:spcBef>
                          <a:spcPts val="400"/>
                        </a:spcBef>
                        <a:spcAft>
                          <a:spcPts val="400"/>
                        </a:spcAft>
                        <a:buClr>
                          <a:schemeClr val="accent3"/>
                        </a:buClr>
                        <a:buSzPct val="82000"/>
                        <a:buFont typeface="Wingdings 3" panose="05040102010807070707" pitchFamily="18" charset="2"/>
                        <a:buNone/>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39793004"/>
                  </a:ext>
                </a:extLst>
              </a:tr>
              <a:tr h="397414">
                <a:tc gridSpan="3">
                  <a:txBody>
                    <a:bodyPr/>
                    <a:lstStyle/>
                    <a:p>
                      <a:pPr>
                        <a:spcBef>
                          <a:spcPts val="400"/>
                        </a:spcBef>
                        <a:spcAft>
                          <a:spcPts val="400"/>
                        </a:spcAft>
                      </a:pPr>
                      <a:r>
                        <a:rPr lang="en-GB" sz="1400" b="1" dirty="0">
                          <a:solidFill>
                            <a:schemeClr val="accent2"/>
                          </a:solidFill>
                          <a:latin typeface="+mn-lt"/>
                        </a:rPr>
                        <a:t>Name / Characteristic 2</a:t>
                      </a:r>
                    </a:p>
                  </a:txBody>
                  <a:tcPr marL="72000" marR="72000" marT="108000" marB="108000">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254211579"/>
                  </a:ext>
                </a:extLst>
              </a:tr>
              <a:tr h="1205347">
                <a:tc>
                  <a:txBody>
                    <a:bodyPr/>
                    <a:lstStyle/>
                    <a:p>
                      <a:pPr marL="180000"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a:spcBef>
                          <a:spcPts val="400"/>
                        </a:spcBef>
                        <a:spcAft>
                          <a:spcPts val="400"/>
                        </a:spcAft>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spcBef>
                          <a:spcPts val="400"/>
                        </a:spcBef>
                        <a:spcAft>
                          <a:spcPts val="400"/>
                        </a:spcAft>
                        <a:buClr>
                          <a:schemeClr val="accent3"/>
                        </a:buClr>
                        <a:buSzPct val="82000"/>
                        <a:buFont typeface="Wingdings 3" panose="05040102010807070707" pitchFamily="18" charset="2"/>
                        <a:buChar char=""/>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34044160"/>
                  </a:ext>
                </a:extLst>
              </a:tr>
              <a:tr h="397414">
                <a:tc gridSpan="3">
                  <a:txBody>
                    <a:bodyPr/>
                    <a:lstStyle/>
                    <a:p>
                      <a:pPr marL="180000" indent="-180000">
                        <a:spcBef>
                          <a:spcPts val="400"/>
                        </a:spcBef>
                        <a:spcAft>
                          <a:spcPts val="400"/>
                        </a:spcAft>
                      </a:pPr>
                      <a:r>
                        <a:rPr lang="en-GB" sz="1400" b="1" dirty="0">
                          <a:solidFill>
                            <a:schemeClr val="accent2"/>
                          </a:solidFill>
                          <a:latin typeface="+mn-lt"/>
                        </a:rPr>
                        <a:t>Name / Characteristic 3</a:t>
                      </a:r>
                    </a:p>
                  </a:txBody>
                  <a:tcPr marL="72000" marR="72000" marT="108000" marB="108000">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411207653"/>
                  </a:ext>
                </a:extLst>
              </a:tr>
              <a:tr h="1205347">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a:spcBef>
                          <a:spcPts val="400"/>
                        </a:spcBef>
                        <a:spcAft>
                          <a:spcPts val="400"/>
                        </a:spcAft>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spcBef>
                          <a:spcPts val="400"/>
                        </a:spcBef>
                        <a:spcAft>
                          <a:spcPts val="400"/>
                        </a:spcAft>
                        <a:buClr>
                          <a:schemeClr val="accent3"/>
                        </a:buClr>
                        <a:buSzPct val="82000"/>
                        <a:buFont typeface="Wingdings 3" panose="05040102010807070707" pitchFamily="18" charset="2"/>
                        <a:buChar char=""/>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483309677"/>
                  </a:ext>
                </a:extLst>
              </a:tr>
            </a:tbl>
          </a:graphicData>
        </a:graphic>
      </p:graphicFrame>
      <p:sp>
        <p:nvSpPr>
          <p:cNvPr id="2" name="Title 1">
            <a:extLst>
              <a:ext uri="{FF2B5EF4-FFF2-40B4-BE49-F238E27FC236}">
                <a16:creationId xmlns:a16="http://schemas.microsoft.com/office/drawing/2014/main" id="{62435C4D-9FC6-4609-B421-F8DF1BA2C673}"/>
              </a:ext>
            </a:extLst>
          </p:cNvPr>
          <p:cNvSpPr>
            <a:spLocks noGrp="1"/>
          </p:cNvSpPr>
          <p:nvPr>
            <p:ph type="title"/>
          </p:nvPr>
        </p:nvSpPr>
        <p:spPr/>
        <p:txBody>
          <a:bodyPr/>
          <a:lstStyle/>
          <a:p>
            <a:r>
              <a:rPr lang="en-GB" dirty="0"/>
              <a:t>Approach &amp; deliverables description – three steps</a:t>
            </a:r>
          </a:p>
        </p:txBody>
      </p:sp>
    </p:spTree>
    <p:extLst>
      <p:ext uri="{BB962C8B-B14F-4D97-AF65-F5344CB8AC3E}">
        <p14:creationId xmlns:p14="http://schemas.microsoft.com/office/powerpoint/2010/main" val="29540005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0167643E-FE96-4F7F-8115-E16AAD53E8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4" name="Objet 3" hidden="1">
                        <a:extLst>
                          <a:ext uri="{FF2B5EF4-FFF2-40B4-BE49-F238E27FC236}">
                            <a16:creationId xmlns:a16="http://schemas.microsoft.com/office/drawing/2014/main" id="{0167643E-FE96-4F7F-8115-E16AAD53E8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A92F97-EDF9-4FA9-8D8D-7981F060E82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35" name="Content Placeholder 3">
            <a:extLst>
              <a:ext uri="{FF2B5EF4-FFF2-40B4-BE49-F238E27FC236}">
                <a16:creationId xmlns:a16="http://schemas.microsoft.com/office/drawing/2014/main" id="{310AB8D9-B57A-4D86-B4FE-359CCAFBD69C}"/>
              </a:ext>
            </a:extLst>
          </p:cNvPr>
          <p:cNvGraphicFramePr>
            <a:graphicFrameLocks/>
          </p:cNvGraphicFramePr>
          <p:nvPr>
            <p:extLst>
              <p:ext uri="{D42A27DB-BD31-4B8C-83A1-F6EECF244321}">
                <p14:modId xmlns:p14="http://schemas.microsoft.com/office/powerpoint/2010/main" val="3402216342"/>
              </p:ext>
            </p:extLst>
          </p:nvPr>
        </p:nvGraphicFramePr>
        <p:xfrm>
          <a:off x="1214237" y="2129073"/>
          <a:ext cx="9619009" cy="4463280"/>
        </p:xfrm>
        <a:graphic>
          <a:graphicData uri="http://schemas.openxmlformats.org/drawingml/2006/table">
            <a:tbl>
              <a:tblPr firstRow="1" bandRow="1">
                <a:tableStyleId>{5C22544A-7EE6-4342-B048-85BDC9FD1C3A}</a:tableStyleId>
              </a:tblPr>
              <a:tblGrid>
                <a:gridCol w="2355979">
                  <a:extLst>
                    <a:ext uri="{9D8B030D-6E8A-4147-A177-3AD203B41FA5}">
                      <a16:colId xmlns:a16="http://schemas.microsoft.com/office/drawing/2014/main" val="153939354"/>
                    </a:ext>
                  </a:extLst>
                </a:gridCol>
                <a:gridCol w="2421010">
                  <a:extLst>
                    <a:ext uri="{9D8B030D-6E8A-4147-A177-3AD203B41FA5}">
                      <a16:colId xmlns:a16="http://schemas.microsoft.com/office/drawing/2014/main" val="3321906666"/>
                    </a:ext>
                  </a:extLst>
                </a:gridCol>
                <a:gridCol w="2421010">
                  <a:extLst>
                    <a:ext uri="{9D8B030D-6E8A-4147-A177-3AD203B41FA5}">
                      <a16:colId xmlns:a16="http://schemas.microsoft.com/office/drawing/2014/main" val="987433802"/>
                    </a:ext>
                  </a:extLst>
                </a:gridCol>
                <a:gridCol w="2421010">
                  <a:extLst>
                    <a:ext uri="{9D8B030D-6E8A-4147-A177-3AD203B41FA5}">
                      <a16:colId xmlns:a16="http://schemas.microsoft.com/office/drawing/2014/main" val="1266904319"/>
                    </a:ext>
                  </a:extLst>
                </a:gridCol>
              </a:tblGrid>
              <a:tr h="0">
                <a:tc gridSpan="4">
                  <a:txBody>
                    <a:bodyPr/>
                    <a:lstStyle/>
                    <a:p>
                      <a:r>
                        <a:rPr lang="en-GB" sz="1400" b="1" dirty="0">
                          <a:solidFill>
                            <a:schemeClr val="accent2"/>
                          </a:solidFill>
                          <a:latin typeface="+mn-lt"/>
                        </a:rPr>
                        <a:t>Name / Characteristic 1</a:t>
                      </a:r>
                    </a:p>
                  </a:txBody>
                  <a:tcPr marL="72000" marR="72000" marT="108000" marB="108000">
                    <a:lnR w="12700" cmpd="sng">
                      <a:noFill/>
                    </a:lnR>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tc hMerge="1">
                  <a:txBody>
                    <a:bodyPr/>
                    <a:lstStyle/>
                    <a:p>
                      <a:endParaRPr lang="en-GB" sz="1400" b="1" dirty="0">
                        <a:solidFill>
                          <a:schemeClr val="accent2"/>
                        </a:solidFill>
                        <a:latin typeface="Arial" panose="020B0604020202020204" pitchFamily="34" charset="0"/>
                      </a:endParaRPr>
                    </a:p>
                  </a:txBody>
                  <a:tcPr marL="72000" marR="72000" marT="108000" marB="108000">
                    <a:lnR w="12700"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55309684"/>
                  </a:ext>
                </a:extLst>
              </a:tr>
              <a:tr h="0">
                <a:tc>
                  <a:txBody>
                    <a:bodyPr/>
                    <a:lstStyle/>
                    <a:p>
                      <a:pPr marL="0" indent="0">
                        <a:buClr>
                          <a:schemeClr val="accent3"/>
                        </a:buClr>
                        <a:buSzPct val="82000"/>
                        <a:buFont typeface="Wingdings 3" panose="05040102010807070707" pitchFamily="18" charset="2"/>
                        <a:buNone/>
                      </a:pPr>
                      <a:r>
                        <a:rPr lang="en-GB" sz="1400" dirty="0">
                          <a:solidFill>
                            <a:schemeClr val="tx1"/>
                          </a:solidFill>
                          <a:latin typeface="+mn-lt"/>
                        </a:rPr>
                        <a:t>Description</a:t>
                      </a:r>
                    </a:p>
                    <a:p>
                      <a:pPr marL="0" indent="0">
                        <a:buClr>
                          <a:schemeClr val="accent3"/>
                        </a:buClr>
                        <a:buSzPct val="82000"/>
                        <a:buFont typeface="Wingdings 3" panose="05040102010807070707" pitchFamily="18" charset="2"/>
                        <a:buNone/>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buClr>
                          <a:schemeClr val="accent3"/>
                        </a:buClr>
                        <a:buSzPct val="82000"/>
                        <a:buFont typeface="Wingdings 3" panose="05040102010807070707" pitchFamily="18" charset="2"/>
                        <a:buNone/>
                      </a:pPr>
                      <a:r>
                        <a:rPr lang="en-GB" sz="1400">
                          <a:solidFill>
                            <a:schemeClr val="tx1"/>
                          </a:solidFill>
                          <a:latin typeface="+mn-lt"/>
                        </a:rPr>
                        <a:t>Description</a:t>
                      </a: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chemeClr val="accent3"/>
                        </a:buClr>
                        <a:buSzPct val="82000"/>
                        <a:buFont typeface="Wingdings 3" panose="05040102010807070707" pitchFamily="18" charset="2"/>
                        <a:buNone/>
                        <a:tabLst/>
                        <a:defRPr/>
                      </a:pPr>
                      <a:r>
                        <a:rPr lang="en-GB" sz="1400">
                          <a:solidFill>
                            <a:schemeClr val="tx1"/>
                          </a:solidFill>
                          <a:latin typeface="+mn-lt"/>
                        </a:rPr>
                        <a:t>Description</a:t>
                      </a:r>
                    </a:p>
                    <a:p>
                      <a:pPr marL="0" indent="0">
                        <a:buClr>
                          <a:schemeClr val="accent3"/>
                        </a:buClr>
                        <a:buSzPct val="82000"/>
                        <a:buFont typeface="Wingdings 3" panose="05040102010807070707" pitchFamily="18" charset="2"/>
                        <a:buNone/>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buClr>
                          <a:schemeClr val="accent3"/>
                        </a:buClr>
                        <a:buSzPct val="82000"/>
                        <a:buFont typeface="Wingdings 3" panose="05040102010807070707" pitchFamily="18" charset="2"/>
                        <a:buNone/>
                      </a:pPr>
                      <a:r>
                        <a:rPr lang="en-GB" sz="1400">
                          <a:solidFill>
                            <a:schemeClr val="tx1"/>
                          </a:solidFill>
                          <a:latin typeface="+mn-lt"/>
                        </a:rPr>
                        <a:t>Description</a:t>
                      </a: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39793004"/>
                  </a:ext>
                </a:extLst>
              </a:tr>
              <a:tr h="0">
                <a:tc gridSpan="4">
                  <a:txBody>
                    <a:bodyPr/>
                    <a:lstStyle/>
                    <a:p>
                      <a:r>
                        <a:rPr lang="en-GB" sz="1400" b="1" dirty="0">
                          <a:solidFill>
                            <a:schemeClr val="accent2"/>
                          </a:solidFill>
                          <a:latin typeface="+mn-lt"/>
                        </a:rPr>
                        <a:t>Name / Characteristic 2</a:t>
                      </a:r>
                    </a:p>
                  </a:txBody>
                  <a:tcPr marL="72000" marR="72000" marT="108000" marB="108000">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tc hMerge="1">
                  <a:txBody>
                    <a:bodyPr/>
                    <a:lstStyle/>
                    <a:p>
                      <a:endParaRPr lang="en-GB" sz="1400" b="1" dirty="0">
                        <a:solidFill>
                          <a:schemeClr val="accent2"/>
                        </a:solidFill>
                        <a:latin typeface="Arial" panose="020B0604020202020204" pitchFamily="34" charset="0"/>
                      </a:endParaRPr>
                    </a:p>
                  </a:txBody>
                  <a:tcPr marL="72000" marR="72000" marT="108000" marB="108000">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254211579"/>
                  </a:ext>
                </a:extLst>
              </a:tr>
              <a:tr h="0">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spcBef>
                          <a:spcPts val="840"/>
                        </a:spcBef>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spcBef>
                          <a:spcPts val="840"/>
                        </a:spcBef>
                        <a:buClr>
                          <a:schemeClr val="accent3"/>
                        </a:buClr>
                        <a:buSzPct val="82000"/>
                        <a:buFont typeface="Wingdings 3" panose="05040102010807070707" pitchFamily="18" charset="2"/>
                        <a:buChar char=""/>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34044160"/>
                  </a:ext>
                </a:extLst>
              </a:tr>
              <a:tr h="0">
                <a:tc gridSpan="4">
                  <a:txBody>
                    <a:bodyPr/>
                    <a:lstStyle/>
                    <a:p>
                      <a:r>
                        <a:rPr lang="en-GB" sz="1400" b="1" dirty="0">
                          <a:solidFill>
                            <a:schemeClr val="accent2"/>
                          </a:solidFill>
                          <a:latin typeface="+mn-lt"/>
                        </a:rPr>
                        <a:t>Name / Characteristic 3</a:t>
                      </a:r>
                    </a:p>
                  </a:txBody>
                  <a:tcPr marL="72000" marR="72000" marT="108000" marB="108000">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hMerge="1">
                  <a:txBody>
                    <a:bodyPr/>
                    <a:lstStyle/>
                    <a:p>
                      <a:endParaRPr lang="fr-FR"/>
                    </a:p>
                  </a:txBody>
                  <a:tcPr/>
                </a:tc>
                <a:tc hMerge="1">
                  <a:txBody>
                    <a:bodyPr/>
                    <a:lstStyle/>
                    <a:p>
                      <a:endParaRPr lang="fr-FR"/>
                    </a:p>
                  </a:txBody>
                  <a:tcPr/>
                </a:tc>
                <a:tc hMerge="1">
                  <a:txBody>
                    <a:bodyPr/>
                    <a:lstStyle/>
                    <a:p>
                      <a:endParaRPr lang="en-GB" sz="1400" b="1" dirty="0">
                        <a:solidFill>
                          <a:schemeClr val="accent2"/>
                        </a:solidFill>
                        <a:latin typeface="Arial" panose="020B0604020202020204" pitchFamily="34" charset="0"/>
                      </a:endParaRPr>
                    </a:p>
                  </a:txBody>
                  <a:tcPr marL="72000" marR="72000" marT="108000" marB="108000">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411207653"/>
                  </a:ext>
                </a:extLst>
              </a:tr>
              <a:tr h="0">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spcBef>
                          <a:spcPts val="840"/>
                        </a:spcBef>
                      </a:pPr>
                      <a:endParaRPr lang="en-GB" sz="1400" dirty="0">
                        <a:solidFill>
                          <a:schemeClr val="tx1"/>
                        </a:solidFill>
                        <a:latin typeface="+mn-lt"/>
                      </a:endParaRPr>
                    </a:p>
                  </a:txBody>
                  <a:tcPr marL="72000" marR="72000" marT="72000" marB="72000">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a:solidFill>
                            <a:schemeClr val="tx1"/>
                          </a:solidFill>
                          <a:latin typeface="+mn-lt"/>
                          <a:ea typeface="+mn-ea"/>
                          <a:cs typeface="+mn-cs"/>
                        </a:rPr>
                        <a:t>Xx</a:t>
                      </a:r>
                    </a:p>
                    <a:p>
                      <a:pPr marL="180000" indent="-180000">
                        <a:spcBef>
                          <a:spcPts val="840"/>
                        </a:spcBef>
                        <a:buClr>
                          <a:schemeClr val="accent3"/>
                        </a:buClr>
                        <a:buSzPct val="82000"/>
                        <a:buFont typeface="Wingdings 3" panose="05040102010807070707" pitchFamily="18" charset="2"/>
                        <a:buChar char=""/>
                      </a:pPr>
                      <a:endParaRPr lang="en-GB" sz="1400" dirty="0">
                        <a:solidFill>
                          <a:schemeClr val="tx1"/>
                        </a:solidFill>
                        <a:latin typeface="+mn-lt"/>
                      </a:endParaRPr>
                    </a:p>
                  </a:txBody>
                  <a:tcPr marL="72000" marR="72000" marT="72000" marB="72000">
                    <a:lnL w="28575" cap="flat" cmpd="sng" algn="ctr">
                      <a:solidFill>
                        <a:srgbClr val="D9D9D9"/>
                      </a:solidFill>
                      <a:prstDash val="solid"/>
                      <a:round/>
                      <a:headEnd type="none" w="med" len="med"/>
                      <a:tailEnd type="none" w="med" len="med"/>
                    </a:lnL>
                    <a:lnR w="28575" cap="flat" cmpd="sng" algn="ctr">
                      <a:solidFill>
                        <a:srgbClr val="D9D9D9"/>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72000" marR="72000" marT="72000" marB="72000">
                    <a:lnL w="28575"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483309677"/>
                  </a:ext>
                </a:extLst>
              </a:tr>
            </a:tbl>
          </a:graphicData>
        </a:graphic>
      </p:graphicFrame>
      <p:sp>
        <p:nvSpPr>
          <p:cNvPr id="2" name="Title 1">
            <a:extLst>
              <a:ext uri="{FF2B5EF4-FFF2-40B4-BE49-F238E27FC236}">
                <a16:creationId xmlns:a16="http://schemas.microsoft.com/office/drawing/2014/main" id="{62435C4D-9FC6-4609-B421-F8DF1BA2C673}"/>
              </a:ext>
            </a:extLst>
          </p:cNvPr>
          <p:cNvSpPr>
            <a:spLocks noGrp="1"/>
          </p:cNvSpPr>
          <p:nvPr>
            <p:ph type="title"/>
          </p:nvPr>
        </p:nvSpPr>
        <p:spPr/>
        <p:txBody>
          <a:bodyPr/>
          <a:lstStyle/>
          <a:p>
            <a:r>
              <a:rPr lang="en-GB" dirty="0"/>
              <a:t>Approach &amp; deliverables description – four steps</a:t>
            </a:r>
          </a:p>
        </p:txBody>
      </p:sp>
      <p:sp>
        <p:nvSpPr>
          <p:cNvPr id="32" name="Chevron 10">
            <a:extLst>
              <a:ext uri="{FF2B5EF4-FFF2-40B4-BE49-F238E27FC236}">
                <a16:creationId xmlns:a16="http://schemas.microsoft.com/office/drawing/2014/main" id="{3AF49BE2-AB4A-4873-BC7D-5FF53CAD3A7C}"/>
              </a:ext>
            </a:extLst>
          </p:cNvPr>
          <p:cNvSpPr/>
          <p:nvPr/>
        </p:nvSpPr>
        <p:spPr>
          <a:xfrm>
            <a:off x="3624222" y="1356404"/>
            <a:ext cx="2510004" cy="756000"/>
          </a:xfrm>
          <a:prstGeom prst="chevron">
            <a:avLst>
              <a:gd name="adj" fmla="val 21622"/>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2</a:t>
            </a:r>
            <a:endParaRPr lang="en-GB" b="1" dirty="0">
              <a:solidFill>
                <a:schemeClr val="bg1"/>
              </a:solidFill>
            </a:endParaRPr>
          </a:p>
        </p:txBody>
      </p:sp>
      <p:sp>
        <p:nvSpPr>
          <p:cNvPr id="33" name="Pentagone 17">
            <a:extLst>
              <a:ext uri="{FF2B5EF4-FFF2-40B4-BE49-F238E27FC236}">
                <a16:creationId xmlns:a16="http://schemas.microsoft.com/office/drawing/2014/main" id="{B22CDF54-09A3-4578-A446-51DB7D8A6C3F}"/>
              </a:ext>
            </a:extLst>
          </p:cNvPr>
          <p:cNvSpPr/>
          <p:nvPr/>
        </p:nvSpPr>
        <p:spPr>
          <a:xfrm>
            <a:off x="1190668" y="1356404"/>
            <a:ext cx="2510004" cy="756000"/>
          </a:xfrm>
          <a:prstGeom prst="homePlate">
            <a:avLst>
              <a:gd name="adj" fmla="val 22368"/>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1</a:t>
            </a:r>
            <a:endParaRPr lang="en-GB" b="1" dirty="0">
              <a:solidFill>
                <a:schemeClr val="bg1"/>
              </a:solidFill>
            </a:endParaRPr>
          </a:p>
        </p:txBody>
      </p:sp>
      <p:sp>
        <p:nvSpPr>
          <p:cNvPr id="34" name="Chevron 24">
            <a:extLst>
              <a:ext uri="{FF2B5EF4-FFF2-40B4-BE49-F238E27FC236}">
                <a16:creationId xmlns:a16="http://schemas.microsoft.com/office/drawing/2014/main" id="{BCB2322C-7910-4894-ACCF-30B3386B72E1}"/>
              </a:ext>
            </a:extLst>
          </p:cNvPr>
          <p:cNvSpPr/>
          <p:nvPr/>
        </p:nvSpPr>
        <p:spPr>
          <a:xfrm>
            <a:off x="6057776" y="1356404"/>
            <a:ext cx="2510004" cy="756000"/>
          </a:xfrm>
          <a:prstGeom prst="chevron">
            <a:avLst>
              <a:gd name="adj" fmla="val 21622"/>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dirty="0">
                <a:solidFill>
                  <a:schemeClr val="bg1"/>
                </a:solidFill>
              </a:rPr>
              <a:t>Name phase 3</a:t>
            </a:r>
          </a:p>
        </p:txBody>
      </p:sp>
      <p:sp>
        <p:nvSpPr>
          <p:cNvPr id="9" name="Chevron 24-2">
            <a:extLst>
              <a:ext uri="{FF2B5EF4-FFF2-40B4-BE49-F238E27FC236}">
                <a16:creationId xmlns:a16="http://schemas.microsoft.com/office/drawing/2014/main" id="{6F0564CF-4F1D-4610-B3E1-C56306807ECF}"/>
              </a:ext>
            </a:extLst>
          </p:cNvPr>
          <p:cNvSpPr/>
          <p:nvPr/>
        </p:nvSpPr>
        <p:spPr>
          <a:xfrm>
            <a:off x="8491329" y="1356404"/>
            <a:ext cx="2510004" cy="756000"/>
          </a:xfrm>
          <a:prstGeom prst="chevron">
            <a:avLst>
              <a:gd name="adj" fmla="val 21622"/>
            </a:avLst>
          </a:prstGeom>
          <a:solidFill>
            <a:schemeClr val="tx2"/>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0000" tIns="36000" rIns="36000" bIns="36000" rtlCol="0" anchor="t" anchorCtr="0"/>
          <a:lstStyle/>
          <a:p>
            <a:pPr algn="l">
              <a:spcBef>
                <a:spcPts val="400"/>
              </a:spcBef>
              <a:spcAft>
                <a:spcPts val="400"/>
              </a:spcAft>
            </a:pPr>
            <a:r>
              <a:rPr lang="en-GB" b="1">
                <a:solidFill>
                  <a:schemeClr val="bg1"/>
                </a:solidFill>
              </a:rPr>
              <a:t>Name phase 4</a:t>
            </a:r>
            <a:endParaRPr lang="en-GB" b="1" dirty="0">
              <a:solidFill>
                <a:schemeClr val="bg1"/>
              </a:solidFill>
            </a:endParaRPr>
          </a:p>
        </p:txBody>
      </p:sp>
    </p:spTree>
    <p:extLst>
      <p:ext uri="{BB962C8B-B14F-4D97-AF65-F5344CB8AC3E}">
        <p14:creationId xmlns:p14="http://schemas.microsoft.com/office/powerpoint/2010/main" val="25805108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2" name="Obje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E6E72E-1FE6-48F0-BE78-A0FCAEC8094E}"/>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1" name="Chevron 60"/>
          <p:cNvSpPr/>
          <p:nvPr/>
        </p:nvSpPr>
        <p:spPr>
          <a:xfrm rot="5400000">
            <a:off x="324706" y="5305764"/>
            <a:ext cx="1663200" cy="540000"/>
          </a:xfrm>
          <a:prstGeom prst="chevron">
            <a:avLst>
              <a:gd name="adj" fmla="val 27254"/>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200" dirty="0">
              <a:solidFill>
                <a:srgbClr val="FFFFFF"/>
              </a:solidFill>
            </a:endParaRPr>
          </a:p>
        </p:txBody>
      </p:sp>
      <p:sp>
        <p:nvSpPr>
          <p:cNvPr id="62" name="Rectangle 61"/>
          <p:cNvSpPr/>
          <p:nvPr/>
        </p:nvSpPr>
        <p:spPr>
          <a:xfrm>
            <a:off x="1429206" y="4744164"/>
            <a:ext cx="1437100" cy="15192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spcBef>
                <a:spcPts val="400"/>
              </a:spcBef>
              <a:spcAft>
                <a:spcPts val="400"/>
              </a:spcAft>
            </a:pPr>
            <a:r>
              <a:rPr lang="en-GB" b="1">
                <a:solidFill>
                  <a:schemeClr val="bg1"/>
                </a:solidFill>
              </a:rPr>
              <a:t>Name phase 3</a:t>
            </a:r>
            <a:endParaRPr lang="en-GB" b="1" dirty="0">
              <a:solidFill>
                <a:schemeClr val="bg1"/>
              </a:solidFill>
            </a:endParaRPr>
          </a:p>
        </p:txBody>
      </p:sp>
      <p:sp>
        <p:nvSpPr>
          <p:cNvPr id="68" name="Chevron 67"/>
          <p:cNvSpPr/>
          <p:nvPr/>
        </p:nvSpPr>
        <p:spPr>
          <a:xfrm rot="5400000">
            <a:off x="324706" y="3733057"/>
            <a:ext cx="1663200" cy="540000"/>
          </a:xfrm>
          <a:prstGeom prst="chevron">
            <a:avLst>
              <a:gd name="adj" fmla="val 27254"/>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200" dirty="0">
              <a:solidFill>
                <a:srgbClr val="FFFFFF"/>
              </a:solidFill>
            </a:endParaRPr>
          </a:p>
        </p:txBody>
      </p:sp>
      <p:sp>
        <p:nvSpPr>
          <p:cNvPr id="69" name="Rectangle 68"/>
          <p:cNvSpPr/>
          <p:nvPr/>
        </p:nvSpPr>
        <p:spPr>
          <a:xfrm>
            <a:off x="1429206" y="3171457"/>
            <a:ext cx="1437100" cy="15192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spcBef>
                <a:spcPts val="400"/>
              </a:spcBef>
              <a:spcAft>
                <a:spcPts val="400"/>
              </a:spcAft>
            </a:pPr>
            <a:r>
              <a:rPr lang="en-GB" b="1">
                <a:solidFill>
                  <a:schemeClr val="bg1"/>
                </a:solidFill>
              </a:rPr>
              <a:t>Name phase 2</a:t>
            </a:r>
            <a:endParaRPr lang="en-GB" b="1" dirty="0">
              <a:solidFill>
                <a:schemeClr val="bg1"/>
              </a:solidFill>
            </a:endParaRPr>
          </a:p>
        </p:txBody>
      </p:sp>
      <p:sp>
        <p:nvSpPr>
          <p:cNvPr id="89" name="Chevron 88"/>
          <p:cNvSpPr/>
          <p:nvPr/>
        </p:nvSpPr>
        <p:spPr>
          <a:xfrm rot="5400000">
            <a:off x="324706" y="2161795"/>
            <a:ext cx="1663200" cy="540000"/>
          </a:xfrm>
          <a:prstGeom prst="chevron">
            <a:avLst>
              <a:gd name="adj" fmla="val 27254"/>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200" dirty="0">
              <a:solidFill>
                <a:srgbClr val="FFFFFF"/>
              </a:solidFill>
            </a:endParaRPr>
          </a:p>
        </p:txBody>
      </p:sp>
      <p:sp>
        <p:nvSpPr>
          <p:cNvPr id="90" name="Rectangle 89"/>
          <p:cNvSpPr/>
          <p:nvPr/>
        </p:nvSpPr>
        <p:spPr>
          <a:xfrm>
            <a:off x="1429206" y="1600196"/>
            <a:ext cx="1437100" cy="15189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54000" rtlCol="0" anchor="t" anchorCtr="0"/>
          <a:lstStyle/>
          <a:p>
            <a:pPr algn="l">
              <a:spcBef>
                <a:spcPts val="400"/>
              </a:spcBef>
              <a:spcAft>
                <a:spcPts val="400"/>
              </a:spcAft>
            </a:pPr>
            <a:r>
              <a:rPr lang="en-GB" b="1">
                <a:solidFill>
                  <a:schemeClr val="bg1"/>
                </a:solidFill>
              </a:rPr>
              <a:t>Name phase 1</a:t>
            </a:r>
            <a:endParaRPr lang="en-GB" b="1" dirty="0">
              <a:solidFill>
                <a:schemeClr val="bg1"/>
              </a:solidFill>
            </a:endParaRPr>
          </a:p>
        </p:txBody>
      </p:sp>
      <p:sp>
        <p:nvSpPr>
          <p:cNvPr id="32" name="ZoneTexte 31">
            <a:extLst>
              <a:ext uri="{FF2B5EF4-FFF2-40B4-BE49-F238E27FC236}">
                <a16:creationId xmlns:a16="http://schemas.microsoft.com/office/drawing/2014/main" id="{1FA4438D-3FEE-462D-871D-BE6B256B00A2}"/>
              </a:ext>
            </a:extLst>
          </p:cNvPr>
          <p:cNvSpPr txBox="1"/>
          <p:nvPr/>
        </p:nvSpPr>
        <p:spPr>
          <a:xfrm>
            <a:off x="886307" y="1148148"/>
            <a:ext cx="706975" cy="307777"/>
          </a:xfrm>
          <a:prstGeom prst="rect">
            <a:avLst/>
          </a:prstGeom>
          <a:noFill/>
        </p:spPr>
        <p:txBody>
          <a:bodyPr wrap="none" lIns="54000" rIns="54000" rtlCol="0" anchor="ctr">
            <a:spAutoFit/>
          </a:bodyPr>
          <a:lstStyle/>
          <a:p>
            <a:pPr algn="l">
              <a:spcBef>
                <a:spcPts val="400"/>
              </a:spcBef>
              <a:spcAft>
                <a:spcPts val="400"/>
              </a:spcAft>
            </a:pPr>
            <a:r>
              <a:rPr lang="en-GB" dirty="0">
                <a:latin typeface="+mn-lt"/>
              </a:rPr>
              <a:t>Phases</a:t>
            </a:r>
          </a:p>
        </p:txBody>
      </p:sp>
      <p:sp>
        <p:nvSpPr>
          <p:cNvPr id="33" name="ZoneTexte 32">
            <a:extLst>
              <a:ext uri="{FF2B5EF4-FFF2-40B4-BE49-F238E27FC236}">
                <a16:creationId xmlns:a16="http://schemas.microsoft.com/office/drawing/2014/main" id="{91968F8D-B7F9-4F17-93B2-1FD5DC0C965A}"/>
              </a:ext>
            </a:extLst>
          </p:cNvPr>
          <p:cNvSpPr txBox="1"/>
          <p:nvPr/>
        </p:nvSpPr>
        <p:spPr>
          <a:xfrm>
            <a:off x="3258844" y="1148146"/>
            <a:ext cx="1352985" cy="307777"/>
          </a:xfrm>
          <a:prstGeom prst="rect">
            <a:avLst/>
          </a:prstGeom>
          <a:noFill/>
        </p:spPr>
        <p:txBody>
          <a:bodyPr wrap="none" lIns="54000" rIns="54000" rtlCol="0" anchor="ctr">
            <a:spAutoFit/>
          </a:bodyPr>
          <a:lstStyle/>
          <a:p>
            <a:pPr algn="l">
              <a:spcBef>
                <a:spcPts val="400"/>
              </a:spcBef>
              <a:spcAft>
                <a:spcPts val="400"/>
              </a:spcAft>
            </a:pPr>
            <a:r>
              <a:rPr lang="en-GB" dirty="0">
                <a:latin typeface="+mn-lt"/>
              </a:rPr>
              <a:t>Characteristic 1</a:t>
            </a:r>
          </a:p>
        </p:txBody>
      </p:sp>
      <p:sp>
        <p:nvSpPr>
          <p:cNvPr id="34" name="ZoneTexte 33">
            <a:extLst>
              <a:ext uri="{FF2B5EF4-FFF2-40B4-BE49-F238E27FC236}">
                <a16:creationId xmlns:a16="http://schemas.microsoft.com/office/drawing/2014/main" id="{A4EA0909-5C8A-4CA5-B014-54FB9BC14C23}"/>
              </a:ext>
            </a:extLst>
          </p:cNvPr>
          <p:cNvSpPr txBox="1"/>
          <p:nvPr/>
        </p:nvSpPr>
        <p:spPr>
          <a:xfrm>
            <a:off x="5936181" y="1148147"/>
            <a:ext cx="1352985" cy="307777"/>
          </a:xfrm>
          <a:prstGeom prst="rect">
            <a:avLst/>
          </a:prstGeom>
          <a:noFill/>
        </p:spPr>
        <p:txBody>
          <a:bodyPr wrap="none" lIns="54000" rIns="54000" rtlCol="0" anchor="ctr">
            <a:spAutoFit/>
          </a:bodyPr>
          <a:lstStyle/>
          <a:p>
            <a:pPr algn="l">
              <a:spcBef>
                <a:spcPts val="400"/>
              </a:spcBef>
              <a:spcAft>
                <a:spcPts val="400"/>
              </a:spcAft>
            </a:pPr>
            <a:r>
              <a:rPr lang="en-GB" dirty="0">
                <a:latin typeface="+mn-lt"/>
              </a:rPr>
              <a:t>Characteristic 2</a:t>
            </a:r>
          </a:p>
        </p:txBody>
      </p:sp>
      <p:sp>
        <p:nvSpPr>
          <p:cNvPr id="37" name="ZoneTexte 36">
            <a:extLst>
              <a:ext uri="{FF2B5EF4-FFF2-40B4-BE49-F238E27FC236}">
                <a16:creationId xmlns:a16="http://schemas.microsoft.com/office/drawing/2014/main" id="{0A3A597B-7FE2-437F-8C2B-43A7B01F3014}"/>
              </a:ext>
            </a:extLst>
          </p:cNvPr>
          <p:cNvSpPr txBox="1"/>
          <p:nvPr/>
        </p:nvSpPr>
        <p:spPr>
          <a:xfrm>
            <a:off x="8638346" y="1148146"/>
            <a:ext cx="1352985" cy="307777"/>
          </a:xfrm>
          <a:prstGeom prst="rect">
            <a:avLst/>
          </a:prstGeom>
          <a:noFill/>
        </p:spPr>
        <p:txBody>
          <a:bodyPr wrap="none" lIns="54000" rIns="54000" rtlCol="0" anchor="ctr">
            <a:spAutoFit/>
          </a:bodyPr>
          <a:lstStyle/>
          <a:p>
            <a:pPr algn="l">
              <a:spcBef>
                <a:spcPts val="400"/>
              </a:spcBef>
              <a:spcAft>
                <a:spcPts val="400"/>
              </a:spcAft>
            </a:pPr>
            <a:r>
              <a:rPr lang="en-GB" dirty="0">
                <a:latin typeface="+mn-lt"/>
              </a:rPr>
              <a:t>Characteristic 3</a:t>
            </a:r>
          </a:p>
        </p:txBody>
      </p:sp>
      <p:sp>
        <p:nvSpPr>
          <p:cNvPr id="38" name="Ellipse 37">
            <a:extLst>
              <a:ext uri="{FF2B5EF4-FFF2-40B4-BE49-F238E27FC236}">
                <a16:creationId xmlns:a16="http://schemas.microsoft.com/office/drawing/2014/main" id="{0419738D-E4CD-4E31-B8FF-1CD24E3293F2}"/>
              </a:ext>
            </a:extLst>
          </p:cNvPr>
          <p:cNvSpPr/>
          <p:nvPr/>
        </p:nvSpPr>
        <p:spPr>
          <a:xfrm>
            <a:off x="1007615" y="3364325"/>
            <a:ext cx="288000" cy="288000"/>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spcBef>
                <a:spcPts val="400"/>
              </a:spcBef>
              <a:spcAft>
                <a:spcPts val="400"/>
              </a:spcAft>
            </a:pPr>
            <a:r>
              <a:rPr lang="en-GB" b="1">
                <a:solidFill>
                  <a:srgbClr val="FFFFFF"/>
                </a:solidFill>
              </a:rPr>
              <a:t>2</a:t>
            </a:r>
            <a:endParaRPr lang="en-GB" b="1" dirty="0">
              <a:solidFill>
                <a:srgbClr val="FFFFFF"/>
              </a:solidFill>
            </a:endParaRPr>
          </a:p>
        </p:txBody>
      </p:sp>
      <p:sp>
        <p:nvSpPr>
          <p:cNvPr id="39" name="Ellipse 38">
            <a:extLst>
              <a:ext uri="{FF2B5EF4-FFF2-40B4-BE49-F238E27FC236}">
                <a16:creationId xmlns:a16="http://schemas.microsoft.com/office/drawing/2014/main" id="{345F9ECC-51E2-47A5-A9B3-AD40859F74F1}"/>
              </a:ext>
            </a:extLst>
          </p:cNvPr>
          <p:cNvSpPr/>
          <p:nvPr/>
        </p:nvSpPr>
        <p:spPr>
          <a:xfrm>
            <a:off x="1007615" y="1791618"/>
            <a:ext cx="288000" cy="288000"/>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r>
              <a:rPr lang="en-GB" b="1">
                <a:solidFill>
                  <a:srgbClr val="FFFFFF"/>
                </a:solidFill>
              </a:rPr>
              <a:t>1</a:t>
            </a:r>
            <a:endParaRPr lang="en-GB" b="1" dirty="0">
              <a:solidFill>
                <a:srgbClr val="FFFFFF"/>
              </a:solidFill>
            </a:endParaRPr>
          </a:p>
        </p:txBody>
      </p:sp>
      <p:sp>
        <p:nvSpPr>
          <p:cNvPr id="40" name="Ellipse 39">
            <a:extLst>
              <a:ext uri="{FF2B5EF4-FFF2-40B4-BE49-F238E27FC236}">
                <a16:creationId xmlns:a16="http://schemas.microsoft.com/office/drawing/2014/main" id="{F7513277-041F-4E68-A182-34EC04C27821}"/>
              </a:ext>
            </a:extLst>
          </p:cNvPr>
          <p:cNvSpPr/>
          <p:nvPr/>
        </p:nvSpPr>
        <p:spPr>
          <a:xfrm>
            <a:off x="1007615" y="4948576"/>
            <a:ext cx="288000" cy="288000"/>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spcBef>
                <a:spcPts val="400"/>
              </a:spcBef>
              <a:spcAft>
                <a:spcPts val="400"/>
              </a:spcAft>
            </a:pPr>
            <a:r>
              <a:rPr lang="en-GB" b="1">
                <a:solidFill>
                  <a:srgbClr val="FFFFFF"/>
                </a:solidFill>
              </a:rPr>
              <a:t>3</a:t>
            </a:r>
            <a:endParaRPr lang="en-GB" b="1" dirty="0">
              <a:solidFill>
                <a:srgbClr val="FFFFFF"/>
              </a:solidFill>
            </a:endParaRPr>
          </a:p>
        </p:txBody>
      </p:sp>
      <p:sp>
        <p:nvSpPr>
          <p:cNvPr id="41" name="ZoneTexte 40">
            <a:extLst>
              <a:ext uri="{FF2B5EF4-FFF2-40B4-BE49-F238E27FC236}">
                <a16:creationId xmlns:a16="http://schemas.microsoft.com/office/drawing/2014/main" id="{D7373243-6C32-4F85-B9C2-BB3085741F21}"/>
              </a:ext>
            </a:extLst>
          </p:cNvPr>
          <p:cNvSpPr txBox="1"/>
          <p:nvPr/>
        </p:nvSpPr>
        <p:spPr>
          <a:xfrm>
            <a:off x="3258844" y="3163079"/>
            <a:ext cx="2386582" cy="152757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2" name="ZoneTexte 41">
            <a:extLst>
              <a:ext uri="{FF2B5EF4-FFF2-40B4-BE49-F238E27FC236}">
                <a16:creationId xmlns:a16="http://schemas.microsoft.com/office/drawing/2014/main" id="{856AB5E9-8766-4F6E-90FC-0A635D5BDE43}"/>
              </a:ext>
            </a:extLst>
          </p:cNvPr>
          <p:cNvSpPr txBox="1"/>
          <p:nvPr/>
        </p:nvSpPr>
        <p:spPr>
          <a:xfrm>
            <a:off x="5936181" y="3163079"/>
            <a:ext cx="2386582" cy="152757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3" name="ZoneTexte 42">
            <a:extLst>
              <a:ext uri="{FF2B5EF4-FFF2-40B4-BE49-F238E27FC236}">
                <a16:creationId xmlns:a16="http://schemas.microsoft.com/office/drawing/2014/main" id="{1DA9474E-E444-4A62-8F76-B220BEAB2FAD}"/>
              </a:ext>
            </a:extLst>
          </p:cNvPr>
          <p:cNvSpPr txBox="1"/>
          <p:nvPr/>
        </p:nvSpPr>
        <p:spPr>
          <a:xfrm>
            <a:off x="8638346" y="3171457"/>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4" name="ZoneTexte 43">
            <a:extLst>
              <a:ext uri="{FF2B5EF4-FFF2-40B4-BE49-F238E27FC236}">
                <a16:creationId xmlns:a16="http://schemas.microsoft.com/office/drawing/2014/main" id="{24170F38-9B2C-4E2C-B69C-2E0E4B09E1B9}"/>
              </a:ext>
            </a:extLst>
          </p:cNvPr>
          <p:cNvSpPr txBox="1"/>
          <p:nvPr/>
        </p:nvSpPr>
        <p:spPr>
          <a:xfrm>
            <a:off x="3258844" y="1596949"/>
            <a:ext cx="2386582" cy="1518929"/>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5" name="ZoneTexte 44">
            <a:extLst>
              <a:ext uri="{FF2B5EF4-FFF2-40B4-BE49-F238E27FC236}">
                <a16:creationId xmlns:a16="http://schemas.microsoft.com/office/drawing/2014/main" id="{D90BCA78-0C07-4ACA-A0C6-A3E5388B8ACB}"/>
              </a:ext>
            </a:extLst>
          </p:cNvPr>
          <p:cNvSpPr txBox="1"/>
          <p:nvPr/>
        </p:nvSpPr>
        <p:spPr>
          <a:xfrm>
            <a:off x="5936181" y="1596948"/>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6" name="ZoneTexte 45">
            <a:extLst>
              <a:ext uri="{FF2B5EF4-FFF2-40B4-BE49-F238E27FC236}">
                <a16:creationId xmlns:a16="http://schemas.microsoft.com/office/drawing/2014/main" id="{0A26A629-FA88-4684-9CBD-392B6EE39535}"/>
              </a:ext>
            </a:extLst>
          </p:cNvPr>
          <p:cNvSpPr txBox="1"/>
          <p:nvPr/>
        </p:nvSpPr>
        <p:spPr>
          <a:xfrm>
            <a:off x="8638346" y="1596948"/>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7" name="ZoneTexte 46">
            <a:extLst>
              <a:ext uri="{FF2B5EF4-FFF2-40B4-BE49-F238E27FC236}">
                <a16:creationId xmlns:a16="http://schemas.microsoft.com/office/drawing/2014/main" id="{320B19F8-E65F-468E-B386-0665F6EC4E63}"/>
              </a:ext>
            </a:extLst>
          </p:cNvPr>
          <p:cNvSpPr txBox="1"/>
          <p:nvPr/>
        </p:nvSpPr>
        <p:spPr>
          <a:xfrm>
            <a:off x="8638346" y="4744164"/>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8" name="ZoneTexte 47">
            <a:extLst>
              <a:ext uri="{FF2B5EF4-FFF2-40B4-BE49-F238E27FC236}">
                <a16:creationId xmlns:a16="http://schemas.microsoft.com/office/drawing/2014/main" id="{5416D748-AA19-4C59-94FE-E9043343B903}"/>
              </a:ext>
            </a:extLst>
          </p:cNvPr>
          <p:cNvSpPr txBox="1"/>
          <p:nvPr/>
        </p:nvSpPr>
        <p:spPr>
          <a:xfrm>
            <a:off x="5936181" y="4744164"/>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50" name="ZoneTexte 49">
            <a:extLst>
              <a:ext uri="{FF2B5EF4-FFF2-40B4-BE49-F238E27FC236}">
                <a16:creationId xmlns:a16="http://schemas.microsoft.com/office/drawing/2014/main" id="{EE996D34-6674-4393-8636-FED306565042}"/>
              </a:ext>
            </a:extLst>
          </p:cNvPr>
          <p:cNvSpPr txBox="1"/>
          <p:nvPr/>
        </p:nvSpPr>
        <p:spPr>
          <a:xfrm>
            <a:off x="3258844" y="4744164"/>
            <a:ext cx="2386582" cy="1518928"/>
          </a:xfrm>
          <a:prstGeom prst="rect">
            <a:avLst/>
          </a:prstGeom>
          <a:noFill/>
        </p:spPr>
        <p:txBody>
          <a:bodyPr wrap="square" lIns="54000" rIns="54000" rtlCol="0" anchor="t">
            <a:noAutofit/>
          </a:bodyPr>
          <a:lstStyle/>
          <a:p>
            <a:pPr marL="180000" lvl="1" indent="-180000" algn="l" defTabSz="1125444"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XX</a:t>
            </a:r>
            <a:endParaRPr lang="en-GB" dirty="0">
              <a:latin typeface="+mn-lt"/>
            </a:endParaRPr>
          </a:p>
        </p:txBody>
      </p:sp>
      <p:sp>
        <p:nvSpPr>
          <p:cNvPr id="4" name="Title 3">
            <a:extLst>
              <a:ext uri="{FF2B5EF4-FFF2-40B4-BE49-F238E27FC236}">
                <a16:creationId xmlns:a16="http://schemas.microsoft.com/office/drawing/2014/main" id="{3E1F2033-03AD-446D-9DBD-22085CCA9BAC}"/>
              </a:ext>
            </a:extLst>
          </p:cNvPr>
          <p:cNvSpPr>
            <a:spLocks noGrp="1"/>
          </p:cNvSpPr>
          <p:nvPr>
            <p:ph type="title"/>
          </p:nvPr>
        </p:nvSpPr>
        <p:spPr/>
        <p:txBody>
          <a:bodyPr/>
          <a:lstStyle/>
          <a:p>
            <a:r>
              <a:rPr lang="en-GB" dirty="0"/>
              <a:t>Approach &amp; deliverables description – three steps</a:t>
            </a:r>
          </a:p>
        </p:txBody>
      </p:sp>
    </p:spTree>
    <p:extLst>
      <p:ext uri="{BB962C8B-B14F-4D97-AF65-F5344CB8AC3E}">
        <p14:creationId xmlns:p14="http://schemas.microsoft.com/office/powerpoint/2010/main" val="3040273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6B7801FE-50DD-42CC-9A91-E3D433D0D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2" name="Objet 1" hidden="1">
                        <a:extLst>
                          <a:ext uri="{FF2B5EF4-FFF2-40B4-BE49-F238E27FC236}">
                            <a16:creationId xmlns:a16="http://schemas.microsoft.com/office/drawing/2014/main" id="{6B7801FE-50DD-42CC-9A91-E3D433D0D2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20E6E5A-E614-4D9F-A5C4-AAAD2684839A}"/>
              </a:ext>
            </a:extLst>
          </p:cNvPr>
          <p:cNvSpPr>
            <a:spLocks noGrp="1"/>
          </p:cNvSpPr>
          <p:nvPr>
            <p:ph type="title"/>
          </p:nvPr>
        </p:nvSpPr>
        <p:spPr/>
        <p:txBody>
          <a:bodyPr/>
          <a:lstStyle/>
          <a:p>
            <a:r>
              <a:rPr lang="en-GB">
                <a:solidFill>
                  <a:srgbClr val="FFFFFF"/>
                </a:solidFill>
              </a:rPr>
              <a:t>Credentials</a:t>
            </a:r>
            <a:endParaRPr lang="en-GB" dirty="0">
              <a:solidFill>
                <a:srgbClr val="FFFFFF"/>
              </a:solidFill>
            </a:endParaRPr>
          </a:p>
        </p:txBody>
      </p:sp>
    </p:spTree>
    <p:extLst>
      <p:ext uri="{BB962C8B-B14F-4D97-AF65-F5344CB8AC3E}">
        <p14:creationId xmlns:p14="http://schemas.microsoft.com/office/powerpoint/2010/main" val="28775747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A1432D5-AD60-4D24-9B85-F50BF3F22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A1432D5-AD60-4D24-9B85-F50BF3F22E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E557A7DD-B3EE-458C-8580-6852D210B20A}"/>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p:nvSpPr>
        <p:spPr>
          <a:xfrm>
            <a:off x="3635682" y="1530101"/>
            <a:ext cx="428053" cy="338554"/>
          </a:xfrm>
          <a:prstGeom prst="rect">
            <a:avLst/>
          </a:prstGeom>
          <a:noFill/>
        </p:spPr>
        <p:txBody>
          <a:bodyPr wrap="none" lIns="54000" rIns="54000" rtlCol="0" anchor="ctr">
            <a:spAutoFit/>
          </a:bodyPr>
          <a:lstStyle/>
          <a:p>
            <a:r>
              <a:rPr lang="en-GB" sz="1600" b="1">
                <a:solidFill>
                  <a:schemeClr val="tx2"/>
                </a:solidFill>
                <a:latin typeface="+mn-lt"/>
              </a:rPr>
              <a:t>AM</a:t>
            </a:r>
            <a:endParaRPr lang="en-GB" sz="1600" b="1" dirty="0">
              <a:solidFill>
                <a:schemeClr val="tx2"/>
              </a:solidFill>
              <a:latin typeface="+mn-lt"/>
            </a:endParaRPr>
          </a:p>
        </p:txBody>
      </p:sp>
      <p:sp>
        <p:nvSpPr>
          <p:cNvPr id="6" name="Rectangle 5"/>
          <p:cNvSpPr/>
          <p:nvPr/>
        </p:nvSpPr>
        <p:spPr>
          <a:xfrm>
            <a:off x="1387016" y="1875494"/>
            <a:ext cx="657294"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 8:00</a:t>
            </a:r>
            <a:endParaRPr lang="en-GB" dirty="0">
              <a:solidFill>
                <a:schemeClr val="accent2"/>
              </a:solidFill>
            </a:endParaRPr>
          </a:p>
        </p:txBody>
      </p:sp>
      <p:sp>
        <p:nvSpPr>
          <p:cNvPr id="7" name="Rectangle 6"/>
          <p:cNvSpPr/>
          <p:nvPr/>
        </p:nvSpPr>
        <p:spPr>
          <a:xfrm>
            <a:off x="1387016" y="2775268"/>
            <a:ext cx="657294"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 9:00</a:t>
            </a:r>
            <a:endParaRPr lang="en-GB" dirty="0">
              <a:solidFill>
                <a:schemeClr val="accent2"/>
              </a:solidFill>
            </a:endParaRPr>
          </a:p>
        </p:txBody>
      </p:sp>
      <p:sp>
        <p:nvSpPr>
          <p:cNvPr id="8" name="Rectangle 7"/>
          <p:cNvSpPr/>
          <p:nvPr/>
        </p:nvSpPr>
        <p:spPr>
          <a:xfrm>
            <a:off x="1387016" y="3666825"/>
            <a:ext cx="657294"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0:00</a:t>
            </a:r>
            <a:endParaRPr lang="en-GB" dirty="0">
              <a:solidFill>
                <a:schemeClr val="accent2"/>
              </a:solidFill>
            </a:endParaRPr>
          </a:p>
        </p:txBody>
      </p:sp>
      <p:sp>
        <p:nvSpPr>
          <p:cNvPr id="9" name="Rectangle 8"/>
          <p:cNvSpPr/>
          <p:nvPr/>
        </p:nvSpPr>
        <p:spPr>
          <a:xfrm>
            <a:off x="1387016" y="4564955"/>
            <a:ext cx="657294"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1:00</a:t>
            </a:r>
            <a:endParaRPr lang="en-GB" dirty="0">
              <a:solidFill>
                <a:schemeClr val="accent2"/>
              </a:solidFill>
            </a:endParaRPr>
          </a:p>
        </p:txBody>
      </p:sp>
      <p:sp>
        <p:nvSpPr>
          <p:cNvPr id="10" name="Rectangle 9"/>
          <p:cNvSpPr/>
          <p:nvPr/>
        </p:nvSpPr>
        <p:spPr>
          <a:xfrm>
            <a:off x="1387016" y="5501206"/>
            <a:ext cx="657294"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2:00</a:t>
            </a:r>
            <a:endParaRPr lang="en-GB" dirty="0">
              <a:solidFill>
                <a:schemeClr val="accent2"/>
              </a:solidFill>
            </a:endParaRPr>
          </a:p>
        </p:txBody>
      </p:sp>
      <p:cxnSp>
        <p:nvCxnSpPr>
          <p:cNvPr id="11" name="Connecteur droit 10"/>
          <p:cNvCxnSpPr/>
          <p:nvPr/>
        </p:nvCxnSpPr>
        <p:spPr>
          <a:xfrm>
            <a:off x="1387016" y="1867861"/>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a:off x="1387016" y="2773935"/>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nvCxnSpPr>
        <p:spPr>
          <a:xfrm>
            <a:off x="1387016" y="3680009"/>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a:off x="1387016" y="4586083"/>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a:off x="1387016" y="5492157"/>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a:xfrm>
            <a:off x="1387016" y="6398233"/>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1832887" y="2320898"/>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1832887" y="3226972"/>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1832887" y="4133046"/>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p:nvCxnSpPr>
        <p:spPr>
          <a:xfrm>
            <a:off x="1832887" y="5039120"/>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nvCxnSpPr>
        <p:spPr>
          <a:xfrm>
            <a:off x="1832887" y="5945195"/>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299010" y="3246445"/>
            <a:ext cx="3101399" cy="233078"/>
          </a:xfrm>
          <a:prstGeom prst="rect">
            <a:avLst/>
          </a:prstGeom>
          <a:pattFill prst="ltUpDiag">
            <a:fgClr>
              <a:srgbClr val="D9D9D9"/>
            </a:fgClr>
            <a:bgClr>
              <a:schemeClr val="bg1"/>
            </a:bgClr>
          </a:patt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r>
              <a:rPr lang="en-GB" sz="1600">
                <a:solidFill>
                  <a:schemeClr val="tx2"/>
                </a:solidFill>
              </a:rPr>
              <a:t>Break</a:t>
            </a:r>
            <a:endParaRPr lang="en-GB" sz="1600" dirty="0">
              <a:solidFill>
                <a:schemeClr val="tx2"/>
              </a:solidFill>
            </a:endParaRPr>
          </a:p>
        </p:txBody>
      </p:sp>
      <p:sp>
        <p:nvSpPr>
          <p:cNvPr id="24" name="Rectangle 23"/>
          <p:cNvSpPr/>
          <p:nvPr/>
        </p:nvSpPr>
        <p:spPr>
          <a:xfrm>
            <a:off x="2299010" y="1909091"/>
            <a:ext cx="3101399" cy="129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1</a:t>
            </a:r>
            <a:endParaRPr lang="en-GB" dirty="0">
              <a:solidFill>
                <a:schemeClr val="tx1"/>
              </a:solidFill>
            </a:endParaRPr>
          </a:p>
        </p:txBody>
      </p:sp>
      <p:sp>
        <p:nvSpPr>
          <p:cNvPr id="27" name="Rectangle 26"/>
          <p:cNvSpPr/>
          <p:nvPr/>
        </p:nvSpPr>
        <p:spPr>
          <a:xfrm>
            <a:off x="2299010" y="1909091"/>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1</a:t>
            </a:r>
            <a:endParaRPr lang="en-GB" sz="1200" b="1" dirty="0">
              <a:solidFill>
                <a:schemeClr val="bg1"/>
              </a:solidFill>
            </a:endParaRPr>
          </a:p>
        </p:txBody>
      </p:sp>
      <p:sp>
        <p:nvSpPr>
          <p:cNvPr id="29" name="Rectangle 28"/>
          <p:cNvSpPr/>
          <p:nvPr/>
        </p:nvSpPr>
        <p:spPr>
          <a:xfrm>
            <a:off x="2299010" y="3517726"/>
            <a:ext cx="3101399" cy="148641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2</a:t>
            </a:r>
            <a:endParaRPr lang="en-GB" dirty="0">
              <a:solidFill>
                <a:schemeClr val="tx1"/>
              </a:solidFill>
            </a:endParaRPr>
          </a:p>
        </p:txBody>
      </p:sp>
      <p:sp>
        <p:nvSpPr>
          <p:cNvPr id="32" name="Rectangle 31"/>
          <p:cNvSpPr/>
          <p:nvPr/>
        </p:nvSpPr>
        <p:spPr>
          <a:xfrm>
            <a:off x="2299010" y="3517726"/>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2</a:t>
            </a:r>
            <a:endParaRPr lang="en-GB" sz="1200" b="1" dirty="0">
              <a:solidFill>
                <a:schemeClr val="bg1"/>
              </a:solidFill>
            </a:endParaRPr>
          </a:p>
        </p:txBody>
      </p:sp>
      <p:sp>
        <p:nvSpPr>
          <p:cNvPr id="34" name="Rectangle 33"/>
          <p:cNvSpPr/>
          <p:nvPr/>
        </p:nvSpPr>
        <p:spPr>
          <a:xfrm>
            <a:off x="2299010" y="5074105"/>
            <a:ext cx="3101399" cy="83610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rtlCol="0" anchor="ctr"/>
          <a:lstStyle/>
          <a:p>
            <a:pPr algn="l"/>
            <a:r>
              <a:rPr lang="en-GB">
                <a:solidFill>
                  <a:schemeClr val="tx1"/>
                </a:solidFill>
              </a:rPr>
              <a:t>Event 3</a:t>
            </a:r>
            <a:endParaRPr lang="en-GB" dirty="0">
              <a:solidFill>
                <a:schemeClr val="tx1"/>
              </a:solidFill>
            </a:endParaRPr>
          </a:p>
        </p:txBody>
      </p:sp>
      <p:sp>
        <p:nvSpPr>
          <p:cNvPr id="37" name="Rectangle 36"/>
          <p:cNvSpPr/>
          <p:nvPr/>
        </p:nvSpPr>
        <p:spPr>
          <a:xfrm>
            <a:off x="2299010" y="5074105"/>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3</a:t>
            </a:r>
            <a:endParaRPr lang="en-GB" sz="1200" b="1" dirty="0">
              <a:solidFill>
                <a:schemeClr val="bg1"/>
              </a:solidFill>
            </a:endParaRPr>
          </a:p>
        </p:txBody>
      </p:sp>
      <p:sp>
        <p:nvSpPr>
          <p:cNvPr id="39" name="Rectangle 38"/>
          <p:cNvSpPr/>
          <p:nvPr/>
        </p:nvSpPr>
        <p:spPr>
          <a:xfrm>
            <a:off x="8414600" y="1500736"/>
            <a:ext cx="416832" cy="338554"/>
          </a:xfrm>
          <a:prstGeom prst="rect">
            <a:avLst/>
          </a:prstGeom>
          <a:noFill/>
        </p:spPr>
        <p:txBody>
          <a:bodyPr wrap="none" lIns="54000" rIns="54000" rtlCol="0" anchor="ctr">
            <a:spAutoFit/>
          </a:bodyPr>
          <a:lstStyle/>
          <a:p>
            <a:r>
              <a:rPr lang="en-GB" sz="1600" b="1">
                <a:solidFill>
                  <a:schemeClr val="tx2"/>
                </a:solidFill>
                <a:latin typeface="+mn-lt"/>
              </a:rPr>
              <a:t>PM</a:t>
            </a:r>
            <a:endParaRPr lang="en-GB" sz="1600" b="1" dirty="0">
              <a:solidFill>
                <a:schemeClr val="tx2"/>
              </a:solidFill>
              <a:latin typeface="+mn-lt"/>
            </a:endParaRPr>
          </a:p>
        </p:txBody>
      </p:sp>
      <p:sp>
        <p:nvSpPr>
          <p:cNvPr id="40" name="Rectangle 39"/>
          <p:cNvSpPr/>
          <p:nvPr/>
        </p:nvSpPr>
        <p:spPr>
          <a:xfrm>
            <a:off x="6125145" y="1875494"/>
            <a:ext cx="666446"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4:00</a:t>
            </a:r>
            <a:endParaRPr lang="en-GB" dirty="0">
              <a:solidFill>
                <a:schemeClr val="accent2"/>
              </a:solidFill>
            </a:endParaRPr>
          </a:p>
        </p:txBody>
      </p:sp>
      <p:sp>
        <p:nvSpPr>
          <p:cNvPr id="41" name="Rectangle 40"/>
          <p:cNvSpPr/>
          <p:nvPr/>
        </p:nvSpPr>
        <p:spPr>
          <a:xfrm>
            <a:off x="6125145" y="2775268"/>
            <a:ext cx="666446"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5:00</a:t>
            </a:r>
            <a:endParaRPr lang="en-GB" dirty="0">
              <a:solidFill>
                <a:schemeClr val="accent2"/>
              </a:solidFill>
            </a:endParaRPr>
          </a:p>
        </p:txBody>
      </p:sp>
      <p:sp>
        <p:nvSpPr>
          <p:cNvPr id="42" name="Rectangle 41"/>
          <p:cNvSpPr/>
          <p:nvPr/>
        </p:nvSpPr>
        <p:spPr>
          <a:xfrm>
            <a:off x="6125145" y="3666825"/>
            <a:ext cx="666446"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6:00</a:t>
            </a:r>
            <a:endParaRPr lang="en-GB" dirty="0">
              <a:solidFill>
                <a:schemeClr val="accent2"/>
              </a:solidFill>
            </a:endParaRPr>
          </a:p>
        </p:txBody>
      </p:sp>
      <p:sp>
        <p:nvSpPr>
          <p:cNvPr id="43" name="Rectangle 42"/>
          <p:cNvSpPr/>
          <p:nvPr/>
        </p:nvSpPr>
        <p:spPr>
          <a:xfrm>
            <a:off x="6125145" y="4564955"/>
            <a:ext cx="666446"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7:00</a:t>
            </a:r>
            <a:endParaRPr lang="en-GB" dirty="0">
              <a:solidFill>
                <a:schemeClr val="accent2"/>
              </a:solidFill>
            </a:endParaRPr>
          </a:p>
        </p:txBody>
      </p:sp>
      <p:sp>
        <p:nvSpPr>
          <p:cNvPr id="44" name="Rectangle 43"/>
          <p:cNvSpPr/>
          <p:nvPr/>
        </p:nvSpPr>
        <p:spPr>
          <a:xfrm>
            <a:off x="6125145" y="5501206"/>
            <a:ext cx="666446"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8:00</a:t>
            </a:r>
            <a:endParaRPr lang="en-GB" dirty="0">
              <a:solidFill>
                <a:schemeClr val="accent2"/>
              </a:solidFill>
            </a:endParaRPr>
          </a:p>
        </p:txBody>
      </p:sp>
      <p:cxnSp>
        <p:nvCxnSpPr>
          <p:cNvPr id="45" name="Connecteur droit 44"/>
          <p:cNvCxnSpPr/>
          <p:nvPr/>
        </p:nvCxnSpPr>
        <p:spPr>
          <a:xfrm>
            <a:off x="6125145" y="1867861"/>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a:off x="6125145" y="2773935"/>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7" name="Connecteur droit 46"/>
          <p:cNvCxnSpPr/>
          <p:nvPr/>
        </p:nvCxnSpPr>
        <p:spPr>
          <a:xfrm>
            <a:off x="6125145" y="3680009"/>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Connecteur droit 47"/>
          <p:cNvCxnSpPr/>
          <p:nvPr/>
        </p:nvCxnSpPr>
        <p:spPr>
          <a:xfrm>
            <a:off x="6125145" y="4586083"/>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Connecteur droit 48"/>
          <p:cNvCxnSpPr/>
          <p:nvPr/>
        </p:nvCxnSpPr>
        <p:spPr>
          <a:xfrm>
            <a:off x="6125145" y="5492157"/>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a:off x="6125145" y="6398233"/>
            <a:ext cx="4536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Connecteur droit 50"/>
          <p:cNvCxnSpPr/>
          <p:nvPr/>
        </p:nvCxnSpPr>
        <p:spPr>
          <a:xfrm>
            <a:off x="6571016" y="2320898"/>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2" name="Connecteur droit 51"/>
          <p:cNvCxnSpPr/>
          <p:nvPr/>
        </p:nvCxnSpPr>
        <p:spPr>
          <a:xfrm>
            <a:off x="6571016" y="3226972"/>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3" name="Connecteur droit 52"/>
          <p:cNvCxnSpPr/>
          <p:nvPr/>
        </p:nvCxnSpPr>
        <p:spPr>
          <a:xfrm>
            <a:off x="6571016" y="4133046"/>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4" name="Connecteur droit 53"/>
          <p:cNvCxnSpPr/>
          <p:nvPr/>
        </p:nvCxnSpPr>
        <p:spPr>
          <a:xfrm>
            <a:off x="6571016" y="5039120"/>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p:cNvCxnSpPr/>
          <p:nvPr/>
        </p:nvCxnSpPr>
        <p:spPr>
          <a:xfrm>
            <a:off x="6571016" y="5945195"/>
            <a:ext cx="4104000"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059616" y="3240627"/>
            <a:ext cx="3101399" cy="233078"/>
          </a:xfrm>
          <a:prstGeom prst="rect">
            <a:avLst/>
          </a:prstGeom>
          <a:pattFill prst="ltUpDiag">
            <a:fgClr>
              <a:srgbClr val="D9D9D9"/>
            </a:fgClr>
            <a:bgClr>
              <a:schemeClr val="bg1"/>
            </a:bgClr>
          </a:patt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r>
              <a:rPr lang="en-GB" sz="1600">
                <a:solidFill>
                  <a:schemeClr val="tx2"/>
                </a:solidFill>
              </a:rPr>
              <a:t>Break</a:t>
            </a:r>
            <a:endParaRPr lang="en-GB" sz="1600" dirty="0">
              <a:solidFill>
                <a:schemeClr val="tx2"/>
              </a:solidFill>
            </a:endParaRPr>
          </a:p>
        </p:txBody>
      </p:sp>
      <p:sp>
        <p:nvSpPr>
          <p:cNvPr id="58" name="Rectangle 57"/>
          <p:cNvSpPr/>
          <p:nvPr/>
        </p:nvSpPr>
        <p:spPr>
          <a:xfrm>
            <a:off x="7059616" y="1903273"/>
            <a:ext cx="3101399" cy="129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4</a:t>
            </a:r>
            <a:endParaRPr lang="en-GB" dirty="0">
              <a:solidFill>
                <a:schemeClr val="tx1"/>
              </a:solidFill>
            </a:endParaRPr>
          </a:p>
        </p:txBody>
      </p:sp>
      <p:sp>
        <p:nvSpPr>
          <p:cNvPr id="61" name="Rectangle 60"/>
          <p:cNvSpPr/>
          <p:nvPr/>
        </p:nvSpPr>
        <p:spPr>
          <a:xfrm>
            <a:off x="7059616" y="1903273"/>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4</a:t>
            </a:r>
            <a:endParaRPr lang="en-GB" sz="1200" b="1" dirty="0">
              <a:solidFill>
                <a:schemeClr val="bg1"/>
              </a:solidFill>
            </a:endParaRPr>
          </a:p>
        </p:txBody>
      </p:sp>
      <p:sp>
        <p:nvSpPr>
          <p:cNvPr id="63" name="Rectangle 62"/>
          <p:cNvSpPr/>
          <p:nvPr/>
        </p:nvSpPr>
        <p:spPr>
          <a:xfrm>
            <a:off x="7059616" y="3511908"/>
            <a:ext cx="3101399" cy="148641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5</a:t>
            </a:r>
            <a:endParaRPr lang="en-GB" dirty="0">
              <a:solidFill>
                <a:schemeClr val="tx1"/>
              </a:solidFill>
            </a:endParaRPr>
          </a:p>
        </p:txBody>
      </p:sp>
      <p:sp>
        <p:nvSpPr>
          <p:cNvPr id="66" name="Rectangle 65"/>
          <p:cNvSpPr/>
          <p:nvPr/>
        </p:nvSpPr>
        <p:spPr>
          <a:xfrm>
            <a:off x="7059616" y="3511908"/>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5</a:t>
            </a:r>
            <a:endParaRPr lang="en-GB" sz="1200" b="1" dirty="0">
              <a:solidFill>
                <a:schemeClr val="bg1"/>
              </a:solidFill>
            </a:endParaRPr>
          </a:p>
        </p:txBody>
      </p:sp>
      <p:sp>
        <p:nvSpPr>
          <p:cNvPr id="68" name="Rectangle 67"/>
          <p:cNvSpPr/>
          <p:nvPr/>
        </p:nvSpPr>
        <p:spPr>
          <a:xfrm>
            <a:off x="7059616" y="5068287"/>
            <a:ext cx="3101399" cy="83610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rtlCol="0" anchor="ctr"/>
          <a:lstStyle/>
          <a:p>
            <a:pPr algn="l"/>
            <a:r>
              <a:rPr lang="en-GB">
                <a:solidFill>
                  <a:schemeClr val="tx1"/>
                </a:solidFill>
              </a:rPr>
              <a:t>Event 6</a:t>
            </a:r>
            <a:endParaRPr lang="en-GB" dirty="0">
              <a:solidFill>
                <a:schemeClr val="tx1"/>
              </a:solidFill>
            </a:endParaRPr>
          </a:p>
        </p:txBody>
      </p:sp>
      <p:sp>
        <p:nvSpPr>
          <p:cNvPr id="71" name="Rectangle 70"/>
          <p:cNvSpPr/>
          <p:nvPr/>
        </p:nvSpPr>
        <p:spPr>
          <a:xfrm>
            <a:off x="7059616" y="5068287"/>
            <a:ext cx="288000" cy="288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GB" sz="1200" b="1">
                <a:solidFill>
                  <a:schemeClr val="bg1"/>
                </a:solidFill>
              </a:rPr>
              <a:t>6</a:t>
            </a:r>
            <a:endParaRPr lang="en-GB" sz="1200" b="1" dirty="0">
              <a:solidFill>
                <a:schemeClr val="bg1"/>
              </a:solidFill>
            </a:endParaRPr>
          </a:p>
        </p:txBody>
      </p:sp>
      <p:sp>
        <p:nvSpPr>
          <p:cNvPr id="72" name="ZoneTexte 71"/>
          <p:cNvSpPr txBox="1"/>
          <p:nvPr/>
        </p:nvSpPr>
        <p:spPr>
          <a:xfrm>
            <a:off x="1387016" y="1177073"/>
            <a:ext cx="9288000" cy="293440"/>
          </a:xfrm>
          <a:prstGeom prst="rect">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GB"/>
            </a:defPPr>
            <a:lvl1pPr algn="l">
              <a:defRPr b="0">
                <a:solidFill>
                  <a:schemeClr val="bg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latin typeface="+mn-lt"/>
              </a:rPr>
              <a:t>Name of the event - date</a:t>
            </a:r>
            <a:endParaRPr lang="en-GB" dirty="0">
              <a:latin typeface="+mn-lt"/>
            </a:endParaRPr>
          </a:p>
        </p:txBody>
      </p:sp>
      <p:sp>
        <p:nvSpPr>
          <p:cNvPr id="4" name="Title 3">
            <a:extLst>
              <a:ext uri="{FF2B5EF4-FFF2-40B4-BE49-F238E27FC236}">
                <a16:creationId xmlns:a16="http://schemas.microsoft.com/office/drawing/2014/main" id="{73A46A86-2044-4EA4-9AF6-DC833B9914F7}"/>
              </a:ext>
            </a:extLst>
          </p:cNvPr>
          <p:cNvSpPr>
            <a:spLocks noGrp="1"/>
          </p:cNvSpPr>
          <p:nvPr>
            <p:ph type="title"/>
          </p:nvPr>
        </p:nvSpPr>
        <p:spPr/>
        <p:txBody>
          <a:bodyPr/>
          <a:lstStyle/>
          <a:p>
            <a:r>
              <a:rPr lang="en-GB"/>
              <a:t>Workshop agenda – single day</a:t>
            </a:r>
            <a:endParaRPr lang="en-GB" dirty="0"/>
          </a:p>
        </p:txBody>
      </p:sp>
    </p:spTree>
    <p:extLst>
      <p:ext uri="{BB962C8B-B14F-4D97-AF65-F5344CB8AC3E}">
        <p14:creationId xmlns:p14="http://schemas.microsoft.com/office/powerpoint/2010/main" val="10408392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CBE205AE-071C-443B-ADF0-FF027C8C0A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9" name="Objet 8" hidden="1">
                        <a:extLst>
                          <a:ext uri="{FF2B5EF4-FFF2-40B4-BE49-F238E27FC236}">
                            <a16:creationId xmlns:a16="http://schemas.microsoft.com/office/drawing/2014/main" id="{CBE205AE-071C-443B-ADF0-FF027C8C0A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334CAF-94A8-407F-876A-9605E8156049}"/>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1" name="ZoneTexte 71">
            <a:extLst>
              <a:ext uri="{FF2B5EF4-FFF2-40B4-BE49-F238E27FC236}">
                <a16:creationId xmlns:a16="http://schemas.microsoft.com/office/drawing/2014/main" id="{2194EEC2-605A-4BC1-B422-3C649903FA6A}"/>
              </a:ext>
            </a:extLst>
          </p:cNvPr>
          <p:cNvSpPr txBox="1"/>
          <p:nvPr/>
        </p:nvSpPr>
        <p:spPr>
          <a:xfrm>
            <a:off x="1387016" y="1177073"/>
            <a:ext cx="9288000" cy="293440"/>
          </a:xfrm>
          <a:prstGeom prst="rect">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GB"/>
            </a:defPPr>
            <a:lvl1pPr algn="l">
              <a:defRPr b="0">
                <a:solidFill>
                  <a:schemeClr val="bg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latin typeface="+mn-lt"/>
              </a:rPr>
              <a:t>Name of the event - date</a:t>
            </a:r>
            <a:endParaRPr lang="en-GB" dirty="0">
              <a:latin typeface="+mn-lt"/>
            </a:endParaRPr>
          </a:p>
        </p:txBody>
      </p:sp>
      <p:sp>
        <p:nvSpPr>
          <p:cNvPr id="3" name="Title 2">
            <a:extLst>
              <a:ext uri="{FF2B5EF4-FFF2-40B4-BE49-F238E27FC236}">
                <a16:creationId xmlns:a16="http://schemas.microsoft.com/office/drawing/2014/main" id="{E9077818-6462-4A71-9237-3356629181AA}"/>
              </a:ext>
            </a:extLst>
          </p:cNvPr>
          <p:cNvSpPr>
            <a:spLocks noGrp="1"/>
          </p:cNvSpPr>
          <p:nvPr>
            <p:ph type="title"/>
          </p:nvPr>
        </p:nvSpPr>
        <p:spPr/>
        <p:txBody>
          <a:bodyPr/>
          <a:lstStyle/>
          <a:p>
            <a:r>
              <a:rPr lang="en-GB"/>
              <a:t>Workshop agenda – full week</a:t>
            </a:r>
            <a:endParaRPr lang="en-GB" dirty="0"/>
          </a:p>
        </p:txBody>
      </p:sp>
      <p:sp>
        <p:nvSpPr>
          <p:cNvPr id="4" name="Rectangle 3"/>
          <p:cNvSpPr/>
          <p:nvPr/>
        </p:nvSpPr>
        <p:spPr>
          <a:xfrm>
            <a:off x="2529488" y="1602875"/>
            <a:ext cx="1623600" cy="307777"/>
          </a:xfrm>
          <a:prstGeom prst="rect">
            <a:avLst/>
          </a:prstGeom>
          <a:noFill/>
        </p:spPr>
        <p:txBody>
          <a:bodyPr wrap="square" lIns="54000" rIns="54000" rtlCol="0" anchor="ctr">
            <a:spAutoFit/>
          </a:bodyPr>
          <a:lstStyle/>
          <a:p>
            <a:pPr algn="ctr"/>
            <a:r>
              <a:rPr lang="en-GB">
                <a:solidFill>
                  <a:schemeClr val="accent2"/>
                </a:solidFill>
                <a:latin typeface="+mn-lt"/>
              </a:rPr>
              <a:t>Monday</a:t>
            </a:r>
            <a:endParaRPr lang="en-GB" dirty="0">
              <a:solidFill>
                <a:schemeClr val="accent2"/>
              </a:solidFill>
              <a:latin typeface="+mn-lt"/>
            </a:endParaRPr>
          </a:p>
        </p:txBody>
      </p:sp>
      <p:sp>
        <p:nvSpPr>
          <p:cNvPr id="5" name="Rectangle 4"/>
          <p:cNvSpPr/>
          <p:nvPr/>
        </p:nvSpPr>
        <p:spPr>
          <a:xfrm>
            <a:off x="4153088" y="1602875"/>
            <a:ext cx="1623600" cy="307777"/>
          </a:xfrm>
          <a:prstGeom prst="rect">
            <a:avLst/>
          </a:prstGeom>
          <a:noFill/>
        </p:spPr>
        <p:txBody>
          <a:bodyPr wrap="square" lIns="54000" rIns="54000" rtlCol="0" anchor="ctr">
            <a:spAutoFit/>
          </a:bodyPr>
          <a:lstStyle/>
          <a:p>
            <a:pPr algn="ctr"/>
            <a:r>
              <a:rPr lang="en-GB">
                <a:solidFill>
                  <a:schemeClr val="accent2"/>
                </a:solidFill>
                <a:latin typeface="+mn-lt"/>
              </a:rPr>
              <a:t>Tuesday</a:t>
            </a:r>
            <a:endParaRPr lang="en-GB" dirty="0">
              <a:solidFill>
                <a:schemeClr val="accent2"/>
              </a:solidFill>
              <a:latin typeface="+mn-lt"/>
            </a:endParaRPr>
          </a:p>
        </p:txBody>
      </p:sp>
      <p:sp>
        <p:nvSpPr>
          <p:cNvPr id="6" name="Rectangle 5"/>
          <p:cNvSpPr/>
          <p:nvPr/>
        </p:nvSpPr>
        <p:spPr>
          <a:xfrm>
            <a:off x="5776688" y="1602875"/>
            <a:ext cx="1623600" cy="307777"/>
          </a:xfrm>
          <a:prstGeom prst="rect">
            <a:avLst/>
          </a:prstGeom>
          <a:noFill/>
        </p:spPr>
        <p:txBody>
          <a:bodyPr wrap="square" lIns="54000" rIns="54000" rtlCol="0" anchor="ctr">
            <a:spAutoFit/>
          </a:bodyPr>
          <a:lstStyle/>
          <a:p>
            <a:pPr algn="ctr"/>
            <a:r>
              <a:rPr lang="en-GB">
                <a:solidFill>
                  <a:schemeClr val="accent2"/>
                </a:solidFill>
                <a:latin typeface="+mn-lt"/>
              </a:rPr>
              <a:t>Wednesday</a:t>
            </a:r>
            <a:endParaRPr lang="en-GB" dirty="0">
              <a:solidFill>
                <a:schemeClr val="accent2"/>
              </a:solidFill>
              <a:latin typeface="+mn-lt"/>
            </a:endParaRPr>
          </a:p>
        </p:txBody>
      </p:sp>
      <p:sp>
        <p:nvSpPr>
          <p:cNvPr id="7" name="Rectangle 6"/>
          <p:cNvSpPr/>
          <p:nvPr/>
        </p:nvSpPr>
        <p:spPr>
          <a:xfrm>
            <a:off x="7400288" y="1602875"/>
            <a:ext cx="1623600" cy="307777"/>
          </a:xfrm>
          <a:prstGeom prst="rect">
            <a:avLst/>
          </a:prstGeom>
          <a:noFill/>
        </p:spPr>
        <p:txBody>
          <a:bodyPr wrap="square" lIns="54000" rIns="54000" rtlCol="0" anchor="ctr">
            <a:spAutoFit/>
          </a:bodyPr>
          <a:lstStyle/>
          <a:p>
            <a:pPr algn="ctr"/>
            <a:r>
              <a:rPr lang="en-GB">
                <a:solidFill>
                  <a:schemeClr val="accent2"/>
                </a:solidFill>
                <a:latin typeface="+mn-lt"/>
              </a:rPr>
              <a:t>Thursday</a:t>
            </a:r>
            <a:endParaRPr lang="en-GB" dirty="0">
              <a:solidFill>
                <a:schemeClr val="accent2"/>
              </a:solidFill>
              <a:latin typeface="+mn-lt"/>
            </a:endParaRPr>
          </a:p>
        </p:txBody>
      </p:sp>
      <p:sp>
        <p:nvSpPr>
          <p:cNvPr id="8" name="Rectangle 7"/>
          <p:cNvSpPr/>
          <p:nvPr/>
        </p:nvSpPr>
        <p:spPr>
          <a:xfrm>
            <a:off x="9023888" y="1602875"/>
            <a:ext cx="1623600" cy="307777"/>
          </a:xfrm>
          <a:prstGeom prst="rect">
            <a:avLst/>
          </a:prstGeom>
          <a:noFill/>
        </p:spPr>
        <p:txBody>
          <a:bodyPr wrap="square" lIns="54000" rIns="54000" rtlCol="0" anchor="ctr">
            <a:spAutoFit/>
          </a:bodyPr>
          <a:lstStyle/>
          <a:p>
            <a:pPr algn="ctr"/>
            <a:r>
              <a:rPr lang="en-GB">
                <a:solidFill>
                  <a:srgbClr val="87737B"/>
                </a:solidFill>
                <a:latin typeface="+mn-lt"/>
              </a:rPr>
              <a:t>Friday</a:t>
            </a:r>
            <a:endParaRPr lang="en-GB" dirty="0">
              <a:solidFill>
                <a:srgbClr val="87737B"/>
              </a:solidFill>
              <a:latin typeface="+mn-lt"/>
            </a:endParaRPr>
          </a:p>
        </p:txBody>
      </p:sp>
      <p:cxnSp>
        <p:nvCxnSpPr>
          <p:cNvPr id="21" name="Connecteur droit 20"/>
          <p:cNvCxnSpPr/>
          <p:nvPr/>
        </p:nvCxnSpPr>
        <p:spPr>
          <a:xfrm flipV="1">
            <a:off x="1412241" y="1919644"/>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Connecteur droit 21"/>
          <p:cNvCxnSpPr/>
          <p:nvPr/>
        </p:nvCxnSpPr>
        <p:spPr>
          <a:xfrm flipV="1">
            <a:off x="1412241" y="2335022"/>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nvCxnSpPr>
        <p:spPr>
          <a:xfrm flipV="1">
            <a:off x="1412241" y="2750400"/>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Connecteur droit 23"/>
          <p:cNvCxnSpPr/>
          <p:nvPr/>
        </p:nvCxnSpPr>
        <p:spPr>
          <a:xfrm flipV="1">
            <a:off x="1412241" y="3165778"/>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nvCxnSpPr>
        <p:spPr>
          <a:xfrm flipV="1">
            <a:off x="1412241" y="3581156"/>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nvCxnSpPr>
        <p:spPr>
          <a:xfrm flipV="1">
            <a:off x="1412241" y="3996534"/>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flipV="1">
            <a:off x="1412241" y="4411912"/>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flipV="1">
            <a:off x="1412241" y="4827290"/>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flipV="1">
            <a:off x="1412241" y="5242668"/>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flipV="1">
            <a:off x="1412241" y="5658046"/>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Connecteur droit 30"/>
          <p:cNvCxnSpPr/>
          <p:nvPr/>
        </p:nvCxnSpPr>
        <p:spPr>
          <a:xfrm flipV="1">
            <a:off x="1412241" y="6073424"/>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Connecteur droit 31"/>
          <p:cNvCxnSpPr/>
          <p:nvPr/>
        </p:nvCxnSpPr>
        <p:spPr>
          <a:xfrm flipV="1">
            <a:off x="1412241" y="6488806"/>
            <a:ext cx="92880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Connecteur droit 32"/>
          <p:cNvCxnSpPr/>
          <p:nvPr/>
        </p:nvCxnSpPr>
        <p:spPr>
          <a:xfrm flipV="1">
            <a:off x="2427807" y="2127333"/>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flipV="1">
            <a:off x="2427807" y="2542711"/>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p:nvCxnSpPr>
        <p:spPr>
          <a:xfrm flipV="1">
            <a:off x="2427807" y="2958089"/>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p:nvCxnSpPr>
        <p:spPr>
          <a:xfrm flipV="1">
            <a:off x="2427807" y="3373467"/>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p:cNvCxnSpPr/>
          <p:nvPr/>
        </p:nvCxnSpPr>
        <p:spPr>
          <a:xfrm flipV="1">
            <a:off x="2427807" y="3788845"/>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p:nvCxnSpPr>
        <p:spPr>
          <a:xfrm flipV="1">
            <a:off x="2427807" y="4204223"/>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9" name="Connecteur droit 38"/>
          <p:cNvCxnSpPr/>
          <p:nvPr/>
        </p:nvCxnSpPr>
        <p:spPr>
          <a:xfrm flipV="1">
            <a:off x="2427807" y="4619601"/>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0" name="Connecteur droit 39"/>
          <p:cNvCxnSpPr/>
          <p:nvPr/>
        </p:nvCxnSpPr>
        <p:spPr>
          <a:xfrm flipV="1">
            <a:off x="2427807" y="5034979"/>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1" name="Connecteur droit 40"/>
          <p:cNvCxnSpPr/>
          <p:nvPr/>
        </p:nvCxnSpPr>
        <p:spPr>
          <a:xfrm flipV="1">
            <a:off x="2427807" y="5450357"/>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flipV="1">
            <a:off x="2427807" y="5865735"/>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3" name="Connecteur droit 42"/>
          <p:cNvCxnSpPr/>
          <p:nvPr/>
        </p:nvCxnSpPr>
        <p:spPr>
          <a:xfrm flipV="1">
            <a:off x="2427807" y="6281113"/>
            <a:ext cx="8272434" cy="0"/>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492225" y="1987073"/>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08:00</a:t>
            </a:r>
            <a:endParaRPr lang="en-GB" dirty="0">
              <a:solidFill>
                <a:schemeClr val="accent2"/>
              </a:solidFill>
            </a:endParaRPr>
          </a:p>
        </p:txBody>
      </p:sp>
      <p:sp>
        <p:nvSpPr>
          <p:cNvPr id="11" name="Rectangle 10"/>
          <p:cNvSpPr/>
          <p:nvPr/>
        </p:nvSpPr>
        <p:spPr>
          <a:xfrm>
            <a:off x="1492225" y="2401457"/>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09:00</a:t>
            </a:r>
            <a:endParaRPr lang="en-GB" dirty="0">
              <a:solidFill>
                <a:schemeClr val="accent2"/>
              </a:solidFill>
            </a:endParaRPr>
          </a:p>
        </p:txBody>
      </p:sp>
      <p:sp>
        <p:nvSpPr>
          <p:cNvPr id="12" name="Rectangle 11"/>
          <p:cNvSpPr/>
          <p:nvPr/>
        </p:nvSpPr>
        <p:spPr>
          <a:xfrm>
            <a:off x="1492225" y="2815841"/>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0:00</a:t>
            </a:r>
            <a:endParaRPr lang="en-GB" dirty="0">
              <a:solidFill>
                <a:schemeClr val="accent2"/>
              </a:solidFill>
            </a:endParaRPr>
          </a:p>
        </p:txBody>
      </p:sp>
      <p:sp>
        <p:nvSpPr>
          <p:cNvPr id="13" name="Rectangle 12"/>
          <p:cNvSpPr/>
          <p:nvPr/>
        </p:nvSpPr>
        <p:spPr>
          <a:xfrm>
            <a:off x="1492225" y="3230225"/>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1:00</a:t>
            </a:r>
            <a:endParaRPr lang="en-GB" dirty="0">
              <a:solidFill>
                <a:schemeClr val="accent2"/>
              </a:solidFill>
            </a:endParaRPr>
          </a:p>
        </p:txBody>
      </p:sp>
      <p:sp>
        <p:nvSpPr>
          <p:cNvPr id="14" name="Rectangle 13"/>
          <p:cNvSpPr/>
          <p:nvPr/>
        </p:nvSpPr>
        <p:spPr>
          <a:xfrm>
            <a:off x="1492225" y="3644609"/>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2:00</a:t>
            </a:r>
            <a:endParaRPr lang="en-GB" dirty="0">
              <a:solidFill>
                <a:schemeClr val="accent2"/>
              </a:solidFill>
            </a:endParaRPr>
          </a:p>
        </p:txBody>
      </p:sp>
      <p:sp>
        <p:nvSpPr>
          <p:cNvPr id="15" name="Rectangle 14"/>
          <p:cNvSpPr/>
          <p:nvPr/>
        </p:nvSpPr>
        <p:spPr>
          <a:xfrm>
            <a:off x="1492225" y="4058993"/>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3:00</a:t>
            </a:r>
            <a:endParaRPr lang="en-GB" dirty="0">
              <a:solidFill>
                <a:schemeClr val="accent2"/>
              </a:solidFill>
            </a:endParaRPr>
          </a:p>
        </p:txBody>
      </p:sp>
      <p:sp>
        <p:nvSpPr>
          <p:cNvPr id="16" name="Rectangle 15"/>
          <p:cNvSpPr/>
          <p:nvPr/>
        </p:nvSpPr>
        <p:spPr>
          <a:xfrm>
            <a:off x="1492225" y="4473377"/>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4:00</a:t>
            </a:r>
            <a:endParaRPr lang="en-GB" dirty="0">
              <a:solidFill>
                <a:schemeClr val="accent2"/>
              </a:solidFill>
            </a:endParaRPr>
          </a:p>
        </p:txBody>
      </p:sp>
      <p:sp>
        <p:nvSpPr>
          <p:cNvPr id="17" name="Rectangle 16"/>
          <p:cNvSpPr/>
          <p:nvPr/>
        </p:nvSpPr>
        <p:spPr>
          <a:xfrm>
            <a:off x="1492225" y="4887761"/>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5:00</a:t>
            </a:r>
            <a:endParaRPr lang="en-GB" dirty="0">
              <a:solidFill>
                <a:schemeClr val="accent2"/>
              </a:solidFill>
            </a:endParaRPr>
          </a:p>
        </p:txBody>
      </p:sp>
      <p:sp>
        <p:nvSpPr>
          <p:cNvPr id="18" name="Rectangle 17"/>
          <p:cNvSpPr/>
          <p:nvPr/>
        </p:nvSpPr>
        <p:spPr>
          <a:xfrm>
            <a:off x="1492225" y="5302145"/>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6:00</a:t>
            </a:r>
            <a:endParaRPr lang="en-GB" dirty="0">
              <a:solidFill>
                <a:schemeClr val="accent2"/>
              </a:solidFill>
            </a:endParaRPr>
          </a:p>
        </p:txBody>
      </p:sp>
      <p:sp>
        <p:nvSpPr>
          <p:cNvPr id="19" name="Rectangle 18"/>
          <p:cNvSpPr/>
          <p:nvPr/>
        </p:nvSpPr>
        <p:spPr>
          <a:xfrm>
            <a:off x="1492225" y="5716529"/>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7:00</a:t>
            </a:r>
            <a:endParaRPr lang="en-GB" dirty="0">
              <a:solidFill>
                <a:schemeClr val="accent2"/>
              </a:solidFill>
            </a:endParaRPr>
          </a:p>
        </p:txBody>
      </p:sp>
      <p:sp>
        <p:nvSpPr>
          <p:cNvPr id="20" name="Rectangle 19"/>
          <p:cNvSpPr/>
          <p:nvPr/>
        </p:nvSpPr>
        <p:spPr>
          <a:xfrm>
            <a:off x="1492225" y="6130911"/>
            <a:ext cx="613628" cy="288000"/>
          </a:xfrm>
          <a:prstGeom prst="rect">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18000" rIns="54000" rtlCol="0" anchor="t"/>
          <a:lstStyle/>
          <a:p>
            <a:pPr algn="l"/>
            <a:r>
              <a:rPr lang="en-GB">
                <a:solidFill>
                  <a:schemeClr val="accent2"/>
                </a:solidFill>
              </a:rPr>
              <a:t>18:00</a:t>
            </a:r>
            <a:endParaRPr lang="en-GB" dirty="0">
              <a:solidFill>
                <a:schemeClr val="accent2"/>
              </a:solidFill>
            </a:endParaRPr>
          </a:p>
        </p:txBody>
      </p:sp>
      <p:sp>
        <p:nvSpPr>
          <p:cNvPr id="49" name="Rectangle 48"/>
          <p:cNvSpPr/>
          <p:nvPr/>
        </p:nvSpPr>
        <p:spPr>
          <a:xfrm>
            <a:off x="2707738" y="4417068"/>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2</a:t>
            </a:r>
            <a:endParaRPr lang="en-GB" dirty="0">
              <a:solidFill>
                <a:schemeClr val="tx1"/>
              </a:solidFill>
            </a:endParaRPr>
          </a:p>
        </p:txBody>
      </p:sp>
      <p:sp>
        <p:nvSpPr>
          <p:cNvPr id="50" name="Rectangle 49"/>
          <p:cNvSpPr/>
          <p:nvPr/>
        </p:nvSpPr>
        <p:spPr>
          <a:xfrm>
            <a:off x="2695298" y="4412829"/>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2</a:t>
            </a:r>
            <a:endParaRPr lang="en-GB" sz="1200" b="1" dirty="0">
              <a:solidFill>
                <a:schemeClr val="bg1"/>
              </a:solidFill>
            </a:endParaRPr>
          </a:p>
        </p:txBody>
      </p:sp>
      <p:sp>
        <p:nvSpPr>
          <p:cNvPr id="56" name="Rectangle 55"/>
          <p:cNvSpPr/>
          <p:nvPr/>
        </p:nvSpPr>
        <p:spPr>
          <a:xfrm>
            <a:off x="4331338" y="4417068"/>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4</a:t>
            </a:r>
            <a:endParaRPr lang="en-GB" dirty="0">
              <a:solidFill>
                <a:schemeClr val="tx1"/>
              </a:solidFill>
            </a:endParaRPr>
          </a:p>
        </p:txBody>
      </p:sp>
      <p:sp>
        <p:nvSpPr>
          <p:cNvPr id="57" name="Rectangle 56"/>
          <p:cNvSpPr/>
          <p:nvPr/>
        </p:nvSpPr>
        <p:spPr>
          <a:xfrm>
            <a:off x="4318898" y="4412829"/>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4</a:t>
            </a:r>
            <a:endParaRPr lang="en-GB" sz="1200" b="1" dirty="0">
              <a:solidFill>
                <a:schemeClr val="bg1"/>
              </a:solidFill>
            </a:endParaRPr>
          </a:p>
        </p:txBody>
      </p:sp>
      <p:sp>
        <p:nvSpPr>
          <p:cNvPr id="62" name="Rectangle 61"/>
          <p:cNvSpPr/>
          <p:nvPr/>
        </p:nvSpPr>
        <p:spPr>
          <a:xfrm>
            <a:off x="5954938" y="4417068"/>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6</a:t>
            </a:r>
            <a:endParaRPr lang="en-GB" dirty="0">
              <a:solidFill>
                <a:schemeClr val="tx1"/>
              </a:solidFill>
            </a:endParaRPr>
          </a:p>
        </p:txBody>
      </p:sp>
      <p:sp>
        <p:nvSpPr>
          <p:cNvPr id="63" name="Rectangle 62"/>
          <p:cNvSpPr/>
          <p:nvPr/>
        </p:nvSpPr>
        <p:spPr>
          <a:xfrm>
            <a:off x="5942498" y="4412829"/>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6</a:t>
            </a:r>
            <a:endParaRPr lang="en-GB" sz="1200" b="1" dirty="0">
              <a:solidFill>
                <a:schemeClr val="bg1"/>
              </a:solidFill>
            </a:endParaRPr>
          </a:p>
        </p:txBody>
      </p:sp>
      <p:sp>
        <p:nvSpPr>
          <p:cNvPr id="68" name="Rectangle 67"/>
          <p:cNvSpPr/>
          <p:nvPr/>
        </p:nvSpPr>
        <p:spPr>
          <a:xfrm>
            <a:off x="7578538" y="4417068"/>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8</a:t>
            </a:r>
            <a:endParaRPr lang="en-GB" dirty="0">
              <a:solidFill>
                <a:schemeClr val="tx1"/>
              </a:solidFill>
            </a:endParaRPr>
          </a:p>
        </p:txBody>
      </p:sp>
      <p:sp>
        <p:nvSpPr>
          <p:cNvPr id="69" name="Rectangle 68"/>
          <p:cNvSpPr/>
          <p:nvPr/>
        </p:nvSpPr>
        <p:spPr>
          <a:xfrm>
            <a:off x="7566098" y="4412829"/>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8</a:t>
            </a:r>
            <a:endParaRPr lang="en-GB" sz="1200" b="1" dirty="0">
              <a:solidFill>
                <a:schemeClr val="bg1"/>
              </a:solidFill>
            </a:endParaRPr>
          </a:p>
        </p:txBody>
      </p:sp>
      <p:sp>
        <p:nvSpPr>
          <p:cNvPr id="46" name="Rectangle 45"/>
          <p:cNvSpPr/>
          <p:nvPr/>
        </p:nvSpPr>
        <p:spPr>
          <a:xfrm>
            <a:off x="2707738" y="1927611"/>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1</a:t>
            </a:r>
            <a:endParaRPr lang="en-GB" dirty="0">
              <a:solidFill>
                <a:schemeClr val="tx1"/>
              </a:solidFill>
            </a:endParaRPr>
          </a:p>
        </p:txBody>
      </p:sp>
      <p:sp>
        <p:nvSpPr>
          <p:cNvPr id="47" name="Rectangle 46"/>
          <p:cNvSpPr/>
          <p:nvPr/>
        </p:nvSpPr>
        <p:spPr>
          <a:xfrm>
            <a:off x="2695298" y="1917253"/>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1</a:t>
            </a:r>
            <a:endParaRPr lang="en-GB" sz="1200" b="1" dirty="0">
              <a:solidFill>
                <a:schemeClr val="bg1"/>
              </a:solidFill>
            </a:endParaRPr>
          </a:p>
        </p:txBody>
      </p:sp>
      <p:sp>
        <p:nvSpPr>
          <p:cNvPr id="53" name="Rectangle 52"/>
          <p:cNvSpPr/>
          <p:nvPr/>
        </p:nvSpPr>
        <p:spPr>
          <a:xfrm>
            <a:off x="4331338" y="1927611"/>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3</a:t>
            </a:r>
            <a:endParaRPr lang="en-GB" dirty="0">
              <a:solidFill>
                <a:schemeClr val="tx1"/>
              </a:solidFill>
            </a:endParaRPr>
          </a:p>
        </p:txBody>
      </p:sp>
      <p:sp>
        <p:nvSpPr>
          <p:cNvPr id="54" name="Rectangle 53"/>
          <p:cNvSpPr/>
          <p:nvPr/>
        </p:nvSpPr>
        <p:spPr>
          <a:xfrm>
            <a:off x="4318898" y="1917253"/>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3</a:t>
            </a:r>
            <a:endParaRPr lang="en-GB" sz="1200" b="1" dirty="0">
              <a:solidFill>
                <a:schemeClr val="bg1"/>
              </a:solidFill>
            </a:endParaRPr>
          </a:p>
        </p:txBody>
      </p:sp>
      <p:sp>
        <p:nvSpPr>
          <p:cNvPr id="59" name="Rectangle 58"/>
          <p:cNvSpPr/>
          <p:nvPr/>
        </p:nvSpPr>
        <p:spPr>
          <a:xfrm>
            <a:off x="5954938" y="1927611"/>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5</a:t>
            </a:r>
            <a:endParaRPr lang="en-GB" dirty="0">
              <a:solidFill>
                <a:schemeClr val="tx1"/>
              </a:solidFill>
            </a:endParaRPr>
          </a:p>
        </p:txBody>
      </p:sp>
      <p:sp>
        <p:nvSpPr>
          <p:cNvPr id="60" name="Rectangle 59"/>
          <p:cNvSpPr/>
          <p:nvPr/>
        </p:nvSpPr>
        <p:spPr>
          <a:xfrm>
            <a:off x="5942498" y="1917253"/>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5</a:t>
            </a:r>
            <a:endParaRPr lang="en-GB" sz="1200" b="1" dirty="0">
              <a:solidFill>
                <a:schemeClr val="bg1"/>
              </a:solidFill>
            </a:endParaRPr>
          </a:p>
        </p:txBody>
      </p:sp>
      <p:sp>
        <p:nvSpPr>
          <p:cNvPr id="65" name="Rectangle 64"/>
          <p:cNvSpPr/>
          <p:nvPr/>
        </p:nvSpPr>
        <p:spPr>
          <a:xfrm>
            <a:off x="7578538" y="1927611"/>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7</a:t>
            </a:r>
            <a:endParaRPr lang="en-GB" dirty="0">
              <a:solidFill>
                <a:schemeClr val="tx1"/>
              </a:solidFill>
            </a:endParaRPr>
          </a:p>
        </p:txBody>
      </p:sp>
      <p:sp>
        <p:nvSpPr>
          <p:cNvPr id="66" name="Rectangle 65"/>
          <p:cNvSpPr/>
          <p:nvPr/>
        </p:nvSpPr>
        <p:spPr>
          <a:xfrm>
            <a:off x="7566098" y="1917253"/>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7</a:t>
            </a:r>
            <a:endParaRPr lang="en-GB" sz="1200" b="1" dirty="0">
              <a:solidFill>
                <a:schemeClr val="bg1"/>
              </a:solidFill>
            </a:endParaRPr>
          </a:p>
        </p:txBody>
      </p:sp>
      <p:sp>
        <p:nvSpPr>
          <p:cNvPr id="71" name="Rectangle 70"/>
          <p:cNvSpPr/>
          <p:nvPr/>
        </p:nvSpPr>
        <p:spPr>
          <a:xfrm>
            <a:off x="9202138" y="1927611"/>
            <a:ext cx="1368000" cy="16452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r>
              <a:rPr lang="en-GB">
                <a:solidFill>
                  <a:schemeClr val="tx1"/>
                </a:solidFill>
              </a:rPr>
              <a:t>Event 9</a:t>
            </a:r>
            <a:endParaRPr lang="en-GB" dirty="0">
              <a:solidFill>
                <a:schemeClr val="tx1"/>
              </a:solidFill>
            </a:endParaRPr>
          </a:p>
        </p:txBody>
      </p:sp>
      <p:sp>
        <p:nvSpPr>
          <p:cNvPr id="72" name="Rectangle 71"/>
          <p:cNvSpPr/>
          <p:nvPr/>
        </p:nvSpPr>
        <p:spPr>
          <a:xfrm>
            <a:off x="9189698" y="1917253"/>
            <a:ext cx="252000" cy="252000"/>
          </a:xfrm>
          <a:prstGeom prst="rect">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solidFill>
                  <a:schemeClr val="bg1"/>
                </a:solidFill>
              </a:rPr>
              <a:t>9</a:t>
            </a:r>
            <a:endParaRPr lang="en-GB" sz="1200" b="1" dirty="0">
              <a:solidFill>
                <a:schemeClr val="bg1"/>
              </a:solidFill>
            </a:endParaRPr>
          </a:p>
        </p:txBody>
      </p:sp>
    </p:spTree>
    <p:extLst>
      <p:ext uri="{BB962C8B-B14F-4D97-AF65-F5344CB8AC3E}">
        <p14:creationId xmlns:p14="http://schemas.microsoft.com/office/powerpoint/2010/main" val="9096552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F0D957B3-FFD8-4AAA-9A87-6C1BFD2F45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4" name="Objet 3" hidden="1">
                        <a:extLst>
                          <a:ext uri="{FF2B5EF4-FFF2-40B4-BE49-F238E27FC236}">
                            <a16:creationId xmlns:a16="http://schemas.microsoft.com/office/drawing/2014/main" id="{F0D957B3-FFD8-4AAA-9A87-6C1BFD2F45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D4ABD08-F556-467D-9544-C252E35DB73D}"/>
              </a:ext>
            </a:extLst>
          </p:cNvPr>
          <p:cNvSpPr>
            <a:spLocks noGrp="1"/>
          </p:cNvSpPr>
          <p:nvPr>
            <p:ph type="title"/>
          </p:nvPr>
        </p:nvSpPr>
        <p:spPr/>
        <p:txBody>
          <a:bodyPr/>
          <a:lstStyle/>
          <a:p>
            <a:r>
              <a:rPr lang="en-GB">
                <a:latin typeface="+mn-lt"/>
              </a:rPr>
              <a:t>Planning</a:t>
            </a:r>
            <a:endParaRPr lang="en-GB" dirty="0">
              <a:latin typeface="+mn-lt"/>
            </a:endParaRPr>
          </a:p>
        </p:txBody>
      </p:sp>
      <p:sp>
        <p:nvSpPr>
          <p:cNvPr id="5" name="ZoneTexte 71">
            <a:extLst>
              <a:ext uri="{FF2B5EF4-FFF2-40B4-BE49-F238E27FC236}">
                <a16:creationId xmlns:a16="http://schemas.microsoft.com/office/drawing/2014/main" id="{3E4407FB-96DF-4E1A-AA75-EBE20DDB899A}"/>
              </a:ext>
            </a:extLst>
          </p:cNvPr>
          <p:cNvSpPr txBox="1"/>
          <p:nvPr/>
        </p:nvSpPr>
        <p:spPr>
          <a:xfrm>
            <a:off x="502120" y="1177073"/>
            <a:ext cx="10193410" cy="293440"/>
          </a:xfrm>
          <a:prstGeom prst="rect">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GB"/>
            </a:defPPr>
            <a:lvl1pPr algn="l">
              <a:defRPr b="0">
                <a:solidFill>
                  <a:schemeClr val="bg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latin typeface="+mn-lt"/>
              </a:rPr>
              <a:t>Name of the event - date</a:t>
            </a:r>
            <a:endParaRPr lang="en-GB" dirty="0">
              <a:latin typeface="+mn-lt"/>
            </a:endParaRPr>
          </a:p>
        </p:txBody>
      </p:sp>
      <p:sp>
        <p:nvSpPr>
          <p:cNvPr id="6" name="Rectangle 5">
            <a:extLst>
              <a:ext uri="{FF2B5EF4-FFF2-40B4-BE49-F238E27FC236}">
                <a16:creationId xmlns:a16="http://schemas.microsoft.com/office/drawing/2014/main" id="{77B17981-EBBC-4120-A308-13A4A836CE37}"/>
              </a:ext>
            </a:extLst>
          </p:cNvPr>
          <p:cNvSpPr/>
          <p:nvPr/>
        </p:nvSpPr>
        <p:spPr>
          <a:xfrm>
            <a:off x="502119" y="1986607"/>
            <a:ext cx="1639353" cy="10397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t"/>
          <a:lstStyle/>
          <a:p>
            <a:pPr algn="l"/>
            <a:r>
              <a:rPr lang="en-GB">
                <a:solidFill>
                  <a:schemeClr val="tx1"/>
                </a:solidFill>
              </a:rPr>
              <a:t>Event 1</a:t>
            </a:r>
            <a:endParaRPr lang="en-GB" dirty="0">
              <a:solidFill>
                <a:schemeClr val="tx1"/>
              </a:solidFill>
            </a:endParaRPr>
          </a:p>
        </p:txBody>
      </p:sp>
      <p:sp>
        <p:nvSpPr>
          <p:cNvPr id="7" name="Rectangle 6">
            <a:extLst>
              <a:ext uri="{FF2B5EF4-FFF2-40B4-BE49-F238E27FC236}">
                <a16:creationId xmlns:a16="http://schemas.microsoft.com/office/drawing/2014/main" id="{20C85D87-564A-4DFF-B75C-041679D24E4E}"/>
              </a:ext>
            </a:extLst>
          </p:cNvPr>
          <p:cNvSpPr/>
          <p:nvPr/>
        </p:nvSpPr>
        <p:spPr>
          <a:xfrm>
            <a:off x="502119" y="3077987"/>
            <a:ext cx="1639353" cy="10397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t"/>
          <a:lstStyle/>
          <a:p>
            <a:pPr algn="l"/>
            <a:r>
              <a:rPr lang="en-GB">
                <a:solidFill>
                  <a:schemeClr val="tx1"/>
                </a:solidFill>
              </a:rPr>
              <a:t>Event 1</a:t>
            </a:r>
            <a:endParaRPr lang="en-GB" dirty="0">
              <a:solidFill>
                <a:schemeClr val="tx1"/>
              </a:solidFill>
            </a:endParaRPr>
          </a:p>
        </p:txBody>
      </p:sp>
      <p:sp>
        <p:nvSpPr>
          <p:cNvPr id="8" name="Rectangle 7">
            <a:extLst>
              <a:ext uri="{FF2B5EF4-FFF2-40B4-BE49-F238E27FC236}">
                <a16:creationId xmlns:a16="http://schemas.microsoft.com/office/drawing/2014/main" id="{F772D088-6F75-4153-A9E3-00F898ADE755}"/>
              </a:ext>
            </a:extLst>
          </p:cNvPr>
          <p:cNvSpPr/>
          <p:nvPr/>
        </p:nvSpPr>
        <p:spPr>
          <a:xfrm>
            <a:off x="502119" y="4169368"/>
            <a:ext cx="1639353" cy="10397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t"/>
          <a:lstStyle/>
          <a:p>
            <a:pPr algn="l"/>
            <a:r>
              <a:rPr lang="en-GB">
                <a:solidFill>
                  <a:schemeClr val="tx1"/>
                </a:solidFill>
              </a:rPr>
              <a:t>Event 1</a:t>
            </a:r>
            <a:endParaRPr lang="en-GB" dirty="0">
              <a:solidFill>
                <a:schemeClr val="tx1"/>
              </a:solidFill>
            </a:endParaRPr>
          </a:p>
        </p:txBody>
      </p:sp>
      <p:sp>
        <p:nvSpPr>
          <p:cNvPr id="9" name="Rectangle 8">
            <a:extLst>
              <a:ext uri="{FF2B5EF4-FFF2-40B4-BE49-F238E27FC236}">
                <a16:creationId xmlns:a16="http://schemas.microsoft.com/office/drawing/2014/main" id="{F3FA6B74-C283-4A1C-887C-E5309D19C7EA}"/>
              </a:ext>
            </a:extLst>
          </p:cNvPr>
          <p:cNvSpPr/>
          <p:nvPr/>
        </p:nvSpPr>
        <p:spPr>
          <a:xfrm>
            <a:off x="2207032" y="1544157"/>
            <a:ext cx="1639353" cy="3613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r>
              <a:rPr lang="en-GB">
                <a:solidFill>
                  <a:schemeClr val="tx1"/>
                </a:solidFill>
              </a:rPr>
              <a:t>December</a:t>
            </a:r>
            <a:endParaRPr lang="en-GB" dirty="0">
              <a:solidFill>
                <a:schemeClr val="tx1"/>
              </a:solidFill>
            </a:endParaRPr>
          </a:p>
        </p:txBody>
      </p:sp>
      <p:sp>
        <p:nvSpPr>
          <p:cNvPr id="10" name="Rectangle 9">
            <a:extLst>
              <a:ext uri="{FF2B5EF4-FFF2-40B4-BE49-F238E27FC236}">
                <a16:creationId xmlns:a16="http://schemas.microsoft.com/office/drawing/2014/main" id="{A6126808-A66F-496C-B3FB-E056261F2593}"/>
              </a:ext>
            </a:extLst>
          </p:cNvPr>
          <p:cNvSpPr/>
          <p:nvPr/>
        </p:nvSpPr>
        <p:spPr>
          <a:xfrm>
            <a:off x="3917845" y="1544157"/>
            <a:ext cx="1639353" cy="3613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r>
              <a:rPr lang="en-GB">
                <a:solidFill>
                  <a:schemeClr val="tx1"/>
                </a:solidFill>
              </a:rPr>
              <a:t>January</a:t>
            </a:r>
            <a:endParaRPr lang="en-GB" dirty="0">
              <a:solidFill>
                <a:schemeClr val="tx1"/>
              </a:solidFill>
            </a:endParaRPr>
          </a:p>
        </p:txBody>
      </p:sp>
      <p:sp>
        <p:nvSpPr>
          <p:cNvPr id="11" name="Rectangle 10">
            <a:extLst>
              <a:ext uri="{FF2B5EF4-FFF2-40B4-BE49-F238E27FC236}">
                <a16:creationId xmlns:a16="http://schemas.microsoft.com/office/drawing/2014/main" id="{F1E9E5D1-1CEB-4C2F-B508-D475C626FB50}"/>
              </a:ext>
            </a:extLst>
          </p:cNvPr>
          <p:cNvSpPr/>
          <p:nvPr/>
        </p:nvSpPr>
        <p:spPr>
          <a:xfrm>
            <a:off x="5634557" y="1544157"/>
            <a:ext cx="1639353" cy="3613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r>
              <a:rPr lang="en-GB">
                <a:solidFill>
                  <a:schemeClr val="tx1"/>
                </a:solidFill>
              </a:rPr>
              <a:t>February</a:t>
            </a:r>
            <a:endParaRPr lang="en-GB" dirty="0">
              <a:solidFill>
                <a:schemeClr val="tx1"/>
              </a:solidFill>
            </a:endParaRPr>
          </a:p>
        </p:txBody>
      </p:sp>
      <p:sp>
        <p:nvSpPr>
          <p:cNvPr id="12" name="Rectangle 11">
            <a:extLst>
              <a:ext uri="{FF2B5EF4-FFF2-40B4-BE49-F238E27FC236}">
                <a16:creationId xmlns:a16="http://schemas.microsoft.com/office/drawing/2014/main" id="{3CD56D86-F465-46F7-8056-0DD6AB18D0A4}"/>
              </a:ext>
            </a:extLst>
          </p:cNvPr>
          <p:cNvSpPr/>
          <p:nvPr/>
        </p:nvSpPr>
        <p:spPr>
          <a:xfrm>
            <a:off x="7345370" y="1544157"/>
            <a:ext cx="1639353" cy="3613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r>
              <a:rPr lang="en-GB">
                <a:solidFill>
                  <a:schemeClr val="tx1"/>
                </a:solidFill>
              </a:rPr>
              <a:t>March</a:t>
            </a:r>
            <a:endParaRPr lang="en-GB" dirty="0">
              <a:solidFill>
                <a:schemeClr val="tx1"/>
              </a:solidFill>
            </a:endParaRPr>
          </a:p>
        </p:txBody>
      </p:sp>
      <p:sp>
        <p:nvSpPr>
          <p:cNvPr id="13" name="Rectangle 12">
            <a:extLst>
              <a:ext uri="{FF2B5EF4-FFF2-40B4-BE49-F238E27FC236}">
                <a16:creationId xmlns:a16="http://schemas.microsoft.com/office/drawing/2014/main" id="{BA2ED186-0353-48A9-9F60-7DC1795E5DE8}"/>
              </a:ext>
            </a:extLst>
          </p:cNvPr>
          <p:cNvSpPr/>
          <p:nvPr/>
        </p:nvSpPr>
        <p:spPr>
          <a:xfrm>
            <a:off x="9067981" y="1544157"/>
            <a:ext cx="1639353" cy="3613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r>
              <a:rPr lang="en-GB">
                <a:solidFill>
                  <a:schemeClr val="tx1"/>
                </a:solidFill>
              </a:rPr>
              <a:t>April</a:t>
            </a:r>
            <a:endParaRPr lang="en-GB" dirty="0">
              <a:solidFill>
                <a:schemeClr val="tx1"/>
              </a:solidFill>
            </a:endParaRPr>
          </a:p>
        </p:txBody>
      </p:sp>
      <p:cxnSp>
        <p:nvCxnSpPr>
          <p:cNvPr id="16" name="Connecteur droit 15">
            <a:extLst>
              <a:ext uri="{FF2B5EF4-FFF2-40B4-BE49-F238E27FC236}">
                <a16:creationId xmlns:a16="http://schemas.microsoft.com/office/drawing/2014/main" id="{75CF9AA2-D4BC-49DE-8236-E93EB1AD7EE1}"/>
              </a:ext>
            </a:extLst>
          </p:cNvPr>
          <p:cNvCxnSpPr>
            <a:cxnSpLocks/>
          </p:cNvCxnSpPr>
          <p:nvPr/>
        </p:nvCxnSpPr>
        <p:spPr>
          <a:xfrm>
            <a:off x="3869977" y="1911391"/>
            <a:ext cx="0" cy="3344934"/>
          </a:xfrm>
          <a:prstGeom prst="line">
            <a:avLst/>
          </a:prstGeom>
          <a:ln w="9525" cap="flat" cmpd="sng" algn="ctr">
            <a:solidFill>
              <a:srgbClr val="C1B5B9"/>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Connecteur droit 18">
            <a:extLst>
              <a:ext uri="{FF2B5EF4-FFF2-40B4-BE49-F238E27FC236}">
                <a16:creationId xmlns:a16="http://schemas.microsoft.com/office/drawing/2014/main" id="{B3ACF571-AE56-466E-9810-B3A79B3675A7}"/>
              </a:ext>
            </a:extLst>
          </p:cNvPr>
          <p:cNvCxnSpPr>
            <a:cxnSpLocks/>
          </p:cNvCxnSpPr>
          <p:nvPr/>
        </p:nvCxnSpPr>
        <p:spPr>
          <a:xfrm>
            <a:off x="5598488" y="1911391"/>
            <a:ext cx="0" cy="3344934"/>
          </a:xfrm>
          <a:prstGeom prst="line">
            <a:avLst/>
          </a:prstGeom>
          <a:ln w="9525" cap="flat" cmpd="sng" algn="ctr">
            <a:solidFill>
              <a:srgbClr val="C1B5B9"/>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 name="Connecteur droit 19">
            <a:extLst>
              <a:ext uri="{FF2B5EF4-FFF2-40B4-BE49-F238E27FC236}">
                <a16:creationId xmlns:a16="http://schemas.microsoft.com/office/drawing/2014/main" id="{988989E0-6EBD-4426-8ABD-71670F065190}"/>
              </a:ext>
            </a:extLst>
          </p:cNvPr>
          <p:cNvCxnSpPr>
            <a:cxnSpLocks/>
          </p:cNvCxnSpPr>
          <p:nvPr/>
        </p:nvCxnSpPr>
        <p:spPr>
          <a:xfrm>
            <a:off x="7303402" y="1911391"/>
            <a:ext cx="0" cy="3344934"/>
          </a:xfrm>
          <a:prstGeom prst="line">
            <a:avLst/>
          </a:prstGeom>
          <a:ln w="9525" cap="flat" cmpd="sng" algn="ctr">
            <a:solidFill>
              <a:srgbClr val="C1B5B9"/>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 name="Connecteur droit 20">
            <a:extLst>
              <a:ext uri="{FF2B5EF4-FFF2-40B4-BE49-F238E27FC236}">
                <a16:creationId xmlns:a16="http://schemas.microsoft.com/office/drawing/2014/main" id="{B2A3901F-D622-4392-9816-409E3600823B}"/>
              </a:ext>
            </a:extLst>
          </p:cNvPr>
          <p:cNvCxnSpPr>
            <a:cxnSpLocks/>
          </p:cNvCxnSpPr>
          <p:nvPr/>
        </p:nvCxnSpPr>
        <p:spPr>
          <a:xfrm>
            <a:off x="9020114" y="1911391"/>
            <a:ext cx="0" cy="3344934"/>
          </a:xfrm>
          <a:prstGeom prst="line">
            <a:avLst/>
          </a:prstGeom>
          <a:ln w="9525" cap="flat" cmpd="sng" algn="ctr">
            <a:solidFill>
              <a:srgbClr val="C1B5B9"/>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a:extLst>
              <a:ext uri="{FF2B5EF4-FFF2-40B4-BE49-F238E27FC236}">
                <a16:creationId xmlns:a16="http://schemas.microsoft.com/office/drawing/2014/main" id="{15AE1D8C-F1FB-426B-8588-FC4DA8C5F7C5}"/>
              </a:ext>
            </a:extLst>
          </p:cNvPr>
          <p:cNvSpPr/>
          <p:nvPr/>
        </p:nvSpPr>
        <p:spPr>
          <a:xfrm>
            <a:off x="3981998" y="1986607"/>
            <a:ext cx="2218224" cy="1039764"/>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endParaRPr lang="en-GB" dirty="0">
              <a:solidFill>
                <a:srgbClr val="000000"/>
              </a:solidFill>
            </a:endParaRPr>
          </a:p>
        </p:txBody>
      </p:sp>
      <p:sp>
        <p:nvSpPr>
          <p:cNvPr id="22" name="Rectangle 21">
            <a:extLst>
              <a:ext uri="{FF2B5EF4-FFF2-40B4-BE49-F238E27FC236}">
                <a16:creationId xmlns:a16="http://schemas.microsoft.com/office/drawing/2014/main" id="{F7734CCE-AFCC-4634-B207-35F5B6664509}"/>
              </a:ext>
            </a:extLst>
          </p:cNvPr>
          <p:cNvSpPr/>
          <p:nvPr/>
        </p:nvSpPr>
        <p:spPr>
          <a:xfrm>
            <a:off x="6294612" y="3077987"/>
            <a:ext cx="2395137" cy="1039764"/>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endParaRPr lang="en-GB" dirty="0">
              <a:solidFill>
                <a:srgbClr val="000000"/>
              </a:solidFill>
            </a:endParaRPr>
          </a:p>
        </p:txBody>
      </p:sp>
      <p:sp>
        <p:nvSpPr>
          <p:cNvPr id="23" name="Rectangle 22">
            <a:extLst>
              <a:ext uri="{FF2B5EF4-FFF2-40B4-BE49-F238E27FC236}">
                <a16:creationId xmlns:a16="http://schemas.microsoft.com/office/drawing/2014/main" id="{A9408599-8D48-4EF9-8D38-EAF243CEBEA5}"/>
              </a:ext>
            </a:extLst>
          </p:cNvPr>
          <p:cNvSpPr/>
          <p:nvPr/>
        </p:nvSpPr>
        <p:spPr>
          <a:xfrm>
            <a:off x="8536300" y="4169368"/>
            <a:ext cx="2171029" cy="1039764"/>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36000" rIns="90000" rtlCol="0" anchor="ctr"/>
          <a:lstStyle/>
          <a:p>
            <a:pPr algn="l"/>
            <a:endParaRPr lang="en-GB" dirty="0">
              <a:solidFill>
                <a:srgbClr val="000000"/>
              </a:solidFill>
            </a:endParaRPr>
          </a:p>
        </p:txBody>
      </p:sp>
      <p:sp>
        <p:nvSpPr>
          <p:cNvPr id="25" name="Organigramme : Décision 24">
            <a:extLst>
              <a:ext uri="{FF2B5EF4-FFF2-40B4-BE49-F238E27FC236}">
                <a16:creationId xmlns:a16="http://schemas.microsoft.com/office/drawing/2014/main" id="{3C1CA831-E53C-495F-AA8F-CBE97BD39861}"/>
              </a:ext>
            </a:extLst>
          </p:cNvPr>
          <p:cNvSpPr/>
          <p:nvPr/>
        </p:nvSpPr>
        <p:spPr bwMode="auto">
          <a:xfrm>
            <a:off x="4247536" y="2344257"/>
            <a:ext cx="312666" cy="324465"/>
          </a:xfrm>
          <a:prstGeom prst="flowChartDecision">
            <a:avLst/>
          </a:prstGeom>
          <a:solidFill>
            <a:schemeClr val="accent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26" name="Organigramme : Décision 25">
            <a:extLst>
              <a:ext uri="{FF2B5EF4-FFF2-40B4-BE49-F238E27FC236}">
                <a16:creationId xmlns:a16="http://schemas.microsoft.com/office/drawing/2014/main" id="{7FBDF59F-0F79-458F-8574-27EF4BC1F387}"/>
              </a:ext>
            </a:extLst>
          </p:cNvPr>
          <p:cNvSpPr/>
          <p:nvPr/>
        </p:nvSpPr>
        <p:spPr bwMode="auto">
          <a:xfrm>
            <a:off x="6630875" y="3435637"/>
            <a:ext cx="312666" cy="324465"/>
          </a:xfrm>
          <a:prstGeom prst="flowChartDecision">
            <a:avLst/>
          </a:prstGeom>
          <a:solidFill>
            <a:schemeClr val="accent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27" name="Organigramme : Décision 26">
            <a:extLst>
              <a:ext uri="{FF2B5EF4-FFF2-40B4-BE49-F238E27FC236}">
                <a16:creationId xmlns:a16="http://schemas.microsoft.com/office/drawing/2014/main" id="{1BCB768B-7A52-4691-9D36-41DF5F4C4BFE}"/>
              </a:ext>
            </a:extLst>
          </p:cNvPr>
          <p:cNvSpPr/>
          <p:nvPr/>
        </p:nvSpPr>
        <p:spPr bwMode="auto">
          <a:xfrm>
            <a:off x="8795938" y="4527018"/>
            <a:ext cx="312666" cy="324465"/>
          </a:xfrm>
          <a:prstGeom prst="flowChartDecision">
            <a:avLst/>
          </a:prstGeom>
          <a:solidFill>
            <a:schemeClr val="accent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0" name="Organigramme : Décision 29">
            <a:extLst>
              <a:ext uri="{FF2B5EF4-FFF2-40B4-BE49-F238E27FC236}">
                <a16:creationId xmlns:a16="http://schemas.microsoft.com/office/drawing/2014/main" id="{D17C6D1E-D4B1-4A54-9C21-BE53E3DA4D21}"/>
              </a:ext>
            </a:extLst>
          </p:cNvPr>
          <p:cNvSpPr/>
          <p:nvPr/>
        </p:nvSpPr>
        <p:spPr bwMode="auto">
          <a:xfrm>
            <a:off x="7173616" y="3435637"/>
            <a:ext cx="312666" cy="324465"/>
          </a:xfrm>
          <a:prstGeom prst="flowChartDecision">
            <a:avLst/>
          </a:prstGeom>
          <a:solidFill>
            <a:schemeClr val="tx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1" name="Organigramme : Décision 30">
            <a:extLst>
              <a:ext uri="{FF2B5EF4-FFF2-40B4-BE49-F238E27FC236}">
                <a16:creationId xmlns:a16="http://schemas.microsoft.com/office/drawing/2014/main" id="{18907D67-78A9-4369-8F7A-E2BC72DB5FE0}"/>
              </a:ext>
            </a:extLst>
          </p:cNvPr>
          <p:cNvSpPr/>
          <p:nvPr/>
        </p:nvSpPr>
        <p:spPr bwMode="auto">
          <a:xfrm>
            <a:off x="7828444" y="3435637"/>
            <a:ext cx="312666" cy="324465"/>
          </a:xfrm>
          <a:prstGeom prst="flowChartDecision">
            <a:avLst/>
          </a:prstGeom>
          <a:solidFill>
            <a:schemeClr val="accent4"/>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2" name="Organigramme : Décision 31">
            <a:extLst>
              <a:ext uri="{FF2B5EF4-FFF2-40B4-BE49-F238E27FC236}">
                <a16:creationId xmlns:a16="http://schemas.microsoft.com/office/drawing/2014/main" id="{69E1E4B5-9811-4973-9269-DC586A8148C6}"/>
              </a:ext>
            </a:extLst>
          </p:cNvPr>
          <p:cNvSpPr/>
          <p:nvPr/>
        </p:nvSpPr>
        <p:spPr bwMode="auto">
          <a:xfrm>
            <a:off x="4861069" y="2344257"/>
            <a:ext cx="312666" cy="324465"/>
          </a:xfrm>
          <a:prstGeom prst="flowChartDecision">
            <a:avLst/>
          </a:prstGeom>
          <a:solidFill>
            <a:schemeClr val="tx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3" name="Organigramme : Décision 32">
            <a:extLst>
              <a:ext uri="{FF2B5EF4-FFF2-40B4-BE49-F238E27FC236}">
                <a16:creationId xmlns:a16="http://schemas.microsoft.com/office/drawing/2014/main" id="{1EC15A76-758B-4B1F-B20A-F0FFF127C7D7}"/>
              </a:ext>
            </a:extLst>
          </p:cNvPr>
          <p:cNvSpPr/>
          <p:nvPr/>
        </p:nvSpPr>
        <p:spPr bwMode="auto">
          <a:xfrm>
            <a:off x="5604387" y="2344257"/>
            <a:ext cx="312666" cy="324465"/>
          </a:xfrm>
          <a:prstGeom prst="flowChartDecision">
            <a:avLst/>
          </a:prstGeom>
          <a:solidFill>
            <a:schemeClr val="accent4"/>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4" name="Organigramme : Décision 33">
            <a:extLst>
              <a:ext uri="{FF2B5EF4-FFF2-40B4-BE49-F238E27FC236}">
                <a16:creationId xmlns:a16="http://schemas.microsoft.com/office/drawing/2014/main" id="{2FB28B45-2B90-4A4B-9EFA-9D316087FD7B}"/>
              </a:ext>
            </a:extLst>
          </p:cNvPr>
          <p:cNvSpPr/>
          <p:nvPr/>
        </p:nvSpPr>
        <p:spPr bwMode="auto">
          <a:xfrm>
            <a:off x="9368175" y="4527018"/>
            <a:ext cx="312666" cy="324465"/>
          </a:xfrm>
          <a:prstGeom prst="flowChartDecision">
            <a:avLst/>
          </a:prstGeom>
          <a:solidFill>
            <a:schemeClr val="tx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5" name="Organigramme : Décision 34">
            <a:extLst>
              <a:ext uri="{FF2B5EF4-FFF2-40B4-BE49-F238E27FC236}">
                <a16:creationId xmlns:a16="http://schemas.microsoft.com/office/drawing/2014/main" id="{556A86E9-F01E-41D0-A766-7659B70F368F}"/>
              </a:ext>
            </a:extLst>
          </p:cNvPr>
          <p:cNvSpPr/>
          <p:nvPr/>
        </p:nvSpPr>
        <p:spPr bwMode="auto">
          <a:xfrm>
            <a:off x="10211783" y="4527018"/>
            <a:ext cx="312666" cy="324465"/>
          </a:xfrm>
          <a:prstGeom prst="flowChartDecision">
            <a:avLst/>
          </a:prstGeom>
          <a:solidFill>
            <a:schemeClr val="accent4"/>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36" name="ZoneTexte 35">
            <a:extLst>
              <a:ext uri="{FF2B5EF4-FFF2-40B4-BE49-F238E27FC236}">
                <a16:creationId xmlns:a16="http://schemas.microsoft.com/office/drawing/2014/main" id="{5DC264F8-F91B-4D55-A02C-9EDA0078749A}"/>
              </a:ext>
            </a:extLst>
          </p:cNvPr>
          <p:cNvSpPr txBox="1"/>
          <p:nvPr/>
        </p:nvSpPr>
        <p:spPr>
          <a:xfrm flipH="1">
            <a:off x="4216561" y="2666510"/>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37" name="ZoneTexte 36">
            <a:extLst>
              <a:ext uri="{FF2B5EF4-FFF2-40B4-BE49-F238E27FC236}">
                <a16:creationId xmlns:a16="http://schemas.microsoft.com/office/drawing/2014/main" id="{582673E1-CFBB-4D0A-96F1-2973FAA7E61F}"/>
              </a:ext>
            </a:extLst>
          </p:cNvPr>
          <p:cNvSpPr txBox="1"/>
          <p:nvPr/>
        </p:nvSpPr>
        <p:spPr>
          <a:xfrm flipH="1">
            <a:off x="4812396" y="2666510"/>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38" name="ZoneTexte 37">
            <a:extLst>
              <a:ext uri="{FF2B5EF4-FFF2-40B4-BE49-F238E27FC236}">
                <a16:creationId xmlns:a16="http://schemas.microsoft.com/office/drawing/2014/main" id="{D33CD63C-EEF1-4F52-851A-5513A858D7D1}"/>
              </a:ext>
            </a:extLst>
          </p:cNvPr>
          <p:cNvSpPr txBox="1"/>
          <p:nvPr/>
        </p:nvSpPr>
        <p:spPr>
          <a:xfrm flipH="1">
            <a:off x="5597010" y="2666510"/>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0" name="ZoneTexte 39">
            <a:extLst>
              <a:ext uri="{FF2B5EF4-FFF2-40B4-BE49-F238E27FC236}">
                <a16:creationId xmlns:a16="http://schemas.microsoft.com/office/drawing/2014/main" id="{15A0E734-753C-4933-9F1A-19F1D3B56BCE}"/>
              </a:ext>
            </a:extLst>
          </p:cNvPr>
          <p:cNvSpPr txBox="1"/>
          <p:nvPr/>
        </p:nvSpPr>
        <p:spPr>
          <a:xfrm flipH="1">
            <a:off x="6594001" y="3781488"/>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1" name="ZoneTexte 40">
            <a:extLst>
              <a:ext uri="{FF2B5EF4-FFF2-40B4-BE49-F238E27FC236}">
                <a16:creationId xmlns:a16="http://schemas.microsoft.com/office/drawing/2014/main" id="{5763F68B-C8F9-4425-B820-7167BEC92CB7}"/>
              </a:ext>
            </a:extLst>
          </p:cNvPr>
          <p:cNvSpPr txBox="1"/>
          <p:nvPr/>
        </p:nvSpPr>
        <p:spPr>
          <a:xfrm flipH="1">
            <a:off x="7124943" y="3781488"/>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2" name="ZoneTexte 41">
            <a:extLst>
              <a:ext uri="{FF2B5EF4-FFF2-40B4-BE49-F238E27FC236}">
                <a16:creationId xmlns:a16="http://schemas.microsoft.com/office/drawing/2014/main" id="{95C63F63-77FA-46D2-BE63-A78054182BBE}"/>
              </a:ext>
            </a:extLst>
          </p:cNvPr>
          <p:cNvSpPr txBox="1"/>
          <p:nvPr/>
        </p:nvSpPr>
        <p:spPr>
          <a:xfrm flipH="1">
            <a:off x="7773872" y="3781488"/>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3" name="ZoneTexte 42">
            <a:extLst>
              <a:ext uri="{FF2B5EF4-FFF2-40B4-BE49-F238E27FC236}">
                <a16:creationId xmlns:a16="http://schemas.microsoft.com/office/drawing/2014/main" id="{F978D837-002F-41B2-BCBA-4741784F1044}"/>
              </a:ext>
            </a:extLst>
          </p:cNvPr>
          <p:cNvSpPr txBox="1"/>
          <p:nvPr/>
        </p:nvSpPr>
        <p:spPr>
          <a:xfrm flipH="1">
            <a:off x="8735467" y="4866969"/>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4" name="ZoneTexte 43">
            <a:extLst>
              <a:ext uri="{FF2B5EF4-FFF2-40B4-BE49-F238E27FC236}">
                <a16:creationId xmlns:a16="http://schemas.microsoft.com/office/drawing/2014/main" id="{551F6DB4-D5FE-44E8-9AE3-75395DE418EB}"/>
              </a:ext>
            </a:extLst>
          </p:cNvPr>
          <p:cNvSpPr txBox="1"/>
          <p:nvPr/>
        </p:nvSpPr>
        <p:spPr>
          <a:xfrm flipH="1">
            <a:off x="9319503" y="4866969"/>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5" name="ZoneTexte 44">
            <a:extLst>
              <a:ext uri="{FF2B5EF4-FFF2-40B4-BE49-F238E27FC236}">
                <a16:creationId xmlns:a16="http://schemas.microsoft.com/office/drawing/2014/main" id="{8517CD2B-D0B9-4F66-A1FB-71737AA45178}"/>
              </a:ext>
            </a:extLst>
          </p:cNvPr>
          <p:cNvSpPr txBox="1"/>
          <p:nvPr/>
        </p:nvSpPr>
        <p:spPr>
          <a:xfrm flipH="1">
            <a:off x="10163111" y="4866969"/>
            <a:ext cx="396733" cy="276999"/>
          </a:xfrm>
          <a:prstGeom prst="rect">
            <a:avLst/>
          </a:prstGeom>
          <a:noFill/>
        </p:spPr>
        <p:txBody>
          <a:bodyPr wrap="square" rtlCol="0">
            <a:spAutoFit/>
          </a:bodyPr>
          <a:lstStyle/>
          <a:p>
            <a:r>
              <a:rPr lang="en-GB" sz="1200">
                <a:latin typeface="+mn-lt"/>
              </a:rPr>
              <a:t>XX</a:t>
            </a:r>
            <a:endParaRPr lang="en-GB" sz="1200" dirty="0">
              <a:latin typeface="+mn-lt"/>
            </a:endParaRPr>
          </a:p>
        </p:txBody>
      </p:sp>
      <p:sp>
        <p:nvSpPr>
          <p:cNvPr id="46" name="Organigramme : Décision 45">
            <a:extLst>
              <a:ext uri="{FF2B5EF4-FFF2-40B4-BE49-F238E27FC236}">
                <a16:creationId xmlns:a16="http://schemas.microsoft.com/office/drawing/2014/main" id="{D2CD9286-CCDB-42AD-A95C-36C26D1B8D90}"/>
              </a:ext>
            </a:extLst>
          </p:cNvPr>
          <p:cNvSpPr/>
          <p:nvPr/>
        </p:nvSpPr>
        <p:spPr bwMode="auto">
          <a:xfrm>
            <a:off x="1368650" y="5861913"/>
            <a:ext cx="312666" cy="324465"/>
          </a:xfrm>
          <a:prstGeom prst="flowChartDecision">
            <a:avLst/>
          </a:prstGeom>
          <a:solidFill>
            <a:schemeClr val="accent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47" name="Organigramme : Décision 46">
            <a:extLst>
              <a:ext uri="{FF2B5EF4-FFF2-40B4-BE49-F238E27FC236}">
                <a16:creationId xmlns:a16="http://schemas.microsoft.com/office/drawing/2014/main" id="{992179EB-7EAE-47A7-85A0-EDA9D8DC8C2D}"/>
              </a:ext>
            </a:extLst>
          </p:cNvPr>
          <p:cNvSpPr/>
          <p:nvPr/>
        </p:nvSpPr>
        <p:spPr bwMode="auto">
          <a:xfrm>
            <a:off x="3044066" y="5861913"/>
            <a:ext cx="312666" cy="324465"/>
          </a:xfrm>
          <a:prstGeom prst="flowChartDecision">
            <a:avLst/>
          </a:prstGeom>
          <a:solidFill>
            <a:schemeClr val="tx2"/>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48" name="Organigramme : Décision 47">
            <a:extLst>
              <a:ext uri="{FF2B5EF4-FFF2-40B4-BE49-F238E27FC236}">
                <a16:creationId xmlns:a16="http://schemas.microsoft.com/office/drawing/2014/main" id="{F93301A8-A61A-4644-B414-94B31E3B27E4}"/>
              </a:ext>
            </a:extLst>
          </p:cNvPr>
          <p:cNvSpPr/>
          <p:nvPr/>
        </p:nvSpPr>
        <p:spPr bwMode="auto">
          <a:xfrm>
            <a:off x="5102941" y="5861913"/>
            <a:ext cx="312666" cy="324465"/>
          </a:xfrm>
          <a:prstGeom prst="flowChartDecision">
            <a:avLst/>
          </a:prstGeom>
          <a:solidFill>
            <a:schemeClr val="accent4"/>
          </a:solidFill>
          <a:ln w="19050" cap="flat" cmpd="sng" algn="ctr">
            <a:solidFill>
              <a:srgbClr val="FFFFFF"/>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latin typeface="+mn-lt"/>
            </a:endParaRPr>
          </a:p>
        </p:txBody>
      </p:sp>
      <p:sp>
        <p:nvSpPr>
          <p:cNvPr id="49" name="ZoneTexte 48">
            <a:extLst>
              <a:ext uri="{FF2B5EF4-FFF2-40B4-BE49-F238E27FC236}">
                <a16:creationId xmlns:a16="http://schemas.microsoft.com/office/drawing/2014/main" id="{427A44EA-23EC-4F16-9654-FF3762B83235}"/>
              </a:ext>
            </a:extLst>
          </p:cNvPr>
          <p:cNvSpPr txBox="1"/>
          <p:nvPr/>
        </p:nvSpPr>
        <p:spPr>
          <a:xfrm flipH="1">
            <a:off x="1443863" y="5885646"/>
            <a:ext cx="1376027" cy="276999"/>
          </a:xfrm>
          <a:prstGeom prst="rect">
            <a:avLst/>
          </a:prstGeom>
          <a:noFill/>
        </p:spPr>
        <p:txBody>
          <a:bodyPr wrap="square" rtlCol="0">
            <a:spAutoFit/>
          </a:bodyPr>
          <a:lstStyle/>
          <a:p>
            <a:r>
              <a:rPr lang="en-GB" sz="1200">
                <a:latin typeface="+mn-lt"/>
              </a:rPr>
              <a:t>Workshop</a:t>
            </a:r>
            <a:endParaRPr lang="en-GB" sz="1200" dirty="0">
              <a:latin typeface="+mn-lt"/>
            </a:endParaRPr>
          </a:p>
        </p:txBody>
      </p:sp>
      <p:sp>
        <p:nvSpPr>
          <p:cNvPr id="50" name="ZoneTexte 49">
            <a:extLst>
              <a:ext uri="{FF2B5EF4-FFF2-40B4-BE49-F238E27FC236}">
                <a16:creationId xmlns:a16="http://schemas.microsoft.com/office/drawing/2014/main" id="{7CF8A656-A94A-4BD1-BFBC-0A1E21E151AF}"/>
              </a:ext>
            </a:extLst>
          </p:cNvPr>
          <p:cNvSpPr txBox="1"/>
          <p:nvPr/>
        </p:nvSpPr>
        <p:spPr>
          <a:xfrm flipH="1">
            <a:off x="3302160" y="5885646"/>
            <a:ext cx="1376027" cy="276999"/>
          </a:xfrm>
          <a:prstGeom prst="rect">
            <a:avLst/>
          </a:prstGeom>
          <a:noFill/>
        </p:spPr>
        <p:txBody>
          <a:bodyPr wrap="square" rtlCol="0">
            <a:spAutoFit/>
          </a:bodyPr>
          <a:lstStyle/>
          <a:p>
            <a:r>
              <a:rPr lang="en-GB" sz="1200">
                <a:latin typeface="+mn-lt"/>
              </a:rPr>
              <a:t>Weekly meeting</a:t>
            </a:r>
            <a:endParaRPr lang="en-GB" sz="1200" dirty="0">
              <a:latin typeface="+mn-lt"/>
            </a:endParaRPr>
          </a:p>
        </p:txBody>
      </p:sp>
      <p:sp>
        <p:nvSpPr>
          <p:cNvPr id="51" name="ZoneTexte 50">
            <a:extLst>
              <a:ext uri="{FF2B5EF4-FFF2-40B4-BE49-F238E27FC236}">
                <a16:creationId xmlns:a16="http://schemas.microsoft.com/office/drawing/2014/main" id="{61AEFE16-476E-4B05-B37B-A8B93062FCCF}"/>
              </a:ext>
            </a:extLst>
          </p:cNvPr>
          <p:cNvSpPr txBox="1"/>
          <p:nvPr/>
        </p:nvSpPr>
        <p:spPr>
          <a:xfrm flipH="1">
            <a:off x="5319740" y="5879814"/>
            <a:ext cx="1376027" cy="276999"/>
          </a:xfrm>
          <a:prstGeom prst="rect">
            <a:avLst/>
          </a:prstGeom>
          <a:noFill/>
        </p:spPr>
        <p:txBody>
          <a:bodyPr wrap="square" rtlCol="0">
            <a:spAutoFit/>
          </a:bodyPr>
          <a:lstStyle/>
          <a:p>
            <a:r>
              <a:rPr lang="en-GB" sz="1200">
                <a:latin typeface="+mn-lt"/>
              </a:rPr>
              <a:t>Steering group</a:t>
            </a:r>
            <a:endParaRPr lang="en-GB" sz="1200" dirty="0">
              <a:latin typeface="+mn-lt"/>
            </a:endParaRPr>
          </a:p>
        </p:txBody>
      </p:sp>
    </p:spTree>
    <p:extLst>
      <p:ext uri="{BB962C8B-B14F-4D97-AF65-F5344CB8AC3E}">
        <p14:creationId xmlns:p14="http://schemas.microsoft.com/office/powerpoint/2010/main" val="209422946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2348"/>
        <p:cNvGrpSpPr/>
        <p:nvPr/>
      </p:nvGrpSpPr>
      <p:grpSpPr>
        <a:xfrm>
          <a:off x="0" y="0"/>
          <a:ext cx="0" cy="0"/>
          <a:chOff x="0" y="0"/>
          <a:chExt cx="0" cy="0"/>
        </a:xfrm>
      </p:grpSpPr>
      <p:sp>
        <p:nvSpPr>
          <p:cNvPr id="2359" name="Google Shape;2359;p252"/>
          <p:cNvSpPr txBox="1"/>
          <p:nvPr/>
        </p:nvSpPr>
        <p:spPr>
          <a:xfrm>
            <a:off x="997394" y="4919627"/>
            <a:ext cx="2376000" cy="1111300"/>
          </a:xfrm>
          <a:prstGeom prst="rect">
            <a:avLst/>
          </a:prstGeom>
          <a:solidFill>
            <a:schemeClr val="bg2"/>
          </a:solidFill>
          <a:ln>
            <a:noFill/>
          </a:ln>
        </p:spPr>
        <p:txBody>
          <a:bodyPr spcFirstLastPara="1" wrap="square" lIns="108000" tIns="180000" rIns="108000" bIns="72000" anchor="t" anchorCtr="0">
            <a:noAutofit/>
          </a:bodyPr>
          <a:lstStyle/>
          <a:p>
            <a:pPr algn="l">
              <a:spcBef>
                <a:spcPts val="400"/>
              </a:spcBef>
              <a:spcAft>
                <a:spcPts val="400"/>
              </a:spcAft>
            </a:pPr>
            <a:r>
              <a:rPr lang="en-GB">
                <a:latin typeface="+mn-lt"/>
                <a:ea typeface="Open Sans"/>
                <a:cs typeface="Open Sans"/>
                <a:sym typeface="Open Sans"/>
              </a:rPr>
              <a:t>Title</a:t>
            </a:r>
          </a:p>
          <a:p>
            <a:pPr algn="l">
              <a:spcBef>
                <a:spcPts val="400"/>
              </a:spcBef>
              <a:spcAft>
                <a:spcPts val="400"/>
              </a:spcAft>
            </a:pPr>
            <a:r>
              <a:rPr lang="en-GB">
                <a:latin typeface="+mn-lt"/>
                <a:ea typeface="Open Sans"/>
                <a:cs typeface="Open Sans"/>
                <a:sym typeface="Open Sans"/>
              </a:rPr>
              <a:t>Description</a:t>
            </a:r>
            <a:endParaRPr lang="en-GB" dirty="0">
              <a:latin typeface="+mn-lt"/>
              <a:ea typeface="Open Sans"/>
              <a:cs typeface="Open Sans"/>
              <a:sym typeface="Open Sans"/>
            </a:endParaRPr>
          </a:p>
        </p:txBody>
      </p:sp>
      <p:sp>
        <p:nvSpPr>
          <p:cNvPr id="33" name="Google Shape;2359;p252-2">
            <a:extLst>
              <a:ext uri="{FF2B5EF4-FFF2-40B4-BE49-F238E27FC236}">
                <a16:creationId xmlns:a16="http://schemas.microsoft.com/office/drawing/2014/main" id="{66BCA0BC-6C70-42A7-B74E-7A54168D6357}"/>
              </a:ext>
            </a:extLst>
          </p:cNvPr>
          <p:cNvSpPr txBox="1"/>
          <p:nvPr/>
        </p:nvSpPr>
        <p:spPr>
          <a:xfrm>
            <a:off x="3614377" y="4919627"/>
            <a:ext cx="2376000" cy="1111300"/>
          </a:xfrm>
          <a:prstGeom prst="rect">
            <a:avLst/>
          </a:prstGeom>
          <a:solidFill>
            <a:schemeClr val="bg2"/>
          </a:solidFill>
          <a:ln>
            <a:noFill/>
          </a:ln>
        </p:spPr>
        <p:txBody>
          <a:bodyPr spcFirstLastPara="1" wrap="square" lIns="108000" tIns="180000" rIns="108000" bIns="72000" anchor="t" anchorCtr="0">
            <a:noAutofit/>
          </a:bodyPr>
          <a:lstStyle/>
          <a:p>
            <a:pPr algn="l">
              <a:spcBef>
                <a:spcPts val="400"/>
              </a:spcBef>
              <a:spcAft>
                <a:spcPts val="400"/>
              </a:spcAft>
            </a:pPr>
            <a:r>
              <a:rPr lang="en-GB">
                <a:latin typeface="+mn-lt"/>
                <a:ea typeface="Open Sans"/>
                <a:cs typeface="Open Sans"/>
                <a:sym typeface="Open Sans"/>
              </a:rPr>
              <a:t>Title</a:t>
            </a:r>
          </a:p>
          <a:p>
            <a:pPr algn="l">
              <a:spcBef>
                <a:spcPts val="400"/>
              </a:spcBef>
              <a:spcAft>
                <a:spcPts val="400"/>
              </a:spcAft>
            </a:pPr>
            <a:r>
              <a:rPr lang="en-GB">
                <a:latin typeface="+mn-lt"/>
                <a:ea typeface="Open Sans"/>
                <a:cs typeface="Open Sans"/>
                <a:sym typeface="Open Sans"/>
              </a:rPr>
              <a:t>Description</a:t>
            </a:r>
            <a:endParaRPr lang="en-GB" dirty="0">
              <a:latin typeface="+mn-lt"/>
              <a:ea typeface="Open Sans"/>
              <a:cs typeface="Open Sans"/>
              <a:sym typeface="Open Sans"/>
            </a:endParaRPr>
          </a:p>
        </p:txBody>
      </p:sp>
      <p:sp>
        <p:nvSpPr>
          <p:cNvPr id="34" name="Google Shape;2359;p252-3">
            <a:extLst>
              <a:ext uri="{FF2B5EF4-FFF2-40B4-BE49-F238E27FC236}">
                <a16:creationId xmlns:a16="http://schemas.microsoft.com/office/drawing/2014/main" id="{7C1478B0-D187-40DF-855B-31BBFE00E9CE}"/>
              </a:ext>
            </a:extLst>
          </p:cNvPr>
          <p:cNvSpPr txBox="1"/>
          <p:nvPr/>
        </p:nvSpPr>
        <p:spPr>
          <a:xfrm>
            <a:off x="6231360" y="4919627"/>
            <a:ext cx="2376000" cy="1111300"/>
          </a:xfrm>
          <a:prstGeom prst="rect">
            <a:avLst/>
          </a:prstGeom>
          <a:solidFill>
            <a:schemeClr val="bg2"/>
          </a:solidFill>
          <a:ln>
            <a:noFill/>
          </a:ln>
        </p:spPr>
        <p:txBody>
          <a:bodyPr spcFirstLastPara="1" wrap="square" lIns="108000" tIns="180000" rIns="108000" bIns="72000" anchor="t" anchorCtr="0">
            <a:noAutofit/>
          </a:bodyPr>
          <a:lstStyle/>
          <a:p>
            <a:pPr algn="l">
              <a:spcBef>
                <a:spcPts val="400"/>
              </a:spcBef>
              <a:spcAft>
                <a:spcPts val="400"/>
              </a:spcAft>
            </a:pPr>
            <a:r>
              <a:rPr lang="en-GB">
                <a:latin typeface="+mn-lt"/>
                <a:ea typeface="Open Sans"/>
                <a:cs typeface="Open Sans"/>
                <a:sym typeface="Open Sans"/>
              </a:rPr>
              <a:t>Title</a:t>
            </a:r>
          </a:p>
          <a:p>
            <a:pPr algn="l">
              <a:spcBef>
                <a:spcPts val="400"/>
              </a:spcBef>
              <a:spcAft>
                <a:spcPts val="400"/>
              </a:spcAft>
            </a:pPr>
            <a:r>
              <a:rPr lang="en-GB">
                <a:latin typeface="+mn-lt"/>
                <a:ea typeface="Open Sans"/>
                <a:cs typeface="Open Sans"/>
                <a:sym typeface="Open Sans"/>
              </a:rPr>
              <a:t>Description</a:t>
            </a:r>
            <a:endParaRPr lang="en-GB" dirty="0">
              <a:latin typeface="+mn-lt"/>
              <a:ea typeface="Open Sans"/>
              <a:cs typeface="Open Sans"/>
              <a:sym typeface="Open Sans"/>
            </a:endParaRPr>
          </a:p>
        </p:txBody>
      </p:sp>
      <p:sp>
        <p:nvSpPr>
          <p:cNvPr id="35" name="Google Shape;2359;p252-4">
            <a:extLst>
              <a:ext uri="{FF2B5EF4-FFF2-40B4-BE49-F238E27FC236}">
                <a16:creationId xmlns:a16="http://schemas.microsoft.com/office/drawing/2014/main" id="{C16CD05A-F406-4603-BF36-F7C170ECE124}"/>
              </a:ext>
            </a:extLst>
          </p:cNvPr>
          <p:cNvSpPr txBox="1"/>
          <p:nvPr/>
        </p:nvSpPr>
        <p:spPr>
          <a:xfrm>
            <a:off x="8848343" y="4919627"/>
            <a:ext cx="2376000" cy="1111300"/>
          </a:xfrm>
          <a:prstGeom prst="rect">
            <a:avLst/>
          </a:prstGeom>
          <a:solidFill>
            <a:schemeClr val="bg2"/>
          </a:solidFill>
          <a:ln>
            <a:noFill/>
          </a:ln>
        </p:spPr>
        <p:txBody>
          <a:bodyPr spcFirstLastPara="1" wrap="square" lIns="108000" tIns="180000" rIns="108000" bIns="72000" anchor="t" anchorCtr="0">
            <a:noAutofit/>
          </a:bodyPr>
          <a:lstStyle/>
          <a:p>
            <a:pPr algn="l">
              <a:spcBef>
                <a:spcPts val="400"/>
              </a:spcBef>
              <a:spcAft>
                <a:spcPts val="400"/>
              </a:spcAft>
            </a:pPr>
            <a:r>
              <a:rPr lang="en-GB">
                <a:latin typeface="+mn-lt"/>
                <a:ea typeface="Open Sans"/>
                <a:cs typeface="Open Sans"/>
                <a:sym typeface="Open Sans"/>
              </a:rPr>
              <a:t>Title</a:t>
            </a:r>
          </a:p>
          <a:p>
            <a:pPr algn="l">
              <a:spcBef>
                <a:spcPts val="400"/>
              </a:spcBef>
              <a:spcAft>
                <a:spcPts val="400"/>
              </a:spcAft>
            </a:pPr>
            <a:r>
              <a:rPr lang="en-GB">
                <a:latin typeface="+mn-lt"/>
                <a:ea typeface="Open Sans"/>
                <a:cs typeface="Open Sans"/>
                <a:sym typeface="Open Sans"/>
              </a:rPr>
              <a:t>Description</a:t>
            </a:r>
            <a:endParaRPr lang="en-GB" dirty="0">
              <a:latin typeface="+mn-lt"/>
              <a:ea typeface="Open Sans"/>
              <a:cs typeface="Open Sans"/>
              <a:sym typeface="Open Sans"/>
            </a:endParaRPr>
          </a:p>
        </p:txBody>
      </p:sp>
      <p:graphicFrame>
        <p:nvGraphicFramePr>
          <p:cNvPr id="3" name="Objet 2" hidden="1">
            <a:extLst>
              <a:ext uri="{FF2B5EF4-FFF2-40B4-BE49-F238E27FC236}">
                <a16:creationId xmlns:a16="http://schemas.microsoft.com/office/drawing/2014/main" id="{F7DABAF6-E5C6-458E-906D-DB9D356D2D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F7DABAF6-E5C6-458E-906D-DB9D356D2D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03A4CC-5FE1-40F8-BFF9-53B235FF3930}"/>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49" name="Google Shape;2349;p252"/>
          <p:cNvSpPr/>
          <p:nvPr/>
        </p:nvSpPr>
        <p:spPr>
          <a:xfrm>
            <a:off x="997423" y="1244600"/>
            <a:ext cx="2813200" cy="2522800"/>
          </a:xfrm>
          <a:prstGeom prst="rect">
            <a:avLst/>
          </a:prstGeom>
          <a:solidFill>
            <a:srgbClr val="FFFFFF"/>
          </a:solidFill>
          <a:ln>
            <a:noFill/>
          </a:ln>
          <a:effectLst/>
        </p:spPr>
        <p:txBody>
          <a:bodyPr spcFirstLastPara="1" wrap="square" lIns="121900" tIns="121900" rIns="121900" bIns="121900" anchor="ctr" anchorCtr="0">
            <a:noAutofit/>
          </a:bodyPr>
          <a:lstStyle/>
          <a:p>
            <a:pPr algn="l">
              <a:spcBef>
                <a:spcPts val="0"/>
              </a:spcBef>
              <a:spcAft>
                <a:spcPts val="0"/>
              </a:spcAft>
            </a:pPr>
            <a:endParaRPr lang="en-GB" sz="1867" dirty="0">
              <a:solidFill>
                <a:srgbClr val="000000"/>
              </a:solidFill>
              <a:latin typeface="+mn-lt"/>
            </a:endParaRPr>
          </a:p>
        </p:txBody>
      </p:sp>
      <p:sp>
        <p:nvSpPr>
          <p:cNvPr id="2350" name="Google Shape;2350;p252"/>
          <p:cNvSpPr/>
          <p:nvPr/>
        </p:nvSpPr>
        <p:spPr>
          <a:xfrm>
            <a:off x="997395" y="1290320"/>
            <a:ext cx="2813200" cy="762000"/>
          </a:xfrm>
          <a:prstGeom prst="rect">
            <a:avLst/>
          </a:prstGeom>
          <a:solidFill>
            <a:schemeClr val="tx2"/>
          </a:solidFill>
          <a:ln>
            <a:solidFill>
              <a:srgbClr val="E7E3E5"/>
            </a:solidFill>
          </a:ln>
        </p:spPr>
        <p:txBody>
          <a:bodyPr spcFirstLastPara="1" wrap="square" lIns="121900" tIns="121900" rIns="121900" bIns="121900" anchor="ctr" anchorCtr="0">
            <a:noAutofit/>
          </a:bodyPr>
          <a:lstStyle/>
          <a:p>
            <a:pPr algn="l">
              <a:spcBef>
                <a:spcPts val="0"/>
              </a:spcBef>
              <a:spcAft>
                <a:spcPts val="0"/>
              </a:spcAft>
            </a:pPr>
            <a:r>
              <a:rPr lang="en-GB" sz="1867" b="1">
                <a:solidFill>
                  <a:schemeClr val="bg1"/>
                </a:solidFill>
                <a:latin typeface="+mn-lt"/>
                <a:ea typeface="Open Sans"/>
                <a:cs typeface="Open Sans"/>
                <a:sym typeface="Open Sans"/>
              </a:rPr>
              <a:t>Step #</a:t>
            </a:r>
            <a:endParaRPr lang="en-GB" sz="1867" b="1" dirty="0">
              <a:solidFill>
                <a:schemeClr val="bg1"/>
              </a:solidFill>
              <a:latin typeface="+mn-lt"/>
              <a:ea typeface="Open Sans"/>
              <a:cs typeface="Open Sans"/>
              <a:sym typeface="Open Sans"/>
            </a:endParaRPr>
          </a:p>
        </p:txBody>
      </p:sp>
      <p:sp>
        <p:nvSpPr>
          <p:cNvPr id="2352" name="Google Shape;2352;p252"/>
          <p:cNvSpPr txBox="1"/>
          <p:nvPr/>
        </p:nvSpPr>
        <p:spPr>
          <a:xfrm>
            <a:off x="997395" y="2052320"/>
            <a:ext cx="2813200" cy="1422400"/>
          </a:xfrm>
          <a:prstGeom prst="rect">
            <a:avLst/>
          </a:prstGeom>
          <a:solidFill>
            <a:schemeClr val="bg2"/>
          </a:solidFill>
          <a:ln>
            <a:solidFill>
              <a:srgbClr val="E7E3E5"/>
            </a:solidFill>
          </a:ln>
          <a:effectLst/>
        </p:spPr>
        <p:txBody>
          <a:bodyPr spcFirstLastPara="1" wrap="square" lIns="121900" tIns="121900" rIns="121900" bIns="121900" anchor="t" anchorCtr="0">
            <a:noAutofit/>
          </a:bodyPr>
          <a:lstStyle/>
          <a:p>
            <a:pPr algn="l">
              <a:spcBef>
                <a:spcPts val="0"/>
              </a:spcBef>
              <a:spcAft>
                <a:spcPts val="0"/>
              </a:spcAft>
            </a:pPr>
            <a:r>
              <a:rPr lang="en-GB" sz="1867" b="1">
                <a:latin typeface="+mn-lt"/>
                <a:ea typeface="Open Sans"/>
                <a:cs typeface="Open Sans"/>
                <a:sym typeface="Open Sans"/>
              </a:rPr>
              <a:t>Step title</a:t>
            </a:r>
            <a:endParaRPr lang="en-GB" sz="1867" b="1" dirty="0">
              <a:latin typeface="+mn-lt"/>
              <a:ea typeface="Open Sans"/>
              <a:cs typeface="Open Sans"/>
              <a:sym typeface="Open Sans"/>
            </a:endParaRPr>
          </a:p>
        </p:txBody>
      </p:sp>
      <p:sp>
        <p:nvSpPr>
          <p:cNvPr id="2354" name="Google Shape;2354;p252"/>
          <p:cNvSpPr txBox="1"/>
          <p:nvPr/>
        </p:nvSpPr>
        <p:spPr>
          <a:xfrm>
            <a:off x="219200" y="214267"/>
            <a:ext cx="11065600" cy="379600"/>
          </a:xfrm>
          <a:prstGeom prst="rect">
            <a:avLst/>
          </a:prstGeom>
          <a:noFill/>
          <a:ln>
            <a:noFill/>
          </a:ln>
        </p:spPr>
        <p:txBody>
          <a:bodyPr spcFirstLastPara="1" wrap="square" lIns="121900" tIns="121900" rIns="121900" bIns="121900" anchor="t" anchorCtr="0">
            <a:noAutofit/>
          </a:bodyPr>
          <a:lstStyle/>
          <a:p>
            <a:pPr algn="l">
              <a:spcBef>
                <a:spcPts val="0"/>
              </a:spcBef>
              <a:spcAft>
                <a:spcPts val="0"/>
              </a:spcAft>
            </a:pPr>
            <a:endParaRPr lang="en-GB" sz="2400" b="1" dirty="0">
              <a:solidFill>
                <a:srgbClr val="000000"/>
              </a:solidFill>
              <a:latin typeface="+mn-lt"/>
              <a:ea typeface="Montserrat"/>
              <a:cs typeface="Montserrat"/>
              <a:sym typeface="Montserrat"/>
            </a:endParaRPr>
          </a:p>
        </p:txBody>
      </p:sp>
      <p:sp>
        <p:nvSpPr>
          <p:cNvPr id="2358" name="Google Shape;2358;p252"/>
          <p:cNvSpPr txBox="1"/>
          <p:nvPr/>
        </p:nvSpPr>
        <p:spPr>
          <a:xfrm>
            <a:off x="980691" y="3701023"/>
            <a:ext cx="2911600" cy="492402"/>
          </a:xfrm>
          <a:prstGeom prst="rect">
            <a:avLst/>
          </a:prstGeom>
          <a:noFill/>
          <a:ln>
            <a:noFill/>
          </a:ln>
        </p:spPr>
        <p:txBody>
          <a:bodyPr spcFirstLastPara="1" wrap="square" lIns="121900" tIns="121900" rIns="121900" bIns="121900" anchor="t" anchorCtr="0">
            <a:spAutoFit/>
          </a:bodyPr>
          <a:lstStyle/>
          <a:p>
            <a:pPr algn="l">
              <a:spcBef>
                <a:spcPts val="0"/>
              </a:spcBef>
              <a:spcAft>
                <a:spcPts val="0"/>
              </a:spcAft>
            </a:pPr>
            <a:r>
              <a:rPr lang="en-GB" sz="1600" b="1">
                <a:solidFill>
                  <a:schemeClr val="tx2"/>
                </a:solidFill>
                <a:latin typeface="+mn-lt"/>
                <a:ea typeface="Open Sans"/>
                <a:cs typeface="Open Sans"/>
                <a:sym typeface="Open Sans"/>
              </a:rPr>
              <a:t>Key success factors:</a:t>
            </a:r>
            <a:endParaRPr lang="en-GB" sz="1600" dirty="0">
              <a:solidFill>
                <a:schemeClr val="tx2"/>
              </a:solidFill>
              <a:latin typeface="+mn-lt"/>
            </a:endParaRPr>
          </a:p>
        </p:txBody>
      </p:sp>
      <p:sp>
        <p:nvSpPr>
          <p:cNvPr id="2" name="Titre 1">
            <a:extLst>
              <a:ext uri="{FF2B5EF4-FFF2-40B4-BE49-F238E27FC236}">
                <a16:creationId xmlns:a16="http://schemas.microsoft.com/office/drawing/2014/main" id="{C7A2B7F9-E50F-4DC1-B4D2-519A2F10B818}"/>
              </a:ext>
            </a:extLst>
          </p:cNvPr>
          <p:cNvSpPr>
            <a:spLocks noGrp="1"/>
          </p:cNvSpPr>
          <p:nvPr>
            <p:ph type="title"/>
          </p:nvPr>
        </p:nvSpPr>
        <p:spPr/>
        <p:txBody>
          <a:bodyPr/>
          <a:lstStyle/>
          <a:p>
            <a:r>
              <a:rPr lang="en-GB">
                <a:latin typeface="+mn-lt"/>
              </a:rPr>
              <a:t>Approach presentation – four steps</a:t>
            </a:r>
            <a:endParaRPr lang="en-GB" dirty="0">
              <a:latin typeface="+mn-lt"/>
            </a:endParaRPr>
          </a:p>
        </p:txBody>
      </p:sp>
      <p:sp>
        <p:nvSpPr>
          <p:cNvPr id="28" name="Content Placeholder 5">
            <a:extLst>
              <a:ext uri="{FF2B5EF4-FFF2-40B4-BE49-F238E27FC236}">
                <a16:creationId xmlns:a16="http://schemas.microsoft.com/office/drawing/2014/main" id="{8C7610DA-517B-4430-8238-96F7BA7E584C}"/>
              </a:ext>
            </a:extLst>
          </p:cNvPr>
          <p:cNvSpPr txBox="1">
            <a:spLocks/>
          </p:cNvSpPr>
          <p:nvPr/>
        </p:nvSpPr>
        <p:spPr>
          <a:xfrm>
            <a:off x="3810595" y="2035474"/>
            <a:ext cx="7474205" cy="1325216"/>
          </a:xfrm>
          <a:prstGeom prst="rect">
            <a:avLst/>
          </a:prstGeom>
        </p:spPr>
        <p:txBody>
          <a:bodyPr vert="horz" wrap="square" lIns="72000" tIns="72000" rIns="72000" bIns="72000" rtlCol="0" anchor="ctr">
            <a:sp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marL="284400" indent="-284400" fontAlgn="auto">
              <a:spcAft>
                <a:spcPts val="1200"/>
              </a:spcAft>
              <a:buClr>
                <a:srgbClr val="B40646"/>
              </a:buClr>
              <a:buSzPct val="82000"/>
              <a:buFont typeface="Wingdings 3" panose="05040102010807070707" pitchFamily="18" charset="2"/>
              <a:buChar char=""/>
            </a:pPr>
            <a:r>
              <a:rPr lang="en-GB" sz="1600" dirty="0">
                <a:latin typeface="+mn-lt"/>
              </a:rPr>
              <a:t>This is the description of this step</a:t>
            </a:r>
          </a:p>
          <a:p>
            <a:pPr marL="284400" indent="-284400" fontAlgn="auto">
              <a:spcAft>
                <a:spcPts val="1200"/>
              </a:spcAft>
              <a:buClr>
                <a:srgbClr val="B40646"/>
              </a:buClr>
              <a:buSzPct val="82000"/>
              <a:buFont typeface="Wingdings 3" panose="05040102010807070707" pitchFamily="18" charset="2"/>
              <a:buChar char=""/>
            </a:pPr>
            <a:r>
              <a:rPr lang="en-GB" sz="1600" dirty="0">
                <a:latin typeface="+mn-lt"/>
              </a:rPr>
              <a:t>We can put some nice text in here</a:t>
            </a:r>
          </a:p>
          <a:p>
            <a:pPr marL="284400" indent="-284400" fontAlgn="auto">
              <a:spcAft>
                <a:spcPts val="1200"/>
              </a:spcAft>
              <a:buClr>
                <a:srgbClr val="B40646"/>
              </a:buClr>
              <a:buSzPct val="82000"/>
              <a:buFont typeface="Wingdings 3" panose="05040102010807070707" pitchFamily="18" charset="2"/>
              <a:buChar char=""/>
            </a:pPr>
            <a:r>
              <a:rPr lang="en-GB" sz="1600" dirty="0">
                <a:latin typeface="+mn-lt"/>
              </a:rPr>
              <a:t>It is centre aligned vertically</a:t>
            </a:r>
          </a:p>
        </p:txBody>
      </p:sp>
      <p:sp>
        <p:nvSpPr>
          <p:cNvPr id="8" name="Oval 7">
            <a:extLst>
              <a:ext uri="{FF2B5EF4-FFF2-40B4-BE49-F238E27FC236}">
                <a16:creationId xmlns:a16="http://schemas.microsoft.com/office/drawing/2014/main" id="{94D5D627-7C1F-418C-9D3A-87CE7D19FA60}"/>
              </a:ext>
            </a:extLst>
          </p:cNvPr>
          <p:cNvSpPr/>
          <p:nvPr/>
        </p:nvSpPr>
        <p:spPr bwMode="auto">
          <a:xfrm>
            <a:off x="1796646" y="4261748"/>
            <a:ext cx="777496" cy="777496"/>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1" forceAA="0" compatLnSpc="1">
            <a:prstTxWarp prst="textNoShape">
              <a:avLst/>
            </a:prstTxWarp>
            <a:noAutofit/>
          </a:bodyPr>
          <a:lstStyle/>
          <a:p>
            <a:pPr>
              <a:buClr>
                <a:schemeClr val="accent3"/>
              </a:buClr>
              <a:buSzPct val="77000"/>
            </a:pPr>
            <a:r>
              <a:rPr lang="en-GB" sz="1800" b="1">
                <a:solidFill>
                  <a:schemeClr val="bg1"/>
                </a:solidFill>
                <a:latin typeface="+mn-lt"/>
              </a:rPr>
              <a:t>1</a:t>
            </a:r>
            <a:endParaRPr lang="en-GB" sz="1800" b="1" dirty="0">
              <a:solidFill>
                <a:schemeClr val="bg1"/>
              </a:solidFill>
              <a:latin typeface="+mn-lt"/>
            </a:endParaRPr>
          </a:p>
        </p:txBody>
      </p:sp>
      <p:sp>
        <p:nvSpPr>
          <p:cNvPr id="29" name="Oval 28">
            <a:extLst>
              <a:ext uri="{FF2B5EF4-FFF2-40B4-BE49-F238E27FC236}">
                <a16:creationId xmlns:a16="http://schemas.microsoft.com/office/drawing/2014/main" id="{850F493D-C62F-48B1-AC8D-B06446E01EC9}"/>
              </a:ext>
            </a:extLst>
          </p:cNvPr>
          <p:cNvSpPr/>
          <p:nvPr/>
        </p:nvSpPr>
        <p:spPr bwMode="auto">
          <a:xfrm>
            <a:off x="4413629" y="4261748"/>
            <a:ext cx="777496" cy="777496"/>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1" forceAA="0" compatLnSpc="1">
            <a:prstTxWarp prst="textNoShape">
              <a:avLst/>
            </a:prstTxWarp>
            <a:noAutofit/>
          </a:bodyPr>
          <a:lstStyle/>
          <a:p>
            <a:pPr>
              <a:buClr>
                <a:schemeClr val="accent3"/>
              </a:buClr>
              <a:buSzPct val="77000"/>
            </a:pPr>
            <a:r>
              <a:rPr lang="en-GB" sz="1800" b="1">
                <a:solidFill>
                  <a:schemeClr val="bg1"/>
                </a:solidFill>
                <a:latin typeface="+mn-lt"/>
              </a:rPr>
              <a:t>2</a:t>
            </a:r>
            <a:endParaRPr lang="en-GB" sz="1800" b="1" dirty="0">
              <a:solidFill>
                <a:schemeClr val="bg1"/>
              </a:solidFill>
              <a:latin typeface="+mn-lt"/>
            </a:endParaRPr>
          </a:p>
        </p:txBody>
      </p:sp>
      <p:sp>
        <p:nvSpPr>
          <p:cNvPr id="30" name="Oval 29">
            <a:extLst>
              <a:ext uri="{FF2B5EF4-FFF2-40B4-BE49-F238E27FC236}">
                <a16:creationId xmlns:a16="http://schemas.microsoft.com/office/drawing/2014/main" id="{1F28C26F-6820-429C-A3AA-64F2F451E241}"/>
              </a:ext>
            </a:extLst>
          </p:cNvPr>
          <p:cNvSpPr/>
          <p:nvPr/>
        </p:nvSpPr>
        <p:spPr bwMode="auto">
          <a:xfrm>
            <a:off x="7030612" y="4261748"/>
            <a:ext cx="777496" cy="777496"/>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1" forceAA="0" compatLnSpc="1">
            <a:prstTxWarp prst="textNoShape">
              <a:avLst/>
            </a:prstTxWarp>
            <a:noAutofit/>
          </a:bodyPr>
          <a:lstStyle/>
          <a:p>
            <a:pPr>
              <a:buClr>
                <a:schemeClr val="accent3"/>
              </a:buClr>
              <a:buSzPct val="77000"/>
            </a:pPr>
            <a:r>
              <a:rPr lang="en-GB" sz="1800" b="1">
                <a:solidFill>
                  <a:schemeClr val="bg1"/>
                </a:solidFill>
                <a:latin typeface="+mn-lt"/>
              </a:rPr>
              <a:t>3</a:t>
            </a:r>
            <a:endParaRPr lang="en-GB" sz="1800" b="1" dirty="0">
              <a:solidFill>
                <a:schemeClr val="bg1"/>
              </a:solidFill>
              <a:latin typeface="+mn-lt"/>
            </a:endParaRPr>
          </a:p>
        </p:txBody>
      </p:sp>
      <p:sp>
        <p:nvSpPr>
          <p:cNvPr id="32" name="Oval 31">
            <a:extLst>
              <a:ext uri="{FF2B5EF4-FFF2-40B4-BE49-F238E27FC236}">
                <a16:creationId xmlns:a16="http://schemas.microsoft.com/office/drawing/2014/main" id="{821ECC7E-AC5E-47AF-89AC-2AC34089783F}"/>
              </a:ext>
            </a:extLst>
          </p:cNvPr>
          <p:cNvSpPr/>
          <p:nvPr/>
        </p:nvSpPr>
        <p:spPr bwMode="auto">
          <a:xfrm>
            <a:off x="9647595" y="4261748"/>
            <a:ext cx="777496" cy="777496"/>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1" forceAA="0" compatLnSpc="1">
            <a:prstTxWarp prst="textNoShape">
              <a:avLst/>
            </a:prstTxWarp>
            <a:noAutofit/>
          </a:bodyPr>
          <a:lstStyle/>
          <a:p>
            <a:pPr>
              <a:buClr>
                <a:schemeClr val="accent3"/>
              </a:buClr>
              <a:buSzPct val="77000"/>
            </a:pPr>
            <a:r>
              <a:rPr lang="en-GB" sz="1800" b="1">
                <a:solidFill>
                  <a:schemeClr val="bg1"/>
                </a:solidFill>
                <a:latin typeface="+mn-lt"/>
              </a:rPr>
              <a:t>4</a:t>
            </a:r>
            <a:endParaRPr lang="en-GB" sz="1800" b="1" dirty="0">
              <a:solidFill>
                <a:schemeClr val="bg1"/>
              </a:solidFill>
              <a:latin typeface="+mn-lt"/>
            </a:endParaRPr>
          </a:p>
        </p:txBody>
      </p:sp>
    </p:spTree>
    <p:extLst>
      <p:ext uri="{BB962C8B-B14F-4D97-AF65-F5344CB8AC3E}">
        <p14:creationId xmlns:p14="http://schemas.microsoft.com/office/powerpoint/2010/main" val="316899351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A905EF-FCD7-48AD-AFB3-E53B529CC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0FA905EF-FCD7-48AD-AFB3-E53B529CC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D5B5E9-0618-4A4E-9D40-614B2CAE3D3F}"/>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60" name="Google Shape;2260;p246-1"/>
          <p:cNvSpPr/>
          <p:nvPr/>
        </p:nvSpPr>
        <p:spPr>
          <a:xfrm>
            <a:off x="967800" y="1523773"/>
            <a:ext cx="2898144" cy="1918000"/>
          </a:xfrm>
          <a:prstGeom prst="rect">
            <a:avLst/>
          </a:prstGeom>
          <a:solidFill>
            <a:schemeClr val="tx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dirty="0">
                <a:solidFill>
                  <a:schemeClr val="bg1"/>
                </a:solidFill>
                <a:latin typeface="+mn-lt"/>
                <a:ea typeface="Open Sans"/>
                <a:cs typeface="Open Sans"/>
                <a:sym typeface="Open Sans"/>
              </a:rPr>
              <a:t>1</a:t>
            </a:r>
          </a:p>
          <a:p>
            <a:pPr>
              <a:spcBef>
                <a:spcPts val="400"/>
              </a:spcBef>
              <a:spcAft>
                <a:spcPts val="400"/>
              </a:spcAft>
            </a:pPr>
            <a:r>
              <a:rPr lang="en-GB" sz="2800" dirty="0">
                <a:solidFill>
                  <a:schemeClr val="bg1"/>
                </a:solidFill>
                <a:latin typeface="+mn-lt"/>
                <a:ea typeface="Open Sans"/>
                <a:cs typeface="Open Sans"/>
                <a:sym typeface="Open Sans"/>
              </a:rPr>
              <a:t>Title #1</a:t>
            </a:r>
            <a:endParaRPr lang="en-GB" sz="1200" b="1" dirty="0">
              <a:solidFill>
                <a:schemeClr val="bg1"/>
              </a:solidFill>
              <a:latin typeface="+mn-lt"/>
              <a:ea typeface="Open Sans"/>
              <a:cs typeface="Open Sans"/>
              <a:sym typeface="Open Sans"/>
            </a:endParaRPr>
          </a:p>
        </p:txBody>
      </p:sp>
      <p:sp>
        <p:nvSpPr>
          <p:cNvPr id="2262" name="Google Shape;2262;p246"/>
          <p:cNvSpPr/>
          <p:nvPr/>
        </p:nvSpPr>
        <p:spPr>
          <a:xfrm>
            <a:off x="967800" y="3882456"/>
            <a:ext cx="10224000" cy="2135600"/>
          </a:xfrm>
          <a:prstGeom prst="rect">
            <a:avLst/>
          </a:prstGeom>
          <a:solidFill>
            <a:srgbClr val="FFFFFF"/>
          </a:solidFill>
          <a:ln>
            <a:noFill/>
          </a:ln>
          <a:effectLst/>
        </p:spPr>
        <p:txBody>
          <a:bodyPr spcFirstLastPara="1" wrap="square" lIns="121900" tIns="121900" rIns="121900" bIns="121900" anchor="t" anchorCtr="0">
            <a:noAutofit/>
          </a:bodyPr>
          <a:lstStyle/>
          <a:p>
            <a:pPr algn="l">
              <a:spcBef>
                <a:spcPts val="400"/>
              </a:spcBef>
              <a:spcAft>
                <a:spcPts val="400"/>
              </a:spcAft>
            </a:pPr>
            <a:r>
              <a:rPr lang="en-GB" sz="1800" b="1" dirty="0">
                <a:latin typeface="+mn-lt"/>
                <a:ea typeface="Open Sans"/>
                <a:cs typeface="Open Sans"/>
                <a:sym typeface="Open Sans"/>
              </a:rPr>
              <a:t>Subtitle:</a:t>
            </a:r>
          </a:p>
          <a:p>
            <a:pPr algn="l">
              <a:spcBef>
                <a:spcPts val="400"/>
              </a:spcBef>
              <a:spcAft>
                <a:spcPts val="400"/>
              </a:spcAft>
            </a:pPr>
            <a:endParaRPr lang="en-GB" sz="1800" b="1" dirty="0">
              <a:latin typeface="+mn-lt"/>
              <a:ea typeface="Open Sans"/>
              <a:cs typeface="Open Sans"/>
              <a:sym typeface="Open Sans"/>
            </a:endParaRPr>
          </a:p>
          <a:p>
            <a:pPr algn="l">
              <a:spcBef>
                <a:spcPts val="400"/>
              </a:spcBef>
              <a:spcAft>
                <a:spcPts val="400"/>
              </a:spcAft>
            </a:pPr>
            <a:r>
              <a:rPr lang="en-GB" sz="1800" dirty="0">
                <a:latin typeface="+mn-lt"/>
                <a:ea typeface="Open Sans"/>
                <a:cs typeface="Open Sans"/>
                <a:sym typeface="Open Sans"/>
              </a:rPr>
              <a:t>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 </a:t>
            </a:r>
            <a:r>
              <a:rPr lang="en-GB" sz="1800" dirty="0" err="1">
                <a:latin typeface="+mn-lt"/>
                <a:ea typeface="Open Sans"/>
                <a:cs typeface="Open Sans"/>
                <a:sym typeface="Open Sans"/>
              </a:rPr>
              <a:t>congue</a:t>
            </a:r>
            <a:r>
              <a:rPr lang="en-GB" sz="1800" dirty="0">
                <a:latin typeface="+mn-lt"/>
                <a:ea typeface="Open Sans"/>
                <a:cs typeface="Open Sans"/>
                <a:sym typeface="Open Sans"/>
              </a:rPr>
              <a:t> </a:t>
            </a:r>
            <a:r>
              <a:rPr lang="en-GB" sz="1800" dirty="0" err="1">
                <a:latin typeface="+mn-lt"/>
                <a:ea typeface="Open Sans"/>
                <a:cs typeface="Open Sans"/>
                <a:sym typeface="Open Sans"/>
              </a:rPr>
              <a:t>massa</a:t>
            </a:r>
            <a:r>
              <a:rPr lang="en-GB" sz="1800" dirty="0">
                <a:latin typeface="+mn-lt"/>
                <a:ea typeface="Open Sans"/>
                <a:cs typeface="Open Sans"/>
                <a:sym typeface="Open Sans"/>
              </a:rPr>
              <a:t>. </a:t>
            </a:r>
            <a:r>
              <a:rPr lang="en-GB" sz="1800" dirty="0" err="1">
                <a:latin typeface="+mn-lt"/>
                <a:ea typeface="Open Sans"/>
                <a:cs typeface="Open Sans"/>
                <a:sym typeface="Open Sans"/>
              </a:rPr>
              <a:t>Fusce</a:t>
            </a:r>
            <a:r>
              <a:rPr lang="en-GB" sz="1800" dirty="0">
                <a:latin typeface="+mn-lt"/>
                <a:ea typeface="Open Sans"/>
                <a:cs typeface="Open Sans"/>
                <a:sym typeface="Open Sans"/>
              </a:rPr>
              <a:t> </a:t>
            </a:r>
            <a:r>
              <a:rPr lang="en-GB" sz="1800" dirty="0" err="1">
                <a:latin typeface="+mn-lt"/>
                <a:ea typeface="Open Sans"/>
                <a:cs typeface="Open Sans"/>
                <a:sym typeface="Open Sans"/>
              </a:rPr>
              <a:t>posuere</a:t>
            </a:r>
            <a:r>
              <a:rPr lang="en-GB" sz="1800" dirty="0">
                <a:latin typeface="+mn-lt"/>
                <a:ea typeface="Open Sans"/>
                <a:cs typeface="Open Sans"/>
                <a:sym typeface="Open Sans"/>
              </a:rPr>
              <a:t>, magna </a:t>
            </a:r>
            <a:r>
              <a:rPr lang="en-GB" sz="1800" dirty="0" err="1">
                <a:latin typeface="+mn-lt"/>
                <a:ea typeface="Open Sans"/>
                <a:cs typeface="Open Sans"/>
                <a:sym typeface="Open Sans"/>
              </a:rPr>
              <a:t>sed</a:t>
            </a:r>
            <a:r>
              <a:rPr lang="en-GB" sz="1800" dirty="0">
                <a:latin typeface="+mn-lt"/>
                <a:ea typeface="Open Sans"/>
                <a:cs typeface="Open Sans"/>
                <a:sym typeface="Open Sans"/>
              </a:rPr>
              <a:t> pulvinar </a:t>
            </a:r>
            <a:r>
              <a:rPr lang="en-GB" sz="1800" dirty="0" err="1">
                <a:latin typeface="+mn-lt"/>
                <a:ea typeface="Open Sans"/>
                <a:cs typeface="Open Sans"/>
                <a:sym typeface="Open Sans"/>
              </a:rPr>
              <a:t>ultricies</a:t>
            </a:r>
            <a:r>
              <a:rPr lang="en-GB" sz="1800" dirty="0">
                <a:latin typeface="+mn-lt"/>
                <a:ea typeface="Open Sans"/>
                <a:cs typeface="Open Sans"/>
                <a:sym typeface="Open Sans"/>
              </a:rPr>
              <a:t>, </a:t>
            </a:r>
            <a:r>
              <a:rPr lang="en-GB" sz="1800" dirty="0" err="1">
                <a:latin typeface="+mn-lt"/>
                <a:ea typeface="Open Sans"/>
                <a:cs typeface="Open Sans"/>
                <a:sym typeface="Open Sans"/>
              </a:rPr>
              <a:t>purus</a:t>
            </a:r>
            <a:r>
              <a:rPr lang="en-GB" sz="1800" dirty="0">
                <a:latin typeface="+mn-lt"/>
                <a:ea typeface="Open Sans"/>
                <a:cs typeface="Open Sans"/>
                <a:sym typeface="Open Sans"/>
              </a:rPr>
              <a:t> </a:t>
            </a:r>
            <a:r>
              <a:rPr lang="en-GB" sz="1800" dirty="0" err="1">
                <a:latin typeface="+mn-lt"/>
                <a:ea typeface="Open Sans"/>
                <a:cs typeface="Open Sans"/>
                <a:sym typeface="Open Sans"/>
              </a:rPr>
              <a:t>lectus</a:t>
            </a:r>
            <a:r>
              <a:rPr lang="en-GB" sz="1800" dirty="0">
                <a:latin typeface="+mn-lt"/>
                <a:ea typeface="Open Sans"/>
                <a:cs typeface="Open Sans"/>
                <a:sym typeface="Open Sans"/>
              </a:rPr>
              <a:t> </a:t>
            </a:r>
            <a:r>
              <a:rPr lang="en-GB" sz="1800" dirty="0" err="1">
                <a:latin typeface="+mn-lt"/>
                <a:ea typeface="Open Sans"/>
                <a:cs typeface="Open Sans"/>
                <a:sym typeface="Open Sans"/>
              </a:rPr>
              <a:t>malesuada</a:t>
            </a:r>
            <a:r>
              <a:rPr lang="en-GB" sz="1800" dirty="0">
                <a:latin typeface="+mn-lt"/>
                <a:ea typeface="Open Sans"/>
                <a:cs typeface="Open Sans"/>
                <a:sym typeface="Open Sans"/>
              </a:rPr>
              <a:t> libero,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mmodo</a:t>
            </a:r>
            <a:r>
              <a:rPr lang="en-GB" sz="1800" dirty="0">
                <a:latin typeface="+mn-lt"/>
                <a:ea typeface="Open Sans"/>
                <a:cs typeface="Open Sans"/>
                <a:sym typeface="Open Sans"/>
              </a:rPr>
              <a:t> magna eros </a:t>
            </a:r>
            <a:r>
              <a:rPr lang="en-GB" sz="1800" dirty="0" err="1">
                <a:latin typeface="+mn-lt"/>
                <a:ea typeface="Open Sans"/>
                <a:cs typeface="Open Sans"/>
                <a:sym typeface="Open Sans"/>
              </a:rPr>
              <a:t>quis</a:t>
            </a:r>
            <a:r>
              <a:rPr lang="en-GB" sz="1800" dirty="0">
                <a:latin typeface="+mn-lt"/>
                <a:ea typeface="Open Sans"/>
                <a:cs typeface="Open Sans"/>
                <a:sym typeface="Open Sans"/>
              </a:rPr>
              <a:t> </a:t>
            </a:r>
            <a:r>
              <a:rPr lang="en-GB" sz="1800" dirty="0" err="1">
                <a:latin typeface="+mn-lt"/>
                <a:ea typeface="Open Sans"/>
                <a:cs typeface="Open Sans"/>
                <a:sym typeface="Open Sans"/>
              </a:rPr>
              <a:t>urna</a:t>
            </a:r>
            <a:r>
              <a:rPr lang="en-GB" sz="1800" dirty="0">
                <a:latin typeface="+mn-lt"/>
                <a:ea typeface="Open Sans"/>
                <a:cs typeface="Open Sans"/>
                <a:sym typeface="Open Sans"/>
              </a:rPr>
              <a:t>. 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a:t>
            </a:r>
          </a:p>
          <a:p>
            <a:pPr algn="l">
              <a:spcBef>
                <a:spcPts val="400"/>
              </a:spcBef>
              <a:spcAft>
                <a:spcPts val="400"/>
              </a:spcAft>
            </a:pPr>
            <a:endParaRPr lang="en-GB" sz="1800" dirty="0">
              <a:solidFill>
                <a:srgbClr val="000000"/>
              </a:solidFill>
              <a:latin typeface="+mn-lt"/>
              <a:ea typeface="Open Sans"/>
              <a:cs typeface="Open Sans"/>
              <a:sym typeface="Open Sans"/>
            </a:endParaRPr>
          </a:p>
        </p:txBody>
      </p:sp>
      <p:sp>
        <p:nvSpPr>
          <p:cNvPr id="2270" name="Google Shape;2270;p246"/>
          <p:cNvSpPr/>
          <p:nvPr/>
        </p:nvSpPr>
        <p:spPr>
          <a:xfrm rot="10800000">
            <a:off x="2183473" y="3308806"/>
            <a:ext cx="466800" cy="403600"/>
          </a:xfrm>
          <a:prstGeom prst="triangle">
            <a:avLst>
              <a:gd name="adj" fmla="val 50000"/>
            </a:avLst>
          </a:prstGeom>
          <a:solidFill>
            <a:schemeClr val="accent3"/>
          </a:solidFill>
          <a:ln w="19050">
            <a:solidFill>
              <a:srgbClr val="FFFFFF"/>
            </a:solidFill>
          </a:ln>
        </p:spPr>
        <p:txBody>
          <a:bodyPr spcFirstLastPara="1" wrap="square" lIns="121900" tIns="121900" rIns="121900" bIns="121900" anchor="ctr" anchorCtr="0">
            <a:noAutofit/>
          </a:bodyPr>
          <a:lstStyle/>
          <a:p>
            <a:pPr algn="l">
              <a:spcBef>
                <a:spcPts val="400"/>
              </a:spcBef>
              <a:spcAft>
                <a:spcPts val="400"/>
              </a:spcAft>
              <a:buClr>
                <a:srgbClr val="000000"/>
              </a:buClr>
              <a:buSzPts val="1100"/>
            </a:pPr>
            <a:endParaRPr lang="en-GB" sz="1867" dirty="0">
              <a:solidFill>
                <a:srgbClr val="FFFFFF"/>
              </a:solidFill>
              <a:latin typeface="+mn-lt"/>
            </a:endParaRPr>
          </a:p>
        </p:txBody>
      </p:sp>
      <p:sp>
        <p:nvSpPr>
          <p:cNvPr id="2" name="Titre 1">
            <a:extLst>
              <a:ext uri="{FF2B5EF4-FFF2-40B4-BE49-F238E27FC236}">
                <a16:creationId xmlns:a16="http://schemas.microsoft.com/office/drawing/2014/main" id="{EB504820-881A-4EFE-B518-EBDADD1F8689}"/>
              </a:ext>
            </a:extLst>
          </p:cNvPr>
          <p:cNvSpPr>
            <a:spLocks noGrp="1"/>
          </p:cNvSpPr>
          <p:nvPr>
            <p:ph type="title"/>
          </p:nvPr>
        </p:nvSpPr>
        <p:spPr/>
        <p:txBody>
          <a:bodyPr/>
          <a:lstStyle/>
          <a:p>
            <a:r>
              <a:rPr lang="en-GB"/>
              <a:t>Approach presentation – first step description</a:t>
            </a:r>
            <a:endParaRPr lang="en-GB" dirty="0"/>
          </a:p>
        </p:txBody>
      </p:sp>
      <p:sp>
        <p:nvSpPr>
          <p:cNvPr id="21" name="Google Shape;2260;p246-2">
            <a:extLst>
              <a:ext uri="{FF2B5EF4-FFF2-40B4-BE49-F238E27FC236}">
                <a16:creationId xmlns:a16="http://schemas.microsoft.com/office/drawing/2014/main" id="{0979D879-A615-4E2F-89F1-A015789410E8}"/>
              </a:ext>
            </a:extLst>
          </p:cNvPr>
          <p:cNvSpPr/>
          <p:nvPr/>
        </p:nvSpPr>
        <p:spPr>
          <a:xfrm>
            <a:off x="4646928"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dirty="0">
                <a:solidFill>
                  <a:schemeClr val="accent2"/>
                </a:solidFill>
                <a:latin typeface="+mn-lt"/>
                <a:ea typeface="Open Sans"/>
                <a:cs typeface="Open Sans"/>
                <a:sym typeface="Open Sans"/>
              </a:rPr>
              <a:t>2</a:t>
            </a:r>
          </a:p>
          <a:p>
            <a:pPr>
              <a:spcBef>
                <a:spcPts val="400"/>
              </a:spcBef>
              <a:spcAft>
                <a:spcPts val="400"/>
              </a:spcAft>
            </a:pPr>
            <a:r>
              <a:rPr lang="en-GB" sz="2800" dirty="0">
                <a:solidFill>
                  <a:schemeClr val="accent2"/>
                </a:solidFill>
                <a:latin typeface="+mn-lt"/>
                <a:ea typeface="Open Sans"/>
                <a:cs typeface="Open Sans"/>
                <a:sym typeface="Open Sans"/>
              </a:rPr>
              <a:t>Title #2</a:t>
            </a:r>
            <a:endParaRPr lang="en-GB" sz="1200" b="1" dirty="0">
              <a:solidFill>
                <a:schemeClr val="accent2"/>
              </a:solidFill>
              <a:latin typeface="+mn-lt"/>
              <a:ea typeface="Open Sans"/>
              <a:cs typeface="Open Sans"/>
              <a:sym typeface="Open Sans"/>
            </a:endParaRPr>
          </a:p>
        </p:txBody>
      </p:sp>
      <p:sp>
        <p:nvSpPr>
          <p:cNvPr id="22" name="Google Shape;2260;p246-3">
            <a:extLst>
              <a:ext uri="{FF2B5EF4-FFF2-40B4-BE49-F238E27FC236}">
                <a16:creationId xmlns:a16="http://schemas.microsoft.com/office/drawing/2014/main" id="{C3273DE7-EA89-490B-B7BD-663D9806B22B}"/>
              </a:ext>
            </a:extLst>
          </p:cNvPr>
          <p:cNvSpPr/>
          <p:nvPr/>
        </p:nvSpPr>
        <p:spPr>
          <a:xfrm>
            <a:off x="8293656"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dirty="0">
                <a:solidFill>
                  <a:schemeClr val="accent2"/>
                </a:solidFill>
                <a:latin typeface="+mn-lt"/>
                <a:ea typeface="Open Sans"/>
                <a:cs typeface="Open Sans"/>
                <a:sym typeface="Open Sans"/>
              </a:rPr>
              <a:t>3</a:t>
            </a:r>
          </a:p>
          <a:p>
            <a:pPr>
              <a:spcBef>
                <a:spcPts val="400"/>
              </a:spcBef>
              <a:spcAft>
                <a:spcPts val="400"/>
              </a:spcAft>
            </a:pPr>
            <a:r>
              <a:rPr lang="en-GB" sz="2800" dirty="0">
                <a:solidFill>
                  <a:schemeClr val="accent2"/>
                </a:solidFill>
                <a:latin typeface="+mn-lt"/>
                <a:ea typeface="Open Sans"/>
                <a:cs typeface="Open Sans"/>
                <a:sym typeface="Open Sans"/>
              </a:rPr>
              <a:t>Title #3</a:t>
            </a:r>
            <a:endParaRPr lang="en-GB" sz="1200" b="1" dirty="0">
              <a:solidFill>
                <a:schemeClr val="accent2"/>
              </a:solidFill>
              <a:latin typeface="+mn-lt"/>
              <a:ea typeface="Open Sans"/>
              <a:cs typeface="Open Sans"/>
              <a:sym typeface="Open Sans"/>
            </a:endParaRPr>
          </a:p>
        </p:txBody>
      </p:sp>
    </p:spTree>
    <p:extLst>
      <p:ext uri="{BB962C8B-B14F-4D97-AF65-F5344CB8AC3E}">
        <p14:creationId xmlns:p14="http://schemas.microsoft.com/office/powerpoint/2010/main" val="45143854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A905EF-FCD7-48AD-AFB3-E53B529CC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0FA905EF-FCD7-48AD-AFB3-E53B529CC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D5B5E9-0618-4A4E-9D40-614B2CAE3D3F}"/>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60" name="Google Shape;2260;p246-1"/>
          <p:cNvSpPr/>
          <p:nvPr/>
        </p:nvSpPr>
        <p:spPr>
          <a:xfrm>
            <a:off x="967800"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dirty="0">
                <a:solidFill>
                  <a:schemeClr val="accent2"/>
                </a:solidFill>
                <a:latin typeface="+mn-lt"/>
                <a:sym typeface="Open Sans"/>
              </a:rPr>
              <a:t>1</a:t>
            </a:r>
          </a:p>
          <a:p>
            <a:pPr>
              <a:spcBef>
                <a:spcPts val="400"/>
              </a:spcBef>
              <a:spcAft>
                <a:spcPts val="400"/>
              </a:spcAft>
            </a:pPr>
            <a:r>
              <a:rPr lang="en-GB" sz="2800" dirty="0">
                <a:solidFill>
                  <a:schemeClr val="accent2"/>
                </a:solidFill>
                <a:latin typeface="+mn-lt"/>
                <a:sym typeface="Open Sans"/>
              </a:rPr>
              <a:t>Title #1</a:t>
            </a:r>
            <a:endParaRPr lang="en-GB" sz="1200" dirty="0">
              <a:solidFill>
                <a:schemeClr val="accent2"/>
              </a:solidFill>
              <a:latin typeface="+mn-lt"/>
              <a:sym typeface="Open Sans"/>
            </a:endParaRPr>
          </a:p>
        </p:txBody>
      </p:sp>
      <p:sp>
        <p:nvSpPr>
          <p:cNvPr id="2262" name="Google Shape;2262;p246"/>
          <p:cNvSpPr/>
          <p:nvPr/>
        </p:nvSpPr>
        <p:spPr>
          <a:xfrm>
            <a:off x="967800" y="3882456"/>
            <a:ext cx="10224000" cy="2135600"/>
          </a:xfrm>
          <a:prstGeom prst="rect">
            <a:avLst/>
          </a:prstGeom>
          <a:solidFill>
            <a:srgbClr val="FFFFFF"/>
          </a:solidFill>
          <a:ln>
            <a:noFill/>
          </a:ln>
          <a:effectLst/>
        </p:spPr>
        <p:txBody>
          <a:bodyPr spcFirstLastPara="1" wrap="square" lIns="121900" tIns="121900" rIns="121900" bIns="121900" anchor="t" anchorCtr="0">
            <a:noAutofit/>
          </a:bodyPr>
          <a:lstStyle/>
          <a:p>
            <a:pPr algn="l">
              <a:spcBef>
                <a:spcPts val="400"/>
              </a:spcBef>
              <a:spcAft>
                <a:spcPts val="400"/>
              </a:spcAft>
            </a:pPr>
            <a:r>
              <a:rPr lang="en-GB" sz="1800" b="1" dirty="0">
                <a:latin typeface="+mn-lt"/>
                <a:ea typeface="Open Sans"/>
                <a:cs typeface="Open Sans"/>
                <a:sym typeface="Open Sans"/>
              </a:rPr>
              <a:t>Subtitle:</a:t>
            </a:r>
          </a:p>
          <a:p>
            <a:pPr algn="l">
              <a:spcBef>
                <a:spcPts val="400"/>
              </a:spcBef>
              <a:spcAft>
                <a:spcPts val="400"/>
              </a:spcAft>
            </a:pPr>
            <a:endParaRPr lang="en-GB" sz="1800" b="1" dirty="0">
              <a:latin typeface="+mn-lt"/>
              <a:ea typeface="Open Sans"/>
              <a:cs typeface="Open Sans"/>
              <a:sym typeface="Open Sans"/>
            </a:endParaRPr>
          </a:p>
          <a:p>
            <a:pPr algn="l">
              <a:spcBef>
                <a:spcPts val="400"/>
              </a:spcBef>
              <a:spcAft>
                <a:spcPts val="400"/>
              </a:spcAft>
            </a:pPr>
            <a:r>
              <a:rPr lang="en-GB" sz="1800" dirty="0">
                <a:latin typeface="+mn-lt"/>
                <a:ea typeface="Open Sans"/>
                <a:cs typeface="Open Sans"/>
                <a:sym typeface="Open Sans"/>
              </a:rPr>
              <a:t>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 </a:t>
            </a:r>
            <a:r>
              <a:rPr lang="en-GB" sz="1800" dirty="0" err="1">
                <a:latin typeface="+mn-lt"/>
                <a:ea typeface="Open Sans"/>
                <a:cs typeface="Open Sans"/>
                <a:sym typeface="Open Sans"/>
              </a:rPr>
              <a:t>congue</a:t>
            </a:r>
            <a:r>
              <a:rPr lang="en-GB" sz="1800" dirty="0">
                <a:latin typeface="+mn-lt"/>
                <a:ea typeface="Open Sans"/>
                <a:cs typeface="Open Sans"/>
                <a:sym typeface="Open Sans"/>
              </a:rPr>
              <a:t> </a:t>
            </a:r>
            <a:r>
              <a:rPr lang="en-GB" sz="1800" dirty="0" err="1">
                <a:latin typeface="+mn-lt"/>
                <a:ea typeface="Open Sans"/>
                <a:cs typeface="Open Sans"/>
                <a:sym typeface="Open Sans"/>
              </a:rPr>
              <a:t>massa</a:t>
            </a:r>
            <a:r>
              <a:rPr lang="en-GB" sz="1800" dirty="0">
                <a:latin typeface="+mn-lt"/>
                <a:ea typeface="Open Sans"/>
                <a:cs typeface="Open Sans"/>
                <a:sym typeface="Open Sans"/>
              </a:rPr>
              <a:t>. </a:t>
            </a:r>
            <a:r>
              <a:rPr lang="en-GB" sz="1800" dirty="0" err="1">
                <a:latin typeface="+mn-lt"/>
                <a:ea typeface="Open Sans"/>
                <a:cs typeface="Open Sans"/>
                <a:sym typeface="Open Sans"/>
              </a:rPr>
              <a:t>Fusce</a:t>
            </a:r>
            <a:r>
              <a:rPr lang="en-GB" sz="1800" dirty="0">
                <a:latin typeface="+mn-lt"/>
                <a:ea typeface="Open Sans"/>
                <a:cs typeface="Open Sans"/>
                <a:sym typeface="Open Sans"/>
              </a:rPr>
              <a:t> </a:t>
            </a:r>
            <a:r>
              <a:rPr lang="en-GB" sz="1800" dirty="0" err="1">
                <a:latin typeface="+mn-lt"/>
                <a:ea typeface="Open Sans"/>
                <a:cs typeface="Open Sans"/>
                <a:sym typeface="Open Sans"/>
              </a:rPr>
              <a:t>posuere</a:t>
            </a:r>
            <a:r>
              <a:rPr lang="en-GB" sz="1800" dirty="0">
                <a:latin typeface="+mn-lt"/>
                <a:ea typeface="Open Sans"/>
                <a:cs typeface="Open Sans"/>
                <a:sym typeface="Open Sans"/>
              </a:rPr>
              <a:t>, magna </a:t>
            </a:r>
            <a:r>
              <a:rPr lang="en-GB" sz="1800" dirty="0" err="1">
                <a:latin typeface="+mn-lt"/>
                <a:ea typeface="Open Sans"/>
                <a:cs typeface="Open Sans"/>
                <a:sym typeface="Open Sans"/>
              </a:rPr>
              <a:t>sed</a:t>
            </a:r>
            <a:r>
              <a:rPr lang="en-GB" sz="1800" dirty="0">
                <a:latin typeface="+mn-lt"/>
                <a:ea typeface="Open Sans"/>
                <a:cs typeface="Open Sans"/>
                <a:sym typeface="Open Sans"/>
              </a:rPr>
              <a:t> pulvinar </a:t>
            </a:r>
            <a:r>
              <a:rPr lang="en-GB" sz="1800" dirty="0" err="1">
                <a:latin typeface="+mn-lt"/>
                <a:ea typeface="Open Sans"/>
                <a:cs typeface="Open Sans"/>
                <a:sym typeface="Open Sans"/>
              </a:rPr>
              <a:t>ultricies</a:t>
            </a:r>
            <a:r>
              <a:rPr lang="en-GB" sz="1800" dirty="0">
                <a:latin typeface="+mn-lt"/>
                <a:ea typeface="Open Sans"/>
                <a:cs typeface="Open Sans"/>
                <a:sym typeface="Open Sans"/>
              </a:rPr>
              <a:t>, </a:t>
            </a:r>
            <a:r>
              <a:rPr lang="en-GB" sz="1800" dirty="0" err="1">
                <a:latin typeface="+mn-lt"/>
                <a:ea typeface="Open Sans"/>
                <a:cs typeface="Open Sans"/>
                <a:sym typeface="Open Sans"/>
              </a:rPr>
              <a:t>purus</a:t>
            </a:r>
            <a:r>
              <a:rPr lang="en-GB" sz="1800" dirty="0">
                <a:latin typeface="+mn-lt"/>
                <a:ea typeface="Open Sans"/>
                <a:cs typeface="Open Sans"/>
                <a:sym typeface="Open Sans"/>
              </a:rPr>
              <a:t> </a:t>
            </a:r>
            <a:r>
              <a:rPr lang="en-GB" sz="1800" dirty="0" err="1">
                <a:latin typeface="+mn-lt"/>
                <a:ea typeface="Open Sans"/>
                <a:cs typeface="Open Sans"/>
                <a:sym typeface="Open Sans"/>
              </a:rPr>
              <a:t>lectus</a:t>
            </a:r>
            <a:r>
              <a:rPr lang="en-GB" sz="1800" dirty="0">
                <a:latin typeface="+mn-lt"/>
                <a:ea typeface="Open Sans"/>
                <a:cs typeface="Open Sans"/>
                <a:sym typeface="Open Sans"/>
              </a:rPr>
              <a:t> </a:t>
            </a:r>
            <a:r>
              <a:rPr lang="en-GB" sz="1800" dirty="0" err="1">
                <a:latin typeface="+mn-lt"/>
                <a:ea typeface="Open Sans"/>
                <a:cs typeface="Open Sans"/>
                <a:sym typeface="Open Sans"/>
              </a:rPr>
              <a:t>malesuada</a:t>
            </a:r>
            <a:r>
              <a:rPr lang="en-GB" sz="1800" dirty="0">
                <a:latin typeface="+mn-lt"/>
                <a:ea typeface="Open Sans"/>
                <a:cs typeface="Open Sans"/>
                <a:sym typeface="Open Sans"/>
              </a:rPr>
              <a:t> libero,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mmodo</a:t>
            </a:r>
            <a:r>
              <a:rPr lang="en-GB" sz="1800" dirty="0">
                <a:latin typeface="+mn-lt"/>
                <a:ea typeface="Open Sans"/>
                <a:cs typeface="Open Sans"/>
                <a:sym typeface="Open Sans"/>
              </a:rPr>
              <a:t> magna eros </a:t>
            </a:r>
            <a:r>
              <a:rPr lang="en-GB" sz="1800" dirty="0" err="1">
                <a:latin typeface="+mn-lt"/>
                <a:ea typeface="Open Sans"/>
                <a:cs typeface="Open Sans"/>
                <a:sym typeface="Open Sans"/>
              </a:rPr>
              <a:t>quis</a:t>
            </a:r>
            <a:r>
              <a:rPr lang="en-GB" sz="1800" dirty="0">
                <a:latin typeface="+mn-lt"/>
                <a:ea typeface="Open Sans"/>
                <a:cs typeface="Open Sans"/>
                <a:sym typeface="Open Sans"/>
              </a:rPr>
              <a:t> </a:t>
            </a:r>
            <a:r>
              <a:rPr lang="en-GB" sz="1800" dirty="0" err="1">
                <a:latin typeface="+mn-lt"/>
                <a:ea typeface="Open Sans"/>
                <a:cs typeface="Open Sans"/>
                <a:sym typeface="Open Sans"/>
              </a:rPr>
              <a:t>urna</a:t>
            </a:r>
            <a:r>
              <a:rPr lang="en-GB" sz="1800" dirty="0">
                <a:latin typeface="+mn-lt"/>
                <a:ea typeface="Open Sans"/>
                <a:cs typeface="Open Sans"/>
                <a:sym typeface="Open Sans"/>
              </a:rPr>
              <a:t>. 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a:t>
            </a:r>
          </a:p>
          <a:p>
            <a:pPr algn="l">
              <a:spcBef>
                <a:spcPts val="400"/>
              </a:spcBef>
              <a:spcAft>
                <a:spcPts val="400"/>
              </a:spcAft>
            </a:pPr>
            <a:endParaRPr lang="en-GB" sz="1800" dirty="0">
              <a:latin typeface="+mn-lt"/>
              <a:ea typeface="Open Sans"/>
              <a:cs typeface="Open Sans"/>
              <a:sym typeface="Open Sans"/>
            </a:endParaRPr>
          </a:p>
        </p:txBody>
      </p:sp>
      <p:sp>
        <p:nvSpPr>
          <p:cNvPr id="2" name="Titre 1">
            <a:extLst>
              <a:ext uri="{FF2B5EF4-FFF2-40B4-BE49-F238E27FC236}">
                <a16:creationId xmlns:a16="http://schemas.microsoft.com/office/drawing/2014/main" id="{EB504820-881A-4EFE-B518-EBDADD1F8689}"/>
              </a:ext>
            </a:extLst>
          </p:cNvPr>
          <p:cNvSpPr>
            <a:spLocks noGrp="1"/>
          </p:cNvSpPr>
          <p:nvPr>
            <p:ph type="title"/>
          </p:nvPr>
        </p:nvSpPr>
        <p:spPr/>
        <p:txBody>
          <a:bodyPr/>
          <a:lstStyle/>
          <a:p>
            <a:r>
              <a:rPr lang="en-GB"/>
              <a:t>Approach presentation – second step description</a:t>
            </a:r>
            <a:endParaRPr lang="en-GB" dirty="0"/>
          </a:p>
        </p:txBody>
      </p:sp>
      <p:sp>
        <p:nvSpPr>
          <p:cNvPr id="21" name="Google Shape;2260;p246-2">
            <a:extLst>
              <a:ext uri="{FF2B5EF4-FFF2-40B4-BE49-F238E27FC236}">
                <a16:creationId xmlns:a16="http://schemas.microsoft.com/office/drawing/2014/main" id="{0979D879-A615-4E2F-89F1-A015789410E8}"/>
              </a:ext>
            </a:extLst>
          </p:cNvPr>
          <p:cNvSpPr/>
          <p:nvPr/>
        </p:nvSpPr>
        <p:spPr>
          <a:xfrm>
            <a:off x="4646928" y="1523773"/>
            <a:ext cx="2898144" cy="1918000"/>
          </a:xfrm>
          <a:prstGeom prst="rect">
            <a:avLst/>
          </a:prstGeom>
          <a:solidFill>
            <a:schemeClr val="tx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dirty="0">
                <a:solidFill>
                  <a:schemeClr val="bg1"/>
                </a:solidFill>
                <a:latin typeface="+mn-lt"/>
                <a:sym typeface="Open Sans"/>
              </a:rPr>
              <a:t>2</a:t>
            </a:r>
          </a:p>
          <a:p>
            <a:pPr>
              <a:spcBef>
                <a:spcPts val="400"/>
              </a:spcBef>
              <a:spcAft>
                <a:spcPts val="400"/>
              </a:spcAft>
            </a:pPr>
            <a:r>
              <a:rPr lang="en-GB" sz="2800" dirty="0">
                <a:solidFill>
                  <a:schemeClr val="bg1"/>
                </a:solidFill>
                <a:latin typeface="+mn-lt"/>
                <a:sym typeface="Open Sans"/>
              </a:rPr>
              <a:t>Title #2</a:t>
            </a:r>
            <a:endParaRPr lang="en-GB" sz="1200" dirty="0">
              <a:solidFill>
                <a:schemeClr val="bg1"/>
              </a:solidFill>
              <a:latin typeface="+mn-lt"/>
              <a:sym typeface="Open Sans"/>
            </a:endParaRPr>
          </a:p>
        </p:txBody>
      </p:sp>
      <p:sp>
        <p:nvSpPr>
          <p:cNvPr id="22" name="Google Shape;2260;p246-3">
            <a:extLst>
              <a:ext uri="{FF2B5EF4-FFF2-40B4-BE49-F238E27FC236}">
                <a16:creationId xmlns:a16="http://schemas.microsoft.com/office/drawing/2014/main" id="{C3273DE7-EA89-490B-B7BD-663D9806B22B}"/>
              </a:ext>
            </a:extLst>
          </p:cNvPr>
          <p:cNvSpPr/>
          <p:nvPr/>
        </p:nvSpPr>
        <p:spPr>
          <a:xfrm>
            <a:off x="8293656"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a:solidFill>
                  <a:schemeClr val="accent2"/>
                </a:solidFill>
                <a:latin typeface="+mn-lt"/>
                <a:ea typeface="Open Sans"/>
                <a:cs typeface="Open Sans"/>
                <a:sym typeface="Open Sans"/>
              </a:rPr>
              <a:t>3</a:t>
            </a:r>
          </a:p>
          <a:p>
            <a:pPr>
              <a:spcBef>
                <a:spcPts val="400"/>
              </a:spcBef>
              <a:spcAft>
                <a:spcPts val="400"/>
              </a:spcAft>
            </a:pPr>
            <a:r>
              <a:rPr lang="en-GB" sz="2800">
                <a:solidFill>
                  <a:schemeClr val="accent2"/>
                </a:solidFill>
                <a:latin typeface="+mn-lt"/>
                <a:ea typeface="Open Sans"/>
                <a:cs typeface="Open Sans"/>
                <a:sym typeface="Open Sans"/>
              </a:rPr>
              <a:t>Title #3</a:t>
            </a:r>
            <a:endParaRPr lang="en-GB" sz="1200" b="1" dirty="0">
              <a:solidFill>
                <a:schemeClr val="accent2"/>
              </a:solidFill>
              <a:latin typeface="+mn-lt"/>
              <a:ea typeface="Open Sans"/>
              <a:cs typeface="Open Sans"/>
              <a:sym typeface="Open Sans"/>
            </a:endParaRPr>
          </a:p>
        </p:txBody>
      </p:sp>
      <p:sp>
        <p:nvSpPr>
          <p:cNvPr id="2270" name="Google Shape;2270;p246"/>
          <p:cNvSpPr/>
          <p:nvPr/>
        </p:nvSpPr>
        <p:spPr>
          <a:xfrm rot="10800000">
            <a:off x="5862600" y="3308806"/>
            <a:ext cx="466800" cy="403600"/>
          </a:xfrm>
          <a:prstGeom prst="triangle">
            <a:avLst>
              <a:gd name="adj" fmla="val 50000"/>
            </a:avLst>
          </a:prstGeom>
          <a:solidFill>
            <a:schemeClr val="accent3"/>
          </a:solidFill>
          <a:ln w="19050">
            <a:solidFill>
              <a:srgbClr val="FFFFFF"/>
            </a:solidFill>
          </a:ln>
        </p:spPr>
        <p:txBody>
          <a:bodyPr spcFirstLastPara="1" wrap="square" lIns="121900" tIns="121900" rIns="121900" bIns="121900" anchor="ctr" anchorCtr="0">
            <a:noAutofit/>
          </a:bodyPr>
          <a:lstStyle/>
          <a:p>
            <a:pPr algn="l">
              <a:spcBef>
                <a:spcPts val="400"/>
              </a:spcBef>
              <a:spcAft>
                <a:spcPts val="400"/>
              </a:spcAft>
              <a:buClr>
                <a:srgbClr val="000000"/>
              </a:buClr>
              <a:buSzPts val="1100"/>
            </a:pPr>
            <a:endParaRPr lang="en-GB" sz="1867" dirty="0">
              <a:solidFill>
                <a:srgbClr val="FFFFFF"/>
              </a:solidFill>
              <a:latin typeface="+mn-lt"/>
            </a:endParaRPr>
          </a:p>
        </p:txBody>
      </p:sp>
    </p:spTree>
    <p:extLst>
      <p:ext uri="{BB962C8B-B14F-4D97-AF65-F5344CB8AC3E}">
        <p14:creationId xmlns:p14="http://schemas.microsoft.com/office/powerpoint/2010/main" val="30993980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A905EF-FCD7-48AD-AFB3-E53B529CC1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0FA905EF-FCD7-48AD-AFB3-E53B529CC1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9D5B5E9-0618-4A4E-9D40-614B2CAE3D3F}"/>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60" name="Google Shape;2260;p246-1"/>
          <p:cNvSpPr/>
          <p:nvPr/>
        </p:nvSpPr>
        <p:spPr>
          <a:xfrm>
            <a:off x="967800"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a:solidFill>
                  <a:schemeClr val="accent2"/>
                </a:solidFill>
                <a:latin typeface="+mn-lt"/>
                <a:sym typeface="Open Sans"/>
              </a:rPr>
              <a:t>1</a:t>
            </a:r>
          </a:p>
          <a:p>
            <a:pPr>
              <a:spcBef>
                <a:spcPts val="400"/>
              </a:spcBef>
              <a:spcAft>
                <a:spcPts val="400"/>
              </a:spcAft>
            </a:pPr>
            <a:r>
              <a:rPr lang="en-GB" sz="2800">
                <a:solidFill>
                  <a:schemeClr val="accent2"/>
                </a:solidFill>
                <a:latin typeface="+mn-lt"/>
                <a:sym typeface="Open Sans"/>
              </a:rPr>
              <a:t>Title #1</a:t>
            </a:r>
            <a:endParaRPr lang="en-GB" sz="1200" dirty="0">
              <a:solidFill>
                <a:schemeClr val="accent2"/>
              </a:solidFill>
              <a:latin typeface="+mn-lt"/>
              <a:sym typeface="Open Sans"/>
            </a:endParaRPr>
          </a:p>
        </p:txBody>
      </p:sp>
      <p:sp>
        <p:nvSpPr>
          <p:cNvPr id="2262" name="Google Shape;2262;p246"/>
          <p:cNvSpPr/>
          <p:nvPr/>
        </p:nvSpPr>
        <p:spPr>
          <a:xfrm>
            <a:off x="967800" y="3882456"/>
            <a:ext cx="10224000" cy="2135600"/>
          </a:xfrm>
          <a:prstGeom prst="rect">
            <a:avLst/>
          </a:prstGeom>
          <a:solidFill>
            <a:srgbClr val="FFFFFF"/>
          </a:solidFill>
          <a:ln>
            <a:noFill/>
          </a:ln>
          <a:effectLst/>
        </p:spPr>
        <p:txBody>
          <a:bodyPr spcFirstLastPara="1" wrap="square" lIns="121900" tIns="121900" rIns="121900" bIns="121900" anchor="t" anchorCtr="0">
            <a:noAutofit/>
          </a:bodyPr>
          <a:lstStyle/>
          <a:p>
            <a:pPr algn="l">
              <a:spcBef>
                <a:spcPts val="400"/>
              </a:spcBef>
              <a:spcAft>
                <a:spcPts val="400"/>
              </a:spcAft>
            </a:pPr>
            <a:r>
              <a:rPr lang="en-GB" sz="1800" b="1" dirty="0">
                <a:latin typeface="+mn-lt"/>
                <a:ea typeface="Open Sans"/>
                <a:cs typeface="Open Sans"/>
                <a:sym typeface="Open Sans"/>
              </a:rPr>
              <a:t>Subtitle:</a:t>
            </a:r>
          </a:p>
          <a:p>
            <a:pPr algn="l">
              <a:spcBef>
                <a:spcPts val="400"/>
              </a:spcBef>
              <a:spcAft>
                <a:spcPts val="400"/>
              </a:spcAft>
            </a:pPr>
            <a:endParaRPr lang="en-GB" sz="1800" b="1" dirty="0">
              <a:latin typeface="+mn-lt"/>
              <a:ea typeface="Open Sans"/>
              <a:cs typeface="Open Sans"/>
              <a:sym typeface="Open Sans"/>
            </a:endParaRPr>
          </a:p>
          <a:p>
            <a:pPr algn="l">
              <a:spcBef>
                <a:spcPts val="400"/>
              </a:spcBef>
              <a:spcAft>
                <a:spcPts val="400"/>
              </a:spcAft>
            </a:pPr>
            <a:r>
              <a:rPr lang="en-GB" sz="1800" dirty="0">
                <a:latin typeface="+mn-lt"/>
                <a:ea typeface="Open Sans"/>
                <a:cs typeface="Open Sans"/>
                <a:sym typeface="Open Sans"/>
              </a:rPr>
              <a:t>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 </a:t>
            </a:r>
            <a:r>
              <a:rPr lang="en-GB" sz="1800" dirty="0" err="1">
                <a:latin typeface="+mn-lt"/>
                <a:ea typeface="Open Sans"/>
                <a:cs typeface="Open Sans"/>
                <a:sym typeface="Open Sans"/>
              </a:rPr>
              <a:t>congue</a:t>
            </a:r>
            <a:r>
              <a:rPr lang="en-GB" sz="1800" dirty="0">
                <a:latin typeface="+mn-lt"/>
                <a:ea typeface="Open Sans"/>
                <a:cs typeface="Open Sans"/>
                <a:sym typeface="Open Sans"/>
              </a:rPr>
              <a:t> </a:t>
            </a:r>
            <a:r>
              <a:rPr lang="en-GB" sz="1800" dirty="0" err="1">
                <a:latin typeface="+mn-lt"/>
                <a:ea typeface="Open Sans"/>
                <a:cs typeface="Open Sans"/>
                <a:sym typeface="Open Sans"/>
              </a:rPr>
              <a:t>massa</a:t>
            </a:r>
            <a:r>
              <a:rPr lang="en-GB" sz="1800" dirty="0">
                <a:latin typeface="+mn-lt"/>
                <a:ea typeface="Open Sans"/>
                <a:cs typeface="Open Sans"/>
                <a:sym typeface="Open Sans"/>
              </a:rPr>
              <a:t>. </a:t>
            </a:r>
            <a:r>
              <a:rPr lang="en-GB" sz="1800" dirty="0" err="1">
                <a:latin typeface="+mn-lt"/>
                <a:ea typeface="Open Sans"/>
                <a:cs typeface="Open Sans"/>
                <a:sym typeface="Open Sans"/>
              </a:rPr>
              <a:t>Fusce</a:t>
            </a:r>
            <a:r>
              <a:rPr lang="en-GB" sz="1800" dirty="0">
                <a:latin typeface="+mn-lt"/>
                <a:ea typeface="Open Sans"/>
                <a:cs typeface="Open Sans"/>
                <a:sym typeface="Open Sans"/>
              </a:rPr>
              <a:t> </a:t>
            </a:r>
            <a:r>
              <a:rPr lang="en-GB" sz="1800" dirty="0" err="1">
                <a:latin typeface="+mn-lt"/>
                <a:ea typeface="Open Sans"/>
                <a:cs typeface="Open Sans"/>
                <a:sym typeface="Open Sans"/>
              </a:rPr>
              <a:t>posuere</a:t>
            </a:r>
            <a:r>
              <a:rPr lang="en-GB" sz="1800" dirty="0">
                <a:latin typeface="+mn-lt"/>
                <a:ea typeface="Open Sans"/>
                <a:cs typeface="Open Sans"/>
                <a:sym typeface="Open Sans"/>
              </a:rPr>
              <a:t>, magna </a:t>
            </a:r>
            <a:r>
              <a:rPr lang="en-GB" sz="1800" dirty="0" err="1">
                <a:latin typeface="+mn-lt"/>
                <a:ea typeface="Open Sans"/>
                <a:cs typeface="Open Sans"/>
                <a:sym typeface="Open Sans"/>
              </a:rPr>
              <a:t>sed</a:t>
            </a:r>
            <a:r>
              <a:rPr lang="en-GB" sz="1800" dirty="0">
                <a:latin typeface="+mn-lt"/>
                <a:ea typeface="Open Sans"/>
                <a:cs typeface="Open Sans"/>
                <a:sym typeface="Open Sans"/>
              </a:rPr>
              <a:t> pulvinar </a:t>
            </a:r>
            <a:r>
              <a:rPr lang="en-GB" sz="1800" dirty="0" err="1">
                <a:latin typeface="+mn-lt"/>
                <a:ea typeface="Open Sans"/>
                <a:cs typeface="Open Sans"/>
                <a:sym typeface="Open Sans"/>
              </a:rPr>
              <a:t>ultricies</a:t>
            </a:r>
            <a:r>
              <a:rPr lang="en-GB" sz="1800" dirty="0">
                <a:latin typeface="+mn-lt"/>
                <a:ea typeface="Open Sans"/>
                <a:cs typeface="Open Sans"/>
                <a:sym typeface="Open Sans"/>
              </a:rPr>
              <a:t>, </a:t>
            </a:r>
            <a:r>
              <a:rPr lang="en-GB" sz="1800" dirty="0" err="1">
                <a:latin typeface="+mn-lt"/>
                <a:ea typeface="Open Sans"/>
                <a:cs typeface="Open Sans"/>
                <a:sym typeface="Open Sans"/>
              </a:rPr>
              <a:t>purus</a:t>
            </a:r>
            <a:r>
              <a:rPr lang="en-GB" sz="1800" dirty="0">
                <a:latin typeface="+mn-lt"/>
                <a:ea typeface="Open Sans"/>
                <a:cs typeface="Open Sans"/>
                <a:sym typeface="Open Sans"/>
              </a:rPr>
              <a:t> </a:t>
            </a:r>
            <a:r>
              <a:rPr lang="en-GB" sz="1800" dirty="0" err="1">
                <a:latin typeface="+mn-lt"/>
                <a:ea typeface="Open Sans"/>
                <a:cs typeface="Open Sans"/>
                <a:sym typeface="Open Sans"/>
              </a:rPr>
              <a:t>lectus</a:t>
            </a:r>
            <a:r>
              <a:rPr lang="en-GB" sz="1800" dirty="0">
                <a:latin typeface="+mn-lt"/>
                <a:ea typeface="Open Sans"/>
                <a:cs typeface="Open Sans"/>
                <a:sym typeface="Open Sans"/>
              </a:rPr>
              <a:t> </a:t>
            </a:r>
            <a:r>
              <a:rPr lang="en-GB" sz="1800" dirty="0" err="1">
                <a:latin typeface="+mn-lt"/>
                <a:ea typeface="Open Sans"/>
                <a:cs typeface="Open Sans"/>
                <a:sym typeface="Open Sans"/>
              </a:rPr>
              <a:t>malesuada</a:t>
            </a:r>
            <a:r>
              <a:rPr lang="en-GB" sz="1800" dirty="0">
                <a:latin typeface="+mn-lt"/>
                <a:ea typeface="Open Sans"/>
                <a:cs typeface="Open Sans"/>
                <a:sym typeface="Open Sans"/>
              </a:rPr>
              <a:t> libero,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mmodo</a:t>
            </a:r>
            <a:r>
              <a:rPr lang="en-GB" sz="1800" dirty="0">
                <a:latin typeface="+mn-lt"/>
                <a:ea typeface="Open Sans"/>
                <a:cs typeface="Open Sans"/>
                <a:sym typeface="Open Sans"/>
              </a:rPr>
              <a:t> magna eros </a:t>
            </a:r>
            <a:r>
              <a:rPr lang="en-GB" sz="1800" dirty="0" err="1">
                <a:latin typeface="+mn-lt"/>
                <a:ea typeface="Open Sans"/>
                <a:cs typeface="Open Sans"/>
                <a:sym typeface="Open Sans"/>
              </a:rPr>
              <a:t>quis</a:t>
            </a:r>
            <a:r>
              <a:rPr lang="en-GB" sz="1800" dirty="0">
                <a:latin typeface="+mn-lt"/>
                <a:ea typeface="Open Sans"/>
                <a:cs typeface="Open Sans"/>
                <a:sym typeface="Open Sans"/>
              </a:rPr>
              <a:t> </a:t>
            </a:r>
            <a:r>
              <a:rPr lang="en-GB" sz="1800" dirty="0" err="1">
                <a:latin typeface="+mn-lt"/>
                <a:ea typeface="Open Sans"/>
                <a:cs typeface="Open Sans"/>
                <a:sym typeface="Open Sans"/>
              </a:rPr>
              <a:t>urna</a:t>
            </a:r>
            <a:r>
              <a:rPr lang="en-GB" sz="1800" dirty="0">
                <a:latin typeface="+mn-lt"/>
                <a:ea typeface="Open Sans"/>
                <a:cs typeface="Open Sans"/>
                <a:sym typeface="Open Sans"/>
              </a:rPr>
              <a:t>. Lorem ipsum </a:t>
            </a:r>
            <a:r>
              <a:rPr lang="en-GB" sz="1800" dirty="0" err="1">
                <a:latin typeface="+mn-lt"/>
                <a:ea typeface="Open Sans"/>
                <a:cs typeface="Open Sans"/>
                <a:sym typeface="Open Sans"/>
              </a:rPr>
              <a:t>dolor</a:t>
            </a:r>
            <a:r>
              <a:rPr lang="en-GB" sz="1800" dirty="0">
                <a:latin typeface="+mn-lt"/>
                <a:ea typeface="Open Sans"/>
                <a:cs typeface="Open Sans"/>
                <a:sym typeface="Open Sans"/>
              </a:rPr>
              <a:t> sit </a:t>
            </a:r>
            <a:r>
              <a:rPr lang="en-GB" sz="1800" dirty="0" err="1">
                <a:latin typeface="+mn-lt"/>
                <a:ea typeface="Open Sans"/>
                <a:cs typeface="Open Sans"/>
                <a:sym typeface="Open Sans"/>
              </a:rPr>
              <a:t>amet</a:t>
            </a:r>
            <a:r>
              <a:rPr lang="en-GB" sz="1800" dirty="0">
                <a:latin typeface="+mn-lt"/>
                <a:ea typeface="Open Sans"/>
                <a:cs typeface="Open Sans"/>
                <a:sym typeface="Open Sans"/>
              </a:rPr>
              <a:t>, </a:t>
            </a:r>
            <a:r>
              <a:rPr lang="en-GB" sz="1800" dirty="0" err="1">
                <a:latin typeface="+mn-lt"/>
                <a:ea typeface="Open Sans"/>
                <a:cs typeface="Open Sans"/>
                <a:sym typeface="Open Sans"/>
              </a:rPr>
              <a:t>consectetuer</a:t>
            </a:r>
            <a:r>
              <a:rPr lang="en-GB" sz="1800" dirty="0">
                <a:latin typeface="+mn-lt"/>
                <a:ea typeface="Open Sans"/>
                <a:cs typeface="Open Sans"/>
                <a:sym typeface="Open Sans"/>
              </a:rPr>
              <a:t> </a:t>
            </a:r>
            <a:r>
              <a:rPr lang="en-GB" sz="1800" dirty="0" err="1">
                <a:latin typeface="+mn-lt"/>
                <a:ea typeface="Open Sans"/>
                <a:cs typeface="Open Sans"/>
                <a:sym typeface="Open Sans"/>
              </a:rPr>
              <a:t>adipiscing</a:t>
            </a:r>
            <a:r>
              <a:rPr lang="en-GB" sz="1800" dirty="0">
                <a:latin typeface="+mn-lt"/>
                <a:ea typeface="Open Sans"/>
                <a:cs typeface="Open Sans"/>
                <a:sym typeface="Open Sans"/>
              </a:rPr>
              <a:t> </a:t>
            </a:r>
            <a:r>
              <a:rPr lang="en-GB" sz="1800" dirty="0" err="1">
                <a:latin typeface="+mn-lt"/>
                <a:ea typeface="Open Sans"/>
                <a:cs typeface="Open Sans"/>
                <a:sym typeface="Open Sans"/>
              </a:rPr>
              <a:t>elit</a:t>
            </a:r>
            <a:r>
              <a:rPr lang="en-GB" sz="1800" dirty="0">
                <a:latin typeface="+mn-lt"/>
                <a:ea typeface="Open Sans"/>
                <a:cs typeface="Open Sans"/>
                <a:sym typeface="Open Sans"/>
              </a:rPr>
              <a:t>. Maecenas </a:t>
            </a:r>
            <a:r>
              <a:rPr lang="en-GB" sz="1800" dirty="0" err="1">
                <a:latin typeface="+mn-lt"/>
                <a:ea typeface="Open Sans"/>
                <a:cs typeface="Open Sans"/>
                <a:sym typeface="Open Sans"/>
              </a:rPr>
              <a:t>porttitor</a:t>
            </a:r>
            <a:r>
              <a:rPr lang="en-GB" sz="1800" dirty="0">
                <a:latin typeface="+mn-lt"/>
                <a:ea typeface="Open Sans"/>
                <a:cs typeface="Open Sans"/>
                <a:sym typeface="Open Sans"/>
              </a:rPr>
              <a:t>.</a:t>
            </a:r>
          </a:p>
          <a:p>
            <a:pPr algn="l">
              <a:spcBef>
                <a:spcPts val="400"/>
              </a:spcBef>
              <a:spcAft>
                <a:spcPts val="400"/>
              </a:spcAft>
            </a:pPr>
            <a:endParaRPr lang="en-GB" sz="1800" dirty="0">
              <a:latin typeface="+mn-lt"/>
              <a:ea typeface="Open Sans"/>
              <a:cs typeface="Open Sans"/>
              <a:sym typeface="Open Sans"/>
            </a:endParaRPr>
          </a:p>
        </p:txBody>
      </p:sp>
      <p:sp>
        <p:nvSpPr>
          <p:cNvPr id="2" name="Titre 1">
            <a:extLst>
              <a:ext uri="{FF2B5EF4-FFF2-40B4-BE49-F238E27FC236}">
                <a16:creationId xmlns:a16="http://schemas.microsoft.com/office/drawing/2014/main" id="{EB504820-881A-4EFE-B518-EBDADD1F8689}"/>
              </a:ext>
            </a:extLst>
          </p:cNvPr>
          <p:cNvSpPr>
            <a:spLocks noGrp="1"/>
          </p:cNvSpPr>
          <p:nvPr>
            <p:ph type="title"/>
          </p:nvPr>
        </p:nvSpPr>
        <p:spPr/>
        <p:txBody>
          <a:bodyPr/>
          <a:lstStyle/>
          <a:p>
            <a:r>
              <a:rPr lang="en-GB"/>
              <a:t>Approach presentation – third step description</a:t>
            </a:r>
            <a:endParaRPr lang="en-GB" dirty="0"/>
          </a:p>
        </p:txBody>
      </p:sp>
      <p:sp>
        <p:nvSpPr>
          <p:cNvPr id="21" name="Google Shape;2260;p246-2">
            <a:extLst>
              <a:ext uri="{FF2B5EF4-FFF2-40B4-BE49-F238E27FC236}">
                <a16:creationId xmlns:a16="http://schemas.microsoft.com/office/drawing/2014/main" id="{0979D879-A615-4E2F-89F1-A015789410E8}"/>
              </a:ext>
            </a:extLst>
          </p:cNvPr>
          <p:cNvSpPr/>
          <p:nvPr/>
        </p:nvSpPr>
        <p:spPr>
          <a:xfrm>
            <a:off x="4646928" y="1523773"/>
            <a:ext cx="2898144" cy="1918000"/>
          </a:xfrm>
          <a:prstGeom prst="rect">
            <a:avLst/>
          </a:prstGeom>
          <a:solidFill>
            <a:schemeClr val="bg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a:solidFill>
                  <a:schemeClr val="accent2"/>
                </a:solidFill>
                <a:latin typeface="+mn-lt"/>
                <a:sym typeface="Open Sans"/>
              </a:rPr>
              <a:t>2</a:t>
            </a:r>
          </a:p>
          <a:p>
            <a:pPr>
              <a:spcBef>
                <a:spcPts val="400"/>
              </a:spcBef>
              <a:spcAft>
                <a:spcPts val="400"/>
              </a:spcAft>
            </a:pPr>
            <a:r>
              <a:rPr lang="en-GB" sz="2800">
                <a:solidFill>
                  <a:schemeClr val="accent2"/>
                </a:solidFill>
                <a:latin typeface="+mn-lt"/>
                <a:sym typeface="Open Sans"/>
              </a:rPr>
              <a:t>Title #2</a:t>
            </a:r>
            <a:endParaRPr lang="en-GB" sz="1200" dirty="0">
              <a:solidFill>
                <a:schemeClr val="accent2"/>
              </a:solidFill>
              <a:latin typeface="+mn-lt"/>
              <a:sym typeface="Open Sans"/>
            </a:endParaRPr>
          </a:p>
        </p:txBody>
      </p:sp>
      <p:sp>
        <p:nvSpPr>
          <p:cNvPr id="22" name="Google Shape;2260;p246-3">
            <a:extLst>
              <a:ext uri="{FF2B5EF4-FFF2-40B4-BE49-F238E27FC236}">
                <a16:creationId xmlns:a16="http://schemas.microsoft.com/office/drawing/2014/main" id="{C3273DE7-EA89-490B-B7BD-663D9806B22B}"/>
              </a:ext>
            </a:extLst>
          </p:cNvPr>
          <p:cNvSpPr/>
          <p:nvPr/>
        </p:nvSpPr>
        <p:spPr>
          <a:xfrm>
            <a:off x="8293656" y="1523773"/>
            <a:ext cx="2898144" cy="1918000"/>
          </a:xfrm>
          <a:prstGeom prst="rect">
            <a:avLst/>
          </a:prstGeom>
          <a:solidFill>
            <a:schemeClr val="tx2"/>
          </a:solidFill>
          <a:ln>
            <a:noFill/>
          </a:ln>
          <a:effectLst/>
        </p:spPr>
        <p:txBody>
          <a:bodyPr spcFirstLastPara="1" wrap="square" lIns="108000" tIns="288000" rIns="108000" bIns="108000" anchor="t" anchorCtr="0">
            <a:noAutofit/>
          </a:bodyPr>
          <a:lstStyle/>
          <a:p>
            <a:pPr>
              <a:spcBef>
                <a:spcPts val="400"/>
              </a:spcBef>
              <a:spcAft>
                <a:spcPts val="400"/>
              </a:spcAft>
            </a:pPr>
            <a:r>
              <a:rPr lang="en-GB" sz="4000">
                <a:solidFill>
                  <a:schemeClr val="bg1"/>
                </a:solidFill>
                <a:latin typeface="+mn-lt"/>
                <a:sym typeface="Open Sans"/>
              </a:rPr>
              <a:t>3</a:t>
            </a:r>
          </a:p>
          <a:p>
            <a:pPr>
              <a:spcBef>
                <a:spcPts val="400"/>
              </a:spcBef>
              <a:spcAft>
                <a:spcPts val="400"/>
              </a:spcAft>
            </a:pPr>
            <a:r>
              <a:rPr lang="en-GB" sz="2800">
                <a:solidFill>
                  <a:schemeClr val="bg1"/>
                </a:solidFill>
                <a:latin typeface="+mn-lt"/>
                <a:sym typeface="Open Sans"/>
              </a:rPr>
              <a:t>Title #3</a:t>
            </a:r>
            <a:endParaRPr lang="en-GB" sz="1200" dirty="0">
              <a:solidFill>
                <a:schemeClr val="bg1"/>
              </a:solidFill>
              <a:latin typeface="+mn-lt"/>
              <a:sym typeface="Open Sans"/>
            </a:endParaRPr>
          </a:p>
        </p:txBody>
      </p:sp>
      <p:sp>
        <p:nvSpPr>
          <p:cNvPr id="2270" name="Google Shape;2270;p246"/>
          <p:cNvSpPr/>
          <p:nvPr/>
        </p:nvSpPr>
        <p:spPr>
          <a:xfrm rot="10800000">
            <a:off x="9509328" y="3308806"/>
            <a:ext cx="466800" cy="403600"/>
          </a:xfrm>
          <a:prstGeom prst="triangle">
            <a:avLst>
              <a:gd name="adj" fmla="val 50000"/>
            </a:avLst>
          </a:prstGeom>
          <a:solidFill>
            <a:schemeClr val="accent3"/>
          </a:solidFill>
          <a:ln w="19050">
            <a:solidFill>
              <a:srgbClr val="FFFFFF"/>
            </a:solidFill>
          </a:ln>
        </p:spPr>
        <p:txBody>
          <a:bodyPr spcFirstLastPara="1" wrap="square" lIns="121900" tIns="121900" rIns="121900" bIns="121900" anchor="ctr" anchorCtr="0">
            <a:noAutofit/>
          </a:bodyPr>
          <a:lstStyle/>
          <a:p>
            <a:pPr algn="l">
              <a:spcBef>
                <a:spcPts val="400"/>
              </a:spcBef>
              <a:spcAft>
                <a:spcPts val="400"/>
              </a:spcAft>
              <a:buClr>
                <a:srgbClr val="000000"/>
              </a:buClr>
              <a:buSzPts val="1100"/>
            </a:pPr>
            <a:endParaRPr lang="en-GB" sz="1867" dirty="0">
              <a:solidFill>
                <a:srgbClr val="FFFFFF"/>
              </a:solidFill>
              <a:latin typeface="+mn-lt"/>
            </a:endParaRPr>
          </a:p>
        </p:txBody>
      </p:sp>
    </p:spTree>
    <p:extLst>
      <p:ext uri="{BB962C8B-B14F-4D97-AF65-F5344CB8AC3E}">
        <p14:creationId xmlns:p14="http://schemas.microsoft.com/office/powerpoint/2010/main" val="140414762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9E285DE-3558-4252-87E2-206EF782AB52}"/>
              </a:ext>
            </a:extLst>
          </p:cNvPr>
          <p:cNvSpPr/>
          <p:nvPr/>
        </p:nvSpPr>
        <p:spPr bwMode="auto">
          <a:xfrm>
            <a:off x="1114742" y="3544584"/>
            <a:ext cx="2196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Lorem ipsum dolor sit amet, consectetur adipiscing elit. Aliquam eget scelerisque turpis</a:t>
            </a:r>
            <a:endParaRPr lang="en-GB" sz="1400" dirty="0">
              <a:solidFill>
                <a:schemeClr val="bg1">
                  <a:lumMod val="50000"/>
                </a:schemeClr>
              </a:solidFill>
            </a:endParaRPr>
          </a:p>
        </p:txBody>
      </p:sp>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vert="horz"/>
          <a:lstStyle/>
          <a:p>
            <a:r>
              <a:rPr lang="en-GB" dirty="0"/>
              <a:t>Timeline 4 years</a:t>
            </a:r>
          </a:p>
        </p:txBody>
      </p:sp>
      <p:cxnSp>
        <p:nvCxnSpPr>
          <p:cNvPr id="4" name="Connecteur droit avec flèche 3">
            <a:extLst>
              <a:ext uri="{FF2B5EF4-FFF2-40B4-BE49-F238E27FC236}">
                <a16:creationId xmlns:a16="http://schemas.microsoft.com/office/drawing/2014/main" id="{49703365-17C0-43CA-AB0C-7B5B0143D091}"/>
              </a:ext>
            </a:extLst>
          </p:cNvPr>
          <p:cNvCxnSpPr>
            <a:cxnSpLocks/>
          </p:cNvCxnSpPr>
          <p:nvPr/>
        </p:nvCxnSpPr>
        <p:spPr>
          <a:xfrm>
            <a:off x="835632" y="2877986"/>
            <a:ext cx="10376899" cy="0"/>
          </a:xfrm>
          <a:prstGeom prst="straightConnector1">
            <a:avLst/>
          </a:prstGeom>
          <a:ln w="1905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23185CB0-F749-4A72-B4E0-544D763E1FFD}"/>
              </a:ext>
            </a:extLst>
          </p:cNvPr>
          <p:cNvSpPr/>
          <p:nvPr/>
        </p:nvSpPr>
        <p:spPr bwMode="auto">
          <a:xfrm>
            <a:off x="125589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1" name="Ellipse 40">
            <a:extLst>
              <a:ext uri="{FF2B5EF4-FFF2-40B4-BE49-F238E27FC236}">
                <a16:creationId xmlns:a16="http://schemas.microsoft.com/office/drawing/2014/main" id="{44B8A1B4-CCAF-4522-8AA0-4FE9EE65DD9B}"/>
              </a:ext>
            </a:extLst>
          </p:cNvPr>
          <p:cNvSpPr/>
          <p:nvPr/>
        </p:nvSpPr>
        <p:spPr bwMode="auto">
          <a:xfrm>
            <a:off x="125589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17" name="Connecteur droit 16">
            <a:extLst>
              <a:ext uri="{FF2B5EF4-FFF2-40B4-BE49-F238E27FC236}">
                <a16:creationId xmlns:a16="http://schemas.microsoft.com/office/drawing/2014/main" id="{B1238653-A420-43B4-A044-6990C15846DB}"/>
              </a:ext>
            </a:extLst>
          </p:cNvPr>
          <p:cNvCxnSpPr>
            <a:stCxn id="9" idx="4"/>
            <a:endCxn id="41" idx="0"/>
          </p:cNvCxnSpPr>
          <p:nvPr/>
        </p:nvCxnSpPr>
        <p:spPr>
          <a:xfrm>
            <a:off x="132789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EA04B500-13C8-4C8F-8843-A4722A8229DD}"/>
              </a:ext>
            </a:extLst>
          </p:cNvPr>
          <p:cNvSpPr/>
          <p:nvPr/>
        </p:nvSpPr>
        <p:spPr bwMode="auto">
          <a:xfrm>
            <a:off x="1114741" y="2364020"/>
            <a:ext cx="1368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1</a:t>
            </a:r>
            <a:endParaRPr lang="en-GB" sz="1400" b="1" dirty="0">
              <a:solidFill>
                <a:schemeClr val="bg1"/>
              </a:solidFill>
            </a:endParaRPr>
          </a:p>
        </p:txBody>
      </p:sp>
      <p:sp>
        <p:nvSpPr>
          <p:cNvPr id="50" name="Rectangle 49">
            <a:extLst>
              <a:ext uri="{FF2B5EF4-FFF2-40B4-BE49-F238E27FC236}">
                <a16:creationId xmlns:a16="http://schemas.microsoft.com/office/drawing/2014/main" id="{5183B354-933C-482E-8B5F-0CC9A3A5F554}"/>
              </a:ext>
            </a:extLst>
          </p:cNvPr>
          <p:cNvSpPr/>
          <p:nvPr/>
        </p:nvSpPr>
        <p:spPr bwMode="auto">
          <a:xfrm>
            <a:off x="3659349" y="2364020"/>
            <a:ext cx="1368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2</a:t>
            </a:r>
            <a:endParaRPr lang="en-GB" sz="1400" b="1" dirty="0">
              <a:solidFill>
                <a:schemeClr val="bg1"/>
              </a:solidFill>
            </a:endParaRPr>
          </a:p>
        </p:txBody>
      </p:sp>
      <p:sp>
        <p:nvSpPr>
          <p:cNvPr id="51" name="Rectangle 50">
            <a:extLst>
              <a:ext uri="{FF2B5EF4-FFF2-40B4-BE49-F238E27FC236}">
                <a16:creationId xmlns:a16="http://schemas.microsoft.com/office/drawing/2014/main" id="{78334631-069E-4677-99CB-AA5B7227D7C1}"/>
              </a:ext>
            </a:extLst>
          </p:cNvPr>
          <p:cNvSpPr/>
          <p:nvPr/>
        </p:nvSpPr>
        <p:spPr bwMode="auto">
          <a:xfrm>
            <a:off x="6203957" y="2364020"/>
            <a:ext cx="1368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3</a:t>
            </a:r>
            <a:endParaRPr lang="en-GB" sz="1400" b="1" dirty="0">
              <a:solidFill>
                <a:schemeClr val="bg1"/>
              </a:solidFill>
            </a:endParaRPr>
          </a:p>
        </p:txBody>
      </p:sp>
      <p:sp>
        <p:nvSpPr>
          <p:cNvPr id="55" name="Rectangle 54">
            <a:extLst>
              <a:ext uri="{FF2B5EF4-FFF2-40B4-BE49-F238E27FC236}">
                <a16:creationId xmlns:a16="http://schemas.microsoft.com/office/drawing/2014/main" id="{CFA00330-2888-437A-B6A5-1B6A84CA5305}"/>
              </a:ext>
            </a:extLst>
          </p:cNvPr>
          <p:cNvSpPr/>
          <p:nvPr/>
        </p:nvSpPr>
        <p:spPr bwMode="auto">
          <a:xfrm>
            <a:off x="8748565" y="2364020"/>
            <a:ext cx="1368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4</a:t>
            </a:r>
            <a:endParaRPr lang="en-GB" sz="1400" b="1" dirty="0">
              <a:solidFill>
                <a:schemeClr val="bg1"/>
              </a:solidFill>
            </a:endParaRPr>
          </a:p>
        </p:txBody>
      </p:sp>
      <p:sp>
        <p:nvSpPr>
          <p:cNvPr id="69" name="Rectangle 68">
            <a:extLst>
              <a:ext uri="{FF2B5EF4-FFF2-40B4-BE49-F238E27FC236}">
                <a16:creationId xmlns:a16="http://schemas.microsoft.com/office/drawing/2014/main" id="{9E9899FF-E973-49FA-AD26-5C55BA7A71D8}"/>
              </a:ext>
            </a:extLst>
          </p:cNvPr>
          <p:cNvSpPr/>
          <p:nvPr/>
        </p:nvSpPr>
        <p:spPr bwMode="auto">
          <a:xfrm>
            <a:off x="3659071" y="3544584"/>
            <a:ext cx="2196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Lorem ipsum dolor sit amet, consectetur adipiscing elit. Aliquam eget scelerisque turpis</a:t>
            </a:r>
            <a:endParaRPr lang="en-GB" sz="1400" dirty="0">
              <a:solidFill>
                <a:schemeClr val="bg1">
                  <a:lumMod val="50000"/>
                </a:schemeClr>
              </a:solidFill>
            </a:endParaRPr>
          </a:p>
        </p:txBody>
      </p:sp>
      <p:sp>
        <p:nvSpPr>
          <p:cNvPr id="70" name="Ellipse 69">
            <a:extLst>
              <a:ext uri="{FF2B5EF4-FFF2-40B4-BE49-F238E27FC236}">
                <a16:creationId xmlns:a16="http://schemas.microsoft.com/office/drawing/2014/main" id="{3CFF1D57-DC8B-4BE6-8D2F-7271FB343CDA}"/>
              </a:ext>
            </a:extLst>
          </p:cNvPr>
          <p:cNvSpPr/>
          <p:nvPr/>
        </p:nvSpPr>
        <p:spPr bwMode="auto">
          <a:xfrm>
            <a:off x="3800224"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1" name="Ellipse 70">
            <a:extLst>
              <a:ext uri="{FF2B5EF4-FFF2-40B4-BE49-F238E27FC236}">
                <a16:creationId xmlns:a16="http://schemas.microsoft.com/office/drawing/2014/main" id="{B6C03A87-192A-49E5-B8AE-4442F79936FD}"/>
              </a:ext>
            </a:extLst>
          </p:cNvPr>
          <p:cNvSpPr/>
          <p:nvPr/>
        </p:nvSpPr>
        <p:spPr bwMode="auto">
          <a:xfrm>
            <a:off x="3800224"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2" name="Connecteur droit 71">
            <a:extLst>
              <a:ext uri="{FF2B5EF4-FFF2-40B4-BE49-F238E27FC236}">
                <a16:creationId xmlns:a16="http://schemas.microsoft.com/office/drawing/2014/main" id="{5FD66773-D524-43E6-A4D3-53D80CD9C8F4}"/>
              </a:ext>
            </a:extLst>
          </p:cNvPr>
          <p:cNvCxnSpPr>
            <a:stCxn id="70" idx="4"/>
            <a:endCxn id="71" idx="0"/>
          </p:cNvCxnSpPr>
          <p:nvPr/>
        </p:nvCxnSpPr>
        <p:spPr>
          <a:xfrm>
            <a:off x="3872224"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83A4287F-8581-4669-AAB1-36862E05C24D}"/>
              </a:ext>
            </a:extLst>
          </p:cNvPr>
          <p:cNvSpPr/>
          <p:nvPr/>
        </p:nvSpPr>
        <p:spPr bwMode="auto">
          <a:xfrm>
            <a:off x="6203400" y="3544584"/>
            <a:ext cx="2196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a:solidFill>
                  <a:schemeClr val="bg1">
                    <a:lumMod val="50000"/>
                  </a:schemeClr>
                </a:solidFill>
              </a:rPr>
              <a:t>Lorem ipsum dolor sit amet, consectetur adipiscing elit. Aliquam eget scelerisque turpis</a:t>
            </a:r>
            <a:endParaRPr lang="en-GB" sz="1400" dirty="0">
              <a:solidFill>
                <a:schemeClr val="bg1">
                  <a:lumMod val="50000"/>
                </a:schemeClr>
              </a:solidFill>
            </a:endParaRPr>
          </a:p>
        </p:txBody>
      </p:sp>
      <p:sp>
        <p:nvSpPr>
          <p:cNvPr id="74" name="Ellipse 73">
            <a:extLst>
              <a:ext uri="{FF2B5EF4-FFF2-40B4-BE49-F238E27FC236}">
                <a16:creationId xmlns:a16="http://schemas.microsoft.com/office/drawing/2014/main" id="{98C04256-6870-4940-982A-9EAA5677CD2A}"/>
              </a:ext>
            </a:extLst>
          </p:cNvPr>
          <p:cNvSpPr/>
          <p:nvPr/>
        </p:nvSpPr>
        <p:spPr bwMode="auto">
          <a:xfrm>
            <a:off x="6344553"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5" name="Ellipse 74">
            <a:extLst>
              <a:ext uri="{FF2B5EF4-FFF2-40B4-BE49-F238E27FC236}">
                <a16:creationId xmlns:a16="http://schemas.microsoft.com/office/drawing/2014/main" id="{BCD03FD5-CCCE-40DE-944B-95A1E58A9D01}"/>
              </a:ext>
            </a:extLst>
          </p:cNvPr>
          <p:cNvSpPr/>
          <p:nvPr/>
        </p:nvSpPr>
        <p:spPr bwMode="auto">
          <a:xfrm>
            <a:off x="6344553"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6" name="Connecteur droit 75">
            <a:extLst>
              <a:ext uri="{FF2B5EF4-FFF2-40B4-BE49-F238E27FC236}">
                <a16:creationId xmlns:a16="http://schemas.microsoft.com/office/drawing/2014/main" id="{88AC64CD-946A-40F6-9F2C-4B9989AA76C2}"/>
              </a:ext>
            </a:extLst>
          </p:cNvPr>
          <p:cNvCxnSpPr>
            <a:stCxn id="74" idx="4"/>
            <a:endCxn id="75" idx="0"/>
          </p:cNvCxnSpPr>
          <p:nvPr/>
        </p:nvCxnSpPr>
        <p:spPr>
          <a:xfrm>
            <a:off x="6416553"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1E2378E0-337C-4664-A5C2-5339E7418DD4}"/>
              </a:ext>
            </a:extLst>
          </p:cNvPr>
          <p:cNvSpPr/>
          <p:nvPr/>
        </p:nvSpPr>
        <p:spPr bwMode="auto">
          <a:xfrm>
            <a:off x="8747728" y="3544584"/>
            <a:ext cx="2196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86" name="Ellipse 85">
            <a:extLst>
              <a:ext uri="{FF2B5EF4-FFF2-40B4-BE49-F238E27FC236}">
                <a16:creationId xmlns:a16="http://schemas.microsoft.com/office/drawing/2014/main" id="{DB128031-AD4D-424C-A8D6-657C64066F3B}"/>
              </a:ext>
            </a:extLst>
          </p:cNvPr>
          <p:cNvSpPr/>
          <p:nvPr/>
        </p:nvSpPr>
        <p:spPr bwMode="auto">
          <a:xfrm>
            <a:off x="8888881"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87" name="Ellipse 86">
            <a:extLst>
              <a:ext uri="{FF2B5EF4-FFF2-40B4-BE49-F238E27FC236}">
                <a16:creationId xmlns:a16="http://schemas.microsoft.com/office/drawing/2014/main" id="{069761A1-7CF5-4C76-9A60-CA965347877C}"/>
              </a:ext>
            </a:extLst>
          </p:cNvPr>
          <p:cNvSpPr/>
          <p:nvPr/>
        </p:nvSpPr>
        <p:spPr bwMode="auto">
          <a:xfrm>
            <a:off x="8888881"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8" name="Connecteur droit 87">
            <a:extLst>
              <a:ext uri="{FF2B5EF4-FFF2-40B4-BE49-F238E27FC236}">
                <a16:creationId xmlns:a16="http://schemas.microsoft.com/office/drawing/2014/main" id="{5E9D4E0A-4102-4B63-8441-3220E97E5956}"/>
              </a:ext>
            </a:extLst>
          </p:cNvPr>
          <p:cNvCxnSpPr>
            <a:stCxn id="86" idx="4"/>
            <a:endCxn id="87" idx="0"/>
          </p:cNvCxnSpPr>
          <p:nvPr/>
        </p:nvCxnSpPr>
        <p:spPr>
          <a:xfrm>
            <a:off x="8960881"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28192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9E285DE-3558-4252-87E2-206EF782AB52}"/>
              </a:ext>
            </a:extLst>
          </p:cNvPr>
          <p:cNvSpPr/>
          <p:nvPr/>
        </p:nvSpPr>
        <p:spPr bwMode="auto">
          <a:xfrm>
            <a:off x="1114742" y="3544584"/>
            <a:ext cx="1764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vert="horz"/>
          <a:lstStyle/>
          <a:p>
            <a:r>
              <a:rPr lang="en-GB"/>
              <a:t>Timeline 5 years</a:t>
            </a:r>
            <a:endParaRPr lang="en-GB" dirty="0"/>
          </a:p>
        </p:txBody>
      </p:sp>
      <p:cxnSp>
        <p:nvCxnSpPr>
          <p:cNvPr id="4" name="Connecteur droit avec flèche 3">
            <a:extLst>
              <a:ext uri="{FF2B5EF4-FFF2-40B4-BE49-F238E27FC236}">
                <a16:creationId xmlns:a16="http://schemas.microsoft.com/office/drawing/2014/main" id="{49703365-17C0-43CA-AB0C-7B5B0143D091}"/>
              </a:ext>
            </a:extLst>
          </p:cNvPr>
          <p:cNvCxnSpPr>
            <a:cxnSpLocks/>
          </p:cNvCxnSpPr>
          <p:nvPr/>
        </p:nvCxnSpPr>
        <p:spPr>
          <a:xfrm>
            <a:off x="835632" y="2877986"/>
            <a:ext cx="10376899" cy="0"/>
          </a:xfrm>
          <a:prstGeom prst="straightConnector1">
            <a:avLst/>
          </a:prstGeom>
          <a:ln w="1905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23185CB0-F749-4A72-B4E0-544D763E1FFD}"/>
              </a:ext>
            </a:extLst>
          </p:cNvPr>
          <p:cNvSpPr/>
          <p:nvPr/>
        </p:nvSpPr>
        <p:spPr bwMode="auto">
          <a:xfrm>
            <a:off x="125589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1" name="Ellipse 40">
            <a:extLst>
              <a:ext uri="{FF2B5EF4-FFF2-40B4-BE49-F238E27FC236}">
                <a16:creationId xmlns:a16="http://schemas.microsoft.com/office/drawing/2014/main" id="{44B8A1B4-CCAF-4522-8AA0-4FE9EE65DD9B}"/>
              </a:ext>
            </a:extLst>
          </p:cNvPr>
          <p:cNvSpPr/>
          <p:nvPr/>
        </p:nvSpPr>
        <p:spPr bwMode="auto">
          <a:xfrm>
            <a:off x="125589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17" name="Connecteur droit 16">
            <a:extLst>
              <a:ext uri="{FF2B5EF4-FFF2-40B4-BE49-F238E27FC236}">
                <a16:creationId xmlns:a16="http://schemas.microsoft.com/office/drawing/2014/main" id="{B1238653-A420-43B4-A044-6990C15846DB}"/>
              </a:ext>
            </a:extLst>
          </p:cNvPr>
          <p:cNvCxnSpPr>
            <a:stCxn id="9" idx="4"/>
            <a:endCxn id="41" idx="0"/>
          </p:cNvCxnSpPr>
          <p:nvPr/>
        </p:nvCxnSpPr>
        <p:spPr>
          <a:xfrm>
            <a:off x="132789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EA04B500-13C8-4C8F-8843-A4722A8229DD}"/>
              </a:ext>
            </a:extLst>
          </p:cNvPr>
          <p:cNvSpPr/>
          <p:nvPr/>
        </p:nvSpPr>
        <p:spPr bwMode="auto">
          <a:xfrm>
            <a:off x="1114741" y="2364020"/>
            <a:ext cx="1152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1</a:t>
            </a:r>
            <a:endParaRPr lang="en-GB" sz="1400" b="1" dirty="0">
              <a:solidFill>
                <a:schemeClr val="bg1"/>
              </a:solidFill>
            </a:endParaRPr>
          </a:p>
        </p:txBody>
      </p:sp>
      <p:sp>
        <p:nvSpPr>
          <p:cNvPr id="50" name="Rectangle 49">
            <a:extLst>
              <a:ext uri="{FF2B5EF4-FFF2-40B4-BE49-F238E27FC236}">
                <a16:creationId xmlns:a16="http://schemas.microsoft.com/office/drawing/2014/main" id="{5183B354-933C-482E-8B5F-0CC9A3A5F554}"/>
              </a:ext>
            </a:extLst>
          </p:cNvPr>
          <p:cNvSpPr/>
          <p:nvPr/>
        </p:nvSpPr>
        <p:spPr bwMode="auto">
          <a:xfrm>
            <a:off x="3141746" y="2364020"/>
            <a:ext cx="1152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2</a:t>
            </a:r>
            <a:endParaRPr lang="en-GB" sz="1400" b="1" dirty="0">
              <a:solidFill>
                <a:schemeClr val="bg1"/>
              </a:solidFill>
            </a:endParaRPr>
          </a:p>
        </p:txBody>
      </p:sp>
      <p:sp>
        <p:nvSpPr>
          <p:cNvPr id="51" name="Rectangle 50">
            <a:extLst>
              <a:ext uri="{FF2B5EF4-FFF2-40B4-BE49-F238E27FC236}">
                <a16:creationId xmlns:a16="http://schemas.microsoft.com/office/drawing/2014/main" id="{78334631-069E-4677-99CB-AA5B7227D7C1}"/>
              </a:ext>
            </a:extLst>
          </p:cNvPr>
          <p:cNvSpPr/>
          <p:nvPr/>
        </p:nvSpPr>
        <p:spPr bwMode="auto">
          <a:xfrm>
            <a:off x="5168751" y="2364020"/>
            <a:ext cx="1152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3</a:t>
            </a:r>
            <a:endParaRPr lang="en-GB" sz="1400" b="1" dirty="0">
              <a:solidFill>
                <a:schemeClr val="bg1"/>
              </a:solidFill>
            </a:endParaRPr>
          </a:p>
        </p:txBody>
      </p:sp>
      <p:sp>
        <p:nvSpPr>
          <p:cNvPr id="53" name="Rectangle 52">
            <a:extLst>
              <a:ext uri="{FF2B5EF4-FFF2-40B4-BE49-F238E27FC236}">
                <a16:creationId xmlns:a16="http://schemas.microsoft.com/office/drawing/2014/main" id="{A6A80512-8040-4100-96AD-FBD2F2CE059E}"/>
              </a:ext>
            </a:extLst>
          </p:cNvPr>
          <p:cNvSpPr/>
          <p:nvPr/>
        </p:nvSpPr>
        <p:spPr bwMode="auto">
          <a:xfrm>
            <a:off x="7195756" y="2364020"/>
            <a:ext cx="1152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4</a:t>
            </a:r>
            <a:endParaRPr lang="en-GB" sz="1400" b="1" dirty="0">
              <a:solidFill>
                <a:schemeClr val="bg1"/>
              </a:solidFill>
            </a:endParaRPr>
          </a:p>
        </p:txBody>
      </p:sp>
      <p:sp>
        <p:nvSpPr>
          <p:cNvPr id="55" name="Rectangle 54">
            <a:extLst>
              <a:ext uri="{FF2B5EF4-FFF2-40B4-BE49-F238E27FC236}">
                <a16:creationId xmlns:a16="http://schemas.microsoft.com/office/drawing/2014/main" id="{CFA00330-2888-437A-B6A5-1B6A84CA5305}"/>
              </a:ext>
            </a:extLst>
          </p:cNvPr>
          <p:cNvSpPr/>
          <p:nvPr/>
        </p:nvSpPr>
        <p:spPr bwMode="auto">
          <a:xfrm>
            <a:off x="9222759" y="2364020"/>
            <a:ext cx="1152000"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5</a:t>
            </a:r>
            <a:endParaRPr lang="en-GB" sz="1400" b="1" dirty="0">
              <a:solidFill>
                <a:schemeClr val="bg1"/>
              </a:solidFill>
            </a:endParaRPr>
          </a:p>
        </p:txBody>
      </p:sp>
      <p:sp>
        <p:nvSpPr>
          <p:cNvPr id="69" name="Rectangle 68">
            <a:extLst>
              <a:ext uri="{FF2B5EF4-FFF2-40B4-BE49-F238E27FC236}">
                <a16:creationId xmlns:a16="http://schemas.microsoft.com/office/drawing/2014/main" id="{9E9899FF-E973-49FA-AD26-5C55BA7A71D8}"/>
              </a:ext>
            </a:extLst>
          </p:cNvPr>
          <p:cNvSpPr/>
          <p:nvPr/>
        </p:nvSpPr>
        <p:spPr bwMode="auto">
          <a:xfrm>
            <a:off x="3141537" y="3544584"/>
            <a:ext cx="1764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0" name="Ellipse 69">
            <a:extLst>
              <a:ext uri="{FF2B5EF4-FFF2-40B4-BE49-F238E27FC236}">
                <a16:creationId xmlns:a16="http://schemas.microsoft.com/office/drawing/2014/main" id="{3CFF1D57-DC8B-4BE6-8D2F-7271FB343CDA}"/>
              </a:ext>
            </a:extLst>
          </p:cNvPr>
          <p:cNvSpPr/>
          <p:nvPr/>
        </p:nvSpPr>
        <p:spPr bwMode="auto">
          <a:xfrm>
            <a:off x="3282690"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1" name="Ellipse 70">
            <a:extLst>
              <a:ext uri="{FF2B5EF4-FFF2-40B4-BE49-F238E27FC236}">
                <a16:creationId xmlns:a16="http://schemas.microsoft.com/office/drawing/2014/main" id="{B6C03A87-192A-49E5-B8AE-4442F79936FD}"/>
              </a:ext>
            </a:extLst>
          </p:cNvPr>
          <p:cNvSpPr/>
          <p:nvPr/>
        </p:nvSpPr>
        <p:spPr bwMode="auto">
          <a:xfrm>
            <a:off x="3282690"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2" name="Connecteur droit 71">
            <a:extLst>
              <a:ext uri="{FF2B5EF4-FFF2-40B4-BE49-F238E27FC236}">
                <a16:creationId xmlns:a16="http://schemas.microsoft.com/office/drawing/2014/main" id="{5FD66773-D524-43E6-A4D3-53D80CD9C8F4}"/>
              </a:ext>
            </a:extLst>
          </p:cNvPr>
          <p:cNvCxnSpPr>
            <a:stCxn id="70" idx="4"/>
            <a:endCxn id="71" idx="0"/>
          </p:cNvCxnSpPr>
          <p:nvPr/>
        </p:nvCxnSpPr>
        <p:spPr>
          <a:xfrm>
            <a:off x="3354690"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83A4287F-8581-4669-AAB1-36862E05C24D}"/>
              </a:ext>
            </a:extLst>
          </p:cNvPr>
          <p:cNvSpPr/>
          <p:nvPr/>
        </p:nvSpPr>
        <p:spPr bwMode="auto">
          <a:xfrm>
            <a:off x="5168332" y="3544584"/>
            <a:ext cx="1764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4" name="Ellipse 73">
            <a:extLst>
              <a:ext uri="{FF2B5EF4-FFF2-40B4-BE49-F238E27FC236}">
                <a16:creationId xmlns:a16="http://schemas.microsoft.com/office/drawing/2014/main" id="{98C04256-6870-4940-982A-9EAA5677CD2A}"/>
              </a:ext>
            </a:extLst>
          </p:cNvPr>
          <p:cNvSpPr/>
          <p:nvPr/>
        </p:nvSpPr>
        <p:spPr bwMode="auto">
          <a:xfrm>
            <a:off x="530948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5" name="Ellipse 74">
            <a:extLst>
              <a:ext uri="{FF2B5EF4-FFF2-40B4-BE49-F238E27FC236}">
                <a16:creationId xmlns:a16="http://schemas.microsoft.com/office/drawing/2014/main" id="{BCD03FD5-CCCE-40DE-944B-95A1E58A9D01}"/>
              </a:ext>
            </a:extLst>
          </p:cNvPr>
          <p:cNvSpPr/>
          <p:nvPr/>
        </p:nvSpPr>
        <p:spPr bwMode="auto">
          <a:xfrm>
            <a:off x="530948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6" name="Connecteur droit 75">
            <a:extLst>
              <a:ext uri="{FF2B5EF4-FFF2-40B4-BE49-F238E27FC236}">
                <a16:creationId xmlns:a16="http://schemas.microsoft.com/office/drawing/2014/main" id="{88AC64CD-946A-40F6-9F2C-4B9989AA76C2}"/>
              </a:ext>
            </a:extLst>
          </p:cNvPr>
          <p:cNvCxnSpPr>
            <a:stCxn id="74" idx="4"/>
            <a:endCxn id="75" idx="0"/>
          </p:cNvCxnSpPr>
          <p:nvPr/>
        </p:nvCxnSpPr>
        <p:spPr>
          <a:xfrm>
            <a:off x="538148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8B19F706-25F1-4EA4-91B3-ECDC08CC345F}"/>
              </a:ext>
            </a:extLst>
          </p:cNvPr>
          <p:cNvSpPr/>
          <p:nvPr/>
        </p:nvSpPr>
        <p:spPr bwMode="auto">
          <a:xfrm>
            <a:off x="7195127" y="3544584"/>
            <a:ext cx="1764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8" name="Ellipse 77">
            <a:extLst>
              <a:ext uri="{FF2B5EF4-FFF2-40B4-BE49-F238E27FC236}">
                <a16:creationId xmlns:a16="http://schemas.microsoft.com/office/drawing/2014/main" id="{2D9100B5-306D-4639-9F60-ADDF65F8DF0F}"/>
              </a:ext>
            </a:extLst>
          </p:cNvPr>
          <p:cNvSpPr/>
          <p:nvPr/>
        </p:nvSpPr>
        <p:spPr bwMode="auto">
          <a:xfrm>
            <a:off x="7336280"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9" name="Ellipse 78">
            <a:extLst>
              <a:ext uri="{FF2B5EF4-FFF2-40B4-BE49-F238E27FC236}">
                <a16:creationId xmlns:a16="http://schemas.microsoft.com/office/drawing/2014/main" id="{854535F0-AEEE-4236-A0FD-6959CCEEE462}"/>
              </a:ext>
            </a:extLst>
          </p:cNvPr>
          <p:cNvSpPr/>
          <p:nvPr/>
        </p:nvSpPr>
        <p:spPr bwMode="auto">
          <a:xfrm>
            <a:off x="7336280"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0" name="Connecteur droit 79">
            <a:extLst>
              <a:ext uri="{FF2B5EF4-FFF2-40B4-BE49-F238E27FC236}">
                <a16:creationId xmlns:a16="http://schemas.microsoft.com/office/drawing/2014/main" id="{1EF72898-CF0C-4E05-84FB-DBA86C71123D}"/>
              </a:ext>
            </a:extLst>
          </p:cNvPr>
          <p:cNvCxnSpPr>
            <a:stCxn id="78" idx="4"/>
            <a:endCxn id="79" idx="0"/>
          </p:cNvCxnSpPr>
          <p:nvPr/>
        </p:nvCxnSpPr>
        <p:spPr>
          <a:xfrm>
            <a:off x="7408280"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1E2378E0-337C-4664-A5C2-5339E7418DD4}"/>
              </a:ext>
            </a:extLst>
          </p:cNvPr>
          <p:cNvSpPr/>
          <p:nvPr/>
        </p:nvSpPr>
        <p:spPr bwMode="auto">
          <a:xfrm>
            <a:off x="9221922" y="3544584"/>
            <a:ext cx="1764000"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86" name="Ellipse 85">
            <a:extLst>
              <a:ext uri="{FF2B5EF4-FFF2-40B4-BE49-F238E27FC236}">
                <a16:creationId xmlns:a16="http://schemas.microsoft.com/office/drawing/2014/main" id="{DB128031-AD4D-424C-A8D6-657C64066F3B}"/>
              </a:ext>
            </a:extLst>
          </p:cNvPr>
          <p:cNvSpPr/>
          <p:nvPr/>
        </p:nvSpPr>
        <p:spPr bwMode="auto">
          <a:xfrm>
            <a:off x="936307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87" name="Ellipse 86">
            <a:extLst>
              <a:ext uri="{FF2B5EF4-FFF2-40B4-BE49-F238E27FC236}">
                <a16:creationId xmlns:a16="http://schemas.microsoft.com/office/drawing/2014/main" id="{069761A1-7CF5-4C76-9A60-CA965347877C}"/>
              </a:ext>
            </a:extLst>
          </p:cNvPr>
          <p:cNvSpPr/>
          <p:nvPr/>
        </p:nvSpPr>
        <p:spPr bwMode="auto">
          <a:xfrm>
            <a:off x="936307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8" name="Connecteur droit 87">
            <a:extLst>
              <a:ext uri="{FF2B5EF4-FFF2-40B4-BE49-F238E27FC236}">
                <a16:creationId xmlns:a16="http://schemas.microsoft.com/office/drawing/2014/main" id="{5E9D4E0A-4102-4B63-8441-3220E97E5956}"/>
              </a:ext>
            </a:extLst>
          </p:cNvPr>
          <p:cNvCxnSpPr>
            <a:cxnSpLocks/>
            <a:stCxn id="86" idx="4"/>
            <a:endCxn id="87" idx="0"/>
          </p:cNvCxnSpPr>
          <p:nvPr/>
        </p:nvCxnSpPr>
        <p:spPr>
          <a:xfrm>
            <a:off x="943507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98123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FFDFD82-3A48-4994-B10E-4558F77FB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2FFDFD82-3A48-4994-B10E-4558F77FBC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9E285DE-3558-4252-87E2-206EF782AB52}"/>
              </a:ext>
            </a:extLst>
          </p:cNvPr>
          <p:cNvSpPr/>
          <p:nvPr/>
        </p:nvSpPr>
        <p:spPr bwMode="auto">
          <a:xfrm>
            <a:off x="1114742"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12" name="Rectangle 11" hidden="1">
            <a:extLst>
              <a:ext uri="{FF2B5EF4-FFF2-40B4-BE49-F238E27FC236}">
                <a16:creationId xmlns:a16="http://schemas.microsoft.com/office/drawing/2014/main" id="{B9B2D8D9-9FDF-44F7-984B-C13DEB08901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2">
            <a:extLst>
              <a:ext uri="{FF2B5EF4-FFF2-40B4-BE49-F238E27FC236}">
                <a16:creationId xmlns:a16="http://schemas.microsoft.com/office/drawing/2014/main" id="{F40DE25A-D1AE-4172-9C39-97AF5AE561CC}"/>
              </a:ext>
            </a:extLst>
          </p:cNvPr>
          <p:cNvSpPr>
            <a:spLocks noGrp="1"/>
          </p:cNvSpPr>
          <p:nvPr>
            <p:ph type="title"/>
          </p:nvPr>
        </p:nvSpPr>
        <p:spPr/>
        <p:txBody>
          <a:bodyPr vert="horz"/>
          <a:lstStyle/>
          <a:p>
            <a:r>
              <a:rPr lang="en-GB"/>
              <a:t>Timeline 6 years</a:t>
            </a:r>
            <a:endParaRPr lang="en-GB" dirty="0"/>
          </a:p>
        </p:txBody>
      </p:sp>
      <p:cxnSp>
        <p:nvCxnSpPr>
          <p:cNvPr id="4" name="Connecteur droit avec flèche 3">
            <a:extLst>
              <a:ext uri="{FF2B5EF4-FFF2-40B4-BE49-F238E27FC236}">
                <a16:creationId xmlns:a16="http://schemas.microsoft.com/office/drawing/2014/main" id="{49703365-17C0-43CA-AB0C-7B5B0143D091}"/>
              </a:ext>
            </a:extLst>
          </p:cNvPr>
          <p:cNvCxnSpPr>
            <a:cxnSpLocks/>
          </p:cNvCxnSpPr>
          <p:nvPr/>
        </p:nvCxnSpPr>
        <p:spPr>
          <a:xfrm>
            <a:off x="835632" y="2877986"/>
            <a:ext cx="10376899" cy="0"/>
          </a:xfrm>
          <a:prstGeom prst="straightConnector1">
            <a:avLst/>
          </a:prstGeom>
          <a:ln w="1905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23185CB0-F749-4A72-B4E0-544D763E1FFD}"/>
              </a:ext>
            </a:extLst>
          </p:cNvPr>
          <p:cNvSpPr/>
          <p:nvPr/>
        </p:nvSpPr>
        <p:spPr bwMode="auto">
          <a:xfrm>
            <a:off x="125589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1" name="Ellipse 40">
            <a:extLst>
              <a:ext uri="{FF2B5EF4-FFF2-40B4-BE49-F238E27FC236}">
                <a16:creationId xmlns:a16="http://schemas.microsoft.com/office/drawing/2014/main" id="{44B8A1B4-CCAF-4522-8AA0-4FE9EE65DD9B}"/>
              </a:ext>
            </a:extLst>
          </p:cNvPr>
          <p:cNvSpPr/>
          <p:nvPr/>
        </p:nvSpPr>
        <p:spPr bwMode="auto">
          <a:xfrm>
            <a:off x="125589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17" name="Connecteur droit 16">
            <a:extLst>
              <a:ext uri="{FF2B5EF4-FFF2-40B4-BE49-F238E27FC236}">
                <a16:creationId xmlns:a16="http://schemas.microsoft.com/office/drawing/2014/main" id="{B1238653-A420-43B4-A044-6990C15846DB}"/>
              </a:ext>
            </a:extLst>
          </p:cNvPr>
          <p:cNvCxnSpPr>
            <a:stCxn id="9" idx="4"/>
            <a:endCxn id="41" idx="0"/>
          </p:cNvCxnSpPr>
          <p:nvPr/>
        </p:nvCxnSpPr>
        <p:spPr>
          <a:xfrm>
            <a:off x="132789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EA04B500-13C8-4C8F-8843-A4722A8229DD}"/>
              </a:ext>
            </a:extLst>
          </p:cNvPr>
          <p:cNvSpPr/>
          <p:nvPr/>
        </p:nvSpPr>
        <p:spPr bwMode="auto">
          <a:xfrm>
            <a:off x="1114742"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1</a:t>
            </a:r>
            <a:endParaRPr lang="en-GB" sz="1400" b="1" dirty="0">
              <a:solidFill>
                <a:schemeClr val="bg1"/>
              </a:solidFill>
            </a:endParaRPr>
          </a:p>
        </p:txBody>
      </p:sp>
      <p:sp>
        <p:nvSpPr>
          <p:cNvPr id="50" name="Rectangle 49">
            <a:extLst>
              <a:ext uri="{FF2B5EF4-FFF2-40B4-BE49-F238E27FC236}">
                <a16:creationId xmlns:a16="http://schemas.microsoft.com/office/drawing/2014/main" id="{5183B354-933C-482E-8B5F-0CC9A3A5F554}"/>
              </a:ext>
            </a:extLst>
          </p:cNvPr>
          <p:cNvSpPr/>
          <p:nvPr/>
        </p:nvSpPr>
        <p:spPr bwMode="auto">
          <a:xfrm>
            <a:off x="2736346"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2</a:t>
            </a:r>
            <a:endParaRPr lang="en-GB" sz="1400" b="1" dirty="0">
              <a:solidFill>
                <a:schemeClr val="bg1"/>
              </a:solidFill>
            </a:endParaRPr>
          </a:p>
        </p:txBody>
      </p:sp>
      <p:sp>
        <p:nvSpPr>
          <p:cNvPr id="51" name="Rectangle 50">
            <a:extLst>
              <a:ext uri="{FF2B5EF4-FFF2-40B4-BE49-F238E27FC236}">
                <a16:creationId xmlns:a16="http://schemas.microsoft.com/office/drawing/2014/main" id="{78334631-069E-4677-99CB-AA5B7227D7C1}"/>
              </a:ext>
            </a:extLst>
          </p:cNvPr>
          <p:cNvSpPr/>
          <p:nvPr/>
        </p:nvSpPr>
        <p:spPr bwMode="auto">
          <a:xfrm>
            <a:off x="4357950"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3</a:t>
            </a:r>
            <a:endParaRPr lang="en-GB" sz="1400" b="1" dirty="0">
              <a:solidFill>
                <a:schemeClr val="bg1"/>
              </a:solidFill>
            </a:endParaRPr>
          </a:p>
        </p:txBody>
      </p:sp>
      <p:sp>
        <p:nvSpPr>
          <p:cNvPr id="53" name="Rectangle 52">
            <a:extLst>
              <a:ext uri="{FF2B5EF4-FFF2-40B4-BE49-F238E27FC236}">
                <a16:creationId xmlns:a16="http://schemas.microsoft.com/office/drawing/2014/main" id="{A6A80512-8040-4100-96AD-FBD2F2CE059E}"/>
              </a:ext>
            </a:extLst>
          </p:cNvPr>
          <p:cNvSpPr/>
          <p:nvPr/>
        </p:nvSpPr>
        <p:spPr bwMode="auto">
          <a:xfrm>
            <a:off x="5979556"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4</a:t>
            </a:r>
            <a:endParaRPr lang="en-GB" sz="1400" b="1" dirty="0">
              <a:solidFill>
                <a:schemeClr val="bg1"/>
              </a:solidFill>
            </a:endParaRPr>
          </a:p>
        </p:txBody>
      </p:sp>
      <p:sp>
        <p:nvSpPr>
          <p:cNvPr id="54" name="Rectangle 53">
            <a:extLst>
              <a:ext uri="{FF2B5EF4-FFF2-40B4-BE49-F238E27FC236}">
                <a16:creationId xmlns:a16="http://schemas.microsoft.com/office/drawing/2014/main" id="{2F11AD4A-35D2-4204-A052-728CBC51D31B}"/>
              </a:ext>
            </a:extLst>
          </p:cNvPr>
          <p:cNvSpPr/>
          <p:nvPr/>
        </p:nvSpPr>
        <p:spPr bwMode="auto">
          <a:xfrm>
            <a:off x="7601158"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5</a:t>
            </a:r>
            <a:endParaRPr lang="en-GB" sz="1400" b="1" dirty="0">
              <a:solidFill>
                <a:schemeClr val="bg1"/>
              </a:solidFill>
            </a:endParaRPr>
          </a:p>
        </p:txBody>
      </p:sp>
      <p:sp>
        <p:nvSpPr>
          <p:cNvPr id="55" name="Rectangle 54">
            <a:extLst>
              <a:ext uri="{FF2B5EF4-FFF2-40B4-BE49-F238E27FC236}">
                <a16:creationId xmlns:a16="http://schemas.microsoft.com/office/drawing/2014/main" id="{CFA00330-2888-437A-B6A5-1B6A84CA5305}"/>
              </a:ext>
            </a:extLst>
          </p:cNvPr>
          <p:cNvSpPr/>
          <p:nvPr/>
        </p:nvSpPr>
        <p:spPr bwMode="auto">
          <a:xfrm>
            <a:off x="9222760" y="2364020"/>
            <a:ext cx="931395" cy="30232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a:solidFill>
                  <a:schemeClr val="bg1"/>
                </a:solidFill>
              </a:rPr>
              <a:t>Year 6</a:t>
            </a:r>
            <a:endParaRPr lang="en-GB" sz="1400" b="1" dirty="0">
              <a:solidFill>
                <a:schemeClr val="bg1"/>
              </a:solidFill>
            </a:endParaRPr>
          </a:p>
        </p:txBody>
      </p:sp>
      <p:sp>
        <p:nvSpPr>
          <p:cNvPr id="69" name="Rectangle 68">
            <a:extLst>
              <a:ext uri="{FF2B5EF4-FFF2-40B4-BE49-F238E27FC236}">
                <a16:creationId xmlns:a16="http://schemas.microsoft.com/office/drawing/2014/main" id="{9E9899FF-E973-49FA-AD26-5C55BA7A71D8}"/>
              </a:ext>
            </a:extLst>
          </p:cNvPr>
          <p:cNvSpPr/>
          <p:nvPr/>
        </p:nvSpPr>
        <p:spPr bwMode="auto">
          <a:xfrm>
            <a:off x="2732917"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0" name="Ellipse 69">
            <a:extLst>
              <a:ext uri="{FF2B5EF4-FFF2-40B4-BE49-F238E27FC236}">
                <a16:creationId xmlns:a16="http://schemas.microsoft.com/office/drawing/2014/main" id="{3CFF1D57-DC8B-4BE6-8D2F-7271FB343CDA}"/>
              </a:ext>
            </a:extLst>
          </p:cNvPr>
          <p:cNvSpPr/>
          <p:nvPr/>
        </p:nvSpPr>
        <p:spPr bwMode="auto">
          <a:xfrm>
            <a:off x="2874070"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1" name="Ellipse 70">
            <a:extLst>
              <a:ext uri="{FF2B5EF4-FFF2-40B4-BE49-F238E27FC236}">
                <a16:creationId xmlns:a16="http://schemas.microsoft.com/office/drawing/2014/main" id="{B6C03A87-192A-49E5-B8AE-4442F79936FD}"/>
              </a:ext>
            </a:extLst>
          </p:cNvPr>
          <p:cNvSpPr/>
          <p:nvPr/>
        </p:nvSpPr>
        <p:spPr bwMode="auto">
          <a:xfrm>
            <a:off x="2874070"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2" name="Connecteur droit 71">
            <a:extLst>
              <a:ext uri="{FF2B5EF4-FFF2-40B4-BE49-F238E27FC236}">
                <a16:creationId xmlns:a16="http://schemas.microsoft.com/office/drawing/2014/main" id="{5FD66773-D524-43E6-A4D3-53D80CD9C8F4}"/>
              </a:ext>
            </a:extLst>
          </p:cNvPr>
          <p:cNvCxnSpPr>
            <a:stCxn id="70" idx="4"/>
            <a:endCxn id="71" idx="0"/>
          </p:cNvCxnSpPr>
          <p:nvPr/>
        </p:nvCxnSpPr>
        <p:spPr>
          <a:xfrm>
            <a:off x="2946070"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83A4287F-8581-4669-AAB1-36862E05C24D}"/>
              </a:ext>
            </a:extLst>
          </p:cNvPr>
          <p:cNvSpPr/>
          <p:nvPr/>
        </p:nvSpPr>
        <p:spPr bwMode="auto">
          <a:xfrm>
            <a:off x="4357951"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4" name="Ellipse 73">
            <a:extLst>
              <a:ext uri="{FF2B5EF4-FFF2-40B4-BE49-F238E27FC236}">
                <a16:creationId xmlns:a16="http://schemas.microsoft.com/office/drawing/2014/main" id="{98C04256-6870-4940-982A-9EAA5677CD2A}"/>
              </a:ext>
            </a:extLst>
          </p:cNvPr>
          <p:cNvSpPr/>
          <p:nvPr/>
        </p:nvSpPr>
        <p:spPr bwMode="auto">
          <a:xfrm>
            <a:off x="4499104"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5" name="Ellipse 74">
            <a:extLst>
              <a:ext uri="{FF2B5EF4-FFF2-40B4-BE49-F238E27FC236}">
                <a16:creationId xmlns:a16="http://schemas.microsoft.com/office/drawing/2014/main" id="{BCD03FD5-CCCE-40DE-944B-95A1E58A9D01}"/>
              </a:ext>
            </a:extLst>
          </p:cNvPr>
          <p:cNvSpPr/>
          <p:nvPr/>
        </p:nvSpPr>
        <p:spPr bwMode="auto">
          <a:xfrm>
            <a:off x="4499104"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76" name="Connecteur droit 75">
            <a:extLst>
              <a:ext uri="{FF2B5EF4-FFF2-40B4-BE49-F238E27FC236}">
                <a16:creationId xmlns:a16="http://schemas.microsoft.com/office/drawing/2014/main" id="{88AC64CD-946A-40F6-9F2C-4B9989AA76C2}"/>
              </a:ext>
            </a:extLst>
          </p:cNvPr>
          <p:cNvCxnSpPr>
            <a:stCxn id="74" idx="4"/>
            <a:endCxn id="75" idx="0"/>
          </p:cNvCxnSpPr>
          <p:nvPr/>
        </p:nvCxnSpPr>
        <p:spPr>
          <a:xfrm>
            <a:off x="4571104"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8B19F706-25F1-4EA4-91B3-ECDC08CC345F}"/>
              </a:ext>
            </a:extLst>
          </p:cNvPr>
          <p:cNvSpPr/>
          <p:nvPr/>
        </p:nvSpPr>
        <p:spPr bwMode="auto">
          <a:xfrm>
            <a:off x="5982986"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78" name="Ellipse 77">
            <a:extLst>
              <a:ext uri="{FF2B5EF4-FFF2-40B4-BE49-F238E27FC236}">
                <a16:creationId xmlns:a16="http://schemas.microsoft.com/office/drawing/2014/main" id="{2D9100B5-306D-4639-9F60-ADDF65F8DF0F}"/>
              </a:ext>
            </a:extLst>
          </p:cNvPr>
          <p:cNvSpPr/>
          <p:nvPr/>
        </p:nvSpPr>
        <p:spPr bwMode="auto">
          <a:xfrm>
            <a:off x="6124139"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79" name="Ellipse 78">
            <a:extLst>
              <a:ext uri="{FF2B5EF4-FFF2-40B4-BE49-F238E27FC236}">
                <a16:creationId xmlns:a16="http://schemas.microsoft.com/office/drawing/2014/main" id="{854535F0-AEEE-4236-A0FD-6959CCEEE462}"/>
              </a:ext>
            </a:extLst>
          </p:cNvPr>
          <p:cNvSpPr/>
          <p:nvPr/>
        </p:nvSpPr>
        <p:spPr bwMode="auto">
          <a:xfrm>
            <a:off x="6124139"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0" name="Connecteur droit 79">
            <a:extLst>
              <a:ext uri="{FF2B5EF4-FFF2-40B4-BE49-F238E27FC236}">
                <a16:creationId xmlns:a16="http://schemas.microsoft.com/office/drawing/2014/main" id="{1EF72898-CF0C-4E05-84FB-DBA86C71123D}"/>
              </a:ext>
            </a:extLst>
          </p:cNvPr>
          <p:cNvCxnSpPr>
            <a:stCxn id="78" idx="4"/>
            <a:endCxn id="79" idx="0"/>
          </p:cNvCxnSpPr>
          <p:nvPr/>
        </p:nvCxnSpPr>
        <p:spPr>
          <a:xfrm>
            <a:off x="6196139"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E98E1110-402E-4E30-AB28-DFF028572491}"/>
              </a:ext>
            </a:extLst>
          </p:cNvPr>
          <p:cNvSpPr/>
          <p:nvPr/>
        </p:nvSpPr>
        <p:spPr bwMode="auto">
          <a:xfrm>
            <a:off x="7601159"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82" name="Ellipse 81">
            <a:extLst>
              <a:ext uri="{FF2B5EF4-FFF2-40B4-BE49-F238E27FC236}">
                <a16:creationId xmlns:a16="http://schemas.microsoft.com/office/drawing/2014/main" id="{B8C0320B-5A03-4FD8-BF36-4B40CA10E3C0}"/>
              </a:ext>
            </a:extLst>
          </p:cNvPr>
          <p:cNvSpPr/>
          <p:nvPr/>
        </p:nvSpPr>
        <p:spPr bwMode="auto">
          <a:xfrm>
            <a:off x="7742312"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83" name="Ellipse 82">
            <a:extLst>
              <a:ext uri="{FF2B5EF4-FFF2-40B4-BE49-F238E27FC236}">
                <a16:creationId xmlns:a16="http://schemas.microsoft.com/office/drawing/2014/main" id="{497DA308-8260-405A-93F8-969932542A53}"/>
              </a:ext>
            </a:extLst>
          </p:cNvPr>
          <p:cNvSpPr/>
          <p:nvPr/>
        </p:nvSpPr>
        <p:spPr bwMode="auto">
          <a:xfrm>
            <a:off x="7742312"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4" name="Connecteur droit 83">
            <a:extLst>
              <a:ext uri="{FF2B5EF4-FFF2-40B4-BE49-F238E27FC236}">
                <a16:creationId xmlns:a16="http://schemas.microsoft.com/office/drawing/2014/main" id="{C736358A-C9C0-46B9-A98C-C2707FC277E5}"/>
              </a:ext>
            </a:extLst>
          </p:cNvPr>
          <p:cNvCxnSpPr>
            <a:stCxn id="82" idx="4"/>
            <a:endCxn id="83" idx="0"/>
          </p:cNvCxnSpPr>
          <p:nvPr/>
        </p:nvCxnSpPr>
        <p:spPr>
          <a:xfrm>
            <a:off x="7814312"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1E2378E0-337C-4664-A5C2-5339E7418DD4}"/>
              </a:ext>
            </a:extLst>
          </p:cNvPr>
          <p:cNvSpPr/>
          <p:nvPr/>
        </p:nvSpPr>
        <p:spPr bwMode="auto">
          <a:xfrm>
            <a:off x="9221922" y="3544584"/>
            <a:ext cx="1500022" cy="1726045"/>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r>
              <a:rPr lang="en-GB" sz="1400" dirty="0">
                <a:solidFill>
                  <a:schemeClr val="bg1">
                    <a:lumMod val="50000"/>
                  </a:schemeClr>
                </a:solidFill>
              </a:rPr>
              <a:t>Lorem ipsum </a:t>
            </a:r>
            <a:r>
              <a:rPr lang="en-GB" sz="1400" dirty="0" err="1">
                <a:solidFill>
                  <a:schemeClr val="bg1">
                    <a:lumMod val="50000"/>
                  </a:schemeClr>
                </a:solidFill>
              </a:rPr>
              <a:t>dolor</a:t>
            </a:r>
            <a:r>
              <a:rPr lang="en-GB" sz="1400" dirty="0">
                <a:solidFill>
                  <a:schemeClr val="bg1">
                    <a:lumMod val="50000"/>
                  </a:schemeClr>
                </a:solidFill>
              </a:rPr>
              <a:t> sit </a:t>
            </a:r>
            <a:r>
              <a:rPr lang="en-GB" sz="1400" dirty="0" err="1">
                <a:solidFill>
                  <a:schemeClr val="bg1">
                    <a:lumMod val="50000"/>
                  </a:schemeClr>
                </a:solidFill>
              </a:rPr>
              <a:t>amet</a:t>
            </a:r>
            <a:r>
              <a:rPr lang="en-GB" sz="1400" dirty="0">
                <a:solidFill>
                  <a:schemeClr val="bg1">
                    <a:lumMod val="50000"/>
                  </a:schemeClr>
                </a:solidFill>
              </a:rPr>
              <a:t>, </a:t>
            </a:r>
            <a:r>
              <a:rPr lang="en-GB" sz="1400" dirty="0" err="1">
                <a:solidFill>
                  <a:schemeClr val="bg1">
                    <a:lumMod val="50000"/>
                  </a:schemeClr>
                </a:solidFill>
              </a:rPr>
              <a:t>consectetur</a:t>
            </a:r>
            <a:r>
              <a:rPr lang="en-GB" sz="1400" dirty="0">
                <a:solidFill>
                  <a:schemeClr val="bg1">
                    <a:lumMod val="50000"/>
                  </a:schemeClr>
                </a:solidFill>
              </a:rPr>
              <a:t> </a:t>
            </a:r>
            <a:r>
              <a:rPr lang="en-GB" sz="1400" dirty="0" err="1">
                <a:solidFill>
                  <a:schemeClr val="bg1">
                    <a:lumMod val="50000"/>
                  </a:schemeClr>
                </a:solidFill>
              </a:rPr>
              <a:t>adipiscing</a:t>
            </a:r>
            <a:r>
              <a:rPr lang="en-GB" sz="1400" dirty="0">
                <a:solidFill>
                  <a:schemeClr val="bg1">
                    <a:lumMod val="50000"/>
                  </a:schemeClr>
                </a:solidFill>
              </a:rPr>
              <a:t> </a:t>
            </a:r>
            <a:r>
              <a:rPr lang="en-GB" sz="1400" dirty="0" err="1">
                <a:solidFill>
                  <a:schemeClr val="bg1">
                    <a:lumMod val="50000"/>
                  </a:schemeClr>
                </a:solidFill>
              </a:rPr>
              <a:t>elit</a:t>
            </a:r>
            <a:r>
              <a:rPr lang="en-GB" sz="1400" dirty="0">
                <a:solidFill>
                  <a:schemeClr val="bg1">
                    <a:lumMod val="50000"/>
                  </a:schemeClr>
                </a:solidFill>
              </a:rPr>
              <a:t>. </a:t>
            </a:r>
            <a:r>
              <a:rPr lang="en-GB" sz="1400" dirty="0" err="1">
                <a:solidFill>
                  <a:schemeClr val="bg1">
                    <a:lumMod val="50000"/>
                  </a:schemeClr>
                </a:solidFill>
              </a:rPr>
              <a:t>Aliquam</a:t>
            </a:r>
            <a:r>
              <a:rPr lang="en-GB" sz="1400" dirty="0">
                <a:solidFill>
                  <a:schemeClr val="bg1">
                    <a:lumMod val="50000"/>
                  </a:schemeClr>
                </a:solidFill>
              </a:rPr>
              <a:t> </a:t>
            </a:r>
            <a:r>
              <a:rPr lang="en-GB" sz="1400" dirty="0" err="1">
                <a:solidFill>
                  <a:schemeClr val="bg1">
                    <a:lumMod val="50000"/>
                  </a:schemeClr>
                </a:solidFill>
              </a:rPr>
              <a:t>eget</a:t>
            </a:r>
            <a:r>
              <a:rPr lang="en-GB" sz="1400" dirty="0">
                <a:solidFill>
                  <a:schemeClr val="bg1">
                    <a:lumMod val="50000"/>
                  </a:schemeClr>
                </a:solidFill>
              </a:rPr>
              <a:t> </a:t>
            </a:r>
            <a:r>
              <a:rPr lang="en-GB" sz="1400" dirty="0" err="1">
                <a:solidFill>
                  <a:schemeClr val="bg1">
                    <a:lumMod val="50000"/>
                  </a:schemeClr>
                </a:solidFill>
              </a:rPr>
              <a:t>scelerisque</a:t>
            </a:r>
            <a:r>
              <a:rPr lang="en-GB" sz="1400" dirty="0">
                <a:solidFill>
                  <a:schemeClr val="bg1">
                    <a:lumMod val="50000"/>
                  </a:schemeClr>
                </a:solidFill>
              </a:rPr>
              <a:t> </a:t>
            </a:r>
            <a:r>
              <a:rPr lang="en-GB" sz="1400" dirty="0" err="1">
                <a:solidFill>
                  <a:schemeClr val="bg1">
                    <a:lumMod val="50000"/>
                  </a:schemeClr>
                </a:solidFill>
              </a:rPr>
              <a:t>turpis</a:t>
            </a:r>
            <a:endParaRPr lang="en-GB" sz="1400" dirty="0">
              <a:solidFill>
                <a:schemeClr val="bg1">
                  <a:lumMod val="50000"/>
                </a:schemeClr>
              </a:solidFill>
            </a:endParaRPr>
          </a:p>
        </p:txBody>
      </p:sp>
      <p:sp>
        <p:nvSpPr>
          <p:cNvPr id="86" name="Ellipse 85">
            <a:extLst>
              <a:ext uri="{FF2B5EF4-FFF2-40B4-BE49-F238E27FC236}">
                <a16:creationId xmlns:a16="http://schemas.microsoft.com/office/drawing/2014/main" id="{DB128031-AD4D-424C-A8D6-657C64066F3B}"/>
              </a:ext>
            </a:extLst>
          </p:cNvPr>
          <p:cNvSpPr/>
          <p:nvPr/>
        </p:nvSpPr>
        <p:spPr bwMode="auto">
          <a:xfrm>
            <a:off x="9363075" y="2805986"/>
            <a:ext cx="144000" cy="144000"/>
          </a:xfrm>
          <a:prstGeom prst="ellipse">
            <a:avLst/>
          </a:prstGeom>
          <a:solidFill>
            <a:schemeClr val="accent3"/>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87" name="Ellipse 86">
            <a:extLst>
              <a:ext uri="{FF2B5EF4-FFF2-40B4-BE49-F238E27FC236}">
                <a16:creationId xmlns:a16="http://schemas.microsoft.com/office/drawing/2014/main" id="{069761A1-7CF5-4C76-9A60-CA965347877C}"/>
              </a:ext>
            </a:extLst>
          </p:cNvPr>
          <p:cNvSpPr/>
          <p:nvPr/>
        </p:nvSpPr>
        <p:spPr bwMode="auto">
          <a:xfrm>
            <a:off x="9363075" y="3455827"/>
            <a:ext cx="144000" cy="144000"/>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cxnSp>
        <p:nvCxnSpPr>
          <p:cNvPr id="88" name="Connecteur droit 87">
            <a:extLst>
              <a:ext uri="{FF2B5EF4-FFF2-40B4-BE49-F238E27FC236}">
                <a16:creationId xmlns:a16="http://schemas.microsoft.com/office/drawing/2014/main" id="{5E9D4E0A-4102-4B63-8441-3220E97E5956}"/>
              </a:ext>
            </a:extLst>
          </p:cNvPr>
          <p:cNvCxnSpPr>
            <a:stCxn id="86" idx="4"/>
            <a:endCxn id="87" idx="0"/>
          </p:cNvCxnSpPr>
          <p:nvPr/>
        </p:nvCxnSpPr>
        <p:spPr>
          <a:xfrm>
            <a:off x="9435075" y="2949986"/>
            <a:ext cx="0" cy="505841"/>
          </a:xfrm>
          <a:prstGeom prst="line">
            <a:avLst/>
          </a:prstGeom>
          <a:ln w="190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4874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6E0748CF-4093-4B80-8FC8-9AC4DA2A3AA5}"/>
              </a:ext>
            </a:extLst>
          </p:cNvPr>
          <p:cNvGraphicFramePr>
            <a:graphicFrameLocks noChangeAspect="1"/>
          </p:cNvGraphicFramePr>
          <p:nvPr>
            <p:custDataLst>
              <p:tags r:id="rId1"/>
            </p:custDataLst>
            <p:extLst>
              <p:ext uri="{D42A27DB-BD31-4B8C-83A1-F6EECF244321}">
                <p14:modId xmlns:p14="http://schemas.microsoft.com/office/powerpoint/2010/main" val="113992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592" imgH="591" progId="TCLayout.ActiveDocument.1">
                  <p:embed/>
                </p:oleObj>
              </mc:Choice>
              <mc:Fallback>
                <p:oleObj name="Diapositive think-cell" r:id="rId10" imgW="592" imgH="591" progId="TCLayout.ActiveDocument.1">
                  <p:embed/>
                  <p:pic>
                    <p:nvPicPr>
                      <p:cNvPr id="9" name="Objet 8" hidden="1">
                        <a:extLst>
                          <a:ext uri="{FF2B5EF4-FFF2-40B4-BE49-F238E27FC236}">
                            <a16:creationId xmlns:a16="http://schemas.microsoft.com/office/drawing/2014/main" id="{6E0748CF-4093-4B80-8FC8-9AC4DA2A3AA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AD04BF1-A89E-4D66-92E1-5A3AEE1368B1}"/>
              </a:ext>
            </a:extLst>
          </p:cNvPr>
          <p:cNvSpPr>
            <a:spLocks noRot="1" noMove="1" noResize="1" noEditPoints="1" noAdjustHandles="1" noChangeArrowheads="1" noChangeShapeType="1"/>
          </p:cNvSpPr>
          <p:nvPr>
            <p:custDataLst>
              <p:tags r:id="rId2"/>
            </p:custDataLst>
          </p:nvPr>
        </p:nvSpPr>
        <p:spPr bwMode="auto">
          <a:xfrm>
            <a:off x="759974" y="2987149"/>
            <a:ext cx="4089118" cy="2437200"/>
          </a:xfrm>
          <a:prstGeom prst="rect">
            <a:avLst/>
          </a:prstGeom>
          <a:noFill/>
          <a:ln w="19050" cap="flat" cmpd="sng" algn="ctr">
            <a:solidFill>
              <a:schemeClr val="bg1"/>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just"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The first paragraph describes the company in up to three sentences.</a:t>
            </a:r>
          </a:p>
          <a:p>
            <a:pPr marL="0" marR="0" lvl="0" indent="0" algn="just"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The second paragraph describes the business need in up to three sentences.</a:t>
            </a:r>
          </a:p>
          <a:p>
            <a:pPr marL="0" marR="0" lvl="0" indent="0" algn="just"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Text is justified and Arial 13 pt.</a:t>
            </a:r>
          </a:p>
          <a:p>
            <a:pPr marL="0" marR="0" lvl="0" indent="0" algn="just"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Text box size is fixed.</a:t>
            </a:r>
          </a:p>
          <a:p>
            <a:pPr marL="0" marR="0" lvl="0" indent="0" algn="just"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Must be 1cm gap between this box and quote box</a:t>
            </a:r>
          </a:p>
        </p:txBody>
      </p:sp>
      <p:sp>
        <p:nvSpPr>
          <p:cNvPr id="13" name="Rectangle 12">
            <a:extLst>
              <a:ext uri="{FF2B5EF4-FFF2-40B4-BE49-F238E27FC236}">
                <a16:creationId xmlns:a16="http://schemas.microsoft.com/office/drawing/2014/main" id="{CF228B9A-CB01-40F9-B5C6-7A47BBD81609}"/>
              </a:ext>
            </a:extLst>
          </p:cNvPr>
          <p:cNvSpPr>
            <a:spLocks noRot="1" noMove="1" noResize="1" noEditPoints="1" noAdjustHandles="1" noChangeArrowheads="1" noChangeShapeType="1"/>
          </p:cNvSpPr>
          <p:nvPr>
            <p:custDataLst>
              <p:tags r:id="rId3"/>
            </p:custDataLst>
          </p:nvPr>
        </p:nvSpPr>
        <p:spPr bwMode="auto">
          <a:xfrm>
            <a:off x="8465590" y="1841759"/>
            <a:ext cx="2952000" cy="4087093"/>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108000" rIns="72000" bIns="72000" numCol="1" spcCol="0" rtlCol="0" fromWordArt="0" anchor="t" anchorCtr="0" forceAA="0" compatLnSpc="1">
            <a:prstTxWarp prst="textNoShape">
              <a:avLst/>
            </a:prstTxWarp>
            <a:noAutofit/>
          </a:bodyPr>
          <a:lstStyle/>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Up to five bullets to explain what we di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hese must be results of the particular project i.e. our work</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Should be tangible; quantify where possible (%, not numbers)</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ext must fit in this box; the size and position is fixe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ext is Arial 14 </a:t>
            </a:r>
            <a:r>
              <a:rPr kumimoji="0" lang="en-GB" sz="1400" b="0" i="0" u="none" strike="noStrike" kern="1200" cap="none" spc="0" normalizeH="0" baseline="0" noProof="0" dirty="0" err="1">
                <a:ln>
                  <a:noFill/>
                </a:ln>
                <a:solidFill>
                  <a:srgbClr val="000000"/>
                </a:solidFill>
                <a:effectLst/>
                <a:uLnTx/>
                <a:uFillTx/>
                <a:latin typeface="Arial" charset="0"/>
                <a:ea typeface="+mn-ea"/>
                <a:cs typeface="+mn-cs"/>
              </a:rPr>
              <a:t>pt</a:t>
            </a:r>
            <a:r>
              <a:rPr kumimoji="0" lang="en-GB" sz="1400" b="0" i="0" u="none" strike="noStrike" kern="1200" cap="none" spc="0" normalizeH="0" baseline="0" noProof="0" dirty="0">
                <a:ln>
                  <a:noFill/>
                </a:ln>
                <a:solidFill>
                  <a:srgbClr val="000000"/>
                </a:solidFill>
                <a:effectLst/>
                <a:uLnTx/>
                <a:uFillTx/>
                <a:latin typeface="Arial" charset="0"/>
                <a:ea typeface="+mn-ea"/>
                <a:cs typeface="+mn-cs"/>
              </a:rPr>
              <a:t>, left aligne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Line spacing 8.4pt before, single </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
							</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endParaRPr kumimoji="0" lang="en-GB"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Rectangle 10">
            <a:extLst>
              <a:ext uri="{FF2B5EF4-FFF2-40B4-BE49-F238E27FC236}">
                <a16:creationId xmlns:a16="http://schemas.microsoft.com/office/drawing/2014/main" id="{B0410CD7-9493-4467-A830-059D12AEF67A}"/>
              </a:ext>
            </a:extLst>
          </p:cNvPr>
          <p:cNvSpPr>
            <a:spLocks noRot="1" noMove="1" noResize="1" noEditPoints="1" noAdjustHandles="1" noChangeArrowheads="1" noChangeShapeType="1" noTextEdit="1"/>
          </p:cNvSpPr>
          <p:nvPr>
            <p:custDataLst>
              <p:tags r:id="rId4"/>
            </p:custDataLst>
          </p:nvPr>
        </p:nvSpPr>
        <p:spPr bwMode="auto">
          <a:xfrm>
            <a:off x="8465590" y="1351386"/>
            <a:ext cx="2952000" cy="50040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400" b="1" i="0" u="none" strike="noStrike" kern="1200" cap="none" spc="0" normalizeH="0" baseline="0" noProof="0" dirty="0">
                <a:ln>
                  <a:noFill/>
                </a:ln>
                <a:solidFill>
                  <a:prstClr val="white"/>
                </a:solidFill>
                <a:effectLst/>
                <a:uLnTx/>
                <a:uFillTx/>
                <a:latin typeface="Arial" charset="0"/>
                <a:ea typeface="+mn-ea"/>
                <a:cs typeface="+mn-cs"/>
              </a:rPr>
              <a:t>Results</a:t>
            </a:r>
          </a:p>
        </p:txBody>
      </p:sp>
      <p:sp>
        <p:nvSpPr>
          <p:cNvPr id="16" name="Rectangle 15">
            <a:extLst>
              <a:ext uri="{FF2B5EF4-FFF2-40B4-BE49-F238E27FC236}">
                <a16:creationId xmlns:a16="http://schemas.microsoft.com/office/drawing/2014/main" id="{FFB37CA7-90D7-4CF0-98B3-159BFC3481EB}"/>
              </a:ext>
            </a:extLst>
          </p:cNvPr>
          <p:cNvSpPr>
            <a:spLocks noRot="1" noMove="1" noResize="1" noEditPoints="1" noAdjustHandles="1" noChangeArrowheads="1" noChangeShapeType="1"/>
          </p:cNvSpPr>
          <p:nvPr>
            <p:custDataLst>
              <p:tags r:id="rId5"/>
            </p:custDataLst>
          </p:nvPr>
        </p:nvSpPr>
        <p:spPr bwMode="auto">
          <a:xfrm>
            <a:off x="5301237" y="1841759"/>
            <a:ext cx="2952000" cy="4087094"/>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108000" rIns="72000" bIns="72000" numCol="1" spcCol="0" rtlCol="0" fromWordArt="0" anchor="t" anchorCtr="0" forceAA="0" compatLnSpc="1">
            <a:prstTxWarp prst="textNoShape">
              <a:avLst/>
            </a:prstTxWarp>
            <a:noAutofit/>
          </a:bodyPr>
          <a:lstStyle/>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Up to five bullets to explain what we di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hese must cover our role on the project, not background information </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In the present tense</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ext must fit in this box; the size and position is fixe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Text is Arial 14 </a:t>
            </a:r>
            <a:r>
              <a:rPr kumimoji="0" lang="en-GB" sz="1400" b="0" i="0" u="none" strike="noStrike" kern="1200" cap="none" spc="0" normalizeH="0" baseline="0" noProof="0" dirty="0" err="1">
                <a:ln>
                  <a:noFill/>
                </a:ln>
                <a:solidFill>
                  <a:srgbClr val="000000"/>
                </a:solidFill>
                <a:effectLst/>
                <a:uLnTx/>
                <a:uFillTx/>
                <a:latin typeface="Arial" charset="0"/>
                <a:ea typeface="+mn-ea"/>
                <a:cs typeface="+mn-cs"/>
              </a:rPr>
              <a:t>pt</a:t>
            </a:r>
            <a:r>
              <a:rPr kumimoji="0" lang="en-GB" sz="1400" b="0" i="0" u="none" strike="noStrike" kern="1200" cap="none" spc="0" normalizeH="0" baseline="0" noProof="0" dirty="0">
                <a:ln>
                  <a:noFill/>
                </a:ln>
                <a:solidFill>
                  <a:srgbClr val="000000"/>
                </a:solidFill>
                <a:effectLst/>
                <a:uLnTx/>
                <a:uFillTx/>
                <a:latin typeface="Arial" charset="0"/>
                <a:ea typeface="+mn-ea"/>
                <a:cs typeface="+mn-cs"/>
              </a:rPr>
              <a:t>, left aligned </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Arial" charset="0"/>
                <a:ea typeface="+mn-ea"/>
                <a:cs typeface="+mn-cs"/>
              </a:rPr>
              <a:t>Line spacing 8.4pt before, single </a:t>
            </a:r>
          </a:p>
        </p:txBody>
      </p:sp>
      <p:sp>
        <p:nvSpPr>
          <p:cNvPr id="15" name="Rectangle 14">
            <a:extLst>
              <a:ext uri="{FF2B5EF4-FFF2-40B4-BE49-F238E27FC236}">
                <a16:creationId xmlns:a16="http://schemas.microsoft.com/office/drawing/2014/main" id="{2DF79B72-6E0A-4610-8B7C-0ECFD5EE3A84}"/>
              </a:ext>
            </a:extLst>
          </p:cNvPr>
          <p:cNvSpPr>
            <a:spLocks noRot="1" noMove="1" noResize="1" noEditPoints="1" noAdjustHandles="1" noChangeArrowheads="1" noChangeShapeType="1" noTextEdit="1"/>
          </p:cNvSpPr>
          <p:nvPr>
            <p:custDataLst>
              <p:tags r:id="rId6"/>
            </p:custDataLst>
          </p:nvPr>
        </p:nvSpPr>
        <p:spPr bwMode="auto">
          <a:xfrm>
            <a:off x="5301237" y="1351386"/>
            <a:ext cx="2952000" cy="50040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400" b="1" i="0" u="none" strike="noStrike" kern="1200" cap="none" spc="0" normalizeH="0" baseline="0" noProof="0" dirty="0">
                <a:ln>
                  <a:noFill/>
                </a:ln>
                <a:solidFill>
                  <a:prstClr val="white"/>
                </a:solidFill>
                <a:effectLst/>
                <a:uLnTx/>
                <a:uFillTx/>
                <a:latin typeface="Arial" charset="0"/>
                <a:ea typeface="+mn-ea"/>
                <a:cs typeface="+mn-cs"/>
              </a:rPr>
              <a:t>Our role</a:t>
            </a:r>
          </a:p>
        </p:txBody>
      </p:sp>
      <p:sp>
        <p:nvSpPr>
          <p:cNvPr id="19" name="Rectangle 18">
            <a:extLst>
              <a:ext uri="{FF2B5EF4-FFF2-40B4-BE49-F238E27FC236}">
                <a16:creationId xmlns:a16="http://schemas.microsoft.com/office/drawing/2014/main" id="{E69FE088-818F-4E45-A625-BF491F5607A1}"/>
              </a:ext>
            </a:extLst>
          </p:cNvPr>
          <p:cNvSpPr>
            <a:spLocks noRot="1" noMove="1" noResize="1" noEditPoints="1" noAdjustHandles="1" noChangeArrowheads="1" noChangeShapeType="1"/>
          </p:cNvSpPr>
          <p:nvPr>
            <p:custDataLst>
              <p:tags r:id="rId7"/>
            </p:custDataLst>
          </p:nvPr>
        </p:nvSpPr>
        <p:spPr bwMode="auto">
          <a:xfrm>
            <a:off x="1446142" y="5185412"/>
            <a:ext cx="3402949" cy="745935"/>
          </a:xfrm>
          <a:prstGeom prst="rect">
            <a:avLst/>
          </a:prstGeom>
          <a:noFill/>
          <a:ln w="19050" cap="flat" cmpd="sng" algn="ctr">
            <a:solidFill>
              <a:schemeClr val="bg1"/>
            </a:solidFill>
            <a:prstDash val="dash"/>
            <a:round/>
            <a:headEnd type="none" w="med" len="med"/>
            <a:tailEnd type="none" w="med" len="med"/>
          </a:ln>
          <a:effectLst/>
        </p:spPr>
        <p:txBody>
          <a:bodyPr rot="0" spcFirstLastPara="0" vertOverflow="overflow" horzOverflow="overflow" vert="horz" wrap="square" lIns="54000" tIns="0" rIns="72000" bIns="0" numCol="1" spcCol="0" rtlCol="0" fromWordArt="0" anchor="b" anchorCtr="0" forceAA="0" compatLnSpc="1">
            <a:prstTxWarp prst="textNoShape">
              <a:avLst/>
            </a:prstTxWarp>
            <a:noAutofit/>
          </a:bodyPr>
          <a:lstStyle/>
          <a:p>
            <a:pPr marL="0" marR="0" lvl="0" indent="0" algn="r"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900" b="0" i="1" u="none" strike="noStrike" kern="1200" cap="none" spc="0" normalizeH="0" baseline="0" noProof="0" dirty="0">
                <a:ln>
                  <a:noFill/>
                </a:ln>
                <a:solidFill>
                  <a:srgbClr val="C2005A"/>
                </a:solidFill>
                <a:effectLst/>
                <a:uLnTx/>
                <a:uFillTx/>
                <a:latin typeface="Arial" charset="0"/>
                <a:ea typeface="+mn-ea"/>
                <a:cs typeface="+mn-cs"/>
              </a:rPr>
              <a:t>“Insert quote font size 9, italics, max 3 three lines, right aligned”</a:t>
            </a:r>
            <a:br>
              <a:rPr kumimoji="0" lang="en-GB" sz="900" b="0" i="1" u="none" strike="noStrike" kern="1200" cap="none" spc="0" normalizeH="0" baseline="0" noProof="0" dirty="0">
                <a:ln>
                  <a:noFill/>
                </a:ln>
                <a:solidFill>
                  <a:srgbClr val="C2005A"/>
                </a:solidFill>
                <a:effectLst/>
                <a:uLnTx/>
                <a:uFillTx/>
                <a:latin typeface="Arial" charset="0"/>
                <a:ea typeface="+mn-ea"/>
                <a:cs typeface="+mn-cs"/>
              </a:rPr>
            </a:br>
            <a:r>
              <a:rPr kumimoji="0" lang="en-GB" sz="900" b="0" i="0" u="none" strike="noStrike" kern="1200" cap="none" spc="0" normalizeH="0" baseline="0" noProof="0" dirty="0">
                <a:ln>
                  <a:noFill/>
                </a:ln>
                <a:solidFill>
                  <a:srgbClr val="C2005A"/>
                </a:solidFill>
                <a:effectLst/>
                <a:uLnTx/>
                <a:uFillTx/>
                <a:latin typeface="Arial" charset="0"/>
                <a:ea typeface="+mn-ea"/>
                <a:cs typeface="+mn-cs"/>
              </a:rPr>
              <a:t>Client name, job title, font Arial size 9</a:t>
            </a:r>
          </a:p>
        </p:txBody>
      </p:sp>
      <p:sp>
        <p:nvSpPr>
          <p:cNvPr id="18" name="Rectangle 17">
            <a:extLst>
              <a:ext uri="{FF2B5EF4-FFF2-40B4-BE49-F238E27FC236}">
                <a16:creationId xmlns:a16="http://schemas.microsoft.com/office/drawing/2014/main" id="{6DF66B6F-CBC7-43FC-B099-FE5D701A4E95}"/>
              </a:ext>
            </a:extLst>
          </p:cNvPr>
          <p:cNvSpPr>
            <a:spLocks noRot="1" noMove="1" noResize="1" noEditPoints="1" noAdjustHandles="1" noChangeArrowheads="1" noChangeShapeType="1"/>
          </p:cNvSpPr>
          <p:nvPr>
            <p:custDataLst>
              <p:tags r:id="rId8"/>
            </p:custDataLst>
          </p:nvPr>
        </p:nvSpPr>
        <p:spPr bwMode="auto">
          <a:xfrm>
            <a:off x="1760187" y="1555915"/>
            <a:ext cx="2085643" cy="1067509"/>
          </a:xfrm>
          <a:prstGeom prst="rect">
            <a:avLst/>
          </a:prstGeom>
          <a:noFill/>
          <a:ln w="19050" cap="flat" cmpd="sng" algn="ctr">
            <a:solidFill>
              <a:schemeClr val="bg2"/>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000" b="0" i="0" u="none" strike="noStrike" kern="1200" cap="none" spc="0" normalizeH="0" baseline="0" noProof="0" dirty="0">
                <a:ln>
                  <a:noFill/>
                </a:ln>
                <a:solidFill>
                  <a:srgbClr val="87737B"/>
                </a:solidFill>
                <a:effectLst/>
                <a:uLnTx/>
                <a:uFillTx/>
                <a:latin typeface="Arial" charset="0"/>
                <a:ea typeface="+mn-ea"/>
                <a:cs typeface="+mn-cs"/>
              </a:rPr>
              <a:t>Logo centre aligned with this box</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000" b="0" i="0" u="none" strike="noStrike" kern="1200" cap="none" spc="0" normalizeH="0" baseline="0" noProof="0" dirty="0">
                <a:ln>
                  <a:noFill/>
                </a:ln>
                <a:solidFill>
                  <a:srgbClr val="87737B"/>
                </a:solidFill>
                <a:effectLst/>
                <a:uLnTx/>
                <a:uFillTx/>
                <a:latin typeface="Arial" charset="0"/>
                <a:ea typeface="+mn-ea"/>
                <a:cs typeface="+mn-cs"/>
              </a:rPr>
              <a:t>Use high quality greyscale or black logo</a:t>
            </a:r>
          </a:p>
        </p:txBody>
      </p:sp>
      <p:sp>
        <p:nvSpPr>
          <p:cNvPr id="8" name="Titre 7">
            <a:extLst>
              <a:ext uri="{FF2B5EF4-FFF2-40B4-BE49-F238E27FC236}">
                <a16:creationId xmlns:a16="http://schemas.microsoft.com/office/drawing/2014/main" id="{D0BD28A3-F45B-4FFB-980D-4E3B3E679548}"/>
              </a:ext>
            </a:extLst>
          </p:cNvPr>
          <p:cNvSpPr>
            <a:spLocks noGrp="1"/>
          </p:cNvSpPr>
          <p:nvPr>
            <p:ph type="title"/>
          </p:nvPr>
        </p:nvSpPr>
        <p:spPr/>
        <p:txBody>
          <a:bodyPr vert="horz"/>
          <a:lstStyle/>
          <a:p>
            <a:r>
              <a:rPr lang="en-GB" dirty="0"/>
              <a:t>Name of project: type of company (must fit on one line)</a:t>
            </a:r>
          </a:p>
        </p:txBody>
      </p:sp>
    </p:spTree>
    <p:extLst>
      <p:ext uri="{BB962C8B-B14F-4D97-AF65-F5344CB8AC3E}">
        <p14:creationId xmlns:p14="http://schemas.microsoft.com/office/powerpoint/2010/main" val="116942697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F4C0460-8D89-F45F-BE12-CA16FCF60241}"/>
              </a:ext>
            </a:extLst>
          </p:cNvPr>
          <p:cNvGraphicFramePr>
            <a:graphicFrameLocks noChangeAspect="1"/>
          </p:cNvGraphicFramePr>
          <p:nvPr>
            <p:custDataLst>
              <p:tags r:id="rId1"/>
            </p:custDataLst>
            <p:extLst>
              <p:ext uri="{D42A27DB-BD31-4B8C-83A1-F6EECF244321}">
                <p14:modId xmlns:p14="http://schemas.microsoft.com/office/powerpoint/2010/main" val="246481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5" name="Objet 4" hidden="1">
                        <a:extLst>
                          <a:ext uri="{FF2B5EF4-FFF2-40B4-BE49-F238E27FC236}">
                            <a16:creationId xmlns:a16="http://schemas.microsoft.com/office/drawing/2014/main" id="{0F4C0460-8D89-F45F-BE12-CA16FCF602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B0D2855-A4F2-2B96-46D6-AFDC4BB871C2}"/>
              </a:ext>
            </a:extLst>
          </p:cNvPr>
          <p:cNvSpPr>
            <a:spLocks noGrp="1"/>
          </p:cNvSpPr>
          <p:nvPr>
            <p:ph type="title"/>
          </p:nvPr>
        </p:nvSpPr>
        <p:spPr/>
        <p:txBody>
          <a:bodyPr vert="horz"/>
          <a:lstStyle/>
          <a:p>
            <a:r>
              <a:rPr lang="en-GB" dirty="0" err="1"/>
              <a:t>Retroplanning</a:t>
            </a:r>
            <a:r>
              <a:rPr lang="en-GB"/>
              <a:t> and to-do list 3 weeks</a:t>
            </a:r>
            <a:endParaRPr lang="en-GB" dirty="0"/>
          </a:p>
        </p:txBody>
      </p:sp>
      <p:sp>
        <p:nvSpPr>
          <p:cNvPr id="6" name="Rectangle 5">
            <a:extLst>
              <a:ext uri="{FF2B5EF4-FFF2-40B4-BE49-F238E27FC236}">
                <a16:creationId xmlns:a16="http://schemas.microsoft.com/office/drawing/2014/main" id="{B319DF06-E868-E903-074C-92775522EB22}"/>
              </a:ext>
            </a:extLst>
          </p:cNvPr>
          <p:cNvSpPr/>
          <p:nvPr/>
        </p:nvSpPr>
        <p:spPr>
          <a:xfrm>
            <a:off x="9046563" y="1625224"/>
            <a:ext cx="252000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sp>
        <p:nvSpPr>
          <p:cNvPr id="7" name="Rectangle 6">
            <a:extLst>
              <a:ext uri="{FF2B5EF4-FFF2-40B4-BE49-F238E27FC236}">
                <a16:creationId xmlns:a16="http://schemas.microsoft.com/office/drawing/2014/main" id="{A04E8087-83BD-7F66-F0A4-19EA8E6CCCE7}"/>
              </a:ext>
            </a:extLst>
          </p:cNvPr>
          <p:cNvSpPr/>
          <p:nvPr/>
        </p:nvSpPr>
        <p:spPr>
          <a:xfrm>
            <a:off x="6228792" y="1625224"/>
            <a:ext cx="252000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cxnSp>
        <p:nvCxnSpPr>
          <p:cNvPr id="8" name="Straight Connector 141">
            <a:extLst>
              <a:ext uri="{FF2B5EF4-FFF2-40B4-BE49-F238E27FC236}">
                <a16:creationId xmlns:a16="http://schemas.microsoft.com/office/drawing/2014/main" id="{123B6392-367D-6228-FA2F-4C5F107CF72C}"/>
              </a:ext>
            </a:extLst>
          </p:cNvPr>
          <p:cNvCxnSpPr>
            <a:cxnSpLocks/>
          </p:cNvCxnSpPr>
          <p:nvPr/>
        </p:nvCxnSpPr>
        <p:spPr>
          <a:xfrm>
            <a:off x="426994" y="4599553"/>
            <a:ext cx="1130594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04C51D5-0A2E-9983-C7DA-6D4D2D266AA6}"/>
              </a:ext>
            </a:extLst>
          </p:cNvPr>
          <p:cNvSpPr/>
          <p:nvPr/>
        </p:nvSpPr>
        <p:spPr>
          <a:xfrm>
            <a:off x="3411020" y="1625224"/>
            <a:ext cx="252000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sp>
        <p:nvSpPr>
          <p:cNvPr id="10" name="Rectangle 9">
            <a:extLst>
              <a:ext uri="{FF2B5EF4-FFF2-40B4-BE49-F238E27FC236}">
                <a16:creationId xmlns:a16="http://schemas.microsoft.com/office/drawing/2014/main" id="{A6E7C238-86FC-B465-CB99-7F94C6B70261}"/>
              </a:ext>
            </a:extLst>
          </p:cNvPr>
          <p:cNvSpPr/>
          <p:nvPr/>
        </p:nvSpPr>
        <p:spPr>
          <a:xfrm>
            <a:off x="593248" y="1625224"/>
            <a:ext cx="252000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dirty="0">
                <a:ln>
                  <a:noFill/>
                </a:ln>
                <a:solidFill>
                  <a:srgbClr val="000000"/>
                </a:solidFill>
                <a:effectLst/>
                <a:uLnTx/>
                <a:uFillTx/>
                <a:latin typeface="Arial" charset="0"/>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 Lorem ipsum Lorem ipsum</a:t>
            </a:r>
          </a:p>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dirty="0">
                <a:ln>
                  <a:noFill/>
                </a:ln>
                <a:solidFill>
                  <a:srgbClr val="000000"/>
                </a:solidFill>
                <a:effectLst/>
                <a:uLnTx/>
                <a:uFillTx/>
                <a:latin typeface="Arial" charset="0"/>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 Lorem ipsum Lorem ipsum</a:t>
            </a:r>
          </a:p>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dirty="0">
                <a:ln>
                  <a:noFill/>
                </a:ln>
                <a:solidFill>
                  <a:srgbClr val="000000"/>
                </a:solidFill>
                <a:effectLst/>
                <a:uLnTx/>
                <a:uFillTx/>
                <a:latin typeface="Arial" charset="0"/>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Lorem ipsum Lorem ipsum Lorem ipsum Lorem ipsum</a:t>
            </a:r>
            <a:endParaRPr kumimoji="0" lang="en-GB" sz="1200" b="0" i="0" u="none" strike="noStrike" kern="1200" cap="none" spc="0" normalizeH="0" baseline="0" noProof="0" dirty="0">
              <a:ln>
                <a:noFill/>
              </a:ln>
              <a:solidFill>
                <a:srgbClr val="404040"/>
              </a:solidFill>
              <a:effectLst/>
              <a:uLnTx/>
              <a:uFillTx/>
              <a:latin typeface="Arial"/>
              <a:ea typeface="+mn-ea"/>
              <a:cs typeface="+mn-cs"/>
            </a:endParaRPr>
          </a:p>
        </p:txBody>
      </p:sp>
      <p:cxnSp>
        <p:nvCxnSpPr>
          <p:cNvPr id="11" name="Straight Connector 179">
            <a:extLst>
              <a:ext uri="{FF2B5EF4-FFF2-40B4-BE49-F238E27FC236}">
                <a16:creationId xmlns:a16="http://schemas.microsoft.com/office/drawing/2014/main" id="{D390EF3C-2D30-3293-411B-AB8C00AEB9CC}"/>
              </a:ext>
            </a:extLst>
          </p:cNvPr>
          <p:cNvCxnSpPr>
            <a:cxnSpLocks/>
            <a:stCxn id="20" idx="3"/>
            <a:endCxn id="21" idx="1"/>
          </p:cNvCxnSpPr>
          <p:nvPr/>
        </p:nvCxnSpPr>
        <p:spPr>
          <a:xfrm>
            <a:off x="2748779" y="1627815"/>
            <a:ext cx="6662253" cy="0"/>
          </a:xfrm>
          <a:prstGeom prst="line">
            <a:avLst/>
          </a:prstGeom>
          <a:ln>
            <a:solidFill>
              <a:srgbClr val="87737B"/>
            </a:solidFill>
            <a:prstDash val="dash"/>
          </a:ln>
        </p:spPr>
        <p:style>
          <a:lnRef idx="1">
            <a:schemeClr val="accent1"/>
          </a:lnRef>
          <a:fillRef idx="0">
            <a:schemeClr val="accent1"/>
          </a:fillRef>
          <a:effectRef idx="0">
            <a:schemeClr val="accent1"/>
          </a:effectRef>
          <a:fontRef idx="minor">
            <a:schemeClr val="tx1"/>
          </a:fontRef>
        </p:style>
      </p:cxnSp>
      <p:sp>
        <p:nvSpPr>
          <p:cNvPr id="12" name="Rounded Rectangle 152">
            <a:extLst>
              <a:ext uri="{FF2B5EF4-FFF2-40B4-BE49-F238E27FC236}">
                <a16:creationId xmlns:a16="http://schemas.microsoft.com/office/drawing/2014/main" id="{FAA48DB3-0F5A-E250-5E08-F3CD064824D7}"/>
              </a:ext>
            </a:extLst>
          </p:cNvPr>
          <p:cNvSpPr/>
          <p:nvPr/>
        </p:nvSpPr>
        <p:spPr>
          <a:xfrm>
            <a:off x="3775489"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4</a:t>
            </a:r>
            <a:endParaRPr lang="en-GB" b="1" dirty="0">
              <a:solidFill>
                <a:srgbClr val="FFFFFF"/>
              </a:solidFill>
              <a:latin typeface="+mj-lt"/>
            </a:endParaRPr>
          </a:p>
        </p:txBody>
      </p:sp>
      <p:sp>
        <p:nvSpPr>
          <p:cNvPr id="13" name="Textfeld 18">
            <a:extLst>
              <a:ext uri="{FF2B5EF4-FFF2-40B4-BE49-F238E27FC236}">
                <a16:creationId xmlns:a16="http://schemas.microsoft.com/office/drawing/2014/main" id="{789EDEDB-B546-3670-9F76-D12A78E00362}"/>
              </a:ext>
            </a:extLst>
          </p:cNvPr>
          <p:cNvSpPr txBox="1"/>
          <p:nvPr/>
        </p:nvSpPr>
        <p:spPr bwMode="gray">
          <a:xfrm>
            <a:off x="6236522" y="5578794"/>
            <a:ext cx="252000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To do</a:t>
            </a:r>
          </a:p>
          <a:p>
            <a:pPr algn="ctr" defTabSz="914823"/>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14" name="Textfeld 20">
            <a:extLst>
              <a:ext uri="{FF2B5EF4-FFF2-40B4-BE49-F238E27FC236}">
                <a16:creationId xmlns:a16="http://schemas.microsoft.com/office/drawing/2014/main" id="{9A907F25-82B0-07DC-8AA6-4A1562DB7072}"/>
              </a:ext>
            </a:extLst>
          </p:cNvPr>
          <p:cNvSpPr txBox="1"/>
          <p:nvPr/>
        </p:nvSpPr>
        <p:spPr bwMode="gray">
          <a:xfrm>
            <a:off x="9058159" y="5578794"/>
            <a:ext cx="252000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To do</a:t>
            </a:r>
          </a:p>
          <a:p>
            <a:pPr algn="ctr" defTabSz="914823"/>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15" name="Ellipse 62">
            <a:extLst>
              <a:ext uri="{FF2B5EF4-FFF2-40B4-BE49-F238E27FC236}">
                <a16:creationId xmlns:a16="http://schemas.microsoft.com/office/drawing/2014/main" id="{8652BED1-213F-D15E-5ECE-3A3F928272AC}"/>
              </a:ext>
            </a:extLst>
          </p:cNvPr>
          <p:cNvSpPr/>
          <p:nvPr/>
        </p:nvSpPr>
        <p:spPr bwMode="gray">
          <a:xfrm>
            <a:off x="7181608"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6" name="Ellipse 62">
            <a:extLst>
              <a:ext uri="{FF2B5EF4-FFF2-40B4-BE49-F238E27FC236}">
                <a16:creationId xmlns:a16="http://schemas.microsoft.com/office/drawing/2014/main" id="{DB0A74CF-ABE4-160F-7319-12FE131A175D}"/>
              </a:ext>
            </a:extLst>
          </p:cNvPr>
          <p:cNvSpPr/>
          <p:nvPr/>
        </p:nvSpPr>
        <p:spPr bwMode="gray">
          <a:xfrm>
            <a:off x="9999379"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7" name="Ellipse 62">
            <a:extLst>
              <a:ext uri="{FF2B5EF4-FFF2-40B4-BE49-F238E27FC236}">
                <a16:creationId xmlns:a16="http://schemas.microsoft.com/office/drawing/2014/main" id="{DB6AE608-4DF6-8E0F-7C04-BF7F25F84E26}"/>
              </a:ext>
            </a:extLst>
          </p:cNvPr>
          <p:cNvSpPr/>
          <p:nvPr/>
        </p:nvSpPr>
        <p:spPr bwMode="gray">
          <a:xfrm>
            <a:off x="4363836"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8" name="Ellipse 62">
            <a:extLst>
              <a:ext uri="{FF2B5EF4-FFF2-40B4-BE49-F238E27FC236}">
                <a16:creationId xmlns:a16="http://schemas.microsoft.com/office/drawing/2014/main" id="{FBC0B226-543C-D1E3-C5E0-F321C775AF46}"/>
              </a:ext>
            </a:extLst>
          </p:cNvPr>
          <p:cNvSpPr/>
          <p:nvPr/>
        </p:nvSpPr>
        <p:spPr bwMode="gray">
          <a:xfrm>
            <a:off x="1546064"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9" name="Rounded Rectangle 158">
            <a:extLst>
              <a:ext uri="{FF2B5EF4-FFF2-40B4-BE49-F238E27FC236}">
                <a16:creationId xmlns:a16="http://schemas.microsoft.com/office/drawing/2014/main" id="{AA57B772-3A77-418A-270F-952A983A45D2}"/>
              </a:ext>
            </a:extLst>
          </p:cNvPr>
          <p:cNvSpPr/>
          <p:nvPr/>
        </p:nvSpPr>
        <p:spPr>
          <a:xfrm>
            <a:off x="6593261"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2</a:t>
            </a:r>
            <a:endParaRPr lang="en-GB" b="1" dirty="0">
              <a:solidFill>
                <a:srgbClr val="FFFFFF"/>
              </a:solidFill>
              <a:latin typeface="+mj-lt"/>
            </a:endParaRPr>
          </a:p>
        </p:txBody>
      </p:sp>
      <p:sp>
        <p:nvSpPr>
          <p:cNvPr id="20" name="Rounded Rectangle 148">
            <a:extLst>
              <a:ext uri="{FF2B5EF4-FFF2-40B4-BE49-F238E27FC236}">
                <a16:creationId xmlns:a16="http://schemas.microsoft.com/office/drawing/2014/main" id="{35CD374B-0515-2005-F623-F673AAE42968}"/>
              </a:ext>
            </a:extLst>
          </p:cNvPr>
          <p:cNvSpPr/>
          <p:nvPr/>
        </p:nvSpPr>
        <p:spPr>
          <a:xfrm>
            <a:off x="957717"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6</a:t>
            </a:r>
            <a:endParaRPr lang="en-GB" b="1" dirty="0">
              <a:solidFill>
                <a:srgbClr val="FFFFFF"/>
              </a:solidFill>
              <a:latin typeface="+mj-lt"/>
            </a:endParaRPr>
          </a:p>
        </p:txBody>
      </p:sp>
      <p:sp>
        <p:nvSpPr>
          <p:cNvPr id="21" name="Rounded Rectangle 161">
            <a:extLst>
              <a:ext uri="{FF2B5EF4-FFF2-40B4-BE49-F238E27FC236}">
                <a16:creationId xmlns:a16="http://schemas.microsoft.com/office/drawing/2014/main" id="{3B1D4722-933D-367B-7BEF-F75B098AA1EA}"/>
              </a:ext>
            </a:extLst>
          </p:cNvPr>
          <p:cNvSpPr/>
          <p:nvPr/>
        </p:nvSpPr>
        <p:spPr>
          <a:xfrm>
            <a:off x="9411032" y="1446435"/>
            <a:ext cx="1791062" cy="362760"/>
          </a:xfrm>
          <a:prstGeom prst="round1Rect">
            <a:avLst>
              <a:gd name="adj" fmla="val 0"/>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D - DAY</a:t>
            </a:r>
            <a:endParaRPr lang="en-GB" b="1" dirty="0">
              <a:solidFill>
                <a:srgbClr val="FFFFFF"/>
              </a:solidFill>
              <a:latin typeface="+mj-lt"/>
            </a:endParaRPr>
          </a:p>
        </p:txBody>
      </p:sp>
      <p:cxnSp>
        <p:nvCxnSpPr>
          <p:cNvPr id="22" name="Straight Connector 168">
            <a:extLst>
              <a:ext uri="{FF2B5EF4-FFF2-40B4-BE49-F238E27FC236}">
                <a16:creationId xmlns:a16="http://schemas.microsoft.com/office/drawing/2014/main" id="{21962B64-D0F5-FFD5-0807-618AD3825578}"/>
              </a:ext>
            </a:extLst>
          </p:cNvPr>
          <p:cNvCxnSpPr/>
          <p:nvPr/>
        </p:nvCxnSpPr>
        <p:spPr>
          <a:xfrm>
            <a:off x="426994" y="5578792"/>
            <a:ext cx="1130594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3" name="Textfeld 18">
            <a:extLst>
              <a:ext uri="{FF2B5EF4-FFF2-40B4-BE49-F238E27FC236}">
                <a16:creationId xmlns:a16="http://schemas.microsoft.com/office/drawing/2014/main" id="{C15B5024-E7F1-33B0-CF3E-43639A25DB20}"/>
              </a:ext>
            </a:extLst>
          </p:cNvPr>
          <p:cNvSpPr txBox="1"/>
          <p:nvPr/>
        </p:nvSpPr>
        <p:spPr bwMode="gray">
          <a:xfrm>
            <a:off x="3414885" y="5578794"/>
            <a:ext cx="2520000" cy="338136"/>
          </a:xfrm>
          <a:prstGeom prst="rect">
            <a:avLst/>
          </a:prstGeom>
          <a:solidFill>
            <a:schemeClr val="tx2"/>
          </a:solidFill>
        </p:spPr>
        <p:txBody>
          <a:bodyPr wrap="none" tIns="71983" bIns="0" rtlCol="0" anchor="t">
            <a:noAutofit/>
          </a:bodyPr>
          <a:lstStyle/>
          <a:p>
            <a:pPr algn="ctr" defTabSz="914823"/>
            <a:r>
              <a:rPr lang="en-GB" b="1" noProof="1">
                <a:solidFill>
                  <a:srgbClr val="FFFFFF"/>
                </a:solidFill>
                <a:latin typeface="Avenir LT Std 55 Roman" panose="020B0503020203020204" pitchFamily="34" charset="0"/>
                <a:cs typeface="Arial" panose="020B0604020202020204" pitchFamily="34" charset="0"/>
              </a:rPr>
              <a:t>Done</a:t>
            </a:r>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24" name="Textfeld 18">
            <a:extLst>
              <a:ext uri="{FF2B5EF4-FFF2-40B4-BE49-F238E27FC236}">
                <a16:creationId xmlns:a16="http://schemas.microsoft.com/office/drawing/2014/main" id="{110D6311-86B3-1C40-896C-C1181813C78A}"/>
              </a:ext>
            </a:extLst>
          </p:cNvPr>
          <p:cNvSpPr txBox="1"/>
          <p:nvPr/>
        </p:nvSpPr>
        <p:spPr bwMode="gray">
          <a:xfrm>
            <a:off x="593248" y="5578794"/>
            <a:ext cx="252000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Done</a:t>
            </a:r>
          </a:p>
        </p:txBody>
      </p:sp>
      <p:sp>
        <p:nvSpPr>
          <p:cNvPr id="25" name="Freeform 10">
            <a:extLst>
              <a:ext uri="{FF2B5EF4-FFF2-40B4-BE49-F238E27FC236}">
                <a16:creationId xmlns:a16="http://schemas.microsoft.com/office/drawing/2014/main" id="{A7959906-329C-2C34-6AE6-1FE69EDA57AD}"/>
              </a:ext>
            </a:extLst>
          </p:cNvPr>
          <p:cNvSpPr>
            <a:spLocks noEditPoints="1"/>
          </p:cNvSpPr>
          <p:nvPr/>
        </p:nvSpPr>
        <p:spPr bwMode="auto">
          <a:xfrm>
            <a:off x="1614407" y="4850938"/>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tx2"/>
          </a:solidFill>
          <a:ln>
            <a:noFill/>
          </a:ln>
        </p:spPr>
        <p:txBody>
          <a:bodyPr vert="horz" wrap="square" lIns="91419" tIns="45709" rIns="91419" bIns="45709" numCol="1" anchor="t" anchorCtr="0" compatLnSpc="1">
            <a:prstTxWarp prst="textNoShape">
              <a:avLst/>
            </a:prstTxWarp>
          </a:bodyPr>
          <a:lstStyle/>
          <a:p>
            <a:pPr defTabSz="914264"/>
            <a:endParaRPr lang="en-GB" sz="1600" dirty="0">
              <a:solidFill>
                <a:srgbClr val="000000"/>
              </a:solidFill>
              <a:latin typeface="Avenir LT Std 55 Roman" panose="020B0503020203020204" pitchFamily="34" charset="0"/>
            </a:endParaRPr>
          </a:p>
        </p:txBody>
      </p:sp>
      <p:sp>
        <p:nvSpPr>
          <p:cNvPr id="26" name="Freeform 10">
            <a:extLst>
              <a:ext uri="{FF2B5EF4-FFF2-40B4-BE49-F238E27FC236}">
                <a16:creationId xmlns:a16="http://schemas.microsoft.com/office/drawing/2014/main" id="{3DE0D0DC-DB49-4107-1E75-34F2DB346611}"/>
              </a:ext>
            </a:extLst>
          </p:cNvPr>
          <p:cNvSpPr>
            <a:spLocks noEditPoints="1"/>
          </p:cNvSpPr>
          <p:nvPr/>
        </p:nvSpPr>
        <p:spPr bwMode="auto">
          <a:xfrm>
            <a:off x="4432179" y="4850938"/>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tx2"/>
          </a:solidFill>
          <a:ln>
            <a:noFill/>
          </a:ln>
        </p:spPr>
        <p:txBody>
          <a:bodyPr vert="horz" wrap="square" lIns="91419" tIns="45709" rIns="91419" bIns="45709" numCol="1" anchor="t" anchorCtr="0" compatLnSpc="1">
            <a:prstTxWarp prst="textNoShape">
              <a:avLst/>
            </a:prstTxWarp>
          </a:bodyPr>
          <a:lstStyle/>
          <a:p>
            <a:pPr defTabSz="914264"/>
            <a:endParaRPr lang="en-GB" sz="1600" dirty="0">
              <a:solidFill>
                <a:srgbClr val="000000"/>
              </a:solidFill>
              <a:latin typeface="Avenir LT Std 55 Roman" panose="020B0503020203020204" pitchFamily="34" charset="0"/>
            </a:endParaRPr>
          </a:p>
        </p:txBody>
      </p:sp>
    </p:spTree>
    <p:extLst>
      <p:ext uri="{BB962C8B-B14F-4D97-AF65-F5344CB8AC3E}">
        <p14:creationId xmlns:p14="http://schemas.microsoft.com/office/powerpoint/2010/main" val="41761972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44098860-E58F-2916-0556-06ECE1158D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5" name="Objet 4" hidden="1">
                        <a:extLst>
                          <a:ext uri="{FF2B5EF4-FFF2-40B4-BE49-F238E27FC236}">
                            <a16:creationId xmlns:a16="http://schemas.microsoft.com/office/drawing/2014/main" id="{44098860-E58F-2916-0556-06ECE1158D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F5E6C50-0108-11F7-15A9-985FA0F5804A}"/>
              </a:ext>
            </a:extLst>
          </p:cNvPr>
          <p:cNvSpPr>
            <a:spLocks noGrp="1"/>
          </p:cNvSpPr>
          <p:nvPr>
            <p:ph type="title"/>
          </p:nvPr>
        </p:nvSpPr>
        <p:spPr/>
        <p:txBody>
          <a:bodyPr vert="horz"/>
          <a:lstStyle/>
          <a:p>
            <a:r>
              <a:rPr lang="en-GB"/>
              <a:t>Retroplanning and to-do list 4 weeks</a:t>
            </a:r>
            <a:endParaRPr lang="en-GB" dirty="0"/>
          </a:p>
        </p:txBody>
      </p:sp>
      <p:sp>
        <p:nvSpPr>
          <p:cNvPr id="6" name="Rectangle 5">
            <a:extLst>
              <a:ext uri="{FF2B5EF4-FFF2-40B4-BE49-F238E27FC236}">
                <a16:creationId xmlns:a16="http://schemas.microsoft.com/office/drawing/2014/main" id="{652786EE-3F03-2A1B-425E-9C393FE7BA0F}"/>
              </a:ext>
            </a:extLst>
          </p:cNvPr>
          <p:cNvSpPr/>
          <p:nvPr/>
        </p:nvSpPr>
        <p:spPr>
          <a:xfrm>
            <a:off x="9435043" y="1625224"/>
            <a:ext cx="213152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sp>
        <p:nvSpPr>
          <p:cNvPr id="7" name="Rectangle 6">
            <a:extLst>
              <a:ext uri="{FF2B5EF4-FFF2-40B4-BE49-F238E27FC236}">
                <a16:creationId xmlns:a16="http://schemas.microsoft.com/office/drawing/2014/main" id="{C530F8C1-929A-E48F-7077-4C4B4FFEBBF6}"/>
              </a:ext>
            </a:extLst>
          </p:cNvPr>
          <p:cNvSpPr/>
          <p:nvPr/>
        </p:nvSpPr>
        <p:spPr>
          <a:xfrm>
            <a:off x="7224595" y="1625224"/>
            <a:ext cx="213152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cxnSp>
        <p:nvCxnSpPr>
          <p:cNvPr id="8" name="Straight Connector 141">
            <a:extLst>
              <a:ext uri="{FF2B5EF4-FFF2-40B4-BE49-F238E27FC236}">
                <a16:creationId xmlns:a16="http://schemas.microsoft.com/office/drawing/2014/main" id="{A01EA7BB-26A5-CF90-AA90-218488C95E77}"/>
              </a:ext>
            </a:extLst>
          </p:cNvPr>
          <p:cNvCxnSpPr>
            <a:cxnSpLocks/>
          </p:cNvCxnSpPr>
          <p:nvPr/>
        </p:nvCxnSpPr>
        <p:spPr>
          <a:xfrm>
            <a:off x="426994" y="4599553"/>
            <a:ext cx="1130594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5B8F73A-9A9D-D53F-B610-14D3869AB5B5}"/>
              </a:ext>
            </a:extLst>
          </p:cNvPr>
          <p:cNvSpPr/>
          <p:nvPr/>
        </p:nvSpPr>
        <p:spPr>
          <a:xfrm>
            <a:off x="5014147" y="1625224"/>
            <a:ext cx="213152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sp>
        <p:nvSpPr>
          <p:cNvPr id="10" name="Rectangle 9">
            <a:extLst>
              <a:ext uri="{FF2B5EF4-FFF2-40B4-BE49-F238E27FC236}">
                <a16:creationId xmlns:a16="http://schemas.microsoft.com/office/drawing/2014/main" id="{AF9A5B99-452E-3739-6CCD-17E884F0E7A1}"/>
              </a:ext>
            </a:extLst>
          </p:cNvPr>
          <p:cNvSpPr/>
          <p:nvPr/>
        </p:nvSpPr>
        <p:spPr>
          <a:xfrm>
            <a:off x="2803697" y="1625224"/>
            <a:ext cx="213152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p>
          <a:p>
            <a:pPr marL="414000" indent="-280800" algn="l" defTabSz="914264">
              <a:spcBef>
                <a:spcPts val="400"/>
              </a:spcBef>
              <a:spcAft>
                <a:spcPts val="400"/>
              </a:spcAft>
              <a:buClr>
                <a:srgbClr val="B40646"/>
              </a:buClr>
              <a:buSzPct val="82000"/>
              <a:buFont typeface="Wingdings 3" panose="05040102010807070707" pitchFamily="18" charset="2"/>
              <a:buChar char=""/>
            </a:pPr>
            <a:r>
              <a:rPr lang="en-GB" sz="1200">
                <a:solidFill>
                  <a:srgbClr val="000000"/>
                </a:solidFill>
                <a:latin typeface="Arial"/>
              </a:rPr>
              <a:t>Lorem ipsum Lorem ipsum Lorem ipsum Lorem ipsum Lorem ipsum Lorem ipsum</a:t>
            </a:r>
            <a:endParaRPr lang="en-GB" sz="1200" dirty="0">
              <a:solidFill>
                <a:srgbClr val="000000"/>
              </a:solidFill>
              <a:latin typeface="Arial"/>
            </a:endParaRPr>
          </a:p>
        </p:txBody>
      </p:sp>
      <p:sp>
        <p:nvSpPr>
          <p:cNvPr id="11" name="Rectangle 10">
            <a:extLst>
              <a:ext uri="{FF2B5EF4-FFF2-40B4-BE49-F238E27FC236}">
                <a16:creationId xmlns:a16="http://schemas.microsoft.com/office/drawing/2014/main" id="{C2772C87-3D89-66B7-15C6-99488130164C}"/>
              </a:ext>
            </a:extLst>
          </p:cNvPr>
          <p:cNvSpPr/>
          <p:nvPr/>
        </p:nvSpPr>
        <p:spPr>
          <a:xfrm>
            <a:off x="593248" y="1625224"/>
            <a:ext cx="2131520" cy="2974329"/>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lIns="0" rIns="0" rtlCol="0" anchor="ctr"/>
          <a:lstStyle/>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a:ln>
                  <a:noFill/>
                </a:ln>
                <a:solidFill>
                  <a:srgbClr val="000000"/>
                </a:solidFill>
                <a:effectLst/>
                <a:uLnTx/>
                <a:uFillTx/>
                <a:latin typeface="Arial" charset="0"/>
                <a:ea typeface="+mn-ea"/>
                <a:cs typeface="+mn-cs"/>
              </a:rPr>
              <a:t> </a:t>
            </a: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 Lorem ipsum Lorem ipsum</a:t>
            </a:r>
          </a:p>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a:ln>
                  <a:noFill/>
                </a:ln>
                <a:solidFill>
                  <a:srgbClr val="000000"/>
                </a:solidFill>
                <a:effectLst/>
                <a:uLnTx/>
                <a:uFillTx/>
                <a:latin typeface="Arial" charset="0"/>
                <a:ea typeface="+mn-ea"/>
                <a:cs typeface="+mn-cs"/>
              </a:rPr>
              <a:t> </a:t>
            </a: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 Lorem ipsum Lorem ipsum</a:t>
            </a:r>
          </a:p>
          <a:p>
            <a:pPr marL="414000" marR="0" lvl="0" indent="-280800" algn="l" defTabSz="914264" rtl="0" eaLnBrk="0" fontAlgn="base" latinLnBrk="0" hangingPunct="0">
              <a:lnSpc>
                <a:spcPct val="100000"/>
              </a:lnSpc>
              <a:spcBef>
                <a:spcPts val="400"/>
              </a:spcBef>
              <a:spcAft>
                <a:spcPts val="400"/>
              </a:spcAft>
              <a:buClr>
                <a:srgbClr val="B40646"/>
              </a:buClr>
              <a:buSzPct val="82000"/>
              <a:buFont typeface="Wingdings 3" panose="05040102010807070707" pitchFamily="18" charset="2"/>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a:t>
            </a:r>
            <a:r>
              <a:rPr kumimoji="0" lang="en-GB" sz="1200" b="0" i="0" u="none" strike="noStrike" kern="1200" cap="none" spc="0" normalizeH="0" baseline="0" noProof="0">
                <a:ln>
                  <a:noFill/>
                </a:ln>
                <a:solidFill>
                  <a:srgbClr val="000000"/>
                </a:solidFill>
                <a:effectLst/>
                <a:uLnTx/>
                <a:uFillTx/>
                <a:latin typeface="Arial" charset="0"/>
                <a:ea typeface="+mn-ea"/>
                <a:cs typeface="+mn-cs"/>
              </a:rPr>
              <a:t> </a:t>
            </a:r>
            <a:r>
              <a:rPr kumimoji="0" lang="en-GB" sz="1200" b="0" i="0" u="none" strike="noStrike" kern="1200" cap="none" spc="0" normalizeH="0" baseline="0" noProof="0">
                <a:ln>
                  <a:noFill/>
                </a:ln>
                <a:solidFill>
                  <a:srgbClr val="000000"/>
                </a:solidFill>
                <a:effectLst/>
                <a:uLnTx/>
                <a:uFillTx/>
                <a:latin typeface="Arial"/>
                <a:ea typeface="+mn-ea"/>
                <a:cs typeface="+mn-cs"/>
              </a:rPr>
              <a:t>Lorem ipsum Lorem ipsum Lorem ipsum Lorem ipsum</a:t>
            </a:r>
            <a:endParaRPr kumimoji="0" lang="en-GB" sz="1200" b="0" i="0" u="none" strike="noStrike" kern="1200" cap="none" spc="0" normalizeH="0" baseline="0" noProof="0" dirty="0">
              <a:ln>
                <a:noFill/>
              </a:ln>
              <a:solidFill>
                <a:srgbClr val="404040"/>
              </a:solidFill>
              <a:effectLst/>
              <a:uLnTx/>
              <a:uFillTx/>
              <a:latin typeface="Arial"/>
              <a:ea typeface="+mn-ea"/>
              <a:cs typeface="+mn-cs"/>
            </a:endParaRPr>
          </a:p>
        </p:txBody>
      </p:sp>
      <p:cxnSp>
        <p:nvCxnSpPr>
          <p:cNvPr id="12" name="Straight Connector 179">
            <a:extLst>
              <a:ext uri="{FF2B5EF4-FFF2-40B4-BE49-F238E27FC236}">
                <a16:creationId xmlns:a16="http://schemas.microsoft.com/office/drawing/2014/main" id="{C10EA9CC-B06A-BF9F-9330-C91313550921}"/>
              </a:ext>
            </a:extLst>
          </p:cNvPr>
          <p:cNvCxnSpPr>
            <a:cxnSpLocks/>
            <a:stCxn id="23" idx="3"/>
          </p:cNvCxnSpPr>
          <p:nvPr/>
        </p:nvCxnSpPr>
        <p:spPr>
          <a:xfrm>
            <a:off x="2554539" y="1627815"/>
            <a:ext cx="7045067" cy="0"/>
          </a:xfrm>
          <a:prstGeom prst="line">
            <a:avLst/>
          </a:prstGeom>
          <a:ln>
            <a:solidFill>
              <a:srgbClr val="87737B"/>
            </a:solidFill>
            <a:prstDash val="dash"/>
          </a:ln>
        </p:spPr>
        <p:style>
          <a:lnRef idx="1">
            <a:schemeClr val="accent1"/>
          </a:lnRef>
          <a:fillRef idx="0">
            <a:schemeClr val="accent1"/>
          </a:fillRef>
          <a:effectRef idx="0">
            <a:schemeClr val="accent1"/>
          </a:effectRef>
          <a:fontRef idx="minor">
            <a:schemeClr val="tx1"/>
          </a:fontRef>
        </p:style>
      </p:cxnSp>
      <p:sp>
        <p:nvSpPr>
          <p:cNvPr id="13" name="Rounded Rectangle 152">
            <a:extLst>
              <a:ext uri="{FF2B5EF4-FFF2-40B4-BE49-F238E27FC236}">
                <a16:creationId xmlns:a16="http://schemas.microsoft.com/office/drawing/2014/main" id="{C6256311-C8C0-1077-61B9-517B496A2CF6}"/>
              </a:ext>
            </a:extLst>
          </p:cNvPr>
          <p:cNvSpPr/>
          <p:nvPr/>
        </p:nvSpPr>
        <p:spPr>
          <a:xfrm>
            <a:off x="2973926"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4</a:t>
            </a:r>
            <a:endParaRPr lang="en-GB" b="1" dirty="0">
              <a:solidFill>
                <a:srgbClr val="FFFFFF"/>
              </a:solidFill>
              <a:latin typeface="+mj-lt"/>
            </a:endParaRPr>
          </a:p>
        </p:txBody>
      </p:sp>
      <p:sp>
        <p:nvSpPr>
          <p:cNvPr id="14" name="Textfeld 18">
            <a:extLst>
              <a:ext uri="{FF2B5EF4-FFF2-40B4-BE49-F238E27FC236}">
                <a16:creationId xmlns:a16="http://schemas.microsoft.com/office/drawing/2014/main" id="{14F40147-6CF9-BB5F-6616-54243813D728}"/>
              </a:ext>
            </a:extLst>
          </p:cNvPr>
          <p:cNvSpPr txBox="1"/>
          <p:nvPr/>
        </p:nvSpPr>
        <p:spPr bwMode="gray">
          <a:xfrm>
            <a:off x="7224594" y="5578794"/>
            <a:ext cx="213152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To do</a:t>
            </a:r>
          </a:p>
          <a:p>
            <a:pPr algn="ctr" defTabSz="914823"/>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15" name="Textfeld 20">
            <a:extLst>
              <a:ext uri="{FF2B5EF4-FFF2-40B4-BE49-F238E27FC236}">
                <a16:creationId xmlns:a16="http://schemas.microsoft.com/office/drawing/2014/main" id="{9E90EF04-9450-5B1E-EE88-EF74A33C8506}"/>
              </a:ext>
            </a:extLst>
          </p:cNvPr>
          <p:cNvSpPr txBox="1"/>
          <p:nvPr/>
        </p:nvSpPr>
        <p:spPr bwMode="gray">
          <a:xfrm>
            <a:off x="9435043" y="5578794"/>
            <a:ext cx="213152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To do</a:t>
            </a:r>
          </a:p>
          <a:p>
            <a:pPr algn="ctr" defTabSz="914823"/>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16" name="Ellipse 62">
            <a:extLst>
              <a:ext uri="{FF2B5EF4-FFF2-40B4-BE49-F238E27FC236}">
                <a16:creationId xmlns:a16="http://schemas.microsoft.com/office/drawing/2014/main" id="{FE37120B-8C83-06A9-2EE5-1B2414308C3B}"/>
              </a:ext>
            </a:extLst>
          </p:cNvPr>
          <p:cNvSpPr/>
          <p:nvPr/>
        </p:nvSpPr>
        <p:spPr bwMode="gray">
          <a:xfrm>
            <a:off x="5772390"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7" name="Ellipse 62">
            <a:extLst>
              <a:ext uri="{FF2B5EF4-FFF2-40B4-BE49-F238E27FC236}">
                <a16:creationId xmlns:a16="http://schemas.microsoft.com/office/drawing/2014/main" id="{61840996-314E-AC8F-6D85-138972F54E78}"/>
              </a:ext>
            </a:extLst>
          </p:cNvPr>
          <p:cNvSpPr/>
          <p:nvPr/>
        </p:nvSpPr>
        <p:spPr bwMode="gray">
          <a:xfrm>
            <a:off x="7983004"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8" name="Ellipse 62">
            <a:extLst>
              <a:ext uri="{FF2B5EF4-FFF2-40B4-BE49-F238E27FC236}">
                <a16:creationId xmlns:a16="http://schemas.microsoft.com/office/drawing/2014/main" id="{301B6C6F-D413-6F45-6D47-F859DDF81921}"/>
              </a:ext>
            </a:extLst>
          </p:cNvPr>
          <p:cNvSpPr/>
          <p:nvPr/>
        </p:nvSpPr>
        <p:spPr bwMode="gray">
          <a:xfrm>
            <a:off x="10193619"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19" name="Ellipse 62">
            <a:extLst>
              <a:ext uri="{FF2B5EF4-FFF2-40B4-BE49-F238E27FC236}">
                <a16:creationId xmlns:a16="http://schemas.microsoft.com/office/drawing/2014/main" id="{20A234B5-6C82-FA93-3C5C-3297A8C66108}"/>
              </a:ext>
            </a:extLst>
          </p:cNvPr>
          <p:cNvSpPr/>
          <p:nvPr/>
        </p:nvSpPr>
        <p:spPr bwMode="gray">
          <a:xfrm>
            <a:off x="3561777"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20" name="Ellipse 62">
            <a:extLst>
              <a:ext uri="{FF2B5EF4-FFF2-40B4-BE49-F238E27FC236}">
                <a16:creationId xmlns:a16="http://schemas.microsoft.com/office/drawing/2014/main" id="{76BE1007-C444-A063-FACF-2A0BEC0C4522}"/>
              </a:ext>
            </a:extLst>
          </p:cNvPr>
          <p:cNvSpPr/>
          <p:nvPr/>
        </p:nvSpPr>
        <p:spPr bwMode="gray">
          <a:xfrm>
            <a:off x="1351164" y="4786410"/>
            <a:ext cx="614369" cy="614369"/>
          </a:xfrm>
          <a:prstGeom prst="ellipse">
            <a:avLst/>
          </a:prstGeom>
          <a:noFill/>
          <a:ln w="15875" cmpd="sng">
            <a:solidFill>
              <a:srgbClr val="87737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823"/>
            <a:endParaRPr lang="en-GB" sz="1600" dirty="0">
              <a:solidFill>
                <a:srgbClr val="FFFFFF"/>
              </a:solidFill>
              <a:latin typeface="Avenir LT Std 55 Roman" panose="020B0503020203020204" pitchFamily="34" charset="0"/>
              <a:cs typeface="Arial" panose="020B0604020202020204" pitchFamily="34" charset="0"/>
            </a:endParaRPr>
          </a:p>
        </p:txBody>
      </p:sp>
      <p:sp>
        <p:nvSpPr>
          <p:cNvPr id="21" name="Rounded Rectangle 155">
            <a:extLst>
              <a:ext uri="{FF2B5EF4-FFF2-40B4-BE49-F238E27FC236}">
                <a16:creationId xmlns:a16="http://schemas.microsoft.com/office/drawing/2014/main" id="{D8BF7FDB-44BC-AD93-3420-7BAB053AC589}"/>
              </a:ext>
            </a:extLst>
          </p:cNvPr>
          <p:cNvSpPr/>
          <p:nvPr/>
        </p:nvSpPr>
        <p:spPr>
          <a:xfrm>
            <a:off x="5184376"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3</a:t>
            </a:r>
            <a:endParaRPr lang="en-GB" b="1" dirty="0">
              <a:solidFill>
                <a:srgbClr val="FFFFFF"/>
              </a:solidFill>
              <a:latin typeface="+mj-lt"/>
            </a:endParaRPr>
          </a:p>
        </p:txBody>
      </p:sp>
      <p:sp>
        <p:nvSpPr>
          <p:cNvPr id="22" name="Rounded Rectangle 158">
            <a:extLst>
              <a:ext uri="{FF2B5EF4-FFF2-40B4-BE49-F238E27FC236}">
                <a16:creationId xmlns:a16="http://schemas.microsoft.com/office/drawing/2014/main" id="{F4E86753-907C-1513-6BFA-87AF770DB61A}"/>
              </a:ext>
            </a:extLst>
          </p:cNvPr>
          <p:cNvSpPr/>
          <p:nvPr/>
        </p:nvSpPr>
        <p:spPr>
          <a:xfrm>
            <a:off x="7394824"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1</a:t>
            </a:r>
            <a:endParaRPr lang="en-GB" b="1" dirty="0">
              <a:solidFill>
                <a:srgbClr val="FFFFFF"/>
              </a:solidFill>
              <a:latin typeface="+mj-lt"/>
            </a:endParaRPr>
          </a:p>
        </p:txBody>
      </p:sp>
      <p:sp>
        <p:nvSpPr>
          <p:cNvPr id="23" name="Rounded Rectangle 148">
            <a:extLst>
              <a:ext uri="{FF2B5EF4-FFF2-40B4-BE49-F238E27FC236}">
                <a16:creationId xmlns:a16="http://schemas.microsoft.com/office/drawing/2014/main" id="{C0C93450-E4B1-29D4-E0C2-00F4B086FBBC}"/>
              </a:ext>
            </a:extLst>
          </p:cNvPr>
          <p:cNvSpPr/>
          <p:nvPr/>
        </p:nvSpPr>
        <p:spPr>
          <a:xfrm>
            <a:off x="763477" y="1446435"/>
            <a:ext cx="1791062" cy="362760"/>
          </a:xfrm>
          <a:prstGeom prst="homePlate">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WEEK - 6</a:t>
            </a:r>
            <a:endParaRPr lang="en-GB" b="1" dirty="0">
              <a:solidFill>
                <a:srgbClr val="FFFFFF"/>
              </a:solidFill>
              <a:latin typeface="+mj-lt"/>
            </a:endParaRPr>
          </a:p>
        </p:txBody>
      </p:sp>
      <p:sp>
        <p:nvSpPr>
          <p:cNvPr id="24" name="Rounded Rectangle 161">
            <a:extLst>
              <a:ext uri="{FF2B5EF4-FFF2-40B4-BE49-F238E27FC236}">
                <a16:creationId xmlns:a16="http://schemas.microsoft.com/office/drawing/2014/main" id="{B373111B-854C-1588-03FF-353C7FEBAB4B}"/>
              </a:ext>
            </a:extLst>
          </p:cNvPr>
          <p:cNvSpPr/>
          <p:nvPr/>
        </p:nvSpPr>
        <p:spPr>
          <a:xfrm>
            <a:off x="9605272" y="1446435"/>
            <a:ext cx="1791062" cy="362760"/>
          </a:xfrm>
          <a:prstGeom prst="round1Rect">
            <a:avLst>
              <a:gd name="adj" fmla="val 0"/>
            </a:avLst>
          </a:prstGeom>
          <a:solidFill>
            <a:srgbClr val="877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264"/>
            <a:r>
              <a:rPr lang="en-GB" b="1">
                <a:solidFill>
                  <a:srgbClr val="FFFFFF"/>
                </a:solidFill>
                <a:latin typeface="+mj-lt"/>
              </a:rPr>
              <a:t>D - DAY</a:t>
            </a:r>
            <a:endParaRPr lang="en-GB" b="1" dirty="0">
              <a:solidFill>
                <a:srgbClr val="FFFFFF"/>
              </a:solidFill>
              <a:latin typeface="+mj-lt"/>
            </a:endParaRPr>
          </a:p>
        </p:txBody>
      </p:sp>
      <p:cxnSp>
        <p:nvCxnSpPr>
          <p:cNvPr id="25" name="Straight Connector 168">
            <a:extLst>
              <a:ext uri="{FF2B5EF4-FFF2-40B4-BE49-F238E27FC236}">
                <a16:creationId xmlns:a16="http://schemas.microsoft.com/office/drawing/2014/main" id="{561E3F42-AC49-161E-431F-1DDD9F4510ED}"/>
              </a:ext>
            </a:extLst>
          </p:cNvPr>
          <p:cNvCxnSpPr/>
          <p:nvPr/>
        </p:nvCxnSpPr>
        <p:spPr>
          <a:xfrm>
            <a:off x="426994" y="5578792"/>
            <a:ext cx="1130594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6" name="Textfeld 18">
            <a:extLst>
              <a:ext uri="{FF2B5EF4-FFF2-40B4-BE49-F238E27FC236}">
                <a16:creationId xmlns:a16="http://schemas.microsoft.com/office/drawing/2014/main" id="{7156F747-1E5F-BCE1-E0B7-0B1EB2493CA2}"/>
              </a:ext>
            </a:extLst>
          </p:cNvPr>
          <p:cNvSpPr txBox="1"/>
          <p:nvPr/>
        </p:nvSpPr>
        <p:spPr bwMode="gray">
          <a:xfrm>
            <a:off x="2803696" y="5578794"/>
            <a:ext cx="2131520" cy="338136"/>
          </a:xfrm>
          <a:prstGeom prst="rect">
            <a:avLst/>
          </a:prstGeom>
          <a:solidFill>
            <a:schemeClr val="tx2"/>
          </a:solidFill>
        </p:spPr>
        <p:txBody>
          <a:bodyPr wrap="none" tIns="71983" bIns="0" rtlCol="0" anchor="t">
            <a:noAutofit/>
          </a:bodyPr>
          <a:lstStyle/>
          <a:p>
            <a:pPr algn="ctr" defTabSz="914823"/>
            <a:r>
              <a:rPr lang="en-GB" b="1" noProof="1">
                <a:solidFill>
                  <a:srgbClr val="FFFFFF"/>
                </a:solidFill>
                <a:latin typeface="Avenir LT Std 55 Roman" panose="020B0503020203020204" pitchFamily="34" charset="0"/>
                <a:cs typeface="Arial" panose="020B0604020202020204" pitchFamily="34" charset="0"/>
              </a:rPr>
              <a:t>Done</a:t>
            </a:r>
            <a:endParaRPr lang="en-GB" sz="1400" b="1" noProof="1">
              <a:solidFill>
                <a:srgbClr val="FFFFFF"/>
              </a:solidFill>
              <a:latin typeface="Avenir LT Std 55 Roman" panose="020B0503020203020204" pitchFamily="34" charset="0"/>
              <a:cs typeface="Arial" panose="020B0604020202020204" pitchFamily="34" charset="0"/>
            </a:endParaRPr>
          </a:p>
        </p:txBody>
      </p:sp>
      <p:sp>
        <p:nvSpPr>
          <p:cNvPr id="27" name="Textfeld 20">
            <a:extLst>
              <a:ext uri="{FF2B5EF4-FFF2-40B4-BE49-F238E27FC236}">
                <a16:creationId xmlns:a16="http://schemas.microsoft.com/office/drawing/2014/main" id="{5442160D-7480-91E2-CCB3-343F69332C71}"/>
              </a:ext>
            </a:extLst>
          </p:cNvPr>
          <p:cNvSpPr txBox="1"/>
          <p:nvPr/>
        </p:nvSpPr>
        <p:spPr bwMode="gray">
          <a:xfrm>
            <a:off x="5014145" y="5578794"/>
            <a:ext cx="213152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To do</a:t>
            </a:r>
          </a:p>
        </p:txBody>
      </p:sp>
      <p:sp>
        <p:nvSpPr>
          <p:cNvPr id="28" name="Textfeld 18">
            <a:extLst>
              <a:ext uri="{FF2B5EF4-FFF2-40B4-BE49-F238E27FC236}">
                <a16:creationId xmlns:a16="http://schemas.microsoft.com/office/drawing/2014/main" id="{93AA347E-62F5-54B3-B3CD-CE7A44109CF0}"/>
              </a:ext>
            </a:extLst>
          </p:cNvPr>
          <p:cNvSpPr txBox="1"/>
          <p:nvPr/>
        </p:nvSpPr>
        <p:spPr bwMode="gray">
          <a:xfrm>
            <a:off x="593248" y="5578794"/>
            <a:ext cx="2131520" cy="338136"/>
          </a:xfrm>
          <a:prstGeom prst="rect">
            <a:avLst/>
          </a:prstGeom>
          <a:solidFill>
            <a:schemeClr val="tx2"/>
          </a:solidFill>
        </p:spPr>
        <p:txBody>
          <a:bodyPr wrap="none" tIns="71983" bIns="0" rtlCol="0" anchor="t">
            <a:noAutofit/>
          </a:bodyPr>
          <a:lstStyle/>
          <a:p>
            <a:pPr algn="ctr" defTabSz="914823"/>
            <a:r>
              <a:rPr lang="en-GB" sz="1400" b="1" noProof="1">
                <a:solidFill>
                  <a:srgbClr val="FFFFFF"/>
                </a:solidFill>
                <a:latin typeface="Avenir LT Std 55 Roman" panose="020B0503020203020204" pitchFamily="34" charset="0"/>
                <a:cs typeface="Arial" panose="020B0604020202020204" pitchFamily="34" charset="0"/>
              </a:rPr>
              <a:t>Done</a:t>
            </a:r>
          </a:p>
        </p:txBody>
      </p:sp>
      <p:sp>
        <p:nvSpPr>
          <p:cNvPr id="29" name="Freeform 10">
            <a:extLst>
              <a:ext uri="{FF2B5EF4-FFF2-40B4-BE49-F238E27FC236}">
                <a16:creationId xmlns:a16="http://schemas.microsoft.com/office/drawing/2014/main" id="{AB64D54E-31F8-6996-4605-5312BD887729}"/>
              </a:ext>
            </a:extLst>
          </p:cNvPr>
          <p:cNvSpPr>
            <a:spLocks noEditPoints="1"/>
          </p:cNvSpPr>
          <p:nvPr/>
        </p:nvSpPr>
        <p:spPr bwMode="auto">
          <a:xfrm>
            <a:off x="1424652" y="4850938"/>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tx2"/>
          </a:solidFill>
          <a:ln>
            <a:noFill/>
          </a:ln>
        </p:spPr>
        <p:txBody>
          <a:bodyPr vert="horz" wrap="square" lIns="91419" tIns="45709" rIns="91419" bIns="45709" numCol="1" anchor="t" anchorCtr="0" compatLnSpc="1">
            <a:prstTxWarp prst="textNoShape">
              <a:avLst/>
            </a:prstTxWarp>
          </a:bodyPr>
          <a:lstStyle/>
          <a:p>
            <a:pPr defTabSz="914264"/>
            <a:endParaRPr lang="en-GB" sz="1600" dirty="0">
              <a:solidFill>
                <a:srgbClr val="000000"/>
              </a:solidFill>
              <a:latin typeface="Avenir LT Std 55 Roman" panose="020B0503020203020204" pitchFamily="34" charset="0"/>
            </a:endParaRPr>
          </a:p>
        </p:txBody>
      </p:sp>
      <p:sp>
        <p:nvSpPr>
          <p:cNvPr id="30" name="Freeform 10">
            <a:extLst>
              <a:ext uri="{FF2B5EF4-FFF2-40B4-BE49-F238E27FC236}">
                <a16:creationId xmlns:a16="http://schemas.microsoft.com/office/drawing/2014/main" id="{0D1576CA-181D-C5C5-C8BD-CDA526C1237B}"/>
              </a:ext>
            </a:extLst>
          </p:cNvPr>
          <p:cNvSpPr>
            <a:spLocks noEditPoints="1"/>
          </p:cNvSpPr>
          <p:nvPr/>
        </p:nvSpPr>
        <p:spPr bwMode="auto">
          <a:xfrm>
            <a:off x="3624950" y="4850938"/>
            <a:ext cx="477681" cy="48188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tx2"/>
          </a:solidFill>
          <a:ln>
            <a:noFill/>
          </a:ln>
        </p:spPr>
        <p:txBody>
          <a:bodyPr vert="horz" wrap="square" lIns="91419" tIns="45709" rIns="91419" bIns="45709" numCol="1" anchor="t" anchorCtr="0" compatLnSpc="1">
            <a:prstTxWarp prst="textNoShape">
              <a:avLst/>
            </a:prstTxWarp>
          </a:bodyPr>
          <a:lstStyle/>
          <a:p>
            <a:pPr defTabSz="914264"/>
            <a:endParaRPr lang="en-GB" sz="1600" dirty="0">
              <a:solidFill>
                <a:srgbClr val="000000"/>
              </a:solidFill>
              <a:latin typeface="Avenir LT Std 55 Roman" panose="020B0503020203020204" pitchFamily="34" charset="0"/>
            </a:endParaRPr>
          </a:p>
        </p:txBody>
      </p:sp>
    </p:spTree>
    <p:extLst>
      <p:ext uri="{BB962C8B-B14F-4D97-AF65-F5344CB8AC3E}">
        <p14:creationId xmlns:p14="http://schemas.microsoft.com/office/powerpoint/2010/main" val="124841950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6A32F059-FE1D-8660-399D-2CEBC804C8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9" name="Objet 8" hidden="1">
                        <a:extLst>
                          <a:ext uri="{FF2B5EF4-FFF2-40B4-BE49-F238E27FC236}">
                            <a16:creationId xmlns:a16="http://schemas.microsoft.com/office/drawing/2014/main" id="{6A32F059-FE1D-8660-399D-2CEBC804C8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5EDF5DD-0AB6-9264-3222-4F7A559C138F}"/>
              </a:ext>
            </a:extLst>
          </p:cNvPr>
          <p:cNvSpPr>
            <a:spLocks noGrp="1"/>
          </p:cNvSpPr>
          <p:nvPr>
            <p:ph type="title"/>
          </p:nvPr>
        </p:nvSpPr>
        <p:spPr/>
        <p:txBody>
          <a:bodyPr vert="horz"/>
          <a:lstStyle/>
          <a:p>
            <a:r>
              <a:rPr lang="en-GB"/>
              <a:t>Four keys to success</a:t>
            </a:r>
            <a:endParaRPr lang="en-GB" dirty="0"/>
          </a:p>
        </p:txBody>
      </p:sp>
      <p:sp>
        <p:nvSpPr>
          <p:cNvPr id="10" name="Google Shape;9221;p340">
            <a:extLst>
              <a:ext uri="{FF2B5EF4-FFF2-40B4-BE49-F238E27FC236}">
                <a16:creationId xmlns:a16="http://schemas.microsoft.com/office/drawing/2014/main" id="{703002A8-F597-9837-87C9-6572440C17F0}"/>
              </a:ext>
            </a:extLst>
          </p:cNvPr>
          <p:cNvSpPr/>
          <p:nvPr/>
        </p:nvSpPr>
        <p:spPr>
          <a:xfrm rot="10800000" flipH="1">
            <a:off x="1994338" y="3418392"/>
            <a:ext cx="1295400" cy="1100133"/>
          </a:xfrm>
          <a:custGeom>
            <a:avLst/>
            <a:gdLst/>
            <a:ahLst/>
            <a:cxnLst/>
            <a:rect l="l" t="t" r="r" b="b"/>
            <a:pathLst>
              <a:path w="1295400" h="1100133" extrusionOk="0">
                <a:moveTo>
                  <a:pt x="0" y="1081083"/>
                </a:moveTo>
                <a:lnTo>
                  <a:pt x="514350" y="0"/>
                </a:lnTo>
                <a:lnTo>
                  <a:pt x="1295400" y="0"/>
                </a:lnTo>
                <a:lnTo>
                  <a:pt x="857250" y="1100133"/>
                </a:lnTo>
                <a:lnTo>
                  <a:pt x="0" y="1081083"/>
                </a:lnTo>
                <a:close/>
              </a:path>
            </a:pathLst>
          </a:custGeom>
          <a:solidFill>
            <a:schemeClr val="tx2"/>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1" name="Google Shape;9222;p340">
            <a:extLst>
              <a:ext uri="{FF2B5EF4-FFF2-40B4-BE49-F238E27FC236}">
                <a16:creationId xmlns:a16="http://schemas.microsoft.com/office/drawing/2014/main" id="{4835DFD9-5C6E-5E14-2101-5A91BAC8AC3F}"/>
              </a:ext>
            </a:extLst>
          </p:cNvPr>
          <p:cNvSpPr/>
          <p:nvPr/>
        </p:nvSpPr>
        <p:spPr>
          <a:xfrm flipH="1">
            <a:off x="7861738" y="2884992"/>
            <a:ext cx="1295400" cy="1100133"/>
          </a:xfrm>
          <a:custGeom>
            <a:avLst/>
            <a:gdLst/>
            <a:ahLst/>
            <a:cxnLst/>
            <a:rect l="l" t="t" r="r" b="b"/>
            <a:pathLst>
              <a:path w="1295400" h="1100133" extrusionOk="0">
                <a:moveTo>
                  <a:pt x="0" y="1081083"/>
                </a:moveTo>
                <a:lnTo>
                  <a:pt x="514350" y="0"/>
                </a:lnTo>
                <a:lnTo>
                  <a:pt x="1295400" y="0"/>
                </a:lnTo>
                <a:lnTo>
                  <a:pt x="857250" y="1100133"/>
                </a:lnTo>
                <a:lnTo>
                  <a:pt x="0" y="1081083"/>
                </a:lnTo>
                <a:close/>
              </a:path>
            </a:pathLst>
          </a:custGeom>
          <a:solidFill>
            <a:schemeClr val="accent4"/>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2" name="Google Shape;9223;p340">
            <a:extLst>
              <a:ext uri="{FF2B5EF4-FFF2-40B4-BE49-F238E27FC236}">
                <a16:creationId xmlns:a16="http://schemas.microsoft.com/office/drawing/2014/main" id="{C34A55F5-2B80-CE33-DAB9-BED876FABE9E}"/>
              </a:ext>
            </a:extLst>
          </p:cNvPr>
          <p:cNvSpPr/>
          <p:nvPr/>
        </p:nvSpPr>
        <p:spPr>
          <a:xfrm flipH="1">
            <a:off x="3289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3" name="Google Shape;9224;p340">
            <a:extLst>
              <a:ext uri="{FF2B5EF4-FFF2-40B4-BE49-F238E27FC236}">
                <a16:creationId xmlns:a16="http://schemas.microsoft.com/office/drawing/2014/main" id="{BF017352-69B0-196E-3735-0335816BFE4D}"/>
              </a:ext>
            </a:extLst>
          </p:cNvPr>
          <p:cNvSpPr/>
          <p:nvPr/>
        </p:nvSpPr>
        <p:spPr>
          <a:xfrm flipH="1">
            <a:off x="4813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accent6"/>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4" name="Google Shape;9225;p340">
            <a:extLst>
              <a:ext uri="{FF2B5EF4-FFF2-40B4-BE49-F238E27FC236}">
                <a16:creationId xmlns:a16="http://schemas.microsoft.com/office/drawing/2014/main" id="{D623EE7E-64CA-2372-67D0-3E0255A295A3}"/>
              </a:ext>
            </a:extLst>
          </p:cNvPr>
          <p:cNvSpPr/>
          <p:nvPr/>
        </p:nvSpPr>
        <p:spPr>
          <a:xfrm flipH="1">
            <a:off x="6337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accent5"/>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5" name="Google Shape;9226;p340">
            <a:extLst>
              <a:ext uri="{FF2B5EF4-FFF2-40B4-BE49-F238E27FC236}">
                <a16:creationId xmlns:a16="http://schemas.microsoft.com/office/drawing/2014/main" id="{27A5DFF3-3317-063A-C43B-CC3405D585FB}"/>
              </a:ext>
            </a:extLst>
          </p:cNvPr>
          <p:cNvSpPr/>
          <p:nvPr/>
        </p:nvSpPr>
        <p:spPr>
          <a:xfrm>
            <a:off x="1079938" y="2884991"/>
            <a:ext cx="8991600" cy="1600200"/>
          </a:xfrm>
          <a:prstGeom prst="rightArrow">
            <a:avLst>
              <a:gd name="adj1" fmla="val 63748"/>
              <a:gd name="adj2" fmla="val 49509"/>
            </a:avLst>
          </a:prstGeom>
          <a:solidFill>
            <a:srgbClr val="D8D8D8"/>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6" name="Google Shape;9227;p340">
            <a:extLst>
              <a:ext uri="{FF2B5EF4-FFF2-40B4-BE49-F238E27FC236}">
                <a16:creationId xmlns:a16="http://schemas.microsoft.com/office/drawing/2014/main" id="{3028AA32-0768-8965-28DA-2358395A5ABA}"/>
              </a:ext>
            </a:extLst>
          </p:cNvPr>
          <p:cNvSpPr/>
          <p:nvPr/>
        </p:nvSpPr>
        <p:spPr>
          <a:xfrm>
            <a:off x="2527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7" name="Google Shape;9228;p340">
            <a:extLst>
              <a:ext uri="{FF2B5EF4-FFF2-40B4-BE49-F238E27FC236}">
                <a16:creationId xmlns:a16="http://schemas.microsoft.com/office/drawing/2014/main" id="{EAE20435-0B5B-696F-E332-C53544270994}"/>
              </a:ext>
            </a:extLst>
          </p:cNvPr>
          <p:cNvSpPr/>
          <p:nvPr/>
        </p:nvSpPr>
        <p:spPr>
          <a:xfrm>
            <a:off x="4051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accent6"/>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8" name="Google Shape;9229;p340">
            <a:extLst>
              <a:ext uri="{FF2B5EF4-FFF2-40B4-BE49-F238E27FC236}">
                <a16:creationId xmlns:a16="http://schemas.microsoft.com/office/drawing/2014/main" id="{742F08D1-E335-C217-967E-F92CC9B873E3}"/>
              </a:ext>
            </a:extLst>
          </p:cNvPr>
          <p:cNvSpPr/>
          <p:nvPr/>
        </p:nvSpPr>
        <p:spPr>
          <a:xfrm>
            <a:off x="5575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accent5"/>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19" name="Google Shape;9230;p340">
            <a:extLst>
              <a:ext uri="{FF2B5EF4-FFF2-40B4-BE49-F238E27FC236}">
                <a16:creationId xmlns:a16="http://schemas.microsoft.com/office/drawing/2014/main" id="{E753B72B-258E-952C-6A22-C57AFF07F9E7}"/>
              </a:ext>
            </a:extLst>
          </p:cNvPr>
          <p:cNvSpPr/>
          <p:nvPr/>
        </p:nvSpPr>
        <p:spPr>
          <a:xfrm>
            <a:off x="7099738" y="2884992"/>
            <a:ext cx="1524000" cy="1633533"/>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accent4"/>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20" name="Google Shape;9246;p340">
            <a:extLst>
              <a:ext uri="{FF2B5EF4-FFF2-40B4-BE49-F238E27FC236}">
                <a16:creationId xmlns:a16="http://schemas.microsoft.com/office/drawing/2014/main" id="{10782370-7E19-7131-38CB-6B0BBA7B586A}"/>
              </a:ext>
            </a:extLst>
          </p:cNvPr>
          <p:cNvSpPr/>
          <p:nvPr/>
        </p:nvSpPr>
        <p:spPr>
          <a:xfrm>
            <a:off x="10481128" y="3255285"/>
            <a:ext cx="742940" cy="883474"/>
          </a:xfrm>
          <a:custGeom>
            <a:avLst/>
            <a:gdLst/>
            <a:ahLst/>
            <a:cxnLst/>
            <a:rect l="l" t="t" r="r" b="b"/>
            <a:pathLst>
              <a:path w="67" h="62" extrusionOk="0">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accent6"/>
          </a:solidFill>
          <a:ln>
            <a:noFill/>
          </a:ln>
        </p:spPr>
        <p:txBody>
          <a:bodyPr spcFirstLastPara="1" wrap="square" lIns="91425" tIns="45700" rIns="91425" bIns="45700" anchor="t" anchorCtr="0">
            <a:noAutofit/>
          </a:bodyPr>
          <a:lstStyle/>
          <a:p>
            <a:pPr eaLnBrk="1" fontAlgn="auto" hangingPunct="1">
              <a:spcBef>
                <a:spcPts val="0"/>
              </a:spcBef>
              <a:spcAft>
                <a:spcPts val="0"/>
              </a:spcAft>
              <a:buClr>
                <a:srgbClr val="000000"/>
              </a:buClr>
              <a:defRPr/>
            </a:pPr>
            <a:endParaRPr lang="en-GB" sz="2000" kern="0" dirty="0">
              <a:solidFill>
                <a:srgbClr val="262626"/>
              </a:solidFill>
              <a:latin typeface="Arial"/>
              <a:ea typeface="Arial"/>
              <a:cs typeface="Arial"/>
              <a:sym typeface="Arial"/>
            </a:endParaRPr>
          </a:p>
        </p:txBody>
      </p:sp>
      <p:pic>
        <p:nvPicPr>
          <p:cNvPr id="21" name="Image 20">
            <a:extLst>
              <a:ext uri="{FF2B5EF4-FFF2-40B4-BE49-F238E27FC236}">
                <a16:creationId xmlns:a16="http://schemas.microsoft.com/office/drawing/2014/main" id="{35A82A4F-5C95-BF64-71A0-C718F132DD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9357" y="3456106"/>
            <a:ext cx="430886" cy="430886"/>
          </a:xfrm>
          <a:prstGeom prst="rect">
            <a:avLst/>
          </a:prstGeom>
        </p:spPr>
      </p:pic>
      <p:sp>
        <p:nvSpPr>
          <p:cNvPr id="22" name="Google Shape;9244;p340">
            <a:extLst>
              <a:ext uri="{FF2B5EF4-FFF2-40B4-BE49-F238E27FC236}">
                <a16:creationId xmlns:a16="http://schemas.microsoft.com/office/drawing/2014/main" id="{00396630-BA61-7A80-32DE-619999150439}"/>
              </a:ext>
            </a:extLst>
          </p:cNvPr>
          <p:cNvSpPr/>
          <p:nvPr/>
        </p:nvSpPr>
        <p:spPr>
          <a:xfrm>
            <a:off x="6147233" y="3520769"/>
            <a:ext cx="359334" cy="361976"/>
          </a:xfrm>
          <a:custGeom>
            <a:avLst/>
            <a:gdLst/>
            <a:ahLst/>
            <a:cxnLst/>
            <a:rect l="l" t="t" r="r" b="b"/>
            <a:pathLst>
              <a:path w="63" h="63" extrusionOk="0">
                <a:moveTo>
                  <a:pt x="63" y="43"/>
                </a:moveTo>
                <a:cubicBezTo>
                  <a:pt x="63" y="45"/>
                  <a:pt x="62" y="47"/>
                  <a:pt x="60" y="48"/>
                </a:cubicBezTo>
                <a:cubicBezTo>
                  <a:pt x="34" y="62"/>
                  <a:pt x="34" y="62"/>
                  <a:pt x="34" y="62"/>
                </a:cubicBezTo>
                <a:cubicBezTo>
                  <a:pt x="33" y="63"/>
                  <a:pt x="32" y="63"/>
                  <a:pt x="31" y="63"/>
                </a:cubicBezTo>
                <a:cubicBezTo>
                  <a:pt x="31" y="63"/>
                  <a:pt x="30" y="63"/>
                  <a:pt x="29" y="62"/>
                </a:cubicBezTo>
                <a:cubicBezTo>
                  <a:pt x="2" y="48"/>
                  <a:pt x="2" y="48"/>
                  <a:pt x="2" y="48"/>
                </a:cubicBezTo>
                <a:cubicBezTo>
                  <a:pt x="1" y="47"/>
                  <a:pt x="0" y="45"/>
                  <a:pt x="0" y="43"/>
                </a:cubicBezTo>
                <a:cubicBezTo>
                  <a:pt x="0" y="14"/>
                  <a:pt x="0" y="14"/>
                  <a:pt x="0" y="14"/>
                </a:cubicBezTo>
                <a:cubicBezTo>
                  <a:pt x="0" y="12"/>
                  <a:pt x="1" y="10"/>
                  <a:pt x="3" y="10"/>
                </a:cubicBezTo>
                <a:cubicBezTo>
                  <a:pt x="30" y="0"/>
                  <a:pt x="30" y="0"/>
                  <a:pt x="30" y="0"/>
                </a:cubicBezTo>
                <a:cubicBezTo>
                  <a:pt x="30" y="0"/>
                  <a:pt x="31" y="0"/>
                  <a:pt x="31" y="0"/>
                </a:cubicBezTo>
                <a:cubicBezTo>
                  <a:pt x="32" y="0"/>
                  <a:pt x="32" y="0"/>
                  <a:pt x="33" y="0"/>
                </a:cubicBezTo>
                <a:cubicBezTo>
                  <a:pt x="60" y="10"/>
                  <a:pt x="60" y="10"/>
                  <a:pt x="60" y="10"/>
                </a:cubicBezTo>
                <a:cubicBezTo>
                  <a:pt x="62" y="10"/>
                  <a:pt x="63" y="12"/>
                  <a:pt x="63" y="14"/>
                </a:cubicBezTo>
                <a:lnTo>
                  <a:pt x="63" y="43"/>
                </a:lnTo>
                <a:close/>
                <a:moveTo>
                  <a:pt x="58" y="14"/>
                </a:moveTo>
                <a:cubicBezTo>
                  <a:pt x="31" y="4"/>
                  <a:pt x="31" y="4"/>
                  <a:pt x="31" y="4"/>
                </a:cubicBezTo>
                <a:cubicBezTo>
                  <a:pt x="5" y="14"/>
                  <a:pt x="5" y="14"/>
                  <a:pt x="5" y="14"/>
                </a:cubicBezTo>
                <a:cubicBezTo>
                  <a:pt x="31" y="24"/>
                  <a:pt x="31" y="24"/>
                  <a:pt x="31" y="24"/>
                </a:cubicBezTo>
                <a:lnTo>
                  <a:pt x="58" y="14"/>
                </a:lnTo>
                <a:close/>
                <a:moveTo>
                  <a:pt x="58" y="43"/>
                </a:moveTo>
                <a:cubicBezTo>
                  <a:pt x="58" y="19"/>
                  <a:pt x="58" y="19"/>
                  <a:pt x="58" y="19"/>
                </a:cubicBezTo>
                <a:cubicBezTo>
                  <a:pt x="34" y="28"/>
                  <a:pt x="34" y="28"/>
                  <a:pt x="34" y="28"/>
                </a:cubicBezTo>
                <a:cubicBezTo>
                  <a:pt x="34" y="57"/>
                  <a:pt x="34" y="57"/>
                  <a:pt x="34" y="57"/>
                </a:cubicBezTo>
                <a:lnTo>
                  <a:pt x="58" y="43"/>
                </a:lnTo>
                <a:close/>
              </a:path>
            </a:pathLst>
          </a:custGeom>
          <a:solidFill>
            <a:srgbClr val="FFFFFF"/>
          </a:solidFill>
          <a:ln>
            <a:noFill/>
          </a:ln>
        </p:spPr>
        <p:txBody>
          <a:bodyPr spcFirstLastPara="1" wrap="square" lIns="91425" tIns="45700" rIns="91425" bIns="45700" anchor="t" anchorCtr="0">
            <a:noAutofit/>
          </a:bodyPr>
          <a:lstStyle/>
          <a:p>
            <a:pPr eaLnBrk="1" fontAlgn="auto" hangingPunct="1">
              <a:spcBef>
                <a:spcPts val="0"/>
              </a:spcBef>
              <a:spcAft>
                <a:spcPts val="0"/>
              </a:spcAft>
              <a:buClr>
                <a:srgbClr val="000000"/>
              </a:buClr>
              <a:defRPr/>
            </a:pPr>
            <a:endParaRPr lang="en-GB" sz="2000" kern="0" dirty="0">
              <a:solidFill>
                <a:srgbClr val="262626"/>
              </a:solidFill>
              <a:latin typeface="Arial"/>
              <a:ea typeface="Arial"/>
              <a:cs typeface="Arial"/>
              <a:sym typeface="Arial"/>
            </a:endParaRPr>
          </a:p>
        </p:txBody>
      </p:sp>
      <p:sp>
        <p:nvSpPr>
          <p:cNvPr id="23" name="Google Shape;9245;p340">
            <a:extLst>
              <a:ext uri="{FF2B5EF4-FFF2-40B4-BE49-F238E27FC236}">
                <a16:creationId xmlns:a16="http://schemas.microsoft.com/office/drawing/2014/main" id="{FE91D206-75E4-3E38-A134-BDE84F4E2B06}"/>
              </a:ext>
            </a:extLst>
          </p:cNvPr>
          <p:cNvSpPr/>
          <p:nvPr/>
        </p:nvSpPr>
        <p:spPr>
          <a:xfrm>
            <a:off x="7703719" y="3487310"/>
            <a:ext cx="378651" cy="326519"/>
          </a:xfrm>
          <a:custGeom>
            <a:avLst/>
            <a:gdLst/>
            <a:ahLst/>
            <a:cxnLst/>
            <a:rect l="l" t="t" r="r" b="b"/>
            <a:pathLst>
              <a:path w="64" h="55" extrusionOk="0">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rgbClr val="FFFFFF"/>
          </a:solidFill>
          <a:ln>
            <a:noFill/>
          </a:ln>
        </p:spPr>
        <p:txBody>
          <a:bodyPr spcFirstLastPara="1" wrap="square" lIns="91425" tIns="45700" rIns="91425" bIns="45700" anchor="t" anchorCtr="0">
            <a:noAutofit/>
          </a:bodyPr>
          <a:lstStyle/>
          <a:p>
            <a:pPr eaLnBrk="1" fontAlgn="auto" hangingPunct="1">
              <a:spcBef>
                <a:spcPts val="0"/>
              </a:spcBef>
              <a:spcAft>
                <a:spcPts val="0"/>
              </a:spcAft>
              <a:buClr>
                <a:srgbClr val="000000"/>
              </a:buClr>
              <a:defRPr/>
            </a:pPr>
            <a:endParaRPr lang="en-GB" sz="2000" kern="0" dirty="0">
              <a:solidFill>
                <a:srgbClr val="262626"/>
              </a:solidFill>
              <a:latin typeface="Arial"/>
              <a:ea typeface="Arial"/>
              <a:cs typeface="Arial"/>
              <a:sym typeface="Arial"/>
            </a:endParaRPr>
          </a:p>
        </p:txBody>
      </p:sp>
      <p:pic>
        <p:nvPicPr>
          <p:cNvPr id="24" name="Image 23">
            <a:extLst>
              <a:ext uri="{FF2B5EF4-FFF2-40B4-BE49-F238E27FC236}">
                <a16:creationId xmlns:a16="http://schemas.microsoft.com/office/drawing/2014/main" id="{C40EC3C9-8DE5-97FB-0345-6B804022CB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495" y="3456106"/>
            <a:ext cx="481832" cy="481832"/>
          </a:xfrm>
          <a:prstGeom prst="rect">
            <a:avLst/>
          </a:prstGeom>
        </p:spPr>
      </p:pic>
      <p:sp>
        <p:nvSpPr>
          <p:cNvPr id="25" name="Rectangle 24">
            <a:extLst>
              <a:ext uri="{FF2B5EF4-FFF2-40B4-BE49-F238E27FC236}">
                <a16:creationId xmlns:a16="http://schemas.microsoft.com/office/drawing/2014/main" id="{66EF4A4E-D6F2-4C89-1E3F-474AD4C997E6}"/>
              </a:ext>
            </a:extLst>
          </p:cNvPr>
          <p:cNvSpPr/>
          <p:nvPr/>
        </p:nvSpPr>
        <p:spPr bwMode="auto">
          <a:xfrm>
            <a:off x="1726358" y="4755533"/>
            <a:ext cx="2971800" cy="1600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a:solidFill>
                  <a:schemeClr val="tx2"/>
                </a:solidFill>
                <a:latin typeface="Arial" panose="020B0604020202020204" pitchFamily="34" charset="0"/>
                <a:cs typeface="Arial" pitchFamily="34" charset="0"/>
              </a:rPr>
              <a:t>Success key 1</a:t>
            </a:r>
          </a:p>
          <a:p>
            <a:pPr algn="just" defTabSz="1125444" eaLnBrk="1" hangingPunct="1">
              <a:spcBef>
                <a:spcPts val="0"/>
              </a:spcBef>
            </a:pPr>
            <a:r>
              <a:rPr lang="en-GB" b="0" kern="1200">
                <a:solidFill>
                  <a:schemeClr val="tx1"/>
                </a:solidFill>
                <a:latin typeface="+mn-lt"/>
                <a:ea typeface="+mn-ea"/>
                <a:cs typeface="+mn-cs"/>
              </a:rPr>
              <a:t>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a:t>
            </a:r>
          </a:p>
          <a:p>
            <a:pPr algn="just" defTabSz="1125444" eaLnBrk="1" hangingPunct="1">
              <a:spcBef>
                <a:spcPts val="0"/>
              </a:spcBef>
            </a:pPr>
            <a:endParaRPr lang="en-GB" b="0" kern="1200" dirty="0">
              <a:solidFill>
                <a:schemeClr val="tx1"/>
              </a:solidFill>
              <a:latin typeface="+mn-lt"/>
              <a:ea typeface="+mn-ea"/>
              <a:cs typeface="+mn-cs"/>
            </a:endParaRPr>
          </a:p>
        </p:txBody>
      </p:sp>
      <p:sp>
        <p:nvSpPr>
          <p:cNvPr id="26" name="Rectangle 25">
            <a:extLst>
              <a:ext uri="{FF2B5EF4-FFF2-40B4-BE49-F238E27FC236}">
                <a16:creationId xmlns:a16="http://schemas.microsoft.com/office/drawing/2014/main" id="{92431B26-6753-B712-CD55-D07B61BCAC0D}"/>
              </a:ext>
            </a:extLst>
          </p:cNvPr>
          <p:cNvSpPr/>
          <p:nvPr/>
        </p:nvSpPr>
        <p:spPr bwMode="auto">
          <a:xfrm>
            <a:off x="4339207" y="1101600"/>
            <a:ext cx="2971800" cy="1600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a:solidFill>
                  <a:schemeClr val="accent6"/>
                </a:solidFill>
                <a:latin typeface="Arial" panose="020B0604020202020204" pitchFamily="34" charset="0"/>
                <a:cs typeface="Arial" pitchFamily="34" charset="0"/>
              </a:rPr>
              <a:t>Success key 2</a:t>
            </a:r>
          </a:p>
          <a:p>
            <a:pPr algn="just" defTabSz="1125444" eaLnBrk="1" hangingPunct="1">
              <a:spcBef>
                <a:spcPts val="0"/>
              </a:spcBef>
            </a:pPr>
            <a:r>
              <a:rPr lang="en-GB" b="0" kern="1200">
                <a:solidFill>
                  <a:schemeClr val="tx1"/>
                </a:solidFill>
                <a:latin typeface="+mn-lt"/>
                <a:ea typeface="+mn-ea"/>
                <a:cs typeface="+mn-cs"/>
              </a:rPr>
              <a:t>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a:t>
            </a:r>
          </a:p>
          <a:p>
            <a:pPr algn="just" defTabSz="1125444" eaLnBrk="1" hangingPunct="1">
              <a:spcBef>
                <a:spcPts val="0"/>
              </a:spcBef>
            </a:pPr>
            <a:endParaRPr lang="en-GB" b="0" kern="1200" dirty="0">
              <a:solidFill>
                <a:schemeClr val="tx1"/>
              </a:solidFill>
              <a:latin typeface="+mn-lt"/>
              <a:ea typeface="+mn-ea"/>
              <a:cs typeface="+mn-cs"/>
            </a:endParaRPr>
          </a:p>
        </p:txBody>
      </p:sp>
      <p:sp>
        <p:nvSpPr>
          <p:cNvPr id="27" name="Rectangle 26">
            <a:extLst>
              <a:ext uri="{FF2B5EF4-FFF2-40B4-BE49-F238E27FC236}">
                <a16:creationId xmlns:a16="http://schemas.microsoft.com/office/drawing/2014/main" id="{6B69E260-AD1B-7285-7E13-F7AE18C971CB}"/>
              </a:ext>
            </a:extLst>
          </p:cNvPr>
          <p:cNvSpPr/>
          <p:nvPr/>
        </p:nvSpPr>
        <p:spPr bwMode="auto">
          <a:xfrm>
            <a:off x="5266082" y="4755533"/>
            <a:ext cx="2971800" cy="1600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a:solidFill>
                  <a:schemeClr val="accent5"/>
                </a:solidFill>
                <a:latin typeface="Arial" panose="020B0604020202020204" pitchFamily="34" charset="0"/>
                <a:cs typeface="Arial" pitchFamily="34" charset="0"/>
              </a:rPr>
              <a:t>Success key 3</a:t>
            </a:r>
          </a:p>
          <a:p>
            <a:pPr algn="just" defTabSz="1125444" eaLnBrk="1" hangingPunct="1">
              <a:spcBef>
                <a:spcPts val="0"/>
              </a:spcBef>
            </a:pPr>
            <a:r>
              <a:rPr lang="en-GB" b="0" kern="1200">
                <a:solidFill>
                  <a:schemeClr val="tx1"/>
                </a:solidFill>
                <a:latin typeface="+mn-lt"/>
                <a:ea typeface="+mn-ea"/>
                <a:cs typeface="+mn-cs"/>
              </a:rPr>
              <a:t>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a:t>
            </a:r>
          </a:p>
          <a:p>
            <a:pPr algn="just" defTabSz="1125444" eaLnBrk="1" hangingPunct="1">
              <a:spcBef>
                <a:spcPts val="0"/>
              </a:spcBef>
            </a:pPr>
            <a:endParaRPr lang="en-GB" b="0" kern="1200" dirty="0">
              <a:solidFill>
                <a:schemeClr val="tx1"/>
              </a:solidFill>
              <a:latin typeface="+mn-lt"/>
              <a:ea typeface="+mn-ea"/>
              <a:cs typeface="+mn-cs"/>
            </a:endParaRPr>
          </a:p>
        </p:txBody>
      </p:sp>
      <p:sp>
        <p:nvSpPr>
          <p:cNvPr id="28" name="Rectangle 27">
            <a:extLst>
              <a:ext uri="{FF2B5EF4-FFF2-40B4-BE49-F238E27FC236}">
                <a16:creationId xmlns:a16="http://schemas.microsoft.com/office/drawing/2014/main" id="{015B392B-DE92-0D0B-7E85-A64BF5E511A2}"/>
              </a:ext>
            </a:extLst>
          </p:cNvPr>
          <p:cNvSpPr/>
          <p:nvPr/>
        </p:nvSpPr>
        <p:spPr bwMode="auto">
          <a:xfrm>
            <a:off x="7671238" y="1101600"/>
            <a:ext cx="2971800" cy="1600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a:solidFill>
                  <a:schemeClr val="accent4"/>
                </a:solidFill>
                <a:latin typeface="Arial" panose="020B0604020202020204" pitchFamily="34" charset="0"/>
                <a:cs typeface="Arial" pitchFamily="34" charset="0"/>
              </a:rPr>
              <a:t>Success key 4</a:t>
            </a:r>
          </a:p>
          <a:p>
            <a:pPr algn="just" defTabSz="1125444" eaLnBrk="1" hangingPunct="1">
              <a:spcBef>
                <a:spcPts val="0"/>
              </a:spcBef>
            </a:pPr>
            <a:r>
              <a:rPr lang="en-GB" b="0" kern="1200">
                <a:solidFill>
                  <a:schemeClr val="tx1"/>
                </a:solidFill>
                <a:latin typeface="+mn-lt"/>
                <a:ea typeface="+mn-ea"/>
                <a:cs typeface="+mn-cs"/>
              </a:rPr>
              <a:t>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 Lorem ipsum Lorem ipsum</a:t>
            </a:r>
            <a:r>
              <a:rPr lang="en-GB">
                <a:solidFill>
                  <a:schemeClr val="tx1"/>
                </a:solidFill>
              </a:rPr>
              <a:t> </a:t>
            </a:r>
            <a:r>
              <a:rPr lang="en-GB" b="0" kern="1200">
                <a:solidFill>
                  <a:schemeClr val="tx1"/>
                </a:solidFill>
                <a:latin typeface="+mn-lt"/>
                <a:ea typeface="+mn-ea"/>
                <a:cs typeface="+mn-cs"/>
              </a:rPr>
              <a:t>Lorem ipsum Lorem ipsum</a:t>
            </a:r>
          </a:p>
          <a:p>
            <a:pPr algn="just" defTabSz="1125444" eaLnBrk="1" hangingPunct="1">
              <a:spcBef>
                <a:spcPts val="0"/>
              </a:spcBef>
            </a:pPr>
            <a:endParaRPr lang="en-GB" b="0" kern="1200" dirty="0">
              <a:solidFill>
                <a:schemeClr val="tx1"/>
              </a:solidFill>
              <a:latin typeface="+mn-lt"/>
              <a:ea typeface="+mn-ea"/>
              <a:cs typeface="+mn-cs"/>
            </a:endParaRPr>
          </a:p>
        </p:txBody>
      </p:sp>
    </p:spTree>
    <p:extLst>
      <p:ext uri="{BB962C8B-B14F-4D97-AF65-F5344CB8AC3E}">
        <p14:creationId xmlns:p14="http://schemas.microsoft.com/office/powerpoint/2010/main" val="37088937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7384872-35BD-4251-B531-495DC5A8B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3" name="Objet 2" hidden="1">
                        <a:extLst>
                          <a:ext uri="{FF2B5EF4-FFF2-40B4-BE49-F238E27FC236}">
                            <a16:creationId xmlns:a16="http://schemas.microsoft.com/office/drawing/2014/main" id="{57384872-35BD-4251-B531-495DC5A8B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anchor="ctr"/>
          <a:lstStyle/>
          <a:p>
            <a:r>
              <a:rPr lang="en-GB">
                <a:solidFill>
                  <a:srgbClr val="FFFFFF"/>
                </a:solidFill>
              </a:rPr>
              <a:t>Various</a:t>
            </a:r>
            <a:endParaRPr lang="en-GB" dirty="0">
              <a:solidFill>
                <a:srgbClr val="FFFFFF"/>
              </a:solidFill>
            </a:endParaRPr>
          </a:p>
        </p:txBody>
      </p:sp>
    </p:spTree>
    <p:extLst>
      <p:ext uri="{BB962C8B-B14F-4D97-AF65-F5344CB8AC3E}">
        <p14:creationId xmlns:p14="http://schemas.microsoft.com/office/powerpoint/2010/main" val="147367505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DEEFB6D4-F1D4-40A2-B2D0-9469DED701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30" name="Objet 29" hidden="1">
                        <a:extLst>
                          <a:ext uri="{FF2B5EF4-FFF2-40B4-BE49-F238E27FC236}">
                            <a16:creationId xmlns:a16="http://schemas.microsoft.com/office/drawing/2014/main" id="{DEEFB6D4-F1D4-40A2-B2D0-9469DED701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39B543-6CB0-4538-A5FA-B800007C845D}"/>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8" name="ZoneTexte 47">
            <a:extLst>
              <a:ext uri="{FF2B5EF4-FFF2-40B4-BE49-F238E27FC236}">
                <a16:creationId xmlns:a16="http://schemas.microsoft.com/office/drawing/2014/main" id="{98F2175D-885B-4874-8EAC-718E932C0BF1}"/>
              </a:ext>
            </a:extLst>
          </p:cNvPr>
          <p:cNvSpPr txBox="1"/>
          <p:nvPr/>
        </p:nvSpPr>
        <p:spPr>
          <a:xfrm>
            <a:off x="511420" y="5505944"/>
            <a:ext cx="476412" cy="246221"/>
          </a:xfrm>
          <a:prstGeom prst="rect">
            <a:avLst/>
          </a:prstGeom>
          <a:noFill/>
        </p:spPr>
        <p:txBody>
          <a:bodyPr wrap="none" rtlCol="0">
            <a:spAutoFit/>
          </a:bodyPr>
          <a:lstStyle/>
          <a:p>
            <a:pPr algn="r"/>
            <a:r>
              <a:rPr lang="en-GB" sz="1000">
                <a:solidFill>
                  <a:schemeClr val="accent3"/>
                </a:solidFill>
                <a:latin typeface="+mn-lt"/>
              </a:rPr>
              <a:t>LOW</a:t>
            </a:r>
            <a:endParaRPr lang="en-GB" sz="1000" dirty="0">
              <a:solidFill>
                <a:schemeClr val="accent3"/>
              </a:solidFill>
              <a:latin typeface="+mn-lt"/>
            </a:endParaRPr>
          </a:p>
        </p:txBody>
      </p:sp>
      <p:sp>
        <p:nvSpPr>
          <p:cNvPr id="49" name="ZoneTexte 48">
            <a:extLst>
              <a:ext uri="{FF2B5EF4-FFF2-40B4-BE49-F238E27FC236}">
                <a16:creationId xmlns:a16="http://schemas.microsoft.com/office/drawing/2014/main" id="{D5B84594-62B6-477D-A075-3736E04F9694}"/>
              </a:ext>
            </a:extLst>
          </p:cNvPr>
          <p:cNvSpPr txBox="1"/>
          <p:nvPr/>
        </p:nvSpPr>
        <p:spPr>
          <a:xfrm>
            <a:off x="487150" y="1335670"/>
            <a:ext cx="505267" cy="246221"/>
          </a:xfrm>
          <a:prstGeom prst="rect">
            <a:avLst/>
          </a:prstGeom>
          <a:noFill/>
        </p:spPr>
        <p:txBody>
          <a:bodyPr wrap="none" rtlCol="0">
            <a:spAutoFit/>
          </a:bodyPr>
          <a:lstStyle/>
          <a:p>
            <a:pPr algn="r"/>
            <a:r>
              <a:rPr lang="en-GB" sz="1000">
                <a:solidFill>
                  <a:schemeClr val="accent3"/>
                </a:solidFill>
                <a:latin typeface="+mn-lt"/>
              </a:rPr>
              <a:t>HIGH</a:t>
            </a:r>
            <a:endParaRPr lang="en-GB" sz="1000" dirty="0">
              <a:solidFill>
                <a:schemeClr val="accent3"/>
              </a:solidFill>
              <a:latin typeface="+mn-lt"/>
            </a:endParaRPr>
          </a:p>
        </p:txBody>
      </p:sp>
      <p:sp>
        <p:nvSpPr>
          <p:cNvPr id="2" name="Titre 1">
            <a:extLst>
              <a:ext uri="{FF2B5EF4-FFF2-40B4-BE49-F238E27FC236}">
                <a16:creationId xmlns:a16="http://schemas.microsoft.com/office/drawing/2014/main" id="{C283106A-54BA-4644-B818-3D624230BFA1}"/>
              </a:ext>
            </a:extLst>
          </p:cNvPr>
          <p:cNvSpPr>
            <a:spLocks noGrp="1"/>
          </p:cNvSpPr>
          <p:nvPr>
            <p:ph type="title"/>
          </p:nvPr>
        </p:nvSpPr>
        <p:spPr/>
        <p:txBody>
          <a:bodyPr vert="horz"/>
          <a:lstStyle/>
          <a:p>
            <a:r>
              <a:rPr lang="en-GB"/>
              <a:t>Quadrant benefits/ feasibility</a:t>
            </a:r>
            <a:endParaRPr lang="en-GB" dirty="0"/>
          </a:p>
        </p:txBody>
      </p:sp>
      <p:sp>
        <p:nvSpPr>
          <p:cNvPr id="4" name="Rectangle 3">
            <a:extLst>
              <a:ext uri="{FF2B5EF4-FFF2-40B4-BE49-F238E27FC236}">
                <a16:creationId xmlns:a16="http://schemas.microsoft.com/office/drawing/2014/main" id="{25765C90-6751-444A-9410-9B2A3D02C376}"/>
              </a:ext>
            </a:extLst>
          </p:cNvPr>
          <p:cNvSpPr/>
          <p:nvPr/>
        </p:nvSpPr>
        <p:spPr bwMode="auto">
          <a:xfrm>
            <a:off x="1134591" y="3541716"/>
            <a:ext cx="2844087" cy="2210606"/>
          </a:xfrm>
          <a:prstGeom prst="rect">
            <a:avLst/>
          </a:prstGeom>
          <a:solidFill>
            <a:schemeClr val="bg2">
              <a:lumMod val="9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lvl="0" indent="-180000" algn="l" defTabSz="914400" rtl="0" eaLnBrk="0" fontAlgn="base" latinLnBrk="0" hangingPunct="0">
              <a:lnSpc>
                <a:spcPct val="100000"/>
              </a:lnSpc>
              <a:spcBef>
                <a:spcPts val="840"/>
              </a:spcBef>
              <a:spcAft>
                <a:spcPts val="0"/>
              </a:spcAft>
              <a:buClr>
                <a:srgbClr val="FFFFFF"/>
              </a:buClr>
              <a:buSzPct val="77000"/>
              <a:buFont typeface="Wingdings 3" panose="05040102010807070707" pitchFamily="18" charset="2"/>
              <a:buChar char=""/>
              <a:tabLst/>
              <a:defRPr/>
            </a:pPr>
            <a:r>
              <a:rPr kumimoji="0" lang="en-GB" sz="1400" b="0" i="0" u="none" strike="noStrike" kern="1200" cap="none" spc="0" normalizeH="0" baseline="0" noProof="0">
                <a:ln>
                  <a:noFill/>
                </a:ln>
                <a:solidFill>
                  <a:schemeClr val="bg1"/>
                </a:solidFill>
                <a:effectLst/>
                <a:uLnTx/>
                <a:uFillTx/>
                <a:latin typeface="Arial"/>
                <a:ea typeface="+mn-ea"/>
                <a:cs typeface="+mn-cs"/>
              </a:rPr>
              <a:t>Lorem ipsum</a:t>
            </a:r>
          </a:p>
          <a:p>
            <a:pPr algn="l">
              <a:buClr>
                <a:schemeClr val="accent3"/>
              </a:buClr>
              <a:buSzPct val="77000"/>
            </a:pPr>
            <a:endParaRPr lang="en-GB" b="1">
              <a:solidFill>
                <a:schemeClr val="accent2"/>
              </a:solidFill>
              <a:latin typeface="+mn-lt"/>
            </a:endParaRPr>
          </a:p>
          <a:p>
            <a:pPr algn="l">
              <a:buClr>
                <a:schemeClr val="accent3"/>
              </a:buClr>
              <a:buSzPct val="77000"/>
            </a:pPr>
            <a:endParaRPr lang="en-GB" b="1">
              <a:solidFill>
                <a:schemeClr val="accent2"/>
              </a:solidFill>
              <a:latin typeface="+mn-lt"/>
            </a:endParaRPr>
          </a:p>
          <a:p>
            <a:pPr algn="l">
              <a:buClr>
                <a:schemeClr val="accent3"/>
              </a:buClr>
              <a:buSzPct val="77000"/>
            </a:pPr>
            <a:endParaRPr lang="en-GB" b="1">
              <a:solidFill>
                <a:schemeClr val="accent2"/>
              </a:solidFill>
              <a:latin typeface="+mn-lt"/>
            </a:endParaRPr>
          </a:p>
          <a:p>
            <a:pPr algn="l">
              <a:buClr>
                <a:schemeClr val="accent3"/>
              </a:buClr>
              <a:buSzPct val="77000"/>
            </a:pPr>
            <a:endParaRPr lang="en-GB" b="1">
              <a:solidFill>
                <a:schemeClr val="accent2"/>
              </a:solidFill>
              <a:latin typeface="+mn-lt"/>
            </a:endParaRPr>
          </a:p>
          <a:p>
            <a:pPr algn="l">
              <a:buClr>
                <a:schemeClr val="accent3"/>
              </a:buClr>
              <a:buSzPct val="77000"/>
            </a:pPr>
            <a:endParaRPr lang="en-GB" b="1">
              <a:solidFill>
                <a:schemeClr val="accent2"/>
              </a:solidFill>
              <a:latin typeface="+mn-lt"/>
            </a:endParaRPr>
          </a:p>
          <a:p>
            <a:pPr algn="l">
              <a:buClr>
                <a:schemeClr val="accent3"/>
              </a:buClr>
              <a:buSzPct val="77000"/>
            </a:pPr>
            <a:r>
              <a:rPr lang="en-GB" b="1">
                <a:solidFill>
                  <a:schemeClr val="bg1"/>
                </a:solidFill>
                <a:latin typeface="+mn-lt"/>
              </a:rPr>
              <a:t>Observers</a:t>
            </a:r>
            <a:endParaRPr lang="en-GB" sz="1400" b="1" dirty="0">
              <a:solidFill>
                <a:schemeClr val="bg1"/>
              </a:solidFill>
              <a:latin typeface="+mn-lt"/>
            </a:endParaRPr>
          </a:p>
        </p:txBody>
      </p:sp>
      <p:sp>
        <p:nvSpPr>
          <p:cNvPr id="5" name="Rectangle 4">
            <a:extLst>
              <a:ext uri="{FF2B5EF4-FFF2-40B4-BE49-F238E27FC236}">
                <a16:creationId xmlns:a16="http://schemas.microsoft.com/office/drawing/2014/main" id="{C4C34624-72BB-422A-83F5-071B06443232}"/>
              </a:ext>
            </a:extLst>
          </p:cNvPr>
          <p:cNvSpPr/>
          <p:nvPr/>
        </p:nvSpPr>
        <p:spPr bwMode="auto">
          <a:xfrm>
            <a:off x="3978678" y="3541716"/>
            <a:ext cx="2844087" cy="2210606"/>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lvl="1" indent="-180000" algn="l" defTabSz="914400" rtl="0" eaLnBrk="0" fontAlgn="base" latinLnBrk="0" hangingPunct="0">
              <a:lnSpc>
                <a:spcPct val="100000"/>
              </a:lnSpc>
              <a:spcBef>
                <a:spcPts val="840"/>
              </a:spcBef>
              <a:spcAft>
                <a:spcPts val="0"/>
              </a:spcAft>
              <a:buClr>
                <a:srgbClr val="FFFFFF"/>
              </a:buClr>
              <a:buSzPct val="77000"/>
              <a:buFont typeface="Wingdings 3" panose="05040102010807070707" pitchFamily="18" charset="2"/>
              <a:buChar char=""/>
              <a:tabLst/>
              <a:defRPr/>
            </a:pPr>
            <a:r>
              <a:rPr kumimoji="0" lang="en-GB" sz="1400" b="0" i="0" u="none" strike="noStrike" kern="1200" cap="none" spc="0" normalizeH="0" baseline="0" noProof="0">
                <a:ln>
                  <a:noFill/>
                </a:ln>
                <a:solidFill>
                  <a:prstClr val="white"/>
                </a:solidFill>
                <a:effectLst/>
                <a:uLnTx/>
                <a:uFillTx/>
                <a:latin typeface="Arial" charset="0"/>
                <a:ea typeface="+mn-ea"/>
                <a:cs typeface="+mn-cs"/>
              </a:rPr>
              <a:t>Lorem ipsum</a:t>
            </a:r>
            <a:endParaRPr lang="en-GB" b="1">
              <a:solidFill>
                <a:schemeClr val="bg1"/>
              </a:solidFill>
              <a:latin typeface="+mn-lt"/>
            </a:endParaRPr>
          </a:p>
          <a:p>
            <a:pPr algn="l">
              <a:buClr>
                <a:schemeClr val="accent3"/>
              </a:buClr>
              <a:buSzPct val="77000"/>
            </a:pPr>
            <a:endParaRPr lang="en-GB" b="1">
              <a:solidFill>
                <a:schemeClr val="bg1"/>
              </a:solidFill>
              <a:latin typeface="+mn-lt"/>
            </a:endParaRPr>
          </a:p>
          <a:p>
            <a:pPr algn="l">
              <a:buClr>
                <a:schemeClr val="accent3"/>
              </a:buClr>
              <a:buSzPct val="77000"/>
            </a:pPr>
            <a:endParaRPr lang="en-GB" b="1">
              <a:solidFill>
                <a:schemeClr val="bg1"/>
              </a:solidFill>
              <a:latin typeface="+mn-lt"/>
            </a:endParaRPr>
          </a:p>
          <a:p>
            <a:pPr algn="l">
              <a:buClr>
                <a:schemeClr val="accent3"/>
              </a:buClr>
              <a:buSzPct val="77000"/>
            </a:pPr>
            <a:endParaRPr lang="en-GB" b="1">
              <a:solidFill>
                <a:schemeClr val="bg1"/>
              </a:solidFill>
              <a:latin typeface="+mn-lt"/>
            </a:endParaRPr>
          </a:p>
          <a:p>
            <a:pPr algn="l">
              <a:buClr>
                <a:schemeClr val="accent3"/>
              </a:buClr>
              <a:buSzPct val="77000"/>
            </a:pPr>
            <a:endParaRPr lang="en-GB" b="1">
              <a:solidFill>
                <a:schemeClr val="bg1"/>
              </a:solidFill>
              <a:latin typeface="+mn-lt"/>
            </a:endParaRPr>
          </a:p>
          <a:p>
            <a:pPr algn="l">
              <a:buClr>
                <a:schemeClr val="accent3"/>
              </a:buClr>
              <a:buSzPct val="77000"/>
            </a:pPr>
            <a:endParaRPr lang="en-GB" b="1">
              <a:solidFill>
                <a:schemeClr val="bg1"/>
              </a:solidFill>
              <a:latin typeface="+mn-lt"/>
            </a:endParaRPr>
          </a:p>
          <a:p>
            <a:pPr algn="r">
              <a:buClr>
                <a:schemeClr val="accent3"/>
              </a:buClr>
              <a:buSzPct val="77000"/>
            </a:pPr>
            <a:r>
              <a:rPr lang="en-GB" b="1">
                <a:solidFill>
                  <a:schemeClr val="bg1"/>
                </a:solidFill>
                <a:latin typeface="+mn-lt"/>
              </a:rPr>
              <a:t>Riders</a:t>
            </a:r>
            <a:endParaRPr lang="en-GB" sz="1400" b="1" dirty="0">
              <a:solidFill>
                <a:schemeClr val="bg1"/>
              </a:solidFill>
              <a:latin typeface="+mn-lt"/>
            </a:endParaRPr>
          </a:p>
        </p:txBody>
      </p:sp>
      <p:sp>
        <p:nvSpPr>
          <p:cNvPr id="6" name="Rectangle 5">
            <a:extLst>
              <a:ext uri="{FF2B5EF4-FFF2-40B4-BE49-F238E27FC236}">
                <a16:creationId xmlns:a16="http://schemas.microsoft.com/office/drawing/2014/main" id="{4650EA52-1FC3-438E-BD02-BD81D9619252}"/>
              </a:ext>
            </a:extLst>
          </p:cNvPr>
          <p:cNvSpPr/>
          <p:nvPr/>
        </p:nvSpPr>
        <p:spPr bwMode="auto">
          <a:xfrm>
            <a:off x="3978678" y="1324703"/>
            <a:ext cx="2844087" cy="2217013"/>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r"/>
            <a:r>
              <a:rPr lang="en-GB" b="1">
                <a:solidFill>
                  <a:schemeClr val="bg1"/>
                </a:solidFill>
                <a:latin typeface="+mn-lt"/>
              </a:rPr>
              <a:t>Racing team</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latin typeface="+mn-lt"/>
              </a:rPr>
              <a:t>Lorem ipsum</a:t>
            </a:r>
          </a:p>
          <a:p>
            <a:pPr algn="l"/>
            <a:endParaRPr lang="en-GB" b="1" dirty="0">
              <a:solidFill>
                <a:schemeClr val="bg1"/>
              </a:solidFill>
              <a:latin typeface="+mn-lt"/>
            </a:endParaRPr>
          </a:p>
        </p:txBody>
      </p:sp>
      <p:sp>
        <p:nvSpPr>
          <p:cNvPr id="7" name="Rectangle 6">
            <a:extLst>
              <a:ext uri="{FF2B5EF4-FFF2-40B4-BE49-F238E27FC236}">
                <a16:creationId xmlns:a16="http://schemas.microsoft.com/office/drawing/2014/main" id="{76ED103C-D8E3-41AC-95C8-5BFDAEF327BA}"/>
              </a:ext>
            </a:extLst>
          </p:cNvPr>
          <p:cNvSpPr/>
          <p:nvPr/>
        </p:nvSpPr>
        <p:spPr bwMode="auto">
          <a:xfrm>
            <a:off x="1134591" y="1324703"/>
            <a:ext cx="2844087" cy="2217013"/>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b="1">
                <a:solidFill>
                  <a:schemeClr val="bg1"/>
                </a:solidFill>
                <a:latin typeface="+mn-lt"/>
              </a:rPr>
              <a:t>Followers</a:t>
            </a:r>
          </a:p>
          <a:p>
            <a:pPr marL="180000" marR="0" lvl="0" indent="-180000" algn="l" defTabSz="914400" rtl="0" eaLnBrk="0" fontAlgn="base" latinLnBrk="0" hangingPunct="0">
              <a:lnSpc>
                <a:spcPct val="100000"/>
              </a:lnSpc>
              <a:spcBef>
                <a:spcPts val="840"/>
              </a:spcBef>
              <a:spcAft>
                <a:spcPts val="0"/>
              </a:spcAft>
              <a:buClr>
                <a:srgbClr val="FFFFFF"/>
              </a:buClr>
              <a:buSzPct val="77000"/>
              <a:buFont typeface="Wingdings 3" panose="05040102010807070707" pitchFamily="18" charset="2"/>
              <a:buChar char=""/>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Lorem ipsum</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45" name="ZoneTexte 44">
            <a:extLst>
              <a:ext uri="{FF2B5EF4-FFF2-40B4-BE49-F238E27FC236}">
                <a16:creationId xmlns:a16="http://schemas.microsoft.com/office/drawing/2014/main" id="{1912E359-5E63-4C00-BCB7-194A9FCD51FF}"/>
              </a:ext>
            </a:extLst>
          </p:cNvPr>
          <p:cNvSpPr txBox="1"/>
          <p:nvPr/>
        </p:nvSpPr>
        <p:spPr>
          <a:xfrm rot="16200000">
            <a:off x="372819" y="3387827"/>
            <a:ext cx="1072731" cy="307777"/>
          </a:xfrm>
          <a:prstGeom prst="rect">
            <a:avLst/>
          </a:prstGeom>
          <a:noFill/>
        </p:spPr>
        <p:txBody>
          <a:bodyPr wrap="none" rtlCol="0">
            <a:spAutoFit/>
          </a:bodyPr>
          <a:lstStyle/>
          <a:p>
            <a:pPr algn="r"/>
            <a:r>
              <a:rPr lang="en-GB">
                <a:solidFill>
                  <a:schemeClr val="accent2"/>
                </a:solidFill>
                <a:latin typeface="+mn-lt"/>
              </a:rPr>
              <a:t>BENEFITS</a:t>
            </a:r>
            <a:endParaRPr lang="en-GB" dirty="0">
              <a:solidFill>
                <a:schemeClr val="accent2"/>
              </a:solidFill>
              <a:latin typeface="+mn-lt"/>
            </a:endParaRPr>
          </a:p>
        </p:txBody>
      </p:sp>
      <p:sp>
        <p:nvSpPr>
          <p:cNvPr id="46" name="ZoneTexte 45">
            <a:extLst>
              <a:ext uri="{FF2B5EF4-FFF2-40B4-BE49-F238E27FC236}">
                <a16:creationId xmlns:a16="http://schemas.microsoft.com/office/drawing/2014/main" id="{B17D93DE-3C0E-43E4-828C-43A9F4687D3B}"/>
              </a:ext>
            </a:extLst>
          </p:cNvPr>
          <p:cNvSpPr txBox="1"/>
          <p:nvPr/>
        </p:nvSpPr>
        <p:spPr>
          <a:xfrm>
            <a:off x="3338117" y="5942835"/>
            <a:ext cx="1281121" cy="307777"/>
          </a:xfrm>
          <a:prstGeom prst="rect">
            <a:avLst/>
          </a:prstGeom>
          <a:noFill/>
        </p:spPr>
        <p:txBody>
          <a:bodyPr wrap="none" rtlCol="0">
            <a:spAutoFit/>
          </a:bodyPr>
          <a:lstStyle/>
          <a:p>
            <a:r>
              <a:rPr lang="en-GB">
                <a:solidFill>
                  <a:schemeClr val="accent2"/>
                </a:solidFill>
                <a:latin typeface="+mn-lt"/>
              </a:rPr>
              <a:t>FEASIBILITY</a:t>
            </a:r>
            <a:endParaRPr lang="en-GB" dirty="0">
              <a:solidFill>
                <a:schemeClr val="accent2"/>
              </a:solidFill>
              <a:latin typeface="+mn-lt"/>
            </a:endParaRPr>
          </a:p>
        </p:txBody>
      </p:sp>
      <p:sp>
        <p:nvSpPr>
          <p:cNvPr id="52" name="ZoneTexte 51">
            <a:extLst>
              <a:ext uri="{FF2B5EF4-FFF2-40B4-BE49-F238E27FC236}">
                <a16:creationId xmlns:a16="http://schemas.microsoft.com/office/drawing/2014/main" id="{6D877128-11F2-45E5-8155-52C0476467BB}"/>
              </a:ext>
            </a:extLst>
          </p:cNvPr>
          <p:cNvSpPr txBox="1"/>
          <p:nvPr/>
        </p:nvSpPr>
        <p:spPr>
          <a:xfrm>
            <a:off x="5678233" y="5752166"/>
            <a:ext cx="1136850" cy="246221"/>
          </a:xfrm>
          <a:prstGeom prst="rect">
            <a:avLst/>
          </a:prstGeom>
          <a:noFill/>
        </p:spPr>
        <p:txBody>
          <a:bodyPr wrap="none" rtlCol="0">
            <a:spAutoFit/>
          </a:bodyPr>
          <a:lstStyle/>
          <a:p>
            <a:r>
              <a:rPr lang="en-GB" sz="1000">
                <a:solidFill>
                  <a:schemeClr val="accent3"/>
                </a:solidFill>
                <a:latin typeface="+mn-lt"/>
              </a:rPr>
              <a:t>CHALLENGING</a:t>
            </a:r>
            <a:endParaRPr lang="en-GB" sz="1000" dirty="0">
              <a:solidFill>
                <a:schemeClr val="accent3"/>
              </a:solidFill>
              <a:latin typeface="+mn-lt"/>
            </a:endParaRPr>
          </a:p>
        </p:txBody>
      </p:sp>
      <p:sp>
        <p:nvSpPr>
          <p:cNvPr id="53" name="ZoneTexte 52">
            <a:extLst>
              <a:ext uri="{FF2B5EF4-FFF2-40B4-BE49-F238E27FC236}">
                <a16:creationId xmlns:a16="http://schemas.microsoft.com/office/drawing/2014/main" id="{1DB31E52-EDE7-4382-89AC-D0209C8B0652}"/>
              </a:ext>
            </a:extLst>
          </p:cNvPr>
          <p:cNvSpPr txBox="1"/>
          <p:nvPr/>
        </p:nvSpPr>
        <p:spPr>
          <a:xfrm>
            <a:off x="1141015" y="5752166"/>
            <a:ext cx="524504" cy="246221"/>
          </a:xfrm>
          <a:prstGeom prst="rect">
            <a:avLst/>
          </a:prstGeom>
          <a:noFill/>
        </p:spPr>
        <p:txBody>
          <a:bodyPr wrap="square" rtlCol="0">
            <a:spAutoFit/>
          </a:bodyPr>
          <a:lstStyle/>
          <a:p>
            <a:r>
              <a:rPr lang="en-GB" sz="1000">
                <a:solidFill>
                  <a:schemeClr val="accent3"/>
                </a:solidFill>
                <a:latin typeface="+mn-lt"/>
              </a:rPr>
              <a:t>EASY</a:t>
            </a:r>
            <a:endParaRPr lang="en-GB" sz="1000" dirty="0">
              <a:solidFill>
                <a:schemeClr val="accent3"/>
              </a:solidFill>
              <a:latin typeface="+mn-lt"/>
            </a:endParaRPr>
          </a:p>
        </p:txBody>
      </p:sp>
      <p:sp>
        <p:nvSpPr>
          <p:cNvPr id="29" name="Rectangle 28">
            <a:extLst>
              <a:ext uri="{FF2B5EF4-FFF2-40B4-BE49-F238E27FC236}">
                <a16:creationId xmlns:a16="http://schemas.microsoft.com/office/drawing/2014/main" id="{03F35A4D-367A-4F29-9F3F-AE9966AA7367}"/>
              </a:ext>
            </a:extLst>
          </p:cNvPr>
          <p:cNvSpPr/>
          <p:nvPr/>
        </p:nvSpPr>
        <p:spPr bwMode="auto">
          <a:xfrm>
            <a:off x="7581014" y="1333204"/>
            <a:ext cx="3537242" cy="4418961"/>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eaLnBrk="1" hangingPunct="1">
              <a:spcBef>
                <a:spcPts val="400"/>
              </a:spcBef>
              <a:spcAft>
                <a:spcPts val="400"/>
              </a:spcAft>
              <a:buSzPct val="77000"/>
              <a:defRPr/>
            </a:pPr>
            <a:r>
              <a:rPr lang="en-GB" b="1" kern="0">
                <a:solidFill>
                  <a:schemeClr val="accent2"/>
                </a:solidFill>
                <a:latin typeface="+mn-lt"/>
                <a:cs typeface="Arial" pitchFamily="34" charset="0"/>
              </a:rPr>
              <a:t>LOREM IPSUM</a:t>
            </a:r>
          </a:p>
          <a:p>
            <a:pPr algn="l" eaLnBrk="1" hangingPunct="1">
              <a:spcBef>
                <a:spcPts val="400"/>
              </a:spcBef>
              <a:spcAft>
                <a:spcPts val="400"/>
              </a:spcAft>
              <a:buSzPct val="77000"/>
              <a:defRPr/>
            </a:pPr>
            <a:endParaRPr lang="en-GB" b="1" kern="0">
              <a:solidFill>
                <a:srgbClr val="901237"/>
              </a:solidFill>
              <a:latin typeface="+mn-lt"/>
              <a:cs typeface="Arial" pitchFamily="34" charset="0"/>
            </a:endParaRPr>
          </a:p>
          <a:p>
            <a:pPr algn="l" eaLnBrk="1" hangingPunct="1">
              <a:spcBef>
                <a:spcPts val="400"/>
              </a:spcBef>
              <a:spcAft>
                <a:spcPts val="400"/>
              </a:spcAft>
              <a:buSzPct val="77000"/>
              <a:defRPr/>
            </a:pPr>
            <a:r>
              <a:rPr lang="en-GB" kern="0">
                <a:solidFill>
                  <a:schemeClr val="accent2"/>
                </a:solidFill>
                <a:latin typeface="+mn-lt"/>
                <a:cs typeface="Arial" pitchFamily="34" charset="0"/>
              </a:rPr>
              <a:t>Followers</a:t>
            </a:r>
          </a:p>
          <a:p>
            <a:pPr algn="l" eaLnBrk="1" hangingPunct="1">
              <a:spcBef>
                <a:spcPts val="400"/>
              </a:spcBef>
              <a:spcAft>
                <a:spcPts val="400"/>
              </a:spcAft>
              <a:buSzPct val="77000"/>
              <a:defRPr/>
            </a:pPr>
            <a:r>
              <a:rPr lang="en-GB" kern="0">
                <a:solidFill>
                  <a:schemeClr val="accent2"/>
                </a:solidFill>
                <a:latin typeface="+mn-lt"/>
                <a:cs typeface="Arial" pitchFamily="34" charset="0"/>
              </a:rPr>
              <a:t>dolor sit amet, consectetur adipiscing</a:t>
            </a:r>
          </a:p>
          <a:p>
            <a:pPr algn="l" eaLnBrk="1" hangingPunct="1">
              <a:spcBef>
                <a:spcPts val="400"/>
              </a:spcBef>
              <a:spcAft>
                <a:spcPts val="400"/>
              </a:spcAft>
              <a:buSzPct val="77000"/>
              <a:defRPr/>
            </a:pPr>
            <a:endParaRPr lang="en-GB" kern="0">
              <a:solidFill>
                <a:srgbClr val="901237"/>
              </a:solidFill>
              <a:latin typeface="+mn-lt"/>
              <a:cs typeface="Arial" pitchFamily="34" charset="0"/>
            </a:endParaRPr>
          </a:p>
          <a:p>
            <a:pPr algn="l" eaLnBrk="1" hangingPunct="1">
              <a:spcBef>
                <a:spcPts val="400"/>
              </a:spcBef>
              <a:spcAft>
                <a:spcPts val="400"/>
              </a:spcAft>
              <a:buSzPct val="77000"/>
              <a:defRPr/>
            </a:pPr>
            <a:r>
              <a:rPr lang="en-GB" kern="0">
                <a:solidFill>
                  <a:schemeClr val="accent2"/>
                </a:solidFill>
                <a:latin typeface="+mn-lt"/>
                <a:cs typeface="Arial" pitchFamily="34" charset="0"/>
              </a:rPr>
              <a:t>Riders</a:t>
            </a:r>
          </a:p>
          <a:p>
            <a:pPr algn="l" eaLnBrk="1" hangingPunct="1">
              <a:spcBef>
                <a:spcPts val="400"/>
              </a:spcBef>
              <a:spcAft>
                <a:spcPts val="400"/>
              </a:spcAft>
              <a:buSzPct val="77000"/>
              <a:defRPr/>
            </a:pPr>
            <a:r>
              <a:rPr lang="en-GB" kern="0">
                <a:solidFill>
                  <a:schemeClr val="accent2"/>
                </a:solidFill>
                <a:latin typeface="+mn-lt"/>
                <a:cs typeface="Arial" pitchFamily="34" charset="0"/>
              </a:rPr>
              <a:t>dolor sit amet, consectetur adipiscing</a:t>
            </a:r>
          </a:p>
          <a:p>
            <a:pPr algn="l" eaLnBrk="1" hangingPunct="1">
              <a:spcBef>
                <a:spcPts val="400"/>
              </a:spcBef>
              <a:spcAft>
                <a:spcPts val="400"/>
              </a:spcAft>
              <a:buSzPct val="77000"/>
              <a:defRPr/>
            </a:pPr>
            <a:endParaRPr lang="en-GB" kern="0">
              <a:solidFill>
                <a:schemeClr val="accent2"/>
              </a:solidFill>
              <a:latin typeface="+mn-lt"/>
              <a:cs typeface="Arial" pitchFamily="34" charset="0"/>
            </a:endParaRPr>
          </a:p>
          <a:p>
            <a:pPr algn="l" eaLnBrk="1" hangingPunct="1">
              <a:spcBef>
                <a:spcPts val="400"/>
              </a:spcBef>
              <a:spcAft>
                <a:spcPts val="400"/>
              </a:spcAft>
              <a:buSzPct val="77000"/>
              <a:defRPr/>
            </a:pPr>
            <a:r>
              <a:rPr lang="en-GB" kern="0">
                <a:solidFill>
                  <a:schemeClr val="accent2"/>
                </a:solidFill>
                <a:latin typeface="+mn-lt"/>
                <a:cs typeface="Arial" pitchFamily="34" charset="0"/>
              </a:rPr>
              <a:t>Racing team</a:t>
            </a:r>
          </a:p>
          <a:p>
            <a:pPr algn="l" eaLnBrk="1" hangingPunct="1">
              <a:spcBef>
                <a:spcPts val="400"/>
              </a:spcBef>
              <a:spcAft>
                <a:spcPts val="400"/>
              </a:spcAft>
              <a:buSzPct val="77000"/>
              <a:defRPr/>
            </a:pPr>
            <a:r>
              <a:rPr lang="en-GB" kern="0">
                <a:solidFill>
                  <a:schemeClr val="accent2"/>
                </a:solidFill>
                <a:latin typeface="+mn-lt"/>
                <a:cs typeface="Arial" pitchFamily="34" charset="0"/>
              </a:rPr>
              <a:t>dolor sit amet, consectetur adipiscing</a:t>
            </a:r>
          </a:p>
          <a:p>
            <a:pPr algn="l" eaLnBrk="1" hangingPunct="1">
              <a:spcBef>
                <a:spcPts val="400"/>
              </a:spcBef>
              <a:spcAft>
                <a:spcPts val="400"/>
              </a:spcAft>
              <a:buSzPct val="77000"/>
              <a:defRPr/>
            </a:pPr>
            <a:endParaRPr lang="en-GB" kern="0">
              <a:solidFill>
                <a:schemeClr val="accent2"/>
              </a:solidFill>
              <a:latin typeface="+mn-lt"/>
              <a:cs typeface="Arial" pitchFamily="34" charset="0"/>
            </a:endParaRPr>
          </a:p>
          <a:p>
            <a:pPr algn="l" eaLnBrk="1" hangingPunct="1">
              <a:spcBef>
                <a:spcPts val="400"/>
              </a:spcBef>
              <a:spcAft>
                <a:spcPts val="400"/>
              </a:spcAft>
              <a:buSzPct val="77000"/>
              <a:defRPr/>
            </a:pPr>
            <a:r>
              <a:rPr lang="en-GB" kern="0">
                <a:solidFill>
                  <a:schemeClr val="accent2"/>
                </a:solidFill>
                <a:latin typeface="+mn-lt"/>
                <a:cs typeface="Arial" pitchFamily="34" charset="0"/>
              </a:rPr>
              <a:t>Observers</a:t>
            </a:r>
          </a:p>
          <a:p>
            <a:pPr algn="l" eaLnBrk="1" hangingPunct="1">
              <a:spcBef>
                <a:spcPts val="400"/>
              </a:spcBef>
              <a:spcAft>
                <a:spcPts val="400"/>
              </a:spcAft>
              <a:buSzPct val="77000"/>
              <a:defRPr/>
            </a:pPr>
            <a:r>
              <a:rPr lang="en-GB" kern="0">
                <a:solidFill>
                  <a:schemeClr val="accent2"/>
                </a:solidFill>
                <a:latin typeface="+mn-lt"/>
                <a:cs typeface="Arial" pitchFamily="34" charset="0"/>
              </a:rPr>
              <a:t>dolor sit amet, consectetur adipiscing</a:t>
            </a:r>
            <a:endParaRPr lang="en-GB" kern="0" dirty="0">
              <a:solidFill>
                <a:schemeClr val="accent2"/>
              </a:solidFill>
              <a:latin typeface="+mn-lt"/>
              <a:cs typeface="Arial" pitchFamily="34" charset="0"/>
            </a:endParaRPr>
          </a:p>
        </p:txBody>
      </p:sp>
    </p:spTree>
    <p:extLst>
      <p:ext uri="{BB962C8B-B14F-4D97-AF65-F5344CB8AC3E}">
        <p14:creationId xmlns:p14="http://schemas.microsoft.com/office/powerpoint/2010/main" val="208229215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726AACE-03FF-47B6-9298-2C25570671A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7" name="Objet 6" hidden="1">
                        <a:extLst>
                          <a:ext uri="{FF2B5EF4-FFF2-40B4-BE49-F238E27FC236}">
                            <a16:creationId xmlns:a16="http://schemas.microsoft.com/office/drawing/2014/main" id="{E726AACE-03FF-47B6-9298-2C25570671A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CB1E2ED2-B9D1-4874-9B0E-EC1A0E54CE77}"/>
              </a:ext>
            </a:extLst>
          </p:cNvPr>
          <p:cNvSpPr/>
          <p:nvPr>
            <p:custDataLst>
              <p:tags r:id="rId2"/>
            </p:custDataLst>
          </p:nvPr>
        </p:nvSpPr>
        <p:spPr>
          <a:xfrm>
            <a:off x="1143000" y="0"/>
            <a:ext cx="158750" cy="158750"/>
          </a:xfrm>
          <a:prstGeom prst="rect">
            <a:avLst/>
          </a:prstGeom>
          <a:solidFill>
            <a:srgbClr val="901237"/>
          </a:solidFill>
          <a:ln>
            <a:solidFill>
              <a:srgbClr val="680A2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re 3">
            <a:extLst>
              <a:ext uri="{FF2B5EF4-FFF2-40B4-BE49-F238E27FC236}">
                <a16:creationId xmlns:a16="http://schemas.microsoft.com/office/drawing/2014/main" id="{8C9FBC25-8148-4A31-A64E-9268BE1A4030}"/>
              </a:ext>
            </a:extLst>
          </p:cNvPr>
          <p:cNvSpPr>
            <a:spLocks noGrp="1"/>
          </p:cNvSpPr>
          <p:nvPr>
            <p:ph type="title"/>
          </p:nvPr>
        </p:nvSpPr>
        <p:spPr/>
        <p:txBody>
          <a:bodyPr/>
          <a:lstStyle/>
          <a:p>
            <a:r>
              <a:rPr lang="en-GB"/>
              <a:t>Quadrant benefits/ feasibility</a:t>
            </a:r>
            <a:endParaRPr lang="en-GB" dirty="0"/>
          </a:p>
        </p:txBody>
      </p:sp>
      <p:sp>
        <p:nvSpPr>
          <p:cNvPr id="14" name="ZoneTexte 13">
            <a:extLst>
              <a:ext uri="{FF2B5EF4-FFF2-40B4-BE49-F238E27FC236}">
                <a16:creationId xmlns:a16="http://schemas.microsoft.com/office/drawing/2014/main" id="{D6E16033-4854-4ACB-AAC9-03D964E9760E}"/>
              </a:ext>
            </a:extLst>
          </p:cNvPr>
          <p:cNvSpPr txBox="1"/>
          <p:nvPr/>
        </p:nvSpPr>
        <p:spPr>
          <a:xfrm rot="16200000">
            <a:off x="342366" y="3455517"/>
            <a:ext cx="1072731" cy="307777"/>
          </a:xfrm>
          <a:prstGeom prst="rect">
            <a:avLst/>
          </a:prstGeom>
          <a:noFill/>
        </p:spPr>
        <p:txBody>
          <a:bodyPr wrap="none" rtlCol="0">
            <a:spAutoFit/>
          </a:bodyPr>
          <a:lstStyle/>
          <a:p>
            <a:r>
              <a:rPr lang="en-GB">
                <a:solidFill>
                  <a:schemeClr val="bg2"/>
                </a:solidFill>
                <a:latin typeface="+mn-lt"/>
              </a:rPr>
              <a:t>BENEFITS</a:t>
            </a:r>
            <a:endParaRPr lang="en-GB" dirty="0">
              <a:solidFill>
                <a:schemeClr val="bg2"/>
              </a:solidFill>
              <a:latin typeface="+mn-lt"/>
            </a:endParaRPr>
          </a:p>
        </p:txBody>
      </p:sp>
      <p:sp>
        <p:nvSpPr>
          <p:cNvPr id="15" name="ZoneTexte 14">
            <a:extLst>
              <a:ext uri="{FF2B5EF4-FFF2-40B4-BE49-F238E27FC236}">
                <a16:creationId xmlns:a16="http://schemas.microsoft.com/office/drawing/2014/main" id="{BCEF4C00-2107-4F8A-ACA0-5215C6F9B0B9}"/>
              </a:ext>
            </a:extLst>
          </p:cNvPr>
          <p:cNvSpPr txBox="1"/>
          <p:nvPr/>
        </p:nvSpPr>
        <p:spPr>
          <a:xfrm>
            <a:off x="2693285" y="5887661"/>
            <a:ext cx="1252266" cy="307777"/>
          </a:xfrm>
          <a:prstGeom prst="rect">
            <a:avLst/>
          </a:prstGeom>
          <a:noFill/>
        </p:spPr>
        <p:txBody>
          <a:bodyPr wrap="none" rtlCol="0">
            <a:spAutoFit/>
          </a:bodyPr>
          <a:lstStyle/>
          <a:p>
            <a:r>
              <a:rPr lang="en-GB">
                <a:solidFill>
                  <a:schemeClr val="bg2"/>
                </a:solidFill>
                <a:latin typeface="+mn-lt"/>
              </a:rPr>
              <a:t>FEASIBILITY</a:t>
            </a:r>
            <a:endParaRPr lang="en-GB" dirty="0">
              <a:solidFill>
                <a:schemeClr val="bg2"/>
              </a:solidFill>
              <a:latin typeface="+mn-lt"/>
            </a:endParaRPr>
          </a:p>
        </p:txBody>
      </p:sp>
      <p:graphicFrame>
        <p:nvGraphicFramePr>
          <p:cNvPr id="16" name="Tableau 15">
            <a:extLst>
              <a:ext uri="{FF2B5EF4-FFF2-40B4-BE49-F238E27FC236}">
                <a16:creationId xmlns:a16="http://schemas.microsoft.com/office/drawing/2014/main" id="{539FFABB-B4E3-4ABA-B809-9CF3302E4E5A}"/>
              </a:ext>
            </a:extLst>
          </p:cNvPr>
          <p:cNvGraphicFramePr>
            <a:graphicFrameLocks noGrp="1"/>
          </p:cNvGraphicFramePr>
          <p:nvPr>
            <p:extLst>
              <p:ext uri="{D42A27DB-BD31-4B8C-83A1-F6EECF244321}">
                <p14:modId xmlns:p14="http://schemas.microsoft.com/office/powerpoint/2010/main" val="1324402448"/>
              </p:ext>
            </p:extLst>
          </p:nvPr>
        </p:nvGraphicFramePr>
        <p:xfrm>
          <a:off x="1071305" y="1316565"/>
          <a:ext cx="4536000" cy="453600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803860194"/>
                    </a:ext>
                  </a:extLst>
                </a:gridCol>
                <a:gridCol w="2268000">
                  <a:extLst>
                    <a:ext uri="{9D8B030D-6E8A-4147-A177-3AD203B41FA5}">
                      <a16:colId xmlns:a16="http://schemas.microsoft.com/office/drawing/2014/main" val="783512713"/>
                    </a:ext>
                  </a:extLst>
                </a:gridCol>
              </a:tblGrid>
              <a:tr h="2268000">
                <a:tc>
                  <a:txBody>
                    <a:bodyPr/>
                    <a:lstStyle/>
                    <a:p>
                      <a:endParaRPr lang="en-GB" dirty="0">
                        <a:solidFill>
                          <a:srgbClr val="FFFFFF"/>
                        </a:solidFill>
                      </a:endParaRPr>
                    </a:p>
                  </a:txBody>
                  <a:tcPr>
                    <a:lnL w="12700" cmpd="sng">
                      <a:noFill/>
                    </a:lnL>
                    <a:lnR w="12700" cap="flat" cmpd="sng" algn="ctr">
                      <a:solidFill>
                        <a:schemeClr val="accent3"/>
                      </a:solid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rgbClr val="FFFFFF"/>
                        </a:solidFill>
                      </a:endParaRPr>
                    </a:p>
                  </a:txBody>
                  <a:tcPr>
                    <a:lnL w="12700" cap="flat" cmpd="sng" algn="ctr">
                      <a:solidFill>
                        <a:schemeClr val="accent3"/>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59053117"/>
                  </a:ext>
                </a:extLst>
              </a:tr>
              <a:tr h="2268000">
                <a:tc>
                  <a:txBody>
                    <a:bodyPr/>
                    <a:lstStyle/>
                    <a:p>
                      <a:endParaRPr lang="en-GB" dirty="0">
                        <a:solidFill>
                          <a:srgbClr val="000000"/>
                        </a:solidFill>
                      </a:endParaRPr>
                    </a:p>
                  </a:txBody>
                  <a:tcP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endParaRPr lang="en-GB" dirty="0">
                        <a:solidFill>
                          <a:srgbClr val="000000"/>
                        </a:solidFill>
                      </a:endParaRPr>
                    </a:p>
                  </a:txBody>
                  <a:tcP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32046846"/>
                  </a:ext>
                </a:extLst>
              </a:tr>
            </a:tbl>
          </a:graphicData>
        </a:graphic>
      </p:graphicFrame>
      <p:cxnSp>
        <p:nvCxnSpPr>
          <p:cNvPr id="9" name="Connecteur droit avec flèche 8">
            <a:extLst>
              <a:ext uri="{FF2B5EF4-FFF2-40B4-BE49-F238E27FC236}">
                <a16:creationId xmlns:a16="http://schemas.microsoft.com/office/drawing/2014/main" id="{99EBC060-9557-41FE-ABB4-E81476733E43}"/>
              </a:ext>
            </a:extLst>
          </p:cNvPr>
          <p:cNvCxnSpPr>
            <a:cxnSpLocks/>
          </p:cNvCxnSpPr>
          <p:nvPr/>
        </p:nvCxnSpPr>
        <p:spPr>
          <a:xfrm>
            <a:off x="1079774" y="5860229"/>
            <a:ext cx="4536000" cy="0"/>
          </a:xfrm>
          <a:prstGeom prst="straightConnector1">
            <a:avLst/>
          </a:prstGeom>
          <a:ln w="190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2394469F-2DB0-4BE7-BFAF-721DB43DF0E8}"/>
              </a:ext>
            </a:extLst>
          </p:cNvPr>
          <p:cNvCxnSpPr>
            <a:cxnSpLocks/>
          </p:cNvCxnSpPr>
          <p:nvPr/>
        </p:nvCxnSpPr>
        <p:spPr>
          <a:xfrm flipV="1">
            <a:off x="1081731" y="1326769"/>
            <a:ext cx="0" cy="4536000"/>
          </a:xfrm>
          <a:prstGeom prst="straightConnector1">
            <a:avLst/>
          </a:prstGeom>
          <a:ln w="190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12BBED0F-78E7-4311-A6B7-904238230782}"/>
              </a:ext>
            </a:extLst>
          </p:cNvPr>
          <p:cNvSpPr txBox="1"/>
          <p:nvPr/>
        </p:nvSpPr>
        <p:spPr>
          <a:xfrm>
            <a:off x="555641" y="5543611"/>
            <a:ext cx="535724" cy="276999"/>
          </a:xfrm>
          <a:prstGeom prst="rect">
            <a:avLst/>
          </a:prstGeom>
          <a:noFill/>
        </p:spPr>
        <p:txBody>
          <a:bodyPr wrap="none" rtlCol="0">
            <a:spAutoFit/>
          </a:bodyPr>
          <a:lstStyle/>
          <a:p>
            <a:r>
              <a:rPr lang="en-GB" sz="1200">
                <a:solidFill>
                  <a:schemeClr val="accent2"/>
                </a:solidFill>
                <a:latin typeface="+mn-lt"/>
              </a:rPr>
              <a:t>LOW</a:t>
            </a:r>
            <a:endParaRPr lang="en-GB" sz="1200" dirty="0">
              <a:solidFill>
                <a:schemeClr val="accent2"/>
              </a:solidFill>
              <a:latin typeface="+mn-lt"/>
            </a:endParaRPr>
          </a:p>
        </p:txBody>
      </p:sp>
      <p:sp>
        <p:nvSpPr>
          <p:cNvPr id="19" name="ZoneTexte 18">
            <a:extLst>
              <a:ext uri="{FF2B5EF4-FFF2-40B4-BE49-F238E27FC236}">
                <a16:creationId xmlns:a16="http://schemas.microsoft.com/office/drawing/2014/main" id="{58A91E43-6141-4239-A615-E96D8B6948E8}"/>
              </a:ext>
            </a:extLst>
          </p:cNvPr>
          <p:cNvSpPr txBox="1"/>
          <p:nvPr/>
        </p:nvSpPr>
        <p:spPr>
          <a:xfrm>
            <a:off x="551270" y="1473573"/>
            <a:ext cx="569387" cy="276999"/>
          </a:xfrm>
          <a:prstGeom prst="rect">
            <a:avLst/>
          </a:prstGeom>
          <a:noFill/>
        </p:spPr>
        <p:txBody>
          <a:bodyPr wrap="none" rtlCol="0">
            <a:spAutoFit/>
          </a:bodyPr>
          <a:lstStyle/>
          <a:p>
            <a:r>
              <a:rPr lang="en-GB" sz="1200">
                <a:solidFill>
                  <a:schemeClr val="accent2"/>
                </a:solidFill>
                <a:latin typeface="+mn-lt"/>
              </a:rPr>
              <a:t>HIGH</a:t>
            </a:r>
            <a:endParaRPr lang="en-GB" sz="1200" dirty="0">
              <a:solidFill>
                <a:schemeClr val="accent2"/>
              </a:solidFill>
              <a:latin typeface="+mn-lt"/>
            </a:endParaRPr>
          </a:p>
        </p:txBody>
      </p:sp>
      <p:sp>
        <p:nvSpPr>
          <p:cNvPr id="20" name="ZoneTexte 19">
            <a:extLst>
              <a:ext uri="{FF2B5EF4-FFF2-40B4-BE49-F238E27FC236}">
                <a16:creationId xmlns:a16="http://schemas.microsoft.com/office/drawing/2014/main" id="{24571AF2-40A1-408D-A557-446A86224295}"/>
              </a:ext>
            </a:extLst>
          </p:cNvPr>
          <p:cNvSpPr txBox="1"/>
          <p:nvPr/>
        </p:nvSpPr>
        <p:spPr>
          <a:xfrm>
            <a:off x="4299835" y="5887661"/>
            <a:ext cx="1285928" cy="276999"/>
          </a:xfrm>
          <a:prstGeom prst="rect">
            <a:avLst/>
          </a:prstGeom>
          <a:noFill/>
        </p:spPr>
        <p:txBody>
          <a:bodyPr wrap="none" rtlCol="0">
            <a:spAutoFit/>
          </a:bodyPr>
          <a:lstStyle/>
          <a:p>
            <a:r>
              <a:rPr lang="en-GB" sz="1200">
                <a:solidFill>
                  <a:schemeClr val="accent2"/>
                </a:solidFill>
                <a:latin typeface="+mn-lt"/>
              </a:rPr>
              <a:t>CHALLENGING</a:t>
            </a:r>
            <a:endParaRPr lang="en-GB" sz="1200" dirty="0">
              <a:solidFill>
                <a:schemeClr val="accent2"/>
              </a:solidFill>
              <a:latin typeface="+mn-lt"/>
            </a:endParaRPr>
          </a:p>
        </p:txBody>
      </p:sp>
      <p:sp>
        <p:nvSpPr>
          <p:cNvPr id="2" name="ZoneTexte 1">
            <a:extLst>
              <a:ext uri="{FF2B5EF4-FFF2-40B4-BE49-F238E27FC236}">
                <a16:creationId xmlns:a16="http://schemas.microsoft.com/office/drawing/2014/main" id="{96DDEBE3-2C90-4C74-A13F-A2F5CD412FE9}"/>
              </a:ext>
            </a:extLst>
          </p:cNvPr>
          <p:cNvSpPr txBox="1"/>
          <p:nvPr/>
        </p:nvSpPr>
        <p:spPr>
          <a:xfrm>
            <a:off x="1218088" y="1341354"/>
            <a:ext cx="1980000" cy="307777"/>
          </a:xfrm>
          <a:prstGeom prst="rect">
            <a:avLst/>
          </a:prstGeom>
          <a:noFill/>
        </p:spPr>
        <p:txBody>
          <a:bodyPr wrap="square" rtlCol="0">
            <a:noAutofit/>
          </a:bodyPr>
          <a:lstStyle/>
          <a:p>
            <a:pPr algn="ctr"/>
            <a:r>
              <a:rPr lang="en-GB">
                <a:solidFill>
                  <a:schemeClr val="bg2"/>
                </a:solidFill>
                <a:latin typeface="+mn-lt"/>
              </a:rPr>
              <a:t>QUICK WINS</a:t>
            </a:r>
            <a:endParaRPr lang="en-GB" dirty="0">
              <a:solidFill>
                <a:schemeClr val="bg2"/>
              </a:solidFill>
              <a:latin typeface="+mn-lt"/>
            </a:endParaRPr>
          </a:p>
        </p:txBody>
      </p:sp>
      <p:sp>
        <p:nvSpPr>
          <p:cNvPr id="13" name="ZoneTexte 12">
            <a:extLst>
              <a:ext uri="{FF2B5EF4-FFF2-40B4-BE49-F238E27FC236}">
                <a16:creationId xmlns:a16="http://schemas.microsoft.com/office/drawing/2014/main" id="{D3157FCE-B457-42D5-AB51-45D06FC1C981}"/>
              </a:ext>
            </a:extLst>
          </p:cNvPr>
          <p:cNvSpPr txBox="1"/>
          <p:nvPr/>
        </p:nvSpPr>
        <p:spPr>
          <a:xfrm>
            <a:off x="3473816" y="1341354"/>
            <a:ext cx="1980000" cy="307777"/>
          </a:xfrm>
          <a:prstGeom prst="rect">
            <a:avLst/>
          </a:prstGeom>
          <a:noFill/>
        </p:spPr>
        <p:txBody>
          <a:bodyPr wrap="square" rtlCol="0">
            <a:noAutofit/>
          </a:bodyPr>
          <a:lstStyle/>
          <a:p>
            <a:pPr algn="ctr"/>
            <a:r>
              <a:rPr lang="en-GB">
                <a:solidFill>
                  <a:schemeClr val="bg2"/>
                </a:solidFill>
                <a:latin typeface="+mn-lt"/>
              </a:rPr>
              <a:t>BIG BETS</a:t>
            </a:r>
            <a:endParaRPr lang="en-GB" dirty="0">
              <a:solidFill>
                <a:schemeClr val="bg2"/>
              </a:solidFill>
              <a:latin typeface="+mn-lt"/>
            </a:endParaRPr>
          </a:p>
        </p:txBody>
      </p:sp>
      <p:sp>
        <p:nvSpPr>
          <p:cNvPr id="17" name="ZoneTexte 16">
            <a:extLst>
              <a:ext uri="{FF2B5EF4-FFF2-40B4-BE49-F238E27FC236}">
                <a16:creationId xmlns:a16="http://schemas.microsoft.com/office/drawing/2014/main" id="{781F2DDE-1E2D-4059-968C-DE79395C780F}"/>
              </a:ext>
            </a:extLst>
          </p:cNvPr>
          <p:cNvSpPr txBox="1"/>
          <p:nvPr/>
        </p:nvSpPr>
        <p:spPr>
          <a:xfrm>
            <a:off x="1218088" y="3605702"/>
            <a:ext cx="1980000" cy="307777"/>
          </a:xfrm>
          <a:prstGeom prst="rect">
            <a:avLst/>
          </a:prstGeom>
          <a:noFill/>
        </p:spPr>
        <p:txBody>
          <a:bodyPr wrap="square" rtlCol="0">
            <a:noAutofit/>
          </a:bodyPr>
          <a:lstStyle/>
          <a:p>
            <a:pPr algn="ctr"/>
            <a:r>
              <a:rPr lang="en-GB">
                <a:solidFill>
                  <a:schemeClr val="bg2"/>
                </a:solidFill>
                <a:latin typeface="+mn-lt"/>
              </a:rPr>
              <a:t>MAYBES</a:t>
            </a:r>
            <a:endParaRPr lang="en-GB" dirty="0">
              <a:solidFill>
                <a:schemeClr val="bg2"/>
              </a:solidFill>
              <a:latin typeface="+mn-lt"/>
            </a:endParaRPr>
          </a:p>
        </p:txBody>
      </p:sp>
      <p:sp>
        <p:nvSpPr>
          <p:cNvPr id="21" name="ZoneTexte 20">
            <a:extLst>
              <a:ext uri="{FF2B5EF4-FFF2-40B4-BE49-F238E27FC236}">
                <a16:creationId xmlns:a16="http://schemas.microsoft.com/office/drawing/2014/main" id="{441F95ED-603C-4F02-AE7D-57D929ED9975}"/>
              </a:ext>
            </a:extLst>
          </p:cNvPr>
          <p:cNvSpPr txBox="1"/>
          <p:nvPr/>
        </p:nvSpPr>
        <p:spPr>
          <a:xfrm>
            <a:off x="3473816" y="3605702"/>
            <a:ext cx="1980000" cy="307777"/>
          </a:xfrm>
          <a:prstGeom prst="rect">
            <a:avLst/>
          </a:prstGeom>
          <a:noFill/>
        </p:spPr>
        <p:txBody>
          <a:bodyPr wrap="square" rtlCol="0">
            <a:noAutofit/>
          </a:bodyPr>
          <a:lstStyle/>
          <a:p>
            <a:pPr algn="ctr"/>
            <a:r>
              <a:rPr lang="en-GB">
                <a:solidFill>
                  <a:schemeClr val="bg2"/>
                </a:solidFill>
                <a:latin typeface="+mn-lt"/>
              </a:rPr>
              <a:t>TIME SINKS</a:t>
            </a:r>
            <a:endParaRPr lang="en-GB" dirty="0">
              <a:solidFill>
                <a:schemeClr val="bg2"/>
              </a:solidFill>
              <a:latin typeface="+mn-lt"/>
            </a:endParaRPr>
          </a:p>
        </p:txBody>
      </p:sp>
      <p:sp>
        <p:nvSpPr>
          <p:cNvPr id="72" name="ZoneTexte 71">
            <a:extLst>
              <a:ext uri="{FF2B5EF4-FFF2-40B4-BE49-F238E27FC236}">
                <a16:creationId xmlns:a16="http://schemas.microsoft.com/office/drawing/2014/main" id="{F10F4A3C-59D7-48A9-B701-BEB9AED807F5}"/>
              </a:ext>
            </a:extLst>
          </p:cNvPr>
          <p:cNvSpPr txBox="1"/>
          <p:nvPr/>
        </p:nvSpPr>
        <p:spPr>
          <a:xfrm>
            <a:off x="1091447" y="5887661"/>
            <a:ext cx="595035" cy="276999"/>
          </a:xfrm>
          <a:prstGeom prst="rect">
            <a:avLst/>
          </a:prstGeom>
          <a:noFill/>
        </p:spPr>
        <p:txBody>
          <a:bodyPr wrap="none" rtlCol="0">
            <a:spAutoFit/>
          </a:bodyPr>
          <a:lstStyle/>
          <a:p>
            <a:r>
              <a:rPr lang="en-GB" sz="1200">
                <a:solidFill>
                  <a:schemeClr val="accent2"/>
                </a:solidFill>
                <a:latin typeface="+mn-lt"/>
              </a:rPr>
              <a:t>EASY</a:t>
            </a:r>
            <a:endParaRPr lang="en-GB" sz="1200" dirty="0">
              <a:solidFill>
                <a:schemeClr val="accent2"/>
              </a:solidFill>
              <a:latin typeface="+mn-lt"/>
            </a:endParaRPr>
          </a:p>
        </p:txBody>
      </p:sp>
      <p:sp>
        <p:nvSpPr>
          <p:cNvPr id="53" name="Ellipse 52">
            <a:extLst>
              <a:ext uri="{FF2B5EF4-FFF2-40B4-BE49-F238E27FC236}">
                <a16:creationId xmlns:a16="http://schemas.microsoft.com/office/drawing/2014/main" id="{929ED337-DB0C-454A-8DAE-197602B149DE}"/>
              </a:ext>
            </a:extLst>
          </p:cNvPr>
          <p:cNvSpPr/>
          <p:nvPr/>
        </p:nvSpPr>
        <p:spPr>
          <a:xfrm>
            <a:off x="4631604" y="1828778"/>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a</a:t>
            </a:r>
            <a:endParaRPr lang="en-GB" sz="1200" b="1" dirty="0">
              <a:solidFill>
                <a:srgbClr val="FFFFFF"/>
              </a:solidFill>
            </a:endParaRPr>
          </a:p>
        </p:txBody>
      </p:sp>
      <p:sp>
        <p:nvSpPr>
          <p:cNvPr id="54" name="Ellipse 53">
            <a:extLst>
              <a:ext uri="{FF2B5EF4-FFF2-40B4-BE49-F238E27FC236}">
                <a16:creationId xmlns:a16="http://schemas.microsoft.com/office/drawing/2014/main" id="{EB08C41E-8731-41B4-97D3-F0336F9F2560}"/>
              </a:ext>
            </a:extLst>
          </p:cNvPr>
          <p:cNvSpPr/>
          <p:nvPr/>
        </p:nvSpPr>
        <p:spPr>
          <a:xfrm>
            <a:off x="4928098" y="1828428"/>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b</a:t>
            </a:r>
            <a:endParaRPr lang="en-GB" sz="1200" b="1" dirty="0">
              <a:solidFill>
                <a:srgbClr val="FFFFFF"/>
              </a:solidFill>
            </a:endParaRPr>
          </a:p>
        </p:txBody>
      </p:sp>
      <p:sp>
        <p:nvSpPr>
          <p:cNvPr id="55" name="Ellipse 54">
            <a:extLst>
              <a:ext uri="{FF2B5EF4-FFF2-40B4-BE49-F238E27FC236}">
                <a16:creationId xmlns:a16="http://schemas.microsoft.com/office/drawing/2014/main" id="{7A7BC07F-4E7C-42B3-AD40-11D465B604D9}"/>
              </a:ext>
            </a:extLst>
          </p:cNvPr>
          <p:cNvSpPr/>
          <p:nvPr/>
        </p:nvSpPr>
        <p:spPr>
          <a:xfrm>
            <a:off x="4766804" y="2087305"/>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c</a:t>
            </a:r>
            <a:endParaRPr lang="en-GB" sz="1200" b="1" dirty="0">
              <a:solidFill>
                <a:srgbClr val="FFFFFF"/>
              </a:solidFill>
            </a:endParaRPr>
          </a:p>
        </p:txBody>
      </p:sp>
      <p:sp>
        <p:nvSpPr>
          <p:cNvPr id="56" name="Ellipse 55">
            <a:extLst>
              <a:ext uri="{FF2B5EF4-FFF2-40B4-BE49-F238E27FC236}">
                <a16:creationId xmlns:a16="http://schemas.microsoft.com/office/drawing/2014/main" id="{53310175-09A1-4B1D-A8D3-A95E0D03D6B3}"/>
              </a:ext>
            </a:extLst>
          </p:cNvPr>
          <p:cNvSpPr/>
          <p:nvPr/>
        </p:nvSpPr>
        <p:spPr>
          <a:xfrm>
            <a:off x="2209720" y="4792589"/>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d</a:t>
            </a:r>
            <a:endParaRPr lang="en-GB" sz="1200" b="1" dirty="0">
              <a:solidFill>
                <a:srgbClr val="FFFFFF"/>
              </a:solidFill>
            </a:endParaRPr>
          </a:p>
        </p:txBody>
      </p:sp>
      <p:sp>
        <p:nvSpPr>
          <p:cNvPr id="59" name="Ellipse 58">
            <a:extLst>
              <a:ext uri="{FF2B5EF4-FFF2-40B4-BE49-F238E27FC236}">
                <a16:creationId xmlns:a16="http://schemas.microsoft.com/office/drawing/2014/main" id="{7A72C4AD-0200-4554-A097-417B05560100}"/>
              </a:ext>
            </a:extLst>
          </p:cNvPr>
          <p:cNvSpPr/>
          <p:nvPr/>
        </p:nvSpPr>
        <p:spPr>
          <a:xfrm>
            <a:off x="1805655" y="2920884"/>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e</a:t>
            </a:r>
            <a:endParaRPr lang="en-GB" sz="1200" b="1" dirty="0">
              <a:solidFill>
                <a:srgbClr val="FFFFFF"/>
              </a:solidFill>
            </a:endParaRPr>
          </a:p>
        </p:txBody>
      </p:sp>
      <p:sp>
        <p:nvSpPr>
          <p:cNvPr id="65" name="Ellipse 64">
            <a:extLst>
              <a:ext uri="{FF2B5EF4-FFF2-40B4-BE49-F238E27FC236}">
                <a16:creationId xmlns:a16="http://schemas.microsoft.com/office/drawing/2014/main" id="{2A5658F3-38BC-47AC-86C1-08B62EC5B5DB}"/>
              </a:ext>
            </a:extLst>
          </p:cNvPr>
          <p:cNvSpPr/>
          <p:nvPr/>
        </p:nvSpPr>
        <p:spPr>
          <a:xfrm>
            <a:off x="5185524" y="5447253"/>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f</a:t>
            </a:r>
            <a:endParaRPr lang="en-GB" sz="1200" b="1" dirty="0">
              <a:solidFill>
                <a:srgbClr val="FFFFFF"/>
              </a:solidFill>
            </a:endParaRPr>
          </a:p>
        </p:txBody>
      </p:sp>
      <p:sp>
        <p:nvSpPr>
          <p:cNvPr id="73" name="Ellipse 72">
            <a:extLst>
              <a:ext uri="{FF2B5EF4-FFF2-40B4-BE49-F238E27FC236}">
                <a16:creationId xmlns:a16="http://schemas.microsoft.com/office/drawing/2014/main" id="{85042DD9-24DE-47BF-9B99-273A40115141}"/>
              </a:ext>
            </a:extLst>
          </p:cNvPr>
          <p:cNvSpPr/>
          <p:nvPr/>
        </p:nvSpPr>
        <p:spPr>
          <a:xfrm>
            <a:off x="3577674" y="3114301"/>
            <a:ext cx="288000" cy="2880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2a</a:t>
            </a:r>
            <a:endParaRPr lang="en-GB" sz="1200" b="1" dirty="0">
              <a:solidFill>
                <a:srgbClr val="FFFFFF"/>
              </a:solidFill>
            </a:endParaRPr>
          </a:p>
        </p:txBody>
      </p:sp>
      <p:sp>
        <p:nvSpPr>
          <p:cNvPr id="74" name="Ellipse 73">
            <a:extLst>
              <a:ext uri="{FF2B5EF4-FFF2-40B4-BE49-F238E27FC236}">
                <a16:creationId xmlns:a16="http://schemas.microsoft.com/office/drawing/2014/main" id="{5F67F1EE-89E4-4C42-80D6-B4D0FD76753F}"/>
              </a:ext>
            </a:extLst>
          </p:cNvPr>
          <p:cNvSpPr/>
          <p:nvPr/>
        </p:nvSpPr>
        <p:spPr>
          <a:xfrm>
            <a:off x="4062245" y="5373074"/>
            <a:ext cx="288000" cy="2880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2b</a:t>
            </a:r>
            <a:endParaRPr lang="en-GB" sz="1200" b="1" dirty="0">
              <a:solidFill>
                <a:srgbClr val="FFFFFF"/>
              </a:solidFill>
            </a:endParaRPr>
          </a:p>
        </p:txBody>
      </p:sp>
      <p:sp>
        <p:nvSpPr>
          <p:cNvPr id="75" name="Ellipse 74">
            <a:extLst>
              <a:ext uri="{FF2B5EF4-FFF2-40B4-BE49-F238E27FC236}">
                <a16:creationId xmlns:a16="http://schemas.microsoft.com/office/drawing/2014/main" id="{55111571-8774-4CB4-B53F-A39E0BE2DE2F}"/>
              </a:ext>
            </a:extLst>
          </p:cNvPr>
          <p:cNvSpPr/>
          <p:nvPr/>
        </p:nvSpPr>
        <p:spPr>
          <a:xfrm>
            <a:off x="2987371" y="2920884"/>
            <a:ext cx="288000" cy="28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3a</a:t>
            </a:r>
            <a:endParaRPr lang="en-GB" sz="1200" b="1" dirty="0">
              <a:solidFill>
                <a:srgbClr val="FFFFFF"/>
              </a:solidFill>
            </a:endParaRPr>
          </a:p>
        </p:txBody>
      </p:sp>
      <p:sp>
        <p:nvSpPr>
          <p:cNvPr id="76" name="Ellipse 75">
            <a:extLst>
              <a:ext uri="{FF2B5EF4-FFF2-40B4-BE49-F238E27FC236}">
                <a16:creationId xmlns:a16="http://schemas.microsoft.com/office/drawing/2014/main" id="{DE23B9C9-E551-4049-A98F-FEBF66B446B4}"/>
              </a:ext>
            </a:extLst>
          </p:cNvPr>
          <p:cNvSpPr/>
          <p:nvPr/>
        </p:nvSpPr>
        <p:spPr>
          <a:xfrm>
            <a:off x="3712275" y="1933909"/>
            <a:ext cx="288000" cy="28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3c</a:t>
            </a:r>
            <a:endParaRPr lang="en-GB" sz="1200" b="1" dirty="0">
              <a:solidFill>
                <a:srgbClr val="FFFFFF"/>
              </a:solidFill>
            </a:endParaRPr>
          </a:p>
        </p:txBody>
      </p:sp>
      <p:sp>
        <p:nvSpPr>
          <p:cNvPr id="77" name="Ellipse 76">
            <a:extLst>
              <a:ext uri="{FF2B5EF4-FFF2-40B4-BE49-F238E27FC236}">
                <a16:creationId xmlns:a16="http://schemas.microsoft.com/office/drawing/2014/main" id="{D6F57495-5A53-4FF0-A89B-8A3B7FCC1166}"/>
              </a:ext>
            </a:extLst>
          </p:cNvPr>
          <p:cNvSpPr/>
          <p:nvPr/>
        </p:nvSpPr>
        <p:spPr>
          <a:xfrm>
            <a:off x="1646790" y="1874605"/>
            <a:ext cx="288000" cy="28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3b</a:t>
            </a:r>
            <a:endParaRPr lang="en-GB" sz="1200" b="1" dirty="0">
              <a:solidFill>
                <a:srgbClr val="FFFFFF"/>
              </a:solidFill>
            </a:endParaRPr>
          </a:p>
        </p:txBody>
      </p:sp>
      <p:sp>
        <p:nvSpPr>
          <p:cNvPr id="78" name="Ellipse 77">
            <a:extLst>
              <a:ext uri="{FF2B5EF4-FFF2-40B4-BE49-F238E27FC236}">
                <a16:creationId xmlns:a16="http://schemas.microsoft.com/office/drawing/2014/main" id="{668D00B9-C57E-47B4-8D19-19D3212E9FA0}"/>
              </a:ext>
            </a:extLst>
          </p:cNvPr>
          <p:cNvSpPr/>
          <p:nvPr/>
        </p:nvSpPr>
        <p:spPr>
          <a:xfrm>
            <a:off x="5243815" y="3042510"/>
            <a:ext cx="288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4a</a:t>
            </a:r>
            <a:endParaRPr lang="en-GB" sz="1200" b="1" dirty="0">
              <a:solidFill>
                <a:srgbClr val="FFFFFF"/>
              </a:solidFill>
            </a:endParaRPr>
          </a:p>
        </p:txBody>
      </p:sp>
      <p:sp>
        <p:nvSpPr>
          <p:cNvPr id="79" name="Ellipse 78">
            <a:extLst>
              <a:ext uri="{FF2B5EF4-FFF2-40B4-BE49-F238E27FC236}">
                <a16:creationId xmlns:a16="http://schemas.microsoft.com/office/drawing/2014/main" id="{AAE8ED16-ED07-47AD-BD28-2101EEA2956B}"/>
              </a:ext>
            </a:extLst>
          </p:cNvPr>
          <p:cNvSpPr/>
          <p:nvPr/>
        </p:nvSpPr>
        <p:spPr>
          <a:xfrm>
            <a:off x="4642793" y="4196743"/>
            <a:ext cx="288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4c</a:t>
            </a:r>
            <a:endParaRPr lang="en-GB" sz="1200" b="1" dirty="0">
              <a:solidFill>
                <a:srgbClr val="FFFFFF"/>
              </a:solidFill>
            </a:endParaRPr>
          </a:p>
        </p:txBody>
      </p:sp>
      <p:sp>
        <p:nvSpPr>
          <p:cNvPr id="80" name="Ellipse 79">
            <a:extLst>
              <a:ext uri="{FF2B5EF4-FFF2-40B4-BE49-F238E27FC236}">
                <a16:creationId xmlns:a16="http://schemas.microsoft.com/office/drawing/2014/main" id="{24207335-BA55-466B-98CE-52A67034AA4F}"/>
              </a:ext>
            </a:extLst>
          </p:cNvPr>
          <p:cNvSpPr/>
          <p:nvPr/>
        </p:nvSpPr>
        <p:spPr>
          <a:xfrm>
            <a:off x="3589019" y="4196743"/>
            <a:ext cx="288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4b</a:t>
            </a:r>
            <a:endParaRPr lang="en-GB" sz="1200" b="1" dirty="0">
              <a:solidFill>
                <a:srgbClr val="FFFFFF"/>
              </a:solidFill>
            </a:endParaRPr>
          </a:p>
        </p:txBody>
      </p:sp>
      <p:graphicFrame>
        <p:nvGraphicFramePr>
          <p:cNvPr id="3" name="Table 3">
            <a:extLst>
              <a:ext uri="{FF2B5EF4-FFF2-40B4-BE49-F238E27FC236}">
                <a16:creationId xmlns:a16="http://schemas.microsoft.com/office/drawing/2014/main" id="{620D5AD2-10FC-4965-BB3B-A8B24733ABDD}"/>
              </a:ext>
            </a:extLst>
          </p:cNvPr>
          <p:cNvGraphicFramePr>
            <a:graphicFrameLocks noGrp="1"/>
          </p:cNvGraphicFramePr>
          <p:nvPr>
            <p:extLst>
              <p:ext uri="{D42A27DB-BD31-4B8C-83A1-F6EECF244321}">
                <p14:modId xmlns:p14="http://schemas.microsoft.com/office/powerpoint/2010/main" val="3183565513"/>
              </p:ext>
            </p:extLst>
          </p:nvPr>
        </p:nvGraphicFramePr>
        <p:xfrm>
          <a:off x="6395097" y="1722514"/>
          <a:ext cx="4432488" cy="4274880"/>
        </p:xfrm>
        <a:graphic>
          <a:graphicData uri="http://schemas.openxmlformats.org/drawingml/2006/table">
            <a:tbl>
              <a:tblPr firstRow="1" bandRow="1">
                <a:tableStyleId>{5C22544A-7EE6-4342-B048-85BDC9FD1C3A}</a:tableStyleId>
              </a:tblPr>
              <a:tblGrid>
                <a:gridCol w="387866">
                  <a:extLst>
                    <a:ext uri="{9D8B030D-6E8A-4147-A177-3AD203B41FA5}">
                      <a16:colId xmlns:a16="http://schemas.microsoft.com/office/drawing/2014/main" val="858904270"/>
                    </a:ext>
                  </a:extLst>
                </a:gridCol>
                <a:gridCol w="241400">
                  <a:extLst>
                    <a:ext uri="{9D8B030D-6E8A-4147-A177-3AD203B41FA5}">
                      <a16:colId xmlns:a16="http://schemas.microsoft.com/office/drawing/2014/main" val="2473691056"/>
                    </a:ext>
                  </a:extLst>
                </a:gridCol>
                <a:gridCol w="3803222">
                  <a:extLst>
                    <a:ext uri="{9D8B030D-6E8A-4147-A177-3AD203B41FA5}">
                      <a16:colId xmlns:a16="http://schemas.microsoft.com/office/drawing/2014/main" val="3171271385"/>
                    </a:ext>
                  </a:extLst>
                </a:gridCol>
              </a:tblGrid>
              <a:tr h="233296">
                <a:tc>
                  <a:txBody>
                    <a:bodyPr/>
                    <a:lstStyle/>
                    <a:p>
                      <a:pPr algn="ctr">
                        <a:spcBef>
                          <a:spcPts val="400"/>
                        </a:spcBef>
                        <a:spcAft>
                          <a:spcPts val="400"/>
                        </a:spcAft>
                      </a:pPr>
                      <a:r>
                        <a:rPr lang="en-GB" sz="1400" b="0">
                          <a:solidFill>
                            <a:schemeClr val="bg1"/>
                          </a:solidFill>
                        </a:rPr>
                        <a:t>1</a:t>
                      </a:r>
                      <a:endParaRPr lang="en-GB" sz="1200" b="0" dirty="0">
                        <a:solidFill>
                          <a:schemeClr val="bg1"/>
                        </a:solidFill>
                      </a:endParaRPr>
                    </a:p>
                  </a:txBody>
                  <a:tcPr marL="144000" marR="144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gridSpan="2">
                  <a:txBody>
                    <a:bodyPr/>
                    <a:lstStyle/>
                    <a:p>
                      <a:pPr algn="l">
                        <a:spcBef>
                          <a:spcPts val="400"/>
                        </a:spcBef>
                        <a:spcAft>
                          <a:spcPts val="400"/>
                        </a:spcAft>
                      </a:pPr>
                      <a:r>
                        <a:rPr lang="en-GB" sz="1400" b="0" dirty="0">
                          <a:solidFill>
                            <a:schemeClr val="tx1"/>
                          </a:solidFill>
                        </a:rPr>
                        <a:t>Descriptor</a:t>
                      </a:r>
                    </a:p>
                  </a:txBody>
                  <a:tcPr marL="108000" marR="108000" marT="72000" marB="72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200" dirty="0"/>
                    </a:p>
                  </a:txBody>
                  <a:tcPr marL="108000" marR="108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1041142"/>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a</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5325297"/>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b</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4623739"/>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c</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874996"/>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d</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8263564"/>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e</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169055"/>
                  </a:ext>
                </a:extLst>
              </a:tr>
              <a:tr h="233296">
                <a:tc>
                  <a:txBody>
                    <a:bodyPr/>
                    <a:lstStyle/>
                    <a:p>
                      <a:pPr algn="ctr">
                        <a:spcBef>
                          <a:spcPts val="400"/>
                        </a:spcBef>
                        <a:spcAft>
                          <a:spcPts val="400"/>
                        </a:spcAft>
                      </a:pPr>
                      <a:r>
                        <a:rPr lang="en-GB" sz="1400">
                          <a:solidFill>
                            <a:schemeClr val="bg1"/>
                          </a:solidFill>
                        </a:rPr>
                        <a:t>2</a:t>
                      </a:r>
                      <a:endParaRPr lang="en-GB" sz="1200" dirty="0">
                        <a:solidFill>
                          <a:schemeClr val="bg1"/>
                        </a:solidFill>
                      </a:endParaRPr>
                    </a:p>
                  </a:txBody>
                  <a:tcPr marL="144000" marR="144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2">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dirty="0">
                          <a:solidFill>
                            <a:schemeClr val="tx1"/>
                          </a:solidFill>
                        </a:rPr>
                        <a:t>Descriptor</a:t>
                      </a:r>
                      <a:endParaRPr lang="en-GB" sz="1200" dirty="0">
                        <a:solidFill>
                          <a:schemeClr val="tx1"/>
                        </a:solidFill>
                      </a:endParaRPr>
                    </a:p>
                  </a:txBody>
                  <a:tcPr marL="108000" marR="108000" marT="72000" marB="72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200" dirty="0"/>
                    </a:p>
                  </a:txBody>
                  <a:tcPr marL="108000" marR="108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20986870"/>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a</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6434128"/>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b</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86308"/>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c</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1374984"/>
                  </a:ext>
                </a:extLst>
              </a:tr>
              <a:tr h="233296">
                <a:tc>
                  <a:txBody>
                    <a:bodyPr/>
                    <a:lstStyle/>
                    <a:p>
                      <a:pPr algn="ctr">
                        <a:spcBef>
                          <a:spcPts val="400"/>
                        </a:spcBef>
                        <a:spcAft>
                          <a:spcPts val="400"/>
                        </a:spcAft>
                      </a:pPr>
                      <a:r>
                        <a:rPr lang="en-GB" sz="1400">
                          <a:solidFill>
                            <a:schemeClr val="bg1"/>
                          </a:solidFill>
                        </a:rPr>
                        <a:t>3</a:t>
                      </a:r>
                      <a:endParaRPr lang="en-GB" sz="1400" dirty="0">
                        <a:solidFill>
                          <a:schemeClr val="bg1"/>
                        </a:solidFill>
                      </a:endParaRPr>
                    </a:p>
                  </a:txBody>
                  <a:tcPr marL="144000" marR="144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gridSpan="2">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dirty="0">
                          <a:solidFill>
                            <a:schemeClr val="tx1"/>
                          </a:solidFill>
                        </a:rPr>
                        <a:t>Descriptor</a:t>
                      </a:r>
                      <a:endParaRPr lang="en-GB" sz="1200" dirty="0">
                        <a:solidFill>
                          <a:schemeClr val="tx1"/>
                        </a:solidFill>
                      </a:endParaRPr>
                    </a:p>
                  </a:txBody>
                  <a:tcPr marL="108000" marR="108000" marT="72000" marB="72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200" dirty="0"/>
                    </a:p>
                  </a:txBody>
                  <a:tcPr marL="108000" marR="108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98233465"/>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a</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7183897"/>
                  </a:ext>
                </a:extLst>
              </a:tr>
              <a:tr h="134462">
                <a:tc>
                  <a:txBody>
                    <a:bodyPr/>
                    <a:lstStyle/>
                    <a:p>
                      <a:pPr algn="ctr">
                        <a:spcBef>
                          <a:spcPts val="400"/>
                        </a:spcBef>
                        <a:spcAft>
                          <a:spcPts val="400"/>
                        </a:spcAft>
                      </a:pPr>
                      <a:endParaRPr lang="en-GB" sz="1000" dirty="0">
                        <a:solidFill>
                          <a:schemeClr val="bg1"/>
                        </a:solidFill>
                      </a:endParaRPr>
                    </a:p>
                  </a:txBody>
                  <a:tcPr marL="144000" marR="144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b</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42771"/>
                  </a:ext>
                </a:extLst>
              </a:tr>
              <a:tr h="233296">
                <a:tc>
                  <a:txBody>
                    <a:bodyPr/>
                    <a:lstStyle/>
                    <a:p>
                      <a:pPr algn="ctr">
                        <a:spcBef>
                          <a:spcPts val="400"/>
                        </a:spcBef>
                        <a:spcAft>
                          <a:spcPts val="400"/>
                        </a:spcAft>
                      </a:pPr>
                      <a:r>
                        <a:rPr lang="en-GB" sz="1400">
                          <a:solidFill>
                            <a:schemeClr val="bg1"/>
                          </a:solidFill>
                        </a:rPr>
                        <a:t>4</a:t>
                      </a:r>
                      <a:endParaRPr lang="en-GB" sz="1400" dirty="0">
                        <a:solidFill>
                          <a:schemeClr val="bg1"/>
                        </a:solidFill>
                      </a:endParaRPr>
                    </a:p>
                  </a:txBody>
                  <a:tcPr marL="144000" marR="144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dirty="0">
                          <a:solidFill>
                            <a:schemeClr val="tx1"/>
                          </a:solidFill>
                        </a:rPr>
                        <a:t>Descriptor</a:t>
                      </a:r>
                      <a:endParaRPr lang="en-GB" sz="1200" dirty="0">
                        <a:solidFill>
                          <a:schemeClr val="tx1"/>
                        </a:solidFill>
                      </a:endParaRPr>
                    </a:p>
                  </a:txBody>
                  <a:tcPr marL="108000" marR="108000" marT="72000" marB="72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200" dirty="0"/>
                    </a:p>
                  </a:txBody>
                  <a:tcPr marL="108000" marR="108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96150901"/>
                  </a:ext>
                </a:extLst>
              </a:tr>
              <a:tr h="134462">
                <a:tc>
                  <a:txBody>
                    <a:bodyPr/>
                    <a:lstStyle/>
                    <a:p>
                      <a:pPr algn="ctr">
                        <a:spcBef>
                          <a:spcPts val="400"/>
                        </a:spcBef>
                        <a:spcAft>
                          <a:spcPts val="400"/>
                        </a:spcAft>
                      </a:pPr>
                      <a:endParaRPr lang="en-GB" sz="1000" dirty="0">
                        <a:solidFill>
                          <a:schemeClr val="bg1"/>
                        </a:solidFill>
                      </a:endParaRPr>
                    </a:p>
                  </a:txBody>
                  <a:tcPr marL="144000" marR="144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a</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7819028"/>
                  </a:ext>
                </a:extLst>
              </a:tr>
              <a:tr h="134462">
                <a:tc>
                  <a:txBody>
                    <a:bodyPr/>
                    <a:lstStyle/>
                    <a:p>
                      <a:pPr algn="ctr">
                        <a:spcBef>
                          <a:spcPts val="400"/>
                        </a:spcBef>
                        <a:spcAft>
                          <a:spcPts val="400"/>
                        </a:spcAft>
                      </a:pPr>
                      <a:endParaRPr lang="en-GB" sz="1000" dirty="0">
                        <a:solidFill>
                          <a:schemeClr val="bg1"/>
                        </a:solidFill>
                      </a:endParaRPr>
                    </a:p>
                  </a:txBody>
                  <a:tcPr marL="144000" marR="144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b</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7836380"/>
                  </a:ext>
                </a:extLst>
              </a:tr>
              <a:tr h="134462">
                <a:tc>
                  <a:txBody>
                    <a:bodyPr/>
                    <a:lstStyle/>
                    <a:p>
                      <a:pPr algn="ctr">
                        <a:spcBef>
                          <a:spcPts val="400"/>
                        </a:spcBef>
                        <a:spcAft>
                          <a:spcPts val="400"/>
                        </a:spcAft>
                      </a:pPr>
                      <a:endParaRPr lang="en-GB" sz="1000" dirty="0">
                        <a:solidFill>
                          <a:schemeClr val="bg1"/>
                        </a:solidFill>
                      </a:endParaRPr>
                    </a:p>
                  </a:txBody>
                  <a:tcPr marL="144000" marR="144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400"/>
                        </a:spcBef>
                        <a:spcAft>
                          <a:spcPts val="400"/>
                        </a:spcAft>
                      </a:pPr>
                      <a:r>
                        <a:rPr lang="en-GB" sz="1200">
                          <a:solidFill>
                            <a:schemeClr val="tx1"/>
                          </a:solidFill>
                        </a:rPr>
                        <a:t>c</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400"/>
                        </a:spcBef>
                        <a:spcAft>
                          <a:spcPts val="400"/>
                        </a:spcAft>
                      </a:pPr>
                      <a:r>
                        <a:rPr lang="en-GB" sz="1200">
                          <a:solidFill>
                            <a:schemeClr val="tx1"/>
                          </a:solidFill>
                        </a:rPr>
                        <a:t>Text</a:t>
                      </a:r>
                      <a:endParaRPr lang="en-GB" sz="1200" dirty="0">
                        <a:solidFill>
                          <a:schemeClr val="tx1"/>
                        </a:solidFill>
                      </a:endParaRPr>
                    </a:p>
                  </a:txBody>
                  <a:tcPr marL="108000" marR="108000" marT="18000" marB="18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0121171"/>
                  </a:ext>
                </a:extLst>
              </a:tr>
            </a:tbl>
          </a:graphicData>
        </a:graphic>
      </p:graphicFrame>
    </p:spTree>
    <p:extLst>
      <p:ext uri="{BB962C8B-B14F-4D97-AF65-F5344CB8AC3E}">
        <p14:creationId xmlns:p14="http://schemas.microsoft.com/office/powerpoint/2010/main" val="13959069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2">
            <a:extLst>
              <a:ext uri="{FF2B5EF4-FFF2-40B4-BE49-F238E27FC236}">
                <a16:creationId xmlns:a16="http://schemas.microsoft.com/office/drawing/2014/main" id="{30D5173A-134A-4C42-AD1F-AF33DFD0EA8C}"/>
              </a:ext>
            </a:extLst>
          </p:cNvPr>
          <p:cNvSpPr txBox="1"/>
          <p:nvPr/>
        </p:nvSpPr>
        <p:spPr>
          <a:xfrm>
            <a:off x="2095490" y="6027163"/>
            <a:ext cx="524504" cy="246221"/>
          </a:xfrm>
          <a:prstGeom prst="rect">
            <a:avLst/>
          </a:prstGeom>
          <a:noFill/>
        </p:spPr>
        <p:txBody>
          <a:bodyPr wrap="none" rtlCol="0">
            <a:spAutoFit/>
          </a:bodyPr>
          <a:lstStyle/>
          <a:p>
            <a:r>
              <a:rPr lang="en-GB" sz="1000">
                <a:solidFill>
                  <a:schemeClr val="accent3"/>
                </a:solidFill>
                <a:latin typeface="+mn-lt"/>
              </a:rPr>
              <a:t>EASY</a:t>
            </a:r>
            <a:endParaRPr lang="en-GB" sz="1000" dirty="0">
              <a:solidFill>
                <a:schemeClr val="accent3"/>
              </a:solidFill>
              <a:latin typeface="+mn-lt"/>
            </a:endParaRPr>
          </a:p>
        </p:txBody>
      </p:sp>
      <p:graphicFrame>
        <p:nvGraphicFramePr>
          <p:cNvPr id="7" name="Objet 6" hidden="1">
            <a:extLst>
              <a:ext uri="{FF2B5EF4-FFF2-40B4-BE49-F238E27FC236}">
                <a16:creationId xmlns:a16="http://schemas.microsoft.com/office/drawing/2014/main" id="{E726AACE-03FF-47B6-9298-2C25570671A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7" name="Objet 6" hidden="1">
                        <a:extLst>
                          <a:ext uri="{FF2B5EF4-FFF2-40B4-BE49-F238E27FC236}">
                            <a16:creationId xmlns:a16="http://schemas.microsoft.com/office/drawing/2014/main" id="{E726AACE-03FF-47B6-9298-2C25570671A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CB1E2ED2-B9D1-4874-9B0E-EC1A0E54CE77}"/>
              </a:ext>
            </a:extLst>
          </p:cNvPr>
          <p:cNvSpPr/>
          <p:nvPr>
            <p:custDataLst>
              <p:tags r:id="rId2"/>
            </p:custDataLst>
          </p:nvPr>
        </p:nvSpPr>
        <p:spPr>
          <a:xfrm>
            <a:off x="1143000" y="0"/>
            <a:ext cx="158750" cy="158750"/>
          </a:xfrm>
          <a:prstGeom prst="rect">
            <a:avLst/>
          </a:prstGeom>
          <a:solidFill>
            <a:srgbClr val="901237"/>
          </a:solidFill>
          <a:ln>
            <a:solidFill>
              <a:srgbClr val="680A2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re 2">
            <a:extLst>
              <a:ext uri="{FF2B5EF4-FFF2-40B4-BE49-F238E27FC236}">
                <a16:creationId xmlns:a16="http://schemas.microsoft.com/office/drawing/2014/main" id="{64DC01B1-376E-411B-BAA2-409A7340EEB6}"/>
              </a:ext>
            </a:extLst>
          </p:cNvPr>
          <p:cNvSpPr>
            <a:spLocks noGrp="1"/>
          </p:cNvSpPr>
          <p:nvPr>
            <p:ph type="title"/>
          </p:nvPr>
        </p:nvSpPr>
        <p:spPr/>
        <p:txBody>
          <a:bodyPr/>
          <a:lstStyle/>
          <a:p>
            <a:r>
              <a:rPr lang="en-GB"/>
              <a:t>Quadrant benefits/ feasibility</a:t>
            </a:r>
            <a:endParaRPr lang="en-GB" dirty="0"/>
          </a:p>
        </p:txBody>
      </p:sp>
      <p:sp>
        <p:nvSpPr>
          <p:cNvPr id="14" name="ZoneTexte 13">
            <a:extLst>
              <a:ext uri="{FF2B5EF4-FFF2-40B4-BE49-F238E27FC236}">
                <a16:creationId xmlns:a16="http://schemas.microsoft.com/office/drawing/2014/main" id="{D6E16033-4854-4ACB-AAC9-03D964E9760E}"/>
              </a:ext>
            </a:extLst>
          </p:cNvPr>
          <p:cNvSpPr txBox="1"/>
          <p:nvPr/>
        </p:nvSpPr>
        <p:spPr>
          <a:xfrm>
            <a:off x="729936" y="3497681"/>
            <a:ext cx="1072731" cy="307777"/>
          </a:xfrm>
          <a:prstGeom prst="rect">
            <a:avLst/>
          </a:prstGeom>
          <a:noFill/>
        </p:spPr>
        <p:txBody>
          <a:bodyPr wrap="none" rtlCol="0">
            <a:spAutoFit/>
          </a:bodyPr>
          <a:lstStyle/>
          <a:p>
            <a:pPr algn="r"/>
            <a:r>
              <a:rPr lang="en-GB">
                <a:solidFill>
                  <a:schemeClr val="accent2"/>
                </a:solidFill>
                <a:latin typeface="+mn-lt"/>
              </a:rPr>
              <a:t>BENEFITS</a:t>
            </a:r>
            <a:endParaRPr lang="en-GB" dirty="0">
              <a:solidFill>
                <a:schemeClr val="accent2"/>
              </a:solidFill>
              <a:latin typeface="+mn-lt"/>
            </a:endParaRPr>
          </a:p>
        </p:txBody>
      </p:sp>
      <p:sp>
        <p:nvSpPr>
          <p:cNvPr id="15" name="ZoneTexte 14">
            <a:extLst>
              <a:ext uri="{FF2B5EF4-FFF2-40B4-BE49-F238E27FC236}">
                <a16:creationId xmlns:a16="http://schemas.microsoft.com/office/drawing/2014/main" id="{BCEF4C00-2107-4F8A-ACA0-5215C6F9B0B9}"/>
              </a:ext>
            </a:extLst>
          </p:cNvPr>
          <p:cNvSpPr txBox="1"/>
          <p:nvPr/>
        </p:nvSpPr>
        <p:spPr>
          <a:xfrm>
            <a:off x="4700069" y="5965607"/>
            <a:ext cx="1281121" cy="307777"/>
          </a:xfrm>
          <a:prstGeom prst="rect">
            <a:avLst/>
          </a:prstGeom>
          <a:noFill/>
        </p:spPr>
        <p:txBody>
          <a:bodyPr wrap="none" rtlCol="0">
            <a:spAutoFit/>
          </a:bodyPr>
          <a:lstStyle/>
          <a:p>
            <a:r>
              <a:rPr lang="en-GB">
                <a:solidFill>
                  <a:schemeClr val="accent2"/>
                </a:solidFill>
                <a:latin typeface="+mn-lt"/>
              </a:rPr>
              <a:t>FEASIBILITY</a:t>
            </a:r>
            <a:endParaRPr lang="en-GB" dirty="0">
              <a:solidFill>
                <a:schemeClr val="accent2"/>
              </a:solidFill>
              <a:latin typeface="+mn-lt"/>
            </a:endParaRPr>
          </a:p>
        </p:txBody>
      </p:sp>
      <p:graphicFrame>
        <p:nvGraphicFramePr>
          <p:cNvPr id="16" name="Tableau 15">
            <a:extLst>
              <a:ext uri="{FF2B5EF4-FFF2-40B4-BE49-F238E27FC236}">
                <a16:creationId xmlns:a16="http://schemas.microsoft.com/office/drawing/2014/main" id="{539FFABB-B4E3-4ABA-B809-9CF3302E4E5A}"/>
              </a:ext>
            </a:extLst>
          </p:cNvPr>
          <p:cNvGraphicFramePr>
            <a:graphicFrameLocks noGrp="1"/>
          </p:cNvGraphicFramePr>
          <p:nvPr>
            <p:extLst>
              <p:ext uri="{D42A27DB-BD31-4B8C-83A1-F6EECF244321}">
                <p14:modId xmlns:p14="http://schemas.microsoft.com/office/powerpoint/2010/main" val="1636316434"/>
              </p:ext>
            </p:extLst>
          </p:nvPr>
        </p:nvGraphicFramePr>
        <p:xfrm>
          <a:off x="1865999" y="1403977"/>
          <a:ext cx="6957308" cy="4531288"/>
        </p:xfrm>
        <a:graphic>
          <a:graphicData uri="http://schemas.openxmlformats.org/drawingml/2006/table">
            <a:tbl>
              <a:tblPr firstRow="1" bandRow="1">
                <a:tableStyleId>{5C22544A-7EE6-4342-B048-85BDC9FD1C3A}</a:tableStyleId>
              </a:tblPr>
              <a:tblGrid>
                <a:gridCol w="3478654">
                  <a:extLst>
                    <a:ext uri="{9D8B030D-6E8A-4147-A177-3AD203B41FA5}">
                      <a16:colId xmlns:a16="http://schemas.microsoft.com/office/drawing/2014/main" val="3803860194"/>
                    </a:ext>
                  </a:extLst>
                </a:gridCol>
                <a:gridCol w="3478654">
                  <a:extLst>
                    <a:ext uri="{9D8B030D-6E8A-4147-A177-3AD203B41FA5}">
                      <a16:colId xmlns:a16="http://schemas.microsoft.com/office/drawing/2014/main" val="783512713"/>
                    </a:ext>
                  </a:extLst>
                </a:gridCol>
              </a:tblGrid>
              <a:tr h="2265644">
                <a:tc>
                  <a:txBody>
                    <a:bodyPr/>
                    <a:lstStyle/>
                    <a:p>
                      <a:endParaRPr lang="en-GB" dirty="0">
                        <a:solidFill>
                          <a:srgbClr val="FFFFFF"/>
                        </a:solidFill>
                      </a:endParaRPr>
                    </a:p>
                  </a:txBody>
                  <a:tcPr>
                    <a:lnL w="12700" cmpd="sng">
                      <a:noFill/>
                    </a:lnL>
                    <a:lnR w="12700" cap="flat" cmpd="sng" algn="ctr">
                      <a:solidFill>
                        <a:schemeClr val="accent3"/>
                      </a:solid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dirty="0">
                        <a:solidFill>
                          <a:srgbClr val="FFFFFF"/>
                        </a:solidFill>
                      </a:endParaRPr>
                    </a:p>
                  </a:txBody>
                  <a:tcPr>
                    <a:lnL w="12700" cap="flat" cmpd="sng" algn="ctr">
                      <a:solidFill>
                        <a:schemeClr val="accent3"/>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59053117"/>
                  </a:ext>
                </a:extLst>
              </a:tr>
              <a:tr h="2265644">
                <a:tc>
                  <a:txBody>
                    <a:bodyPr/>
                    <a:lstStyle/>
                    <a:p>
                      <a:endParaRPr lang="en-GB" dirty="0">
                        <a:solidFill>
                          <a:srgbClr val="000000"/>
                        </a:solidFill>
                      </a:endParaRPr>
                    </a:p>
                  </a:txBody>
                  <a:tcP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endParaRPr lang="en-GB" dirty="0">
                        <a:solidFill>
                          <a:srgbClr val="000000"/>
                        </a:solidFill>
                      </a:endParaRPr>
                    </a:p>
                  </a:txBody>
                  <a:tcP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32046846"/>
                  </a:ext>
                </a:extLst>
              </a:tr>
            </a:tbl>
          </a:graphicData>
        </a:graphic>
      </p:graphicFrame>
      <p:cxnSp>
        <p:nvCxnSpPr>
          <p:cNvPr id="9" name="Connecteur droit avec flèche 8">
            <a:extLst>
              <a:ext uri="{FF2B5EF4-FFF2-40B4-BE49-F238E27FC236}">
                <a16:creationId xmlns:a16="http://schemas.microsoft.com/office/drawing/2014/main" id="{99EBC060-9557-41FE-ABB4-E81476733E43}"/>
              </a:ext>
            </a:extLst>
          </p:cNvPr>
          <p:cNvCxnSpPr>
            <a:cxnSpLocks/>
          </p:cNvCxnSpPr>
          <p:nvPr/>
        </p:nvCxnSpPr>
        <p:spPr>
          <a:xfrm flipV="1">
            <a:off x="1874468" y="5929031"/>
            <a:ext cx="7037009" cy="9938"/>
          </a:xfrm>
          <a:prstGeom prst="straightConnector1">
            <a:avLst/>
          </a:prstGeom>
          <a:ln w="19050">
            <a:solidFill>
              <a:schemeClr val="accent2"/>
            </a:solidFill>
            <a:tailEnd type="arrow" w="lg" len="lg"/>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2394469F-2DB0-4BE7-BFAF-721DB43DF0E8}"/>
              </a:ext>
            </a:extLst>
          </p:cNvPr>
          <p:cNvCxnSpPr>
            <a:cxnSpLocks/>
          </p:cNvCxnSpPr>
          <p:nvPr/>
        </p:nvCxnSpPr>
        <p:spPr>
          <a:xfrm flipH="1" flipV="1">
            <a:off x="1857531" y="1403977"/>
            <a:ext cx="18894" cy="4532348"/>
          </a:xfrm>
          <a:prstGeom prst="straightConnector1">
            <a:avLst/>
          </a:prstGeom>
          <a:ln w="19050">
            <a:solidFill>
              <a:schemeClr val="accent2"/>
            </a:solidFill>
            <a:tailEnd type="arrow" w="lg" len="lg"/>
          </a:ln>
        </p:spPr>
        <p:style>
          <a:lnRef idx="1">
            <a:schemeClr val="accent1"/>
          </a:lnRef>
          <a:fillRef idx="0">
            <a:schemeClr val="accent1"/>
          </a:fillRef>
          <a:effectRef idx="0">
            <a:schemeClr val="accent1"/>
          </a:effectRef>
          <a:fontRef idx="minor">
            <a:schemeClr val="tx1"/>
          </a:fontRef>
        </p:style>
      </p:cxnSp>
      <p:sp>
        <p:nvSpPr>
          <p:cNvPr id="2" name="ZoneTexte 1">
            <a:extLst>
              <a:ext uri="{FF2B5EF4-FFF2-40B4-BE49-F238E27FC236}">
                <a16:creationId xmlns:a16="http://schemas.microsoft.com/office/drawing/2014/main" id="{96DDEBE3-2C90-4C74-A13F-A2F5CD412FE9}"/>
              </a:ext>
            </a:extLst>
          </p:cNvPr>
          <p:cNvSpPr txBox="1"/>
          <p:nvPr/>
        </p:nvSpPr>
        <p:spPr>
          <a:xfrm>
            <a:off x="1865999" y="1435594"/>
            <a:ext cx="3490401" cy="307777"/>
          </a:xfrm>
          <a:prstGeom prst="rect">
            <a:avLst/>
          </a:prstGeom>
          <a:noFill/>
        </p:spPr>
        <p:txBody>
          <a:bodyPr wrap="square" rtlCol="0">
            <a:spAutoFit/>
          </a:bodyPr>
          <a:lstStyle/>
          <a:p>
            <a:pPr algn="ctr"/>
            <a:r>
              <a:rPr lang="en-GB">
                <a:solidFill>
                  <a:schemeClr val="tx2"/>
                </a:solidFill>
                <a:latin typeface="+mn-lt"/>
              </a:rPr>
              <a:t>QUICK WINS</a:t>
            </a:r>
            <a:endParaRPr lang="en-GB" dirty="0">
              <a:solidFill>
                <a:schemeClr val="tx2"/>
              </a:solidFill>
              <a:latin typeface="+mn-lt"/>
            </a:endParaRPr>
          </a:p>
        </p:txBody>
      </p:sp>
      <p:sp>
        <p:nvSpPr>
          <p:cNvPr id="13" name="ZoneTexte 12">
            <a:extLst>
              <a:ext uri="{FF2B5EF4-FFF2-40B4-BE49-F238E27FC236}">
                <a16:creationId xmlns:a16="http://schemas.microsoft.com/office/drawing/2014/main" id="{D3157FCE-B457-42D5-AB51-45D06FC1C981}"/>
              </a:ext>
            </a:extLst>
          </p:cNvPr>
          <p:cNvSpPr txBox="1"/>
          <p:nvPr/>
        </p:nvSpPr>
        <p:spPr>
          <a:xfrm>
            <a:off x="5344653" y="1435594"/>
            <a:ext cx="3408588" cy="307777"/>
          </a:xfrm>
          <a:prstGeom prst="rect">
            <a:avLst/>
          </a:prstGeom>
          <a:noFill/>
        </p:spPr>
        <p:txBody>
          <a:bodyPr wrap="square" rtlCol="0">
            <a:spAutoFit/>
          </a:bodyPr>
          <a:lstStyle/>
          <a:p>
            <a:pPr algn="ctr"/>
            <a:r>
              <a:rPr lang="en-GB">
                <a:solidFill>
                  <a:schemeClr val="tx2"/>
                </a:solidFill>
                <a:latin typeface="+mn-lt"/>
              </a:rPr>
              <a:t>BIG BETS</a:t>
            </a:r>
            <a:endParaRPr lang="en-GB" dirty="0">
              <a:solidFill>
                <a:schemeClr val="tx2"/>
              </a:solidFill>
              <a:latin typeface="+mn-lt"/>
            </a:endParaRPr>
          </a:p>
        </p:txBody>
      </p:sp>
      <p:sp>
        <p:nvSpPr>
          <p:cNvPr id="17" name="ZoneTexte 16">
            <a:extLst>
              <a:ext uri="{FF2B5EF4-FFF2-40B4-BE49-F238E27FC236}">
                <a16:creationId xmlns:a16="http://schemas.microsoft.com/office/drawing/2014/main" id="{781F2DDE-1E2D-4059-968C-DE79395C780F}"/>
              </a:ext>
            </a:extLst>
          </p:cNvPr>
          <p:cNvSpPr txBox="1"/>
          <p:nvPr/>
        </p:nvSpPr>
        <p:spPr>
          <a:xfrm>
            <a:off x="1865999" y="3685238"/>
            <a:ext cx="3478654" cy="307777"/>
          </a:xfrm>
          <a:prstGeom prst="rect">
            <a:avLst/>
          </a:prstGeom>
          <a:noFill/>
        </p:spPr>
        <p:txBody>
          <a:bodyPr wrap="square" rtlCol="0">
            <a:spAutoFit/>
          </a:bodyPr>
          <a:lstStyle/>
          <a:p>
            <a:pPr algn="ctr"/>
            <a:r>
              <a:rPr lang="en-GB">
                <a:solidFill>
                  <a:schemeClr val="tx2"/>
                </a:solidFill>
                <a:latin typeface="+mn-lt"/>
              </a:rPr>
              <a:t>MAYBES</a:t>
            </a:r>
            <a:endParaRPr lang="en-GB" dirty="0">
              <a:solidFill>
                <a:schemeClr val="tx2"/>
              </a:solidFill>
              <a:latin typeface="+mn-lt"/>
            </a:endParaRPr>
          </a:p>
        </p:txBody>
      </p:sp>
      <p:sp>
        <p:nvSpPr>
          <p:cNvPr id="21" name="ZoneTexte 20">
            <a:extLst>
              <a:ext uri="{FF2B5EF4-FFF2-40B4-BE49-F238E27FC236}">
                <a16:creationId xmlns:a16="http://schemas.microsoft.com/office/drawing/2014/main" id="{441F95ED-603C-4F02-AE7D-57D929ED9975}"/>
              </a:ext>
            </a:extLst>
          </p:cNvPr>
          <p:cNvSpPr txBox="1"/>
          <p:nvPr/>
        </p:nvSpPr>
        <p:spPr>
          <a:xfrm>
            <a:off x="5345838" y="3685238"/>
            <a:ext cx="3565639" cy="307777"/>
          </a:xfrm>
          <a:prstGeom prst="rect">
            <a:avLst/>
          </a:prstGeom>
          <a:noFill/>
        </p:spPr>
        <p:txBody>
          <a:bodyPr wrap="square" rtlCol="0">
            <a:spAutoFit/>
          </a:bodyPr>
          <a:lstStyle/>
          <a:p>
            <a:pPr algn="ctr"/>
            <a:r>
              <a:rPr lang="en-GB">
                <a:solidFill>
                  <a:schemeClr val="tx2"/>
                </a:solidFill>
                <a:latin typeface="+mn-lt"/>
              </a:rPr>
              <a:t>TIME SINKS</a:t>
            </a:r>
            <a:endParaRPr lang="en-GB" dirty="0">
              <a:solidFill>
                <a:schemeClr val="tx2"/>
              </a:solidFill>
              <a:latin typeface="+mn-lt"/>
            </a:endParaRPr>
          </a:p>
        </p:txBody>
      </p:sp>
      <p:sp>
        <p:nvSpPr>
          <p:cNvPr id="25" name="Ellipse 24">
            <a:extLst>
              <a:ext uri="{FF2B5EF4-FFF2-40B4-BE49-F238E27FC236}">
                <a16:creationId xmlns:a16="http://schemas.microsoft.com/office/drawing/2014/main" id="{5DC06F96-5606-43E1-8505-66C1099C3133}"/>
              </a:ext>
            </a:extLst>
          </p:cNvPr>
          <p:cNvSpPr/>
          <p:nvPr/>
        </p:nvSpPr>
        <p:spPr>
          <a:xfrm>
            <a:off x="9113286" y="3174182"/>
            <a:ext cx="180000" cy="18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FFFFFF"/>
              </a:solidFill>
            </a:endParaRPr>
          </a:p>
        </p:txBody>
      </p:sp>
      <p:sp>
        <p:nvSpPr>
          <p:cNvPr id="6" name="ZoneTexte 5">
            <a:extLst>
              <a:ext uri="{FF2B5EF4-FFF2-40B4-BE49-F238E27FC236}">
                <a16:creationId xmlns:a16="http://schemas.microsoft.com/office/drawing/2014/main" id="{2FC9965D-BBDC-481F-A092-51A6BBECBB5F}"/>
              </a:ext>
            </a:extLst>
          </p:cNvPr>
          <p:cNvSpPr txBox="1"/>
          <p:nvPr/>
        </p:nvSpPr>
        <p:spPr>
          <a:xfrm>
            <a:off x="9317143" y="3125684"/>
            <a:ext cx="1002198" cy="276999"/>
          </a:xfrm>
          <a:prstGeom prst="rect">
            <a:avLst/>
          </a:prstGeom>
          <a:noFill/>
        </p:spPr>
        <p:txBody>
          <a:bodyPr wrap="none" rtlCol="0">
            <a:spAutoFit/>
          </a:bodyPr>
          <a:lstStyle/>
          <a:p>
            <a:pPr algn="l">
              <a:spcBef>
                <a:spcPts val="400"/>
              </a:spcBef>
              <a:spcAft>
                <a:spcPts val="400"/>
              </a:spcAft>
            </a:pPr>
            <a:r>
              <a:rPr lang="en-GB" sz="1200">
                <a:latin typeface="+mn-lt"/>
              </a:rPr>
              <a:t>Prerequisite</a:t>
            </a:r>
            <a:endParaRPr lang="en-GB" sz="1200" dirty="0">
              <a:latin typeface="+mn-lt"/>
            </a:endParaRPr>
          </a:p>
        </p:txBody>
      </p:sp>
      <p:sp>
        <p:nvSpPr>
          <p:cNvPr id="26" name="Ellipse 25">
            <a:extLst>
              <a:ext uri="{FF2B5EF4-FFF2-40B4-BE49-F238E27FC236}">
                <a16:creationId xmlns:a16="http://schemas.microsoft.com/office/drawing/2014/main" id="{58AD055C-6A60-42ED-A757-B0FFE01DF576}"/>
              </a:ext>
            </a:extLst>
          </p:cNvPr>
          <p:cNvSpPr/>
          <p:nvPr/>
        </p:nvSpPr>
        <p:spPr>
          <a:xfrm>
            <a:off x="9113286" y="3605679"/>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FFFFFF"/>
              </a:solidFill>
            </a:endParaRPr>
          </a:p>
        </p:txBody>
      </p:sp>
      <p:sp>
        <p:nvSpPr>
          <p:cNvPr id="27" name="ZoneTexte 26">
            <a:extLst>
              <a:ext uri="{FF2B5EF4-FFF2-40B4-BE49-F238E27FC236}">
                <a16:creationId xmlns:a16="http://schemas.microsoft.com/office/drawing/2014/main" id="{0B158CE7-3678-4804-8C09-30D7F5BD85DB}"/>
              </a:ext>
            </a:extLst>
          </p:cNvPr>
          <p:cNvSpPr txBox="1"/>
          <p:nvPr/>
        </p:nvSpPr>
        <p:spPr>
          <a:xfrm>
            <a:off x="9317143" y="3993015"/>
            <a:ext cx="1873465" cy="461665"/>
          </a:xfrm>
          <a:prstGeom prst="rect">
            <a:avLst/>
          </a:prstGeom>
          <a:noFill/>
        </p:spPr>
        <p:txBody>
          <a:bodyPr wrap="square" rtlCol="0">
            <a:spAutoFit/>
          </a:bodyPr>
          <a:lstStyle/>
          <a:p>
            <a:pPr algn="l">
              <a:spcBef>
                <a:spcPts val="400"/>
              </a:spcBef>
              <a:spcAft>
                <a:spcPts val="400"/>
              </a:spcAft>
            </a:pPr>
            <a:r>
              <a:rPr lang="en-GB" sz="1200">
                <a:latin typeface="+mn-lt"/>
              </a:rPr>
              <a:t>Lever requiring a preliminary study</a:t>
            </a:r>
            <a:endParaRPr lang="en-GB" sz="1200" dirty="0">
              <a:latin typeface="+mn-lt"/>
            </a:endParaRPr>
          </a:p>
        </p:txBody>
      </p:sp>
      <p:sp>
        <p:nvSpPr>
          <p:cNvPr id="28" name="Ellipse 27">
            <a:extLst>
              <a:ext uri="{FF2B5EF4-FFF2-40B4-BE49-F238E27FC236}">
                <a16:creationId xmlns:a16="http://schemas.microsoft.com/office/drawing/2014/main" id="{AF315EBB-62F9-442C-9DAE-CFA843C5ED04}"/>
              </a:ext>
            </a:extLst>
          </p:cNvPr>
          <p:cNvSpPr/>
          <p:nvPr/>
        </p:nvSpPr>
        <p:spPr>
          <a:xfrm>
            <a:off x="9113286" y="4037176"/>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FFFFFF"/>
              </a:solidFill>
            </a:endParaRPr>
          </a:p>
        </p:txBody>
      </p:sp>
      <p:sp>
        <p:nvSpPr>
          <p:cNvPr id="29" name="ZoneTexte 28">
            <a:extLst>
              <a:ext uri="{FF2B5EF4-FFF2-40B4-BE49-F238E27FC236}">
                <a16:creationId xmlns:a16="http://schemas.microsoft.com/office/drawing/2014/main" id="{BF3564E6-D12A-4F62-9599-5EA6374B2D5A}"/>
              </a:ext>
            </a:extLst>
          </p:cNvPr>
          <p:cNvSpPr txBox="1"/>
          <p:nvPr/>
        </p:nvSpPr>
        <p:spPr>
          <a:xfrm>
            <a:off x="9317143" y="3578077"/>
            <a:ext cx="1412566" cy="276999"/>
          </a:xfrm>
          <a:prstGeom prst="rect">
            <a:avLst/>
          </a:prstGeom>
          <a:noFill/>
        </p:spPr>
        <p:txBody>
          <a:bodyPr wrap="none" rtlCol="0">
            <a:spAutoFit/>
          </a:bodyPr>
          <a:lstStyle/>
          <a:p>
            <a:pPr algn="l">
              <a:spcBef>
                <a:spcPts val="400"/>
              </a:spcBef>
              <a:spcAft>
                <a:spcPts val="400"/>
              </a:spcAft>
            </a:pPr>
            <a:r>
              <a:rPr lang="en-GB" sz="1200">
                <a:latin typeface="+mn-lt"/>
              </a:rPr>
              <a:t>Optimisation lever</a:t>
            </a:r>
            <a:endParaRPr lang="en-GB" sz="1200" dirty="0">
              <a:latin typeface="+mn-lt"/>
            </a:endParaRPr>
          </a:p>
        </p:txBody>
      </p:sp>
      <p:sp>
        <p:nvSpPr>
          <p:cNvPr id="73" name="Ellipse 72">
            <a:extLst>
              <a:ext uri="{FF2B5EF4-FFF2-40B4-BE49-F238E27FC236}">
                <a16:creationId xmlns:a16="http://schemas.microsoft.com/office/drawing/2014/main" id="{1D3B5D03-E957-4B2D-BBEC-21D3CEDE7BCA}"/>
              </a:ext>
            </a:extLst>
          </p:cNvPr>
          <p:cNvSpPr/>
          <p:nvPr/>
        </p:nvSpPr>
        <p:spPr>
          <a:xfrm>
            <a:off x="6128336" y="4640335"/>
            <a:ext cx="288000" cy="2880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1</a:t>
            </a:r>
            <a:endParaRPr lang="en-GB" sz="1200" b="1" dirty="0">
              <a:solidFill>
                <a:srgbClr val="FFFFFF"/>
              </a:solidFill>
            </a:endParaRPr>
          </a:p>
        </p:txBody>
      </p:sp>
      <p:sp>
        <p:nvSpPr>
          <p:cNvPr id="75" name="Ellipse 74">
            <a:extLst>
              <a:ext uri="{FF2B5EF4-FFF2-40B4-BE49-F238E27FC236}">
                <a16:creationId xmlns:a16="http://schemas.microsoft.com/office/drawing/2014/main" id="{4E394BF0-9BA0-4106-B5C2-0F3ADF11FAE8}"/>
              </a:ext>
            </a:extLst>
          </p:cNvPr>
          <p:cNvSpPr/>
          <p:nvPr/>
        </p:nvSpPr>
        <p:spPr>
          <a:xfrm>
            <a:off x="3225985" y="2296245"/>
            <a:ext cx="288000" cy="28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2</a:t>
            </a:r>
            <a:endParaRPr lang="en-GB" sz="1200" b="1" dirty="0">
              <a:solidFill>
                <a:srgbClr val="FFFFFF"/>
              </a:solidFill>
            </a:endParaRPr>
          </a:p>
        </p:txBody>
      </p:sp>
      <p:sp>
        <p:nvSpPr>
          <p:cNvPr id="76" name="Ellipse 75">
            <a:extLst>
              <a:ext uri="{FF2B5EF4-FFF2-40B4-BE49-F238E27FC236}">
                <a16:creationId xmlns:a16="http://schemas.microsoft.com/office/drawing/2014/main" id="{0636127C-80A0-4936-9717-F95E8B952652}"/>
              </a:ext>
            </a:extLst>
          </p:cNvPr>
          <p:cNvSpPr/>
          <p:nvPr/>
        </p:nvSpPr>
        <p:spPr>
          <a:xfrm>
            <a:off x="6351964" y="2742570"/>
            <a:ext cx="288000" cy="288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rgbClr val="FFFFFF"/>
                </a:solidFill>
              </a:rPr>
              <a:t>3</a:t>
            </a:r>
            <a:endParaRPr lang="en-GB" sz="1200" b="1" dirty="0">
              <a:solidFill>
                <a:srgbClr val="FFFFFF"/>
              </a:solidFill>
            </a:endParaRPr>
          </a:p>
        </p:txBody>
      </p:sp>
      <p:sp>
        <p:nvSpPr>
          <p:cNvPr id="24" name="ZoneTexte 23">
            <a:extLst>
              <a:ext uri="{FF2B5EF4-FFF2-40B4-BE49-F238E27FC236}">
                <a16:creationId xmlns:a16="http://schemas.microsoft.com/office/drawing/2014/main" id="{CC5A10AE-E2D7-4E1F-993D-360048D7806C}"/>
              </a:ext>
            </a:extLst>
          </p:cNvPr>
          <p:cNvSpPr txBox="1"/>
          <p:nvPr/>
        </p:nvSpPr>
        <p:spPr>
          <a:xfrm>
            <a:off x="6634257" y="2742570"/>
            <a:ext cx="1100232" cy="523220"/>
          </a:xfrm>
          <a:prstGeom prst="rect">
            <a:avLst/>
          </a:prstGeom>
          <a:noFill/>
        </p:spPr>
        <p:txBody>
          <a:bodyPr wrap="square" rtlCol="0">
            <a:spAutoFit/>
          </a:bodyPr>
          <a:lstStyle/>
          <a:p>
            <a:pPr algn="l"/>
            <a:r>
              <a:rPr lang="en-GB">
                <a:latin typeface="+mn-lt"/>
              </a:rPr>
              <a:t>Short description</a:t>
            </a:r>
            <a:endParaRPr lang="en-GB" dirty="0">
              <a:latin typeface="+mn-lt"/>
            </a:endParaRPr>
          </a:p>
        </p:txBody>
      </p:sp>
      <p:sp>
        <p:nvSpPr>
          <p:cNvPr id="77" name="ZoneTexte 76">
            <a:extLst>
              <a:ext uri="{FF2B5EF4-FFF2-40B4-BE49-F238E27FC236}">
                <a16:creationId xmlns:a16="http://schemas.microsoft.com/office/drawing/2014/main" id="{8ACF0DD4-97A1-472E-AE04-49310271C00D}"/>
              </a:ext>
            </a:extLst>
          </p:cNvPr>
          <p:cNvSpPr txBox="1"/>
          <p:nvPr/>
        </p:nvSpPr>
        <p:spPr>
          <a:xfrm>
            <a:off x="3520275" y="2257938"/>
            <a:ext cx="1100232" cy="523220"/>
          </a:xfrm>
          <a:prstGeom prst="rect">
            <a:avLst/>
          </a:prstGeom>
          <a:noFill/>
        </p:spPr>
        <p:txBody>
          <a:bodyPr wrap="square" rtlCol="0">
            <a:spAutoFit/>
          </a:bodyPr>
          <a:lstStyle/>
          <a:p>
            <a:pPr algn="l"/>
            <a:r>
              <a:rPr lang="en-GB">
                <a:latin typeface="+mn-lt"/>
              </a:rPr>
              <a:t>Short description</a:t>
            </a:r>
            <a:endParaRPr lang="en-GB" dirty="0">
              <a:latin typeface="+mn-lt"/>
            </a:endParaRPr>
          </a:p>
        </p:txBody>
      </p:sp>
      <p:sp>
        <p:nvSpPr>
          <p:cNvPr id="79" name="ZoneTexte 78">
            <a:extLst>
              <a:ext uri="{FF2B5EF4-FFF2-40B4-BE49-F238E27FC236}">
                <a16:creationId xmlns:a16="http://schemas.microsoft.com/office/drawing/2014/main" id="{644A58A4-BD0E-4D57-AED3-281148B96A7F}"/>
              </a:ext>
            </a:extLst>
          </p:cNvPr>
          <p:cNvSpPr txBox="1"/>
          <p:nvPr/>
        </p:nvSpPr>
        <p:spPr>
          <a:xfrm>
            <a:off x="6440913" y="4638157"/>
            <a:ext cx="1100232" cy="523220"/>
          </a:xfrm>
          <a:prstGeom prst="rect">
            <a:avLst/>
          </a:prstGeom>
          <a:noFill/>
        </p:spPr>
        <p:txBody>
          <a:bodyPr wrap="square" rtlCol="0">
            <a:spAutoFit/>
          </a:bodyPr>
          <a:lstStyle/>
          <a:p>
            <a:pPr algn="l"/>
            <a:r>
              <a:rPr lang="en-GB">
                <a:latin typeface="+mn-lt"/>
              </a:rPr>
              <a:t>Short description</a:t>
            </a:r>
            <a:endParaRPr lang="en-GB" dirty="0">
              <a:latin typeface="+mn-lt"/>
            </a:endParaRPr>
          </a:p>
        </p:txBody>
      </p:sp>
      <p:sp>
        <p:nvSpPr>
          <p:cNvPr id="30" name="ZoneTexte 29">
            <a:extLst>
              <a:ext uri="{FF2B5EF4-FFF2-40B4-BE49-F238E27FC236}">
                <a16:creationId xmlns:a16="http://schemas.microsoft.com/office/drawing/2014/main" id="{D9A34BF9-A909-4435-A0F4-63CC03CDAB23}"/>
              </a:ext>
            </a:extLst>
          </p:cNvPr>
          <p:cNvSpPr txBox="1"/>
          <p:nvPr/>
        </p:nvSpPr>
        <p:spPr>
          <a:xfrm>
            <a:off x="1199617" y="5638187"/>
            <a:ext cx="476412" cy="246221"/>
          </a:xfrm>
          <a:prstGeom prst="rect">
            <a:avLst/>
          </a:prstGeom>
          <a:noFill/>
        </p:spPr>
        <p:txBody>
          <a:bodyPr wrap="none" rtlCol="0">
            <a:spAutoFit/>
          </a:bodyPr>
          <a:lstStyle/>
          <a:p>
            <a:pPr algn="r"/>
            <a:r>
              <a:rPr lang="en-GB" sz="1000">
                <a:solidFill>
                  <a:schemeClr val="accent3"/>
                </a:solidFill>
                <a:latin typeface="+mn-lt"/>
              </a:rPr>
              <a:t>LOW</a:t>
            </a:r>
            <a:endParaRPr lang="en-GB" sz="1000" dirty="0">
              <a:solidFill>
                <a:schemeClr val="accent3"/>
              </a:solidFill>
              <a:latin typeface="+mn-lt"/>
            </a:endParaRPr>
          </a:p>
        </p:txBody>
      </p:sp>
      <p:sp>
        <p:nvSpPr>
          <p:cNvPr id="31" name="ZoneTexte 30">
            <a:extLst>
              <a:ext uri="{FF2B5EF4-FFF2-40B4-BE49-F238E27FC236}">
                <a16:creationId xmlns:a16="http://schemas.microsoft.com/office/drawing/2014/main" id="{8708BF3A-5DC5-43BD-ACB3-C860B8D3FA6A}"/>
              </a:ext>
            </a:extLst>
          </p:cNvPr>
          <p:cNvSpPr txBox="1"/>
          <p:nvPr/>
        </p:nvSpPr>
        <p:spPr>
          <a:xfrm>
            <a:off x="1169159" y="1565764"/>
            <a:ext cx="505267" cy="246221"/>
          </a:xfrm>
          <a:prstGeom prst="rect">
            <a:avLst/>
          </a:prstGeom>
          <a:noFill/>
        </p:spPr>
        <p:txBody>
          <a:bodyPr wrap="none" rtlCol="0">
            <a:spAutoFit/>
          </a:bodyPr>
          <a:lstStyle/>
          <a:p>
            <a:pPr algn="r"/>
            <a:r>
              <a:rPr lang="en-GB" sz="1000">
                <a:solidFill>
                  <a:schemeClr val="accent3"/>
                </a:solidFill>
                <a:latin typeface="+mn-lt"/>
              </a:rPr>
              <a:t>HIGH</a:t>
            </a:r>
            <a:endParaRPr lang="en-GB" sz="1000" dirty="0">
              <a:solidFill>
                <a:schemeClr val="accent3"/>
              </a:solidFill>
              <a:latin typeface="+mn-lt"/>
            </a:endParaRPr>
          </a:p>
        </p:txBody>
      </p:sp>
      <p:sp>
        <p:nvSpPr>
          <p:cNvPr id="32" name="ZoneTexte 31">
            <a:extLst>
              <a:ext uri="{FF2B5EF4-FFF2-40B4-BE49-F238E27FC236}">
                <a16:creationId xmlns:a16="http://schemas.microsoft.com/office/drawing/2014/main" id="{6788D5CA-9767-4CD7-AF6F-66F574E6925C}"/>
              </a:ext>
            </a:extLst>
          </p:cNvPr>
          <p:cNvSpPr txBox="1"/>
          <p:nvPr/>
        </p:nvSpPr>
        <p:spPr>
          <a:xfrm>
            <a:off x="7541145" y="6027163"/>
            <a:ext cx="1101584" cy="246221"/>
          </a:xfrm>
          <a:prstGeom prst="rect">
            <a:avLst/>
          </a:prstGeom>
          <a:noFill/>
        </p:spPr>
        <p:txBody>
          <a:bodyPr wrap="none" rtlCol="0">
            <a:spAutoFit/>
          </a:bodyPr>
          <a:lstStyle/>
          <a:p>
            <a:r>
              <a:rPr lang="en-GB" sz="1000">
                <a:solidFill>
                  <a:schemeClr val="accent3"/>
                </a:solidFill>
                <a:latin typeface="+mn-lt"/>
              </a:rPr>
              <a:t>CHALLENGING</a:t>
            </a:r>
            <a:endParaRPr lang="en-GB" sz="1000" dirty="0">
              <a:solidFill>
                <a:schemeClr val="accent3"/>
              </a:solidFill>
              <a:latin typeface="+mn-lt"/>
            </a:endParaRPr>
          </a:p>
        </p:txBody>
      </p:sp>
    </p:spTree>
    <p:extLst>
      <p:ext uri="{BB962C8B-B14F-4D97-AF65-F5344CB8AC3E}">
        <p14:creationId xmlns:p14="http://schemas.microsoft.com/office/powerpoint/2010/main" val="6910997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9144" name="Rectangle 2" hidden="1"/>
          <p:cNvGraphicFramePr>
            <a:graphicFrameLocks/>
          </p:cNvGraphicFramePr>
          <p:nvPr>
            <p:custDataLst>
              <p:tags r:id="rId1"/>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name="Diapositive think-cell" r:id="rId5" imgW="0" imgH="0" progId="TCLayout.ActiveDocument.1">
                  <p:embed/>
                </p:oleObj>
              </mc:Choice>
              <mc:Fallback>
                <p:oleObj name="Diapositive think-cell" r:id="rId5" imgW="0" imgH="0" progId="TCLayout.ActiveDocument.1">
                  <p:embed/>
                  <p:pic>
                    <p:nvPicPr>
                      <p:cNvPr id="21914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D2FB157-7251-44EE-B01C-F6B0DFEBB3DC}"/>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20" name="Groupe 6"/>
          <p:cNvGrpSpPr/>
          <p:nvPr/>
        </p:nvGrpSpPr>
        <p:grpSpPr>
          <a:xfrm>
            <a:off x="3816088" y="2300981"/>
            <a:ext cx="4428000" cy="3600001"/>
            <a:chOff x="1782763" y="1371600"/>
            <a:chExt cx="6340475" cy="4183063"/>
          </a:xfrm>
        </p:grpSpPr>
        <p:sp>
          <p:nvSpPr>
            <p:cNvPr id="121" name="AutoShape 3"/>
            <p:cNvSpPr>
              <a:spLocks noChangeArrowheads="1"/>
            </p:cNvSpPr>
            <p:nvPr/>
          </p:nvSpPr>
          <p:spPr bwMode="auto">
            <a:xfrm>
              <a:off x="5029199" y="3524251"/>
              <a:ext cx="3094039" cy="2030412"/>
            </a:xfrm>
            <a:prstGeom prst="triangle">
              <a:avLst>
                <a:gd name="adj" fmla="val 50000"/>
              </a:avLst>
            </a:prstGeom>
            <a:solidFill>
              <a:schemeClr val="accent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lIns="0" tIns="0" rIns="0" bIns="360000" anchor="ctr" anchorCtr="1"/>
            <a:lstStyle/>
            <a:p>
              <a:pPr>
                <a:lnSpc>
                  <a:spcPct val="90000"/>
                </a:lnSpc>
                <a:buClr>
                  <a:srgbClr val="B40646"/>
                </a:buClr>
                <a:defRPr/>
              </a:pPr>
              <a:endParaRPr lang="en-GB" sz="1600">
                <a:solidFill>
                  <a:schemeClr val="bg1"/>
                </a:solidFill>
                <a:latin typeface="+mn-lt"/>
              </a:endParaRPr>
            </a:p>
            <a:p>
              <a:pPr>
                <a:lnSpc>
                  <a:spcPct val="90000"/>
                </a:lnSpc>
                <a:buClr>
                  <a:srgbClr val="B40646"/>
                </a:buClr>
                <a:defRPr/>
              </a:pPr>
              <a:endParaRPr lang="en-GB" sz="1600">
                <a:solidFill>
                  <a:schemeClr val="bg1"/>
                </a:solidFill>
                <a:latin typeface="+mn-lt"/>
              </a:endParaRPr>
            </a:p>
            <a:p>
              <a:pPr>
                <a:lnSpc>
                  <a:spcPct val="90000"/>
                </a:lnSpc>
                <a:buClr>
                  <a:srgbClr val="B40646"/>
                </a:buClr>
                <a:defRPr/>
              </a:pPr>
              <a:r>
                <a:rPr lang="en-GB" sz="1600">
                  <a:solidFill>
                    <a:schemeClr val="bg1"/>
                  </a:solidFill>
                  <a:latin typeface="+mn-lt"/>
                </a:rPr>
                <a:t>Item 2</a:t>
              </a:r>
              <a:endParaRPr lang="en-GB" sz="1600" dirty="0">
                <a:solidFill>
                  <a:schemeClr val="bg1"/>
                </a:solidFill>
                <a:latin typeface="+mn-lt"/>
              </a:endParaRPr>
            </a:p>
          </p:txBody>
        </p:sp>
        <p:sp>
          <p:nvSpPr>
            <p:cNvPr id="122" name="AutoShape 4"/>
            <p:cNvSpPr>
              <a:spLocks noChangeArrowheads="1"/>
            </p:cNvSpPr>
            <p:nvPr/>
          </p:nvSpPr>
          <p:spPr bwMode="auto">
            <a:xfrm>
              <a:off x="1782763" y="3524250"/>
              <a:ext cx="3094037" cy="2030413"/>
            </a:xfrm>
            <a:prstGeom prst="triangle">
              <a:avLst>
                <a:gd name="adj" fmla="val 50000"/>
              </a:avLst>
            </a:prstGeom>
            <a:solidFill>
              <a:schemeClr val="accent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lIns="0" tIns="0" rIns="0" bIns="360000" anchor="ctr" anchorCtr="1"/>
            <a:lstStyle/>
            <a:p>
              <a:pPr>
                <a:lnSpc>
                  <a:spcPct val="90000"/>
                </a:lnSpc>
                <a:buClr>
                  <a:srgbClr val="B40646"/>
                </a:buClr>
                <a:defRPr/>
              </a:pPr>
              <a:endParaRPr lang="en-GB" sz="1600">
                <a:solidFill>
                  <a:schemeClr val="bg1"/>
                </a:solidFill>
                <a:latin typeface="+mn-lt"/>
              </a:endParaRPr>
            </a:p>
            <a:p>
              <a:pPr>
                <a:lnSpc>
                  <a:spcPct val="90000"/>
                </a:lnSpc>
                <a:buClr>
                  <a:srgbClr val="B40646"/>
                </a:buClr>
                <a:defRPr/>
              </a:pPr>
              <a:endParaRPr lang="en-GB" sz="1600">
                <a:solidFill>
                  <a:schemeClr val="bg1"/>
                </a:solidFill>
                <a:latin typeface="+mn-lt"/>
              </a:endParaRPr>
            </a:p>
            <a:p>
              <a:pPr>
                <a:lnSpc>
                  <a:spcPct val="90000"/>
                </a:lnSpc>
                <a:buClr>
                  <a:srgbClr val="B40646"/>
                </a:buClr>
                <a:defRPr/>
              </a:pPr>
              <a:endParaRPr lang="en-GB" sz="1600">
                <a:solidFill>
                  <a:schemeClr val="bg1"/>
                </a:solidFill>
                <a:latin typeface="+mn-lt"/>
              </a:endParaRPr>
            </a:p>
            <a:p>
              <a:pPr>
                <a:lnSpc>
                  <a:spcPct val="90000"/>
                </a:lnSpc>
                <a:buClr>
                  <a:srgbClr val="B40646"/>
                </a:buClr>
                <a:defRPr/>
              </a:pPr>
              <a:r>
                <a:rPr lang="en-GB" sz="1600">
                  <a:solidFill>
                    <a:schemeClr val="bg1"/>
                  </a:solidFill>
                  <a:latin typeface="+mn-lt"/>
                </a:rPr>
                <a:t>Item 3</a:t>
              </a:r>
            </a:p>
            <a:p>
              <a:pPr>
                <a:lnSpc>
                  <a:spcPct val="90000"/>
                </a:lnSpc>
                <a:buClr>
                  <a:srgbClr val="B40646"/>
                </a:buClr>
                <a:defRPr/>
              </a:pPr>
              <a:endParaRPr lang="en-GB" sz="1600" dirty="0">
                <a:solidFill>
                  <a:schemeClr val="bg1"/>
                </a:solidFill>
                <a:latin typeface="+mn-lt"/>
              </a:endParaRPr>
            </a:p>
          </p:txBody>
        </p:sp>
        <p:sp>
          <p:nvSpPr>
            <p:cNvPr id="123" name="AutoShape 5"/>
            <p:cNvSpPr>
              <a:spLocks noChangeArrowheads="1"/>
            </p:cNvSpPr>
            <p:nvPr/>
          </p:nvSpPr>
          <p:spPr bwMode="auto">
            <a:xfrm>
              <a:off x="3405188" y="1371600"/>
              <a:ext cx="3094037" cy="2030413"/>
            </a:xfrm>
            <a:prstGeom prst="triangle">
              <a:avLst>
                <a:gd name="adj" fmla="val 50000"/>
              </a:avLst>
            </a:prstGeom>
            <a:solidFill>
              <a:schemeClr val="accent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lIns="0" tIns="0" rIns="0" bIns="360000" anchor="ctr" anchorCtr="1"/>
            <a:lstStyle/>
            <a:p>
              <a:pPr>
                <a:lnSpc>
                  <a:spcPct val="90000"/>
                </a:lnSpc>
                <a:buClr>
                  <a:srgbClr val="B40646"/>
                </a:buClr>
                <a:defRPr/>
              </a:pPr>
              <a:endParaRPr lang="en-GB" sz="1600">
                <a:solidFill>
                  <a:schemeClr val="bg1"/>
                </a:solidFill>
                <a:latin typeface="+mn-lt"/>
              </a:endParaRPr>
            </a:p>
            <a:p>
              <a:pPr>
                <a:lnSpc>
                  <a:spcPct val="90000"/>
                </a:lnSpc>
                <a:buClr>
                  <a:srgbClr val="B40646"/>
                </a:buClr>
                <a:defRPr/>
              </a:pPr>
              <a:endParaRPr lang="en-GB" sz="1600">
                <a:solidFill>
                  <a:schemeClr val="bg1"/>
                </a:solidFill>
                <a:latin typeface="+mn-lt"/>
              </a:endParaRPr>
            </a:p>
            <a:p>
              <a:pPr>
                <a:lnSpc>
                  <a:spcPct val="90000"/>
                </a:lnSpc>
                <a:buClr>
                  <a:srgbClr val="B40646"/>
                </a:buClr>
                <a:defRPr/>
              </a:pPr>
              <a:endParaRPr lang="en-GB" sz="1600">
                <a:solidFill>
                  <a:schemeClr val="bg1"/>
                </a:solidFill>
                <a:latin typeface="+mn-lt"/>
              </a:endParaRPr>
            </a:p>
            <a:p>
              <a:pPr>
                <a:lnSpc>
                  <a:spcPct val="90000"/>
                </a:lnSpc>
                <a:buClr>
                  <a:srgbClr val="B40646"/>
                </a:buClr>
                <a:defRPr/>
              </a:pPr>
              <a:r>
                <a:rPr lang="en-GB" sz="1600">
                  <a:solidFill>
                    <a:schemeClr val="bg1"/>
                  </a:solidFill>
                  <a:latin typeface="+mn-lt"/>
                </a:rPr>
                <a:t>Item 1</a:t>
              </a:r>
            </a:p>
            <a:p>
              <a:pPr>
                <a:lnSpc>
                  <a:spcPct val="90000"/>
                </a:lnSpc>
                <a:buClr>
                  <a:srgbClr val="B40646"/>
                </a:buClr>
                <a:defRPr/>
              </a:pPr>
              <a:endParaRPr lang="en-GB" sz="1600" dirty="0">
                <a:solidFill>
                  <a:schemeClr val="bg1"/>
                </a:solidFill>
                <a:latin typeface="+mn-lt"/>
              </a:endParaRPr>
            </a:p>
          </p:txBody>
        </p:sp>
        <p:sp>
          <p:nvSpPr>
            <p:cNvPr id="124" name="AutoShape 9"/>
            <p:cNvSpPr>
              <a:spLocks noChangeArrowheads="1"/>
            </p:cNvSpPr>
            <p:nvPr/>
          </p:nvSpPr>
          <p:spPr bwMode="auto">
            <a:xfrm flipV="1">
              <a:off x="3405188" y="3470275"/>
              <a:ext cx="3094037" cy="2030413"/>
            </a:xfrm>
            <a:prstGeom prst="triangle">
              <a:avLst>
                <a:gd name="adj" fmla="val 50000"/>
              </a:avLst>
            </a:prstGeom>
            <a:solidFill>
              <a:schemeClr val="tx2"/>
            </a:solidFill>
            <a:ln w="6350">
              <a:noFill/>
              <a:miter lim="800000"/>
              <a:headEnd/>
              <a:tailEnd/>
            </a:ln>
          </p:spPr>
          <p:txBody>
            <a:bodyPr rot="10800000" wrap="none" lIns="0" tIns="0" rIns="0" bIns="0" anchor="ctr" anchorCtr="1"/>
            <a:lstStyle/>
            <a:p>
              <a:pPr>
                <a:buClr>
                  <a:srgbClr val="B40646"/>
                </a:buClr>
                <a:defRPr/>
              </a:pPr>
              <a:r>
                <a:rPr lang="en-GB" sz="1600">
                  <a:solidFill>
                    <a:schemeClr val="bg1"/>
                  </a:solidFill>
                  <a:latin typeface="+mn-lt"/>
                </a:rPr>
                <a:t>Idée</a:t>
              </a:r>
              <a:endParaRPr lang="en-GB" sz="1600" dirty="0">
                <a:solidFill>
                  <a:schemeClr val="bg1"/>
                </a:solidFill>
                <a:latin typeface="+mn-lt"/>
              </a:endParaRPr>
            </a:p>
          </p:txBody>
        </p:sp>
      </p:grpSp>
      <p:sp>
        <p:nvSpPr>
          <p:cNvPr id="3" name="Title 2">
            <a:extLst>
              <a:ext uri="{FF2B5EF4-FFF2-40B4-BE49-F238E27FC236}">
                <a16:creationId xmlns:a16="http://schemas.microsoft.com/office/drawing/2014/main" id="{2FEACA6F-B75C-4CBC-9A41-5E45AF1FD26B}"/>
              </a:ext>
            </a:extLst>
          </p:cNvPr>
          <p:cNvSpPr>
            <a:spLocks noGrp="1"/>
          </p:cNvSpPr>
          <p:nvPr>
            <p:ph type="title"/>
          </p:nvPr>
        </p:nvSpPr>
        <p:spPr/>
        <p:txBody>
          <a:bodyPr/>
          <a:lstStyle/>
          <a:p>
            <a:r>
              <a:rPr lang="en-GB"/>
              <a:t>Pyramid – three ideas</a:t>
            </a:r>
            <a:endParaRPr lang="en-GB" dirty="0"/>
          </a:p>
        </p:txBody>
      </p:sp>
      <p:sp>
        <p:nvSpPr>
          <p:cNvPr id="32" name="Rectangle 31">
            <a:extLst>
              <a:ext uri="{FF2B5EF4-FFF2-40B4-BE49-F238E27FC236}">
                <a16:creationId xmlns:a16="http://schemas.microsoft.com/office/drawing/2014/main" id="{F8F3D30E-7BA0-4AA8-BA3D-BB3DB609D8BA}"/>
              </a:ext>
            </a:extLst>
          </p:cNvPr>
          <p:cNvSpPr/>
          <p:nvPr/>
        </p:nvSpPr>
        <p:spPr bwMode="auto">
          <a:xfrm>
            <a:off x="8124594" y="4400559"/>
            <a:ext cx="2648999" cy="1209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2"/>
                </a:solidFill>
                <a:effectLst/>
                <a:uLnTx/>
                <a:uFillTx/>
                <a:ea typeface="+mn-ea"/>
                <a:cs typeface="Arial" pitchFamily="34" charset="0"/>
              </a:rPr>
              <a:t>Title</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33" name="Rectangle 32">
            <a:extLst>
              <a:ext uri="{FF2B5EF4-FFF2-40B4-BE49-F238E27FC236}">
                <a16:creationId xmlns:a16="http://schemas.microsoft.com/office/drawing/2014/main" id="{B51D74BD-3075-436C-8BAD-0CD32E6538FD}"/>
              </a:ext>
            </a:extLst>
          </p:cNvPr>
          <p:cNvSpPr/>
          <p:nvPr/>
        </p:nvSpPr>
        <p:spPr bwMode="auto">
          <a:xfrm>
            <a:off x="1280868" y="4436562"/>
            <a:ext cx="2648999" cy="117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r"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2"/>
                </a:solidFill>
                <a:effectLst/>
                <a:uLnTx/>
                <a:uFillTx/>
                <a:ea typeface="+mn-ea"/>
                <a:cs typeface="Arial" pitchFamily="34" charset="0"/>
              </a:rPr>
              <a:t>Title</a:t>
            </a:r>
          </a:p>
          <a:p>
            <a:pPr marL="0" marR="0" lvl="0" indent="0" algn="r"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34" name="Rectangle 33">
            <a:extLst>
              <a:ext uri="{FF2B5EF4-FFF2-40B4-BE49-F238E27FC236}">
                <a16:creationId xmlns:a16="http://schemas.microsoft.com/office/drawing/2014/main" id="{57DAE5A2-9E97-4564-B7E8-5131BA101BCE}"/>
              </a:ext>
            </a:extLst>
          </p:cNvPr>
          <p:cNvSpPr/>
          <p:nvPr/>
        </p:nvSpPr>
        <p:spPr bwMode="auto">
          <a:xfrm>
            <a:off x="4704322" y="1268334"/>
            <a:ext cx="2648999" cy="1149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2"/>
                </a:solidFill>
                <a:effectLst/>
                <a:uLnTx/>
                <a:uFillTx/>
                <a:ea typeface="+mn-ea"/>
                <a:cs typeface="Arial" pitchFamily="34" charset="0"/>
              </a:rPr>
              <a:t>Title</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Tree>
    <p:extLst>
      <p:ext uri="{BB962C8B-B14F-4D97-AF65-F5344CB8AC3E}">
        <p14:creationId xmlns:p14="http://schemas.microsoft.com/office/powerpoint/2010/main" val="47374646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26" name="Object 2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A79247-0633-42DD-999D-326C276E99BD}"/>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Pros and cons</a:t>
            </a:r>
            <a:endParaRPr lang="en-GB" dirty="0"/>
          </a:p>
        </p:txBody>
      </p:sp>
      <p:sp>
        <p:nvSpPr>
          <p:cNvPr id="10" name="Isosceles Triangle 9"/>
          <p:cNvSpPr/>
          <p:nvPr/>
        </p:nvSpPr>
        <p:spPr>
          <a:xfrm>
            <a:off x="5131915" y="3717643"/>
            <a:ext cx="1786454" cy="158310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a typeface="+mn-ea"/>
              <a:cs typeface="+mn-cs"/>
            </a:endParaRPr>
          </a:p>
        </p:txBody>
      </p:sp>
      <p:sp>
        <p:nvSpPr>
          <p:cNvPr id="13" name="Rectangle 12"/>
          <p:cNvSpPr/>
          <p:nvPr/>
        </p:nvSpPr>
        <p:spPr>
          <a:xfrm rot="1479644">
            <a:off x="3466693" y="3528679"/>
            <a:ext cx="4709178" cy="14189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a typeface="+mn-ea"/>
              <a:cs typeface="+mn-cs"/>
            </a:endParaRPr>
          </a:p>
        </p:txBody>
      </p:sp>
      <p:sp>
        <p:nvSpPr>
          <p:cNvPr id="14" name="Rectangle 13"/>
          <p:cNvSpPr/>
          <p:nvPr/>
        </p:nvSpPr>
        <p:spPr>
          <a:xfrm rot="1479644">
            <a:off x="3968902" y="2149306"/>
            <a:ext cx="1739184" cy="8695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chemeClr val="tx1"/>
                </a:solidFill>
                <a:effectLst/>
                <a:uLnTx/>
                <a:uFillTx/>
                <a:ea typeface="+mn-ea"/>
                <a:cs typeface="+mn-cs"/>
              </a:rPr>
              <a:t>Text</a:t>
            </a:r>
            <a:endParaRPr kumimoji="0" lang="en-GB" sz="1800" b="0" i="0" u="none" strike="noStrike" kern="0" cap="none" spc="0" normalizeH="0" baseline="0" noProof="0" dirty="0">
              <a:ln>
                <a:noFill/>
              </a:ln>
              <a:solidFill>
                <a:schemeClr val="tx1"/>
              </a:solidFill>
              <a:effectLst/>
              <a:uLnTx/>
              <a:uFillTx/>
              <a:ea typeface="+mn-ea"/>
              <a:cs typeface="+mn-cs"/>
            </a:endParaRPr>
          </a:p>
        </p:txBody>
      </p:sp>
      <p:sp>
        <p:nvSpPr>
          <p:cNvPr id="15" name="Rectangle 14"/>
          <p:cNvSpPr/>
          <p:nvPr/>
        </p:nvSpPr>
        <p:spPr>
          <a:xfrm rot="1479644">
            <a:off x="6400536" y="3265712"/>
            <a:ext cx="1739184" cy="8695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chemeClr val="tx1"/>
                </a:solidFill>
                <a:effectLst/>
                <a:uLnTx/>
                <a:uFillTx/>
                <a:ea typeface="+mn-ea"/>
                <a:cs typeface="+mn-cs"/>
              </a:rPr>
              <a:t>Text</a:t>
            </a:r>
            <a:endParaRPr kumimoji="0" lang="en-GB" sz="1800" b="0" i="0" u="none" strike="noStrike" kern="0" cap="none" spc="0" normalizeH="0" baseline="0" noProof="0" dirty="0">
              <a:ln>
                <a:noFill/>
              </a:ln>
              <a:solidFill>
                <a:schemeClr val="tx1"/>
              </a:solidFill>
              <a:effectLst/>
              <a:uLnTx/>
              <a:uFillTx/>
              <a:ea typeface="+mn-ea"/>
              <a:cs typeface="+mn-cs"/>
            </a:endParaRPr>
          </a:p>
        </p:txBody>
      </p:sp>
      <p:sp>
        <p:nvSpPr>
          <p:cNvPr id="33" name="Rectangle 32"/>
          <p:cNvSpPr/>
          <p:nvPr/>
        </p:nvSpPr>
        <p:spPr>
          <a:xfrm rot="1479644">
            <a:off x="6792168" y="2443823"/>
            <a:ext cx="1739184" cy="8695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chemeClr val="tx1"/>
                </a:solidFill>
                <a:effectLst/>
                <a:uLnTx/>
                <a:uFillTx/>
                <a:ea typeface="+mn-ea"/>
                <a:cs typeface="+mn-cs"/>
              </a:rPr>
              <a:t>Text</a:t>
            </a:r>
            <a:endParaRPr kumimoji="0" lang="en-GB" sz="1800" b="0" i="0" u="none" strike="noStrike" kern="0" cap="none" spc="0" normalizeH="0" baseline="0" noProof="0" dirty="0">
              <a:ln>
                <a:noFill/>
              </a:ln>
              <a:solidFill>
                <a:schemeClr val="tx1"/>
              </a:solidFill>
              <a:effectLst/>
              <a:uLnTx/>
              <a:uFillTx/>
              <a:ea typeface="+mn-ea"/>
              <a:cs typeface="+mn-cs"/>
            </a:endParaRPr>
          </a:p>
        </p:txBody>
      </p:sp>
    </p:spTree>
    <p:custDataLst>
      <p:tags r:id="rId1"/>
    </p:custDataLst>
    <p:extLst>
      <p:ext uri="{BB962C8B-B14F-4D97-AF65-F5344CB8AC3E}">
        <p14:creationId xmlns:p14="http://schemas.microsoft.com/office/powerpoint/2010/main" val="17720696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oliceman">
            <a:extLst>
              <a:ext uri="{FF2B5EF4-FFF2-40B4-BE49-F238E27FC236}">
                <a16:creationId xmlns:a16="http://schemas.microsoft.com/office/drawing/2014/main" id="{F317C575-B9DE-47AC-ADCB-0FDBA843B6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7620" y="2998512"/>
            <a:ext cx="642600" cy="756000"/>
          </a:xfrm>
          <a:prstGeom prst="rect">
            <a:avLst/>
          </a:prstGeom>
        </p:spPr>
      </p:pic>
      <p:pic>
        <p:nvPicPr>
          <p:cNvPr id="7" name="man">
            <a:extLst>
              <a:ext uri="{FF2B5EF4-FFF2-40B4-BE49-F238E27FC236}">
                <a16:creationId xmlns:a16="http://schemas.microsoft.com/office/drawing/2014/main" id="{FF6E7175-294A-44F1-BCD4-D9BFA99DB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03438" y="2373884"/>
            <a:ext cx="585123" cy="756000"/>
          </a:xfrm>
          <a:prstGeom prst="rect">
            <a:avLst/>
          </a:prstGeom>
        </p:spPr>
      </p:pic>
      <p:pic>
        <p:nvPicPr>
          <p:cNvPr id="9" name="woman_2">
            <a:extLst>
              <a:ext uri="{FF2B5EF4-FFF2-40B4-BE49-F238E27FC236}">
                <a16:creationId xmlns:a16="http://schemas.microsoft.com/office/drawing/2014/main" id="{F3238D58-6AA8-48C3-9897-5D0572AF87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99551" y="2998512"/>
            <a:ext cx="606930" cy="756000"/>
          </a:xfrm>
          <a:prstGeom prst="rect">
            <a:avLst/>
          </a:prstGeom>
        </p:spPr>
      </p:pic>
      <p:pic>
        <p:nvPicPr>
          <p:cNvPr id="11" name="man_and_pen">
            <a:extLst>
              <a:ext uri="{FF2B5EF4-FFF2-40B4-BE49-F238E27FC236}">
                <a16:creationId xmlns:a16="http://schemas.microsoft.com/office/drawing/2014/main" id="{F3D0C2C2-657B-43F0-A153-D2E43FE4CE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48676" y="4935996"/>
            <a:ext cx="775385" cy="756000"/>
          </a:xfrm>
          <a:prstGeom prst="rect">
            <a:avLst/>
          </a:prstGeom>
        </p:spPr>
      </p:pic>
      <p:pic>
        <p:nvPicPr>
          <p:cNvPr id="14" name="man_with_hard_hat">
            <a:extLst>
              <a:ext uri="{FF2B5EF4-FFF2-40B4-BE49-F238E27FC236}">
                <a16:creationId xmlns:a16="http://schemas.microsoft.com/office/drawing/2014/main" id="{8BFCE15C-0CE8-48F1-AC6B-A4841050D3A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822952" y="4935996"/>
            <a:ext cx="519749" cy="756000"/>
          </a:xfrm>
          <a:prstGeom prst="rect">
            <a:avLst/>
          </a:prstGeom>
        </p:spPr>
      </p:pic>
      <p:graphicFrame>
        <p:nvGraphicFramePr>
          <p:cNvPr id="160" name="Objet 159"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15" imgW="270" imgH="270" progId="TCLayout.ActiveDocument.1">
                  <p:embed/>
                </p:oleObj>
              </mc:Choice>
              <mc:Fallback>
                <p:oleObj name="Diapositive think-cell" r:id="rId15" imgW="270" imgH="270" progId="TCLayout.ActiveDocument.1">
                  <p:embed/>
                  <p:pic>
                    <p:nvPicPr>
                      <p:cNvPr id="160" name="Objet 159" hidden="1"/>
                      <p:cNvPicPr/>
                      <p:nvPr/>
                    </p:nvPicPr>
                    <p:blipFill>
                      <a:blip r:embed="rId16"/>
                      <a:stretch>
                        <a:fillRect/>
                      </a:stretch>
                    </p:blipFill>
                    <p:spPr>
                      <a:xfrm>
                        <a:off x="1144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C753AB-4BEE-47A8-A86D-C552AF4C9D9E}"/>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3" name="Oval 40"/>
          <p:cNvSpPr>
            <a:spLocks noChangeArrowheads="1"/>
          </p:cNvSpPr>
          <p:nvPr/>
        </p:nvSpPr>
        <p:spPr bwMode="auto">
          <a:xfrm>
            <a:off x="5466071" y="3480574"/>
            <a:ext cx="1260000" cy="1260000"/>
          </a:xfrm>
          <a:prstGeom prst="ellipse">
            <a:avLst/>
          </a:prstGeom>
          <a:solidFill>
            <a:schemeClr val="accent5"/>
          </a:solidFill>
          <a:ln w="12700" algn="ctr">
            <a:noFill/>
            <a:round/>
            <a:headEnd/>
            <a:tailEnd/>
          </a:ln>
        </p:spPr>
        <p:txBody>
          <a:bodyPr wrap="none" lIns="18000" tIns="46800" rIns="18000" bIns="46800" anchor="ctr"/>
          <a:lstStyle/>
          <a:p>
            <a:pPr>
              <a:buClr>
                <a:srgbClr val="B40646"/>
              </a:buClr>
              <a:defRPr/>
            </a:pPr>
            <a:r>
              <a:rPr lang="en-GB" sz="1800">
                <a:solidFill>
                  <a:schemeClr val="bg1"/>
                </a:solidFill>
                <a:latin typeface="+mn-lt"/>
              </a:rPr>
              <a:t>Meeting </a:t>
            </a:r>
            <a:br>
              <a:rPr lang="en-GB" sz="1800">
                <a:solidFill>
                  <a:schemeClr val="bg1"/>
                </a:solidFill>
                <a:latin typeface="+mn-lt"/>
              </a:rPr>
            </a:br>
            <a:r>
              <a:rPr lang="en-GB" sz="1800">
                <a:solidFill>
                  <a:schemeClr val="bg1"/>
                </a:solidFill>
                <a:latin typeface="+mn-lt"/>
              </a:rPr>
              <a:t>name</a:t>
            </a:r>
            <a:endParaRPr lang="en-GB" sz="1800" dirty="0">
              <a:solidFill>
                <a:schemeClr val="bg1"/>
              </a:solidFill>
              <a:latin typeface="+mn-lt"/>
            </a:endParaRPr>
          </a:p>
        </p:txBody>
      </p:sp>
      <p:sp>
        <p:nvSpPr>
          <p:cNvPr id="2" name="Title 1">
            <a:extLst>
              <a:ext uri="{FF2B5EF4-FFF2-40B4-BE49-F238E27FC236}">
                <a16:creationId xmlns:a16="http://schemas.microsoft.com/office/drawing/2014/main" id="{C2511CA3-C5ED-4CEF-BAD6-0EA966034246}"/>
              </a:ext>
            </a:extLst>
          </p:cNvPr>
          <p:cNvSpPr>
            <a:spLocks noGrp="1"/>
          </p:cNvSpPr>
          <p:nvPr>
            <p:ph type="title"/>
          </p:nvPr>
        </p:nvSpPr>
        <p:spPr/>
        <p:txBody>
          <a:bodyPr/>
          <a:lstStyle/>
          <a:p>
            <a:r>
              <a:rPr lang="en-GB"/>
              <a:t>Team/ participant presentation</a:t>
            </a:r>
            <a:endParaRPr lang="en-GB" dirty="0"/>
          </a:p>
        </p:txBody>
      </p:sp>
      <p:sp>
        <p:nvSpPr>
          <p:cNvPr id="65" name="Rectangle 64">
            <a:extLst>
              <a:ext uri="{FF2B5EF4-FFF2-40B4-BE49-F238E27FC236}">
                <a16:creationId xmlns:a16="http://schemas.microsoft.com/office/drawing/2014/main" id="{06EAA6EB-660C-4F0A-AE26-06CD77FE228A}"/>
              </a:ext>
            </a:extLst>
          </p:cNvPr>
          <p:cNvSpPr/>
          <p:nvPr/>
        </p:nvSpPr>
        <p:spPr bwMode="auto">
          <a:xfrm>
            <a:off x="8124594" y="2705778"/>
            <a:ext cx="2648999"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66" name="Rectangle 65">
            <a:extLst>
              <a:ext uri="{FF2B5EF4-FFF2-40B4-BE49-F238E27FC236}">
                <a16:creationId xmlns:a16="http://schemas.microsoft.com/office/drawing/2014/main" id="{BF74F29F-D220-4ACD-801D-F63D9498B327}"/>
              </a:ext>
            </a:extLst>
          </p:cNvPr>
          <p:cNvSpPr/>
          <p:nvPr/>
        </p:nvSpPr>
        <p:spPr bwMode="auto">
          <a:xfrm>
            <a:off x="8124594" y="4682964"/>
            <a:ext cx="2648999"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67" name="Rectangle 66">
            <a:extLst>
              <a:ext uri="{FF2B5EF4-FFF2-40B4-BE49-F238E27FC236}">
                <a16:creationId xmlns:a16="http://schemas.microsoft.com/office/drawing/2014/main" id="{0558CE46-2B9B-4A4C-BA8A-608BE822FD7E}"/>
              </a:ext>
            </a:extLst>
          </p:cNvPr>
          <p:cNvSpPr/>
          <p:nvPr/>
        </p:nvSpPr>
        <p:spPr bwMode="auto">
          <a:xfrm>
            <a:off x="1400136" y="2741782"/>
            <a:ext cx="2648999"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r"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68" name="Rectangle 67">
            <a:extLst>
              <a:ext uri="{FF2B5EF4-FFF2-40B4-BE49-F238E27FC236}">
                <a16:creationId xmlns:a16="http://schemas.microsoft.com/office/drawing/2014/main" id="{22F14907-80AB-4CAD-91C0-D5ABF7EA813B}"/>
              </a:ext>
            </a:extLst>
          </p:cNvPr>
          <p:cNvSpPr/>
          <p:nvPr/>
        </p:nvSpPr>
        <p:spPr bwMode="auto">
          <a:xfrm>
            <a:off x="1400136" y="4718968"/>
            <a:ext cx="2648999"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algn="r"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s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
        <p:nvSpPr>
          <p:cNvPr id="69" name="Rectangle 68">
            <a:extLst>
              <a:ext uri="{FF2B5EF4-FFF2-40B4-BE49-F238E27FC236}">
                <a16:creationId xmlns:a16="http://schemas.microsoft.com/office/drawing/2014/main" id="{42079B53-D418-493E-AD1D-013ADA410D7D}"/>
              </a:ext>
            </a:extLst>
          </p:cNvPr>
          <p:cNvSpPr/>
          <p:nvPr/>
        </p:nvSpPr>
        <p:spPr bwMode="auto">
          <a:xfrm>
            <a:off x="4754017" y="1463756"/>
            <a:ext cx="2648999"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0" indent="0" defTabSz="914400" rtl="0" eaLnBrk="1" fontAlgn="base" latinLnBrk="0" hangingPunct="1">
              <a:lnSpc>
                <a:spcPct val="90000"/>
              </a:lnSpc>
              <a:spcBef>
                <a:spcPts val="400"/>
              </a:spcBef>
              <a:spcAft>
                <a:spcPts val="400"/>
              </a:spcAft>
              <a:buClrTx/>
              <a:buSzTx/>
              <a:buFontTx/>
              <a:buNone/>
              <a:tabLst/>
              <a:defRPr/>
            </a:pPr>
            <a:r>
              <a:rPr kumimoji="0" lang="en-GB" b="0" i="0" u="none" strike="noStrike" kern="0" cap="none" spc="0" normalizeH="0" baseline="0" noProof="0">
                <a:ln>
                  <a:noFill/>
                </a:ln>
                <a:solidFill>
                  <a:schemeClr val="tx1"/>
                </a:solidFill>
                <a:effectLst/>
                <a:uLnTx/>
                <a:uFillTx/>
                <a:ea typeface="+mn-ea"/>
                <a:cs typeface="Arial" pitchFamily="34" charset="0"/>
              </a:rPr>
              <a:t>Lorem ipsum dolor sit amet, consectetur adipicing elit. Aliquam eget scelerisque turpis. </a:t>
            </a:r>
            <a:endParaRPr kumimoji="0" lang="en-GB" b="0" i="0" u="none" strike="noStrike" kern="0" cap="none" spc="0" normalizeH="0" baseline="0" noProof="0" dirty="0">
              <a:ln>
                <a:noFill/>
              </a:ln>
              <a:solidFill>
                <a:schemeClr val="tx1"/>
              </a:solidFill>
              <a:effectLst/>
              <a:uLnTx/>
              <a:uFillTx/>
              <a:ea typeface="+mn-ea"/>
              <a:cs typeface="Arial" pitchFamily="34" charset="0"/>
            </a:endParaRPr>
          </a:p>
        </p:txBody>
      </p:sp>
    </p:spTree>
    <p:extLst>
      <p:ext uri="{BB962C8B-B14F-4D97-AF65-F5344CB8AC3E}">
        <p14:creationId xmlns:p14="http://schemas.microsoft.com/office/powerpoint/2010/main" val="2338302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3B07FF24-8E49-40DA-9D9F-B45FD358E0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73" imgH="476" progId="TCLayout.ActiveDocument.1">
                  <p:embed/>
                </p:oleObj>
              </mc:Choice>
              <mc:Fallback>
                <p:oleObj name="Diapositive think-cell" r:id="rId10" imgW="473" imgH="476" progId="TCLayout.ActiveDocument.1">
                  <p:embed/>
                  <p:pic>
                    <p:nvPicPr>
                      <p:cNvPr id="3" name="Objet 2" hidden="1">
                        <a:extLst>
                          <a:ext uri="{FF2B5EF4-FFF2-40B4-BE49-F238E27FC236}">
                            <a16:creationId xmlns:a16="http://schemas.microsoft.com/office/drawing/2014/main" id="{3B07FF24-8E49-40DA-9D9F-B45FD358E0E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04A0BD-0558-461A-A6B2-6C612D43155B}"/>
              </a:ext>
            </a:extLst>
          </p:cNvPr>
          <p:cNvSpPr/>
          <p:nvPr>
            <p:custDataLst>
              <p:tags r:id="rId2"/>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A76182C9-A099-4E9E-B697-5BC15C94852A}"/>
              </a:ext>
            </a:extLst>
          </p:cNvPr>
          <p:cNvSpPr>
            <a:spLocks noGrp="1"/>
          </p:cNvSpPr>
          <p:nvPr>
            <p:ph type="title"/>
          </p:nvPr>
        </p:nvSpPr>
        <p:spPr/>
        <p:txBody>
          <a:bodyPr/>
          <a:lstStyle/>
          <a:p>
            <a:r>
              <a:rPr lang="en-GB" dirty="0"/>
              <a:t>Client references</a:t>
            </a:r>
          </a:p>
        </p:txBody>
      </p:sp>
      <p:sp>
        <p:nvSpPr>
          <p:cNvPr id="20" name="Rectangle 19">
            <a:extLst>
              <a:ext uri="{FF2B5EF4-FFF2-40B4-BE49-F238E27FC236}">
                <a16:creationId xmlns:a16="http://schemas.microsoft.com/office/drawing/2014/main" id="{32ACFAA4-8E2B-4936-89B9-4194ABCBE444}"/>
              </a:ext>
            </a:extLst>
          </p:cNvPr>
          <p:cNvSpPr>
            <a:spLocks noRot="1" noMove="1" noResize="1" noEditPoints="1" noAdjustHandles="1" noChangeArrowheads="1" noChangeShapeType="1"/>
          </p:cNvSpPr>
          <p:nvPr>
            <p:custDataLst>
              <p:tags r:id="rId3"/>
            </p:custDataLst>
          </p:nvPr>
        </p:nvSpPr>
        <p:spPr bwMode="auto">
          <a:xfrm>
            <a:off x="1008229" y="1555915"/>
            <a:ext cx="2085643"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29" name="Rectangle 28">
            <a:extLst>
              <a:ext uri="{FF2B5EF4-FFF2-40B4-BE49-F238E27FC236}">
                <a16:creationId xmlns:a16="http://schemas.microsoft.com/office/drawing/2014/main" id="{A7E983AF-2391-4DC7-99FA-69910538162D}"/>
              </a:ext>
            </a:extLst>
          </p:cNvPr>
          <p:cNvSpPr>
            <a:spLocks noRot="1" noMove="1" noResize="1" noEditPoints="1" noAdjustHandles="1" noChangeArrowheads="1" noChangeShapeType="1"/>
          </p:cNvSpPr>
          <p:nvPr>
            <p:custDataLst>
              <p:tags r:id="rId4"/>
            </p:custDataLst>
          </p:nvPr>
        </p:nvSpPr>
        <p:spPr bwMode="auto">
          <a:xfrm>
            <a:off x="3539761" y="1555915"/>
            <a:ext cx="2085643" cy="106750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30" name="Rectangle 29">
            <a:extLst>
              <a:ext uri="{FF2B5EF4-FFF2-40B4-BE49-F238E27FC236}">
                <a16:creationId xmlns:a16="http://schemas.microsoft.com/office/drawing/2014/main" id="{40FF493C-B622-4199-B9F2-DC9667C1E5DB}"/>
              </a:ext>
            </a:extLst>
          </p:cNvPr>
          <p:cNvSpPr>
            <a:spLocks noRot="1" noMove="1" noResize="1" noEditPoints="1" noAdjustHandles="1" noChangeArrowheads="1" noChangeShapeType="1"/>
          </p:cNvSpPr>
          <p:nvPr>
            <p:custDataLst>
              <p:tags r:id="rId5"/>
            </p:custDataLst>
          </p:nvPr>
        </p:nvSpPr>
        <p:spPr bwMode="auto">
          <a:xfrm>
            <a:off x="1008229" y="2789560"/>
            <a:ext cx="4617175" cy="342224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t" anchorCtr="0" forceAA="0" compatLnSpc="1">
            <a:prstTxWarp prst="textNoShape">
              <a:avLst/>
            </a:prstTxWarp>
            <a:noAutofit/>
          </a:bodyPr>
          <a:lstStyle/>
          <a:p>
            <a:pPr marL="179388" indent="-179388" algn="l">
              <a:buClr>
                <a:srgbClr val="C1B5B8"/>
              </a:buClr>
              <a:buSzPct val="77000"/>
              <a:buFont typeface="Wingdings 3" panose="05040102010807070707" pitchFamily="18" charset="2"/>
              <a:buChar char=""/>
              <a:defRPr/>
            </a:pPr>
            <a:r>
              <a:rPr lang="en-GB" dirty="0">
                <a:solidFill>
                  <a:srgbClr val="000000"/>
                </a:solidFill>
              </a:rPr>
              <a:t>Bullet points to cover our role on the project and what we did, not background information, in the present tense</a:t>
            </a:r>
          </a:p>
          <a:p>
            <a:pPr marL="179388" indent="-179388" algn="l">
              <a:buClr>
                <a:srgbClr val="C1B5B8"/>
              </a:buClr>
              <a:buSzPct val="77000"/>
              <a:buFont typeface="Wingdings 3" panose="05040102010807070707" pitchFamily="18" charset="2"/>
              <a:buChar char=""/>
              <a:defRPr/>
            </a:pPr>
            <a:r>
              <a:rPr lang="en-GB" dirty="0">
                <a:solidFill>
                  <a:srgbClr val="000000"/>
                </a:solidFill>
              </a:rPr>
              <a:t>Include tangible results of our work on the project; quantify where possible (%, not numbers)</a:t>
            </a:r>
          </a:p>
          <a:p>
            <a:pPr marL="179388" indent="-179388" algn="l">
              <a:buClr>
                <a:srgbClr val="C1B5B8"/>
              </a:buClr>
              <a:buSzPct val="77000"/>
              <a:buFont typeface="Wingdings 3" panose="05040102010807070707" pitchFamily="18" charset="2"/>
              <a:buChar char=""/>
              <a:defRPr/>
            </a:pPr>
            <a:r>
              <a:rPr lang="en-GB" dirty="0">
                <a:solidFill>
                  <a:srgbClr val="000000"/>
                </a:solidFill>
              </a:rPr>
              <a:t>Leave enough space between text and the edge of the box</a:t>
            </a:r>
          </a:p>
          <a:p>
            <a:pPr marL="179388" indent="-179388" algn="l">
              <a:buClr>
                <a:srgbClr val="C1B5B8"/>
              </a:buClr>
              <a:buSzPct val="77000"/>
              <a:buFont typeface="Wingdings 3" panose="05040102010807070707" pitchFamily="18" charset="2"/>
              <a:buChar char=""/>
              <a:defRPr/>
            </a:pPr>
            <a:r>
              <a:rPr lang="en-GB" dirty="0">
                <a:solidFill>
                  <a:srgbClr val="000000"/>
                </a:solidFill>
              </a:rPr>
              <a:t>Text is Arial 14 </a:t>
            </a:r>
            <a:r>
              <a:rPr lang="en-GB" dirty="0" err="1">
                <a:solidFill>
                  <a:srgbClr val="000000"/>
                </a:solidFill>
              </a:rPr>
              <a:t>pt</a:t>
            </a:r>
            <a:r>
              <a:rPr lang="en-GB" dirty="0">
                <a:solidFill>
                  <a:srgbClr val="000000"/>
                </a:solidFill>
              </a:rPr>
              <a:t>, left aligned </a:t>
            </a:r>
          </a:p>
          <a:p>
            <a:pPr marL="179388" indent="-179388" algn="l">
              <a:buClr>
                <a:srgbClr val="C1B5B8"/>
              </a:buClr>
              <a:buSzPct val="77000"/>
              <a:buFont typeface="Wingdings 3" panose="05040102010807070707" pitchFamily="18" charset="2"/>
              <a:buChar char=""/>
              <a:defRPr/>
            </a:pPr>
            <a:r>
              <a:rPr lang="en-GB" dirty="0">
                <a:solidFill>
                  <a:srgbClr val="000000"/>
                </a:solidFill>
              </a:rPr>
              <a:t>Line spacing 8.4pt before, single </a:t>
            </a:r>
          </a:p>
        </p:txBody>
      </p:sp>
      <p:sp>
        <p:nvSpPr>
          <p:cNvPr id="28" name="Rectangle 27">
            <a:extLst>
              <a:ext uri="{FF2B5EF4-FFF2-40B4-BE49-F238E27FC236}">
                <a16:creationId xmlns:a16="http://schemas.microsoft.com/office/drawing/2014/main" id="{6EE4D0E4-D8FE-4C3A-8C7E-DF14D37338CF}"/>
              </a:ext>
            </a:extLst>
          </p:cNvPr>
          <p:cNvSpPr>
            <a:spLocks noRot="1" noMove="1" noResize="1" noEditPoints="1" noAdjustHandles="1" noChangeArrowheads="1" noChangeShapeType="1"/>
          </p:cNvSpPr>
          <p:nvPr>
            <p:custDataLst>
              <p:tags r:id="rId6"/>
            </p:custDataLst>
          </p:nvPr>
        </p:nvSpPr>
        <p:spPr bwMode="auto">
          <a:xfrm>
            <a:off x="6566595" y="1555915"/>
            <a:ext cx="2085643"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32" name="Rectangle 31">
            <a:extLst>
              <a:ext uri="{FF2B5EF4-FFF2-40B4-BE49-F238E27FC236}">
                <a16:creationId xmlns:a16="http://schemas.microsoft.com/office/drawing/2014/main" id="{5E67C76E-A6B3-4EAE-9636-FB972FED5F76}"/>
              </a:ext>
            </a:extLst>
          </p:cNvPr>
          <p:cNvSpPr>
            <a:spLocks noRot="1" noMove="1" noResize="1" noEditPoints="1" noAdjustHandles="1" noChangeArrowheads="1" noChangeShapeType="1"/>
          </p:cNvSpPr>
          <p:nvPr>
            <p:custDataLst>
              <p:tags r:id="rId7"/>
            </p:custDataLst>
          </p:nvPr>
        </p:nvSpPr>
        <p:spPr bwMode="auto">
          <a:xfrm>
            <a:off x="9098129" y="1555915"/>
            <a:ext cx="2085643" cy="106750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33" name="Rectangle 32">
            <a:extLst>
              <a:ext uri="{FF2B5EF4-FFF2-40B4-BE49-F238E27FC236}">
                <a16:creationId xmlns:a16="http://schemas.microsoft.com/office/drawing/2014/main" id="{8E9E09FC-C7FB-4F71-96C9-E0B8B282EC1B}"/>
              </a:ext>
            </a:extLst>
          </p:cNvPr>
          <p:cNvSpPr>
            <a:spLocks noRot="1" noMove="1" noResize="1" noEditPoints="1" noAdjustHandles="1" noChangeArrowheads="1" noChangeShapeType="1"/>
          </p:cNvSpPr>
          <p:nvPr>
            <p:custDataLst>
              <p:tags r:id="rId8"/>
            </p:custDataLst>
          </p:nvPr>
        </p:nvSpPr>
        <p:spPr bwMode="auto">
          <a:xfrm>
            <a:off x="6566595" y="2789560"/>
            <a:ext cx="4617176" cy="342224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Text is Arial 14 </a:t>
            </a:r>
            <a:r>
              <a:rPr lang="en-GB" dirty="0" err="1">
                <a:solidFill>
                  <a:srgbClr val="000000"/>
                </a:solidFill>
              </a:rPr>
              <a:t>pt</a:t>
            </a:r>
            <a:r>
              <a:rPr lang="en-GB"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ine spacing 8.4pt before, single </a:t>
            </a:r>
          </a:p>
        </p:txBody>
      </p:sp>
      <p:cxnSp>
        <p:nvCxnSpPr>
          <p:cNvPr id="10" name="Straight Connector 9">
            <a:extLst>
              <a:ext uri="{FF2B5EF4-FFF2-40B4-BE49-F238E27FC236}">
                <a16:creationId xmlns:a16="http://schemas.microsoft.com/office/drawing/2014/main" id="{8E5386A9-E05B-456D-82A0-57759548B9B4}"/>
              </a:ext>
            </a:extLst>
          </p:cNvPr>
          <p:cNvCxnSpPr>
            <a:cxnSpLocks/>
          </p:cNvCxnSpPr>
          <p:nvPr/>
        </p:nvCxnSpPr>
        <p:spPr>
          <a:xfrm>
            <a:off x="6095999" y="1555915"/>
            <a:ext cx="0" cy="4655885"/>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28944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A87A1BD5-9F33-4ED7-84A9-1F49EFBF2D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4" name="Objet 3" hidden="1">
                        <a:extLst>
                          <a:ext uri="{FF2B5EF4-FFF2-40B4-BE49-F238E27FC236}">
                            <a16:creationId xmlns:a16="http://schemas.microsoft.com/office/drawing/2014/main" id="{A87A1BD5-9F33-4ED7-84A9-1F49EFBF2D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C59794-CC4D-4476-8297-EE0CCEE1A43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6" name="Arc 7"/>
          <p:cNvSpPr>
            <a:spLocks/>
          </p:cNvSpPr>
          <p:nvPr/>
        </p:nvSpPr>
        <p:spPr bwMode="auto">
          <a:xfrm>
            <a:off x="3396059" y="1583573"/>
            <a:ext cx="7387758" cy="3839351"/>
          </a:xfrm>
          <a:custGeom>
            <a:avLst/>
            <a:gdLst>
              <a:gd name="T0" fmla="*/ 2147483647 w 21640"/>
              <a:gd name="T1" fmla="*/ 2147483647 h 21677"/>
              <a:gd name="T2" fmla="*/ 0 w 21640"/>
              <a:gd name="T3" fmla="*/ 0 h 21677"/>
              <a:gd name="T4" fmla="*/ 2147483647 w 21640"/>
              <a:gd name="T5" fmla="*/ 2147483647 h 21677"/>
              <a:gd name="T6" fmla="*/ 0 60000 65536"/>
              <a:gd name="T7" fmla="*/ 0 60000 65536"/>
              <a:gd name="T8" fmla="*/ 0 60000 65536"/>
              <a:gd name="T9" fmla="*/ 0 w 21640"/>
              <a:gd name="T10" fmla="*/ 0 h 21677"/>
              <a:gd name="T11" fmla="*/ 21640 w 21640"/>
              <a:gd name="T12" fmla="*/ 21677 h 21677"/>
            </a:gdLst>
            <a:ahLst/>
            <a:cxnLst>
              <a:cxn ang="T6">
                <a:pos x="T0" y="T1"/>
              </a:cxn>
              <a:cxn ang="T7">
                <a:pos x="T2" y="T3"/>
              </a:cxn>
              <a:cxn ang="T8">
                <a:pos x="T4" y="T5"/>
              </a:cxn>
            </a:cxnLst>
            <a:rect l="T9" t="T10" r="T11" b="T12"/>
            <a:pathLst>
              <a:path w="21640" h="21677" fill="none" extrusionOk="0">
                <a:moveTo>
                  <a:pt x="21639" y="21676"/>
                </a:moveTo>
                <a:cubicBezTo>
                  <a:pt x="21626" y="21676"/>
                  <a:pt x="21613" y="21676"/>
                  <a:pt x="21600" y="21677"/>
                </a:cubicBezTo>
                <a:cubicBezTo>
                  <a:pt x="9670" y="21677"/>
                  <a:pt x="0" y="12006"/>
                  <a:pt x="0" y="77"/>
                </a:cubicBezTo>
                <a:cubicBezTo>
                  <a:pt x="-1" y="51"/>
                  <a:pt x="0" y="25"/>
                  <a:pt x="0" y="0"/>
                </a:cubicBezTo>
              </a:path>
              <a:path w="21640" h="21677" stroke="0" extrusionOk="0">
                <a:moveTo>
                  <a:pt x="21639" y="21676"/>
                </a:moveTo>
                <a:cubicBezTo>
                  <a:pt x="21626" y="21676"/>
                  <a:pt x="21613" y="21676"/>
                  <a:pt x="21600" y="21677"/>
                </a:cubicBezTo>
                <a:cubicBezTo>
                  <a:pt x="9670" y="21677"/>
                  <a:pt x="0" y="12006"/>
                  <a:pt x="0" y="77"/>
                </a:cubicBezTo>
                <a:cubicBezTo>
                  <a:pt x="-1" y="51"/>
                  <a:pt x="0" y="25"/>
                  <a:pt x="0" y="0"/>
                </a:cubicBezTo>
                <a:lnTo>
                  <a:pt x="21600" y="77"/>
                </a:lnTo>
                <a:lnTo>
                  <a:pt x="21639" y="21676"/>
                </a:lnTo>
                <a:close/>
              </a:path>
            </a:pathLst>
          </a:custGeom>
          <a:solidFill>
            <a:schemeClr val="bg2"/>
          </a:solidFill>
          <a:ln w="28575">
            <a:noFill/>
            <a:prstDash val="dash"/>
            <a:round/>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eaLnBrk="1" fontAlgn="auto" hangingPunct="1">
              <a:spcBef>
                <a:spcPts val="0"/>
              </a:spcBef>
              <a:spcAft>
                <a:spcPts val="0"/>
              </a:spcAft>
              <a:buClrTx/>
              <a:defRPr/>
            </a:pPr>
            <a:endParaRPr lang="en-GB" sz="1800" kern="0" dirty="0">
              <a:solidFill>
                <a:srgbClr val="000000"/>
              </a:solidFill>
              <a:latin typeface="+mn-lt"/>
            </a:endParaRPr>
          </a:p>
        </p:txBody>
      </p:sp>
      <p:sp>
        <p:nvSpPr>
          <p:cNvPr id="55" name="Arc 5"/>
          <p:cNvSpPr>
            <a:spLocks/>
          </p:cNvSpPr>
          <p:nvPr/>
        </p:nvSpPr>
        <p:spPr bwMode="auto">
          <a:xfrm>
            <a:off x="6723001" y="1583573"/>
            <a:ext cx="4060816" cy="2435230"/>
          </a:xfrm>
          <a:custGeom>
            <a:avLst/>
            <a:gdLst>
              <a:gd name="T0" fmla="*/ 2147483647 w 21600"/>
              <a:gd name="T1" fmla="*/ 2147483647 h 21671"/>
              <a:gd name="T2" fmla="*/ 0 w 21600"/>
              <a:gd name="T3" fmla="*/ 0 h 21671"/>
              <a:gd name="T4" fmla="*/ 2147483647 w 21600"/>
              <a:gd name="T5" fmla="*/ 2147483647 h 21671"/>
              <a:gd name="T6" fmla="*/ 0 60000 65536"/>
              <a:gd name="T7" fmla="*/ 0 60000 65536"/>
              <a:gd name="T8" fmla="*/ 0 60000 65536"/>
              <a:gd name="T9" fmla="*/ 0 w 21600"/>
              <a:gd name="T10" fmla="*/ 0 h 21671"/>
              <a:gd name="T11" fmla="*/ 21600 w 21600"/>
              <a:gd name="T12" fmla="*/ 21671 h 21671"/>
              <a:gd name="connsiteX0" fmla="*/ 21079 w 21122"/>
              <a:gd name="connsiteY0" fmla="*/ 21670 h 21670"/>
              <a:gd name="connsiteX1" fmla="*/ 0 w 21122"/>
              <a:gd name="connsiteY1" fmla="*/ 77 h 21670"/>
              <a:gd name="connsiteX2" fmla="*/ 0 w 21122"/>
              <a:gd name="connsiteY2" fmla="*/ 0 h 21670"/>
              <a:gd name="connsiteX0" fmla="*/ 21079 w 21122"/>
              <a:gd name="connsiteY0" fmla="*/ 21670 h 21670"/>
              <a:gd name="connsiteX1" fmla="*/ 0 w 21122"/>
              <a:gd name="connsiteY1" fmla="*/ 77 h 21670"/>
              <a:gd name="connsiteX2" fmla="*/ 0 w 21122"/>
              <a:gd name="connsiteY2" fmla="*/ 0 h 21670"/>
              <a:gd name="connsiteX3" fmla="*/ 21011 w 21122"/>
              <a:gd name="connsiteY3" fmla="*/ 203 h 21670"/>
              <a:gd name="connsiteX4" fmla="*/ 21079 w 21122"/>
              <a:gd name="connsiteY4" fmla="*/ 21670 h 21670"/>
              <a:gd name="connsiteX0" fmla="*/ 21079 w 21079"/>
              <a:gd name="connsiteY0" fmla="*/ 21670 h 21684"/>
              <a:gd name="connsiteX1" fmla="*/ 0 w 21079"/>
              <a:gd name="connsiteY1" fmla="*/ 77 h 21684"/>
              <a:gd name="connsiteX2" fmla="*/ 0 w 21079"/>
              <a:gd name="connsiteY2" fmla="*/ 0 h 21684"/>
              <a:gd name="connsiteX0" fmla="*/ 21007 w 21079"/>
              <a:gd name="connsiteY0" fmla="*/ 21684 h 21684"/>
              <a:gd name="connsiteX1" fmla="*/ 0 w 21079"/>
              <a:gd name="connsiteY1" fmla="*/ 77 h 21684"/>
              <a:gd name="connsiteX2" fmla="*/ 0 w 21079"/>
              <a:gd name="connsiteY2" fmla="*/ 0 h 21684"/>
              <a:gd name="connsiteX3" fmla="*/ 21011 w 21079"/>
              <a:gd name="connsiteY3" fmla="*/ 203 h 21684"/>
              <a:gd name="connsiteX4" fmla="*/ 21007 w 21079"/>
              <a:gd name="connsiteY4" fmla="*/ 21684 h 21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79" h="21684" fill="none" extrusionOk="0">
                <a:moveTo>
                  <a:pt x="21079" y="21670"/>
                </a:moveTo>
                <a:cubicBezTo>
                  <a:pt x="9356" y="21387"/>
                  <a:pt x="0" y="11803"/>
                  <a:pt x="0" y="77"/>
                </a:cubicBezTo>
                <a:cubicBezTo>
                  <a:pt x="-1" y="51"/>
                  <a:pt x="0" y="25"/>
                  <a:pt x="0" y="0"/>
                </a:cubicBezTo>
              </a:path>
              <a:path w="21079" h="21684" stroke="0" extrusionOk="0">
                <a:moveTo>
                  <a:pt x="21007" y="21684"/>
                </a:moveTo>
                <a:cubicBezTo>
                  <a:pt x="9284" y="21401"/>
                  <a:pt x="0" y="11803"/>
                  <a:pt x="0" y="77"/>
                </a:cubicBezTo>
                <a:cubicBezTo>
                  <a:pt x="-1" y="51"/>
                  <a:pt x="0" y="25"/>
                  <a:pt x="0" y="0"/>
                </a:cubicBezTo>
                <a:lnTo>
                  <a:pt x="21011" y="203"/>
                </a:lnTo>
                <a:cubicBezTo>
                  <a:pt x="20837" y="7401"/>
                  <a:pt x="21181" y="14486"/>
                  <a:pt x="21007" y="21684"/>
                </a:cubicBezTo>
                <a:close/>
              </a:path>
            </a:pathLst>
          </a:custGeom>
          <a:solidFill>
            <a:schemeClr val="accent2"/>
          </a:solidFill>
          <a:ln w="28575">
            <a:noFill/>
            <a:prstDash val="dash"/>
            <a:round/>
            <a:headEnd type="none" w="sm" len="sm"/>
            <a:tailEnd type="none" w="sm" len="sm"/>
          </a:ln>
          <a:extLst>
            <a:ext uri="{909E8E84-426E-40dd-AFC4-6F175D3DCCD1}">
              <a14:hiddenFill xmlns="" xmlns:a14="http://schemas.microsoft.com/office/drawing/2010/main">
                <a:solidFill>
                  <a:srgbClr val="FFFFFF"/>
                </a:solidFill>
              </a14:hiddenFill>
            </a:ext>
          </a:extLst>
        </p:spPr>
        <p:txBody>
          <a:bodyPr wrap="none" anchor="ctr"/>
          <a:lstStyle/>
          <a:p>
            <a:pPr eaLnBrk="1" fontAlgn="auto" hangingPunct="1">
              <a:spcBef>
                <a:spcPts val="0"/>
              </a:spcBef>
              <a:spcAft>
                <a:spcPts val="0"/>
              </a:spcAft>
              <a:buClrTx/>
              <a:defRPr/>
            </a:pPr>
            <a:endParaRPr lang="en-GB" sz="1800" kern="0" dirty="0">
              <a:solidFill>
                <a:srgbClr val="000000"/>
              </a:solidFill>
              <a:latin typeface="+mn-lt"/>
            </a:endParaRPr>
          </a:p>
        </p:txBody>
      </p:sp>
      <p:sp>
        <p:nvSpPr>
          <p:cNvPr id="60" name="Rectangle 13"/>
          <p:cNvSpPr>
            <a:spLocks noChangeArrowheads="1"/>
          </p:cNvSpPr>
          <p:nvPr/>
        </p:nvSpPr>
        <p:spPr bwMode="gray">
          <a:xfrm flipH="1">
            <a:off x="1461904" y="2148624"/>
            <a:ext cx="1154162" cy="353943"/>
          </a:xfrm>
          <a:prstGeom prst="rect">
            <a:avLst/>
          </a:prstGeom>
          <a:noFill/>
          <a:ln w="12700">
            <a:solidFill>
              <a:srgbClr val="FFFFFF"/>
            </a:solidFill>
            <a:miter lim="800000"/>
            <a:headEnd/>
            <a:tailEnd/>
          </a:ln>
        </p:spPr>
        <p:txBody>
          <a:bodyPr wrap="none" lIns="76200" tIns="38100" rIns="76200" bIns="38100" anchor="ctr">
            <a:spAutoFit/>
          </a:bodyPr>
          <a:lstStyle/>
          <a:p>
            <a:pPr defTabSz="433388" eaLnBrk="1" fontAlgn="auto" hangingPunct="1">
              <a:spcBef>
                <a:spcPts val="0"/>
              </a:spcBef>
              <a:spcAft>
                <a:spcPts val="0"/>
              </a:spcAft>
              <a:buClrTx/>
              <a:defRPr/>
            </a:pPr>
            <a:r>
              <a:rPr lang="en-GB" sz="1800" kern="0">
                <a:solidFill>
                  <a:schemeClr val="tx2"/>
                </a:solidFill>
                <a:latin typeface="+mn-lt"/>
              </a:rPr>
              <a:t>THEME 1</a:t>
            </a:r>
            <a:endParaRPr lang="en-GB" sz="1800" kern="0" dirty="0">
              <a:solidFill>
                <a:schemeClr val="tx2"/>
              </a:solidFill>
              <a:latin typeface="+mn-lt"/>
            </a:endParaRPr>
          </a:p>
        </p:txBody>
      </p:sp>
      <p:sp>
        <p:nvSpPr>
          <p:cNvPr id="61" name="Rectangle 15"/>
          <p:cNvSpPr>
            <a:spLocks noChangeArrowheads="1"/>
          </p:cNvSpPr>
          <p:nvPr/>
        </p:nvSpPr>
        <p:spPr bwMode="gray">
          <a:xfrm flipH="1">
            <a:off x="1461904" y="4782068"/>
            <a:ext cx="1154162" cy="353943"/>
          </a:xfrm>
          <a:prstGeom prst="rect">
            <a:avLst/>
          </a:prstGeom>
          <a:noFill/>
          <a:ln w="12700">
            <a:solidFill>
              <a:srgbClr val="FFFFFF"/>
            </a:solidFill>
            <a:miter lim="800000"/>
            <a:headEnd/>
            <a:tailEnd/>
          </a:ln>
        </p:spPr>
        <p:txBody>
          <a:bodyPr wrap="none" lIns="76200" tIns="38100" rIns="76200" bIns="38100" anchor="ctr">
            <a:spAutoFit/>
          </a:bodyPr>
          <a:lstStyle/>
          <a:p>
            <a:pPr defTabSz="433388" eaLnBrk="1" fontAlgn="auto" hangingPunct="1">
              <a:spcBef>
                <a:spcPts val="0"/>
              </a:spcBef>
              <a:spcAft>
                <a:spcPts val="0"/>
              </a:spcAft>
              <a:buClrTx/>
              <a:defRPr/>
            </a:pPr>
            <a:r>
              <a:rPr lang="en-GB" sz="1800" kern="0">
                <a:solidFill>
                  <a:schemeClr val="tx2"/>
                </a:solidFill>
                <a:latin typeface="+mn-lt"/>
              </a:rPr>
              <a:t>THEME 2</a:t>
            </a:r>
            <a:endParaRPr lang="en-GB" sz="1800" kern="0" dirty="0">
              <a:solidFill>
                <a:schemeClr val="tx2"/>
              </a:solidFill>
              <a:latin typeface="+mn-lt"/>
            </a:endParaRPr>
          </a:p>
        </p:txBody>
      </p:sp>
      <p:sp>
        <p:nvSpPr>
          <p:cNvPr id="62" name="Rectangle 18"/>
          <p:cNvSpPr>
            <a:spLocks noChangeArrowheads="1"/>
          </p:cNvSpPr>
          <p:nvPr/>
        </p:nvSpPr>
        <p:spPr bwMode="gray">
          <a:xfrm flipH="1">
            <a:off x="4821658" y="5646281"/>
            <a:ext cx="1154162" cy="353943"/>
          </a:xfrm>
          <a:prstGeom prst="rect">
            <a:avLst/>
          </a:prstGeom>
          <a:noFill/>
          <a:ln w="12700">
            <a:solidFill>
              <a:srgbClr val="FFFFFF"/>
            </a:solidFill>
            <a:miter lim="800000"/>
            <a:headEnd/>
            <a:tailEnd/>
          </a:ln>
        </p:spPr>
        <p:txBody>
          <a:bodyPr wrap="none" lIns="76200" tIns="38100" rIns="76200" bIns="38100" anchor="ctr">
            <a:spAutoFit/>
          </a:bodyPr>
          <a:lstStyle/>
          <a:p>
            <a:pPr defTabSz="433388" eaLnBrk="1" fontAlgn="auto" hangingPunct="1">
              <a:spcBef>
                <a:spcPts val="0"/>
              </a:spcBef>
              <a:spcAft>
                <a:spcPts val="0"/>
              </a:spcAft>
              <a:buClrTx/>
              <a:defRPr/>
            </a:pPr>
            <a:r>
              <a:rPr lang="en-GB" sz="1800" kern="0">
                <a:solidFill>
                  <a:schemeClr val="tx2"/>
                </a:solidFill>
                <a:latin typeface="+mn-lt"/>
              </a:rPr>
              <a:t>THEME 3</a:t>
            </a:r>
            <a:endParaRPr lang="en-GB" sz="1800" kern="0" dirty="0">
              <a:solidFill>
                <a:schemeClr val="tx2"/>
              </a:solidFill>
              <a:latin typeface="+mn-lt"/>
            </a:endParaRPr>
          </a:p>
        </p:txBody>
      </p:sp>
      <p:sp>
        <p:nvSpPr>
          <p:cNvPr id="63" name="Rectangle 19"/>
          <p:cNvSpPr>
            <a:spLocks noChangeArrowheads="1"/>
          </p:cNvSpPr>
          <p:nvPr/>
        </p:nvSpPr>
        <p:spPr bwMode="gray">
          <a:xfrm flipH="1">
            <a:off x="8415445" y="5646281"/>
            <a:ext cx="1154162" cy="353943"/>
          </a:xfrm>
          <a:prstGeom prst="rect">
            <a:avLst/>
          </a:prstGeom>
          <a:noFill/>
          <a:ln w="12700">
            <a:solidFill>
              <a:srgbClr val="FFFFFF"/>
            </a:solidFill>
            <a:miter lim="800000"/>
            <a:headEnd/>
            <a:tailEnd/>
          </a:ln>
        </p:spPr>
        <p:txBody>
          <a:bodyPr wrap="none" lIns="76200" tIns="38100" rIns="76200" bIns="38100" anchor="ctr">
            <a:spAutoFit/>
          </a:bodyPr>
          <a:lstStyle/>
          <a:p>
            <a:pPr defTabSz="433388" eaLnBrk="1" fontAlgn="auto" hangingPunct="1">
              <a:spcBef>
                <a:spcPts val="0"/>
              </a:spcBef>
              <a:spcAft>
                <a:spcPts val="0"/>
              </a:spcAft>
              <a:buClrTx/>
              <a:defRPr/>
            </a:pPr>
            <a:r>
              <a:rPr lang="en-GB" sz="1800" kern="0">
                <a:solidFill>
                  <a:schemeClr val="tx2"/>
                </a:solidFill>
                <a:latin typeface="+mn-lt"/>
              </a:rPr>
              <a:t>THEME 4</a:t>
            </a:r>
            <a:endParaRPr lang="en-GB" sz="1800" kern="0" dirty="0">
              <a:solidFill>
                <a:schemeClr val="tx2"/>
              </a:solidFill>
              <a:latin typeface="+mn-lt"/>
            </a:endParaRPr>
          </a:p>
        </p:txBody>
      </p:sp>
      <p:sp>
        <p:nvSpPr>
          <p:cNvPr id="64" name="Line 20"/>
          <p:cNvSpPr>
            <a:spLocks noChangeShapeType="1"/>
          </p:cNvSpPr>
          <p:nvPr/>
        </p:nvSpPr>
        <p:spPr bwMode="auto">
          <a:xfrm>
            <a:off x="1372938" y="1456301"/>
            <a:ext cx="1966427" cy="0"/>
          </a:xfrm>
          <a:prstGeom prst="line">
            <a:avLst/>
          </a:prstGeom>
          <a:noFill/>
          <a:ln w="28575">
            <a:solidFill>
              <a:srgbClr val="87737B"/>
            </a:solidFill>
            <a:round/>
            <a:headEnd type="triangle" w="med" len="med"/>
            <a:tailEnd type="triangle" w="med" len="me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chemeClr val="accent2"/>
              </a:solidFill>
              <a:latin typeface="+mn-lt"/>
            </a:endParaRPr>
          </a:p>
        </p:txBody>
      </p:sp>
      <p:sp>
        <p:nvSpPr>
          <p:cNvPr id="65" name="Line 21"/>
          <p:cNvSpPr>
            <a:spLocks noChangeShapeType="1"/>
          </p:cNvSpPr>
          <p:nvPr/>
        </p:nvSpPr>
        <p:spPr bwMode="auto">
          <a:xfrm>
            <a:off x="3421299" y="1456301"/>
            <a:ext cx="3277379" cy="0"/>
          </a:xfrm>
          <a:prstGeom prst="line">
            <a:avLst/>
          </a:prstGeom>
          <a:noFill/>
          <a:ln w="28575">
            <a:solidFill>
              <a:srgbClr val="87737B"/>
            </a:solidFill>
            <a:round/>
            <a:headEnd type="triangle" w="med" len="med"/>
            <a:tailEnd type="triangle" w="med" len="me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chemeClr val="accent2"/>
              </a:solidFill>
              <a:latin typeface="+mn-lt"/>
            </a:endParaRPr>
          </a:p>
        </p:txBody>
      </p:sp>
      <p:sp>
        <p:nvSpPr>
          <p:cNvPr id="66" name="Line 22"/>
          <p:cNvSpPr>
            <a:spLocks noChangeShapeType="1"/>
          </p:cNvSpPr>
          <p:nvPr/>
        </p:nvSpPr>
        <p:spPr bwMode="auto">
          <a:xfrm flipV="1">
            <a:off x="6862547" y="1450795"/>
            <a:ext cx="3809953" cy="5506"/>
          </a:xfrm>
          <a:prstGeom prst="line">
            <a:avLst/>
          </a:prstGeom>
          <a:noFill/>
          <a:ln w="28575">
            <a:solidFill>
              <a:srgbClr val="87737B"/>
            </a:solidFill>
            <a:round/>
            <a:headEnd type="triangle" w="med" len="med"/>
            <a:tailEnd type="triangle" w="med" len="me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chemeClr val="accent2"/>
              </a:solidFill>
              <a:latin typeface="+mn-lt"/>
            </a:endParaRPr>
          </a:p>
        </p:txBody>
      </p:sp>
      <p:sp>
        <p:nvSpPr>
          <p:cNvPr id="67" name="Text Box 23"/>
          <p:cNvSpPr txBox="1">
            <a:spLocks noChangeArrowheads="1"/>
          </p:cNvSpPr>
          <p:nvPr/>
        </p:nvSpPr>
        <p:spPr bwMode="auto">
          <a:xfrm>
            <a:off x="1536807" y="1143018"/>
            <a:ext cx="1638689"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fontAlgn="auto" hangingPunct="1">
              <a:spcBef>
                <a:spcPts val="0"/>
              </a:spcBef>
              <a:spcAft>
                <a:spcPts val="0"/>
              </a:spcAft>
              <a:buClrTx/>
              <a:defRPr/>
            </a:pPr>
            <a:r>
              <a:rPr lang="en-GB" sz="1400" kern="0">
                <a:solidFill>
                  <a:schemeClr val="accent2"/>
                </a:solidFill>
                <a:latin typeface="+mn-lt"/>
              </a:rPr>
              <a:t>Phase 1</a:t>
            </a:r>
            <a:endParaRPr lang="en-GB" sz="1400" kern="0" dirty="0">
              <a:solidFill>
                <a:schemeClr val="accent2"/>
              </a:solidFill>
              <a:latin typeface="+mn-lt"/>
            </a:endParaRPr>
          </a:p>
        </p:txBody>
      </p:sp>
      <p:sp>
        <p:nvSpPr>
          <p:cNvPr id="68" name="Text Box 24"/>
          <p:cNvSpPr txBox="1">
            <a:spLocks noChangeArrowheads="1"/>
          </p:cNvSpPr>
          <p:nvPr/>
        </p:nvSpPr>
        <p:spPr bwMode="auto">
          <a:xfrm>
            <a:off x="3667103" y="1143018"/>
            <a:ext cx="2867706"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fontAlgn="auto" hangingPunct="1">
              <a:spcBef>
                <a:spcPts val="0"/>
              </a:spcBef>
              <a:spcAft>
                <a:spcPts val="0"/>
              </a:spcAft>
              <a:buClrTx/>
              <a:defRPr/>
            </a:pPr>
            <a:r>
              <a:rPr lang="en-GB" sz="1400" kern="0">
                <a:solidFill>
                  <a:schemeClr val="accent2"/>
                </a:solidFill>
                <a:latin typeface="+mn-lt"/>
              </a:rPr>
              <a:t>Phase 2</a:t>
            </a:r>
            <a:endParaRPr lang="en-GB" sz="1400" kern="0" dirty="0">
              <a:solidFill>
                <a:schemeClr val="accent2"/>
              </a:solidFill>
              <a:latin typeface="+mn-lt"/>
            </a:endParaRPr>
          </a:p>
        </p:txBody>
      </p:sp>
      <p:sp>
        <p:nvSpPr>
          <p:cNvPr id="69" name="Text Box 25"/>
          <p:cNvSpPr txBox="1">
            <a:spLocks noChangeArrowheads="1"/>
          </p:cNvSpPr>
          <p:nvPr/>
        </p:nvSpPr>
        <p:spPr bwMode="auto">
          <a:xfrm>
            <a:off x="7108350" y="1143018"/>
            <a:ext cx="3441248"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ＭＳ Ｐゴシック" charset="0"/>
                <a:cs typeface="ＭＳ Ｐゴシック" charset="0"/>
              </a:defRPr>
            </a:lvl1pPr>
            <a:lvl2pPr marL="742950" indent="-285750" eaLnBrk="0" hangingPunct="0">
              <a:defRPr sz="1200">
                <a:solidFill>
                  <a:schemeClr val="tx1"/>
                </a:solidFill>
                <a:latin typeface="Arial" charset="0"/>
                <a:ea typeface="ＭＳ Ｐゴシック" charset="0"/>
              </a:defRPr>
            </a:lvl2pPr>
            <a:lvl3pPr marL="1143000" indent="-228600" eaLnBrk="0" hangingPunct="0">
              <a:defRPr sz="1200">
                <a:solidFill>
                  <a:schemeClr val="tx1"/>
                </a:solidFill>
                <a:latin typeface="Arial" charset="0"/>
                <a:ea typeface="ＭＳ Ｐゴシック" charset="0"/>
              </a:defRPr>
            </a:lvl3pPr>
            <a:lvl4pPr marL="1600200" indent="-228600" eaLnBrk="0" hangingPunct="0">
              <a:defRPr sz="1200">
                <a:solidFill>
                  <a:schemeClr val="tx1"/>
                </a:solidFill>
                <a:latin typeface="Arial" charset="0"/>
                <a:ea typeface="ＭＳ Ｐゴシック" charset="0"/>
              </a:defRPr>
            </a:lvl4pPr>
            <a:lvl5pPr marL="2057400" indent="-228600" eaLnBrk="0" hangingPunct="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eaLnBrk="1" fontAlgn="auto" hangingPunct="1">
              <a:spcBef>
                <a:spcPts val="0"/>
              </a:spcBef>
              <a:spcAft>
                <a:spcPts val="0"/>
              </a:spcAft>
              <a:buClrTx/>
              <a:defRPr/>
            </a:pPr>
            <a:r>
              <a:rPr lang="en-GB" sz="1400" kern="0">
                <a:solidFill>
                  <a:schemeClr val="accent2"/>
                </a:solidFill>
                <a:latin typeface="+mn-lt"/>
              </a:rPr>
              <a:t>Phase 3</a:t>
            </a:r>
            <a:endParaRPr lang="en-GB" sz="1400" kern="0" dirty="0">
              <a:solidFill>
                <a:schemeClr val="accent2"/>
              </a:solidFill>
              <a:latin typeface="+mn-lt"/>
            </a:endParaRPr>
          </a:p>
        </p:txBody>
      </p:sp>
      <p:sp>
        <p:nvSpPr>
          <p:cNvPr id="71" name="Rectangle 26"/>
          <p:cNvSpPr>
            <a:spLocks noChangeArrowheads="1"/>
          </p:cNvSpPr>
          <p:nvPr/>
        </p:nvSpPr>
        <p:spPr bwMode="auto">
          <a:xfrm>
            <a:off x="2030613" y="2710082"/>
            <a:ext cx="1302246" cy="367269"/>
          </a:xfrm>
          <a:prstGeom prst="rect">
            <a:avLst/>
          </a:prstGeom>
          <a:solidFill>
            <a:srgbClr val="FFFFFF"/>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72" name="Rectangle 27"/>
          <p:cNvSpPr>
            <a:spLocks noChangeArrowheads="1"/>
          </p:cNvSpPr>
          <p:nvPr/>
        </p:nvSpPr>
        <p:spPr bwMode="auto">
          <a:xfrm>
            <a:off x="3317345" y="4197529"/>
            <a:ext cx="1302246" cy="367269"/>
          </a:xfrm>
          <a:prstGeom prst="rect">
            <a:avLst/>
          </a:prstGeom>
          <a:solidFill>
            <a:srgbClr val="FFFFFF"/>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73" name="Rectangle 28"/>
          <p:cNvSpPr>
            <a:spLocks noChangeArrowheads="1"/>
          </p:cNvSpPr>
          <p:nvPr/>
        </p:nvSpPr>
        <p:spPr bwMode="auto">
          <a:xfrm>
            <a:off x="4715347" y="2135297"/>
            <a:ext cx="1302246" cy="367269"/>
          </a:xfrm>
          <a:prstGeom prst="rect">
            <a:avLst/>
          </a:prstGeom>
          <a:solidFill>
            <a:srgbClr val="D9D9D9"/>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74" name="Rectangle 29"/>
          <p:cNvSpPr>
            <a:spLocks noChangeArrowheads="1"/>
          </p:cNvSpPr>
          <p:nvPr/>
        </p:nvSpPr>
        <p:spPr bwMode="auto">
          <a:xfrm>
            <a:off x="5775379" y="3101038"/>
            <a:ext cx="1302246" cy="367269"/>
          </a:xfrm>
          <a:prstGeom prst="rect">
            <a:avLst/>
          </a:prstGeom>
          <a:solidFill>
            <a:srgbClr val="D9D9D9"/>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75" name="Rectangle 30"/>
          <p:cNvSpPr>
            <a:spLocks noChangeArrowheads="1"/>
          </p:cNvSpPr>
          <p:nvPr/>
        </p:nvSpPr>
        <p:spPr bwMode="auto">
          <a:xfrm>
            <a:off x="6758593" y="4040888"/>
            <a:ext cx="1302246" cy="367269"/>
          </a:xfrm>
          <a:prstGeom prst="rect">
            <a:avLst/>
          </a:prstGeom>
          <a:solidFill>
            <a:srgbClr val="D9D9D9"/>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78" name="Rectangle 33"/>
          <p:cNvSpPr>
            <a:spLocks noChangeArrowheads="1"/>
          </p:cNvSpPr>
          <p:nvPr/>
        </p:nvSpPr>
        <p:spPr bwMode="auto">
          <a:xfrm>
            <a:off x="8561151" y="4589133"/>
            <a:ext cx="1302246" cy="367269"/>
          </a:xfrm>
          <a:prstGeom prst="rect">
            <a:avLst/>
          </a:prstGeom>
          <a:solidFill>
            <a:srgbClr val="D9D9D9"/>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accent2"/>
                </a:solidFill>
                <a:latin typeface="+mn-lt"/>
              </a:rPr>
              <a:t>Transformation stage</a:t>
            </a:r>
            <a:endParaRPr lang="en-GB" kern="0" dirty="0">
              <a:solidFill>
                <a:schemeClr val="accent2"/>
              </a:solidFill>
              <a:latin typeface="+mn-lt"/>
            </a:endParaRPr>
          </a:p>
        </p:txBody>
      </p:sp>
      <p:sp>
        <p:nvSpPr>
          <p:cNvPr id="57" name="Line 10"/>
          <p:cNvSpPr>
            <a:spLocks noChangeShapeType="1"/>
          </p:cNvSpPr>
          <p:nvPr/>
        </p:nvSpPr>
        <p:spPr bwMode="auto">
          <a:xfrm flipH="1">
            <a:off x="6930826" y="1612943"/>
            <a:ext cx="3741674" cy="4513236"/>
          </a:xfrm>
          <a:prstGeom prst="line">
            <a:avLst/>
          </a:prstGeom>
          <a:noFill/>
          <a:ln w="19050">
            <a:solidFill>
              <a:schemeClr val="accent3"/>
            </a:solidFill>
            <a:round/>
            <a:headEnd/>
            <a:tailEn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rgbClr val="000000"/>
              </a:solidFill>
              <a:latin typeface="+mn-lt"/>
            </a:endParaRPr>
          </a:p>
        </p:txBody>
      </p:sp>
      <p:sp>
        <p:nvSpPr>
          <p:cNvPr id="58" name="Line 11"/>
          <p:cNvSpPr>
            <a:spLocks noChangeShapeType="1"/>
          </p:cNvSpPr>
          <p:nvPr/>
        </p:nvSpPr>
        <p:spPr bwMode="auto">
          <a:xfrm flipH="1">
            <a:off x="2752168" y="1612943"/>
            <a:ext cx="7920332" cy="4513236"/>
          </a:xfrm>
          <a:prstGeom prst="line">
            <a:avLst/>
          </a:prstGeom>
          <a:noFill/>
          <a:ln w="19050">
            <a:solidFill>
              <a:schemeClr val="accent3"/>
            </a:solidFill>
            <a:round/>
            <a:headEnd/>
            <a:tailEn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rgbClr val="000000"/>
              </a:solidFill>
              <a:latin typeface="+mn-lt"/>
            </a:endParaRPr>
          </a:p>
        </p:txBody>
      </p:sp>
      <p:sp>
        <p:nvSpPr>
          <p:cNvPr id="59" name="Line 12"/>
          <p:cNvSpPr>
            <a:spLocks noChangeShapeType="1"/>
          </p:cNvSpPr>
          <p:nvPr/>
        </p:nvSpPr>
        <p:spPr bwMode="auto">
          <a:xfrm flipH="1">
            <a:off x="1359282" y="1612943"/>
            <a:ext cx="9313219" cy="2241933"/>
          </a:xfrm>
          <a:prstGeom prst="line">
            <a:avLst/>
          </a:prstGeom>
          <a:noFill/>
          <a:ln w="19050">
            <a:solidFill>
              <a:schemeClr val="accent3"/>
            </a:solidFill>
            <a:round/>
            <a:headEnd/>
            <a:tailEnd/>
          </a:ln>
          <a:extLst>
            <a:ext uri="{909E8E84-426E-40dd-AFC4-6F175D3DCCD1}">
              <a14:hiddenFill xmlns="" xmlns:a14="http://schemas.microsoft.com/office/drawing/2010/main">
                <a:noFill/>
              </a14:hiddenFill>
            </a:ext>
          </a:extLst>
        </p:spPr>
        <p:txBody>
          <a:bodyPr wrap="none" anchor="ctr"/>
          <a:lstStyle/>
          <a:p>
            <a:pPr eaLnBrk="1" fontAlgn="auto" hangingPunct="1">
              <a:spcBef>
                <a:spcPts val="0"/>
              </a:spcBef>
              <a:spcAft>
                <a:spcPts val="0"/>
              </a:spcAft>
              <a:buClrTx/>
              <a:defRPr/>
            </a:pPr>
            <a:endParaRPr lang="en-GB" sz="1800" kern="0" dirty="0">
              <a:solidFill>
                <a:srgbClr val="000000"/>
              </a:solidFill>
              <a:latin typeface="+mn-lt"/>
            </a:endParaRPr>
          </a:p>
        </p:txBody>
      </p:sp>
      <p:sp>
        <p:nvSpPr>
          <p:cNvPr id="76" name="Rectangle 31"/>
          <p:cNvSpPr>
            <a:spLocks noChangeArrowheads="1"/>
          </p:cNvSpPr>
          <p:nvPr/>
        </p:nvSpPr>
        <p:spPr bwMode="auto">
          <a:xfrm>
            <a:off x="7414068" y="2082868"/>
            <a:ext cx="1302246" cy="367269"/>
          </a:xfrm>
          <a:prstGeom prst="rect">
            <a:avLst/>
          </a:prstGeom>
          <a:solidFill>
            <a:srgbClr val="87737B"/>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bg1"/>
                </a:solidFill>
                <a:latin typeface="+mn-lt"/>
              </a:rPr>
              <a:t>Transformation stage</a:t>
            </a:r>
            <a:endParaRPr lang="en-GB" kern="0" dirty="0">
              <a:solidFill>
                <a:schemeClr val="bg1"/>
              </a:solidFill>
              <a:latin typeface="+mn-lt"/>
            </a:endParaRPr>
          </a:p>
        </p:txBody>
      </p:sp>
      <p:sp>
        <p:nvSpPr>
          <p:cNvPr id="77" name="Rectangle 32"/>
          <p:cNvSpPr>
            <a:spLocks noChangeArrowheads="1"/>
          </p:cNvSpPr>
          <p:nvPr/>
        </p:nvSpPr>
        <p:spPr bwMode="auto">
          <a:xfrm>
            <a:off x="8824410" y="2787755"/>
            <a:ext cx="1302246" cy="367269"/>
          </a:xfrm>
          <a:prstGeom prst="rect">
            <a:avLst/>
          </a:prstGeom>
          <a:solidFill>
            <a:srgbClr val="87737B"/>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lIns="36000" tIns="41275" rIns="36000" bIns="41275" anchor="ctr"/>
          <a:lstStyle/>
          <a:p>
            <a:pPr defTabSz="892175" eaLnBrk="1" fontAlgn="auto" hangingPunct="1">
              <a:spcBef>
                <a:spcPts val="0"/>
              </a:spcBef>
              <a:spcAft>
                <a:spcPts val="0"/>
              </a:spcAft>
              <a:buClrTx/>
              <a:defRPr/>
            </a:pPr>
            <a:r>
              <a:rPr lang="en-GB" kern="0">
                <a:solidFill>
                  <a:schemeClr val="bg1"/>
                </a:solidFill>
                <a:latin typeface="+mn-lt"/>
              </a:rPr>
              <a:t>Transformation stage</a:t>
            </a:r>
            <a:endParaRPr lang="en-GB" kern="0" dirty="0">
              <a:solidFill>
                <a:schemeClr val="bg1"/>
              </a:solidFill>
              <a:latin typeface="+mn-lt"/>
            </a:endParaRPr>
          </a:p>
        </p:txBody>
      </p:sp>
      <p:pic>
        <p:nvPicPr>
          <p:cNvPr id="7" name="Image 6" descr="Une image contenant clipart&#10;&#10;Description générée automatiquement">
            <a:extLst>
              <a:ext uri="{FF2B5EF4-FFF2-40B4-BE49-F238E27FC236}">
                <a16:creationId xmlns:a16="http://schemas.microsoft.com/office/drawing/2014/main" id="{A20894AF-3D85-4759-9A56-556DF6CC37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97050" y="1502166"/>
            <a:ext cx="1377179" cy="737457"/>
          </a:xfrm>
          <a:prstGeom prst="rect">
            <a:avLst/>
          </a:prstGeom>
        </p:spPr>
      </p:pic>
      <p:sp>
        <p:nvSpPr>
          <p:cNvPr id="8" name="ZoneTexte 7">
            <a:extLst>
              <a:ext uri="{FF2B5EF4-FFF2-40B4-BE49-F238E27FC236}">
                <a16:creationId xmlns:a16="http://schemas.microsoft.com/office/drawing/2014/main" id="{1782B95D-6C67-4827-8731-4DCA1F44BC98}"/>
              </a:ext>
            </a:extLst>
          </p:cNvPr>
          <p:cNvSpPr txBox="1"/>
          <p:nvPr/>
        </p:nvSpPr>
        <p:spPr>
          <a:xfrm>
            <a:off x="9766160" y="1583573"/>
            <a:ext cx="1065152" cy="400110"/>
          </a:xfrm>
          <a:prstGeom prst="rect">
            <a:avLst/>
          </a:prstGeom>
          <a:noFill/>
        </p:spPr>
        <p:txBody>
          <a:bodyPr wrap="square" rtlCol="0">
            <a:spAutoFit/>
          </a:bodyPr>
          <a:lstStyle/>
          <a:p>
            <a:r>
              <a:rPr lang="en-GB" sz="2000">
                <a:solidFill>
                  <a:srgbClr val="FFFFFF"/>
                </a:solidFill>
                <a:latin typeface="+mn-lt"/>
              </a:rPr>
              <a:t>Target</a:t>
            </a:r>
            <a:endParaRPr lang="en-GB" sz="2000" dirty="0">
              <a:solidFill>
                <a:srgbClr val="FFFFFF"/>
              </a:solidFill>
              <a:latin typeface="+mn-lt"/>
            </a:endParaRPr>
          </a:p>
        </p:txBody>
      </p:sp>
      <p:sp>
        <p:nvSpPr>
          <p:cNvPr id="3" name="Title 2">
            <a:extLst>
              <a:ext uri="{FF2B5EF4-FFF2-40B4-BE49-F238E27FC236}">
                <a16:creationId xmlns:a16="http://schemas.microsoft.com/office/drawing/2014/main" id="{C746B73C-C1DC-4807-89A2-2E4F6455022B}"/>
              </a:ext>
            </a:extLst>
          </p:cNvPr>
          <p:cNvSpPr>
            <a:spLocks noGrp="1"/>
          </p:cNvSpPr>
          <p:nvPr>
            <p:ph type="title"/>
          </p:nvPr>
        </p:nvSpPr>
        <p:spPr/>
        <p:txBody>
          <a:bodyPr/>
          <a:lstStyle/>
          <a:p>
            <a:r>
              <a:rPr lang="en-GB"/>
              <a:t>Roadmap </a:t>
            </a:r>
            <a:endParaRPr lang="en-GB" dirty="0"/>
          </a:p>
        </p:txBody>
      </p:sp>
    </p:spTree>
    <p:extLst>
      <p:ext uri="{BB962C8B-B14F-4D97-AF65-F5344CB8AC3E}">
        <p14:creationId xmlns:p14="http://schemas.microsoft.com/office/powerpoint/2010/main" val="310243584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FF9C07F-5F7F-46DC-B815-A30BDD137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3" name="Objet 2" hidden="1">
                        <a:extLst>
                          <a:ext uri="{FF2B5EF4-FFF2-40B4-BE49-F238E27FC236}">
                            <a16:creationId xmlns:a16="http://schemas.microsoft.com/office/drawing/2014/main" id="{8FF9C07F-5F7F-46DC-B815-A30BDD137A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83EA6E-EADA-48A8-BD34-048BFD6A884E}"/>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 name="Title 20">
            <a:extLst>
              <a:ext uri="{FF2B5EF4-FFF2-40B4-BE49-F238E27FC236}">
                <a16:creationId xmlns:a16="http://schemas.microsoft.com/office/drawing/2014/main" id="{6DA195A7-04CC-419F-883E-6ED818E96612}"/>
              </a:ext>
            </a:extLst>
          </p:cNvPr>
          <p:cNvSpPr>
            <a:spLocks noGrp="1"/>
          </p:cNvSpPr>
          <p:nvPr>
            <p:ph type="title"/>
          </p:nvPr>
        </p:nvSpPr>
        <p:spPr/>
        <p:txBody>
          <a:bodyPr/>
          <a:lstStyle/>
          <a:p>
            <a:r>
              <a:rPr lang="en-GB"/>
              <a:t>Four ideas</a:t>
            </a:r>
            <a:endParaRPr lang="en-GB" dirty="0"/>
          </a:p>
        </p:txBody>
      </p:sp>
      <p:grpSp>
        <p:nvGrpSpPr>
          <p:cNvPr id="7" name="Group 6"/>
          <p:cNvGrpSpPr/>
          <p:nvPr/>
        </p:nvGrpSpPr>
        <p:grpSpPr>
          <a:xfrm>
            <a:off x="1501407" y="1822656"/>
            <a:ext cx="2657455" cy="3572544"/>
            <a:chOff x="755576" y="1338821"/>
            <a:chExt cx="1872208" cy="2952515"/>
          </a:xfrm>
          <a:solidFill>
            <a:schemeClr val="accent6"/>
          </a:solidFill>
        </p:grpSpPr>
        <p:sp>
          <p:nvSpPr>
            <p:cNvPr id="4" name="Isosceles Triangle 3"/>
            <p:cNvSpPr>
              <a:spLocks noChangeAspect="1"/>
            </p:cNvSpPr>
            <p:nvPr/>
          </p:nvSpPr>
          <p:spPr>
            <a:xfrm>
              <a:off x="755576" y="133882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5" name="Isosceles Triangle 4"/>
            <p:cNvSpPr>
              <a:spLocks noChangeAspect="1"/>
            </p:cNvSpPr>
            <p:nvPr/>
          </p:nvSpPr>
          <p:spPr>
            <a:xfrm rot="10800000">
              <a:off x="1091939" y="1338821"/>
              <a:ext cx="606090" cy="477879"/>
            </a:xfrm>
            <a:prstGeom prst="triangle">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 name="Isosceles Triangle 5"/>
            <p:cNvSpPr>
              <a:spLocks noChangeAspect="1"/>
            </p:cNvSpPr>
            <p:nvPr/>
          </p:nvSpPr>
          <p:spPr>
            <a:xfrm rot="10800000">
              <a:off x="755576" y="2815172"/>
              <a:ext cx="1872208" cy="1476164"/>
            </a:xfrm>
            <a:prstGeom prst="triangle">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grpSp>
      <p:grpSp>
        <p:nvGrpSpPr>
          <p:cNvPr id="8" name="Group 7"/>
          <p:cNvGrpSpPr/>
          <p:nvPr/>
        </p:nvGrpSpPr>
        <p:grpSpPr>
          <a:xfrm>
            <a:off x="3684273" y="1822656"/>
            <a:ext cx="2657455" cy="3572544"/>
            <a:chOff x="755576" y="1338821"/>
            <a:chExt cx="1872208" cy="2952515"/>
          </a:xfrm>
        </p:grpSpPr>
        <p:sp>
          <p:nvSpPr>
            <p:cNvPr id="9" name="Isosceles Triangle 8"/>
            <p:cNvSpPr>
              <a:spLocks noChangeAspect="1"/>
            </p:cNvSpPr>
            <p:nvPr/>
          </p:nvSpPr>
          <p:spPr>
            <a:xfrm>
              <a:off x="755576" y="1338822"/>
              <a:ext cx="1872208" cy="14761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0" name="Isosceles Triangle 9"/>
            <p:cNvSpPr>
              <a:spLocks noChangeAspect="1"/>
            </p:cNvSpPr>
            <p:nvPr/>
          </p:nvSpPr>
          <p:spPr>
            <a:xfrm rot="10800000">
              <a:off x="1091939" y="1338821"/>
              <a:ext cx="606090" cy="477879"/>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1" name="Isosceles Triangle 10"/>
            <p:cNvSpPr>
              <a:spLocks noChangeAspect="1"/>
            </p:cNvSpPr>
            <p:nvPr/>
          </p:nvSpPr>
          <p:spPr>
            <a:xfrm rot="10800000">
              <a:off x="755576" y="2815172"/>
              <a:ext cx="1872208" cy="1476164"/>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grpSp>
      <p:grpSp>
        <p:nvGrpSpPr>
          <p:cNvPr id="12" name="Group 11"/>
          <p:cNvGrpSpPr/>
          <p:nvPr/>
        </p:nvGrpSpPr>
        <p:grpSpPr>
          <a:xfrm>
            <a:off x="5868693" y="1822656"/>
            <a:ext cx="2657455" cy="3572544"/>
            <a:chOff x="755576" y="1338821"/>
            <a:chExt cx="1872208" cy="2952515"/>
          </a:xfrm>
        </p:grpSpPr>
        <p:sp>
          <p:nvSpPr>
            <p:cNvPr id="13" name="Isosceles Triangle 12"/>
            <p:cNvSpPr>
              <a:spLocks noChangeAspect="1"/>
            </p:cNvSpPr>
            <p:nvPr/>
          </p:nvSpPr>
          <p:spPr>
            <a:xfrm>
              <a:off x="755576" y="1338822"/>
              <a:ext cx="1872208" cy="1476164"/>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4" name="Isosceles Triangle 13"/>
            <p:cNvSpPr>
              <a:spLocks noChangeAspect="1"/>
            </p:cNvSpPr>
            <p:nvPr/>
          </p:nvSpPr>
          <p:spPr>
            <a:xfrm rot="10800000">
              <a:off x="1091939" y="1338821"/>
              <a:ext cx="606090" cy="47787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5" name="Isosceles Triangle 14"/>
            <p:cNvSpPr>
              <a:spLocks noChangeAspect="1"/>
            </p:cNvSpPr>
            <p:nvPr/>
          </p:nvSpPr>
          <p:spPr>
            <a:xfrm rot="10800000">
              <a:off x="755576" y="2815172"/>
              <a:ext cx="1872208" cy="1476164"/>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grpSp>
      <p:grpSp>
        <p:nvGrpSpPr>
          <p:cNvPr id="16" name="Group 15"/>
          <p:cNvGrpSpPr/>
          <p:nvPr/>
        </p:nvGrpSpPr>
        <p:grpSpPr>
          <a:xfrm>
            <a:off x="8031745" y="1822656"/>
            <a:ext cx="2657455" cy="3572544"/>
            <a:chOff x="755576" y="1338821"/>
            <a:chExt cx="1872208" cy="2952515"/>
          </a:xfrm>
          <a:solidFill>
            <a:schemeClr val="tx2"/>
          </a:solidFill>
        </p:grpSpPr>
        <p:sp>
          <p:nvSpPr>
            <p:cNvPr id="17" name="Isosceles Triangle 16"/>
            <p:cNvSpPr>
              <a:spLocks noChangeAspect="1"/>
            </p:cNvSpPr>
            <p:nvPr/>
          </p:nvSpPr>
          <p:spPr>
            <a:xfrm>
              <a:off x="755576" y="133882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8" name="Isosceles Triangle 17"/>
            <p:cNvSpPr>
              <a:spLocks noChangeAspect="1"/>
            </p:cNvSpPr>
            <p:nvPr/>
          </p:nvSpPr>
          <p:spPr>
            <a:xfrm rot="10800000">
              <a:off x="1091939" y="1338821"/>
              <a:ext cx="606090" cy="477879"/>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9" name="Isosceles Triangle 18"/>
            <p:cNvSpPr>
              <a:spLocks noChangeAspect="1"/>
            </p:cNvSpPr>
            <p:nvPr/>
          </p:nvSpPr>
          <p:spPr>
            <a:xfrm rot="10800000">
              <a:off x="755576" y="2815172"/>
              <a:ext cx="1872208" cy="1476164"/>
            </a:xfrm>
            <a:prstGeom prs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grpSp>
      <p:sp>
        <p:nvSpPr>
          <p:cNvPr id="22" name="TextBox 21"/>
          <p:cNvSpPr txBox="1"/>
          <p:nvPr/>
        </p:nvSpPr>
        <p:spPr>
          <a:xfrm>
            <a:off x="2165070" y="1882832"/>
            <a:ext cx="519575" cy="276999"/>
          </a:xfrm>
          <a:prstGeom prst="rect">
            <a:avLst/>
          </a:prstGeom>
          <a:noFill/>
        </p:spPr>
        <p:txBody>
          <a:bodyPr wrap="square" rtlCol="0">
            <a:spAutoFit/>
          </a:bodyPr>
          <a:lstStyle/>
          <a:p>
            <a:pPr algn="ctr"/>
            <a:r>
              <a:rPr lang="en-GB" sz="1200">
                <a:solidFill>
                  <a:schemeClr val="bg1"/>
                </a:solidFill>
                <a:latin typeface="+mn-lt"/>
              </a:rPr>
              <a:t>01</a:t>
            </a:r>
            <a:endParaRPr lang="en-GB" sz="1200" dirty="0">
              <a:solidFill>
                <a:schemeClr val="bg1"/>
              </a:solidFill>
              <a:latin typeface="+mn-lt"/>
            </a:endParaRPr>
          </a:p>
        </p:txBody>
      </p:sp>
      <p:sp>
        <p:nvSpPr>
          <p:cNvPr id="23" name="TextBox 22"/>
          <p:cNvSpPr txBox="1"/>
          <p:nvPr/>
        </p:nvSpPr>
        <p:spPr>
          <a:xfrm>
            <a:off x="4339331" y="1882832"/>
            <a:ext cx="519575" cy="276999"/>
          </a:xfrm>
          <a:prstGeom prst="rect">
            <a:avLst/>
          </a:prstGeom>
          <a:noFill/>
        </p:spPr>
        <p:txBody>
          <a:bodyPr wrap="square" rtlCol="0">
            <a:spAutoFit/>
          </a:bodyPr>
          <a:lstStyle/>
          <a:p>
            <a:pPr algn="ctr"/>
            <a:r>
              <a:rPr lang="en-GB" sz="1200">
                <a:solidFill>
                  <a:schemeClr val="bg1"/>
                </a:solidFill>
                <a:latin typeface="+mn-lt"/>
              </a:rPr>
              <a:t>02</a:t>
            </a:r>
            <a:endParaRPr lang="en-GB" sz="1200" dirty="0">
              <a:solidFill>
                <a:schemeClr val="bg1"/>
              </a:solidFill>
              <a:latin typeface="+mn-lt"/>
            </a:endParaRPr>
          </a:p>
        </p:txBody>
      </p:sp>
      <p:sp>
        <p:nvSpPr>
          <p:cNvPr id="25" name="TextBox 24"/>
          <p:cNvSpPr txBox="1"/>
          <p:nvPr/>
        </p:nvSpPr>
        <p:spPr>
          <a:xfrm>
            <a:off x="6516673" y="1882832"/>
            <a:ext cx="519575" cy="276999"/>
          </a:xfrm>
          <a:prstGeom prst="rect">
            <a:avLst/>
          </a:prstGeom>
          <a:noFill/>
        </p:spPr>
        <p:txBody>
          <a:bodyPr wrap="square" rtlCol="0">
            <a:spAutoFit/>
          </a:bodyPr>
          <a:lstStyle/>
          <a:p>
            <a:pPr algn="ctr"/>
            <a:r>
              <a:rPr lang="en-GB" sz="1200">
                <a:solidFill>
                  <a:schemeClr val="bg1"/>
                </a:solidFill>
                <a:latin typeface="+mn-lt"/>
              </a:rPr>
              <a:t>03</a:t>
            </a:r>
            <a:endParaRPr lang="en-GB" sz="1200" dirty="0">
              <a:solidFill>
                <a:schemeClr val="bg1"/>
              </a:solidFill>
              <a:latin typeface="+mn-lt"/>
            </a:endParaRPr>
          </a:p>
        </p:txBody>
      </p:sp>
      <p:sp>
        <p:nvSpPr>
          <p:cNvPr id="26" name="TextBox 25"/>
          <p:cNvSpPr txBox="1"/>
          <p:nvPr/>
        </p:nvSpPr>
        <p:spPr>
          <a:xfrm>
            <a:off x="8708864" y="1882832"/>
            <a:ext cx="519575" cy="276999"/>
          </a:xfrm>
          <a:prstGeom prst="rect">
            <a:avLst/>
          </a:prstGeom>
          <a:noFill/>
        </p:spPr>
        <p:txBody>
          <a:bodyPr wrap="square" rtlCol="0">
            <a:spAutoFit/>
          </a:bodyPr>
          <a:lstStyle/>
          <a:p>
            <a:pPr algn="ctr"/>
            <a:r>
              <a:rPr lang="en-GB" sz="1200">
                <a:solidFill>
                  <a:schemeClr val="bg1"/>
                </a:solidFill>
                <a:latin typeface="+mn-lt"/>
              </a:rPr>
              <a:t>04</a:t>
            </a:r>
            <a:endParaRPr lang="en-GB" sz="1200" dirty="0">
              <a:solidFill>
                <a:schemeClr val="bg1"/>
              </a:solidFill>
              <a:latin typeface="+mn-lt"/>
            </a:endParaRPr>
          </a:p>
        </p:txBody>
      </p:sp>
      <p:sp>
        <p:nvSpPr>
          <p:cNvPr id="27" name="TextBox 26"/>
          <p:cNvSpPr txBox="1"/>
          <p:nvPr/>
        </p:nvSpPr>
        <p:spPr>
          <a:xfrm>
            <a:off x="1502743" y="3155823"/>
            <a:ext cx="2654784" cy="338554"/>
          </a:xfrm>
          <a:prstGeom prst="rect">
            <a:avLst/>
          </a:prstGeom>
          <a:noFill/>
        </p:spPr>
        <p:txBody>
          <a:bodyPr wrap="square" rtlCol="0">
            <a:spAutoFit/>
          </a:bodyPr>
          <a:lstStyle/>
          <a:p>
            <a:pPr algn="ctr"/>
            <a:r>
              <a:rPr lang="en-GB" sz="1600">
                <a:solidFill>
                  <a:schemeClr val="bg1"/>
                </a:solidFill>
                <a:latin typeface="+mn-lt"/>
              </a:rPr>
              <a:t>XXXXXXXXX</a:t>
            </a:r>
            <a:endParaRPr lang="en-GB" sz="1600" dirty="0">
              <a:solidFill>
                <a:schemeClr val="bg1"/>
              </a:solidFill>
              <a:latin typeface="+mn-lt"/>
            </a:endParaRPr>
          </a:p>
        </p:txBody>
      </p:sp>
      <p:sp>
        <p:nvSpPr>
          <p:cNvPr id="28" name="TextBox 27"/>
          <p:cNvSpPr txBox="1"/>
          <p:nvPr/>
        </p:nvSpPr>
        <p:spPr>
          <a:xfrm>
            <a:off x="3685608" y="3155823"/>
            <a:ext cx="2654784" cy="338554"/>
          </a:xfrm>
          <a:prstGeom prst="rect">
            <a:avLst/>
          </a:prstGeom>
          <a:noFill/>
        </p:spPr>
        <p:txBody>
          <a:bodyPr wrap="square" rtlCol="0">
            <a:spAutoFit/>
          </a:bodyPr>
          <a:lstStyle/>
          <a:p>
            <a:pPr algn="ctr"/>
            <a:r>
              <a:rPr lang="en-GB" sz="1600">
                <a:solidFill>
                  <a:schemeClr val="bg1"/>
                </a:solidFill>
                <a:latin typeface="+mn-lt"/>
              </a:rPr>
              <a:t>XXXXXXXXX</a:t>
            </a:r>
            <a:endParaRPr lang="en-GB" sz="1600" dirty="0">
              <a:solidFill>
                <a:schemeClr val="bg1"/>
              </a:solidFill>
              <a:latin typeface="+mn-lt"/>
            </a:endParaRPr>
          </a:p>
        </p:txBody>
      </p:sp>
      <p:sp>
        <p:nvSpPr>
          <p:cNvPr id="29" name="TextBox 28"/>
          <p:cNvSpPr txBox="1"/>
          <p:nvPr/>
        </p:nvSpPr>
        <p:spPr>
          <a:xfrm>
            <a:off x="5870029" y="3155823"/>
            <a:ext cx="2654784" cy="338554"/>
          </a:xfrm>
          <a:prstGeom prst="rect">
            <a:avLst/>
          </a:prstGeom>
          <a:noFill/>
        </p:spPr>
        <p:txBody>
          <a:bodyPr wrap="square" rtlCol="0">
            <a:spAutoFit/>
          </a:bodyPr>
          <a:lstStyle/>
          <a:p>
            <a:pPr algn="ctr"/>
            <a:r>
              <a:rPr lang="en-GB" sz="1600">
                <a:solidFill>
                  <a:schemeClr val="bg1"/>
                </a:solidFill>
                <a:latin typeface="+mn-lt"/>
              </a:rPr>
              <a:t>XXXXXXXXX</a:t>
            </a:r>
            <a:endParaRPr lang="en-GB" sz="1600" dirty="0">
              <a:solidFill>
                <a:schemeClr val="bg1"/>
              </a:solidFill>
              <a:latin typeface="+mn-lt"/>
            </a:endParaRPr>
          </a:p>
        </p:txBody>
      </p:sp>
      <p:sp>
        <p:nvSpPr>
          <p:cNvPr id="30" name="TextBox 29"/>
          <p:cNvSpPr txBox="1"/>
          <p:nvPr/>
        </p:nvSpPr>
        <p:spPr>
          <a:xfrm>
            <a:off x="8033080" y="3155823"/>
            <a:ext cx="2654784" cy="338554"/>
          </a:xfrm>
          <a:prstGeom prst="rect">
            <a:avLst/>
          </a:prstGeom>
          <a:noFill/>
        </p:spPr>
        <p:txBody>
          <a:bodyPr wrap="square" rtlCol="0">
            <a:spAutoFit/>
          </a:bodyPr>
          <a:lstStyle/>
          <a:p>
            <a:pPr algn="ctr"/>
            <a:r>
              <a:rPr lang="en-GB" sz="1600">
                <a:solidFill>
                  <a:schemeClr val="bg1"/>
                </a:solidFill>
                <a:latin typeface="+mn-lt"/>
              </a:rPr>
              <a:t>XXXXXXXXX</a:t>
            </a:r>
            <a:endParaRPr lang="en-GB" sz="1600" dirty="0">
              <a:solidFill>
                <a:schemeClr val="bg1"/>
              </a:solidFill>
              <a:latin typeface="+mn-lt"/>
            </a:endParaRPr>
          </a:p>
        </p:txBody>
      </p:sp>
      <p:sp>
        <p:nvSpPr>
          <p:cNvPr id="31" name="TextBox 30"/>
          <p:cNvSpPr txBox="1"/>
          <p:nvPr/>
        </p:nvSpPr>
        <p:spPr>
          <a:xfrm>
            <a:off x="1502743" y="3736107"/>
            <a:ext cx="2654784" cy="1107996"/>
          </a:xfrm>
          <a:prstGeom prst="rect">
            <a:avLst/>
          </a:prstGeom>
          <a:noFill/>
        </p:spPr>
        <p:txBody>
          <a:bodyPr wrap="square" rtlCol="0">
            <a:spAutoFit/>
          </a:bodyPr>
          <a:lstStyle/>
          <a:p>
            <a:pPr algn="ctr"/>
            <a:r>
              <a:rPr lang="en-GB" sz="1200">
                <a:solidFill>
                  <a:schemeClr val="bg1"/>
                </a:solidFill>
                <a:latin typeface="+mn-lt"/>
              </a:rPr>
              <a:t>Xxxxx xxxxx xxxx xxx</a:t>
            </a:r>
          </a:p>
          <a:p>
            <a:pPr algn="ctr"/>
            <a:r>
              <a:rPr lang="en-GB" sz="1200">
                <a:solidFill>
                  <a:schemeClr val="bg1"/>
                </a:solidFill>
                <a:latin typeface="+mn-lt"/>
              </a:rPr>
              <a:t> xxxxxxxxxxxxx</a:t>
            </a:r>
          </a:p>
          <a:p>
            <a:pPr algn="ctr"/>
            <a:r>
              <a:rPr lang="en-GB" sz="1200">
                <a:solidFill>
                  <a:schemeClr val="bg1"/>
                </a:solidFill>
                <a:latin typeface="+mn-lt"/>
              </a:rPr>
              <a:t>xx xxxxx</a:t>
            </a:r>
          </a:p>
          <a:p>
            <a:pPr algn="ctr"/>
            <a:r>
              <a:rPr lang="en-GB" sz="1200">
                <a:solidFill>
                  <a:schemeClr val="bg1"/>
                </a:solidFill>
                <a:latin typeface="+mn-lt"/>
              </a:rPr>
              <a:t>xxxx</a:t>
            </a:r>
            <a:endParaRPr lang="en-GB" sz="1200" dirty="0">
              <a:solidFill>
                <a:schemeClr val="bg1"/>
              </a:solidFill>
              <a:latin typeface="+mn-lt"/>
            </a:endParaRPr>
          </a:p>
        </p:txBody>
      </p:sp>
      <p:sp>
        <p:nvSpPr>
          <p:cNvPr id="35" name="TextBox 34"/>
          <p:cNvSpPr txBox="1"/>
          <p:nvPr/>
        </p:nvSpPr>
        <p:spPr>
          <a:xfrm>
            <a:off x="3685608" y="3736107"/>
            <a:ext cx="2654784" cy="1107996"/>
          </a:xfrm>
          <a:prstGeom prst="rect">
            <a:avLst/>
          </a:prstGeom>
          <a:noFill/>
        </p:spPr>
        <p:txBody>
          <a:bodyPr wrap="square" rtlCol="0">
            <a:spAutoFit/>
          </a:bodyPr>
          <a:lstStyle/>
          <a:p>
            <a:pPr algn="ctr"/>
            <a:r>
              <a:rPr lang="en-GB" sz="1200">
                <a:solidFill>
                  <a:schemeClr val="bg1"/>
                </a:solidFill>
                <a:latin typeface="+mn-lt"/>
              </a:rPr>
              <a:t>Xxxxx xxxxx xxxx xxx</a:t>
            </a:r>
          </a:p>
          <a:p>
            <a:pPr algn="ctr"/>
            <a:r>
              <a:rPr lang="en-GB" sz="1200">
                <a:solidFill>
                  <a:schemeClr val="bg1"/>
                </a:solidFill>
                <a:latin typeface="+mn-lt"/>
              </a:rPr>
              <a:t> xxxxxxxxxxxxx</a:t>
            </a:r>
          </a:p>
          <a:p>
            <a:pPr algn="ctr"/>
            <a:r>
              <a:rPr lang="en-GB" sz="1200">
                <a:solidFill>
                  <a:schemeClr val="bg1"/>
                </a:solidFill>
                <a:latin typeface="+mn-lt"/>
              </a:rPr>
              <a:t>xx xxxxx</a:t>
            </a:r>
          </a:p>
          <a:p>
            <a:pPr algn="ctr"/>
            <a:r>
              <a:rPr lang="en-GB" sz="1200">
                <a:solidFill>
                  <a:schemeClr val="bg1"/>
                </a:solidFill>
                <a:latin typeface="+mn-lt"/>
              </a:rPr>
              <a:t>xxxx</a:t>
            </a:r>
            <a:endParaRPr lang="en-GB" sz="1200" dirty="0">
              <a:solidFill>
                <a:schemeClr val="bg1"/>
              </a:solidFill>
              <a:latin typeface="+mn-lt"/>
            </a:endParaRPr>
          </a:p>
        </p:txBody>
      </p:sp>
      <p:sp>
        <p:nvSpPr>
          <p:cNvPr id="36" name="TextBox 35"/>
          <p:cNvSpPr txBox="1"/>
          <p:nvPr/>
        </p:nvSpPr>
        <p:spPr>
          <a:xfrm>
            <a:off x="5870029" y="3736107"/>
            <a:ext cx="2654784" cy="1107996"/>
          </a:xfrm>
          <a:prstGeom prst="rect">
            <a:avLst/>
          </a:prstGeom>
          <a:noFill/>
        </p:spPr>
        <p:txBody>
          <a:bodyPr wrap="square" rtlCol="0">
            <a:spAutoFit/>
          </a:bodyPr>
          <a:lstStyle/>
          <a:p>
            <a:pPr algn="ctr"/>
            <a:r>
              <a:rPr lang="en-GB" sz="1200">
                <a:solidFill>
                  <a:schemeClr val="bg1"/>
                </a:solidFill>
                <a:latin typeface="+mn-lt"/>
              </a:rPr>
              <a:t>Xxxxx xxxxx xxxx xxx</a:t>
            </a:r>
          </a:p>
          <a:p>
            <a:pPr algn="ctr"/>
            <a:r>
              <a:rPr lang="en-GB" sz="1200">
                <a:solidFill>
                  <a:schemeClr val="bg1"/>
                </a:solidFill>
                <a:latin typeface="+mn-lt"/>
              </a:rPr>
              <a:t> xxxxxxxxxxxxx</a:t>
            </a:r>
          </a:p>
          <a:p>
            <a:pPr algn="ctr"/>
            <a:r>
              <a:rPr lang="en-GB" sz="1200">
                <a:solidFill>
                  <a:schemeClr val="bg1"/>
                </a:solidFill>
                <a:latin typeface="+mn-lt"/>
              </a:rPr>
              <a:t>xx xxxxx</a:t>
            </a:r>
          </a:p>
          <a:p>
            <a:pPr algn="ctr"/>
            <a:r>
              <a:rPr lang="en-GB" sz="1200">
                <a:solidFill>
                  <a:schemeClr val="bg1"/>
                </a:solidFill>
                <a:latin typeface="+mn-lt"/>
              </a:rPr>
              <a:t>xxxx</a:t>
            </a:r>
            <a:endParaRPr lang="en-GB" sz="1200" dirty="0">
              <a:solidFill>
                <a:schemeClr val="bg1"/>
              </a:solidFill>
              <a:latin typeface="+mn-lt"/>
            </a:endParaRPr>
          </a:p>
        </p:txBody>
      </p:sp>
      <p:sp>
        <p:nvSpPr>
          <p:cNvPr id="37" name="TextBox 36"/>
          <p:cNvSpPr txBox="1"/>
          <p:nvPr/>
        </p:nvSpPr>
        <p:spPr>
          <a:xfrm>
            <a:off x="8033080" y="3736107"/>
            <a:ext cx="2654784" cy="1107996"/>
          </a:xfrm>
          <a:prstGeom prst="rect">
            <a:avLst/>
          </a:prstGeom>
          <a:noFill/>
        </p:spPr>
        <p:txBody>
          <a:bodyPr wrap="square" rtlCol="0">
            <a:spAutoFit/>
          </a:bodyPr>
          <a:lstStyle/>
          <a:p>
            <a:pPr algn="ctr"/>
            <a:r>
              <a:rPr lang="en-GB" sz="1200">
                <a:solidFill>
                  <a:schemeClr val="bg1"/>
                </a:solidFill>
                <a:latin typeface="+mn-lt"/>
              </a:rPr>
              <a:t>Xxxxx xxxxx xxxx xxx</a:t>
            </a:r>
          </a:p>
          <a:p>
            <a:pPr algn="ctr"/>
            <a:r>
              <a:rPr lang="en-GB" sz="1200">
                <a:solidFill>
                  <a:schemeClr val="bg1"/>
                </a:solidFill>
                <a:latin typeface="+mn-lt"/>
              </a:rPr>
              <a:t> xxxxxxxxxxxxx</a:t>
            </a:r>
          </a:p>
          <a:p>
            <a:pPr algn="ctr"/>
            <a:r>
              <a:rPr lang="en-GB" sz="1200">
                <a:solidFill>
                  <a:schemeClr val="bg1"/>
                </a:solidFill>
                <a:latin typeface="+mn-lt"/>
              </a:rPr>
              <a:t>xx xxxxx</a:t>
            </a:r>
          </a:p>
          <a:p>
            <a:pPr algn="ctr"/>
            <a:r>
              <a:rPr lang="en-GB" sz="1200">
                <a:solidFill>
                  <a:schemeClr val="bg1"/>
                </a:solidFill>
                <a:latin typeface="+mn-lt"/>
              </a:rPr>
              <a:t>xxxx</a:t>
            </a:r>
            <a:endParaRPr lang="en-GB" sz="1200" dirty="0">
              <a:solidFill>
                <a:schemeClr val="bg1"/>
              </a:solidFill>
              <a:latin typeface="+mn-lt"/>
            </a:endParaRPr>
          </a:p>
        </p:txBody>
      </p:sp>
      <p:sp>
        <p:nvSpPr>
          <p:cNvPr id="63" name="Isosceles Triangle 62"/>
          <p:cNvSpPr>
            <a:spLocks noChangeAspect="1"/>
          </p:cNvSpPr>
          <p:nvPr/>
        </p:nvSpPr>
        <p:spPr>
          <a:xfrm rot="10800000">
            <a:off x="7050982" y="4962014"/>
            <a:ext cx="282949" cy="190178"/>
          </a:xfrm>
          <a:prstGeom prst="triangle">
            <a:avLst/>
          </a:prstGeom>
          <a:solidFill>
            <a:schemeClr val="bg2">
              <a:lumMod val="20000"/>
              <a:lumOff val="80000"/>
              <a:alpha val="3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4" name="Isosceles Triangle 63"/>
          <p:cNvSpPr>
            <a:spLocks noChangeAspect="1"/>
          </p:cNvSpPr>
          <p:nvPr/>
        </p:nvSpPr>
        <p:spPr>
          <a:xfrm rot="10800000">
            <a:off x="9208101" y="4962014"/>
            <a:ext cx="282949" cy="190178"/>
          </a:xfrm>
          <a:prstGeom prst="triangle">
            <a:avLst/>
          </a:prstGeom>
          <a:solidFill>
            <a:schemeClr val="bg2">
              <a:lumMod val="20000"/>
              <a:lumOff val="80000"/>
              <a:alpha val="3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5" name="Isosceles Triangle 64"/>
          <p:cNvSpPr>
            <a:spLocks noChangeAspect="1"/>
          </p:cNvSpPr>
          <p:nvPr/>
        </p:nvSpPr>
        <p:spPr>
          <a:xfrm rot="10800000">
            <a:off x="4871528" y="4976800"/>
            <a:ext cx="282949" cy="190178"/>
          </a:xfrm>
          <a:prstGeom prst="triangle">
            <a:avLst/>
          </a:prstGeom>
          <a:solidFill>
            <a:schemeClr val="accent3">
              <a:lumMod val="20000"/>
              <a:lumOff val="80000"/>
              <a:alpha val="3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6" name="Isosceles Triangle 65"/>
          <p:cNvSpPr>
            <a:spLocks noChangeAspect="1"/>
          </p:cNvSpPr>
          <p:nvPr/>
        </p:nvSpPr>
        <p:spPr>
          <a:xfrm rot="10800000">
            <a:off x="2688660" y="4976800"/>
            <a:ext cx="282949" cy="190178"/>
          </a:xfrm>
          <a:prstGeom prst="triangle">
            <a:avLst/>
          </a:prstGeom>
          <a:solidFill>
            <a:schemeClr val="bg2">
              <a:lumMod val="20000"/>
              <a:lumOff val="80000"/>
              <a:alpha val="3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pic>
        <p:nvPicPr>
          <p:cNvPr id="59" name="Graphique 58">
            <a:extLst>
              <a:ext uri="{FF2B5EF4-FFF2-40B4-BE49-F238E27FC236}">
                <a16:creationId xmlns:a16="http://schemas.microsoft.com/office/drawing/2014/main" id="{96AF7AC1-7E56-4D8E-A52C-AD92ABDD6E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28888" y="2435077"/>
            <a:ext cx="402492" cy="396000"/>
          </a:xfrm>
          <a:prstGeom prst="rect">
            <a:avLst/>
          </a:prstGeom>
        </p:spPr>
      </p:pic>
      <p:pic>
        <p:nvPicPr>
          <p:cNvPr id="120" name="Graphique 119">
            <a:extLst>
              <a:ext uri="{FF2B5EF4-FFF2-40B4-BE49-F238E27FC236}">
                <a16:creationId xmlns:a16="http://schemas.microsoft.com/office/drawing/2014/main" id="{D667E625-2EEB-4B47-A53A-0569F6A3F7A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14588" y="2459547"/>
            <a:ext cx="491769" cy="347061"/>
          </a:xfrm>
          <a:prstGeom prst="rect">
            <a:avLst/>
          </a:prstGeom>
        </p:spPr>
      </p:pic>
      <p:pic>
        <p:nvPicPr>
          <p:cNvPr id="194" name="Graphique 217">
            <a:extLst>
              <a:ext uri="{FF2B5EF4-FFF2-40B4-BE49-F238E27FC236}">
                <a16:creationId xmlns:a16="http://schemas.microsoft.com/office/drawing/2014/main" id="{CF4D3937-5607-4020-A780-5CA34BBCF1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76137" y="2409067"/>
            <a:ext cx="473726" cy="448021"/>
          </a:xfrm>
          <a:prstGeom prst="rect">
            <a:avLst/>
          </a:prstGeom>
        </p:spPr>
      </p:pic>
      <p:pic>
        <p:nvPicPr>
          <p:cNvPr id="38" name="Graphique 37">
            <a:extLst>
              <a:ext uri="{FF2B5EF4-FFF2-40B4-BE49-F238E27FC236}">
                <a16:creationId xmlns:a16="http://schemas.microsoft.com/office/drawing/2014/main" id="{E77A7810-31D6-41AE-9BFA-B0792006ED8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50529" y="2432702"/>
            <a:ext cx="493783" cy="400751"/>
          </a:xfrm>
          <a:prstGeom prst="rect">
            <a:avLst/>
          </a:prstGeom>
        </p:spPr>
      </p:pic>
    </p:spTree>
    <p:extLst>
      <p:ext uri="{BB962C8B-B14F-4D97-AF65-F5344CB8AC3E}">
        <p14:creationId xmlns:p14="http://schemas.microsoft.com/office/powerpoint/2010/main" val="108448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21036157-8857-4ABA-B28A-25E2E20D0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1" name="Objet 20" hidden="1">
                        <a:extLst>
                          <a:ext uri="{FF2B5EF4-FFF2-40B4-BE49-F238E27FC236}">
                            <a16:creationId xmlns:a16="http://schemas.microsoft.com/office/drawing/2014/main" id="{21036157-8857-4ABA-B28A-25E2E20D0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26D33C45-F5F4-48BC-84BF-E8FF220745FA}"/>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3"/>
          <p:cNvSpPr/>
          <p:nvPr/>
        </p:nvSpPr>
        <p:spPr bwMode="auto">
          <a:xfrm>
            <a:off x="1082896" y="1156474"/>
            <a:ext cx="3003351" cy="31305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rgbClr val="87737B"/>
              </a:buClr>
              <a:buSzPct val="120000"/>
              <a:defRPr/>
            </a:pPr>
            <a:r>
              <a:rPr lang="en-GB" b="1">
                <a:solidFill>
                  <a:schemeClr val="bg1"/>
                </a:solidFill>
                <a:latin typeface="+mn-lt"/>
                <a:cs typeface="Calibri" pitchFamily="34" charset="0"/>
              </a:rPr>
              <a:t>What went well</a:t>
            </a:r>
            <a:endParaRPr lang="en-GB" b="1" dirty="0">
              <a:solidFill>
                <a:schemeClr val="bg1"/>
              </a:solidFill>
              <a:latin typeface="+mn-lt"/>
              <a:cs typeface="Calibri" pitchFamily="34" charset="0"/>
            </a:endParaRPr>
          </a:p>
        </p:txBody>
      </p:sp>
      <p:sp>
        <p:nvSpPr>
          <p:cNvPr id="5" name="Rectangle 4"/>
          <p:cNvSpPr/>
          <p:nvPr/>
        </p:nvSpPr>
        <p:spPr bwMode="auto">
          <a:xfrm>
            <a:off x="1082896" y="1466977"/>
            <a:ext cx="3003351" cy="1567267"/>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X</a:t>
            </a:r>
          </a:p>
          <a:p>
            <a:pPr marL="285750" indent="-285750" algn="l">
              <a:buClr>
                <a:schemeClr val="accent3"/>
              </a:buClr>
              <a:buSzPct val="77000"/>
              <a:buFont typeface="Wingdings 3" panose="05040102010807070707" pitchFamily="18" charset="2"/>
              <a:buChar char=""/>
              <a:defRPr/>
            </a:pPr>
            <a:endParaRPr lang="en-GB" dirty="0">
              <a:latin typeface="+mn-lt"/>
            </a:endParaRPr>
          </a:p>
        </p:txBody>
      </p:sp>
      <p:sp>
        <p:nvSpPr>
          <p:cNvPr id="6" name="Rectangle 5"/>
          <p:cNvSpPr/>
          <p:nvPr/>
        </p:nvSpPr>
        <p:spPr bwMode="auto">
          <a:xfrm>
            <a:off x="1082896" y="3131855"/>
            <a:ext cx="3003351" cy="31305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rgbClr val="87737B"/>
              </a:buClr>
              <a:buSzPct val="120000"/>
              <a:defRPr/>
            </a:pPr>
            <a:r>
              <a:rPr lang="en-GB" b="1">
                <a:solidFill>
                  <a:schemeClr val="bg1"/>
                </a:solidFill>
                <a:latin typeface="+mn-lt"/>
                <a:cs typeface="Calibri" pitchFamily="34" charset="0"/>
              </a:rPr>
              <a:t>What could have gone better</a:t>
            </a:r>
            <a:endParaRPr lang="en-GB" b="1" dirty="0">
              <a:solidFill>
                <a:schemeClr val="bg1"/>
              </a:solidFill>
              <a:latin typeface="+mn-lt"/>
              <a:cs typeface="Calibri" pitchFamily="34" charset="0"/>
            </a:endParaRPr>
          </a:p>
        </p:txBody>
      </p:sp>
      <p:sp>
        <p:nvSpPr>
          <p:cNvPr id="7" name="Rectangle 6"/>
          <p:cNvSpPr/>
          <p:nvPr/>
        </p:nvSpPr>
        <p:spPr bwMode="auto">
          <a:xfrm>
            <a:off x="1082896" y="3442357"/>
            <a:ext cx="3003351" cy="1117844"/>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X</a:t>
            </a:r>
            <a:endParaRPr lang="en-GB" dirty="0">
              <a:latin typeface="+mn-lt"/>
            </a:endParaRPr>
          </a:p>
        </p:txBody>
      </p:sp>
      <p:sp>
        <p:nvSpPr>
          <p:cNvPr id="8" name="Rectangle 7"/>
          <p:cNvSpPr/>
          <p:nvPr/>
        </p:nvSpPr>
        <p:spPr bwMode="auto">
          <a:xfrm>
            <a:off x="4186231" y="1156474"/>
            <a:ext cx="4218447" cy="31305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rgbClr val="87737B"/>
              </a:buClr>
              <a:buSzPct val="120000"/>
              <a:defRPr/>
            </a:pPr>
            <a:r>
              <a:rPr lang="en-GB" b="1">
                <a:solidFill>
                  <a:schemeClr val="bg1"/>
                </a:solidFill>
                <a:latin typeface="+mn-lt"/>
                <a:cs typeface="Calibri" pitchFamily="34" charset="0"/>
              </a:rPr>
              <a:t>Key points over the last [time period]</a:t>
            </a:r>
            <a:endParaRPr lang="en-GB" b="1" dirty="0">
              <a:solidFill>
                <a:schemeClr val="bg1"/>
              </a:solidFill>
              <a:latin typeface="+mn-lt"/>
              <a:cs typeface="Calibri" pitchFamily="34" charset="0"/>
            </a:endParaRPr>
          </a:p>
        </p:txBody>
      </p:sp>
      <p:sp>
        <p:nvSpPr>
          <p:cNvPr id="9" name="Rectangle 8"/>
          <p:cNvSpPr/>
          <p:nvPr/>
        </p:nvSpPr>
        <p:spPr bwMode="auto">
          <a:xfrm>
            <a:off x="4186231" y="1466974"/>
            <a:ext cx="4225961" cy="3093226"/>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X</a:t>
            </a:r>
            <a:endParaRPr lang="en-GB" dirty="0">
              <a:latin typeface="+mn-lt"/>
            </a:endParaRPr>
          </a:p>
        </p:txBody>
      </p:sp>
      <p:sp>
        <p:nvSpPr>
          <p:cNvPr id="10" name="Rectangle 9"/>
          <p:cNvSpPr/>
          <p:nvPr/>
        </p:nvSpPr>
        <p:spPr bwMode="auto">
          <a:xfrm>
            <a:off x="8521482" y="1156474"/>
            <a:ext cx="2587622" cy="31305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rgbClr val="87737B"/>
              </a:buClr>
              <a:buSzPct val="120000"/>
              <a:defRPr/>
            </a:pPr>
            <a:r>
              <a:rPr lang="en-GB" b="1">
                <a:solidFill>
                  <a:schemeClr val="bg1"/>
                </a:solidFill>
                <a:latin typeface="+mn-lt"/>
                <a:cs typeface="Calibri" pitchFamily="34" charset="0"/>
              </a:rPr>
              <a:t>Confidence </a:t>
            </a:r>
            <a:endParaRPr lang="en-GB" b="1" dirty="0">
              <a:solidFill>
                <a:schemeClr val="bg1"/>
              </a:solidFill>
              <a:latin typeface="+mn-lt"/>
              <a:cs typeface="Calibri" pitchFamily="34" charset="0"/>
            </a:endParaRPr>
          </a:p>
        </p:txBody>
      </p:sp>
      <p:sp>
        <p:nvSpPr>
          <p:cNvPr id="11" name="Rectangle 10"/>
          <p:cNvSpPr/>
          <p:nvPr/>
        </p:nvSpPr>
        <p:spPr bwMode="auto">
          <a:xfrm>
            <a:off x="8521479" y="3094690"/>
            <a:ext cx="2587622" cy="31305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rgbClr val="87737B"/>
              </a:buClr>
              <a:buSzPct val="120000"/>
              <a:defRPr/>
            </a:pPr>
            <a:r>
              <a:rPr lang="en-GB" b="1">
                <a:solidFill>
                  <a:schemeClr val="bg1"/>
                </a:solidFill>
                <a:latin typeface="+mn-lt"/>
                <a:cs typeface="Calibri" pitchFamily="34" charset="0"/>
              </a:rPr>
              <a:t>On time?</a:t>
            </a:r>
            <a:endParaRPr lang="en-GB" b="1" dirty="0">
              <a:solidFill>
                <a:schemeClr val="bg1"/>
              </a:solidFill>
              <a:latin typeface="+mn-lt"/>
              <a:cs typeface="Calibri" pitchFamily="34" charset="0"/>
            </a:endParaRPr>
          </a:p>
        </p:txBody>
      </p:sp>
      <p:sp>
        <p:nvSpPr>
          <p:cNvPr id="12" name="Rectangle 11"/>
          <p:cNvSpPr/>
          <p:nvPr/>
        </p:nvSpPr>
        <p:spPr bwMode="auto">
          <a:xfrm>
            <a:off x="8521482" y="1466974"/>
            <a:ext cx="2587622" cy="154784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0000" rIns="91440" bIns="72000" numCol="1" rtlCol="0" anchor="t" anchorCtr="0" compatLnSpc="1">
            <a:prstTxWarp prst="textNoShape">
              <a:avLst/>
            </a:prstTxWarp>
          </a:bodyPr>
          <a:lstStyle/>
          <a:p>
            <a:pPr marL="88900" indent="-88900" algn="l" eaLnBrk="1" hangingPunct="1">
              <a:lnSpc>
                <a:spcPct val="80000"/>
              </a:lnSpc>
              <a:spcBef>
                <a:spcPct val="25000"/>
              </a:spcBef>
              <a:buClr>
                <a:srgbClr val="87737B"/>
              </a:buClr>
              <a:buSzPct val="120000"/>
              <a:buFont typeface="Arial" panose="020B0604020202020204" pitchFamily="34" charset="0"/>
              <a:buChar char="•"/>
              <a:defRPr/>
            </a:pPr>
            <a:endParaRPr lang="en-GB" sz="1100" dirty="0">
              <a:latin typeface="+mn-lt"/>
              <a:cs typeface="Calibri" pitchFamily="34" charset="0"/>
            </a:endParaRPr>
          </a:p>
        </p:txBody>
      </p:sp>
      <p:sp>
        <p:nvSpPr>
          <p:cNvPr id="13" name="Rectangle 12"/>
          <p:cNvSpPr/>
          <p:nvPr/>
        </p:nvSpPr>
        <p:spPr bwMode="auto">
          <a:xfrm>
            <a:off x="8521482" y="3374562"/>
            <a:ext cx="2587622" cy="118563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0000" rIns="91440" bIns="72000" numCol="1" rtlCol="0" anchor="t" anchorCtr="0" compatLnSpc="1">
            <a:prstTxWarp prst="textNoShape">
              <a:avLst/>
            </a:prstTxWarp>
          </a:bodyPr>
          <a:lstStyle/>
          <a:p>
            <a:pPr algn="l" eaLnBrk="1" hangingPunct="1">
              <a:lnSpc>
                <a:spcPct val="80000"/>
              </a:lnSpc>
              <a:spcBef>
                <a:spcPct val="25000"/>
              </a:spcBef>
              <a:buClr>
                <a:srgbClr val="87737B"/>
              </a:buClr>
              <a:buSzPct val="120000"/>
              <a:defRPr/>
            </a:pPr>
            <a:endParaRPr lang="en-GB" sz="1100" dirty="0">
              <a:latin typeface="+mn-lt"/>
              <a:cs typeface="Calibri" pitchFamily="34" charset="0"/>
            </a:endParaRPr>
          </a:p>
        </p:txBody>
      </p:sp>
      <p:sp>
        <p:nvSpPr>
          <p:cNvPr id="14" name="Rectangle 13"/>
          <p:cNvSpPr/>
          <p:nvPr/>
        </p:nvSpPr>
        <p:spPr bwMode="auto">
          <a:xfrm>
            <a:off x="1082896" y="4713976"/>
            <a:ext cx="4954504" cy="2709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chemeClr val="accent3"/>
              </a:buClr>
              <a:buSzPct val="77000"/>
              <a:defRPr/>
            </a:pPr>
            <a:r>
              <a:rPr lang="en-GB" b="1">
                <a:solidFill>
                  <a:schemeClr val="bg1"/>
                </a:solidFill>
                <a:latin typeface="+mn-lt"/>
                <a:cs typeface="Calibri" pitchFamily="34" charset="0"/>
              </a:rPr>
              <a:t>Next steps</a:t>
            </a:r>
            <a:endParaRPr lang="en-GB" b="1" dirty="0">
              <a:solidFill>
                <a:schemeClr val="bg1"/>
              </a:solidFill>
              <a:latin typeface="+mn-lt"/>
              <a:cs typeface="Calibri" pitchFamily="34" charset="0"/>
            </a:endParaRPr>
          </a:p>
        </p:txBody>
      </p:sp>
      <p:sp>
        <p:nvSpPr>
          <p:cNvPr id="15" name="Rectangle 14"/>
          <p:cNvSpPr/>
          <p:nvPr/>
        </p:nvSpPr>
        <p:spPr bwMode="auto">
          <a:xfrm>
            <a:off x="6154597" y="4713978"/>
            <a:ext cx="4954504" cy="2709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chemeClr val="accent3"/>
              </a:buClr>
              <a:buSzPct val="77000"/>
              <a:defRPr/>
            </a:pPr>
            <a:r>
              <a:rPr lang="en-GB" b="1">
                <a:solidFill>
                  <a:schemeClr val="bg1"/>
                </a:solidFill>
                <a:latin typeface="+mn-lt"/>
                <a:cs typeface="Calibri" pitchFamily="34" charset="0"/>
              </a:rPr>
              <a:t>Risks</a:t>
            </a:r>
            <a:endParaRPr lang="en-GB" b="1" dirty="0">
              <a:solidFill>
                <a:schemeClr val="bg1"/>
              </a:solidFill>
              <a:latin typeface="+mn-lt"/>
              <a:cs typeface="Calibri" pitchFamily="34" charset="0"/>
            </a:endParaRPr>
          </a:p>
        </p:txBody>
      </p:sp>
      <p:sp>
        <p:nvSpPr>
          <p:cNvPr id="16" name="Rectangle 15"/>
          <p:cNvSpPr/>
          <p:nvPr/>
        </p:nvSpPr>
        <p:spPr bwMode="auto">
          <a:xfrm>
            <a:off x="1082896" y="5201681"/>
            <a:ext cx="3850262" cy="967653"/>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X</a:t>
            </a:r>
          </a:p>
          <a:p>
            <a:pPr marL="285750" indent="-285750" algn="l">
              <a:buClr>
                <a:schemeClr val="accent3"/>
              </a:buClr>
              <a:buSzPct val="77000"/>
              <a:buFont typeface="Wingdings 3" panose="05040102010807070707" pitchFamily="18" charset="2"/>
              <a:buChar char=""/>
              <a:defRPr/>
            </a:pPr>
            <a:endParaRPr lang="en-GB" dirty="0">
              <a:latin typeface="+mn-lt"/>
            </a:endParaRPr>
          </a:p>
        </p:txBody>
      </p:sp>
      <p:sp>
        <p:nvSpPr>
          <p:cNvPr id="17" name="Rectangle 16"/>
          <p:cNvSpPr/>
          <p:nvPr/>
        </p:nvSpPr>
        <p:spPr bwMode="auto">
          <a:xfrm>
            <a:off x="4933158" y="5201681"/>
            <a:ext cx="1104243" cy="967653"/>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a:t>
            </a:r>
          </a:p>
          <a:p>
            <a:pPr marL="285750" indent="-285750" algn="l">
              <a:buClr>
                <a:schemeClr val="accent3"/>
              </a:buClr>
              <a:buSzPct val="77000"/>
              <a:buFont typeface="Wingdings 3" panose="05040102010807070707" pitchFamily="18" charset="2"/>
              <a:buChar char=""/>
              <a:defRPr/>
            </a:pPr>
            <a:endParaRPr lang="en-GB" dirty="0">
              <a:latin typeface="+mn-lt"/>
            </a:endParaRPr>
          </a:p>
        </p:txBody>
      </p:sp>
      <p:sp>
        <p:nvSpPr>
          <p:cNvPr id="18" name="Rectangle 17"/>
          <p:cNvSpPr/>
          <p:nvPr/>
        </p:nvSpPr>
        <p:spPr bwMode="auto">
          <a:xfrm>
            <a:off x="1082896" y="4984971"/>
            <a:ext cx="3850262" cy="21670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chemeClr val="accent3"/>
              </a:buClr>
              <a:buSzPct val="77000"/>
              <a:defRPr/>
            </a:pPr>
            <a:r>
              <a:rPr lang="en-GB" sz="1100" b="1">
                <a:solidFill>
                  <a:schemeClr val="accent2"/>
                </a:solidFill>
                <a:latin typeface="+mn-lt"/>
                <a:cs typeface="Calibri" pitchFamily="34" charset="0"/>
              </a:rPr>
              <a:t>What</a:t>
            </a:r>
            <a:endParaRPr lang="en-GB" sz="1100" b="1" dirty="0">
              <a:solidFill>
                <a:schemeClr val="accent2"/>
              </a:solidFill>
              <a:latin typeface="+mn-lt"/>
              <a:cs typeface="Calibri" pitchFamily="34" charset="0"/>
            </a:endParaRPr>
          </a:p>
        </p:txBody>
      </p:sp>
      <p:sp>
        <p:nvSpPr>
          <p:cNvPr id="19" name="Rectangle 18"/>
          <p:cNvSpPr/>
          <p:nvPr/>
        </p:nvSpPr>
        <p:spPr bwMode="auto">
          <a:xfrm>
            <a:off x="4933159" y="4984971"/>
            <a:ext cx="1104243" cy="21670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0000" rIns="91440" bIns="72000" numCol="1" rtlCol="0" anchor="ctr" anchorCtr="0" compatLnSpc="1">
            <a:prstTxWarp prst="textNoShape">
              <a:avLst/>
            </a:prstTxWarp>
          </a:bodyPr>
          <a:lstStyle/>
          <a:p>
            <a:pPr algn="l" eaLnBrk="1" hangingPunct="1">
              <a:lnSpc>
                <a:spcPct val="80000"/>
              </a:lnSpc>
              <a:spcBef>
                <a:spcPct val="25000"/>
              </a:spcBef>
              <a:buClr>
                <a:schemeClr val="accent3"/>
              </a:buClr>
              <a:buSzPct val="77000"/>
              <a:defRPr/>
            </a:pPr>
            <a:r>
              <a:rPr lang="en-GB" sz="1100" b="1">
                <a:solidFill>
                  <a:schemeClr val="accent2"/>
                </a:solidFill>
                <a:latin typeface="+mn-lt"/>
                <a:cs typeface="Calibri" pitchFamily="34" charset="0"/>
              </a:rPr>
              <a:t>Who</a:t>
            </a:r>
            <a:endParaRPr lang="en-GB" sz="1100" b="1" dirty="0">
              <a:solidFill>
                <a:schemeClr val="accent2"/>
              </a:solidFill>
              <a:latin typeface="+mn-lt"/>
              <a:cs typeface="Calibri" pitchFamily="34" charset="0"/>
            </a:endParaRPr>
          </a:p>
        </p:txBody>
      </p:sp>
      <p:sp>
        <p:nvSpPr>
          <p:cNvPr id="22" name="Rectangle 21"/>
          <p:cNvSpPr/>
          <p:nvPr/>
        </p:nvSpPr>
        <p:spPr bwMode="auto">
          <a:xfrm>
            <a:off x="6154600" y="4984971"/>
            <a:ext cx="2596241" cy="1184363"/>
          </a:xfrm>
          <a:prstGeom prst="rect">
            <a:avLst/>
          </a:prstGeom>
          <a:solidFill>
            <a:schemeClr val="bg2"/>
          </a:solidFill>
          <a:ln>
            <a:noFill/>
          </a:ln>
        </p:spPr>
        <p:txBody>
          <a:bodyPr wrap="square" lIns="54000" rIns="54000" rtlCol="0" anchor="t">
            <a:noAutofit/>
          </a:bodyPr>
          <a:lstStyle/>
          <a:p>
            <a:pPr marL="180000" lvl="1" indent="-180000" algn="l" defTabSz="1125444" eaLnBrk="1" fontAlgn="auto" hangingPunct="1">
              <a:spcBef>
                <a:spcPts val="840"/>
              </a:spcBef>
              <a:spcAft>
                <a:spcPts val="0"/>
              </a:spcAft>
              <a:buClr>
                <a:schemeClr val="accent3"/>
              </a:buClr>
              <a:buSzPct val="77000"/>
              <a:buFont typeface="Wingdings 3" panose="05040102010807070707" pitchFamily="18" charset="2"/>
              <a:buChar char=""/>
              <a:defRPr/>
            </a:pPr>
            <a:r>
              <a:rPr lang="en-GB">
                <a:latin typeface="+mn-lt"/>
              </a:rPr>
              <a:t>XXX</a:t>
            </a:r>
          </a:p>
          <a:p>
            <a:pPr marL="285750" indent="-285750" algn="l">
              <a:buClr>
                <a:schemeClr val="accent3"/>
              </a:buClr>
              <a:buSzPct val="77000"/>
              <a:buFont typeface="Wingdings 3" panose="05040102010807070707" pitchFamily="18" charset="2"/>
              <a:buChar char=""/>
              <a:defRPr/>
            </a:pPr>
            <a:endParaRPr lang="en-GB" dirty="0">
              <a:latin typeface="+mn-lt"/>
            </a:endParaRPr>
          </a:p>
        </p:txBody>
      </p:sp>
      <p:sp>
        <p:nvSpPr>
          <p:cNvPr id="23" name="Rectangle 22"/>
          <p:cNvSpPr/>
          <p:nvPr/>
        </p:nvSpPr>
        <p:spPr bwMode="auto">
          <a:xfrm>
            <a:off x="8750843" y="4984971"/>
            <a:ext cx="2358261" cy="1184363"/>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0000" rIns="91440" bIns="72000" numCol="1" rtlCol="0" anchor="t" anchorCtr="0" compatLnSpc="1">
            <a:prstTxWarp prst="textNoShape">
              <a:avLst/>
            </a:prstTxWarp>
          </a:bodyPr>
          <a:lstStyle/>
          <a:p>
            <a:pPr marL="180000" lvl="1" indent="-180000" algn="l" defTabSz="1125444" eaLnBrk="1" fontAlgn="auto" hangingPunct="1">
              <a:lnSpc>
                <a:spcPct val="80000"/>
              </a:lnSpc>
              <a:spcBef>
                <a:spcPts val="840"/>
              </a:spcBef>
              <a:spcAft>
                <a:spcPts val="0"/>
              </a:spcAft>
              <a:buClr>
                <a:schemeClr val="accent3"/>
              </a:buClr>
              <a:buSzPct val="77000"/>
              <a:buFont typeface="Wingdings 3" panose="05040102010807070707" pitchFamily="18" charset="2"/>
              <a:buChar char=""/>
              <a:defRPr/>
            </a:pPr>
            <a:r>
              <a:rPr lang="en-GB">
                <a:latin typeface="+mn-lt"/>
              </a:rPr>
              <a:t>XX</a:t>
            </a:r>
          </a:p>
          <a:p>
            <a:pPr marL="285750" indent="-285750" algn="l" eaLnBrk="1" hangingPunct="1">
              <a:lnSpc>
                <a:spcPct val="80000"/>
              </a:lnSpc>
              <a:spcBef>
                <a:spcPct val="25000"/>
              </a:spcBef>
              <a:buClr>
                <a:schemeClr val="accent3"/>
              </a:buClr>
              <a:buSzPct val="77000"/>
              <a:buFont typeface="Wingdings 3" panose="05040102010807070707" pitchFamily="18" charset="2"/>
              <a:buChar char=""/>
              <a:defRPr/>
            </a:pPr>
            <a:endParaRPr lang="en-GB" dirty="0">
              <a:solidFill>
                <a:srgbClr val="000000"/>
              </a:solidFill>
              <a:latin typeface="+mn-lt"/>
              <a:cs typeface="Calibri" pitchFamily="34" charset="0"/>
            </a:endParaRPr>
          </a:p>
        </p:txBody>
      </p:sp>
      <p:sp>
        <p:nvSpPr>
          <p:cNvPr id="24" name="Rectangle 23"/>
          <p:cNvSpPr/>
          <p:nvPr/>
        </p:nvSpPr>
        <p:spPr bwMode="auto">
          <a:xfrm>
            <a:off x="8769029" y="3892484"/>
            <a:ext cx="1918954" cy="257175"/>
          </a:xfrm>
          <a:prstGeom prst="rect">
            <a:avLst/>
          </a:prstGeom>
          <a:gradFill flip="none" rotWithShape="1">
            <a:gsLst>
              <a:gs pos="0">
                <a:srgbClr val="FF0000"/>
              </a:gs>
              <a:gs pos="55000">
                <a:schemeClr val="bg1"/>
              </a:gs>
              <a:gs pos="45000">
                <a:schemeClr val="bg1"/>
              </a:gs>
              <a:gs pos="100000">
                <a:srgbClr val="00B050"/>
              </a:gs>
            </a:gsLst>
            <a:lin ang="0" scaled="0"/>
            <a:tileRect/>
          </a:gradFill>
          <a:ln w="9525" cap="flat" cmpd="sng" algn="ctr">
            <a:solidFill>
              <a:srgbClr val="7F7F7F"/>
            </a:solidFill>
            <a:prstDash val="solid"/>
            <a:round/>
            <a:headEnd type="none" w="med" len="med"/>
            <a:tailEnd type="none" w="med" len="med"/>
          </a:ln>
          <a:effectLst/>
        </p:spPr>
        <p:txBody>
          <a:bodyPr vert="horz" wrap="square" lIns="91440" tIns="90000" rIns="91440" bIns="72000" numCol="1" rtlCol="0" anchor="t" anchorCtr="0" compatLnSpc="1">
            <a:prstTxWarp prst="textNoShape">
              <a:avLst/>
            </a:prstTxWarp>
          </a:bodyPr>
          <a:lstStyle/>
          <a:p>
            <a:pPr algn="l" eaLnBrk="1" hangingPunct="1">
              <a:lnSpc>
                <a:spcPct val="80000"/>
              </a:lnSpc>
              <a:spcBef>
                <a:spcPct val="25000"/>
              </a:spcBef>
              <a:buClr>
                <a:srgbClr val="87737B"/>
              </a:buClr>
              <a:buSzPct val="120000"/>
              <a:defRPr/>
            </a:pPr>
            <a:endParaRPr lang="en-GB" dirty="0">
              <a:solidFill>
                <a:srgbClr val="D9D9D9"/>
              </a:solidFill>
              <a:latin typeface="+mn-lt"/>
              <a:cs typeface="Calibri" pitchFamily="34" charset="0"/>
            </a:endParaRPr>
          </a:p>
        </p:txBody>
      </p:sp>
      <p:sp>
        <p:nvSpPr>
          <p:cNvPr id="25" name="Rectangle 443"/>
          <p:cNvSpPr>
            <a:spLocks noChangeArrowheads="1"/>
          </p:cNvSpPr>
          <p:nvPr/>
        </p:nvSpPr>
        <p:spPr bwMode="auto">
          <a:xfrm>
            <a:off x="8765259" y="4154563"/>
            <a:ext cx="455613" cy="276999"/>
          </a:xfrm>
          <a:prstGeom prst="rect">
            <a:avLst/>
          </a:prstGeom>
          <a:noFill/>
          <a:ln w="9525">
            <a:noFill/>
            <a:miter lim="800000"/>
            <a:headEnd/>
            <a:tailEnd/>
          </a:ln>
        </p:spPr>
        <p:txBody>
          <a:bodyPr wrap="square" lIns="0" tIns="0" rIns="0" bIns="0" anchor="ctr">
            <a:noAutofit/>
          </a:bodyPr>
          <a:lstStyle/>
          <a:p>
            <a:pPr defTabSz="1103313">
              <a:lnSpc>
                <a:spcPct val="90000"/>
              </a:lnSpc>
              <a:buClr>
                <a:srgbClr val="B40646"/>
              </a:buClr>
              <a:defRPr/>
            </a:pPr>
            <a:r>
              <a:rPr lang="en-GB" sz="1000" i="1">
                <a:solidFill>
                  <a:schemeClr val="accent2"/>
                </a:solidFill>
                <a:latin typeface="+mn-lt"/>
              </a:rPr>
              <a:t>Late</a:t>
            </a:r>
            <a:endParaRPr lang="en-GB" sz="1000" i="1" dirty="0">
              <a:solidFill>
                <a:schemeClr val="accent2"/>
              </a:solidFill>
              <a:latin typeface="+mn-lt"/>
            </a:endParaRPr>
          </a:p>
        </p:txBody>
      </p:sp>
      <p:sp>
        <p:nvSpPr>
          <p:cNvPr id="26" name="Rectangle 444"/>
          <p:cNvSpPr>
            <a:spLocks noChangeArrowheads="1"/>
          </p:cNvSpPr>
          <p:nvPr/>
        </p:nvSpPr>
        <p:spPr bwMode="auto">
          <a:xfrm>
            <a:off x="9849900" y="4154563"/>
            <a:ext cx="809625" cy="276999"/>
          </a:xfrm>
          <a:prstGeom prst="rect">
            <a:avLst/>
          </a:prstGeom>
          <a:noFill/>
          <a:ln w="9525">
            <a:noFill/>
            <a:miter lim="800000"/>
            <a:headEnd/>
            <a:tailEnd/>
          </a:ln>
        </p:spPr>
        <p:txBody>
          <a:bodyPr wrap="square" lIns="0" tIns="0" rIns="0" bIns="0" anchor="ctr">
            <a:noAutofit/>
          </a:bodyPr>
          <a:lstStyle/>
          <a:p>
            <a:pPr algn="r" defTabSz="1103313">
              <a:lnSpc>
                <a:spcPct val="90000"/>
              </a:lnSpc>
              <a:buClr>
                <a:srgbClr val="B40646"/>
              </a:buClr>
              <a:defRPr/>
            </a:pPr>
            <a:r>
              <a:rPr lang="en-GB" sz="1000" i="1">
                <a:solidFill>
                  <a:schemeClr val="accent2"/>
                </a:solidFill>
                <a:latin typeface="+mn-lt"/>
              </a:rPr>
              <a:t>Ahead</a:t>
            </a:r>
            <a:endParaRPr lang="en-GB" sz="1000" i="1" dirty="0">
              <a:solidFill>
                <a:schemeClr val="accent2"/>
              </a:solidFill>
              <a:latin typeface="+mn-lt"/>
            </a:endParaRPr>
          </a:p>
        </p:txBody>
      </p:sp>
      <p:grpSp>
        <p:nvGrpSpPr>
          <p:cNvPr id="27" name="Groupe 26"/>
          <p:cNvGrpSpPr/>
          <p:nvPr/>
        </p:nvGrpSpPr>
        <p:grpSpPr>
          <a:xfrm>
            <a:off x="8769019" y="3892484"/>
            <a:ext cx="1918967" cy="257175"/>
            <a:chOff x="11013648" y="3902099"/>
            <a:chExt cx="2028840" cy="282575"/>
          </a:xfrm>
        </p:grpSpPr>
        <p:sp>
          <p:nvSpPr>
            <p:cNvPr id="28" name="Rectangle 449"/>
            <p:cNvSpPr>
              <a:spLocks noChangeArrowheads="1"/>
            </p:cNvSpPr>
            <p:nvPr/>
          </p:nvSpPr>
          <p:spPr bwMode="auto">
            <a:xfrm>
              <a:off x="11464510"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000000"/>
                  </a:solidFill>
                  <a:latin typeface="+mn-lt"/>
                </a:rPr>
                <a:t>2w</a:t>
              </a:r>
              <a:endParaRPr lang="en-GB" sz="1000" b="1" dirty="0">
                <a:solidFill>
                  <a:srgbClr val="000000"/>
                </a:solidFill>
                <a:latin typeface="+mn-lt"/>
              </a:endParaRPr>
            </a:p>
          </p:txBody>
        </p:sp>
        <p:sp>
          <p:nvSpPr>
            <p:cNvPr id="29" name="Rectangle 450"/>
            <p:cNvSpPr>
              <a:spLocks noChangeArrowheads="1"/>
            </p:cNvSpPr>
            <p:nvPr/>
          </p:nvSpPr>
          <p:spPr bwMode="auto">
            <a:xfrm>
              <a:off x="11689936"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000000"/>
                  </a:solidFill>
                  <a:latin typeface="+mn-lt"/>
                </a:rPr>
                <a:t>1w</a:t>
              </a:r>
              <a:endParaRPr lang="en-GB" sz="1000" b="1" dirty="0">
                <a:solidFill>
                  <a:srgbClr val="000000"/>
                </a:solidFill>
                <a:latin typeface="+mn-lt"/>
              </a:endParaRPr>
            </a:p>
          </p:txBody>
        </p:sp>
        <p:sp>
          <p:nvSpPr>
            <p:cNvPr id="30" name="Rectangle 451"/>
            <p:cNvSpPr>
              <a:spLocks noChangeArrowheads="1"/>
            </p:cNvSpPr>
            <p:nvPr/>
          </p:nvSpPr>
          <p:spPr bwMode="auto">
            <a:xfrm>
              <a:off x="11915360"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000000"/>
                  </a:solidFill>
                  <a:latin typeface="+mn-lt"/>
                </a:rPr>
                <a:t>OK</a:t>
              </a:r>
              <a:endParaRPr lang="en-GB" sz="1000" b="1" dirty="0">
                <a:solidFill>
                  <a:srgbClr val="000000"/>
                </a:solidFill>
                <a:latin typeface="+mn-lt"/>
              </a:endParaRPr>
            </a:p>
          </p:txBody>
        </p:sp>
        <p:sp>
          <p:nvSpPr>
            <p:cNvPr id="31" name="Rectangle 452"/>
            <p:cNvSpPr>
              <a:spLocks noChangeArrowheads="1"/>
            </p:cNvSpPr>
            <p:nvPr/>
          </p:nvSpPr>
          <p:spPr bwMode="auto">
            <a:xfrm>
              <a:off x="12591636"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FFFFFF"/>
                  </a:solidFill>
                  <a:latin typeface="+mn-lt"/>
                </a:rPr>
                <a:t>3w</a:t>
              </a:r>
              <a:endParaRPr lang="en-GB" sz="1000" b="1" dirty="0">
                <a:solidFill>
                  <a:srgbClr val="FFFFFF"/>
                </a:solidFill>
                <a:latin typeface="+mn-lt"/>
              </a:endParaRPr>
            </a:p>
          </p:txBody>
        </p:sp>
        <p:sp>
          <p:nvSpPr>
            <p:cNvPr id="32" name="Rectangle 453"/>
            <p:cNvSpPr>
              <a:spLocks noChangeArrowheads="1"/>
            </p:cNvSpPr>
            <p:nvPr/>
          </p:nvSpPr>
          <p:spPr bwMode="auto">
            <a:xfrm>
              <a:off x="12817062"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FFFFFF"/>
                  </a:solidFill>
                  <a:latin typeface="+mn-lt"/>
                </a:rPr>
                <a:t>4w</a:t>
              </a:r>
              <a:endParaRPr lang="en-GB" sz="1000" b="1" dirty="0">
                <a:solidFill>
                  <a:srgbClr val="FFFFFF"/>
                </a:solidFill>
                <a:latin typeface="+mn-lt"/>
              </a:endParaRPr>
            </a:p>
          </p:txBody>
        </p:sp>
        <p:sp>
          <p:nvSpPr>
            <p:cNvPr id="33" name="Rectangle 454"/>
            <p:cNvSpPr>
              <a:spLocks noChangeArrowheads="1"/>
            </p:cNvSpPr>
            <p:nvPr/>
          </p:nvSpPr>
          <p:spPr bwMode="auto">
            <a:xfrm>
              <a:off x="12140787"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000000"/>
                  </a:solidFill>
                  <a:latin typeface="+mn-lt"/>
                </a:rPr>
                <a:t>1w</a:t>
              </a:r>
              <a:endParaRPr lang="en-GB" sz="1000" b="1" dirty="0">
                <a:solidFill>
                  <a:srgbClr val="000000"/>
                </a:solidFill>
                <a:latin typeface="+mn-lt"/>
              </a:endParaRPr>
            </a:p>
          </p:txBody>
        </p:sp>
        <p:sp>
          <p:nvSpPr>
            <p:cNvPr id="34" name="Rectangle 455"/>
            <p:cNvSpPr>
              <a:spLocks noChangeArrowheads="1"/>
            </p:cNvSpPr>
            <p:nvPr/>
          </p:nvSpPr>
          <p:spPr bwMode="auto">
            <a:xfrm>
              <a:off x="12366208"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000000"/>
                  </a:solidFill>
                  <a:latin typeface="+mn-lt"/>
                </a:rPr>
                <a:t>2w</a:t>
              </a:r>
              <a:endParaRPr lang="en-GB" sz="1000" b="1" dirty="0">
                <a:solidFill>
                  <a:srgbClr val="000000"/>
                </a:solidFill>
                <a:latin typeface="+mn-lt"/>
              </a:endParaRPr>
            </a:p>
          </p:txBody>
        </p:sp>
        <p:sp>
          <p:nvSpPr>
            <p:cNvPr id="35" name="Rectangle 452"/>
            <p:cNvSpPr>
              <a:spLocks noChangeArrowheads="1"/>
            </p:cNvSpPr>
            <p:nvPr/>
          </p:nvSpPr>
          <p:spPr bwMode="auto">
            <a:xfrm>
              <a:off x="11239094"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FFFFFF"/>
                  </a:solidFill>
                  <a:latin typeface="+mn-lt"/>
                </a:rPr>
                <a:t>3w</a:t>
              </a:r>
              <a:endParaRPr lang="en-GB" sz="1000" b="1" dirty="0">
                <a:solidFill>
                  <a:srgbClr val="FFFFFF"/>
                </a:solidFill>
                <a:latin typeface="+mn-lt"/>
              </a:endParaRPr>
            </a:p>
          </p:txBody>
        </p:sp>
        <p:sp>
          <p:nvSpPr>
            <p:cNvPr id="36" name="Rectangle 452"/>
            <p:cNvSpPr>
              <a:spLocks noChangeArrowheads="1"/>
            </p:cNvSpPr>
            <p:nvPr/>
          </p:nvSpPr>
          <p:spPr bwMode="auto">
            <a:xfrm>
              <a:off x="11013648" y="3902099"/>
              <a:ext cx="225426" cy="282575"/>
            </a:xfrm>
            <a:prstGeom prst="rect">
              <a:avLst/>
            </a:prstGeom>
            <a:noFill/>
            <a:ln w="9525">
              <a:solidFill>
                <a:srgbClr val="7F7F7F"/>
              </a:solidFill>
              <a:miter lim="800000"/>
              <a:headEnd/>
              <a:tailEnd/>
            </a:ln>
          </p:spPr>
          <p:txBody>
            <a:bodyPr lIns="0" tIns="0" rIns="0" bIns="0" anchor="ctr"/>
            <a:lstStyle/>
            <a:p>
              <a:pPr defTabSz="1103313">
                <a:lnSpc>
                  <a:spcPct val="90000"/>
                </a:lnSpc>
                <a:buClr>
                  <a:srgbClr val="B40646"/>
                </a:buClr>
                <a:tabLst>
                  <a:tab pos="7802563" algn="r"/>
                </a:tabLst>
                <a:defRPr/>
              </a:pPr>
              <a:r>
                <a:rPr lang="en-GB" sz="1000" b="1">
                  <a:solidFill>
                    <a:srgbClr val="FFFFFF"/>
                  </a:solidFill>
                  <a:latin typeface="+mn-lt"/>
                </a:rPr>
                <a:t>4w</a:t>
              </a:r>
              <a:endParaRPr lang="en-GB" sz="1000" b="1" dirty="0">
                <a:solidFill>
                  <a:srgbClr val="FFFFFF"/>
                </a:solidFill>
                <a:latin typeface="+mn-lt"/>
              </a:endParaRPr>
            </a:p>
          </p:txBody>
        </p:sp>
      </p:grpSp>
      <p:sp>
        <p:nvSpPr>
          <p:cNvPr id="41" name="AutoShape 442"/>
          <p:cNvSpPr>
            <a:spLocks noChangeArrowheads="1"/>
          </p:cNvSpPr>
          <p:nvPr/>
        </p:nvSpPr>
        <p:spPr bwMode="auto">
          <a:xfrm>
            <a:off x="9849900" y="1670330"/>
            <a:ext cx="217761" cy="276225"/>
          </a:xfrm>
          <a:prstGeom prst="downArrow">
            <a:avLst>
              <a:gd name="adj1" fmla="val 50000"/>
              <a:gd name="adj2" fmla="val 79289"/>
            </a:avLst>
          </a:prstGeom>
          <a:solidFill>
            <a:schemeClr val="accent4"/>
          </a:solidFill>
          <a:ln w="3175">
            <a:noFill/>
            <a:miter lim="800000"/>
            <a:headEnd/>
            <a:tailEnd/>
          </a:ln>
        </p:spPr>
        <p:txBody>
          <a:bodyPr wrap="none" anchor="ctr"/>
          <a:lstStyle/>
          <a:p>
            <a:pPr>
              <a:buClr>
                <a:srgbClr val="B40646"/>
              </a:buClr>
              <a:defRPr/>
            </a:pPr>
            <a:endParaRPr lang="en-GB" dirty="0">
              <a:solidFill>
                <a:srgbClr val="000000"/>
              </a:solidFill>
              <a:latin typeface="+mn-lt"/>
            </a:endParaRPr>
          </a:p>
        </p:txBody>
      </p:sp>
      <p:pic>
        <p:nvPicPr>
          <p:cNvPr id="3" name="Image 2">
            <a:extLst>
              <a:ext uri="{FF2B5EF4-FFF2-40B4-BE49-F238E27FC236}">
                <a16:creationId xmlns:a16="http://schemas.microsoft.com/office/drawing/2014/main" id="{2727B580-B379-4E67-B6AE-008C40161C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50843" y="2046686"/>
            <a:ext cx="381600" cy="381600"/>
          </a:xfrm>
          <a:prstGeom prst="rect">
            <a:avLst/>
          </a:prstGeom>
        </p:spPr>
      </p:pic>
      <p:pic>
        <p:nvPicPr>
          <p:cNvPr id="44" name="Image 43">
            <a:extLst>
              <a:ext uri="{FF2B5EF4-FFF2-40B4-BE49-F238E27FC236}">
                <a16:creationId xmlns:a16="http://schemas.microsoft.com/office/drawing/2014/main" id="{01D98EE1-910F-4F0B-B85B-3768530D9A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66117" y="2046686"/>
            <a:ext cx="381600" cy="381600"/>
          </a:xfrm>
          <a:prstGeom prst="rect">
            <a:avLst/>
          </a:prstGeom>
        </p:spPr>
      </p:pic>
      <p:pic>
        <p:nvPicPr>
          <p:cNvPr id="47" name="Image 46" descr="Une image contenant clipart&#10;&#10;Description générée automatiquement">
            <a:extLst>
              <a:ext uri="{FF2B5EF4-FFF2-40B4-BE49-F238E27FC236}">
                <a16:creationId xmlns:a16="http://schemas.microsoft.com/office/drawing/2014/main" id="{58362EBC-7982-4DC4-B44E-7DCF7047D1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1391" y="2046276"/>
            <a:ext cx="382010" cy="382010"/>
          </a:xfrm>
          <a:prstGeom prst="rect">
            <a:avLst/>
          </a:prstGeom>
        </p:spPr>
      </p:pic>
      <p:sp>
        <p:nvSpPr>
          <p:cNvPr id="48" name="AutoShape 442">
            <a:extLst>
              <a:ext uri="{FF2B5EF4-FFF2-40B4-BE49-F238E27FC236}">
                <a16:creationId xmlns:a16="http://schemas.microsoft.com/office/drawing/2014/main" id="{1EF7C761-70EF-45F8-A823-6E77055B68C2}"/>
              </a:ext>
            </a:extLst>
          </p:cNvPr>
          <p:cNvSpPr>
            <a:spLocks noChangeArrowheads="1"/>
          </p:cNvSpPr>
          <p:nvPr/>
        </p:nvSpPr>
        <p:spPr bwMode="auto">
          <a:xfrm>
            <a:off x="9595747" y="3536383"/>
            <a:ext cx="217761" cy="276225"/>
          </a:xfrm>
          <a:prstGeom prst="downArrow">
            <a:avLst>
              <a:gd name="adj1" fmla="val 50000"/>
              <a:gd name="adj2" fmla="val 79289"/>
            </a:avLst>
          </a:prstGeom>
          <a:solidFill>
            <a:schemeClr val="accent4"/>
          </a:solidFill>
          <a:ln w="3175">
            <a:noFill/>
            <a:miter lim="800000"/>
            <a:headEnd/>
            <a:tailEnd/>
          </a:ln>
        </p:spPr>
        <p:txBody>
          <a:bodyPr wrap="none" anchor="ctr"/>
          <a:lstStyle/>
          <a:p>
            <a:pPr>
              <a:buClr>
                <a:srgbClr val="B40646"/>
              </a:buClr>
            </a:pPr>
            <a:endParaRPr lang="en-GB" dirty="0">
              <a:solidFill>
                <a:srgbClr val="000000"/>
              </a:solidFill>
              <a:latin typeface="+mn-lt"/>
            </a:endParaRPr>
          </a:p>
        </p:txBody>
      </p:sp>
      <p:sp>
        <p:nvSpPr>
          <p:cNvPr id="2" name="Title 1">
            <a:extLst>
              <a:ext uri="{FF2B5EF4-FFF2-40B4-BE49-F238E27FC236}">
                <a16:creationId xmlns:a16="http://schemas.microsoft.com/office/drawing/2014/main" id="{C453A117-E3E0-42E7-8B5C-6990103CCDE8}"/>
              </a:ext>
            </a:extLst>
          </p:cNvPr>
          <p:cNvSpPr>
            <a:spLocks noGrp="1"/>
          </p:cNvSpPr>
          <p:nvPr>
            <p:ph type="title"/>
          </p:nvPr>
        </p:nvSpPr>
        <p:spPr>
          <a:xfrm>
            <a:off x="484597" y="220666"/>
            <a:ext cx="11340000" cy="468000"/>
          </a:xfrm>
        </p:spPr>
        <p:txBody>
          <a:bodyPr/>
          <a:lstStyle/>
          <a:p>
            <a:r>
              <a:rPr lang="en-GB"/>
              <a:t>Project charter </a:t>
            </a:r>
            <a:endParaRPr lang="en-GB" dirty="0"/>
          </a:p>
        </p:txBody>
      </p:sp>
    </p:spTree>
    <p:extLst>
      <p:ext uri="{BB962C8B-B14F-4D97-AF65-F5344CB8AC3E}">
        <p14:creationId xmlns:p14="http://schemas.microsoft.com/office/powerpoint/2010/main" val="139619683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3E44A96D-815A-4743-99AA-D08442BDE4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13" name="Objet 12" hidden="1">
                        <a:extLst>
                          <a:ext uri="{FF2B5EF4-FFF2-40B4-BE49-F238E27FC236}">
                            <a16:creationId xmlns:a16="http://schemas.microsoft.com/office/drawing/2014/main" id="{3E44A96D-815A-4743-99AA-D08442BDE4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EA216E0-3D46-4EBC-A63E-9F42408AC2FA}"/>
              </a:ext>
            </a:extLst>
          </p:cNvPr>
          <p:cNvSpPr/>
          <p:nvPr>
            <p:custDataLst>
              <p:tags r:id="rId2"/>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80AE296E-C125-4461-8BFB-4BB13A91788C}"/>
              </a:ext>
            </a:extLst>
          </p:cNvPr>
          <p:cNvSpPr>
            <a:spLocks noGrp="1"/>
          </p:cNvSpPr>
          <p:nvPr>
            <p:ph type="title"/>
          </p:nvPr>
        </p:nvSpPr>
        <p:spPr/>
        <p:txBody>
          <a:bodyPr/>
          <a:lstStyle/>
          <a:p>
            <a:r>
              <a:rPr lang="en-GB" dirty="0"/>
              <a:t>[Workstream] weekly status update: Week X Day Month</a:t>
            </a:r>
          </a:p>
        </p:txBody>
      </p:sp>
      <p:graphicFrame>
        <p:nvGraphicFramePr>
          <p:cNvPr id="8" name="Table 2">
            <a:extLst>
              <a:ext uri="{FF2B5EF4-FFF2-40B4-BE49-F238E27FC236}">
                <a16:creationId xmlns:a16="http://schemas.microsoft.com/office/drawing/2014/main" id="{1AAB69C5-8CEA-4BD1-8767-4CA613C10076}"/>
              </a:ext>
            </a:extLst>
          </p:cNvPr>
          <p:cNvGraphicFramePr>
            <a:graphicFrameLocks noGrp="1"/>
          </p:cNvGraphicFramePr>
          <p:nvPr>
            <p:extLst>
              <p:ext uri="{D42A27DB-BD31-4B8C-83A1-F6EECF244321}">
                <p14:modId xmlns:p14="http://schemas.microsoft.com/office/powerpoint/2010/main" val="3812386404"/>
              </p:ext>
            </p:extLst>
          </p:nvPr>
        </p:nvGraphicFramePr>
        <p:xfrm>
          <a:off x="431208" y="4900178"/>
          <a:ext cx="11346568" cy="1650320"/>
        </p:xfrm>
        <a:graphic>
          <a:graphicData uri="http://schemas.openxmlformats.org/drawingml/2006/table">
            <a:tbl>
              <a:tblPr firstRow="1" bandRow="1"/>
              <a:tblGrid>
                <a:gridCol w="438713">
                  <a:extLst>
                    <a:ext uri="{9D8B030D-6E8A-4147-A177-3AD203B41FA5}">
                      <a16:colId xmlns:a16="http://schemas.microsoft.com/office/drawing/2014/main" val="1862897376"/>
                    </a:ext>
                  </a:extLst>
                </a:gridCol>
                <a:gridCol w="4301100">
                  <a:extLst>
                    <a:ext uri="{9D8B030D-6E8A-4147-A177-3AD203B41FA5}">
                      <a16:colId xmlns:a16="http://schemas.microsoft.com/office/drawing/2014/main" val="3868262212"/>
                    </a:ext>
                  </a:extLst>
                </a:gridCol>
                <a:gridCol w="1944000">
                  <a:extLst>
                    <a:ext uri="{9D8B030D-6E8A-4147-A177-3AD203B41FA5}">
                      <a16:colId xmlns:a16="http://schemas.microsoft.com/office/drawing/2014/main" val="3537579127"/>
                    </a:ext>
                  </a:extLst>
                </a:gridCol>
                <a:gridCol w="1937433">
                  <a:extLst>
                    <a:ext uri="{9D8B030D-6E8A-4147-A177-3AD203B41FA5}">
                      <a16:colId xmlns:a16="http://schemas.microsoft.com/office/drawing/2014/main" val="1580278957"/>
                    </a:ext>
                  </a:extLst>
                </a:gridCol>
                <a:gridCol w="2725322">
                  <a:extLst>
                    <a:ext uri="{9D8B030D-6E8A-4147-A177-3AD203B41FA5}">
                      <a16:colId xmlns:a16="http://schemas.microsoft.com/office/drawing/2014/main" val="772189107"/>
                    </a:ext>
                  </a:extLst>
                </a:gridCol>
              </a:tblGrid>
              <a:tr h="360000">
                <a:tc gridSpan="2">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chemeClr val="bg1"/>
                          </a:solidFill>
                          <a:latin typeface="+mn-lt"/>
                        </a:rPr>
                        <a:t>Risk</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sz="1400" dirty="0"/>
                    </a:p>
                  </a:txBody>
                  <a:tcPr>
                    <a:solidFill>
                      <a:srgbClr val="A9131D"/>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chemeClr val="bg1"/>
                          </a:solidFill>
                          <a:latin typeface="+mn-lt"/>
                        </a:rPr>
                        <a:t>Impact</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chemeClr val="bg1"/>
                          </a:solidFill>
                          <a:latin typeface="+mn-lt"/>
                        </a:rPr>
                        <a:t>Likelihood</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chemeClr val="bg1"/>
                          </a:solidFill>
                          <a:latin typeface="+mn-lt"/>
                        </a:rPr>
                        <a:t>Mitigation</a:t>
                      </a:r>
                    </a:p>
                  </a:txBody>
                  <a:tcPr marL="69850" marR="69850" marT="69850" marB="69850" anchor="ctr">
                    <a:lnL w="19050" cap="flat" cmpd="sng" algn="ctr">
                      <a:solidFill>
                        <a:sysClr val="window" lastClr="FFFFFF"/>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91931601"/>
                  </a:ext>
                </a:extLst>
              </a:tr>
              <a:tr h="227879">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r>
                        <a:rPr lang="en-GB" sz="1200" b="0" dirty="0">
                          <a:solidFill>
                            <a:schemeClr val="tx1"/>
                          </a:solidFill>
                          <a:latin typeface="+mn-lt"/>
                        </a:rPr>
                        <a:t>1</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2898850924"/>
                  </a:ext>
                </a:extLst>
              </a:tr>
              <a:tr h="227879">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r>
                        <a:rPr lang="en-GB" sz="1200" b="0" dirty="0">
                          <a:solidFill>
                            <a:schemeClr val="tx1"/>
                          </a:solidFill>
                          <a:latin typeface="+mn-lt"/>
                        </a:rPr>
                        <a:t>2</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929170282"/>
                  </a:ext>
                </a:extLst>
              </a:tr>
              <a:tr h="227879">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r>
                        <a:rPr lang="en-GB" sz="1200" b="0" dirty="0">
                          <a:solidFill>
                            <a:schemeClr val="tx1"/>
                          </a:solidFill>
                          <a:latin typeface="+mn-lt"/>
                        </a:rPr>
                        <a:t>3</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3721621936"/>
                  </a:ext>
                </a:extLst>
              </a:tr>
              <a:tr h="227879">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r>
                        <a:rPr lang="en-GB" sz="1200" b="0" dirty="0">
                          <a:solidFill>
                            <a:schemeClr val="tx1"/>
                          </a:solidFill>
                          <a:latin typeface="+mn-lt"/>
                        </a:rPr>
                        <a:t>4</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a:buFont typeface="+mj-lt"/>
                        <a:buNone/>
                      </a:pPr>
                      <a:endParaRPr lang="en-GB" sz="12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2243364378"/>
                  </a:ext>
                </a:extLst>
              </a:tr>
            </a:tbl>
          </a:graphicData>
        </a:graphic>
      </p:graphicFrame>
      <p:graphicFrame>
        <p:nvGraphicFramePr>
          <p:cNvPr id="9" name="Table 14">
            <a:extLst>
              <a:ext uri="{FF2B5EF4-FFF2-40B4-BE49-F238E27FC236}">
                <a16:creationId xmlns:a16="http://schemas.microsoft.com/office/drawing/2014/main" id="{55C6CFA2-90D3-4AAA-9F5B-6410185505B4}"/>
              </a:ext>
            </a:extLst>
          </p:cNvPr>
          <p:cNvGraphicFramePr>
            <a:graphicFrameLocks/>
          </p:cNvGraphicFramePr>
          <p:nvPr>
            <p:extLst>
              <p:ext uri="{D42A27DB-BD31-4B8C-83A1-F6EECF244321}">
                <p14:modId xmlns:p14="http://schemas.microsoft.com/office/powerpoint/2010/main" val="1565403206"/>
              </p:ext>
            </p:extLst>
          </p:nvPr>
        </p:nvGraphicFramePr>
        <p:xfrm>
          <a:off x="431800" y="3587374"/>
          <a:ext cx="11339790" cy="1101680"/>
        </p:xfrm>
        <a:graphic>
          <a:graphicData uri="http://schemas.openxmlformats.org/drawingml/2006/table">
            <a:tbl>
              <a:tblPr firstRow="1" bandRow="1"/>
              <a:tblGrid>
                <a:gridCol w="5561930">
                  <a:extLst>
                    <a:ext uri="{9D8B030D-6E8A-4147-A177-3AD203B41FA5}">
                      <a16:colId xmlns:a16="http://schemas.microsoft.com/office/drawing/2014/main" val="2586423499"/>
                    </a:ext>
                  </a:extLst>
                </a:gridCol>
                <a:gridCol w="216000">
                  <a:extLst>
                    <a:ext uri="{9D8B030D-6E8A-4147-A177-3AD203B41FA5}">
                      <a16:colId xmlns:a16="http://schemas.microsoft.com/office/drawing/2014/main" val="4019565154"/>
                    </a:ext>
                  </a:extLst>
                </a:gridCol>
                <a:gridCol w="5561860">
                  <a:extLst>
                    <a:ext uri="{9D8B030D-6E8A-4147-A177-3AD203B41FA5}">
                      <a16:colId xmlns:a16="http://schemas.microsoft.com/office/drawing/2014/main" val="2666304735"/>
                    </a:ext>
                  </a:extLst>
                </a:gridCol>
              </a:tblGrid>
              <a:tr h="360000">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marL="0" marR="0" lvl="0" indent="0" algn="l" defTabSz="1125444"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mn-lt"/>
                        </a:rPr>
                        <a:t>Achieved this week</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endParaRPr lang="en-GB" sz="1400" dirty="0">
                        <a:latin typeface="+mn-lt"/>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r>
                        <a:rPr lang="en-GB" sz="1400" dirty="0">
                          <a:latin typeface="+mn-lt"/>
                        </a:rPr>
                        <a:t>Priorities next week</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51039552"/>
                  </a:ext>
                </a:extLst>
              </a:tr>
              <a:tr h="370840">
                <a:tc rowSpan="2">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On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Tw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Three</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endParaRPr lang="en-GB" sz="1400" dirty="0">
                        <a:solidFill>
                          <a:schemeClr val="tx1"/>
                        </a:solidFill>
                        <a:latin typeface="+mn-lt"/>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2">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On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Tw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400" dirty="0">
                          <a:solidFill>
                            <a:schemeClr val="tx1"/>
                          </a:solidFill>
                          <a:latin typeface="+mn-lt"/>
                        </a:rPr>
                        <a:t>Three</a:t>
                      </a:r>
                    </a:p>
                  </a:txBody>
                  <a:tcPr marL="90000" marR="7210" marT="721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7983479"/>
                  </a:ext>
                </a:extLst>
              </a:tr>
              <a:tr h="370840">
                <a:tc vMerge="1">
                  <a:txBody>
                    <a:bodyPr/>
                    <a:lstStyle/>
                    <a:p>
                      <a:pPr marL="179388" indent="-179388" algn="l" rtl="0" eaLnBrk="0" fontAlgn="base" hangingPunct="0">
                        <a:spcBef>
                          <a:spcPct val="50000"/>
                        </a:spcBef>
                        <a:spcAft>
                          <a:spcPct val="0"/>
                        </a:spcAft>
                        <a:buClr>
                          <a:schemeClr val="accent3"/>
                        </a:buClr>
                        <a:buSzPct val="77000"/>
                        <a:buFont typeface="Wingdings 3" panose="05040102010807070707" pitchFamily="18" charset="2"/>
                        <a:buChar char=""/>
                      </a:pPr>
                      <a:endParaRPr lang="en-US" sz="1400" kern="1200" dirty="0">
                        <a:solidFill>
                          <a:schemeClr val="tx1"/>
                        </a:solidFill>
                        <a:latin typeface="Arial" charset="0"/>
                        <a:ea typeface="+mn-ea"/>
                        <a:cs typeface="+mn-cs"/>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endParaRPr lang="en-GB" sz="1400" dirty="0">
                        <a:solidFill>
                          <a:schemeClr val="tx1"/>
                        </a:solidFill>
                        <a:latin typeface="+mn-lt"/>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vMerge="1">
                  <a:txBody>
                    <a:bodyPr/>
                    <a:lstStyle/>
                    <a:p>
                      <a:pPr algn="l" fontAlgn="b"/>
                      <a:endParaRPr lang="en-US" sz="1400" b="0" i="0" u="none" strike="noStrike" dirty="0">
                        <a:solidFill>
                          <a:srgbClr val="000000"/>
                        </a:solidFill>
                        <a:effectLst/>
                        <a:latin typeface="+mj-lt"/>
                      </a:endParaRPr>
                    </a:p>
                  </a:txBody>
                  <a:tcPr marL="90000" marR="7210" marT="721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66634388"/>
                  </a:ext>
                </a:extLst>
              </a:tr>
            </a:tbl>
          </a:graphicData>
        </a:graphic>
      </p:graphicFrame>
      <p:graphicFrame>
        <p:nvGraphicFramePr>
          <p:cNvPr id="11" name="Table 10">
            <a:extLst>
              <a:ext uri="{FF2B5EF4-FFF2-40B4-BE49-F238E27FC236}">
                <a16:creationId xmlns:a16="http://schemas.microsoft.com/office/drawing/2014/main" id="{61C6B23E-FF34-4335-9C76-19E602929C88}"/>
              </a:ext>
            </a:extLst>
          </p:cNvPr>
          <p:cNvGraphicFramePr>
            <a:graphicFrameLocks noGrp="1"/>
          </p:cNvGraphicFramePr>
          <p:nvPr>
            <p:extLst>
              <p:ext uri="{D42A27DB-BD31-4B8C-83A1-F6EECF244321}">
                <p14:modId xmlns:p14="http://schemas.microsoft.com/office/powerpoint/2010/main" val="1898007348"/>
              </p:ext>
            </p:extLst>
          </p:nvPr>
        </p:nvGraphicFramePr>
        <p:xfrm>
          <a:off x="9372600" y="316800"/>
          <a:ext cx="2399401" cy="468000"/>
        </p:xfrm>
        <a:graphic>
          <a:graphicData uri="http://schemas.openxmlformats.org/drawingml/2006/table">
            <a:tbl>
              <a:tblPr/>
              <a:tblGrid>
                <a:gridCol w="1344644">
                  <a:extLst>
                    <a:ext uri="{9D8B030D-6E8A-4147-A177-3AD203B41FA5}">
                      <a16:colId xmlns:a16="http://schemas.microsoft.com/office/drawing/2014/main" val="2053191444"/>
                    </a:ext>
                  </a:extLst>
                </a:gridCol>
                <a:gridCol w="1054757">
                  <a:extLst>
                    <a:ext uri="{9D8B030D-6E8A-4147-A177-3AD203B41FA5}">
                      <a16:colId xmlns:a16="http://schemas.microsoft.com/office/drawing/2014/main" val="2689437669"/>
                    </a:ext>
                  </a:extLst>
                </a:gridCol>
              </a:tblGrid>
              <a:tr h="234000">
                <a:tc>
                  <a:txBody>
                    <a:bodyPr/>
                    <a:lstStyle>
                      <a:lvl1pPr marL="0" algn="l" defTabSz="1125444" rtl="0" eaLnBrk="1" latinLnBrk="0" hangingPunct="1">
                        <a:defRPr sz="2215" kern="1200">
                          <a:solidFill>
                            <a:schemeClr val="tx1"/>
                          </a:solidFill>
                          <a:latin typeface="Arial"/>
                        </a:defRPr>
                      </a:lvl1pPr>
                      <a:lvl2pPr marL="562722" algn="l" defTabSz="1125444" rtl="0" eaLnBrk="1" latinLnBrk="0" hangingPunct="1">
                        <a:defRPr sz="2215" kern="1200">
                          <a:solidFill>
                            <a:schemeClr val="tx1"/>
                          </a:solidFill>
                          <a:latin typeface="Arial"/>
                        </a:defRPr>
                      </a:lvl2pPr>
                      <a:lvl3pPr marL="1125444" algn="l" defTabSz="1125444" rtl="0" eaLnBrk="1" latinLnBrk="0" hangingPunct="1">
                        <a:defRPr sz="2215" kern="1200">
                          <a:solidFill>
                            <a:schemeClr val="tx1"/>
                          </a:solidFill>
                          <a:latin typeface="Arial"/>
                        </a:defRPr>
                      </a:lvl3pPr>
                      <a:lvl4pPr marL="1688165" algn="l" defTabSz="1125444" rtl="0" eaLnBrk="1" latinLnBrk="0" hangingPunct="1">
                        <a:defRPr sz="2215" kern="1200">
                          <a:solidFill>
                            <a:schemeClr val="tx1"/>
                          </a:solidFill>
                          <a:latin typeface="Arial"/>
                        </a:defRPr>
                      </a:lvl4pPr>
                      <a:lvl5pPr marL="2250887" algn="l" defTabSz="1125444" rtl="0" eaLnBrk="1" latinLnBrk="0" hangingPunct="1">
                        <a:defRPr sz="2215" kern="1200">
                          <a:solidFill>
                            <a:schemeClr val="tx1"/>
                          </a:solidFill>
                          <a:latin typeface="Arial"/>
                        </a:defRPr>
                      </a:lvl5pPr>
                      <a:lvl6pPr marL="2813609" algn="l" defTabSz="1125444" rtl="0" eaLnBrk="1" latinLnBrk="0" hangingPunct="1">
                        <a:defRPr sz="2215" kern="1200">
                          <a:solidFill>
                            <a:schemeClr val="tx1"/>
                          </a:solidFill>
                          <a:latin typeface="Arial"/>
                        </a:defRPr>
                      </a:lvl6pPr>
                      <a:lvl7pPr marL="3376331" algn="l" defTabSz="1125444" rtl="0" eaLnBrk="1" latinLnBrk="0" hangingPunct="1">
                        <a:defRPr sz="2215" kern="1200">
                          <a:solidFill>
                            <a:schemeClr val="tx1"/>
                          </a:solidFill>
                          <a:latin typeface="Arial"/>
                        </a:defRPr>
                      </a:lvl7pPr>
                      <a:lvl8pPr marL="3939052" algn="l" defTabSz="1125444" rtl="0" eaLnBrk="1" latinLnBrk="0" hangingPunct="1">
                        <a:defRPr sz="2215" kern="1200">
                          <a:solidFill>
                            <a:schemeClr val="tx1"/>
                          </a:solidFill>
                          <a:latin typeface="Arial"/>
                        </a:defRPr>
                      </a:lvl8pPr>
                      <a:lvl9pPr marL="4501774" algn="l" defTabSz="1125444" rtl="0" eaLnBrk="1" latinLnBrk="0" hangingPunct="1">
                        <a:defRPr sz="2215" kern="1200">
                          <a:solidFill>
                            <a:schemeClr val="tx1"/>
                          </a:solidFill>
                          <a:latin typeface="Arial"/>
                        </a:defRPr>
                      </a:lvl9pPr>
                    </a:lstStyle>
                    <a:p>
                      <a:pPr algn="ctr" fontAlgn="b"/>
                      <a:r>
                        <a:rPr lang="en-GB" sz="1400" b="1" i="0" u="none" strike="noStrike" dirty="0">
                          <a:solidFill>
                            <a:schemeClr val="bg1"/>
                          </a:solidFill>
                          <a:effectLst/>
                          <a:latin typeface="+mj-lt"/>
                        </a:rPr>
                        <a:t>Week X</a:t>
                      </a:r>
                    </a:p>
                  </a:txBody>
                  <a:tcPr marL="7210" marR="7210" marT="7210" marB="0" anchor="ctr">
                    <a:lnL w="9525" cap="flat" cmpd="sng" algn="ctr">
                      <a:solidFill>
                        <a:srgbClr val="C1B5B8"/>
                      </a:solidFill>
                      <a:prstDash val="solid"/>
                      <a:round/>
                      <a:headEnd type="none" w="med" len="med"/>
                      <a:tailEnd type="none" w="med" len="med"/>
                    </a:lnL>
                    <a:lnR w="9525" cap="flat" cmpd="sng" algn="ctr">
                      <a:solidFill>
                        <a:srgbClr val="C1B5B8"/>
                      </a:solidFill>
                      <a:prstDash val="solid"/>
                      <a:round/>
                      <a:headEnd type="none" w="med" len="med"/>
                      <a:tailEnd type="none" w="med" len="med"/>
                    </a:lnR>
                    <a:lnT w="9525" cap="flat" cmpd="sng" algn="ctr">
                      <a:solidFill>
                        <a:srgbClr val="C1B5B8"/>
                      </a:solidFill>
                      <a:prstDash val="solid"/>
                      <a:round/>
                      <a:headEnd type="none" w="med" len="med"/>
                      <a:tailEnd type="none" w="med" len="med"/>
                    </a:lnT>
                    <a:lnB w="9525" cap="flat" cmpd="sng" algn="ctr">
                      <a:solidFill>
                        <a:srgbClr val="C1B5B8"/>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125444" rtl="0" eaLnBrk="1" latinLnBrk="0" hangingPunct="1">
                        <a:defRPr sz="2215" kern="1200">
                          <a:solidFill>
                            <a:schemeClr val="tx1"/>
                          </a:solidFill>
                          <a:latin typeface="Arial"/>
                        </a:defRPr>
                      </a:lvl1pPr>
                      <a:lvl2pPr marL="562722" algn="l" defTabSz="1125444" rtl="0" eaLnBrk="1" latinLnBrk="0" hangingPunct="1">
                        <a:defRPr sz="2215" kern="1200">
                          <a:solidFill>
                            <a:schemeClr val="tx1"/>
                          </a:solidFill>
                          <a:latin typeface="Arial"/>
                        </a:defRPr>
                      </a:lvl2pPr>
                      <a:lvl3pPr marL="1125444" algn="l" defTabSz="1125444" rtl="0" eaLnBrk="1" latinLnBrk="0" hangingPunct="1">
                        <a:defRPr sz="2215" kern="1200">
                          <a:solidFill>
                            <a:schemeClr val="tx1"/>
                          </a:solidFill>
                          <a:latin typeface="Arial"/>
                        </a:defRPr>
                      </a:lvl3pPr>
                      <a:lvl4pPr marL="1688165" algn="l" defTabSz="1125444" rtl="0" eaLnBrk="1" latinLnBrk="0" hangingPunct="1">
                        <a:defRPr sz="2215" kern="1200">
                          <a:solidFill>
                            <a:schemeClr val="tx1"/>
                          </a:solidFill>
                          <a:latin typeface="Arial"/>
                        </a:defRPr>
                      </a:lvl4pPr>
                      <a:lvl5pPr marL="2250887" algn="l" defTabSz="1125444" rtl="0" eaLnBrk="1" latinLnBrk="0" hangingPunct="1">
                        <a:defRPr sz="2215" kern="1200">
                          <a:solidFill>
                            <a:schemeClr val="tx1"/>
                          </a:solidFill>
                          <a:latin typeface="Arial"/>
                        </a:defRPr>
                      </a:lvl5pPr>
                      <a:lvl6pPr marL="2813609" algn="l" defTabSz="1125444" rtl="0" eaLnBrk="1" latinLnBrk="0" hangingPunct="1">
                        <a:defRPr sz="2215" kern="1200">
                          <a:solidFill>
                            <a:schemeClr val="tx1"/>
                          </a:solidFill>
                          <a:latin typeface="Arial"/>
                        </a:defRPr>
                      </a:lvl6pPr>
                      <a:lvl7pPr marL="3376331" algn="l" defTabSz="1125444" rtl="0" eaLnBrk="1" latinLnBrk="0" hangingPunct="1">
                        <a:defRPr sz="2215" kern="1200">
                          <a:solidFill>
                            <a:schemeClr val="tx1"/>
                          </a:solidFill>
                          <a:latin typeface="Arial"/>
                        </a:defRPr>
                      </a:lvl7pPr>
                      <a:lvl8pPr marL="3939052" algn="l" defTabSz="1125444" rtl="0" eaLnBrk="1" latinLnBrk="0" hangingPunct="1">
                        <a:defRPr sz="2215" kern="1200">
                          <a:solidFill>
                            <a:schemeClr val="tx1"/>
                          </a:solidFill>
                          <a:latin typeface="Arial"/>
                        </a:defRPr>
                      </a:lvl8pPr>
                      <a:lvl9pPr marL="4501774" algn="l" defTabSz="1125444" rtl="0" eaLnBrk="1" latinLnBrk="0" hangingPunct="1">
                        <a:defRPr sz="2215" kern="1200">
                          <a:solidFill>
                            <a:schemeClr val="tx1"/>
                          </a:solidFill>
                          <a:latin typeface="Arial"/>
                        </a:defRPr>
                      </a:lvl9pPr>
                    </a:lstStyle>
                    <a:p>
                      <a:pPr algn="ctr" fontAlgn="b"/>
                      <a:r>
                        <a:rPr lang="en-GB" sz="1400" b="1" i="0" u="none" strike="noStrike" dirty="0">
                          <a:solidFill>
                            <a:schemeClr val="tx1"/>
                          </a:solidFill>
                          <a:effectLst/>
                          <a:latin typeface="+mj-lt"/>
                        </a:rPr>
                        <a:t>D MMM</a:t>
                      </a:r>
                    </a:p>
                  </a:txBody>
                  <a:tcPr marL="7210" marR="7210" marT="7210" marB="0" anchor="ctr">
                    <a:lnL w="9525" cap="flat" cmpd="sng" algn="ctr">
                      <a:solidFill>
                        <a:srgbClr val="C1B5B8"/>
                      </a:solidFill>
                      <a:prstDash val="solid"/>
                      <a:round/>
                      <a:headEnd type="none" w="med" len="med"/>
                      <a:tailEnd type="none" w="med" len="med"/>
                    </a:lnL>
                    <a:lnR w="9525" cap="flat" cmpd="sng" algn="ctr">
                      <a:solidFill>
                        <a:srgbClr val="C1B5B8"/>
                      </a:solidFill>
                      <a:prstDash val="solid"/>
                      <a:round/>
                      <a:headEnd type="none" w="med" len="med"/>
                      <a:tailEnd type="none" w="med" len="med"/>
                    </a:lnR>
                    <a:lnT w="9525" cap="flat" cmpd="sng" algn="ctr">
                      <a:solidFill>
                        <a:srgbClr val="C1B5B8"/>
                      </a:solidFill>
                      <a:prstDash val="solid"/>
                      <a:round/>
                      <a:headEnd type="none" w="med" len="med"/>
                      <a:tailEnd type="none" w="med" len="med"/>
                    </a:lnT>
                    <a:lnB w="9525" cap="flat" cmpd="sng" algn="ctr">
                      <a:solidFill>
                        <a:srgbClr val="C1B5B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9942827"/>
                  </a:ext>
                </a:extLst>
              </a:tr>
              <a:tr h="234000">
                <a:tc>
                  <a:txBody>
                    <a:bodyPr/>
                    <a:lstStyle>
                      <a:lvl1pPr marL="0" algn="l" defTabSz="1125444" rtl="0" eaLnBrk="1" latinLnBrk="0" hangingPunct="1">
                        <a:defRPr sz="2215" kern="1200">
                          <a:solidFill>
                            <a:schemeClr val="tx1"/>
                          </a:solidFill>
                          <a:latin typeface="Arial"/>
                        </a:defRPr>
                      </a:lvl1pPr>
                      <a:lvl2pPr marL="562722" algn="l" defTabSz="1125444" rtl="0" eaLnBrk="1" latinLnBrk="0" hangingPunct="1">
                        <a:defRPr sz="2215" kern="1200">
                          <a:solidFill>
                            <a:schemeClr val="tx1"/>
                          </a:solidFill>
                          <a:latin typeface="Arial"/>
                        </a:defRPr>
                      </a:lvl2pPr>
                      <a:lvl3pPr marL="1125444" algn="l" defTabSz="1125444" rtl="0" eaLnBrk="1" latinLnBrk="0" hangingPunct="1">
                        <a:defRPr sz="2215" kern="1200">
                          <a:solidFill>
                            <a:schemeClr val="tx1"/>
                          </a:solidFill>
                          <a:latin typeface="Arial"/>
                        </a:defRPr>
                      </a:lvl3pPr>
                      <a:lvl4pPr marL="1688165" algn="l" defTabSz="1125444" rtl="0" eaLnBrk="1" latinLnBrk="0" hangingPunct="1">
                        <a:defRPr sz="2215" kern="1200">
                          <a:solidFill>
                            <a:schemeClr val="tx1"/>
                          </a:solidFill>
                          <a:latin typeface="Arial"/>
                        </a:defRPr>
                      </a:lvl4pPr>
                      <a:lvl5pPr marL="2250887" algn="l" defTabSz="1125444" rtl="0" eaLnBrk="1" latinLnBrk="0" hangingPunct="1">
                        <a:defRPr sz="2215" kern="1200">
                          <a:solidFill>
                            <a:schemeClr val="tx1"/>
                          </a:solidFill>
                          <a:latin typeface="Arial"/>
                        </a:defRPr>
                      </a:lvl5pPr>
                      <a:lvl6pPr marL="2813609" algn="l" defTabSz="1125444" rtl="0" eaLnBrk="1" latinLnBrk="0" hangingPunct="1">
                        <a:defRPr sz="2215" kern="1200">
                          <a:solidFill>
                            <a:schemeClr val="tx1"/>
                          </a:solidFill>
                          <a:latin typeface="Arial"/>
                        </a:defRPr>
                      </a:lvl6pPr>
                      <a:lvl7pPr marL="3376331" algn="l" defTabSz="1125444" rtl="0" eaLnBrk="1" latinLnBrk="0" hangingPunct="1">
                        <a:defRPr sz="2215" kern="1200">
                          <a:solidFill>
                            <a:schemeClr val="tx1"/>
                          </a:solidFill>
                          <a:latin typeface="Arial"/>
                        </a:defRPr>
                      </a:lvl7pPr>
                      <a:lvl8pPr marL="3939052" algn="l" defTabSz="1125444" rtl="0" eaLnBrk="1" latinLnBrk="0" hangingPunct="1">
                        <a:defRPr sz="2215" kern="1200">
                          <a:solidFill>
                            <a:schemeClr val="tx1"/>
                          </a:solidFill>
                          <a:latin typeface="Arial"/>
                        </a:defRPr>
                      </a:lvl8pPr>
                      <a:lvl9pPr marL="4501774" algn="l" defTabSz="1125444" rtl="0" eaLnBrk="1" latinLnBrk="0" hangingPunct="1">
                        <a:defRPr sz="2215" kern="1200">
                          <a:solidFill>
                            <a:schemeClr val="tx1"/>
                          </a:solidFill>
                          <a:latin typeface="Arial"/>
                        </a:defRPr>
                      </a:lvl9pPr>
                    </a:lstStyle>
                    <a:p>
                      <a:pPr algn="ctr" fontAlgn="b"/>
                      <a:r>
                        <a:rPr lang="en-GB" sz="1400" b="1" i="0" u="none" strike="noStrike" dirty="0">
                          <a:solidFill>
                            <a:schemeClr val="bg1"/>
                          </a:solidFill>
                          <a:effectLst/>
                          <a:latin typeface="+mj-lt"/>
                        </a:rPr>
                        <a:t>Status</a:t>
                      </a:r>
                    </a:p>
                  </a:txBody>
                  <a:tcPr marL="7210" marR="7210" marT="7210" marB="0" anchor="ctr">
                    <a:lnL w="9525" cap="flat" cmpd="sng" algn="ctr">
                      <a:solidFill>
                        <a:srgbClr val="C1B5B8"/>
                      </a:solidFill>
                      <a:prstDash val="solid"/>
                      <a:round/>
                      <a:headEnd type="none" w="med" len="med"/>
                      <a:tailEnd type="none" w="med" len="med"/>
                    </a:lnL>
                    <a:lnR w="9525" cap="flat" cmpd="sng" algn="ctr">
                      <a:solidFill>
                        <a:srgbClr val="C1B5B8"/>
                      </a:solidFill>
                      <a:prstDash val="solid"/>
                      <a:round/>
                      <a:headEnd type="none" w="med" len="med"/>
                      <a:tailEnd type="none" w="med" len="med"/>
                    </a:lnR>
                    <a:lnT w="9525" cap="flat" cmpd="sng" algn="ctr">
                      <a:solidFill>
                        <a:srgbClr val="C1B5B8"/>
                      </a:solidFill>
                      <a:prstDash val="solid"/>
                      <a:round/>
                      <a:headEnd type="none" w="med" len="med"/>
                      <a:tailEnd type="none" w="med" len="med"/>
                    </a:lnT>
                    <a:lnB w="9525" cap="flat" cmpd="sng" algn="ctr">
                      <a:solidFill>
                        <a:srgbClr val="C1B5B8"/>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125444" rtl="0" eaLnBrk="1" latinLnBrk="0" hangingPunct="1">
                        <a:defRPr sz="2215" kern="1200">
                          <a:solidFill>
                            <a:schemeClr val="tx1"/>
                          </a:solidFill>
                          <a:latin typeface="Arial"/>
                        </a:defRPr>
                      </a:lvl1pPr>
                      <a:lvl2pPr marL="562722" algn="l" defTabSz="1125444" rtl="0" eaLnBrk="1" latinLnBrk="0" hangingPunct="1">
                        <a:defRPr sz="2215" kern="1200">
                          <a:solidFill>
                            <a:schemeClr val="tx1"/>
                          </a:solidFill>
                          <a:latin typeface="Arial"/>
                        </a:defRPr>
                      </a:lvl2pPr>
                      <a:lvl3pPr marL="1125444" algn="l" defTabSz="1125444" rtl="0" eaLnBrk="1" latinLnBrk="0" hangingPunct="1">
                        <a:defRPr sz="2215" kern="1200">
                          <a:solidFill>
                            <a:schemeClr val="tx1"/>
                          </a:solidFill>
                          <a:latin typeface="Arial"/>
                        </a:defRPr>
                      </a:lvl3pPr>
                      <a:lvl4pPr marL="1688165" algn="l" defTabSz="1125444" rtl="0" eaLnBrk="1" latinLnBrk="0" hangingPunct="1">
                        <a:defRPr sz="2215" kern="1200">
                          <a:solidFill>
                            <a:schemeClr val="tx1"/>
                          </a:solidFill>
                          <a:latin typeface="Arial"/>
                        </a:defRPr>
                      </a:lvl4pPr>
                      <a:lvl5pPr marL="2250887" algn="l" defTabSz="1125444" rtl="0" eaLnBrk="1" latinLnBrk="0" hangingPunct="1">
                        <a:defRPr sz="2215" kern="1200">
                          <a:solidFill>
                            <a:schemeClr val="tx1"/>
                          </a:solidFill>
                          <a:latin typeface="Arial"/>
                        </a:defRPr>
                      </a:lvl5pPr>
                      <a:lvl6pPr marL="2813609" algn="l" defTabSz="1125444" rtl="0" eaLnBrk="1" latinLnBrk="0" hangingPunct="1">
                        <a:defRPr sz="2215" kern="1200">
                          <a:solidFill>
                            <a:schemeClr val="tx1"/>
                          </a:solidFill>
                          <a:latin typeface="Arial"/>
                        </a:defRPr>
                      </a:lvl6pPr>
                      <a:lvl7pPr marL="3376331" algn="l" defTabSz="1125444" rtl="0" eaLnBrk="1" latinLnBrk="0" hangingPunct="1">
                        <a:defRPr sz="2215" kern="1200">
                          <a:solidFill>
                            <a:schemeClr val="tx1"/>
                          </a:solidFill>
                          <a:latin typeface="Arial"/>
                        </a:defRPr>
                      </a:lvl7pPr>
                      <a:lvl8pPr marL="3939052" algn="l" defTabSz="1125444" rtl="0" eaLnBrk="1" latinLnBrk="0" hangingPunct="1">
                        <a:defRPr sz="2215" kern="1200">
                          <a:solidFill>
                            <a:schemeClr val="tx1"/>
                          </a:solidFill>
                          <a:latin typeface="Arial"/>
                        </a:defRPr>
                      </a:lvl8pPr>
                      <a:lvl9pPr marL="4501774" algn="l" defTabSz="1125444" rtl="0" eaLnBrk="1" latinLnBrk="0" hangingPunct="1">
                        <a:defRPr sz="2215" kern="1200">
                          <a:solidFill>
                            <a:schemeClr val="tx1"/>
                          </a:solidFill>
                          <a:latin typeface="Arial"/>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400" b="1" i="0" u="none" strike="noStrike" dirty="0">
                          <a:solidFill>
                            <a:srgbClr val="FF0000"/>
                          </a:solidFill>
                          <a:effectLst/>
                          <a:latin typeface="+mj-lt"/>
                          <a:sym typeface="Wingdings" panose="05000000000000000000" pitchFamily="2" charset="2"/>
                        </a:rPr>
                        <a:t>R</a:t>
                      </a:r>
                      <a:r>
                        <a:rPr lang="en-GB" sz="1400" b="1" i="0" u="none" strike="noStrike" dirty="0">
                          <a:solidFill>
                            <a:srgbClr val="FFC000"/>
                          </a:solidFill>
                          <a:effectLst/>
                          <a:latin typeface="+mj-lt"/>
                          <a:sym typeface="Wingdings" panose="05000000000000000000" pitchFamily="2" charset="2"/>
                        </a:rPr>
                        <a:t>A</a:t>
                      </a:r>
                      <a:r>
                        <a:rPr lang="en-GB" sz="1400" b="1" i="0" u="none" strike="noStrike" dirty="0">
                          <a:solidFill>
                            <a:srgbClr val="009900"/>
                          </a:solidFill>
                          <a:effectLst/>
                          <a:latin typeface="+mj-lt"/>
                          <a:sym typeface="Wingdings" panose="05000000000000000000" pitchFamily="2" charset="2"/>
                        </a:rPr>
                        <a:t>G</a:t>
                      </a:r>
                      <a:endParaRPr lang="en-GB" sz="1400" b="1" i="0" u="none" strike="noStrike" dirty="0">
                        <a:solidFill>
                          <a:srgbClr val="009900"/>
                        </a:solidFill>
                        <a:effectLst/>
                        <a:latin typeface="+mj-lt"/>
                      </a:endParaRPr>
                    </a:p>
                  </a:txBody>
                  <a:tcPr marL="7210" marR="7210" marT="7210" marB="0" anchor="ctr">
                    <a:lnL w="9525" cap="flat" cmpd="sng" algn="ctr">
                      <a:solidFill>
                        <a:srgbClr val="C1B5B8"/>
                      </a:solidFill>
                      <a:prstDash val="solid"/>
                      <a:round/>
                      <a:headEnd type="none" w="med" len="med"/>
                      <a:tailEnd type="none" w="med" len="med"/>
                    </a:lnL>
                    <a:lnR w="9525" cap="flat" cmpd="sng" algn="ctr">
                      <a:solidFill>
                        <a:srgbClr val="C1B5B8"/>
                      </a:solidFill>
                      <a:prstDash val="solid"/>
                      <a:round/>
                      <a:headEnd type="none" w="med" len="med"/>
                      <a:tailEnd type="none" w="med" len="med"/>
                    </a:lnR>
                    <a:lnT w="9525" cap="flat" cmpd="sng" algn="ctr">
                      <a:solidFill>
                        <a:srgbClr val="C1B5B8"/>
                      </a:solidFill>
                      <a:prstDash val="solid"/>
                      <a:round/>
                      <a:headEnd type="none" w="med" len="med"/>
                      <a:tailEnd type="none" w="med" len="med"/>
                    </a:lnT>
                    <a:lnB w="9525" cap="flat" cmpd="sng" algn="ctr">
                      <a:solidFill>
                        <a:srgbClr val="C1B5B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0299628"/>
                  </a:ext>
                </a:extLst>
              </a:tr>
            </a:tbl>
          </a:graphicData>
        </a:graphic>
      </p:graphicFrame>
      <p:graphicFrame>
        <p:nvGraphicFramePr>
          <p:cNvPr id="10" name="Table 14">
            <a:extLst>
              <a:ext uri="{FF2B5EF4-FFF2-40B4-BE49-F238E27FC236}">
                <a16:creationId xmlns:a16="http://schemas.microsoft.com/office/drawing/2014/main" id="{7FC85AFB-F522-4355-81FC-CE675DE4FFDD}"/>
              </a:ext>
            </a:extLst>
          </p:cNvPr>
          <p:cNvGraphicFramePr>
            <a:graphicFrameLocks/>
          </p:cNvGraphicFramePr>
          <p:nvPr>
            <p:extLst>
              <p:ext uri="{D42A27DB-BD31-4B8C-83A1-F6EECF244321}">
                <p14:modId xmlns:p14="http://schemas.microsoft.com/office/powerpoint/2010/main" val="3166257568"/>
              </p:ext>
            </p:extLst>
          </p:nvPr>
        </p:nvGraphicFramePr>
        <p:xfrm>
          <a:off x="431800" y="1162050"/>
          <a:ext cx="11339790" cy="2214200"/>
        </p:xfrm>
        <a:graphic>
          <a:graphicData uri="http://schemas.openxmlformats.org/drawingml/2006/table">
            <a:tbl>
              <a:tblPr firstRow="1" bandRow="1"/>
              <a:tblGrid>
                <a:gridCol w="5561930">
                  <a:extLst>
                    <a:ext uri="{9D8B030D-6E8A-4147-A177-3AD203B41FA5}">
                      <a16:colId xmlns:a16="http://schemas.microsoft.com/office/drawing/2014/main" val="2586423499"/>
                    </a:ext>
                  </a:extLst>
                </a:gridCol>
                <a:gridCol w="216000">
                  <a:extLst>
                    <a:ext uri="{9D8B030D-6E8A-4147-A177-3AD203B41FA5}">
                      <a16:colId xmlns:a16="http://schemas.microsoft.com/office/drawing/2014/main" val="4019565154"/>
                    </a:ext>
                  </a:extLst>
                </a:gridCol>
                <a:gridCol w="2322000">
                  <a:extLst>
                    <a:ext uri="{9D8B030D-6E8A-4147-A177-3AD203B41FA5}">
                      <a16:colId xmlns:a16="http://schemas.microsoft.com/office/drawing/2014/main" val="2666304735"/>
                    </a:ext>
                  </a:extLst>
                </a:gridCol>
                <a:gridCol w="1619930">
                  <a:extLst>
                    <a:ext uri="{9D8B030D-6E8A-4147-A177-3AD203B41FA5}">
                      <a16:colId xmlns:a16="http://schemas.microsoft.com/office/drawing/2014/main" val="376561827"/>
                    </a:ext>
                  </a:extLst>
                </a:gridCol>
                <a:gridCol w="1619930">
                  <a:extLst>
                    <a:ext uri="{9D8B030D-6E8A-4147-A177-3AD203B41FA5}">
                      <a16:colId xmlns:a16="http://schemas.microsoft.com/office/drawing/2014/main" val="2492169768"/>
                    </a:ext>
                  </a:extLst>
                </a:gridCol>
              </a:tblGrid>
              <a:tr h="360000">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rgbClr val="FEFFFF"/>
                          </a:solidFill>
                          <a:latin typeface="+mn-lt"/>
                        </a:rPr>
                        <a:t>Deliverables</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rgbClr val="B40646"/>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endParaRPr lang="en-GB" sz="1400" b="1" dirty="0">
                        <a:solidFill>
                          <a:srgbClr val="FEFFFF"/>
                        </a:solidFill>
                        <a:latin typeface="+mn-lt"/>
                      </a:endParaRP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rgbClr val="FEFFFF"/>
                          </a:solidFill>
                          <a:latin typeface="+mn-lt"/>
                        </a:rPr>
                        <a:t>Key milestones</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rgbClr val="B40646"/>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rgbClr val="FEFFFF"/>
                          </a:solidFill>
                          <a:latin typeface="+mn-lt"/>
                        </a:rPr>
                        <a:t>Due</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rgbClr val="B40646"/>
                    </a:solidFill>
                  </a:tcPr>
                </a:tc>
                <a:tc>
                  <a:txBody>
                    <a:bodyPr/>
                    <a:lstStyle>
                      <a:lvl1pPr marL="0" algn="l" defTabSz="1125444" rtl="0" eaLnBrk="1" latinLnBrk="0" hangingPunct="1">
                        <a:defRPr sz="2215" b="1" kern="1200">
                          <a:solidFill>
                            <a:schemeClr val="lt1"/>
                          </a:solidFill>
                          <a:latin typeface="Arial"/>
                        </a:defRPr>
                      </a:lvl1pPr>
                      <a:lvl2pPr marL="562722" algn="l" defTabSz="1125444" rtl="0" eaLnBrk="1" latinLnBrk="0" hangingPunct="1">
                        <a:defRPr sz="2215" b="1" kern="1200">
                          <a:solidFill>
                            <a:schemeClr val="lt1"/>
                          </a:solidFill>
                          <a:latin typeface="Arial"/>
                        </a:defRPr>
                      </a:lvl2pPr>
                      <a:lvl3pPr marL="1125444" algn="l" defTabSz="1125444" rtl="0" eaLnBrk="1" latinLnBrk="0" hangingPunct="1">
                        <a:defRPr sz="2215" b="1" kern="1200">
                          <a:solidFill>
                            <a:schemeClr val="lt1"/>
                          </a:solidFill>
                          <a:latin typeface="Arial"/>
                        </a:defRPr>
                      </a:lvl3pPr>
                      <a:lvl4pPr marL="1688165" algn="l" defTabSz="1125444" rtl="0" eaLnBrk="1" latinLnBrk="0" hangingPunct="1">
                        <a:defRPr sz="2215" b="1" kern="1200">
                          <a:solidFill>
                            <a:schemeClr val="lt1"/>
                          </a:solidFill>
                          <a:latin typeface="Arial"/>
                        </a:defRPr>
                      </a:lvl4pPr>
                      <a:lvl5pPr marL="2250887" algn="l" defTabSz="1125444" rtl="0" eaLnBrk="1" latinLnBrk="0" hangingPunct="1">
                        <a:defRPr sz="2215" b="1" kern="1200">
                          <a:solidFill>
                            <a:schemeClr val="lt1"/>
                          </a:solidFill>
                          <a:latin typeface="Arial"/>
                        </a:defRPr>
                      </a:lvl5pPr>
                      <a:lvl6pPr marL="2813609" algn="l" defTabSz="1125444" rtl="0" eaLnBrk="1" latinLnBrk="0" hangingPunct="1">
                        <a:defRPr sz="2215" b="1" kern="1200">
                          <a:solidFill>
                            <a:schemeClr val="lt1"/>
                          </a:solidFill>
                          <a:latin typeface="Arial"/>
                        </a:defRPr>
                      </a:lvl6pPr>
                      <a:lvl7pPr marL="3376331" algn="l" defTabSz="1125444" rtl="0" eaLnBrk="1" latinLnBrk="0" hangingPunct="1">
                        <a:defRPr sz="2215" b="1" kern="1200">
                          <a:solidFill>
                            <a:schemeClr val="lt1"/>
                          </a:solidFill>
                          <a:latin typeface="Arial"/>
                        </a:defRPr>
                      </a:lvl7pPr>
                      <a:lvl8pPr marL="3939052" algn="l" defTabSz="1125444" rtl="0" eaLnBrk="1" latinLnBrk="0" hangingPunct="1">
                        <a:defRPr sz="2215" b="1" kern="1200">
                          <a:solidFill>
                            <a:schemeClr val="lt1"/>
                          </a:solidFill>
                          <a:latin typeface="Arial"/>
                        </a:defRPr>
                      </a:lvl8pPr>
                      <a:lvl9pPr marL="4501774" algn="l" defTabSz="1125444" rtl="0" eaLnBrk="1" latinLnBrk="0" hangingPunct="1">
                        <a:defRPr sz="2215" b="1" kern="1200">
                          <a:solidFill>
                            <a:schemeClr val="lt1"/>
                          </a:solidFill>
                          <a:latin typeface="Arial"/>
                        </a:defRPr>
                      </a:lvl9pPr>
                    </a:lstStyle>
                    <a:p>
                      <a:pPr algn="l"/>
                      <a:r>
                        <a:rPr lang="en-GB" sz="1400" b="1" dirty="0">
                          <a:solidFill>
                            <a:srgbClr val="FEFFFF"/>
                          </a:solidFill>
                          <a:latin typeface="+mn-lt"/>
                        </a:rPr>
                        <a:t>Status</a:t>
                      </a:r>
                    </a:p>
                  </a:txBody>
                  <a:tcPr marL="69850" marR="69850" marT="69850" marB="69850" anchor="ctr">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FEFFFF"/>
                      </a:solidFill>
                      <a:prstDash val="solid"/>
                      <a:round/>
                      <a:headEnd type="none" w="med" len="med"/>
                      <a:tailEnd type="none" w="med" len="med"/>
                    </a:lnB>
                    <a:lnTlToBr w="12700" cmpd="sng">
                      <a:noFill/>
                      <a:prstDash val="solid"/>
                    </a:lnTlToBr>
                    <a:lnBlToTr w="12700" cmpd="sng">
                      <a:noFill/>
                      <a:prstDash val="solid"/>
                    </a:lnBlToTr>
                    <a:solidFill>
                      <a:srgbClr val="B40646"/>
                    </a:solidFill>
                  </a:tcPr>
                </a:tc>
                <a:extLst>
                  <a:ext uri="{0D108BD9-81ED-4DB2-BD59-A6C34878D82A}">
                    <a16:rowId xmlns:a16="http://schemas.microsoft.com/office/drawing/2014/main" val="851039552"/>
                  </a:ext>
                </a:extLst>
              </a:tr>
              <a:tr h="370840">
                <a:tc rowSpan="5">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indent="0" algn="l" rtl="0" eaLnBrk="0" fontAlgn="base" hangingPunct="0">
                        <a:spcBef>
                          <a:spcPct val="50000"/>
                        </a:spcBef>
                        <a:spcAft>
                          <a:spcPct val="0"/>
                        </a:spcAft>
                        <a:buClr>
                          <a:schemeClr val="accent3"/>
                        </a:buClr>
                        <a:buSzPct val="77000"/>
                        <a:buFont typeface="Wingdings 3" panose="05040102010807070707" pitchFamily="18" charset="2"/>
                        <a:buNone/>
                      </a:pPr>
                      <a:endParaRPr lang="en-GB" sz="1400" b="0" kern="1200" dirty="0">
                        <a:solidFill>
                          <a:srgbClr val="010000"/>
                        </a:solidFill>
                        <a:latin typeface="+mn-lt"/>
                        <a:ea typeface="+mn-ea"/>
                        <a:cs typeface="+mn-cs"/>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fontAlgn="b"/>
                      <a:r>
                        <a:rPr lang="en-GB" sz="1400" b="0" i="0" u="none" strike="noStrike" dirty="0">
                          <a:solidFill>
                            <a:srgbClr val="010000"/>
                          </a:solidFill>
                          <a:effectLst/>
                          <a:latin typeface="+mn-lt"/>
                        </a:rPr>
                        <a:t>Milestone 1</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fontAlgn="b"/>
                      <a:r>
                        <a:rPr lang="en-GB" sz="1400" b="0" i="0" u="none" strike="noStrike" dirty="0">
                          <a:solidFill>
                            <a:srgbClr val="010000"/>
                          </a:solidFill>
                          <a:effectLst/>
                          <a:latin typeface="+mn-lt"/>
                        </a:rPr>
                        <a:t>D MMM</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400" b="0" i="0" u="none" strike="noStrike" dirty="0">
                          <a:solidFill>
                            <a:srgbClr val="010000"/>
                          </a:solidFill>
                          <a:effectLst/>
                          <a:latin typeface="+mn-lt"/>
                          <a:sym typeface="Wingdings" panose="05000000000000000000" pitchFamily="2" charset="2"/>
                        </a:rPr>
                        <a:t></a:t>
                      </a:r>
                      <a:endParaRPr lang="en-GB" sz="1400" b="0" i="0" u="none" strike="noStrike" dirty="0">
                        <a:solidFill>
                          <a:srgbClr val="010000"/>
                        </a:solidFill>
                        <a:effectLst/>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FEFFFF"/>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97983479"/>
                  </a:ext>
                </a:extLst>
              </a:tr>
              <a:tr h="370840">
                <a:tc vMerge="1">
                  <a:txBody>
                    <a:bodyPr/>
                    <a:lstStyle/>
                    <a:p>
                      <a:pPr marL="0" indent="0" algn="l" rtl="0" eaLnBrk="0" fontAlgn="base" hangingPunct="0">
                        <a:spcBef>
                          <a:spcPct val="50000"/>
                        </a:spcBef>
                        <a:spcAft>
                          <a:spcPct val="0"/>
                        </a:spcAft>
                        <a:buClr>
                          <a:schemeClr val="accent3"/>
                        </a:buClr>
                        <a:buSzPct val="77000"/>
                        <a:buFont typeface="Wingdings 3" panose="05040102010807070707" pitchFamily="18" charset="2"/>
                        <a:buNone/>
                      </a:pPr>
                      <a:endParaRPr lang="en-US" sz="1400" kern="1200" dirty="0">
                        <a:solidFill>
                          <a:schemeClr val="bg1"/>
                        </a:solidFill>
                        <a:latin typeface="Arial" charset="0"/>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fontAlgn="b"/>
                      <a:r>
                        <a:rPr lang="en-GB" sz="1400" b="0" i="0" u="none" strike="noStrike" dirty="0">
                          <a:solidFill>
                            <a:srgbClr val="010000"/>
                          </a:solidFill>
                          <a:effectLst/>
                          <a:latin typeface="+mn-lt"/>
                        </a:rPr>
                        <a:t>Milestone 2</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fontAlgn="b"/>
                      <a:r>
                        <a:rPr lang="en-GB" sz="1400" b="0" i="0" u="none" strike="noStrike" dirty="0">
                          <a:solidFill>
                            <a:srgbClr val="010000"/>
                          </a:solidFill>
                          <a:effectLst/>
                          <a:latin typeface="+mn-lt"/>
                        </a:rPr>
                        <a:t>D MMM</a:t>
                      </a: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fontAlgn="b"/>
                      <a:r>
                        <a:rPr lang="en-GB" sz="1400" b="0" i="0" u="none" strike="noStrike" kern="1200" dirty="0">
                          <a:solidFill>
                            <a:srgbClr val="010000"/>
                          </a:solidFill>
                          <a:effectLst/>
                          <a:latin typeface="+mn-lt"/>
                          <a:ea typeface="+mn-ea"/>
                          <a:cs typeface="+mn-cs"/>
                          <a:sym typeface="Wingdings" panose="05000000000000000000" pitchFamily="2" charset="2"/>
                        </a:rPr>
                        <a:t></a:t>
                      </a:r>
                      <a:endParaRPr lang="en-GB" sz="1400" b="0" i="0" u="none" strike="noStrike" dirty="0">
                        <a:solidFill>
                          <a:srgbClr val="010000"/>
                        </a:solidFill>
                        <a:effectLst/>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466634388"/>
                  </a:ext>
                </a:extLst>
              </a:tr>
              <a:tr h="370840">
                <a:tc vMerge="1">
                  <a:txBody>
                    <a:bodyPr/>
                    <a:lstStyle/>
                    <a:p>
                      <a:pPr marL="0" indent="0" algn="l" rtl="0" eaLnBrk="0" fontAlgn="base" hangingPunct="0">
                        <a:spcBef>
                          <a:spcPct val="50000"/>
                        </a:spcBef>
                        <a:spcAft>
                          <a:spcPct val="0"/>
                        </a:spcAft>
                        <a:buClr>
                          <a:schemeClr val="accent3"/>
                        </a:buClr>
                        <a:buSzPct val="77000"/>
                        <a:buFont typeface="Wingdings 3" panose="05040102010807070707" pitchFamily="18" charset="2"/>
                        <a:buNone/>
                      </a:pPr>
                      <a:endParaRPr lang="en-US" sz="1400" kern="1200" dirty="0">
                        <a:solidFill>
                          <a:schemeClr val="bg1"/>
                        </a:solidFill>
                        <a:latin typeface="Arial" charset="0"/>
                        <a:ea typeface="+mn-ea"/>
                        <a:cs typeface="+mn-cs"/>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4242986291"/>
                  </a:ext>
                </a:extLst>
              </a:tr>
              <a:tr h="370840">
                <a:tc vMerge="1">
                  <a:txBody>
                    <a:bodyPr/>
                    <a:lstStyle/>
                    <a:p>
                      <a:pPr marL="0" indent="0" algn="l" rtl="0" eaLnBrk="0" fontAlgn="base" hangingPunct="0">
                        <a:spcBef>
                          <a:spcPct val="50000"/>
                        </a:spcBef>
                        <a:spcAft>
                          <a:spcPct val="0"/>
                        </a:spcAft>
                        <a:buClr>
                          <a:schemeClr val="accent3"/>
                        </a:buClr>
                        <a:buSzPct val="77000"/>
                        <a:buFont typeface="Wingdings 3" panose="05040102010807070707" pitchFamily="18" charset="2"/>
                        <a:buNone/>
                      </a:pPr>
                      <a:endParaRPr lang="en-US" sz="1400" kern="1200" dirty="0">
                        <a:solidFill>
                          <a:schemeClr val="tx1"/>
                        </a:solidFill>
                        <a:latin typeface="Arial" charset="0"/>
                        <a:ea typeface="+mn-ea"/>
                        <a:cs typeface="+mn-cs"/>
                      </a:endParaRPr>
                    </a:p>
                  </a:txBody>
                  <a:tcP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36458208"/>
                  </a:ext>
                </a:extLst>
              </a:tr>
              <a:tr h="370840">
                <a:tc vMerge="1">
                  <a:txBody>
                    <a:bodyPr/>
                    <a:lstStyle/>
                    <a:p>
                      <a:pPr marL="179388" indent="-179388" algn="l" rtl="0" eaLnBrk="0" fontAlgn="base" hangingPunct="0">
                        <a:spcBef>
                          <a:spcPct val="50000"/>
                        </a:spcBef>
                        <a:spcAft>
                          <a:spcPct val="0"/>
                        </a:spcAft>
                        <a:buClr>
                          <a:schemeClr val="accent3"/>
                        </a:buClr>
                        <a:buSzPct val="77000"/>
                        <a:buFont typeface="Wingdings 3" panose="05040102010807070707" pitchFamily="18" charset="2"/>
                        <a:buChar char=""/>
                      </a:pPr>
                      <a:endParaRPr lang="en-US" sz="1400" kern="1200" dirty="0">
                        <a:solidFill>
                          <a:schemeClr val="tx1"/>
                        </a:solidFill>
                        <a:latin typeface="Arial" charset="0"/>
                        <a:ea typeface="+mn-ea"/>
                        <a:cs typeface="+mn-cs"/>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r>
                        <a:rPr lang="en-GB" sz="1400" b="0" i="0" u="none" strike="noStrike" kern="1200" dirty="0">
                          <a:solidFill>
                            <a:srgbClr val="010000"/>
                          </a:solidFill>
                          <a:effectLst/>
                          <a:latin typeface="+mn-lt"/>
                          <a:ea typeface="+mn-ea"/>
                          <a:cs typeface="+mn-cs"/>
                        </a:rPr>
                        <a:t>Final delivery</a:t>
                      </a:r>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tc>
                  <a:txBody>
                    <a:bodyPr/>
                    <a:lstStyle>
                      <a:lvl1pPr marL="0" algn="l" defTabSz="1125444" rtl="0" eaLnBrk="1" latinLnBrk="0" hangingPunct="1">
                        <a:defRPr sz="2215" kern="1200">
                          <a:solidFill>
                            <a:schemeClr val="dk1"/>
                          </a:solidFill>
                          <a:latin typeface="Arial"/>
                        </a:defRPr>
                      </a:lvl1pPr>
                      <a:lvl2pPr marL="562722" algn="l" defTabSz="1125444" rtl="0" eaLnBrk="1" latinLnBrk="0" hangingPunct="1">
                        <a:defRPr sz="2215" kern="1200">
                          <a:solidFill>
                            <a:schemeClr val="dk1"/>
                          </a:solidFill>
                          <a:latin typeface="Arial"/>
                        </a:defRPr>
                      </a:lvl2pPr>
                      <a:lvl3pPr marL="1125444" algn="l" defTabSz="1125444" rtl="0" eaLnBrk="1" latinLnBrk="0" hangingPunct="1">
                        <a:defRPr sz="2215" kern="1200">
                          <a:solidFill>
                            <a:schemeClr val="dk1"/>
                          </a:solidFill>
                          <a:latin typeface="Arial"/>
                        </a:defRPr>
                      </a:lvl3pPr>
                      <a:lvl4pPr marL="1688165" algn="l" defTabSz="1125444" rtl="0" eaLnBrk="1" latinLnBrk="0" hangingPunct="1">
                        <a:defRPr sz="2215" kern="1200">
                          <a:solidFill>
                            <a:schemeClr val="dk1"/>
                          </a:solidFill>
                          <a:latin typeface="Arial"/>
                        </a:defRPr>
                      </a:lvl4pPr>
                      <a:lvl5pPr marL="2250887" algn="l" defTabSz="1125444" rtl="0" eaLnBrk="1" latinLnBrk="0" hangingPunct="1">
                        <a:defRPr sz="2215" kern="1200">
                          <a:solidFill>
                            <a:schemeClr val="dk1"/>
                          </a:solidFill>
                          <a:latin typeface="Arial"/>
                        </a:defRPr>
                      </a:lvl5pPr>
                      <a:lvl6pPr marL="2813609" algn="l" defTabSz="1125444" rtl="0" eaLnBrk="1" latinLnBrk="0" hangingPunct="1">
                        <a:defRPr sz="2215" kern="1200">
                          <a:solidFill>
                            <a:schemeClr val="dk1"/>
                          </a:solidFill>
                          <a:latin typeface="Arial"/>
                        </a:defRPr>
                      </a:lvl6pPr>
                      <a:lvl7pPr marL="3376331" algn="l" defTabSz="1125444" rtl="0" eaLnBrk="1" latinLnBrk="0" hangingPunct="1">
                        <a:defRPr sz="2215" kern="1200">
                          <a:solidFill>
                            <a:schemeClr val="dk1"/>
                          </a:solidFill>
                          <a:latin typeface="Arial"/>
                        </a:defRPr>
                      </a:lvl7pPr>
                      <a:lvl8pPr marL="3939052" algn="l" defTabSz="1125444" rtl="0" eaLnBrk="1" latinLnBrk="0" hangingPunct="1">
                        <a:defRPr sz="2215" kern="1200">
                          <a:solidFill>
                            <a:schemeClr val="dk1"/>
                          </a:solidFill>
                          <a:latin typeface="Arial"/>
                        </a:defRPr>
                      </a:lvl8pPr>
                      <a:lvl9pPr marL="4501774" algn="l" defTabSz="1125444" rtl="0" eaLnBrk="1" latinLnBrk="0" hangingPunct="1">
                        <a:defRPr sz="2215" kern="1200">
                          <a:solidFill>
                            <a:schemeClr val="dk1"/>
                          </a:solidFill>
                          <a:latin typeface="Arial"/>
                        </a:defRPr>
                      </a:lvl9pPr>
                    </a:lstStyle>
                    <a:p>
                      <a:pPr algn="l"/>
                      <a:endParaRPr lang="en-GB" sz="1400" b="0" dirty="0">
                        <a:solidFill>
                          <a:srgbClr val="010000"/>
                        </a:solidFill>
                        <a:latin typeface="+mn-lt"/>
                      </a:endParaRPr>
                    </a:p>
                  </a:txBody>
                  <a:tcPr marL="69850" marR="69850" marT="69850" marB="69850">
                    <a:lnL w="19050" cap="flat" cmpd="sng" algn="ctr">
                      <a:solidFill>
                        <a:srgbClr val="D9D9D9"/>
                      </a:solidFill>
                      <a:prstDash val="solid"/>
                      <a:round/>
                      <a:headEnd type="none" w="med" len="med"/>
                      <a:tailEnd type="none" w="med" len="med"/>
                    </a:lnL>
                    <a:lnR w="19050" cap="flat" cmpd="sng" algn="ctr">
                      <a:solidFill>
                        <a:srgbClr val="D9D9D9"/>
                      </a:solidFill>
                      <a:prstDash val="solid"/>
                      <a:round/>
                      <a:headEnd type="none" w="med" len="med"/>
                      <a:tailEnd type="none" w="med" len="med"/>
                    </a:lnR>
                    <a:lnT w="19050" cap="flat" cmpd="sng" algn="ctr">
                      <a:solidFill>
                        <a:srgbClr val="D9D9D9"/>
                      </a:solidFill>
                      <a:prstDash val="solid"/>
                      <a:round/>
                      <a:headEnd type="none" w="med" len="med"/>
                      <a:tailEnd type="none" w="med" len="med"/>
                    </a:lnT>
                    <a:lnB w="1905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FEFFFF"/>
                    </a:solidFill>
                  </a:tcPr>
                </a:tc>
                <a:extLst>
                  <a:ext uri="{0D108BD9-81ED-4DB2-BD59-A6C34878D82A}">
                    <a16:rowId xmlns:a16="http://schemas.microsoft.com/office/drawing/2014/main" val="3193040274"/>
                  </a:ext>
                </a:extLst>
              </a:tr>
            </a:tbl>
          </a:graphicData>
        </a:graphic>
      </p:graphicFrame>
    </p:spTree>
    <p:extLst>
      <p:ext uri="{BB962C8B-B14F-4D97-AF65-F5344CB8AC3E}">
        <p14:creationId xmlns:p14="http://schemas.microsoft.com/office/powerpoint/2010/main" val="202392051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t 19" hidden="1">
            <a:extLst>
              <a:ext uri="{FF2B5EF4-FFF2-40B4-BE49-F238E27FC236}">
                <a16:creationId xmlns:a16="http://schemas.microsoft.com/office/drawing/2014/main" id="{88C6CCB9-8062-4817-BE14-5440F34F1B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20" name="Objet 19" hidden="1">
                        <a:extLst>
                          <a:ext uri="{FF2B5EF4-FFF2-40B4-BE49-F238E27FC236}">
                            <a16:creationId xmlns:a16="http://schemas.microsoft.com/office/drawing/2014/main" id="{88C6CCB9-8062-4817-BE14-5440F34F1B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D123C62-7059-4EB4-8D3E-F924D2D7D45A}"/>
              </a:ext>
            </a:extLst>
          </p:cNvPr>
          <p:cNvSpPr>
            <a:spLocks noGrp="1"/>
          </p:cNvSpPr>
          <p:nvPr>
            <p:ph type="title"/>
          </p:nvPr>
        </p:nvSpPr>
        <p:spPr/>
        <p:txBody>
          <a:bodyPr vert="horz"/>
          <a:lstStyle/>
          <a:p>
            <a:r>
              <a:rPr lang="en-GB"/>
              <a:t>SWOT analysis</a:t>
            </a:r>
            <a:endParaRPr lang="en-GB" dirty="0"/>
          </a:p>
        </p:txBody>
      </p:sp>
      <p:sp>
        <p:nvSpPr>
          <p:cNvPr id="6" name="Rectangle 5">
            <a:extLst>
              <a:ext uri="{FF2B5EF4-FFF2-40B4-BE49-F238E27FC236}">
                <a16:creationId xmlns:a16="http://schemas.microsoft.com/office/drawing/2014/main" id="{9C4FD9F5-4EDB-4DD2-BF9C-6E96F774ADA8}"/>
              </a:ext>
            </a:extLst>
          </p:cNvPr>
          <p:cNvSpPr/>
          <p:nvPr/>
        </p:nvSpPr>
        <p:spPr bwMode="auto">
          <a:xfrm>
            <a:off x="614386" y="3988457"/>
            <a:ext cx="3402816" cy="2217013"/>
          </a:xfrm>
          <a:prstGeom prst="rect">
            <a:avLst/>
          </a:prstGeom>
          <a:solidFill>
            <a:schemeClr val="bg2">
              <a:lumMod val="9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rmAutofit/>
          </a:bodyPr>
          <a:lstStyle/>
          <a:p>
            <a:pPr marL="0" lvl="1" algn="l">
              <a:spcBef>
                <a:spcPts val="840"/>
              </a:spcBef>
              <a:spcAft>
                <a:spcPts val="0"/>
              </a:spcAft>
              <a:buClr>
                <a:srgbClr val="C2C2C2"/>
              </a:buClr>
              <a:buSzPct val="77000"/>
            </a:pPr>
            <a:r>
              <a:rPr lang="en-GB" b="1">
                <a:solidFill>
                  <a:schemeClr val="bg1"/>
                </a:solidFill>
                <a:latin typeface="+mn-lt"/>
              </a:rPr>
              <a:t>Weaknesses</a:t>
            </a:r>
            <a:endParaRPr lang="en-GB">
              <a:solidFill>
                <a:schemeClr val="bg1"/>
              </a:solidFill>
            </a:endParaRPr>
          </a:p>
          <a:p>
            <a:pPr marL="180000" lvl="1"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a:t>
            </a:r>
            <a:endParaRPr lang="en-GB" dirty="0">
              <a:solidFill>
                <a:schemeClr val="bg1"/>
              </a:solidFill>
            </a:endParaRPr>
          </a:p>
        </p:txBody>
      </p:sp>
      <p:sp>
        <p:nvSpPr>
          <p:cNvPr id="7" name="Rectangle 6">
            <a:extLst>
              <a:ext uri="{FF2B5EF4-FFF2-40B4-BE49-F238E27FC236}">
                <a16:creationId xmlns:a16="http://schemas.microsoft.com/office/drawing/2014/main" id="{FBF46BFC-4016-438D-BF6D-E64B9C23461B}"/>
              </a:ext>
            </a:extLst>
          </p:cNvPr>
          <p:cNvSpPr/>
          <p:nvPr/>
        </p:nvSpPr>
        <p:spPr bwMode="auto">
          <a:xfrm>
            <a:off x="4017202" y="3988457"/>
            <a:ext cx="3402816" cy="2217013"/>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rmAutofit/>
          </a:bodyPr>
          <a:lstStyle/>
          <a:p>
            <a:pPr marL="0" lvl="1" algn="l">
              <a:spcBef>
                <a:spcPts val="840"/>
              </a:spcBef>
              <a:spcAft>
                <a:spcPts val="0"/>
              </a:spcAft>
              <a:buClr>
                <a:srgbClr val="FFFFFF"/>
              </a:buClr>
              <a:buSzPct val="77000"/>
            </a:pPr>
            <a:r>
              <a:rPr lang="en-GB" b="1">
                <a:solidFill>
                  <a:schemeClr val="bg1"/>
                </a:solidFill>
                <a:latin typeface="+mn-lt"/>
              </a:rPr>
              <a:t>Threats</a:t>
            </a:r>
            <a:endParaRPr lang="en-GB">
              <a:solidFill>
                <a:schemeClr val="bg1"/>
              </a:solidFill>
            </a:endParaRPr>
          </a:p>
          <a:p>
            <a:pPr marL="180000" lvl="1"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a:t>
            </a:r>
            <a:endParaRPr lang="en-GB" dirty="0">
              <a:solidFill>
                <a:schemeClr val="bg1"/>
              </a:solidFill>
            </a:endParaRPr>
          </a:p>
        </p:txBody>
      </p:sp>
      <p:sp>
        <p:nvSpPr>
          <p:cNvPr id="8" name="Rectangle 7">
            <a:extLst>
              <a:ext uri="{FF2B5EF4-FFF2-40B4-BE49-F238E27FC236}">
                <a16:creationId xmlns:a16="http://schemas.microsoft.com/office/drawing/2014/main" id="{C9E228F9-CA71-40EC-BC41-87B6BC54A8B0}"/>
              </a:ext>
            </a:extLst>
          </p:cNvPr>
          <p:cNvSpPr/>
          <p:nvPr/>
        </p:nvSpPr>
        <p:spPr bwMode="auto">
          <a:xfrm>
            <a:off x="4017202" y="1777851"/>
            <a:ext cx="3402816" cy="2217013"/>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rmAutofit/>
          </a:bodyPr>
          <a:lstStyle/>
          <a:p>
            <a:pPr marL="0" lvl="1" algn="l">
              <a:spcBef>
                <a:spcPts val="840"/>
              </a:spcBef>
              <a:spcAft>
                <a:spcPts val="0"/>
              </a:spcAft>
              <a:buClr>
                <a:srgbClr val="FFFFFF"/>
              </a:buClr>
              <a:buSzPct val="77000"/>
            </a:pPr>
            <a:r>
              <a:rPr lang="en-GB" b="1">
                <a:solidFill>
                  <a:schemeClr val="bg1"/>
                </a:solidFill>
                <a:latin typeface="+mn-lt"/>
              </a:rPr>
              <a:t>Opportunities</a:t>
            </a:r>
            <a:endParaRPr lang="en-GB"/>
          </a:p>
          <a:p>
            <a:pPr marL="180000" lvl="1"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a:t>
            </a:r>
            <a:endParaRPr lang="en-GB" dirty="0">
              <a:solidFill>
                <a:schemeClr val="bg1"/>
              </a:solidFill>
            </a:endParaRPr>
          </a:p>
        </p:txBody>
      </p:sp>
      <p:sp>
        <p:nvSpPr>
          <p:cNvPr id="9" name="Rectangle 8">
            <a:extLst>
              <a:ext uri="{FF2B5EF4-FFF2-40B4-BE49-F238E27FC236}">
                <a16:creationId xmlns:a16="http://schemas.microsoft.com/office/drawing/2014/main" id="{9710F50E-453E-4856-8FF0-81A65303593F}"/>
              </a:ext>
            </a:extLst>
          </p:cNvPr>
          <p:cNvSpPr/>
          <p:nvPr/>
        </p:nvSpPr>
        <p:spPr bwMode="auto">
          <a:xfrm>
            <a:off x="614386" y="1777851"/>
            <a:ext cx="3402816" cy="2217013"/>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rmAutofit/>
          </a:bodyPr>
          <a:lstStyle/>
          <a:p>
            <a:pPr marL="0" lvl="1" algn="l">
              <a:spcBef>
                <a:spcPts val="840"/>
              </a:spcBef>
              <a:spcAft>
                <a:spcPts val="0"/>
              </a:spcAft>
              <a:buClr>
                <a:srgbClr val="FFFFFF"/>
              </a:buClr>
              <a:buSzPct val="77000"/>
            </a:pPr>
            <a:r>
              <a:rPr lang="en-GB" b="1">
                <a:solidFill>
                  <a:schemeClr val="bg1"/>
                </a:solidFill>
                <a:latin typeface="+mn-lt"/>
              </a:rPr>
              <a:t>Strengths</a:t>
            </a:r>
            <a:endParaRPr lang="en-GB">
              <a:solidFill>
                <a:schemeClr val="bg1"/>
              </a:solidFill>
              <a:latin typeface="+mn-lt"/>
            </a:endParaRPr>
          </a:p>
          <a:p>
            <a:pPr marL="180000" lvl="1"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a:t>
            </a:r>
            <a:endParaRPr lang="en-GB" dirty="0">
              <a:solidFill>
                <a:schemeClr val="bg1"/>
              </a:solidFill>
            </a:endParaRPr>
          </a:p>
        </p:txBody>
      </p:sp>
      <p:sp>
        <p:nvSpPr>
          <p:cNvPr id="12" name="ZoneTexte 11">
            <a:extLst>
              <a:ext uri="{FF2B5EF4-FFF2-40B4-BE49-F238E27FC236}">
                <a16:creationId xmlns:a16="http://schemas.microsoft.com/office/drawing/2014/main" id="{8101D70B-3A27-4EB9-8F21-2418ECF2F326}"/>
              </a:ext>
            </a:extLst>
          </p:cNvPr>
          <p:cNvSpPr txBox="1"/>
          <p:nvPr/>
        </p:nvSpPr>
        <p:spPr>
          <a:xfrm>
            <a:off x="6226233" y="5861719"/>
            <a:ext cx="1139432" cy="326040"/>
          </a:xfrm>
          <a:prstGeom prst="rect">
            <a:avLst/>
          </a:prstGeom>
          <a:noFill/>
        </p:spPr>
        <p:txBody>
          <a:bodyPr wrap="square" rtlCol="0">
            <a:noAutofit/>
          </a:bodyPr>
          <a:lstStyle/>
          <a:p>
            <a:pPr algn="r"/>
            <a:endParaRPr lang="en-GB" b="1" dirty="0">
              <a:solidFill>
                <a:schemeClr val="bg1"/>
              </a:solidFill>
              <a:latin typeface="+mn-lt"/>
            </a:endParaRPr>
          </a:p>
        </p:txBody>
      </p:sp>
      <p:sp>
        <p:nvSpPr>
          <p:cNvPr id="13" name="ZoneTexte 12">
            <a:extLst>
              <a:ext uri="{FF2B5EF4-FFF2-40B4-BE49-F238E27FC236}">
                <a16:creationId xmlns:a16="http://schemas.microsoft.com/office/drawing/2014/main" id="{5CF1B5C6-CD31-46AA-898B-679669C8E14F}"/>
              </a:ext>
            </a:extLst>
          </p:cNvPr>
          <p:cNvSpPr txBox="1"/>
          <p:nvPr/>
        </p:nvSpPr>
        <p:spPr>
          <a:xfrm>
            <a:off x="609106" y="5861719"/>
            <a:ext cx="1485443" cy="326040"/>
          </a:xfrm>
          <a:prstGeom prst="rect">
            <a:avLst/>
          </a:prstGeom>
          <a:noFill/>
        </p:spPr>
        <p:txBody>
          <a:bodyPr wrap="square" rtlCol="0">
            <a:noAutofit/>
          </a:bodyPr>
          <a:lstStyle/>
          <a:p>
            <a:pPr algn="l"/>
            <a:endParaRPr lang="en-GB" b="1" dirty="0">
              <a:solidFill>
                <a:schemeClr val="accent2"/>
              </a:solidFill>
              <a:latin typeface="+mn-lt"/>
            </a:endParaRPr>
          </a:p>
        </p:txBody>
      </p:sp>
      <p:sp>
        <p:nvSpPr>
          <p:cNvPr id="14" name="ZoneTexte 13">
            <a:extLst>
              <a:ext uri="{FF2B5EF4-FFF2-40B4-BE49-F238E27FC236}">
                <a16:creationId xmlns:a16="http://schemas.microsoft.com/office/drawing/2014/main" id="{FEB90802-2E29-4ACC-B2E6-93EA2037D868}"/>
              </a:ext>
            </a:extLst>
          </p:cNvPr>
          <p:cNvSpPr txBox="1"/>
          <p:nvPr/>
        </p:nvSpPr>
        <p:spPr>
          <a:xfrm>
            <a:off x="614386" y="1427479"/>
            <a:ext cx="1218603" cy="338554"/>
          </a:xfrm>
          <a:prstGeom prst="rect">
            <a:avLst/>
          </a:prstGeom>
          <a:noFill/>
        </p:spPr>
        <p:txBody>
          <a:bodyPr wrap="none" rtlCol="0">
            <a:spAutoFit/>
          </a:bodyPr>
          <a:lstStyle/>
          <a:p>
            <a:pPr algn="r"/>
            <a:r>
              <a:rPr lang="en-GB" sz="1600" b="1">
                <a:solidFill>
                  <a:schemeClr val="accent2"/>
                </a:solidFill>
                <a:latin typeface="+mn-lt"/>
              </a:rPr>
              <a:t>INTERNAL</a:t>
            </a:r>
            <a:endParaRPr lang="en-GB" sz="1600" b="1" dirty="0">
              <a:solidFill>
                <a:schemeClr val="accent2"/>
              </a:solidFill>
              <a:latin typeface="+mn-lt"/>
            </a:endParaRPr>
          </a:p>
        </p:txBody>
      </p:sp>
      <p:sp>
        <p:nvSpPr>
          <p:cNvPr id="18" name="ZoneTexte 17">
            <a:extLst>
              <a:ext uri="{FF2B5EF4-FFF2-40B4-BE49-F238E27FC236}">
                <a16:creationId xmlns:a16="http://schemas.microsoft.com/office/drawing/2014/main" id="{18D6E19D-83F7-444C-AE42-CB2F0833B898}"/>
              </a:ext>
            </a:extLst>
          </p:cNvPr>
          <p:cNvSpPr txBox="1"/>
          <p:nvPr/>
        </p:nvSpPr>
        <p:spPr>
          <a:xfrm>
            <a:off x="4017171" y="1427479"/>
            <a:ext cx="1285929" cy="338554"/>
          </a:xfrm>
          <a:prstGeom prst="rect">
            <a:avLst/>
          </a:prstGeom>
          <a:noFill/>
        </p:spPr>
        <p:txBody>
          <a:bodyPr wrap="none" rtlCol="0">
            <a:spAutoFit/>
          </a:bodyPr>
          <a:lstStyle/>
          <a:p>
            <a:pPr algn="r"/>
            <a:r>
              <a:rPr lang="en-GB" sz="1600" b="1">
                <a:solidFill>
                  <a:schemeClr val="accent2"/>
                </a:solidFill>
                <a:latin typeface="+mn-lt"/>
              </a:rPr>
              <a:t>EXTERNAL</a:t>
            </a:r>
            <a:endParaRPr lang="en-GB" sz="1600" b="1" dirty="0">
              <a:solidFill>
                <a:schemeClr val="accent2"/>
              </a:solidFill>
              <a:latin typeface="+mn-lt"/>
            </a:endParaRPr>
          </a:p>
        </p:txBody>
      </p:sp>
      <p:sp>
        <p:nvSpPr>
          <p:cNvPr id="19" name="Rectangle 18">
            <a:extLst>
              <a:ext uri="{FF2B5EF4-FFF2-40B4-BE49-F238E27FC236}">
                <a16:creationId xmlns:a16="http://schemas.microsoft.com/office/drawing/2014/main" id="{1596A42D-5A29-4476-90CD-66474AF0F36C}"/>
              </a:ext>
            </a:extLst>
          </p:cNvPr>
          <p:cNvSpPr/>
          <p:nvPr/>
        </p:nvSpPr>
        <p:spPr bwMode="auto">
          <a:xfrm>
            <a:off x="7856807" y="1786354"/>
            <a:ext cx="3720807" cy="2982416"/>
          </a:xfrm>
          <a:prstGeom prst="rect">
            <a:avLst/>
          </a:prstGeom>
          <a:solidFill>
            <a:srgbClr val="D9D9D9"/>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eaLnBrk="1" hangingPunct="1">
              <a:spcBef>
                <a:spcPts val="400"/>
              </a:spcBef>
              <a:spcAft>
                <a:spcPts val="400"/>
              </a:spcAft>
              <a:buSzPct val="77000"/>
              <a:defRPr/>
            </a:pPr>
            <a:r>
              <a:rPr lang="en-GB" b="1" kern="0">
                <a:solidFill>
                  <a:schemeClr val="accent2"/>
                </a:solidFill>
                <a:latin typeface="+mn-lt"/>
                <a:cs typeface="Arial" pitchFamily="34" charset="0"/>
              </a:rPr>
              <a:t>Comments</a:t>
            </a:r>
          </a:p>
          <a:p>
            <a:pPr algn="l" eaLnBrk="1" hangingPunct="1">
              <a:spcBef>
                <a:spcPts val="400"/>
              </a:spcBef>
              <a:spcAft>
                <a:spcPts val="400"/>
              </a:spcAft>
              <a:buSzPct val="77000"/>
              <a:defRPr/>
            </a:pPr>
            <a:r>
              <a:rPr lang="en-GB" kern="0">
                <a:solidFill>
                  <a:schemeClr val="accent2"/>
                </a:solidFill>
                <a:latin typeface="+mn-lt"/>
                <a:cs typeface="Arial" pitchFamily="34" charset="0"/>
              </a:rPr>
              <a:t>Lorem ipsum</a:t>
            </a:r>
            <a:endParaRPr lang="en-GB" kern="0" dirty="0">
              <a:solidFill>
                <a:schemeClr val="accent2"/>
              </a:solidFill>
              <a:latin typeface="+mn-lt"/>
              <a:cs typeface="Arial" pitchFamily="34" charset="0"/>
            </a:endParaRPr>
          </a:p>
        </p:txBody>
      </p:sp>
      <p:sp>
        <p:nvSpPr>
          <p:cNvPr id="28" name="Rectangle 27">
            <a:extLst>
              <a:ext uri="{FF2B5EF4-FFF2-40B4-BE49-F238E27FC236}">
                <a16:creationId xmlns:a16="http://schemas.microsoft.com/office/drawing/2014/main" id="{754F78E3-296A-4000-AA37-AB66253436BC}"/>
              </a:ext>
            </a:extLst>
          </p:cNvPr>
          <p:cNvSpPr/>
          <p:nvPr/>
        </p:nvSpPr>
        <p:spPr bwMode="auto">
          <a:xfrm>
            <a:off x="7856807" y="4768770"/>
            <a:ext cx="3720807" cy="14367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eaLnBrk="1" hangingPunct="1">
              <a:spcBef>
                <a:spcPts val="400"/>
              </a:spcBef>
              <a:spcAft>
                <a:spcPts val="400"/>
              </a:spcAft>
              <a:buSzPct val="77000"/>
              <a:defRPr/>
            </a:pPr>
            <a:r>
              <a:rPr lang="en-GB" b="1" kern="0">
                <a:solidFill>
                  <a:schemeClr val="bg1"/>
                </a:solidFill>
                <a:latin typeface="+mn-lt"/>
                <a:cs typeface="Arial" pitchFamily="34" charset="0"/>
              </a:rPr>
              <a:t>Suggested actions</a:t>
            </a:r>
          </a:p>
          <a:p>
            <a:pPr algn="l" eaLnBrk="1" hangingPunct="1">
              <a:spcBef>
                <a:spcPts val="400"/>
              </a:spcBef>
              <a:spcAft>
                <a:spcPts val="400"/>
              </a:spcAft>
              <a:buSzPct val="77000"/>
              <a:defRPr/>
            </a:pPr>
            <a:r>
              <a:rPr lang="en-GB" kern="0">
                <a:solidFill>
                  <a:schemeClr val="bg1"/>
                </a:solidFill>
                <a:latin typeface="+mn-lt"/>
                <a:cs typeface="Arial" pitchFamily="34" charset="0"/>
              </a:rPr>
              <a:t>Lorem ipsum</a:t>
            </a:r>
            <a:endParaRPr lang="en-GB" kern="0" dirty="0">
              <a:solidFill>
                <a:schemeClr val="bg1"/>
              </a:solidFill>
              <a:latin typeface="+mn-lt"/>
              <a:cs typeface="Arial" pitchFamily="34" charset="0"/>
            </a:endParaRPr>
          </a:p>
        </p:txBody>
      </p:sp>
    </p:spTree>
    <p:extLst>
      <p:ext uri="{BB962C8B-B14F-4D97-AF65-F5344CB8AC3E}">
        <p14:creationId xmlns:p14="http://schemas.microsoft.com/office/powerpoint/2010/main" val="77368107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DAADDDDA-9E00-4352-8787-6B00E2A127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DAADDDDA-9E00-4352-8787-6B00E2A127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E3F1283-FCA8-4A57-9EC5-D23151088858}"/>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E774DB76-9D1D-4A70-B43C-F2CD9498ED9E}"/>
              </a:ext>
            </a:extLst>
          </p:cNvPr>
          <p:cNvSpPr>
            <a:spLocks noGrp="1"/>
          </p:cNvSpPr>
          <p:nvPr>
            <p:ph type="title"/>
          </p:nvPr>
        </p:nvSpPr>
        <p:spPr/>
        <p:txBody>
          <a:bodyPr vert="horz"/>
          <a:lstStyle/>
          <a:p>
            <a:r>
              <a:rPr lang="en-GB">
                <a:latin typeface="Arial"/>
                <a:cs typeface="Arial"/>
              </a:rPr>
              <a:t>Key message to introduce the 4 levels and the RACI</a:t>
            </a:r>
            <a:endParaRPr lang="en-GB" dirty="0">
              <a:latin typeface="Arial"/>
              <a:cs typeface="Arial"/>
            </a:endParaRPr>
          </a:p>
        </p:txBody>
      </p:sp>
      <p:grpSp>
        <p:nvGrpSpPr>
          <p:cNvPr id="6" name="Groupe 5">
            <a:extLst>
              <a:ext uri="{FF2B5EF4-FFF2-40B4-BE49-F238E27FC236}">
                <a16:creationId xmlns:a16="http://schemas.microsoft.com/office/drawing/2014/main" id="{1EE36FE7-68F5-453C-9775-39A29BFC42FB}"/>
              </a:ext>
            </a:extLst>
          </p:cNvPr>
          <p:cNvGrpSpPr/>
          <p:nvPr/>
        </p:nvGrpSpPr>
        <p:grpSpPr>
          <a:xfrm>
            <a:off x="1053630" y="2119775"/>
            <a:ext cx="3663314" cy="3526640"/>
            <a:chOff x="978306" y="3033629"/>
            <a:chExt cx="3820650" cy="3324739"/>
          </a:xfrm>
        </p:grpSpPr>
        <p:grpSp>
          <p:nvGrpSpPr>
            <p:cNvPr id="12" name="Groupe 11">
              <a:extLst>
                <a:ext uri="{FF2B5EF4-FFF2-40B4-BE49-F238E27FC236}">
                  <a16:creationId xmlns:a16="http://schemas.microsoft.com/office/drawing/2014/main" id="{47B5E908-E85B-4FCD-869B-0602194A1D03}"/>
                </a:ext>
              </a:extLst>
            </p:cNvPr>
            <p:cNvGrpSpPr/>
            <p:nvPr/>
          </p:nvGrpSpPr>
          <p:grpSpPr>
            <a:xfrm>
              <a:off x="978306" y="3033629"/>
              <a:ext cx="3820650" cy="3324739"/>
              <a:chOff x="354090" y="2078675"/>
              <a:chExt cx="5872583" cy="3839472"/>
            </a:xfrm>
          </p:grpSpPr>
          <p:sp>
            <p:nvSpPr>
              <p:cNvPr id="13" name="Triangle isocèle 12">
                <a:extLst>
                  <a:ext uri="{FF2B5EF4-FFF2-40B4-BE49-F238E27FC236}">
                    <a16:creationId xmlns:a16="http://schemas.microsoft.com/office/drawing/2014/main" id="{B1479407-DF9D-4F3E-9F40-39752A10E691}"/>
                  </a:ext>
                </a:extLst>
              </p:cNvPr>
              <p:cNvSpPr/>
              <p:nvPr/>
            </p:nvSpPr>
            <p:spPr>
              <a:xfrm>
                <a:off x="354090" y="2085389"/>
                <a:ext cx="5872583" cy="3832758"/>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ctr"/>
                <a:endParaRPr lang="en-GB" sz="1200" dirty="0"/>
              </a:p>
            </p:txBody>
          </p:sp>
          <p:sp>
            <p:nvSpPr>
              <p:cNvPr id="14" name="Triangle isocèle 13">
                <a:extLst>
                  <a:ext uri="{FF2B5EF4-FFF2-40B4-BE49-F238E27FC236}">
                    <a16:creationId xmlns:a16="http://schemas.microsoft.com/office/drawing/2014/main" id="{252ACA26-8BB2-4B3F-9C39-E77A4ED71CEB}"/>
                  </a:ext>
                </a:extLst>
              </p:cNvPr>
              <p:cNvSpPr/>
              <p:nvPr/>
            </p:nvSpPr>
            <p:spPr>
              <a:xfrm>
                <a:off x="1071565" y="2085389"/>
                <a:ext cx="4437631" cy="29033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ctr"/>
                <a:endParaRPr lang="en-GB" sz="1200" dirty="0"/>
              </a:p>
            </p:txBody>
          </p:sp>
          <p:sp>
            <p:nvSpPr>
              <p:cNvPr id="15" name="Triangle isocèle 14">
                <a:extLst>
                  <a:ext uri="{FF2B5EF4-FFF2-40B4-BE49-F238E27FC236}">
                    <a16:creationId xmlns:a16="http://schemas.microsoft.com/office/drawing/2014/main" id="{A2D0489A-F4CD-44A7-9F85-177EF663488B}"/>
                  </a:ext>
                </a:extLst>
              </p:cNvPr>
              <p:cNvSpPr/>
              <p:nvPr/>
            </p:nvSpPr>
            <p:spPr>
              <a:xfrm>
                <a:off x="1623352" y="2085391"/>
                <a:ext cx="3334059" cy="219269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b"/>
              <a:lstStyle/>
              <a:p>
                <a:pPr algn="ctr"/>
                <a:r>
                  <a:rPr lang="en-GB" sz="1200"/>
                  <a:t>Level 2</a:t>
                </a:r>
              </a:p>
              <a:p>
                <a:pPr algn="ctr"/>
                <a:endParaRPr lang="en-GB" sz="1200" dirty="0"/>
              </a:p>
            </p:txBody>
          </p:sp>
          <p:sp>
            <p:nvSpPr>
              <p:cNvPr id="16" name="Triangle isocèle 15">
                <a:extLst>
                  <a:ext uri="{FF2B5EF4-FFF2-40B4-BE49-F238E27FC236}">
                    <a16:creationId xmlns:a16="http://schemas.microsoft.com/office/drawing/2014/main" id="{ABE90060-B00B-4A8D-861B-DB1DAFEF7FBB}"/>
                  </a:ext>
                </a:extLst>
              </p:cNvPr>
              <p:cNvSpPr/>
              <p:nvPr/>
            </p:nvSpPr>
            <p:spPr>
              <a:xfrm>
                <a:off x="2247843" y="2078675"/>
                <a:ext cx="2078447" cy="13570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ts val="0"/>
                  </a:spcBef>
                </a:pPr>
                <a:r>
                  <a:rPr lang="en-GB" sz="1200"/>
                  <a:t>Level 1</a:t>
                </a:r>
                <a:endParaRPr lang="en-GB" sz="1200" dirty="0"/>
              </a:p>
            </p:txBody>
          </p:sp>
        </p:grpSp>
        <p:sp>
          <p:nvSpPr>
            <p:cNvPr id="20" name="ZoneTexte 19">
              <a:extLst>
                <a:ext uri="{FF2B5EF4-FFF2-40B4-BE49-F238E27FC236}">
                  <a16:creationId xmlns:a16="http://schemas.microsoft.com/office/drawing/2014/main" id="{5FB68CB9-7D1A-48AA-B71E-D5D8548E5D8B}"/>
                </a:ext>
              </a:extLst>
            </p:cNvPr>
            <p:cNvSpPr txBox="1"/>
            <p:nvPr/>
          </p:nvSpPr>
          <p:spPr>
            <a:xfrm>
              <a:off x="1736669" y="5115277"/>
              <a:ext cx="2247362" cy="261141"/>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Level 3</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graphicFrame>
        <p:nvGraphicFramePr>
          <p:cNvPr id="22" name="Tableau 12">
            <a:extLst>
              <a:ext uri="{FF2B5EF4-FFF2-40B4-BE49-F238E27FC236}">
                <a16:creationId xmlns:a16="http://schemas.microsoft.com/office/drawing/2014/main" id="{95C90349-E110-47CE-9F22-BCD85DD67E90}"/>
              </a:ext>
            </a:extLst>
          </p:cNvPr>
          <p:cNvGraphicFramePr>
            <a:graphicFrameLocks/>
          </p:cNvGraphicFramePr>
          <p:nvPr>
            <p:extLst>
              <p:ext uri="{D42A27DB-BD31-4B8C-83A1-F6EECF244321}">
                <p14:modId xmlns:p14="http://schemas.microsoft.com/office/powerpoint/2010/main" val="195573730"/>
              </p:ext>
            </p:extLst>
          </p:nvPr>
        </p:nvGraphicFramePr>
        <p:xfrm>
          <a:off x="5227481" y="1794805"/>
          <a:ext cx="6078684" cy="4000722"/>
        </p:xfrm>
        <a:graphic>
          <a:graphicData uri="http://schemas.openxmlformats.org/drawingml/2006/table">
            <a:tbl>
              <a:tblPr firstRow="1" bandRow="1" bandCol="1">
                <a:tableStyleId>{69012ECD-51FC-41F1-AA8D-1B2483CD663E}</a:tableStyleId>
              </a:tblPr>
              <a:tblGrid>
                <a:gridCol w="246684">
                  <a:extLst>
                    <a:ext uri="{9D8B030D-6E8A-4147-A177-3AD203B41FA5}">
                      <a16:colId xmlns:a16="http://schemas.microsoft.com/office/drawing/2014/main" val="28244931"/>
                    </a:ext>
                  </a:extLst>
                </a:gridCol>
                <a:gridCol w="3240000">
                  <a:extLst>
                    <a:ext uri="{9D8B030D-6E8A-4147-A177-3AD203B41FA5}">
                      <a16:colId xmlns:a16="http://schemas.microsoft.com/office/drawing/2014/main" val="1598807295"/>
                    </a:ext>
                  </a:extLst>
                </a:gridCol>
                <a:gridCol w="864000">
                  <a:extLst>
                    <a:ext uri="{9D8B030D-6E8A-4147-A177-3AD203B41FA5}">
                      <a16:colId xmlns:a16="http://schemas.microsoft.com/office/drawing/2014/main" val="890611186"/>
                    </a:ext>
                  </a:extLst>
                </a:gridCol>
                <a:gridCol w="864000">
                  <a:extLst>
                    <a:ext uri="{9D8B030D-6E8A-4147-A177-3AD203B41FA5}">
                      <a16:colId xmlns:a16="http://schemas.microsoft.com/office/drawing/2014/main" val="2026404260"/>
                    </a:ext>
                  </a:extLst>
                </a:gridCol>
                <a:gridCol w="864000">
                  <a:extLst>
                    <a:ext uri="{9D8B030D-6E8A-4147-A177-3AD203B41FA5}">
                      <a16:colId xmlns:a16="http://schemas.microsoft.com/office/drawing/2014/main" val="129764517"/>
                    </a:ext>
                  </a:extLst>
                </a:gridCol>
              </a:tblGrid>
              <a:tr h="252413">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a:r>
                        <a:rPr lang="en-GB" sz="1100"/>
                        <a:t>Actions</a:t>
                      </a:r>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a:r>
                        <a:rPr lang="en-GB" sz="1100"/>
                        <a:t>Person 1</a:t>
                      </a:r>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a:r>
                        <a:rPr lang="en-GB" sz="1100"/>
                        <a:t>Person 2</a:t>
                      </a:r>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a:r>
                        <a:rPr lang="en-GB" sz="1100"/>
                        <a:t>Person 3</a:t>
                      </a:r>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14858621"/>
                  </a:ext>
                </a:extLst>
              </a:tr>
              <a:tr h="415738">
                <a:tc>
                  <a:txBody>
                    <a:bodyPr/>
                    <a:lstStyle/>
                    <a:p>
                      <a:endParaRPr lang="en-GB" sz="1100" dirty="0">
                        <a:solidFill>
                          <a:schemeClr val="accent2"/>
                        </a:solidFill>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I</a:t>
                      </a:r>
                      <a:endParaRPr lang="en-GB" sz="1100" b="0" kern="1200" dirty="0">
                        <a:solidFill>
                          <a:schemeClr val="tx1"/>
                        </a:solidFill>
                        <a:latin typeface="+mn-lt"/>
                        <a:ea typeface="+mn-ea"/>
                        <a:cs typeface="+mn-cs"/>
                      </a:endParaRPr>
                    </a:p>
                  </a:txBody>
                  <a:tcPr marL="100584" marR="1005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07567464"/>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00584" marR="1005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336813791"/>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I</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00584" marR="1005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68740943"/>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marL="0" marR="0" lvl="0" indent="0" algn="l" defTabSz="1125444" rtl="0" eaLnBrk="1" fontAlgn="auto" latinLnBrk="0" hangingPunct="1">
                        <a:lnSpc>
                          <a:spcPct val="100000"/>
                        </a:lnSpc>
                        <a:spcBef>
                          <a:spcPts val="0"/>
                        </a:spcBef>
                        <a:spcAft>
                          <a:spcPts val="0"/>
                        </a:spcAft>
                        <a:buClrTx/>
                        <a:buSzTx/>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I</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00584" marR="1005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204528794"/>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663659322"/>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618244988"/>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lv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lv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C</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159818112"/>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I</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414528171"/>
                  </a:ext>
                </a:extLst>
              </a:tr>
              <a:tr h="415738">
                <a:tc>
                  <a:txBody>
                    <a:bodyPr/>
                    <a:lstStyle/>
                    <a:p>
                      <a:endParaRPr lang="en-GB" sz="1100" dirty="0"/>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Lorem ipsum</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I</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R</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indent="0" algn="l" defTabSz="1125444" rtl="0" eaLnBrk="1" latinLnBrk="0" hangingPunct="1">
                        <a:buFont typeface="Arial" panose="020B0604020202020204" pitchFamily="34" charset="0"/>
                        <a:buNone/>
                      </a:pPr>
                      <a:r>
                        <a:rPr lang="en-GB" sz="1100" b="0" kern="1200">
                          <a:solidFill>
                            <a:schemeClr val="tx1"/>
                          </a:solidFill>
                          <a:latin typeface="+mn-lt"/>
                          <a:ea typeface="+mn-ea"/>
                          <a:cs typeface="+mn-cs"/>
                        </a:rPr>
                        <a:t>A</a:t>
                      </a:r>
                      <a:endParaRPr lang="en-GB" sz="1100" b="0" kern="1200" dirty="0">
                        <a:solidFill>
                          <a:schemeClr val="tx1"/>
                        </a:solidFill>
                        <a:latin typeface="+mn-lt"/>
                        <a:ea typeface="+mn-ea"/>
                        <a:cs typeface="+mn-cs"/>
                      </a:endParaRPr>
                    </a:p>
                  </a:txBody>
                  <a:tcPr marL="110642" marR="110642">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784878478"/>
                  </a:ext>
                </a:extLst>
              </a:tr>
            </a:tbl>
          </a:graphicData>
        </a:graphic>
      </p:graphicFrame>
      <p:sp>
        <p:nvSpPr>
          <p:cNvPr id="32" name="ZoneTexte 31">
            <a:extLst>
              <a:ext uri="{FF2B5EF4-FFF2-40B4-BE49-F238E27FC236}">
                <a16:creationId xmlns:a16="http://schemas.microsoft.com/office/drawing/2014/main" id="{3B1B6D43-5392-464A-9D81-5C191391E872}"/>
              </a:ext>
            </a:extLst>
          </p:cNvPr>
          <p:cNvSpPr txBox="1"/>
          <p:nvPr/>
        </p:nvSpPr>
        <p:spPr>
          <a:xfrm>
            <a:off x="1863712" y="5274091"/>
            <a:ext cx="2038602" cy="276999"/>
          </a:xfrm>
          <a:prstGeom prst="rect">
            <a:avLst/>
          </a:prstGeom>
          <a:noFill/>
        </p:spPr>
        <p:txBody>
          <a:bodyPr wrap="square">
            <a:spAutoFit/>
          </a:bodyPr>
          <a:lstStyle/>
          <a:p>
            <a:pPr marL="0" marR="0" lvl="0" indent="0" algn="ctr" defTabSz="914400" rtl="0" eaLnBrk="0" fontAlgn="base" latinLnBrk="0" hangingPunct="0">
              <a:lnSpc>
                <a:spcPct val="100000"/>
              </a:lnSpc>
              <a:spcBef>
                <a:spcPct val="50000"/>
              </a:spcBef>
              <a:spcAft>
                <a:spcPct val="0"/>
              </a:spcAft>
              <a:buClr>
                <a:srgbClr val="B40646"/>
              </a:buClr>
              <a:buSzTx/>
              <a:buFont typeface="Wingdings" pitchFamily="2" charset="2"/>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Level 4</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ZoneTexte 16">
            <a:extLst>
              <a:ext uri="{FF2B5EF4-FFF2-40B4-BE49-F238E27FC236}">
                <a16:creationId xmlns:a16="http://schemas.microsoft.com/office/drawing/2014/main" id="{944B0D81-7AD3-4051-84F1-61A206F0D8D4}"/>
              </a:ext>
            </a:extLst>
          </p:cNvPr>
          <p:cNvSpPr txBox="1"/>
          <p:nvPr/>
        </p:nvSpPr>
        <p:spPr>
          <a:xfrm>
            <a:off x="8743235" y="1463040"/>
            <a:ext cx="584629" cy="360850"/>
          </a:xfrm>
          <a:prstGeom prst="rect">
            <a:avLst/>
          </a:prstGeom>
          <a:noFill/>
        </p:spPr>
        <p:txBody>
          <a:bodyPr wrap="square" lIns="72000" tIns="72000" rIns="72000" bIns="72000" rtlCol="0">
            <a:spAutoFit/>
          </a:bodyPr>
          <a:lstStyle/>
          <a:p>
            <a:pPr algn="l"/>
            <a:r>
              <a:rPr lang="en-GB" b="1">
                <a:solidFill>
                  <a:schemeClr val="accent2"/>
                </a:solidFill>
              </a:rPr>
              <a:t>RACI</a:t>
            </a:r>
            <a:endParaRPr lang="en-GB" b="1" dirty="0">
              <a:solidFill>
                <a:schemeClr val="accent2"/>
              </a:solidFill>
            </a:endParaRPr>
          </a:p>
        </p:txBody>
      </p:sp>
    </p:spTree>
    <p:extLst>
      <p:ext uri="{BB962C8B-B14F-4D97-AF65-F5344CB8AC3E}">
        <p14:creationId xmlns:p14="http://schemas.microsoft.com/office/powerpoint/2010/main" val="10733125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BA008-1BF1-5821-41FD-5A5994A79C9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741D289-C6F4-D4A3-AAD0-EC24F929E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7" name="think-cell data - do not delete" hidden="1">
                        <a:extLst>
                          <a:ext uri="{FF2B5EF4-FFF2-40B4-BE49-F238E27FC236}">
                            <a16:creationId xmlns:a16="http://schemas.microsoft.com/office/drawing/2014/main" id="{6741D289-C6F4-D4A3-AAD0-EC24F929E8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5A22723-8B79-07B1-0D6E-D7A54AD56055}"/>
              </a:ext>
            </a:extLst>
          </p:cNvPr>
          <p:cNvSpPr>
            <a:spLocks noGrp="1"/>
          </p:cNvSpPr>
          <p:nvPr>
            <p:ph type="title"/>
          </p:nvPr>
        </p:nvSpPr>
        <p:spPr/>
        <p:txBody>
          <a:bodyPr vert="horz"/>
          <a:lstStyle/>
          <a:p>
            <a:r>
              <a:rPr lang="en-GB"/>
              <a:t>Financial statement – three key indicators</a:t>
            </a:r>
          </a:p>
        </p:txBody>
      </p:sp>
      <p:grpSp>
        <p:nvGrpSpPr>
          <p:cNvPr id="43" name="Groupe 42">
            <a:extLst>
              <a:ext uri="{FF2B5EF4-FFF2-40B4-BE49-F238E27FC236}">
                <a16:creationId xmlns:a16="http://schemas.microsoft.com/office/drawing/2014/main" id="{6AD6ADCF-3748-0948-A78B-E4427A20F0E5}"/>
              </a:ext>
            </a:extLst>
          </p:cNvPr>
          <p:cNvGrpSpPr/>
          <p:nvPr/>
        </p:nvGrpSpPr>
        <p:grpSpPr>
          <a:xfrm>
            <a:off x="1188365" y="1665339"/>
            <a:ext cx="5724061" cy="1440000"/>
            <a:chOff x="1014085" y="1038717"/>
            <a:chExt cx="5724061" cy="1440000"/>
          </a:xfrm>
        </p:grpSpPr>
        <p:sp>
          <p:nvSpPr>
            <p:cNvPr id="44" name="ZoneTexte 43">
              <a:extLst>
                <a:ext uri="{FF2B5EF4-FFF2-40B4-BE49-F238E27FC236}">
                  <a16:creationId xmlns:a16="http://schemas.microsoft.com/office/drawing/2014/main" id="{6AF15955-127A-A8B2-905C-CFF7D06BE21A}"/>
                </a:ext>
              </a:extLst>
            </p:cNvPr>
            <p:cNvSpPr txBox="1"/>
            <p:nvPr/>
          </p:nvSpPr>
          <p:spPr>
            <a:xfrm>
              <a:off x="2658901" y="1514375"/>
              <a:ext cx="4079245"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45" name="Oval 31">
              <a:extLst>
                <a:ext uri="{FF2B5EF4-FFF2-40B4-BE49-F238E27FC236}">
                  <a16:creationId xmlns:a16="http://schemas.microsoft.com/office/drawing/2014/main" id="{F6AD8639-88B8-2D2E-140F-C5FCCAEDB545}"/>
                </a:ext>
              </a:extLst>
            </p:cNvPr>
            <p:cNvSpPr>
              <a:spLocks noChangeAspect="1"/>
            </p:cNvSpPr>
            <p:nvPr/>
          </p:nvSpPr>
          <p:spPr>
            <a:xfrm>
              <a:off x="1014085" y="1038717"/>
              <a:ext cx="1440000" cy="1440000"/>
            </a:xfrm>
            <a:prstGeom prst="ellipse">
              <a:avLst/>
            </a:prstGeom>
            <a:solidFill>
              <a:schemeClr val="accent4"/>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 </a:t>
              </a:r>
              <a:r>
                <a:rPr kumimoji="0" lang="fr-FR" sz="1800" b="1" i="0" u="none" strike="noStrike" kern="0" cap="none" spc="0" normalizeH="0" baseline="0" noProof="0">
                  <a:ln>
                    <a:noFill/>
                  </a:ln>
                  <a:solidFill>
                    <a:srgbClr val="FFFFFF"/>
                  </a:solidFill>
                  <a:effectLst/>
                  <a:uLnTx/>
                  <a:uFillTx/>
                  <a:latin typeface="+mn-lt"/>
                  <a:ea typeface="+mn-ea"/>
                  <a:cs typeface="+mn-cs"/>
                </a:rPr>
                <a:t>m€ </a:t>
              </a:r>
            </a:p>
            <a:p>
              <a:pPr marL="0" marR="0" lvl="0" indent="0" defTabSz="6858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rgbClr val="FFFFFF"/>
                  </a:solidFill>
                  <a:effectLst/>
                  <a:uLnTx/>
                  <a:uFillTx/>
                  <a:latin typeface="+mn-lt"/>
                  <a:ea typeface="+mn-ea"/>
                  <a:cs typeface="+mn-cs"/>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aphicFrame>
        <p:nvGraphicFramePr>
          <p:cNvPr id="4" name="Table 9">
            <a:extLst>
              <a:ext uri="{FF2B5EF4-FFF2-40B4-BE49-F238E27FC236}">
                <a16:creationId xmlns:a16="http://schemas.microsoft.com/office/drawing/2014/main" id="{1F7858DA-76F4-85DF-53C9-7E9CF133B064}"/>
              </a:ext>
            </a:extLst>
          </p:cNvPr>
          <p:cNvGraphicFramePr>
            <a:graphicFrameLocks noGrp="1"/>
          </p:cNvGraphicFramePr>
          <p:nvPr/>
        </p:nvGraphicFramePr>
        <p:xfrm>
          <a:off x="7392263" y="1836699"/>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solidFill>
                      <a:srgbClr val="C63E1B"/>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solidFill>
                      <a:srgbClr val="C63E1B"/>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grpSp>
        <p:nvGrpSpPr>
          <p:cNvPr id="22" name="Groupe 21">
            <a:extLst>
              <a:ext uri="{FF2B5EF4-FFF2-40B4-BE49-F238E27FC236}">
                <a16:creationId xmlns:a16="http://schemas.microsoft.com/office/drawing/2014/main" id="{3F57447C-1209-6D6D-BCEF-41B0A72F773D}"/>
              </a:ext>
            </a:extLst>
          </p:cNvPr>
          <p:cNvGrpSpPr/>
          <p:nvPr/>
        </p:nvGrpSpPr>
        <p:grpSpPr>
          <a:xfrm>
            <a:off x="1188365" y="2927360"/>
            <a:ext cx="5724063" cy="1440000"/>
            <a:chOff x="1014085" y="1038717"/>
            <a:chExt cx="5724063" cy="1440000"/>
          </a:xfrm>
        </p:grpSpPr>
        <p:sp>
          <p:nvSpPr>
            <p:cNvPr id="23" name="ZoneTexte 22">
              <a:extLst>
                <a:ext uri="{FF2B5EF4-FFF2-40B4-BE49-F238E27FC236}">
                  <a16:creationId xmlns:a16="http://schemas.microsoft.com/office/drawing/2014/main" id="{F761F777-491C-E2C4-ECF9-C2ED1D37ECB7}"/>
                </a:ext>
              </a:extLst>
            </p:cNvPr>
            <p:cNvSpPr txBox="1"/>
            <p:nvPr/>
          </p:nvSpPr>
          <p:spPr>
            <a:xfrm>
              <a:off x="2658901" y="1514375"/>
              <a:ext cx="4079247"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24" name="Oval 31">
              <a:extLst>
                <a:ext uri="{FF2B5EF4-FFF2-40B4-BE49-F238E27FC236}">
                  <a16:creationId xmlns:a16="http://schemas.microsoft.com/office/drawing/2014/main" id="{49EB84CF-2A15-8311-5C80-34BDD210F9DD}"/>
                </a:ext>
              </a:extLst>
            </p:cNvPr>
            <p:cNvSpPr>
              <a:spLocks noChangeAspect="1"/>
            </p:cNvSpPr>
            <p:nvPr/>
          </p:nvSpPr>
          <p:spPr>
            <a:xfrm>
              <a:off x="1014085" y="1038717"/>
              <a:ext cx="1440000" cy="1440000"/>
            </a:xfrm>
            <a:prstGeom prst="ellipse">
              <a:avLst/>
            </a:prstGeom>
            <a:solidFill>
              <a:schemeClr val="tx2"/>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 </a:t>
              </a:r>
              <a:r>
                <a:rPr kumimoji="0" lang="fr-FR" sz="1800" b="1" i="0" u="none" strike="noStrike" kern="0" cap="none" spc="0" normalizeH="0" baseline="0" noProof="0">
                  <a:ln>
                    <a:noFill/>
                  </a:ln>
                  <a:solidFill>
                    <a:srgbClr val="FFFFFF"/>
                  </a:solidFill>
                  <a:effectLst/>
                  <a:uLnTx/>
                  <a:uFillTx/>
                  <a:latin typeface="+mn-lt"/>
                  <a:ea typeface="+mn-ea"/>
                  <a:cs typeface="+mn-cs"/>
                </a:rPr>
                <a:t>m€ </a:t>
              </a:r>
            </a:p>
            <a:p>
              <a:pPr marL="0" marR="0" lvl="0" indent="0" defTabSz="685800" eaLnBrk="1" fontAlgn="auto" latinLnBrk="0" hangingPunct="1">
                <a:lnSpc>
                  <a:spcPct val="100000"/>
                </a:lnSpc>
                <a:spcBef>
                  <a:spcPts val="300"/>
                </a:spcBef>
                <a:spcAft>
                  <a:spcPts val="300"/>
                </a:spcAft>
                <a:buClrTx/>
                <a:buSzTx/>
                <a:buFontTx/>
                <a:buNone/>
                <a:tabLst/>
                <a:defRPr/>
              </a:pPr>
              <a:r>
                <a:rPr lang="fr-FR" sz="1600" kern="0">
                  <a:solidFill>
                    <a:srgbClr val="FFFFFF"/>
                  </a:solidFill>
                  <a:latin typeface="+mn-lt"/>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aphicFrame>
        <p:nvGraphicFramePr>
          <p:cNvPr id="34" name="Table 9">
            <a:extLst>
              <a:ext uri="{FF2B5EF4-FFF2-40B4-BE49-F238E27FC236}">
                <a16:creationId xmlns:a16="http://schemas.microsoft.com/office/drawing/2014/main" id="{B356A79A-E19C-0B80-BFC1-AE703A3FC4BE}"/>
              </a:ext>
            </a:extLst>
          </p:cNvPr>
          <p:cNvGraphicFramePr>
            <a:graphicFrameLocks noGrp="1"/>
          </p:cNvGraphicFramePr>
          <p:nvPr/>
        </p:nvGraphicFramePr>
        <p:xfrm>
          <a:off x="7392262" y="3092101"/>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B40646"/>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B40646"/>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B40646"/>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grpSp>
        <p:nvGrpSpPr>
          <p:cNvPr id="46" name="Groupe 45">
            <a:extLst>
              <a:ext uri="{FF2B5EF4-FFF2-40B4-BE49-F238E27FC236}">
                <a16:creationId xmlns:a16="http://schemas.microsoft.com/office/drawing/2014/main" id="{F4708086-4910-2900-38B6-34C4E079C7E6}"/>
              </a:ext>
            </a:extLst>
          </p:cNvPr>
          <p:cNvGrpSpPr/>
          <p:nvPr/>
        </p:nvGrpSpPr>
        <p:grpSpPr>
          <a:xfrm>
            <a:off x="1188365" y="4189381"/>
            <a:ext cx="5724061" cy="1440000"/>
            <a:chOff x="1014085" y="1038717"/>
            <a:chExt cx="5724061" cy="1440000"/>
          </a:xfrm>
        </p:grpSpPr>
        <p:sp>
          <p:nvSpPr>
            <p:cNvPr id="47" name="ZoneTexte 46">
              <a:extLst>
                <a:ext uri="{FF2B5EF4-FFF2-40B4-BE49-F238E27FC236}">
                  <a16:creationId xmlns:a16="http://schemas.microsoft.com/office/drawing/2014/main" id="{38401524-7A08-BA43-66C2-F3CE77267144}"/>
                </a:ext>
              </a:extLst>
            </p:cNvPr>
            <p:cNvSpPr txBox="1"/>
            <p:nvPr/>
          </p:nvSpPr>
          <p:spPr>
            <a:xfrm>
              <a:off x="2658902" y="1514375"/>
              <a:ext cx="4079244"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48" name="Oval 31">
              <a:extLst>
                <a:ext uri="{FF2B5EF4-FFF2-40B4-BE49-F238E27FC236}">
                  <a16:creationId xmlns:a16="http://schemas.microsoft.com/office/drawing/2014/main" id="{F01ED2C8-21F9-C840-2134-30EE9F205AEB}"/>
                </a:ext>
              </a:extLst>
            </p:cNvPr>
            <p:cNvSpPr>
              <a:spLocks noChangeAspect="1"/>
            </p:cNvSpPr>
            <p:nvPr/>
          </p:nvSpPr>
          <p:spPr>
            <a:xfrm>
              <a:off x="1014085" y="1038717"/>
              <a:ext cx="1440000" cy="1440000"/>
            </a:xfrm>
            <a:prstGeom prst="ellipse">
              <a:avLst/>
            </a:prstGeom>
            <a:solidFill>
              <a:schemeClr val="accent6"/>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a:t>
              </a:r>
              <a:endParaRPr kumimoji="0" lang="fr-FR" sz="1800" b="1" i="0" u="none" strike="noStrike" kern="0" cap="none" spc="0" normalizeH="0" baseline="0" noProof="0">
                <a:ln>
                  <a:noFill/>
                </a:ln>
                <a:solidFill>
                  <a:srgbClr val="FFFFFF"/>
                </a:solidFill>
                <a:effectLst/>
                <a:uLnTx/>
                <a:uFillTx/>
                <a:latin typeface="+mn-lt"/>
                <a:ea typeface="+mn-ea"/>
                <a:cs typeface="+mn-cs"/>
              </a:endParaRPr>
            </a:p>
            <a:p>
              <a:pPr marL="0" marR="0" lvl="0" indent="0" defTabSz="6858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rgbClr val="FFFFFF"/>
                  </a:solidFill>
                  <a:effectLst/>
                  <a:uLnTx/>
                  <a:uFillTx/>
                  <a:latin typeface="+mn-lt"/>
                  <a:ea typeface="+mn-ea"/>
                  <a:cs typeface="+mn-cs"/>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aphicFrame>
        <p:nvGraphicFramePr>
          <p:cNvPr id="5" name="Table 9">
            <a:extLst>
              <a:ext uri="{FF2B5EF4-FFF2-40B4-BE49-F238E27FC236}">
                <a16:creationId xmlns:a16="http://schemas.microsoft.com/office/drawing/2014/main" id="{E6669173-24F5-380D-7BE4-8A54CA7C706C}"/>
              </a:ext>
            </a:extLst>
          </p:cNvPr>
          <p:cNvGraphicFramePr>
            <a:graphicFrameLocks noGrp="1"/>
          </p:cNvGraphicFramePr>
          <p:nvPr/>
        </p:nvGraphicFramePr>
        <p:xfrm>
          <a:off x="7392262" y="4360741"/>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solidFill>
                      <a:srgbClr val="901237"/>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solidFill>
                      <a:srgbClr val="901237"/>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spTree>
    <p:extLst>
      <p:ext uri="{BB962C8B-B14F-4D97-AF65-F5344CB8AC3E}">
        <p14:creationId xmlns:p14="http://schemas.microsoft.com/office/powerpoint/2010/main" val="140884320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F783D3-6855-D997-CF13-EBE43B35C6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7" name="think-cell data - do not delete" hidden="1">
                        <a:extLst>
                          <a:ext uri="{FF2B5EF4-FFF2-40B4-BE49-F238E27FC236}">
                            <a16:creationId xmlns:a16="http://schemas.microsoft.com/office/drawing/2014/main" id="{A9F783D3-6855-D997-CF13-EBE43B35C6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777E7F2-B088-F99C-1565-A08984DEBF56}"/>
              </a:ext>
            </a:extLst>
          </p:cNvPr>
          <p:cNvSpPr>
            <a:spLocks noGrp="1"/>
          </p:cNvSpPr>
          <p:nvPr>
            <p:ph type="title"/>
          </p:nvPr>
        </p:nvSpPr>
        <p:spPr/>
        <p:txBody>
          <a:bodyPr vert="horz"/>
          <a:lstStyle/>
          <a:p>
            <a:r>
              <a:rPr lang="en-GB"/>
              <a:t>Financial statement – four key indicators</a:t>
            </a:r>
          </a:p>
        </p:txBody>
      </p:sp>
      <p:grpSp>
        <p:nvGrpSpPr>
          <p:cNvPr id="22" name="Groupe 21">
            <a:extLst>
              <a:ext uri="{FF2B5EF4-FFF2-40B4-BE49-F238E27FC236}">
                <a16:creationId xmlns:a16="http://schemas.microsoft.com/office/drawing/2014/main" id="{A7D75BF2-10FD-0D3F-0273-64C3BC07B9F6}"/>
              </a:ext>
            </a:extLst>
          </p:cNvPr>
          <p:cNvGrpSpPr/>
          <p:nvPr/>
        </p:nvGrpSpPr>
        <p:grpSpPr>
          <a:xfrm>
            <a:off x="1188365" y="1417848"/>
            <a:ext cx="5724063" cy="1440000"/>
            <a:chOff x="1014085" y="1038717"/>
            <a:chExt cx="5724063" cy="1440000"/>
          </a:xfrm>
        </p:grpSpPr>
        <p:sp>
          <p:nvSpPr>
            <p:cNvPr id="23" name="ZoneTexte 22">
              <a:extLst>
                <a:ext uri="{FF2B5EF4-FFF2-40B4-BE49-F238E27FC236}">
                  <a16:creationId xmlns:a16="http://schemas.microsoft.com/office/drawing/2014/main" id="{5EA5C135-57E1-898A-6AB1-FC28A6E0808C}"/>
                </a:ext>
              </a:extLst>
            </p:cNvPr>
            <p:cNvSpPr txBox="1"/>
            <p:nvPr/>
          </p:nvSpPr>
          <p:spPr>
            <a:xfrm>
              <a:off x="2658901" y="1514375"/>
              <a:ext cx="4079247"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24" name="Oval 31">
              <a:extLst>
                <a:ext uri="{FF2B5EF4-FFF2-40B4-BE49-F238E27FC236}">
                  <a16:creationId xmlns:a16="http://schemas.microsoft.com/office/drawing/2014/main" id="{4FAE1B79-27F7-4CBC-F0EE-5150D168F061}"/>
                </a:ext>
              </a:extLst>
            </p:cNvPr>
            <p:cNvSpPr>
              <a:spLocks noChangeAspect="1"/>
            </p:cNvSpPr>
            <p:nvPr/>
          </p:nvSpPr>
          <p:spPr>
            <a:xfrm>
              <a:off x="1014085" y="1038717"/>
              <a:ext cx="1440000" cy="1440000"/>
            </a:xfrm>
            <a:prstGeom prst="ellipse">
              <a:avLst/>
            </a:prstGeom>
            <a:solidFill>
              <a:schemeClr val="tx2"/>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 </a:t>
              </a:r>
              <a:r>
                <a:rPr kumimoji="0" lang="fr-FR" sz="1800" b="1" i="0" u="none" strike="noStrike" kern="0" cap="none" spc="0" normalizeH="0" baseline="0" noProof="0">
                  <a:ln>
                    <a:noFill/>
                  </a:ln>
                  <a:solidFill>
                    <a:srgbClr val="FFFFFF"/>
                  </a:solidFill>
                  <a:effectLst/>
                  <a:uLnTx/>
                  <a:uFillTx/>
                  <a:latin typeface="+mn-lt"/>
                  <a:ea typeface="+mn-ea"/>
                  <a:cs typeface="+mn-cs"/>
                </a:rPr>
                <a:t>m€ </a:t>
              </a:r>
            </a:p>
            <a:p>
              <a:pPr marL="0" marR="0" lvl="0" indent="0" defTabSz="685800" eaLnBrk="1" fontAlgn="auto" latinLnBrk="0" hangingPunct="1">
                <a:lnSpc>
                  <a:spcPct val="100000"/>
                </a:lnSpc>
                <a:spcBef>
                  <a:spcPts val="300"/>
                </a:spcBef>
                <a:spcAft>
                  <a:spcPts val="300"/>
                </a:spcAft>
                <a:buClrTx/>
                <a:buSzTx/>
                <a:buFontTx/>
                <a:buNone/>
                <a:tabLst/>
                <a:defRPr/>
              </a:pPr>
              <a:r>
                <a:rPr lang="fr-FR" sz="1600" kern="0">
                  <a:solidFill>
                    <a:srgbClr val="FFFFFF"/>
                  </a:solidFill>
                  <a:latin typeface="+mn-lt"/>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aphicFrame>
        <p:nvGraphicFramePr>
          <p:cNvPr id="34" name="Table 9">
            <a:extLst>
              <a:ext uri="{FF2B5EF4-FFF2-40B4-BE49-F238E27FC236}">
                <a16:creationId xmlns:a16="http://schemas.microsoft.com/office/drawing/2014/main" id="{2B52C58C-53E8-26C1-2A92-A12ACEE680AA}"/>
              </a:ext>
            </a:extLst>
          </p:cNvPr>
          <p:cNvGraphicFramePr>
            <a:graphicFrameLocks noGrp="1"/>
          </p:cNvGraphicFramePr>
          <p:nvPr/>
        </p:nvGraphicFramePr>
        <p:xfrm>
          <a:off x="7392264" y="1417848"/>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B40646"/>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rgbClr val="B40646"/>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B40646"/>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B40646"/>
                      </a:solidFill>
                      <a:prstDash val="solid"/>
                      <a:round/>
                      <a:headEnd type="none" w="med" len="med"/>
                      <a:tailEnd type="none" w="med" len="med"/>
                    </a:lnL>
                    <a:lnR>
                      <a:noFill/>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B40646"/>
                      </a:solidFill>
                      <a:prstDash val="solid"/>
                      <a:round/>
                      <a:headEnd type="none" w="med" len="med"/>
                      <a:tailEnd type="none" w="med" len="med"/>
                    </a:lnR>
                    <a:lnT w="12700" cap="flat" cmpd="sng" algn="ctr">
                      <a:solidFill>
                        <a:srgbClr val="B40646"/>
                      </a:solidFill>
                      <a:prstDash val="solid"/>
                      <a:round/>
                      <a:headEnd type="none" w="med" len="med"/>
                      <a:tailEnd type="none" w="med" len="med"/>
                    </a:lnT>
                    <a:lnB w="12700" cap="flat" cmpd="sng" algn="ctr">
                      <a:solidFill>
                        <a:srgbClr val="B4064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grpSp>
        <p:nvGrpSpPr>
          <p:cNvPr id="40" name="Groupe 39">
            <a:extLst>
              <a:ext uri="{FF2B5EF4-FFF2-40B4-BE49-F238E27FC236}">
                <a16:creationId xmlns:a16="http://schemas.microsoft.com/office/drawing/2014/main" id="{20DF5C41-9C94-B103-5DFC-96BC0645303F}"/>
              </a:ext>
            </a:extLst>
          </p:cNvPr>
          <p:cNvGrpSpPr/>
          <p:nvPr/>
        </p:nvGrpSpPr>
        <p:grpSpPr>
          <a:xfrm>
            <a:off x="1188365" y="2515863"/>
            <a:ext cx="5724063" cy="1440000"/>
            <a:chOff x="1014085" y="1038717"/>
            <a:chExt cx="5724063" cy="1440000"/>
          </a:xfrm>
        </p:grpSpPr>
        <p:sp>
          <p:nvSpPr>
            <p:cNvPr id="41" name="ZoneTexte 40">
              <a:extLst>
                <a:ext uri="{FF2B5EF4-FFF2-40B4-BE49-F238E27FC236}">
                  <a16:creationId xmlns:a16="http://schemas.microsoft.com/office/drawing/2014/main" id="{76A2CEEE-E4BA-AF90-A60C-9037BC1CFA55}"/>
                </a:ext>
              </a:extLst>
            </p:cNvPr>
            <p:cNvSpPr txBox="1"/>
            <p:nvPr/>
          </p:nvSpPr>
          <p:spPr>
            <a:xfrm>
              <a:off x="2658902" y="1514375"/>
              <a:ext cx="4079246"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42" name="Oval 31">
              <a:extLst>
                <a:ext uri="{FF2B5EF4-FFF2-40B4-BE49-F238E27FC236}">
                  <a16:creationId xmlns:a16="http://schemas.microsoft.com/office/drawing/2014/main" id="{2CE04F5D-4385-E836-8C36-07D211F7802C}"/>
                </a:ext>
              </a:extLst>
            </p:cNvPr>
            <p:cNvSpPr>
              <a:spLocks noChangeAspect="1"/>
            </p:cNvSpPr>
            <p:nvPr/>
          </p:nvSpPr>
          <p:spPr>
            <a:xfrm>
              <a:off x="1014085" y="1038717"/>
              <a:ext cx="1440000" cy="1440000"/>
            </a:xfrm>
            <a:prstGeom prst="ellipse">
              <a:avLst/>
            </a:prstGeom>
            <a:solidFill>
              <a:schemeClr val="accent2"/>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 </a:t>
              </a:r>
              <a:r>
                <a:rPr kumimoji="0" lang="fr-FR" sz="1800" b="1" i="0" u="none" strike="noStrike" kern="0" cap="none" spc="0" normalizeH="0" baseline="0" noProof="0">
                  <a:ln>
                    <a:noFill/>
                  </a:ln>
                  <a:solidFill>
                    <a:srgbClr val="FFFFFF"/>
                  </a:solidFill>
                  <a:effectLst/>
                  <a:uLnTx/>
                  <a:uFillTx/>
                  <a:latin typeface="+mn-lt"/>
                  <a:ea typeface="+mn-ea"/>
                  <a:cs typeface="+mn-cs"/>
                </a:rPr>
                <a:t>m€ </a:t>
              </a:r>
            </a:p>
            <a:p>
              <a:pPr marL="0" marR="0" lvl="0" indent="0" defTabSz="6858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rgbClr val="FFFFFF"/>
                  </a:solidFill>
                  <a:effectLst/>
                  <a:uLnTx/>
                  <a:uFillTx/>
                  <a:latin typeface="+mn-lt"/>
                  <a:ea typeface="+mn-ea"/>
                  <a:cs typeface="+mn-cs"/>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pSp>
        <p:nvGrpSpPr>
          <p:cNvPr id="43" name="Groupe 42">
            <a:extLst>
              <a:ext uri="{FF2B5EF4-FFF2-40B4-BE49-F238E27FC236}">
                <a16:creationId xmlns:a16="http://schemas.microsoft.com/office/drawing/2014/main" id="{CC5CA42F-08E9-7FAE-789B-ED2F2107AE4A}"/>
              </a:ext>
            </a:extLst>
          </p:cNvPr>
          <p:cNvGrpSpPr/>
          <p:nvPr/>
        </p:nvGrpSpPr>
        <p:grpSpPr>
          <a:xfrm>
            <a:off x="1188365" y="3613878"/>
            <a:ext cx="5724061" cy="1440000"/>
            <a:chOff x="1014085" y="1038717"/>
            <a:chExt cx="5724061" cy="1440000"/>
          </a:xfrm>
        </p:grpSpPr>
        <p:sp>
          <p:nvSpPr>
            <p:cNvPr id="44" name="ZoneTexte 43">
              <a:extLst>
                <a:ext uri="{FF2B5EF4-FFF2-40B4-BE49-F238E27FC236}">
                  <a16:creationId xmlns:a16="http://schemas.microsoft.com/office/drawing/2014/main" id="{FF2830A9-1AD3-2A7D-462B-313F44CE794C}"/>
                </a:ext>
              </a:extLst>
            </p:cNvPr>
            <p:cNvSpPr txBox="1"/>
            <p:nvPr/>
          </p:nvSpPr>
          <p:spPr>
            <a:xfrm>
              <a:off x="2658901" y="1514375"/>
              <a:ext cx="4079245"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45" name="Oval 31">
              <a:extLst>
                <a:ext uri="{FF2B5EF4-FFF2-40B4-BE49-F238E27FC236}">
                  <a16:creationId xmlns:a16="http://schemas.microsoft.com/office/drawing/2014/main" id="{3FE11951-5A90-DCE2-CF6F-926B1CCF9707}"/>
                </a:ext>
              </a:extLst>
            </p:cNvPr>
            <p:cNvSpPr>
              <a:spLocks noChangeAspect="1"/>
            </p:cNvSpPr>
            <p:nvPr/>
          </p:nvSpPr>
          <p:spPr>
            <a:xfrm>
              <a:off x="1014085" y="1038717"/>
              <a:ext cx="1440000" cy="1440000"/>
            </a:xfrm>
            <a:prstGeom prst="ellipse">
              <a:avLst/>
            </a:prstGeom>
            <a:solidFill>
              <a:schemeClr val="accent4"/>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 </a:t>
              </a:r>
              <a:r>
                <a:rPr kumimoji="0" lang="fr-FR" sz="1800" b="1" i="0" u="none" strike="noStrike" kern="0" cap="none" spc="0" normalizeH="0" baseline="0" noProof="0">
                  <a:ln>
                    <a:noFill/>
                  </a:ln>
                  <a:solidFill>
                    <a:srgbClr val="FFFFFF"/>
                  </a:solidFill>
                  <a:effectLst/>
                  <a:uLnTx/>
                  <a:uFillTx/>
                  <a:latin typeface="+mn-lt"/>
                  <a:ea typeface="+mn-ea"/>
                  <a:cs typeface="+mn-cs"/>
                </a:rPr>
                <a:t>m€ </a:t>
              </a:r>
            </a:p>
            <a:p>
              <a:pPr marL="0" marR="0" lvl="0" indent="0" defTabSz="6858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rgbClr val="FFFFFF"/>
                  </a:solidFill>
                  <a:effectLst/>
                  <a:uLnTx/>
                  <a:uFillTx/>
                  <a:latin typeface="+mn-lt"/>
                  <a:ea typeface="+mn-ea"/>
                  <a:cs typeface="+mn-cs"/>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pSp>
        <p:nvGrpSpPr>
          <p:cNvPr id="46" name="Groupe 45">
            <a:extLst>
              <a:ext uri="{FF2B5EF4-FFF2-40B4-BE49-F238E27FC236}">
                <a16:creationId xmlns:a16="http://schemas.microsoft.com/office/drawing/2014/main" id="{2E64A641-B271-10B1-2C78-3743826757A1}"/>
              </a:ext>
            </a:extLst>
          </p:cNvPr>
          <p:cNvGrpSpPr/>
          <p:nvPr/>
        </p:nvGrpSpPr>
        <p:grpSpPr>
          <a:xfrm>
            <a:off x="1188365" y="4711893"/>
            <a:ext cx="5724061" cy="1440000"/>
            <a:chOff x="1014085" y="1038717"/>
            <a:chExt cx="5724061" cy="1440000"/>
          </a:xfrm>
        </p:grpSpPr>
        <p:sp>
          <p:nvSpPr>
            <p:cNvPr id="47" name="ZoneTexte 46">
              <a:extLst>
                <a:ext uri="{FF2B5EF4-FFF2-40B4-BE49-F238E27FC236}">
                  <a16:creationId xmlns:a16="http://schemas.microsoft.com/office/drawing/2014/main" id="{F36E3500-D396-F402-20CA-3DCA455D561B}"/>
                </a:ext>
              </a:extLst>
            </p:cNvPr>
            <p:cNvSpPr txBox="1"/>
            <p:nvPr/>
          </p:nvSpPr>
          <p:spPr>
            <a:xfrm>
              <a:off x="2658902" y="1514375"/>
              <a:ext cx="4079244" cy="488684"/>
            </a:xfrm>
            <a:prstGeom prst="rect">
              <a:avLst/>
            </a:prstGeom>
            <a:noFill/>
          </p:spPr>
          <p:txBody>
            <a:bodyPr wrap="square" rtlCol="0" anchor="ctr">
              <a:noAutofit/>
            </a:bodyPr>
            <a:lstStyle/>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ysClr val="windowText" lastClr="000000"/>
                  </a:solidFill>
                  <a:effectLst/>
                  <a:uLnTx/>
                  <a:uFillTx/>
                  <a:latin typeface="+mn-lt"/>
                </a:rPr>
                <a:t>Lorem ipsum </a:t>
              </a:r>
              <a:r>
                <a:rPr kumimoji="0" lang="fr-FR" sz="1600" b="0" i="0" u="none" strike="noStrike" kern="0" cap="none" spc="0" normalizeH="0" baseline="0" noProof="0" err="1">
                  <a:ln>
                    <a:noFill/>
                  </a:ln>
                  <a:solidFill>
                    <a:sysClr val="windowText" lastClr="000000"/>
                  </a:solidFill>
                  <a:effectLst/>
                  <a:uLnTx/>
                  <a:uFillTx/>
                  <a:latin typeface="+mn-lt"/>
                </a:rPr>
                <a:t>dolo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si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met</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consectetuer</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adipiscing</a:t>
              </a:r>
              <a:r>
                <a:rPr kumimoji="0" lang="fr-FR" sz="1600" b="0" i="0" u="none" strike="noStrike" kern="0" cap="none" spc="0" normalizeH="0" baseline="0" noProof="0">
                  <a:ln>
                    <a:noFill/>
                  </a:ln>
                  <a:solidFill>
                    <a:sysClr val="windowText" lastClr="000000"/>
                  </a:solidFill>
                  <a:effectLst/>
                  <a:uLnTx/>
                  <a:uFillTx/>
                  <a:latin typeface="+mn-lt"/>
                </a:rPr>
                <a:t> </a:t>
              </a:r>
              <a:r>
                <a:rPr kumimoji="0" lang="fr-FR" sz="1600" b="0" i="0" u="none" strike="noStrike" kern="0" cap="none" spc="0" normalizeH="0" baseline="0" noProof="0" err="1">
                  <a:ln>
                    <a:noFill/>
                  </a:ln>
                  <a:solidFill>
                    <a:sysClr val="windowText" lastClr="000000"/>
                  </a:solidFill>
                  <a:effectLst/>
                  <a:uLnTx/>
                  <a:uFillTx/>
                  <a:latin typeface="+mn-lt"/>
                </a:rPr>
                <a:t>elit</a:t>
              </a:r>
              <a:r>
                <a:rPr kumimoji="0" lang="fr-FR" sz="1600" b="0" i="0" u="none" strike="noStrike" kern="0" cap="none" spc="0" normalizeH="0" baseline="0" noProof="0">
                  <a:ln>
                    <a:noFill/>
                  </a:ln>
                  <a:solidFill>
                    <a:sysClr val="windowText" lastClr="000000"/>
                  </a:solidFill>
                  <a:effectLst/>
                  <a:uLnTx/>
                  <a:uFillTx/>
                  <a:latin typeface="+mn-lt"/>
                </a:rPr>
                <a:t> </a:t>
              </a:r>
            </a:p>
          </p:txBody>
        </p:sp>
        <p:sp>
          <p:nvSpPr>
            <p:cNvPr id="48" name="Oval 31">
              <a:extLst>
                <a:ext uri="{FF2B5EF4-FFF2-40B4-BE49-F238E27FC236}">
                  <a16:creationId xmlns:a16="http://schemas.microsoft.com/office/drawing/2014/main" id="{5B0925E0-790D-4500-6F9A-143518A4D91C}"/>
                </a:ext>
              </a:extLst>
            </p:cNvPr>
            <p:cNvSpPr>
              <a:spLocks noChangeAspect="1"/>
            </p:cNvSpPr>
            <p:nvPr/>
          </p:nvSpPr>
          <p:spPr>
            <a:xfrm>
              <a:off x="1014085" y="1038717"/>
              <a:ext cx="1440000" cy="1440000"/>
            </a:xfrm>
            <a:prstGeom prst="ellipse">
              <a:avLst/>
            </a:prstGeom>
            <a:solidFill>
              <a:schemeClr val="accent6"/>
            </a:solidFill>
            <a:ln w="25400" cap="flat" cmpd="sng" algn="ctr">
              <a:noFill/>
              <a:prstDash val="solid"/>
            </a:ln>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defTabSz="685800" eaLnBrk="1" fontAlgn="auto" latinLnBrk="0" hangingPunct="1">
                <a:lnSpc>
                  <a:spcPct val="100000"/>
                </a:lnSpc>
                <a:spcBef>
                  <a:spcPts val="300"/>
                </a:spcBef>
                <a:spcAft>
                  <a:spcPts val="300"/>
                </a:spcAft>
                <a:buClrTx/>
                <a:buSzTx/>
                <a:buFontTx/>
                <a:buNone/>
                <a:tabLst/>
                <a:defRPr/>
              </a:pPr>
              <a:r>
                <a:rPr lang="fr-FR" sz="1800" b="1" kern="0">
                  <a:solidFill>
                    <a:srgbClr val="FFFFFF"/>
                  </a:solidFill>
                  <a:latin typeface="+mn-lt"/>
                </a:rPr>
                <a:t>X</a:t>
              </a:r>
              <a:endParaRPr kumimoji="0" lang="fr-FR" sz="1800" b="1" i="0" u="none" strike="noStrike" kern="0" cap="none" spc="0" normalizeH="0" baseline="0" noProof="0">
                <a:ln>
                  <a:noFill/>
                </a:ln>
                <a:solidFill>
                  <a:srgbClr val="FFFFFF"/>
                </a:solidFill>
                <a:effectLst/>
                <a:uLnTx/>
                <a:uFillTx/>
                <a:latin typeface="+mn-lt"/>
                <a:ea typeface="+mn-ea"/>
                <a:cs typeface="+mn-cs"/>
              </a:endParaRPr>
            </a:p>
            <a:p>
              <a:pPr marL="0" marR="0" lvl="0" indent="0" defTabSz="685800" eaLnBrk="1" fontAlgn="auto" latinLnBrk="0" hangingPunct="1">
                <a:lnSpc>
                  <a:spcPct val="100000"/>
                </a:lnSpc>
                <a:spcBef>
                  <a:spcPts val="300"/>
                </a:spcBef>
                <a:spcAft>
                  <a:spcPts val="300"/>
                </a:spcAft>
                <a:buClrTx/>
                <a:buSzTx/>
                <a:buFontTx/>
                <a:buNone/>
                <a:tabLst/>
                <a:defRPr/>
              </a:pPr>
              <a:r>
                <a:rPr kumimoji="0" lang="fr-FR" sz="1600" b="0" i="0" u="none" strike="noStrike" kern="0" cap="none" spc="0" normalizeH="0" baseline="0" noProof="0">
                  <a:ln>
                    <a:noFill/>
                  </a:ln>
                  <a:solidFill>
                    <a:srgbClr val="FFFFFF"/>
                  </a:solidFill>
                  <a:effectLst/>
                  <a:uLnTx/>
                  <a:uFillTx/>
                  <a:latin typeface="+mn-lt"/>
                  <a:ea typeface="+mn-ea"/>
                  <a:cs typeface="+mn-cs"/>
                </a:rPr>
                <a:t>Lorem</a:t>
              </a:r>
              <a:endParaRPr kumimoji="0" lang="fr-FR" sz="1800" b="0" i="0" u="none" strike="noStrike" kern="0" cap="none" spc="0" normalizeH="0" baseline="0" noProof="0">
                <a:ln>
                  <a:noFill/>
                </a:ln>
                <a:solidFill>
                  <a:srgbClr val="FFFFFF"/>
                </a:solidFill>
                <a:effectLst/>
                <a:uLnTx/>
                <a:uFillTx/>
                <a:latin typeface="+mn-lt"/>
                <a:ea typeface="+mn-ea"/>
                <a:cs typeface="+mn-cs"/>
              </a:endParaRPr>
            </a:p>
          </p:txBody>
        </p:sp>
      </p:grpSp>
      <p:graphicFrame>
        <p:nvGraphicFramePr>
          <p:cNvPr id="3" name="Table 9">
            <a:extLst>
              <a:ext uri="{FF2B5EF4-FFF2-40B4-BE49-F238E27FC236}">
                <a16:creationId xmlns:a16="http://schemas.microsoft.com/office/drawing/2014/main" id="{1ADAE456-0AF1-2A67-0629-8C6BCB894241}"/>
              </a:ext>
            </a:extLst>
          </p:cNvPr>
          <p:cNvGraphicFramePr>
            <a:graphicFrameLocks noGrp="1"/>
          </p:cNvGraphicFramePr>
          <p:nvPr/>
        </p:nvGraphicFramePr>
        <p:xfrm>
          <a:off x="7392263" y="2630103"/>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0">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87737B"/>
                      </a:solidFill>
                      <a:prstDash val="solid"/>
                      <a:round/>
                      <a:headEnd type="none" w="med" len="med"/>
                      <a:tailEnd type="none" w="med" len="med"/>
                    </a:lnL>
                    <a:lnR>
                      <a:noFill/>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solidFill>
                      <a:srgbClr val="87737B"/>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87737B"/>
                      </a:solidFill>
                      <a:prstDash val="solid"/>
                      <a:round/>
                      <a:headEnd type="none" w="med" len="med"/>
                      <a:tailEnd type="none" w="med" len="med"/>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solidFill>
                      <a:srgbClr val="87737B"/>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87737B"/>
                      </a:solidFill>
                      <a:prstDash val="solid"/>
                      <a:round/>
                      <a:headEnd type="none" w="med" len="med"/>
                      <a:tailEnd type="none" w="med" len="med"/>
                    </a:lnL>
                    <a:lnR>
                      <a:noFill/>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87737B"/>
                      </a:solidFill>
                      <a:prstDash val="solid"/>
                      <a:round/>
                      <a:headEnd type="none" w="med" len="med"/>
                      <a:tailEnd type="none" w="med" len="med"/>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87737B"/>
                      </a:solidFill>
                      <a:prstDash val="solid"/>
                      <a:round/>
                      <a:headEnd type="none" w="med" len="med"/>
                      <a:tailEnd type="none" w="med" len="med"/>
                    </a:lnL>
                    <a:lnR>
                      <a:noFill/>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87737B"/>
                      </a:solidFill>
                      <a:prstDash val="solid"/>
                      <a:round/>
                      <a:headEnd type="none" w="med" len="med"/>
                      <a:tailEnd type="none" w="med" len="med"/>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87737B"/>
                      </a:solidFill>
                      <a:prstDash val="solid"/>
                      <a:round/>
                      <a:headEnd type="none" w="med" len="med"/>
                      <a:tailEnd type="none" w="med" len="med"/>
                    </a:lnL>
                    <a:lnR>
                      <a:noFill/>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87737B"/>
                      </a:solidFill>
                      <a:prstDash val="solid"/>
                      <a:round/>
                      <a:headEnd type="none" w="med" len="med"/>
                      <a:tailEnd type="none" w="med" len="med"/>
                    </a:lnR>
                    <a:lnT w="12700" cap="flat" cmpd="sng" algn="ctr">
                      <a:solidFill>
                        <a:srgbClr val="87737B"/>
                      </a:solidFill>
                      <a:prstDash val="solid"/>
                      <a:round/>
                      <a:headEnd type="none" w="med" len="med"/>
                      <a:tailEnd type="none" w="med" len="med"/>
                    </a:lnT>
                    <a:lnB w="12700" cap="flat" cmpd="sng" algn="ctr">
                      <a:solidFill>
                        <a:srgbClr val="8773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graphicFrame>
        <p:nvGraphicFramePr>
          <p:cNvPr id="4" name="Table 9">
            <a:extLst>
              <a:ext uri="{FF2B5EF4-FFF2-40B4-BE49-F238E27FC236}">
                <a16:creationId xmlns:a16="http://schemas.microsoft.com/office/drawing/2014/main" id="{391C3372-A8A6-F75E-E8B6-588C09064317}"/>
              </a:ext>
            </a:extLst>
          </p:cNvPr>
          <p:cNvGraphicFramePr>
            <a:graphicFrameLocks noGrp="1"/>
          </p:cNvGraphicFramePr>
          <p:nvPr/>
        </p:nvGraphicFramePr>
        <p:xfrm>
          <a:off x="7392263" y="3842358"/>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solidFill>
                      <a:srgbClr val="C63E1B"/>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solidFill>
                      <a:srgbClr val="C63E1B"/>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C63E1B"/>
                      </a:solidFill>
                      <a:prstDash val="solid"/>
                      <a:round/>
                      <a:headEnd type="none" w="med" len="med"/>
                      <a:tailEnd type="none" w="med" len="med"/>
                    </a:lnL>
                    <a:lnR>
                      <a:noFill/>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C63E1B"/>
                      </a:solidFill>
                      <a:prstDash val="solid"/>
                      <a:round/>
                      <a:headEnd type="none" w="med" len="med"/>
                      <a:tailEnd type="none" w="med" len="med"/>
                    </a:lnR>
                    <a:lnT w="12700" cap="flat" cmpd="sng" algn="ctr">
                      <a:solidFill>
                        <a:srgbClr val="C63E1B"/>
                      </a:solidFill>
                      <a:prstDash val="solid"/>
                      <a:round/>
                      <a:headEnd type="none" w="med" len="med"/>
                      <a:tailEnd type="none" w="med" len="med"/>
                    </a:lnT>
                    <a:lnB w="12700" cap="flat" cmpd="sng" algn="ctr">
                      <a:solidFill>
                        <a:srgbClr val="C63E1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graphicFrame>
        <p:nvGraphicFramePr>
          <p:cNvPr id="5" name="Table 9">
            <a:extLst>
              <a:ext uri="{FF2B5EF4-FFF2-40B4-BE49-F238E27FC236}">
                <a16:creationId xmlns:a16="http://schemas.microsoft.com/office/drawing/2014/main" id="{B72E21E3-04A2-8130-686D-8D8B11E6FD96}"/>
              </a:ext>
            </a:extLst>
          </p:cNvPr>
          <p:cNvGraphicFramePr>
            <a:graphicFrameLocks noGrp="1"/>
          </p:cNvGraphicFramePr>
          <p:nvPr/>
        </p:nvGraphicFramePr>
        <p:xfrm>
          <a:off x="7392262" y="5054613"/>
          <a:ext cx="3933109" cy="1097280"/>
        </p:xfrm>
        <a:graphic>
          <a:graphicData uri="http://schemas.openxmlformats.org/drawingml/2006/table">
            <a:tbl>
              <a:tblPr firstRow="1" bandRow="1"/>
              <a:tblGrid>
                <a:gridCol w="3198079">
                  <a:extLst>
                    <a:ext uri="{9D8B030D-6E8A-4147-A177-3AD203B41FA5}">
                      <a16:colId xmlns:a16="http://schemas.microsoft.com/office/drawing/2014/main" val="2592593034"/>
                    </a:ext>
                  </a:extLst>
                </a:gridCol>
                <a:gridCol w="735030">
                  <a:extLst>
                    <a:ext uri="{9D8B030D-6E8A-4147-A177-3AD203B41FA5}">
                      <a16:colId xmlns:a16="http://schemas.microsoft.com/office/drawing/2014/main" val="306283663"/>
                    </a:ext>
                  </a:extLst>
                </a:gridCol>
              </a:tblGrid>
              <a:tr h="161416">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Description</a:t>
                      </a: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solidFill>
                      <a:srgbClr val="901237"/>
                    </a:solidFill>
                  </a:tcPr>
                </a:tc>
                <a:tc>
                  <a:txBody>
                    <a:bodyPr/>
                    <a:lstStyle>
                      <a:lvl1pPr marL="0" algn="l" defTabSz="1125444" rtl="0" eaLnBrk="1" latinLnBrk="0" hangingPunct="1">
                        <a:defRPr sz="2215" b="1" kern="1200">
                          <a:solidFill>
                            <a:schemeClr val="bg1"/>
                          </a:solidFill>
                          <a:latin typeface="Century Gothic"/>
                        </a:defRPr>
                      </a:lvl1pPr>
                      <a:lvl2pPr marL="562722" algn="l" defTabSz="1125444" rtl="0" eaLnBrk="1" latinLnBrk="0" hangingPunct="1">
                        <a:defRPr sz="2215" b="1" kern="1200">
                          <a:solidFill>
                            <a:schemeClr val="bg1"/>
                          </a:solidFill>
                          <a:latin typeface="Century Gothic"/>
                        </a:defRPr>
                      </a:lvl2pPr>
                      <a:lvl3pPr marL="1125444" algn="l" defTabSz="1125444" rtl="0" eaLnBrk="1" latinLnBrk="0" hangingPunct="1">
                        <a:defRPr sz="2215" b="1" kern="1200">
                          <a:solidFill>
                            <a:schemeClr val="bg1"/>
                          </a:solidFill>
                          <a:latin typeface="Century Gothic"/>
                        </a:defRPr>
                      </a:lvl3pPr>
                      <a:lvl4pPr marL="1688165" algn="l" defTabSz="1125444" rtl="0" eaLnBrk="1" latinLnBrk="0" hangingPunct="1">
                        <a:defRPr sz="2215" b="1" kern="1200">
                          <a:solidFill>
                            <a:schemeClr val="bg1"/>
                          </a:solidFill>
                          <a:latin typeface="Century Gothic"/>
                        </a:defRPr>
                      </a:lvl4pPr>
                      <a:lvl5pPr marL="2250887" algn="l" defTabSz="1125444" rtl="0" eaLnBrk="1" latinLnBrk="0" hangingPunct="1">
                        <a:defRPr sz="2215" b="1" kern="1200">
                          <a:solidFill>
                            <a:schemeClr val="bg1"/>
                          </a:solidFill>
                          <a:latin typeface="Century Gothic"/>
                        </a:defRPr>
                      </a:lvl5pPr>
                      <a:lvl6pPr marL="2813609" algn="l" defTabSz="1125444" rtl="0" eaLnBrk="1" latinLnBrk="0" hangingPunct="1">
                        <a:defRPr sz="2215" b="1" kern="1200">
                          <a:solidFill>
                            <a:schemeClr val="bg1"/>
                          </a:solidFill>
                          <a:latin typeface="Century Gothic"/>
                        </a:defRPr>
                      </a:lvl6pPr>
                      <a:lvl7pPr marL="3376331" algn="l" defTabSz="1125444" rtl="0" eaLnBrk="1" latinLnBrk="0" hangingPunct="1">
                        <a:defRPr sz="2215" b="1" kern="1200">
                          <a:solidFill>
                            <a:schemeClr val="bg1"/>
                          </a:solidFill>
                          <a:latin typeface="Century Gothic"/>
                        </a:defRPr>
                      </a:lvl7pPr>
                      <a:lvl8pPr marL="3939052" algn="l" defTabSz="1125444" rtl="0" eaLnBrk="1" latinLnBrk="0" hangingPunct="1">
                        <a:defRPr sz="2215" b="1" kern="1200">
                          <a:solidFill>
                            <a:schemeClr val="bg1"/>
                          </a:solidFill>
                          <a:latin typeface="Century Gothic"/>
                        </a:defRPr>
                      </a:lvl8pPr>
                      <a:lvl9pPr marL="4501774" algn="l" defTabSz="1125444" rtl="0" eaLnBrk="1" latinLnBrk="0" hangingPunct="1">
                        <a:defRPr sz="2215" b="1" kern="1200">
                          <a:solidFill>
                            <a:schemeClr val="bg1"/>
                          </a:solidFill>
                          <a:latin typeface="Century Gothic"/>
                        </a:defRPr>
                      </a:lvl9pPr>
                    </a:lstStyle>
                    <a:p>
                      <a:r>
                        <a:rPr lang="fr-FR" sz="1200">
                          <a:latin typeface="+mn-lt"/>
                        </a:rPr>
                        <a:t>Value</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solidFill>
                      <a:srgbClr val="901237"/>
                    </a:solidFill>
                  </a:tcPr>
                </a:tc>
                <a:extLst>
                  <a:ext uri="{0D108BD9-81ED-4DB2-BD59-A6C34878D82A}">
                    <a16:rowId xmlns:a16="http://schemas.microsoft.com/office/drawing/2014/main" val="2678268524"/>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991621"/>
                  </a:ext>
                </a:extLst>
              </a:tr>
              <a:tr h="258265">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200" b="0">
                          <a:solidFill>
                            <a:schemeClr val="tx1"/>
                          </a:solidFill>
                          <a:latin typeface="+mn-lt"/>
                          <a:sym typeface="Wingdings" panose="05000000000000000000" pitchFamily="2" charset="2"/>
                        </a:rPr>
                        <a:t>X m€ </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0652041"/>
                  </a:ext>
                </a:extLst>
              </a:tr>
              <a:tr h="161416">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r>
                        <a:rPr lang="fr-FR" sz="1200">
                          <a:solidFill>
                            <a:schemeClr val="tx1"/>
                          </a:solidFill>
                          <a:latin typeface="+mn-lt"/>
                          <a:sym typeface="Wingdings" panose="05000000000000000000" pitchFamily="2" charset="2"/>
                        </a:rPr>
                        <a:t>XXX</a:t>
                      </a:r>
                      <a:endParaRPr lang="fr-FR" sz="1200">
                        <a:solidFill>
                          <a:schemeClr val="tx1"/>
                        </a:solidFill>
                        <a:latin typeface="+mn-lt"/>
                      </a:endParaRPr>
                    </a:p>
                  </a:txBody>
                  <a:tcPr>
                    <a:lnL w="12700" cap="flat" cmpd="sng" algn="ctr">
                      <a:solidFill>
                        <a:srgbClr val="901237"/>
                      </a:solidFill>
                      <a:prstDash val="solid"/>
                      <a:round/>
                      <a:headEnd type="none" w="med" len="med"/>
                      <a:tailEnd type="none" w="med" len="med"/>
                    </a:lnL>
                    <a:lnR>
                      <a:noFill/>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25444" rtl="0" eaLnBrk="1" latinLnBrk="0" hangingPunct="1">
                        <a:defRPr sz="2215" kern="1200">
                          <a:solidFill>
                            <a:schemeClr val="tx1"/>
                          </a:solidFill>
                          <a:latin typeface="Century Gothic"/>
                        </a:defRPr>
                      </a:lvl1pPr>
                      <a:lvl2pPr marL="562722" algn="l" defTabSz="1125444" rtl="0" eaLnBrk="1" latinLnBrk="0" hangingPunct="1">
                        <a:defRPr sz="2215" kern="1200">
                          <a:solidFill>
                            <a:schemeClr val="tx1"/>
                          </a:solidFill>
                          <a:latin typeface="Century Gothic"/>
                        </a:defRPr>
                      </a:lvl2pPr>
                      <a:lvl3pPr marL="1125444" algn="l" defTabSz="1125444" rtl="0" eaLnBrk="1" latinLnBrk="0" hangingPunct="1">
                        <a:defRPr sz="2215" kern="1200">
                          <a:solidFill>
                            <a:schemeClr val="tx1"/>
                          </a:solidFill>
                          <a:latin typeface="Century Gothic"/>
                        </a:defRPr>
                      </a:lvl3pPr>
                      <a:lvl4pPr marL="1688165" algn="l" defTabSz="1125444" rtl="0" eaLnBrk="1" latinLnBrk="0" hangingPunct="1">
                        <a:defRPr sz="2215" kern="1200">
                          <a:solidFill>
                            <a:schemeClr val="tx1"/>
                          </a:solidFill>
                          <a:latin typeface="Century Gothic"/>
                        </a:defRPr>
                      </a:lvl4pPr>
                      <a:lvl5pPr marL="2250887" algn="l" defTabSz="1125444" rtl="0" eaLnBrk="1" latinLnBrk="0" hangingPunct="1">
                        <a:defRPr sz="2215" kern="1200">
                          <a:solidFill>
                            <a:schemeClr val="tx1"/>
                          </a:solidFill>
                          <a:latin typeface="Century Gothic"/>
                        </a:defRPr>
                      </a:lvl5pPr>
                      <a:lvl6pPr marL="2813609" algn="l" defTabSz="1125444" rtl="0" eaLnBrk="1" latinLnBrk="0" hangingPunct="1">
                        <a:defRPr sz="2215" kern="1200">
                          <a:solidFill>
                            <a:schemeClr val="tx1"/>
                          </a:solidFill>
                          <a:latin typeface="Century Gothic"/>
                        </a:defRPr>
                      </a:lvl6pPr>
                      <a:lvl7pPr marL="3376331" algn="l" defTabSz="1125444" rtl="0" eaLnBrk="1" latinLnBrk="0" hangingPunct="1">
                        <a:defRPr sz="2215" kern="1200">
                          <a:solidFill>
                            <a:schemeClr val="tx1"/>
                          </a:solidFill>
                          <a:latin typeface="Century Gothic"/>
                        </a:defRPr>
                      </a:lvl7pPr>
                      <a:lvl8pPr marL="3939052" algn="l" defTabSz="1125444" rtl="0" eaLnBrk="1" latinLnBrk="0" hangingPunct="1">
                        <a:defRPr sz="2215" kern="1200">
                          <a:solidFill>
                            <a:schemeClr val="tx1"/>
                          </a:solidFill>
                          <a:latin typeface="Century Gothic"/>
                        </a:defRPr>
                      </a:lvl8pPr>
                      <a:lvl9pPr marL="4501774" algn="l" defTabSz="1125444" rtl="0" eaLnBrk="1" latinLnBrk="0" hangingPunct="1">
                        <a:defRPr sz="2215" kern="1200">
                          <a:solidFill>
                            <a:schemeClr val="tx1"/>
                          </a:solidFill>
                          <a:latin typeface="Century Gothic"/>
                        </a:defRPr>
                      </a:lvl9pPr>
                    </a:lstStyle>
                    <a:p>
                      <a:pPr algn="ctr"/>
                      <a:r>
                        <a:rPr lang="fr-FR" sz="1200">
                          <a:solidFill>
                            <a:schemeClr val="tx1"/>
                          </a:solidFill>
                          <a:latin typeface="+mn-lt"/>
                        </a:rPr>
                        <a:t>X m€</a:t>
                      </a:r>
                    </a:p>
                  </a:txBody>
                  <a:tcPr>
                    <a:lnL>
                      <a:noFill/>
                    </a:lnL>
                    <a:lnR w="12700" cap="flat" cmpd="sng" algn="ctr">
                      <a:solidFill>
                        <a:srgbClr val="901237"/>
                      </a:solidFill>
                      <a:prstDash val="solid"/>
                      <a:round/>
                      <a:headEnd type="none" w="med" len="med"/>
                      <a:tailEnd type="none" w="med" len="med"/>
                    </a:lnR>
                    <a:lnT w="12700" cap="flat" cmpd="sng" algn="ctr">
                      <a:solidFill>
                        <a:srgbClr val="901237"/>
                      </a:solidFill>
                      <a:prstDash val="solid"/>
                      <a:round/>
                      <a:headEnd type="none" w="med" len="med"/>
                      <a:tailEnd type="none" w="med" len="med"/>
                    </a:lnT>
                    <a:lnB w="12700" cap="flat" cmpd="sng" algn="ctr">
                      <a:solidFill>
                        <a:srgbClr val="90123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4965957"/>
                  </a:ext>
                </a:extLst>
              </a:tr>
            </a:tbl>
          </a:graphicData>
        </a:graphic>
      </p:graphicFrame>
    </p:spTree>
    <p:extLst>
      <p:ext uri="{BB962C8B-B14F-4D97-AF65-F5344CB8AC3E}">
        <p14:creationId xmlns:p14="http://schemas.microsoft.com/office/powerpoint/2010/main" val="354047049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EADE85C-1293-81A0-47D0-8EC68870D1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0" name="think-cell data - do not delete" hidden="1">
                        <a:extLst>
                          <a:ext uri="{FF2B5EF4-FFF2-40B4-BE49-F238E27FC236}">
                            <a16:creationId xmlns:a16="http://schemas.microsoft.com/office/drawing/2014/main" id="{AEADE85C-1293-81A0-47D0-8EC68870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D4892B9-A5D7-1D14-B652-D2DA89FACC9C}"/>
              </a:ext>
            </a:extLst>
          </p:cNvPr>
          <p:cNvSpPr/>
          <p:nvPr/>
        </p:nvSpPr>
        <p:spPr bwMode="auto">
          <a:xfrm>
            <a:off x="839179" y="1424093"/>
            <a:ext cx="3293447"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3" name="TextBox 32">
            <a:extLst>
              <a:ext uri="{FF2B5EF4-FFF2-40B4-BE49-F238E27FC236}">
                <a16:creationId xmlns:a16="http://schemas.microsoft.com/office/drawing/2014/main" id="{ACA47668-A374-BC87-10A1-E66CDE6DB9EE}"/>
              </a:ext>
            </a:extLst>
          </p:cNvPr>
          <p:cNvSpPr txBox="1"/>
          <p:nvPr/>
        </p:nvSpPr>
        <p:spPr>
          <a:xfrm>
            <a:off x="919833" y="2013112"/>
            <a:ext cx="3212794"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6" name="Isosceles Triangle 35">
            <a:extLst>
              <a:ext uri="{FF2B5EF4-FFF2-40B4-BE49-F238E27FC236}">
                <a16:creationId xmlns:a16="http://schemas.microsoft.com/office/drawing/2014/main" id="{48AD64A2-EDD2-A6AC-29C4-13EEF460D14F}"/>
              </a:ext>
            </a:extLst>
          </p:cNvPr>
          <p:cNvSpPr/>
          <p:nvPr/>
        </p:nvSpPr>
        <p:spPr bwMode="auto">
          <a:xfrm rot="10800000">
            <a:off x="2114384" y="3562810"/>
            <a:ext cx="610934"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41" name="Rectangle 40">
            <a:extLst>
              <a:ext uri="{FF2B5EF4-FFF2-40B4-BE49-F238E27FC236}">
                <a16:creationId xmlns:a16="http://schemas.microsoft.com/office/drawing/2014/main" id="{ADA874F5-2318-FAC5-C92E-71982C6D6A4F}"/>
              </a:ext>
            </a:extLst>
          </p:cNvPr>
          <p:cNvSpPr/>
          <p:nvPr/>
        </p:nvSpPr>
        <p:spPr bwMode="auto">
          <a:xfrm>
            <a:off x="839179" y="3894381"/>
            <a:ext cx="3293447" cy="2552717"/>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sz="1200">
              <a:solidFill>
                <a:schemeClr val="bg1"/>
              </a:solidFill>
            </a:endParaRPr>
          </a:p>
        </p:txBody>
      </p:sp>
      <p:sp>
        <p:nvSpPr>
          <p:cNvPr id="22" name="Rectangle 21">
            <a:extLst>
              <a:ext uri="{FF2B5EF4-FFF2-40B4-BE49-F238E27FC236}">
                <a16:creationId xmlns:a16="http://schemas.microsoft.com/office/drawing/2014/main" id="{2F574073-F341-2E40-D218-CB738F3BC646}"/>
              </a:ext>
            </a:extLst>
          </p:cNvPr>
          <p:cNvSpPr/>
          <p:nvPr/>
        </p:nvSpPr>
        <p:spPr bwMode="auto">
          <a:xfrm>
            <a:off x="4356411" y="1424093"/>
            <a:ext cx="3293447"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4" name="TextBox 33">
            <a:extLst>
              <a:ext uri="{FF2B5EF4-FFF2-40B4-BE49-F238E27FC236}">
                <a16:creationId xmlns:a16="http://schemas.microsoft.com/office/drawing/2014/main" id="{EA03BD0D-1170-1066-8C21-B4DC44735CD1}"/>
              </a:ext>
            </a:extLst>
          </p:cNvPr>
          <p:cNvSpPr txBox="1"/>
          <p:nvPr/>
        </p:nvSpPr>
        <p:spPr>
          <a:xfrm>
            <a:off x="4355918" y="2043110"/>
            <a:ext cx="3212794"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7" name="Isosceles Triangle 36">
            <a:extLst>
              <a:ext uri="{FF2B5EF4-FFF2-40B4-BE49-F238E27FC236}">
                <a16:creationId xmlns:a16="http://schemas.microsoft.com/office/drawing/2014/main" id="{86B63F32-A391-EC05-B017-FAD582369FE6}"/>
              </a:ext>
            </a:extLst>
          </p:cNvPr>
          <p:cNvSpPr/>
          <p:nvPr/>
        </p:nvSpPr>
        <p:spPr bwMode="auto">
          <a:xfrm rot="10800000">
            <a:off x="5658022" y="3562810"/>
            <a:ext cx="610934"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40" name="Rectangle 39">
            <a:extLst>
              <a:ext uri="{FF2B5EF4-FFF2-40B4-BE49-F238E27FC236}">
                <a16:creationId xmlns:a16="http://schemas.microsoft.com/office/drawing/2014/main" id="{27675ABE-C3B4-C41A-10ED-71DD5E7D4504}"/>
              </a:ext>
            </a:extLst>
          </p:cNvPr>
          <p:cNvSpPr/>
          <p:nvPr/>
        </p:nvSpPr>
        <p:spPr bwMode="auto">
          <a:xfrm>
            <a:off x="4356411" y="3894380"/>
            <a:ext cx="3293447" cy="2552717"/>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p:txBody>
      </p:sp>
      <p:sp>
        <p:nvSpPr>
          <p:cNvPr id="23" name="Rectangle 22">
            <a:extLst>
              <a:ext uri="{FF2B5EF4-FFF2-40B4-BE49-F238E27FC236}">
                <a16:creationId xmlns:a16="http://schemas.microsoft.com/office/drawing/2014/main" id="{7FD91078-1964-3D73-3BB6-DAF7431BA3D8}"/>
              </a:ext>
            </a:extLst>
          </p:cNvPr>
          <p:cNvSpPr/>
          <p:nvPr/>
        </p:nvSpPr>
        <p:spPr bwMode="auto">
          <a:xfrm>
            <a:off x="7873149" y="1434779"/>
            <a:ext cx="3293448"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5" name="TextBox 34">
            <a:extLst>
              <a:ext uri="{FF2B5EF4-FFF2-40B4-BE49-F238E27FC236}">
                <a16:creationId xmlns:a16="http://schemas.microsoft.com/office/drawing/2014/main" id="{25A9D3E2-C821-424E-58BB-8D5C87579D70}"/>
              </a:ext>
            </a:extLst>
          </p:cNvPr>
          <p:cNvSpPr txBox="1"/>
          <p:nvPr/>
        </p:nvSpPr>
        <p:spPr>
          <a:xfrm>
            <a:off x="7942151" y="2038117"/>
            <a:ext cx="3250290"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8" name="Isosceles Triangle 37">
            <a:extLst>
              <a:ext uri="{FF2B5EF4-FFF2-40B4-BE49-F238E27FC236}">
                <a16:creationId xmlns:a16="http://schemas.microsoft.com/office/drawing/2014/main" id="{81DD03A0-7AC1-CD70-38CD-2B0FB5E74130}"/>
              </a:ext>
            </a:extLst>
          </p:cNvPr>
          <p:cNvSpPr/>
          <p:nvPr/>
        </p:nvSpPr>
        <p:spPr bwMode="auto">
          <a:xfrm rot="10800000">
            <a:off x="9261069" y="3562209"/>
            <a:ext cx="610935"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39" name="Rectangle 38">
            <a:extLst>
              <a:ext uri="{FF2B5EF4-FFF2-40B4-BE49-F238E27FC236}">
                <a16:creationId xmlns:a16="http://schemas.microsoft.com/office/drawing/2014/main" id="{3800005E-7966-C7B5-B7AD-93658D963AD1}"/>
              </a:ext>
            </a:extLst>
          </p:cNvPr>
          <p:cNvSpPr/>
          <p:nvPr/>
        </p:nvSpPr>
        <p:spPr bwMode="auto">
          <a:xfrm>
            <a:off x="7873149" y="3894381"/>
            <a:ext cx="3293448" cy="2552718"/>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a:solidFill>
                <a:schemeClr val="bg1"/>
              </a:solidFill>
            </a:endParaRPr>
          </a:p>
        </p:txBody>
      </p:sp>
      <p:sp>
        <p:nvSpPr>
          <p:cNvPr id="2" name="Title 1">
            <a:extLst>
              <a:ext uri="{FF2B5EF4-FFF2-40B4-BE49-F238E27FC236}">
                <a16:creationId xmlns:a16="http://schemas.microsoft.com/office/drawing/2014/main" id="{EB50460C-08CE-79C6-1EBA-E5F357914570}"/>
              </a:ext>
            </a:extLst>
          </p:cNvPr>
          <p:cNvSpPr>
            <a:spLocks noGrp="1"/>
          </p:cNvSpPr>
          <p:nvPr>
            <p:ph type="title"/>
          </p:nvPr>
        </p:nvSpPr>
        <p:spPr/>
        <p:txBody>
          <a:bodyPr vert="horz"/>
          <a:lstStyle/>
          <a:p>
            <a:r>
              <a:rPr lang="en-GB"/>
              <a:t>Slide messages – three key deliverables</a:t>
            </a:r>
          </a:p>
        </p:txBody>
      </p:sp>
      <p:sp>
        <p:nvSpPr>
          <p:cNvPr id="8" name="Oval 7">
            <a:extLst>
              <a:ext uri="{FF2B5EF4-FFF2-40B4-BE49-F238E27FC236}">
                <a16:creationId xmlns:a16="http://schemas.microsoft.com/office/drawing/2014/main" id="{992A744F-CED4-38AD-4A75-22304C0EE2B1}"/>
              </a:ext>
            </a:extLst>
          </p:cNvPr>
          <p:cNvSpPr/>
          <p:nvPr/>
        </p:nvSpPr>
        <p:spPr bwMode="auto">
          <a:xfrm>
            <a:off x="9070640" y="1066101"/>
            <a:ext cx="898466" cy="900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grpSp>
        <p:nvGrpSpPr>
          <p:cNvPr id="3" name="Group 2">
            <a:extLst>
              <a:ext uri="{FF2B5EF4-FFF2-40B4-BE49-F238E27FC236}">
                <a16:creationId xmlns:a16="http://schemas.microsoft.com/office/drawing/2014/main" id="{CC36BD2A-9A52-0C5B-6A92-45DD6BD95B32}"/>
              </a:ext>
            </a:extLst>
          </p:cNvPr>
          <p:cNvGrpSpPr/>
          <p:nvPr/>
        </p:nvGrpSpPr>
        <p:grpSpPr>
          <a:xfrm>
            <a:off x="5514255" y="1063162"/>
            <a:ext cx="898466" cy="900000"/>
            <a:chOff x="5006780" y="1705927"/>
            <a:chExt cx="936000" cy="936000"/>
          </a:xfrm>
        </p:grpSpPr>
        <p:sp>
          <p:nvSpPr>
            <p:cNvPr id="7" name="Oval 6">
              <a:extLst>
                <a:ext uri="{FF2B5EF4-FFF2-40B4-BE49-F238E27FC236}">
                  <a16:creationId xmlns:a16="http://schemas.microsoft.com/office/drawing/2014/main" id="{A36DA073-EC10-1B95-189D-C3D7CB70AF9A}"/>
                </a:ext>
              </a:extLst>
            </p:cNvPr>
            <p:cNvSpPr/>
            <p:nvPr/>
          </p:nvSpPr>
          <p:spPr bwMode="auto">
            <a:xfrm>
              <a:off x="5006780" y="1705927"/>
              <a:ext cx="936000" cy="936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11" name="Graphic 10" descr="Rating 3 Star with solid fill">
              <a:extLst>
                <a:ext uri="{FF2B5EF4-FFF2-40B4-BE49-F238E27FC236}">
                  <a16:creationId xmlns:a16="http://schemas.microsoft.com/office/drawing/2014/main" id="{08515AA9-D5A4-DA1C-782D-99CB862A347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167968" y="1840328"/>
              <a:ext cx="615600" cy="615600"/>
            </a:xfrm>
            <a:prstGeom prst="rect">
              <a:avLst/>
            </a:prstGeom>
          </p:spPr>
        </p:pic>
      </p:grpSp>
      <p:grpSp>
        <p:nvGrpSpPr>
          <p:cNvPr id="15" name="Group 14">
            <a:extLst>
              <a:ext uri="{FF2B5EF4-FFF2-40B4-BE49-F238E27FC236}">
                <a16:creationId xmlns:a16="http://schemas.microsoft.com/office/drawing/2014/main" id="{21FA9EEB-5DB9-8E63-7807-2321A753871A}"/>
              </a:ext>
            </a:extLst>
          </p:cNvPr>
          <p:cNvGrpSpPr/>
          <p:nvPr/>
        </p:nvGrpSpPr>
        <p:grpSpPr>
          <a:xfrm>
            <a:off x="1970617" y="1058886"/>
            <a:ext cx="898466" cy="900000"/>
            <a:chOff x="1723662" y="740990"/>
            <a:chExt cx="936000" cy="936000"/>
          </a:xfrm>
        </p:grpSpPr>
        <p:sp>
          <p:nvSpPr>
            <p:cNvPr id="6" name="Oval 5">
              <a:extLst>
                <a:ext uri="{FF2B5EF4-FFF2-40B4-BE49-F238E27FC236}">
                  <a16:creationId xmlns:a16="http://schemas.microsoft.com/office/drawing/2014/main" id="{5D50059E-339D-1CAF-8DD5-7FD855BEE877}"/>
                </a:ext>
              </a:extLst>
            </p:cNvPr>
            <p:cNvSpPr/>
            <p:nvPr/>
          </p:nvSpPr>
          <p:spPr bwMode="auto">
            <a:xfrm>
              <a:off x="1723662" y="740990"/>
              <a:ext cx="936000" cy="936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9" name="Content Placeholder 13" descr="Building Brick Wall with solid fill">
              <a:extLst>
                <a:ext uri="{FF2B5EF4-FFF2-40B4-BE49-F238E27FC236}">
                  <a16:creationId xmlns:a16="http://schemas.microsoft.com/office/drawing/2014/main" id="{DDFBA013-720B-CCE4-B019-20B08561CBD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72312" y="887331"/>
              <a:ext cx="616927" cy="616927"/>
            </a:xfrm>
            <a:prstGeom prst="rect">
              <a:avLst/>
            </a:prstGeom>
          </p:spPr>
        </p:pic>
      </p:grpSp>
      <p:sp>
        <p:nvSpPr>
          <p:cNvPr id="48" name="TextBox 47">
            <a:extLst>
              <a:ext uri="{FF2B5EF4-FFF2-40B4-BE49-F238E27FC236}">
                <a16:creationId xmlns:a16="http://schemas.microsoft.com/office/drawing/2014/main" id="{D1CC8D8C-7018-19FA-EE00-AC00FF6394EC}"/>
              </a:ext>
            </a:extLst>
          </p:cNvPr>
          <p:cNvSpPr txBox="1"/>
          <p:nvPr/>
        </p:nvSpPr>
        <p:spPr>
          <a:xfrm rot="16200000">
            <a:off x="-668689" y="5051122"/>
            <a:ext cx="2431101" cy="360850"/>
          </a:xfrm>
          <a:prstGeom prst="rect">
            <a:avLst/>
          </a:prstGeom>
          <a:noFill/>
        </p:spPr>
        <p:txBody>
          <a:bodyPr wrap="square" lIns="72000" tIns="72000" rIns="72000" bIns="72000" rtlCol="0" anchor="ctr">
            <a:spAutoFit/>
          </a:bodyPr>
          <a:lstStyle/>
          <a:p>
            <a:r>
              <a:rPr lang="en-GB" b="1">
                <a:solidFill>
                  <a:schemeClr val="accent5"/>
                </a:solidFill>
              </a:rPr>
              <a:t>Key deliverables</a:t>
            </a:r>
          </a:p>
        </p:txBody>
      </p:sp>
      <p:pic>
        <p:nvPicPr>
          <p:cNvPr id="17" name="teacher">
            <a:extLst>
              <a:ext uri="{FF2B5EF4-FFF2-40B4-BE49-F238E27FC236}">
                <a16:creationId xmlns:a16="http://schemas.microsoft.com/office/drawing/2014/main" id="{EF0659A9-FE83-43B8-4035-4752B112206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08953" y="1287567"/>
            <a:ext cx="506699" cy="481779"/>
          </a:xfrm>
          <a:prstGeom prst="rect">
            <a:avLst/>
          </a:prstGeom>
        </p:spPr>
      </p:pic>
    </p:spTree>
    <p:custDataLst>
      <p:tags r:id="rId1"/>
    </p:custDataLst>
    <p:extLst>
      <p:ext uri="{BB962C8B-B14F-4D97-AF65-F5344CB8AC3E}">
        <p14:creationId xmlns:p14="http://schemas.microsoft.com/office/powerpoint/2010/main" val="34499820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D2275-C570-BC40-0BA6-094598A0BA4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6F7510F-8160-EC3A-D1F9-C58A23CCC8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3" progId="TCLayout.ActiveDocument.1">
                  <p:embed/>
                </p:oleObj>
              </mc:Choice>
              <mc:Fallback>
                <p:oleObj name="Diapositive think-cell" r:id="rId5" imgW="473" imgH="473" progId="TCLayout.ActiveDocument.1">
                  <p:embed/>
                  <p:pic>
                    <p:nvPicPr>
                      <p:cNvPr id="10" name="think-cell data - do not delete" hidden="1">
                        <a:extLst>
                          <a:ext uri="{FF2B5EF4-FFF2-40B4-BE49-F238E27FC236}">
                            <a16:creationId xmlns:a16="http://schemas.microsoft.com/office/drawing/2014/main" id="{86F7510F-8160-EC3A-D1F9-C58A23CCC8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44C250-1502-C969-A35E-4CB8A7B1C9DB}"/>
              </a:ext>
            </a:extLst>
          </p:cNvPr>
          <p:cNvSpPr>
            <a:spLocks noGrp="1"/>
          </p:cNvSpPr>
          <p:nvPr>
            <p:ph type="title"/>
          </p:nvPr>
        </p:nvSpPr>
        <p:spPr/>
        <p:txBody>
          <a:bodyPr vert="horz"/>
          <a:lstStyle/>
          <a:p>
            <a:r>
              <a:rPr lang="en-GB"/>
              <a:t>Slide messages – four key deliverables</a:t>
            </a:r>
          </a:p>
        </p:txBody>
      </p:sp>
      <p:sp>
        <p:nvSpPr>
          <p:cNvPr id="48" name="TextBox 47">
            <a:extLst>
              <a:ext uri="{FF2B5EF4-FFF2-40B4-BE49-F238E27FC236}">
                <a16:creationId xmlns:a16="http://schemas.microsoft.com/office/drawing/2014/main" id="{229BE4C8-CD4A-5C0A-7083-1E4076010BBC}"/>
              </a:ext>
            </a:extLst>
          </p:cNvPr>
          <p:cNvSpPr txBox="1"/>
          <p:nvPr/>
        </p:nvSpPr>
        <p:spPr>
          <a:xfrm rot="16200000">
            <a:off x="-862794" y="5051122"/>
            <a:ext cx="2431101" cy="360850"/>
          </a:xfrm>
          <a:prstGeom prst="rect">
            <a:avLst/>
          </a:prstGeom>
          <a:noFill/>
        </p:spPr>
        <p:txBody>
          <a:bodyPr wrap="square" lIns="72000" tIns="72000" rIns="72000" bIns="72000" rtlCol="0" anchor="ctr">
            <a:spAutoFit/>
          </a:bodyPr>
          <a:lstStyle/>
          <a:p>
            <a:r>
              <a:rPr lang="en-GB" b="1">
                <a:solidFill>
                  <a:schemeClr val="accent5"/>
                </a:solidFill>
              </a:rPr>
              <a:t>Key deliverables</a:t>
            </a:r>
          </a:p>
        </p:txBody>
      </p:sp>
      <p:grpSp>
        <p:nvGrpSpPr>
          <p:cNvPr id="32" name="Groupe 31">
            <a:extLst>
              <a:ext uri="{FF2B5EF4-FFF2-40B4-BE49-F238E27FC236}">
                <a16:creationId xmlns:a16="http://schemas.microsoft.com/office/drawing/2014/main" id="{A1302381-9D5E-1832-AABE-CED2FADD7F22}"/>
              </a:ext>
            </a:extLst>
          </p:cNvPr>
          <p:cNvGrpSpPr/>
          <p:nvPr/>
        </p:nvGrpSpPr>
        <p:grpSpPr>
          <a:xfrm>
            <a:off x="3395324" y="1062498"/>
            <a:ext cx="2797128" cy="5384599"/>
            <a:chOff x="3395324" y="1062498"/>
            <a:chExt cx="2797128" cy="5384599"/>
          </a:xfrm>
        </p:grpSpPr>
        <p:sp>
          <p:nvSpPr>
            <p:cNvPr id="22" name="Rectangle 21">
              <a:extLst>
                <a:ext uri="{FF2B5EF4-FFF2-40B4-BE49-F238E27FC236}">
                  <a16:creationId xmlns:a16="http://schemas.microsoft.com/office/drawing/2014/main" id="{193B4FF0-EFD8-91ED-FE39-FE2EDABAA658}"/>
                </a:ext>
              </a:extLst>
            </p:cNvPr>
            <p:cNvSpPr/>
            <p:nvPr/>
          </p:nvSpPr>
          <p:spPr bwMode="auto">
            <a:xfrm>
              <a:off x="3395324" y="1424093"/>
              <a:ext cx="2797128"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4" name="TextBox 33">
              <a:extLst>
                <a:ext uri="{FF2B5EF4-FFF2-40B4-BE49-F238E27FC236}">
                  <a16:creationId xmlns:a16="http://schemas.microsoft.com/office/drawing/2014/main" id="{E61C94BE-6BD2-EF2D-E59B-86EDE7C149C3}"/>
                </a:ext>
              </a:extLst>
            </p:cNvPr>
            <p:cNvSpPr txBox="1"/>
            <p:nvPr/>
          </p:nvSpPr>
          <p:spPr>
            <a:xfrm>
              <a:off x="3429573" y="2043110"/>
              <a:ext cx="2728630"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7" name="Isosceles Triangle 36">
              <a:extLst>
                <a:ext uri="{FF2B5EF4-FFF2-40B4-BE49-F238E27FC236}">
                  <a16:creationId xmlns:a16="http://schemas.microsoft.com/office/drawing/2014/main" id="{53FBCE53-5178-BE31-5CBC-6E954221E781}"/>
                </a:ext>
              </a:extLst>
            </p:cNvPr>
            <p:cNvSpPr/>
            <p:nvPr/>
          </p:nvSpPr>
          <p:spPr bwMode="auto">
            <a:xfrm rot="10800000">
              <a:off x="4534455" y="3562810"/>
              <a:ext cx="518867"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40" name="Rectangle 39">
              <a:extLst>
                <a:ext uri="{FF2B5EF4-FFF2-40B4-BE49-F238E27FC236}">
                  <a16:creationId xmlns:a16="http://schemas.microsoft.com/office/drawing/2014/main" id="{0233D01F-1DED-6724-A856-D5AEEB125B99}"/>
                </a:ext>
              </a:extLst>
            </p:cNvPr>
            <p:cNvSpPr/>
            <p:nvPr/>
          </p:nvSpPr>
          <p:spPr bwMode="auto">
            <a:xfrm>
              <a:off x="3395324" y="3894380"/>
              <a:ext cx="2797128" cy="2552717"/>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p:txBody>
        </p:sp>
        <p:grpSp>
          <p:nvGrpSpPr>
            <p:cNvPr id="3" name="Group 2">
              <a:extLst>
                <a:ext uri="{FF2B5EF4-FFF2-40B4-BE49-F238E27FC236}">
                  <a16:creationId xmlns:a16="http://schemas.microsoft.com/office/drawing/2014/main" id="{FABAA9BB-C675-EF7A-7AB2-D644C6D98843}"/>
                </a:ext>
              </a:extLst>
            </p:cNvPr>
            <p:cNvGrpSpPr/>
            <p:nvPr/>
          </p:nvGrpSpPr>
          <p:grpSpPr>
            <a:xfrm>
              <a:off x="4344655" y="1062498"/>
              <a:ext cx="898466" cy="900000"/>
              <a:chOff x="5006780" y="1705927"/>
              <a:chExt cx="936000" cy="936000"/>
            </a:xfrm>
          </p:grpSpPr>
          <p:sp>
            <p:nvSpPr>
              <p:cNvPr id="7" name="Oval 6">
                <a:extLst>
                  <a:ext uri="{FF2B5EF4-FFF2-40B4-BE49-F238E27FC236}">
                    <a16:creationId xmlns:a16="http://schemas.microsoft.com/office/drawing/2014/main" id="{EA8B439C-4F06-B70F-23E4-4A72419B2BBE}"/>
                  </a:ext>
                </a:extLst>
              </p:cNvPr>
              <p:cNvSpPr/>
              <p:nvPr/>
            </p:nvSpPr>
            <p:spPr bwMode="auto">
              <a:xfrm>
                <a:off x="5006780" y="1705927"/>
                <a:ext cx="936000" cy="936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11" name="Graphic 10" descr="Rating 3 Star with solid fill">
                <a:extLst>
                  <a:ext uri="{FF2B5EF4-FFF2-40B4-BE49-F238E27FC236}">
                    <a16:creationId xmlns:a16="http://schemas.microsoft.com/office/drawing/2014/main" id="{C22F6927-8621-6960-5207-1972AE8CD78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67968" y="1840328"/>
                <a:ext cx="615600" cy="615600"/>
              </a:xfrm>
              <a:prstGeom prst="rect">
                <a:avLst/>
              </a:prstGeom>
            </p:spPr>
          </p:pic>
        </p:grpSp>
      </p:grpSp>
      <p:grpSp>
        <p:nvGrpSpPr>
          <p:cNvPr id="31" name="Groupe 30">
            <a:extLst>
              <a:ext uri="{FF2B5EF4-FFF2-40B4-BE49-F238E27FC236}">
                <a16:creationId xmlns:a16="http://schemas.microsoft.com/office/drawing/2014/main" id="{8ACB318C-8805-D165-F8B7-B55FC7877D74}"/>
              </a:ext>
            </a:extLst>
          </p:cNvPr>
          <p:cNvGrpSpPr/>
          <p:nvPr/>
        </p:nvGrpSpPr>
        <p:grpSpPr>
          <a:xfrm>
            <a:off x="503562" y="1079737"/>
            <a:ext cx="2797129" cy="5367361"/>
            <a:chOff x="503562" y="1079737"/>
            <a:chExt cx="2797129" cy="5367361"/>
          </a:xfrm>
        </p:grpSpPr>
        <p:sp>
          <p:nvSpPr>
            <p:cNvPr id="5" name="Rectangle 4">
              <a:extLst>
                <a:ext uri="{FF2B5EF4-FFF2-40B4-BE49-F238E27FC236}">
                  <a16:creationId xmlns:a16="http://schemas.microsoft.com/office/drawing/2014/main" id="{98E86803-B5F0-89C6-AE84-748A87849F5E}"/>
                </a:ext>
              </a:extLst>
            </p:cNvPr>
            <p:cNvSpPr/>
            <p:nvPr/>
          </p:nvSpPr>
          <p:spPr bwMode="auto">
            <a:xfrm>
              <a:off x="503562" y="1424093"/>
              <a:ext cx="2797129"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3" name="TextBox 32">
              <a:extLst>
                <a:ext uri="{FF2B5EF4-FFF2-40B4-BE49-F238E27FC236}">
                  <a16:creationId xmlns:a16="http://schemas.microsoft.com/office/drawing/2014/main" id="{05BEA82D-FE6C-BA17-1998-A76F80F6E9B4}"/>
                </a:ext>
              </a:extLst>
            </p:cNvPr>
            <p:cNvSpPr txBox="1"/>
            <p:nvPr/>
          </p:nvSpPr>
          <p:spPr>
            <a:xfrm>
              <a:off x="537811" y="2013112"/>
              <a:ext cx="2728631"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6" name="Isosceles Triangle 35">
              <a:extLst>
                <a:ext uri="{FF2B5EF4-FFF2-40B4-BE49-F238E27FC236}">
                  <a16:creationId xmlns:a16="http://schemas.microsoft.com/office/drawing/2014/main" id="{1EBB03DE-AAB1-3E4B-4200-D5DED96D7503}"/>
                </a:ext>
              </a:extLst>
            </p:cNvPr>
            <p:cNvSpPr/>
            <p:nvPr/>
          </p:nvSpPr>
          <p:spPr bwMode="auto">
            <a:xfrm rot="10800000">
              <a:off x="1642693" y="3562810"/>
              <a:ext cx="518867"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41" name="Rectangle 40">
              <a:extLst>
                <a:ext uri="{FF2B5EF4-FFF2-40B4-BE49-F238E27FC236}">
                  <a16:creationId xmlns:a16="http://schemas.microsoft.com/office/drawing/2014/main" id="{C0A81A62-3D40-A5AC-3D08-DF2F1B56C20D}"/>
                </a:ext>
              </a:extLst>
            </p:cNvPr>
            <p:cNvSpPr/>
            <p:nvPr/>
          </p:nvSpPr>
          <p:spPr bwMode="auto">
            <a:xfrm>
              <a:off x="503562" y="3894381"/>
              <a:ext cx="2797129" cy="2552717"/>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sz="1200">
                <a:solidFill>
                  <a:schemeClr val="bg1"/>
                </a:solidFill>
              </a:endParaRPr>
            </a:p>
          </p:txBody>
        </p:sp>
        <p:grpSp>
          <p:nvGrpSpPr>
            <p:cNvPr id="15" name="Group 14">
              <a:extLst>
                <a:ext uri="{FF2B5EF4-FFF2-40B4-BE49-F238E27FC236}">
                  <a16:creationId xmlns:a16="http://schemas.microsoft.com/office/drawing/2014/main" id="{6F3DD02F-8C60-9A63-58F4-DDFF41F21F31}"/>
                </a:ext>
              </a:extLst>
            </p:cNvPr>
            <p:cNvGrpSpPr/>
            <p:nvPr/>
          </p:nvGrpSpPr>
          <p:grpSpPr>
            <a:xfrm>
              <a:off x="1452893" y="1079737"/>
              <a:ext cx="898466" cy="900000"/>
              <a:chOff x="1723662" y="740990"/>
              <a:chExt cx="936000" cy="936000"/>
            </a:xfrm>
          </p:grpSpPr>
          <p:sp>
            <p:nvSpPr>
              <p:cNvPr id="6" name="Oval 5">
                <a:extLst>
                  <a:ext uri="{FF2B5EF4-FFF2-40B4-BE49-F238E27FC236}">
                    <a16:creationId xmlns:a16="http://schemas.microsoft.com/office/drawing/2014/main" id="{91AC186E-3698-A8FE-E25A-BB2BFDCD7449}"/>
                  </a:ext>
                </a:extLst>
              </p:cNvPr>
              <p:cNvSpPr/>
              <p:nvPr/>
            </p:nvSpPr>
            <p:spPr bwMode="auto">
              <a:xfrm>
                <a:off x="1723662" y="740990"/>
                <a:ext cx="936000" cy="936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9" name="Content Placeholder 13" descr="Building Brick Wall with solid fill">
                <a:extLst>
                  <a:ext uri="{FF2B5EF4-FFF2-40B4-BE49-F238E27FC236}">
                    <a16:creationId xmlns:a16="http://schemas.microsoft.com/office/drawing/2014/main" id="{13E10B11-A948-F9DD-39B1-0769AA25C62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72312" y="887332"/>
                <a:ext cx="616927" cy="616927"/>
              </a:xfrm>
              <a:prstGeom prst="rect">
                <a:avLst/>
              </a:prstGeom>
            </p:spPr>
          </p:pic>
        </p:grpSp>
      </p:grpSp>
      <p:grpSp>
        <p:nvGrpSpPr>
          <p:cNvPr id="42" name="Groupe 41">
            <a:extLst>
              <a:ext uri="{FF2B5EF4-FFF2-40B4-BE49-F238E27FC236}">
                <a16:creationId xmlns:a16="http://schemas.microsoft.com/office/drawing/2014/main" id="{4ECCEAD8-1FBB-0EA5-B799-65B76FF0679D}"/>
              </a:ext>
            </a:extLst>
          </p:cNvPr>
          <p:cNvGrpSpPr/>
          <p:nvPr/>
        </p:nvGrpSpPr>
        <p:grpSpPr>
          <a:xfrm>
            <a:off x="6298060" y="1078794"/>
            <a:ext cx="2797130" cy="5368305"/>
            <a:chOff x="6298060" y="1078794"/>
            <a:chExt cx="2797130" cy="5368305"/>
          </a:xfrm>
        </p:grpSpPr>
        <p:sp>
          <p:nvSpPr>
            <p:cNvPr id="23" name="Rectangle 22">
              <a:extLst>
                <a:ext uri="{FF2B5EF4-FFF2-40B4-BE49-F238E27FC236}">
                  <a16:creationId xmlns:a16="http://schemas.microsoft.com/office/drawing/2014/main" id="{C54E232B-0864-E584-018F-E242B2096B41}"/>
                </a:ext>
              </a:extLst>
            </p:cNvPr>
            <p:cNvSpPr/>
            <p:nvPr/>
          </p:nvSpPr>
          <p:spPr bwMode="auto">
            <a:xfrm>
              <a:off x="6298060" y="1434779"/>
              <a:ext cx="2797130"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35" name="TextBox 34">
              <a:extLst>
                <a:ext uri="{FF2B5EF4-FFF2-40B4-BE49-F238E27FC236}">
                  <a16:creationId xmlns:a16="http://schemas.microsoft.com/office/drawing/2014/main" id="{0F8A17CD-6F5A-1030-C94F-B32B092177EC}"/>
                </a:ext>
              </a:extLst>
            </p:cNvPr>
            <p:cNvSpPr txBox="1"/>
            <p:nvPr/>
          </p:nvSpPr>
          <p:spPr>
            <a:xfrm>
              <a:off x="6316387" y="2038117"/>
              <a:ext cx="2760476"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38" name="Isosceles Triangle 37">
              <a:extLst>
                <a:ext uri="{FF2B5EF4-FFF2-40B4-BE49-F238E27FC236}">
                  <a16:creationId xmlns:a16="http://schemas.microsoft.com/office/drawing/2014/main" id="{5C126708-BD1A-B1DD-CA02-16BF9FD2BEB2}"/>
                </a:ext>
              </a:extLst>
            </p:cNvPr>
            <p:cNvSpPr/>
            <p:nvPr/>
          </p:nvSpPr>
          <p:spPr bwMode="auto">
            <a:xfrm rot="10800000">
              <a:off x="7437191" y="3562209"/>
              <a:ext cx="518868"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39" name="Rectangle 38">
              <a:extLst>
                <a:ext uri="{FF2B5EF4-FFF2-40B4-BE49-F238E27FC236}">
                  <a16:creationId xmlns:a16="http://schemas.microsoft.com/office/drawing/2014/main" id="{FAEFB856-02F4-FE1A-9E03-0B050FC1F80A}"/>
                </a:ext>
              </a:extLst>
            </p:cNvPr>
            <p:cNvSpPr/>
            <p:nvPr/>
          </p:nvSpPr>
          <p:spPr bwMode="auto">
            <a:xfrm>
              <a:off x="6298060" y="3894381"/>
              <a:ext cx="2797130" cy="2552718"/>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a:solidFill>
                  <a:schemeClr val="bg1"/>
                </a:solidFill>
              </a:endParaRPr>
            </a:p>
          </p:txBody>
        </p:sp>
        <p:grpSp>
          <p:nvGrpSpPr>
            <p:cNvPr id="14" name="Groupe 13">
              <a:extLst>
                <a:ext uri="{FF2B5EF4-FFF2-40B4-BE49-F238E27FC236}">
                  <a16:creationId xmlns:a16="http://schemas.microsoft.com/office/drawing/2014/main" id="{E1E8FD11-213A-A948-519E-8CE155537568}"/>
                </a:ext>
              </a:extLst>
            </p:cNvPr>
            <p:cNvGrpSpPr/>
            <p:nvPr/>
          </p:nvGrpSpPr>
          <p:grpSpPr>
            <a:xfrm>
              <a:off x="7247392" y="1078794"/>
              <a:ext cx="898466" cy="900000"/>
              <a:chOff x="9070640" y="1066101"/>
              <a:chExt cx="898466" cy="900000"/>
            </a:xfrm>
          </p:grpSpPr>
          <p:sp>
            <p:nvSpPr>
              <p:cNvPr id="8" name="Oval 7">
                <a:extLst>
                  <a:ext uri="{FF2B5EF4-FFF2-40B4-BE49-F238E27FC236}">
                    <a16:creationId xmlns:a16="http://schemas.microsoft.com/office/drawing/2014/main" id="{8620FEED-332D-7B69-6801-F8DCEA2B63AA}"/>
                  </a:ext>
                </a:extLst>
              </p:cNvPr>
              <p:cNvSpPr/>
              <p:nvPr/>
            </p:nvSpPr>
            <p:spPr bwMode="auto">
              <a:xfrm>
                <a:off x="9070640" y="1066101"/>
                <a:ext cx="898466" cy="900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17" name="teacher">
                <a:extLst>
                  <a:ext uri="{FF2B5EF4-FFF2-40B4-BE49-F238E27FC236}">
                    <a16:creationId xmlns:a16="http://schemas.microsoft.com/office/drawing/2014/main" id="{C4F0B4AD-E4F9-CC97-DAE4-4352C7740A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08953" y="1287567"/>
                <a:ext cx="506699" cy="481779"/>
              </a:xfrm>
              <a:prstGeom prst="rect">
                <a:avLst/>
              </a:prstGeom>
            </p:spPr>
          </p:pic>
        </p:grpSp>
      </p:grpSp>
      <p:grpSp>
        <p:nvGrpSpPr>
          <p:cNvPr id="46" name="Groupe 45">
            <a:extLst>
              <a:ext uri="{FF2B5EF4-FFF2-40B4-BE49-F238E27FC236}">
                <a16:creationId xmlns:a16="http://schemas.microsoft.com/office/drawing/2014/main" id="{6C5A35C0-E597-B851-A8F8-B2DB4F8CD878}"/>
              </a:ext>
            </a:extLst>
          </p:cNvPr>
          <p:cNvGrpSpPr/>
          <p:nvPr/>
        </p:nvGrpSpPr>
        <p:grpSpPr>
          <a:xfrm>
            <a:off x="9211563" y="1078794"/>
            <a:ext cx="2797130" cy="5365290"/>
            <a:chOff x="9211563" y="1078794"/>
            <a:chExt cx="2797130" cy="5365290"/>
          </a:xfrm>
        </p:grpSpPr>
        <p:sp>
          <p:nvSpPr>
            <p:cNvPr id="21" name="Rectangle 20">
              <a:extLst>
                <a:ext uri="{FF2B5EF4-FFF2-40B4-BE49-F238E27FC236}">
                  <a16:creationId xmlns:a16="http://schemas.microsoft.com/office/drawing/2014/main" id="{DE6C3FD4-0C6E-AACE-1C08-1D5EEE0AE0CF}"/>
                </a:ext>
              </a:extLst>
            </p:cNvPr>
            <p:cNvSpPr/>
            <p:nvPr/>
          </p:nvSpPr>
          <p:spPr bwMode="auto">
            <a:xfrm>
              <a:off x="9211563" y="1431764"/>
              <a:ext cx="2797130" cy="2030154"/>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sz="1800">
                <a:solidFill>
                  <a:schemeClr val="accent4"/>
                </a:solidFill>
              </a:endParaRPr>
            </a:p>
          </p:txBody>
        </p:sp>
        <p:sp>
          <p:nvSpPr>
            <p:cNvPr id="24" name="TextBox 34">
              <a:extLst>
                <a:ext uri="{FF2B5EF4-FFF2-40B4-BE49-F238E27FC236}">
                  <a16:creationId xmlns:a16="http://schemas.microsoft.com/office/drawing/2014/main" id="{5CE225CB-6E8D-FF96-A0D1-06982D5A4EFC}"/>
                </a:ext>
              </a:extLst>
            </p:cNvPr>
            <p:cNvSpPr txBox="1"/>
            <p:nvPr/>
          </p:nvSpPr>
          <p:spPr>
            <a:xfrm>
              <a:off x="9229890" y="2035102"/>
              <a:ext cx="2760476" cy="1145680"/>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a:solidFill>
                    <a:schemeClr val="accent5"/>
                  </a:solidFill>
                </a:rPr>
                <a:t>Lorem ipsum </a:t>
              </a:r>
              <a:r>
                <a:rPr lang="en-GB" err="1">
                  <a:solidFill>
                    <a:schemeClr val="accent5"/>
                  </a:solidFill>
                </a:rPr>
                <a:t>dolor</a:t>
              </a:r>
              <a:r>
                <a:rPr lang="en-GB">
                  <a:solidFill>
                    <a:schemeClr val="accent5"/>
                  </a:solidFill>
                </a:rPr>
                <a:t> sit </a:t>
              </a:r>
              <a:r>
                <a:rPr lang="en-GB" err="1">
                  <a:solidFill>
                    <a:schemeClr val="accent5"/>
                  </a:solidFill>
                </a:rPr>
                <a:t>amet</a:t>
              </a:r>
              <a:r>
                <a:rPr lang="en-GB">
                  <a:solidFill>
                    <a:schemeClr val="accent5"/>
                  </a:solidFill>
                </a:rPr>
                <a:t>, </a:t>
              </a:r>
              <a:r>
                <a:rPr lang="en-GB" err="1">
                  <a:solidFill>
                    <a:schemeClr val="accent5"/>
                  </a:solidFill>
                </a:rPr>
                <a:t>consectetur</a:t>
              </a:r>
              <a:r>
                <a:rPr lang="en-GB">
                  <a:solidFill>
                    <a:schemeClr val="accent5"/>
                  </a:solidFill>
                </a:rPr>
                <a:t> </a:t>
              </a:r>
              <a:r>
                <a:rPr lang="en-GB" err="1">
                  <a:solidFill>
                    <a:schemeClr val="accent5"/>
                  </a:solidFill>
                </a:rPr>
                <a:t>adipiscing</a:t>
              </a:r>
              <a:r>
                <a:rPr lang="en-GB">
                  <a:solidFill>
                    <a:schemeClr val="accent5"/>
                  </a:solidFill>
                </a:rPr>
                <a:t> </a:t>
              </a:r>
              <a:r>
                <a:rPr lang="en-GB" err="1">
                  <a:solidFill>
                    <a:schemeClr val="accent5"/>
                  </a:solidFill>
                </a:rPr>
                <a:t>elit</a:t>
              </a:r>
              <a:r>
                <a:rPr lang="en-GB">
                  <a:solidFill>
                    <a:schemeClr val="accent5"/>
                  </a:solidFill>
                </a:rPr>
                <a:t>, </a:t>
              </a:r>
              <a:r>
                <a:rPr lang="en-GB" err="1">
                  <a:solidFill>
                    <a:schemeClr val="accent5"/>
                  </a:solidFill>
                </a:rPr>
                <a:t>sed</a:t>
              </a:r>
              <a:r>
                <a:rPr lang="en-GB">
                  <a:solidFill>
                    <a:schemeClr val="accent5"/>
                  </a:solidFill>
                </a:rPr>
                <a:t> do </a:t>
              </a:r>
              <a:r>
                <a:rPr lang="en-GB" err="1">
                  <a:solidFill>
                    <a:schemeClr val="accent5"/>
                  </a:solidFill>
                </a:rPr>
                <a:t>eiusmod</a:t>
              </a:r>
              <a:r>
                <a:rPr lang="en-GB">
                  <a:solidFill>
                    <a:schemeClr val="accent5"/>
                  </a:solidFill>
                </a:rPr>
                <a:t> </a:t>
              </a:r>
              <a:r>
                <a:rPr lang="en-GB" err="1">
                  <a:solidFill>
                    <a:schemeClr val="accent5"/>
                  </a:solidFill>
                </a:rPr>
                <a:t>tempor</a:t>
              </a:r>
              <a:r>
                <a:rPr lang="en-GB">
                  <a:solidFill>
                    <a:schemeClr val="accent5"/>
                  </a:solidFill>
                </a:rPr>
                <a:t> </a:t>
              </a:r>
              <a:r>
                <a:rPr lang="en-GB" err="1">
                  <a:solidFill>
                    <a:schemeClr val="accent5"/>
                  </a:solidFill>
                </a:rPr>
                <a:t>incididunt</a:t>
              </a:r>
              <a:r>
                <a:rPr lang="en-GB">
                  <a:solidFill>
                    <a:schemeClr val="accent5"/>
                  </a:solidFill>
                </a:rPr>
                <a:t> </a:t>
              </a:r>
              <a:r>
                <a:rPr lang="en-GB" err="1">
                  <a:solidFill>
                    <a:schemeClr val="accent5"/>
                  </a:solidFill>
                </a:rPr>
                <a:t>ut</a:t>
              </a:r>
              <a:r>
                <a:rPr lang="en-GB">
                  <a:solidFill>
                    <a:schemeClr val="accent5"/>
                  </a:solidFill>
                </a:rPr>
                <a:t> labore </a:t>
              </a:r>
            </a:p>
          </p:txBody>
        </p:sp>
        <p:sp>
          <p:nvSpPr>
            <p:cNvPr id="25" name="Isosceles Triangle 37">
              <a:extLst>
                <a:ext uri="{FF2B5EF4-FFF2-40B4-BE49-F238E27FC236}">
                  <a16:creationId xmlns:a16="http://schemas.microsoft.com/office/drawing/2014/main" id="{0D52EFDA-06A2-5584-DA94-461D8224945B}"/>
                </a:ext>
              </a:extLst>
            </p:cNvPr>
            <p:cNvSpPr/>
            <p:nvPr/>
          </p:nvSpPr>
          <p:spPr bwMode="auto">
            <a:xfrm rot="10800000">
              <a:off x="10350694" y="3559194"/>
              <a:ext cx="518868" cy="213525"/>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26" name="Rectangle 25">
              <a:extLst>
                <a:ext uri="{FF2B5EF4-FFF2-40B4-BE49-F238E27FC236}">
                  <a16:creationId xmlns:a16="http://schemas.microsoft.com/office/drawing/2014/main" id="{361B4BAA-933D-4165-CE63-AFEE2CA80004}"/>
                </a:ext>
              </a:extLst>
            </p:cNvPr>
            <p:cNvSpPr/>
            <p:nvPr/>
          </p:nvSpPr>
          <p:spPr bwMode="auto">
            <a:xfrm>
              <a:off x="9211563" y="3891366"/>
              <a:ext cx="2797130" cy="2552718"/>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r>
                <a:rPr lang="en-GB">
                  <a:solidFill>
                    <a:schemeClr val="bg1"/>
                  </a:solidFill>
                </a:rPr>
                <a:t>Lorem ipsum </a:t>
              </a:r>
              <a:r>
                <a:rPr lang="en-GB" err="1">
                  <a:solidFill>
                    <a:schemeClr val="bg1"/>
                  </a:solidFill>
                </a:rPr>
                <a:t>dolor</a:t>
              </a:r>
              <a:r>
                <a:rPr lang="en-GB">
                  <a:solidFill>
                    <a:schemeClr val="bg1"/>
                  </a:solidFill>
                </a:rPr>
                <a:t> sit </a:t>
              </a:r>
              <a:r>
                <a:rPr lang="en-GB" err="1">
                  <a:solidFill>
                    <a:schemeClr val="bg1"/>
                  </a:solidFill>
                </a:rPr>
                <a:t>amet</a:t>
              </a:r>
              <a:r>
                <a:rPr lang="en-GB">
                  <a:solidFill>
                    <a:schemeClr val="bg1"/>
                  </a:solidFill>
                </a:rPr>
                <a:t>, </a:t>
              </a:r>
              <a:r>
                <a:rPr lang="en-GB" err="1">
                  <a:solidFill>
                    <a:schemeClr val="bg1"/>
                  </a:solidFill>
                </a:rPr>
                <a:t>consectetur</a:t>
              </a:r>
              <a:r>
                <a:rPr lang="en-GB">
                  <a:solidFill>
                    <a:schemeClr val="bg1"/>
                  </a:solidFill>
                </a:rPr>
                <a:t> </a:t>
              </a:r>
              <a:r>
                <a:rPr lang="en-GB" err="1">
                  <a:solidFill>
                    <a:schemeClr val="bg1"/>
                  </a:solidFill>
                </a:rPr>
                <a:t>adipiscing</a:t>
              </a:r>
              <a:r>
                <a:rPr lang="en-GB">
                  <a:solidFill>
                    <a:schemeClr val="bg1"/>
                  </a:solidFill>
                </a:rPr>
                <a:t> </a:t>
              </a:r>
              <a:r>
                <a:rPr lang="en-GB" err="1">
                  <a:solidFill>
                    <a:schemeClr val="bg1"/>
                  </a:solidFill>
                </a:rPr>
                <a:t>elit</a:t>
              </a:r>
              <a:r>
                <a:rPr lang="en-GB">
                  <a:solidFill>
                    <a:schemeClr val="bg1"/>
                  </a:solidFill>
                </a:rPr>
                <a:t>, </a:t>
              </a:r>
              <a:r>
                <a:rPr lang="en-GB" err="1">
                  <a:solidFill>
                    <a:schemeClr val="bg1"/>
                  </a:solidFill>
                </a:rPr>
                <a:t>sed</a:t>
              </a:r>
              <a:r>
                <a:rPr lang="en-GB">
                  <a:solidFill>
                    <a:schemeClr val="bg1"/>
                  </a:solidFill>
                </a:rPr>
                <a:t> do </a:t>
              </a:r>
              <a:r>
                <a:rPr lang="en-GB" err="1">
                  <a:solidFill>
                    <a:schemeClr val="bg1"/>
                  </a:solidFill>
                </a:rPr>
                <a:t>eiusmod</a:t>
              </a:r>
              <a:r>
                <a:rPr lang="en-GB">
                  <a:solidFill>
                    <a:schemeClr val="bg1"/>
                  </a:solidFill>
                </a:rPr>
                <a:t> </a:t>
              </a:r>
              <a:r>
                <a:rPr lang="en-GB" err="1">
                  <a:solidFill>
                    <a:schemeClr val="bg1"/>
                  </a:solidFill>
                </a:rPr>
                <a:t>tempor</a:t>
              </a:r>
              <a:r>
                <a:rPr lang="en-GB">
                  <a:solidFill>
                    <a:schemeClr val="bg1"/>
                  </a:solidFill>
                </a:rPr>
                <a:t> </a:t>
              </a:r>
              <a:r>
                <a:rPr lang="en-GB" err="1">
                  <a:solidFill>
                    <a:schemeClr val="bg1"/>
                  </a:solidFill>
                </a:rPr>
                <a:t>incididunt</a:t>
              </a:r>
              <a:r>
                <a:rPr lang="en-GB">
                  <a:solidFill>
                    <a:schemeClr val="bg1"/>
                  </a:solidFill>
                </a:rPr>
                <a:t> </a:t>
              </a:r>
              <a:r>
                <a:rPr lang="en-GB" err="1">
                  <a:solidFill>
                    <a:schemeClr val="bg1"/>
                  </a:solidFill>
                </a:rPr>
                <a:t>ut</a:t>
              </a:r>
              <a:r>
                <a:rPr lang="en-GB">
                  <a:solidFill>
                    <a:schemeClr val="bg1"/>
                  </a:solidFill>
                </a:rPr>
                <a:t> labore </a:t>
              </a:r>
            </a:p>
            <a:p>
              <a:pPr algn="l">
                <a:spcBef>
                  <a:spcPts val="840"/>
                </a:spcBef>
                <a:spcAft>
                  <a:spcPts val="0"/>
                </a:spcAft>
                <a:buClr>
                  <a:srgbClr val="FFFFFF"/>
                </a:buClr>
                <a:buSzPct val="77000"/>
              </a:pPr>
              <a:endParaRPr lang="en-GB">
                <a:solidFill>
                  <a:schemeClr val="bg1"/>
                </a:solidFill>
              </a:endParaRPr>
            </a:p>
          </p:txBody>
        </p:sp>
        <p:sp>
          <p:nvSpPr>
            <p:cNvPr id="43" name="Oval 7">
              <a:extLst>
                <a:ext uri="{FF2B5EF4-FFF2-40B4-BE49-F238E27FC236}">
                  <a16:creationId xmlns:a16="http://schemas.microsoft.com/office/drawing/2014/main" id="{07EF2B29-4EBC-06B7-3E11-2EE4EBEBA49A}"/>
                </a:ext>
              </a:extLst>
            </p:cNvPr>
            <p:cNvSpPr/>
            <p:nvPr/>
          </p:nvSpPr>
          <p:spPr bwMode="auto">
            <a:xfrm>
              <a:off x="10160895" y="1078794"/>
              <a:ext cx="898466" cy="900000"/>
            </a:xfrm>
            <a:prstGeom prst="ellipse">
              <a:avLst/>
            </a:prstGeom>
            <a:solidFill>
              <a:schemeClr val="accent5"/>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pic>
          <p:nvPicPr>
            <p:cNvPr id="45" name="intertwined_circles">
              <a:extLst>
                <a:ext uri="{FF2B5EF4-FFF2-40B4-BE49-F238E27FC236}">
                  <a16:creationId xmlns:a16="http://schemas.microsoft.com/office/drawing/2014/main" id="{6E9330E5-A9BF-7FFE-9936-05F9885BDB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38364" y="1258408"/>
              <a:ext cx="543529" cy="504000"/>
            </a:xfrm>
            <a:prstGeom prst="rect">
              <a:avLst/>
            </a:prstGeom>
          </p:spPr>
        </p:pic>
      </p:grpSp>
    </p:spTree>
    <p:custDataLst>
      <p:tags r:id="rId1"/>
    </p:custDataLst>
    <p:extLst>
      <p:ext uri="{BB962C8B-B14F-4D97-AF65-F5344CB8AC3E}">
        <p14:creationId xmlns:p14="http://schemas.microsoft.com/office/powerpoint/2010/main" val="39100872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6182C9-A099-4E9E-B697-5BC15C94852A}"/>
              </a:ext>
            </a:extLst>
          </p:cNvPr>
          <p:cNvSpPr>
            <a:spLocks noGrp="1"/>
          </p:cNvSpPr>
          <p:nvPr>
            <p:ph type="title"/>
          </p:nvPr>
        </p:nvSpPr>
        <p:spPr>
          <a:xfrm>
            <a:off x="432000" y="316800"/>
            <a:ext cx="11340000" cy="468000"/>
          </a:xfrm>
        </p:spPr>
        <p:txBody>
          <a:bodyPr/>
          <a:lstStyle/>
          <a:p>
            <a:r>
              <a:rPr lang="en-GB" dirty="0"/>
              <a:t>Client references</a:t>
            </a:r>
          </a:p>
        </p:txBody>
      </p:sp>
      <p:sp>
        <p:nvSpPr>
          <p:cNvPr id="20" name="Rectangle 19">
            <a:extLst>
              <a:ext uri="{FF2B5EF4-FFF2-40B4-BE49-F238E27FC236}">
                <a16:creationId xmlns:a16="http://schemas.microsoft.com/office/drawing/2014/main" id="{32ACFAA4-8E2B-4936-89B9-4194ABCBE444}"/>
              </a:ext>
            </a:extLst>
          </p:cNvPr>
          <p:cNvSpPr>
            <a:spLocks noRot="1" noMove="1" noResize="1" noEditPoints="1" noAdjustHandles="1" noChangeArrowheads="1" noChangeShapeType="1"/>
          </p:cNvSpPr>
          <p:nvPr>
            <p:custDataLst>
              <p:tags r:id="rId1"/>
            </p:custDataLst>
          </p:nvPr>
        </p:nvSpPr>
        <p:spPr bwMode="auto">
          <a:xfrm>
            <a:off x="432000" y="1555915"/>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29" name="Rectangle 28">
            <a:extLst>
              <a:ext uri="{FF2B5EF4-FFF2-40B4-BE49-F238E27FC236}">
                <a16:creationId xmlns:a16="http://schemas.microsoft.com/office/drawing/2014/main" id="{A7E983AF-2391-4DC7-99FA-69910538162D}"/>
              </a:ext>
            </a:extLst>
          </p:cNvPr>
          <p:cNvSpPr>
            <a:spLocks noRot="1" noMove="1" noResize="1" noEditPoints="1" noAdjustHandles="1" noChangeArrowheads="1" noChangeShapeType="1"/>
          </p:cNvSpPr>
          <p:nvPr>
            <p:custDataLst>
              <p:tags r:id="rId2"/>
            </p:custDataLst>
          </p:nvPr>
        </p:nvSpPr>
        <p:spPr bwMode="auto">
          <a:xfrm>
            <a:off x="2317334" y="1555915"/>
            <a:ext cx="1692209" cy="106750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30" name="Rectangle 29">
            <a:extLst>
              <a:ext uri="{FF2B5EF4-FFF2-40B4-BE49-F238E27FC236}">
                <a16:creationId xmlns:a16="http://schemas.microsoft.com/office/drawing/2014/main" id="{40FF493C-B622-4199-B9F2-DC9667C1E5DB}"/>
              </a:ext>
            </a:extLst>
          </p:cNvPr>
          <p:cNvSpPr>
            <a:spLocks noRot="1" noMove="1" noResize="1" noEditPoints="1" noAdjustHandles="1" noChangeArrowheads="1" noChangeShapeType="1"/>
          </p:cNvSpPr>
          <p:nvPr>
            <p:custDataLst>
              <p:tags r:id="rId3"/>
            </p:custDataLst>
          </p:nvPr>
        </p:nvSpPr>
        <p:spPr bwMode="auto">
          <a:xfrm>
            <a:off x="432001" y="2789560"/>
            <a:ext cx="3577542" cy="342224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Text is Arial 14 </a:t>
            </a:r>
            <a:r>
              <a:rPr lang="en-GB" dirty="0" err="1">
                <a:solidFill>
                  <a:srgbClr val="000000"/>
                </a:solidFill>
              </a:rPr>
              <a:t>pt</a:t>
            </a:r>
            <a:r>
              <a:rPr lang="en-GB"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ine spacing 8.4pt before, single </a:t>
            </a:r>
          </a:p>
        </p:txBody>
      </p:sp>
      <p:sp>
        <p:nvSpPr>
          <p:cNvPr id="16" name="Rectangle 15">
            <a:extLst>
              <a:ext uri="{FF2B5EF4-FFF2-40B4-BE49-F238E27FC236}">
                <a16:creationId xmlns:a16="http://schemas.microsoft.com/office/drawing/2014/main" id="{20324B52-BBE8-4FF5-A443-1B904FCD5D58}"/>
              </a:ext>
            </a:extLst>
          </p:cNvPr>
          <p:cNvSpPr>
            <a:spLocks noRot="1" noMove="1" noResize="1" noEditPoints="1" noAdjustHandles="1" noChangeArrowheads="1" noChangeShapeType="1"/>
          </p:cNvSpPr>
          <p:nvPr>
            <p:custDataLst>
              <p:tags r:id="rId4"/>
            </p:custDataLst>
          </p:nvPr>
        </p:nvSpPr>
        <p:spPr bwMode="auto">
          <a:xfrm>
            <a:off x="4313229" y="1555915"/>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18" name="Rectangle 17">
            <a:extLst>
              <a:ext uri="{FF2B5EF4-FFF2-40B4-BE49-F238E27FC236}">
                <a16:creationId xmlns:a16="http://schemas.microsoft.com/office/drawing/2014/main" id="{8C43D009-21C6-44F3-A0CC-1E24982A6238}"/>
              </a:ext>
            </a:extLst>
          </p:cNvPr>
          <p:cNvSpPr>
            <a:spLocks noRot="1" noMove="1" noResize="1" noEditPoints="1" noAdjustHandles="1" noChangeArrowheads="1" noChangeShapeType="1"/>
          </p:cNvSpPr>
          <p:nvPr>
            <p:custDataLst>
              <p:tags r:id="rId5"/>
            </p:custDataLst>
          </p:nvPr>
        </p:nvSpPr>
        <p:spPr bwMode="auto">
          <a:xfrm>
            <a:off x="6198563" y="1555915"/>
            <a:ext cx="1692209" cy="106750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19" name="Rectangle 18">
            <a:extLst>
              <a:ext uri="{FF2B5EF4-FFF2-40B4-BE49-F238E27FC236}">
                <a16:creationId xmlns:a16="http://schemas.microsoft.com/office/drawing/2014/main" id="{A7767D3B-69F7-4A5D-AF4A-40702BEFD8C6}"/>
              </a:ext>
            </a:extLst>
          </p:cNvPr>
          <p:cNvSpPr>
            <a:spLocks noRot="1" noMove="1" noResize="1" noEditPoints="1" noAdjustHandles="1" noChangeArrowheads="1" noChangeShapeType="1"/>
          </p:cNvSpPr>
          <p:nvPr>
            <p:custDataLst>
              <p:tags r:id="rId6"/>
            </p:custDataLst>
          </p:nvPr>
        </p:nvSpPr>
        <p:spPr bwMode="auto">
          <a:xfrm>
            <a:off x="4313230" y="2789560"/>
            <a:ext cx="3577542" cy="342224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Text is Arial 14 </a:t>
            </a:r>
            <a:r>
              <a:rPr lang="en-GB" dirty="0" err="1">
                <a:solidFill>
                  <a:srgbClr val="000000"/>
                </a:solidFill>
              </a:rPr>
              <a:t>pt</a:t>
            </a:r>
            <a:r>
              <a:rPr lang="en-GB"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ine spacing 8.4pt before, single </a:t>
            </a:r>
          </a:p>
        </p:txBody>
      </p:sp>
      <p:sp>
        <p:nvSpPr>
          <p:cNvPr id="22" name="Rectangle 21">
            <a:extLst>
              <a:ext uri="{FF2B5EF4-FFF2-40B4-BE49-F238E27FC236}">
                <a16:creationId xmlns:a16="http://schemas.microsoft.com/office/drawing/2014/main" id="{2EAC4B0F-1AAA-4DF8-B677-2FDFEC98E9F2}"/>
              </a:ext>
            </a:extLst>
          </p:cNvPr>
          <p:cNvSpPr>
            <a:spLocks noRot="1" noMove="1" noResize="1" noEditPoints="1" noAdjustHandles="1" noChangeArrowheads="1" noChangeShapeType="1"/>
          </p:cNvSpPr>
          <p:nvPr>
            <p:custDataLst>
              <p:tags r:id="rId7"/>
            </p:custDataLst>
          </p:nvPr>
        </p:nvSpPr>
        <p:spPr bwMode="auto">
          <a:xfrm>
            <a:off x="8194457" y="1555915"/>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24" name="Rectangle 23">
            <a:extLst>
              <a:ext uri="{FF2B5EF4-FFF2-40B4-BE49-F238E27FC236}">
                <a16:creationId xmlns:a16="http://schemas.microsoft.com/office/drawing/2014/main" id="{0865074A-2032-4CD9-9EF3-59AF041B2801}"/>
              </a:ext>
            </a:extLst>
          </p:cNvPr>
          <p:cNvSpPr>
            <a:spLocks noRot="1" noMove="1" noResize="1" noEditPoints="1" noAdjustHandles="1" noChangeArrowheads="1" noChangeShapeType="1"/>
          </p:cNvSpPr>
          <p:nvPr>
            <p:custDataLst>
              <p:tags r:id="rId8"/>
            </p:custDataLst>
          </p:nvPr>
        </p:nvSpPr>
        <p:spPr bwMode="auto">
          <a:xfrm>
            <a:off x="10079791" y="1555915"/>
            <a:ext cx="1692209" cy="106750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25" name="Rectangle 24">
            <a:extLst>
              <a:ext uri="{FF2B5EF4-FFF2-40B4-BE49-F238E27FC236}">
                <a16:creationId xmlns:a16="http://schemas.microsoft.com/office/drawing/2014/main" id="{0E84AE76-A735-4EFC-9943-02F5ED6CFD35}"/>
              </a:ext>
            </a:extLst>
          </p:cNvPr>
          <p:cNvSpPr>
            <a:spLocks noRot="1" noMove="1" noResize="1" noEditPoints="1" noAdjustHandles="1" noChangeArrowheads="1" noChangeShapeType="1"/>
          </p:cNvSpPr>
          <p:nvPr>
            <p:custDataLst>
              <p:tags r:id="rId9"/>
            </p:custDataLst>
          </p:nvPr>
        </p:nvSpPr>
        <p:spPr bwMode="auto">
          <a:xfrm>
            <a:off x="8194458" y="2789560"/>
            <a:ext cx="3577542" cy="342224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08000" tIns="54000" rIns="108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Text is Arial 14 </a:t>
            </a:r>
            <a:r>
              <a:rPr lang="en-GB" dirty="0" err="1">
                <a:solidFill>
                  <a:srgbClr val="000000"/>
                </a:solidFill>
              </a:rPr>
              <a:t>pt</a:t>
            </a:r>
            <a:r>
              <a:rPr lang="en-GB"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dirty="0">
                <a:solidFill>
                  <a:srgbClr val="000000"/>
                </a:solidFill>
              </a:rPr>
              <a:t>Line spacing 8.4pt before, single </a:t>
            </a:r>
          </a:p>
        </p:txBody>
      </p:sp>
    </p:spTree>
    <p:extLst>
      <p:ext uri="{BB962C8B-B14F-4D97-AF65-F5344CB8AC3E}">
        <p14:creationId xmlns:p14="http://schemas.microsoft.com/office/powerpoint/2010/main" val="12591999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3B2E8-7C8E-3E6D-9D36-2064DE924C6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EBCAD38-0EFD-F5A0-41FE-FFF660122A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9" name="think-cell data - do not delete" hidden="1">
                        <a:extLst>
                          <a:ext uri="{FF2B5EF4-FFF2-40B4-BE49-F238E27FC236}">
                            <a16:creationId xmlns:a16="http://schemas.microsoft.com/office/drawing/2014/main" id="{FEBCAD38-0EFD-F5A0-41FE-FFF660122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84A6692-1065-108F-B9F9-77B9FDE4C586}"/>
              </a:ext>
            </a:extLst>
          </p:cNvPr>
          <p:cNvSpPr/>
          <p:nvPr/>
        </p:nvSpPr>
        <p:spPr bwMode="auto">
          <a:xfrm>
            <a:off x="3820780" y="1476593"/>
            <a:ext cx="7844331" cy="4912711"/>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sz="1400">
                <a:solidFill>
                  <a:schemeClr val="accent5"/>
                </a:solidFill>
              </a:rPr>
              <a:t>Lorem ipsum </a:t>
            </a:r>
            <a:r>
              <a:rPr lang="en-GB" sz="1400" err="1">
                <a:solidFill>
                  <a:schemeClr val="accent5"/>
                </a:solidFill>
              </a:rPr>
              <a:t>dolor</a:t>
            </a:r>
            <a:r>
              <a:rPr lang="en-GB" sz="1400">
                <a:solidFill>
                  <a:schemeClr val="accent5"/>
                </a:solidFill>
              </a:rPr>
              <a:t> sit </a:t>
            </a:r>
            <a:r>
              <a:rPr lang="en-GB" sz="1400" err="1">
                <a:solidFill>
                  <a:schemeClr val="accent5"/>
                </a:solidFill>
              </a:rPr>
              <a:t>amet</a:t>
            </a:r>
            <a:r>
              <a:rPr lang="en-GB" sz="1400">
                <a:solidFill>
                  <a:schemeClr val="accent5"/>
                </a:solidFill>
              </a:rPr>
              <a:t>, </a:t>
            </a:r>
            <a:r>
              <a:rPr lang="en-GB" sz="1400" err="1">
                <a:solidFill>
                  <a:schemeClr val="accent5"/>
                </a:solidFill>
              </a:rPr>
              <a:t>consectetur</a:t>
            </a:r>
            <a:r>
              <a:rPr lang="en-GB" sz="1400">
                <a:solidFill>
                  <a:schemeClr val="accent5"/>
                </a:solidFill>
              </a:rPr>
              <a:t> </a:t>
            </a:r>
            <a:r>
              <a:rPr lang="en-GB" sz="1400" err="1">
                <a:solidFill>
                  <a:schemeClr val="accent5"/>
                </a:solidFill>
              </a:rPr>
              <a:t>adipiscing</a:t>
            </a:r>
            <a:r>
              <a:rPr lang="en-GB" sz="1400">
                <a:solidFill>
                  <a:schemeClr val="accent5"/>
                </a:solidFill>
              </a:rPr>
              <a:t> </a:t>
            </a:r>
            <a:r>
              <a:rPr lang="en-GB" sz="1400" err="1">
                <a:solidFill>
                  <a:schemeClr val="accent5"/>
                </a:solidFill>
              </a:rPr>
              <a:t>elit</a:t>
            </a:r>
            <a:r>
              <a:rPr lang="en-GB" sz="1400">
                <a:solidFill>
                  <a:schemeClr val="accent5"/>
                </a:solidFill>
              </a:rPr>
              <a:t>: </a:t>
            </a:r>
          </a:p>
        </p:txBody>
      </p:sp>
      <p:sp>
        <p:nvSpPr>
          <p:cNvPr id="2" name="Title 1">
            <a:extLst>
              <a:ext uri="{FF2B5EF4-FFF2-40B4-BE49-F238E27FC236}">
                <a16:creationId xmlns:a16="http://schemas.microsoft.com/office/drawing/2014/main" id="{518813E7-B08D-5B5C-399F-9785D9D3271F}"/>
              </a:ext>
            </a:extLst>
          </p:cNvPr>
          <p:cNvSpPr>
            <a:spLocks noGrp="1"/>
          </p:cNvSpPr>
          <p:nvPr>
            <p:ph type="title"/>
          </p:nvPr>
        </p:nvSpPr>
        <p:spPr/>
        <p:txBody>
          <a:bodyPr vert="horz"/>
          <a:lstStyle/>
          <a:p>
            <a:r>
              <a:rPr lang="en-GB"/>
              <a:t>Slide messages – four deliverables details &amp; illustration</a:t>
            </a:r>
            <a:endParaRPr lang="en-GB" b="0" i="1"/>
          </a:p>
        </p:txBody>
      </p:sp>
      <p:grpSp>
        <p:nvGrpSpPr>
          <p:cNvPr id="10" name="Group 9">
            <a:extLst>
              <a:ext uri="{FF2B5EF4-FFF2-40B4-BE49-F238E27FC236}">
                <a16:creationId xmlns:a16="http://schemas.microsoft.com/office/drawing/2014/main" id="{09AFAE07-89C3-A736-F34A-82C677285D4B}"/>
              </a:ext>
            </a:extLst>
          </p:cNvPr>
          <p:cNvGrpSpPr/>
          <p:nvPr/>
        </p:nvGrpSpPr>
        <p:grpSpPr>
          <a:xfrm>
            <a:off x="538442" y="1026632"/>
            <a:ext cx="3128562" cy="5362672"/>
            <a:chOff x="366992" y="1026632"/>
            <a:chExt cx="3128562" cy="5362672"/>
          </a:xfrm>
        </p:grpSpPr>
        <p:grpSp>
          <p:nvGrpSpPr>
            <p:cNvPr id="11" name="Group 10">
              <a:extLst>
                <a:ext uri="{FF2B5EF4-FFF2-40B4-BE49-F238E27FC236}">
                  <a16:creationId xmlns:a16="http://schemas.microsoft.com/office/drawing/2014/main" id="{6C146E36-FF14-B9DF-FF9E-AF23DB0E1164}"/>
                </a:ext>
              </a:extLst>
            </p:cNvPr>
            <p:cNvGrpSpPr/>
            <p:nvPr/>
          </p:nvGrpSpPr>
          <p:grpSpPr>
            <a:xfrm>
              <a:off x="366992" y="1476632"/>
              <a:ext cx="3128562" cy="4912672"/>
              <a:chOff x="695738" y="1560362"/>
              <a:chExt cx="4295615" cy="4912672"/>
            </a:xfrm>
          </p:grpSpPr>
          <p:sp>
            <p:nvSpPr>
              <p:cNvPr id="16" name="Rectangle 15">
                <a:extLst>
                  <a:ext uri="{FF2B5EF4-FFF2-40B4-BE49-F238E27FC236}">
                    <a16:creationId xmlns:a16="http://schemas.microsoft.com/office/drawing/2014/main" id="{61CC07C2-3229-39B7-36F7-8E5144276F4A}"/>
                  </a:ext>
                </a:extLst>
              </p:cNvPr>
              <p:cNvSpPr/>
              <p:nvPr/>
            </p:nvSpPr>
            <p:spPr bwMode="auto">
              <a:xfrm>
                <a:off x="695738" y="1560362"/>
                <a:ext cx="4295615" cy="1858696"/>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a:solidFill>
                    <a:schemeClr val="accent4"/>
                  </a:solidFill>
                </a:endParaRPr>
              </a:p>
            </p:txBody>
          </p:sp>
          <p:sp>
            <p:nvSpPr>
              <p:cNvPr id="17" name="TextBox 16">
                <a:extLst>
                  <a:ext uri="{FF2B5EF4-FFF2-40B4-BE49-F238E27FC236}">
                    <a16:creationId xmlns:a16="http://schemas.microsoft.com/office/drawing/2014/main" id="{9483ABFF-7E63-FA80-CDB8-A1D5D7032F14}"/>
                  </a:ext>
                </a:extLst>
              </p:cNvPr>
              <p:cNvSpPr txBox="1"/>
              <p:nvPr/>
            </p:nvSpPr>
            <p:spPr>
              <a:xfrm>
                <a:off x="779761" y="2204282"/>
                <a:ext cx="4211592" cy="1007181"/>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sz="1600">
                    <a:solidFill>
                      <a:schemeClr val="accent5"/>
                    </a:solidFill>
                  </a:rPr>
                  <a:t>Lorem ipsum </a:t>
                </a:r>
                <a:r>
                  <a:rPr lang="en-GB" sz="1600" err="1">
                    <a:solidFill>
                      <a:schemeClr val="accent5"/>
                    </a:solidFill>
                  </a:rPr>
                  <a:t>dolor</a:t>
                </a:r>
                <a:r>
                  <a:rPr lang="en-GB" sz="1600">
                    <a:solidFill>
                      <a:schemeClr val="accent5"/>
                    </a:solidFill>
                  </a:rPr>
                  <a:t> sit </a:t>
                </a:r>
                <a:r>
                  <a:rPr lang="en-GB" sz="1600" err="1">
                    <a:solidFill>
                      <a:schemeClr val="accent5"/>
                    </a:solidFill>
                  </a:rPr>
                  <a:t>amet</a:t>
                </a:r>
                <a:r>
                  <a:rPr lang="en-GB" sz="1600">
                    <a:solidFill>
                      <a:schemeClr val="accent5"/>
                    </a:solidFill>
                  </a:rPr>
                  <a:t>, </a:t>
                </a:r>
                <a:r>
                  <a:rPr lang="en-GB" sz="1600" err="1">
                    <a:solidFill>
                      <a:schemeClr val="accent5"/>
                    </a:solidFill>
                  </a:rPr>
                  <a:t>consectetur</a:t>
                </a:r>
                <a:r>
                  <a:rPr lang="en-GB" sz="1600">
                    <a:solidFill>
                      <a:schemeClr val="accent5"/>
                    </a:solidFill>
                  </a:rPr>
                  <a:t> </a:t>
                </a:r>
                <a:r>
                  <a:rPr lang="en-GB" sz="1600" err="1">
                    <a:solidFill>
                      <a:schemeClr val="accent5"/>
                    </a:solidFill>
                  </a:rPr>
                  <a:t>adipiscing</a:t>
                </a:r>
                <a:r>
                  <a:rPr lang="en-GB" sz="1600">
                    <a:solidFill>
                      <a:schemeClr val="accent5"/>
                    </a:solidFill>
                  </a:rPr>
                  <a:t> </a:t>
                </a:r>
                <a:r>
                  <a:rPr lang="en-GB" sz="1600" err="1">
                    <a:solidFill>
                      <a:schemeClr val="accent5"/>
                    </a:solidFill>
                  </a:rPr>
                  <a:t>elit</a:t>
                </a:r>
                <a:r>
                  <a:rPr lang="en-GB" sz="1600">
                    <a:solidFill>
                      <a:schemeClr val="accent5"/>
                    </a:solidFill>
                  </a:rPr>
                  <a:t>, </a:t>
                </a:r>
                <a:r>
                  <a:rPr lang="en-GB" sz="1600" err="1">
                    <a:solidFill>
                      <a:schemeClr val="accent5"/>
                    </a:solidFill>
                  </a:rPr>
                  <a:t>sed</a:t>
                </a:r>
                <a:r>
                  <a:rPr lang="en-GB" sz="1600">
                    <a:solidFill>
                      <a:schemeClr val="accent5"/>
                    </a:solidFill>
                  </a:rPr>
                  <a:t> </a:t>
                </a:r>
              </a:p>
            </p:txBody>
          </p:sp>
          <p:sp>
            <p:nvSpPr>
              <p:cNvPr id="18" name="Isosceles Triangle 17">
                <a:extLst>
                  <a:ext uri="{FF2B5EF4-FFF2-40B4-BE49-F238E27FC236}">
                    <a16:creationId xmlns:a16="http://schemas.microsoft.com/office/drawing/2014/main" id="{3B97A497-E70A-82C9-F93D-C0B0D948E232}"/>
                  </a:ext>
                </a:extLst>
              </p:cNvPr>
              <p:cNvSpPr/>
              <p:nvPr/>
            </p:nvSpPr>
            <p:spPr bwMode="auto">
              <a:xfrm rot="10800000">
                <a:off x="2525318" y="3522793"/>
                <a:ext cx="636457" cy="195492"/>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100"/>
              </a:p>
            </p:txBody>
          </p:sp>
          <p:sp>
            <p:nvSpPr>
              <p:cNvPr id="22" name="Rectangle 21">
                <a:extLst>
                  <a:ext uri="{FF2B5EF4-FFF2-40B4-BE49-F238E27FC236}">
                    <a16:creationId xmlns:a16="http://schemas.microsoft.com/office/drawing/2014/main" id="{845E72B2-717B-8455-A1B5-02B65A7C9C5C}"/>
                  </a:ext>
                </a:extLst>
              </p:cNvPr>
              <p:cNvSpPr/>
              <p:nvPr/>
            </p:nvSpPr>
            <p:spPr bwMode="auto">
              <a:xfrm>
                <a:off x="695738" y="3822020"/>
                <a:ext cx="4295615" cy="2651014"/>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rgbClr val="FFFFFF"/>
                    </a:solidFill>
                  </a:rPr>
                  <a:t>Lorem ipsum </a:t>
                </a:r>
                <a:r>
                  <a:rPr lang="en-GB" err="1">
                    <a:solidFill>
                      <a:srgbClr val="FFFFFF"/>
                    </a:solidFill>
                  </a:rPr>
                  <a:t>dolor</a:t>
                </a:r>
                <a:r>
                  <a:rPr lang="en-GB">
                    <a:solidFill>
                      <a:srgbClr val="FFFFFF"/>
                    </a:solidFill>
                  </a:rPr>
                  <a:t> sit </a:t>
                </a:r>
                <a:r>
                  <a:rPr lang="en-GB" err="1">
                    <a:solidFill>
                      <a:srgbClr val="FFFFFF"/>
                    </a:solidFill>
                  </a:rPr>
                  <a:t>amet</a:t>
                </a:r>
                <a:r>
                  <a:rPr lang="en-GB">
                    <a:solidFill>
                      <a:srgbClr val="FFFFFF"/>
                    </a:solidFill>
                  </a:rPr>
                  <a:t>, </a:t>
                </a:r>
                <a:r>
                  <a:rPr lang="en-GB" err="1">
                    <a:solidFill>
                      <a:srgbClr val="FFFFFF"/>
                    </a:solidFill>
                  </a:rPr>
                  <a:t>consectetur</a:t>
                </a:r>
                <a:r>
                  <a:rPr lang="en-GB">
                    <a:solidFill>
                      <a:srgbClr val="FFFFFF"/>
                    </a:solidFill>
                  </a:rPr>
                  <a:t> </a:t>
                </a:r>
                <a:r>
                  <a:rPr lang="en-GB" err="1">
                    <a:solidFill>
                      <a:srgbClr val="FFFFFF"/>
                    </a:solidFill>
                  </a:rPr>
                  <a:t>adipiscing</a:t>
                </a:r>
                <a:r>
                  <a:rPr lang="en-GB">
                    <a:solidFill>
                      <a:srgbClr val="FFFFFF"/>
                    </a:solidFill>
                  </a:rPr>
                  <a:t> </a:t>
                </a:r>
                <a:r>
                  <a:rPr lang="en-GB" err="1">
                    <a:solidFill>
                      <a:srgbClr val="FFFFFF"/>
                    </a:solidFill>
                  </a:rPr>
                  <a:t>elit</a:t>
                </a:r>
                <a:r>
                  <a:rPr lang="en-GB">
                    <a:solidFill>
                      <a:srgbClr val="FFFFFF"/>
                    </a:solidFill>
                  </a:rPr>
                  <a:t>, </a:t>
                </a:r>
                <a:r>
                  <a:rPr lang="en-GB" err="1">
                    <a:solidFill>
                      <a:srgbClr val="FFFFFF"/>
                    </a:solidFill>
                  </a:rPr>
                  <a:t>sed</a:t>
                </a:r>
                <a:r>
                  <a:rPr lang="en-GB">
                    <a:solidFill>
                      <a:srgbClr val="FFFFFF"/>
                    </a:solidFill>
                  </a:rPr>
                  <a:t> do </a:t>
                </a:r>
                <a:r>
                  <a:rPr lang="en-GB" err="1">
                    <a:solidFill>
                      <a:srgbClr val="FFFFFF"/>
                    </a:solidFill>
                  </a:rPr>
                  <a:t>eiusmod</a:t>
                </a:r>
                <a:r>
                  <a:rPr lang="en-GB">
                    <a:solidFill>
                      <a:srgbClr val="FFFFFF"/>
                    </a:solidFill>
                  </a:rPr>
                  <a:t> </a:t>
                </a:r>
                <a:r>
                  <a:rPr lang="en-GB" err="1">
                    <a:solidFill>
                      <a:srgbClr val="FFFFFF"/>
                    </a:solidFill>
                  </a:rPr>
                  <a:t>tempor</a:t>
                </a:r>
                <a:r>
                  <a:rPr lang="en-GB">
                    <a:solidFill>
                      <a:srgbClr val="FFFFFF"/>
                    </a:solidFill>
                  </a:rPr>
                  <a:t> </a:t>
                </a:r>
                <a:r>
                  <a:rPr lang="en-GB" err="1">
                    <a:solidFill>
                      <a:srgbClr val="FFFFFF"/>
                    </a:solidFill>
                  </a:rPr>
                  <a:t>incididunt</a:t>
                </a:r>
                <a:r>
                  <a:rPr lang="en-GB">
                    <a:solidFill>
                      <a:srgbClr val="FFFFFF"/>
                    </a:solidFill>
                  </a:rPr>
                  <a:t> </a:t>
                </a:r>
                <a:r>
                  <a:rPr lang="en-GB" err="1">
                    <a:solidFill>
                      <a:srgbClr val="FFFFFF"/>
                    </a:solidFill>
                  </a:rPr>
                  <a:t>ut</a:t>
                </a:r>
                <a:r>
                  <a:rPr lang="en-GB">
                    <a:solidFill>
                      <a:srgbClr val="FFFFFF"/>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a:solidFill>
                    <a:srgbClr val="FFFFFF"/>
                  </a:solidFill>
                </a:endParaRPr>
              </a:p>
            </p:txBody>
          </p:sp>
        </p:grpSp>
        <p:grpSp>
          <p:nvGrpSpPr>
            <p:cNvPr id="12" name="Group 11">
              <a:extLst>
                <a:ext uri="{FF2B5EF4-FFF2-40B4-BE49-F238E27FC236}">
                  <a16:creationId xmlns:a16="http://schemas.microsoft.com/office/drawing/2014/main" id="{8751D984-741C-1411-1FC5-D12A8FBCA1C1}"/>
                </a:ext>
              </a:extLst>
            </p:cNvPr>
            <p:cNvGrpSpPr/>
            <p:nvPr/>
          </p:nvGrpSpPr>
          <p:grpSpPr>
            <a:xfrm>
              <a:off x="1482040" y="1026632"/>
              <a:ext cx="898466" cy="900000"/>
              <a:chOff x="2051659" y="740990"/>
              <a:chExt cx="936000" cy="936000"/>
            </a:xfrm>
          </p:grpSpPr>
          <p:sp>
            <p:nvSpPr>
              <p:cNvPr id="13" name="Oval 12">
                <a:extLst>
                  <a:ext uri="{FF2B5EF4-FFF2-40B4-BE49-F238E27FC236}">
                    <a16:creationId xmlns:a16="http://schemas.microsoft.com/office/drawing/2014/main" id="{01044993-0641-ED25-121D-6968AF2FE293}"/>
                  </a:ext>
                </a:extLst>
              </p:cNvPr>
              <p:cNvSpPr/>
              <p:nvPr/>
            </p:nvSpPr>
            <p:spPr bwMode="auto">
              <a:xfrm>
                <a:off x="2051659" y="740990"/>
                <a:ext cx="936000" cy="936000"/>
              </a:xfrm>
              <a:prstGeom prst="ellipse">
                <a:avLst/>
              </a:prstGeom>
              <a:solidFill>
                <a:srgbClr val="B40646"/>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100">
                  <a:solidFill>
                    <a:schemeClr val="accent5"/>
                  </a:solidFill>
                </a:endParaRPr>
              </a:p>
            </p:txBody>
          </p:sp>
          <p:pic>
            <p:nvPicPr>
              <p:cNvPr id="14" name="Content Placeholder 13" descr="Building Brick Wall with solid fill">
                <a:extLst>
                  <a:ext uri="{FF2B5EF4-FFF2-40B4-BE49-F238E27FC236}">
                    <a16:creationId xmlns:a16="http://schemas.microsoft.com/office/drawing/2014/main" id="{0516EB3D-4C0D-2CC3-1BA5-1869F2E89ED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11195" y="887332"/>
                <a:ext cx="616927" cy="616927"/>
              </a:xfrm>
              <a:prstGeom prst="rect">
                <a:avLst/>
              </a:prstGeom>
            </p:spPr>
          </p:pic>
        </p:grpSp>
      </p:grpSp>
      <p:grpSp>
        <p:nvGrpSpPr>
          <p:cNvPr id="24" name="Groupe 23">
            <a:extLst>
              <a:ext uri="{FF2B5EF4-FFF2-40B4-BE49-F238E27FC236}">
                <a16:creationId xmlns:a16="http://schemas.microsoft.com/office/drawing/2014/main" id="{504E87BD-B975-D1E7-02F7-AD0B92FBC615}"/>
              </a:ext>
            </a:extLst>
          </p:cNvPr>
          <p:cNvGrpSpPr/>
          <p:nvPr/>
        </p:nvGrpSpPr>
        <p:grpSpPr>
          <a:xfrm>
            <a:off x="4060502" y="2100966"/>
            <a:ext cx="7336842" cy="4016805"/>
            <a:chOff x="3984301" y="2079195"/>
            <a:chExt cx="4886204" cy="3726830"/>
          </a:xfrm>
        </p:grpSpPr>
        <p:sp>
          <p:nvSpPr>
            <p:cNvPr id="7" name="TextBox 6">
              <a:extLst>
                <a:ext uri="{FF2B5EF4-FFF2-40B4-BE49-F238E27FC236}">
                  <a16:creationId xmlns:a16="http://schemas.microsoft.com/office/drawing/2014/main" id="{7F654680-2EC3-1960-BBA4-DBCB2AAFF398}"/>
                </a:ext>
              </a:extLst>
            </p:cNvPr>
            <p:cNvSpPr txBox="1"/>
            <p:nvPr/>
          </p:nvSpPr>
          <p:spPr>
            <a:xfrm>
              <a:off x="3984301" y="3352679"/>
              <a:ext cx="2502710"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8" name="TextBox 7">
              <a:extLst>
                <a:ext uri="{FF2B5EF4-FFF2-40B4-BE49-F238E27FC236}">
                  <a16:creationId xmlns:a16="http://schemas.microsoft.com/office/drawing/2014/main" id="{78C7F7A0-E047-9EA1-342D-0B6FF0BF1490}"/>
                </a:ext>
              </a:extLst>
            </p:cNvPr>
            <p:cNvSpPr txBox="1"/>
            <p:nvPr/>
          </p:nvSpPr>
          <p:spPr>
            <a:xfrm>
              <a:off x="4155656" y="5445175"/>
              <a:ext cx="2160000"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9" name="TextBox 8">
              <a:extLst>
                <a:ext uri="{FF2B5EF4-FFF2-40B4-BE49-F238E27FC236}">
                  <a16:creationId xmlns:a16="http://schemas.microsoft.com/office/drawing/2014/main" id="{47E059D3-3AB4-1DE7-B032-37AAC08835A7}"/>
                </a:ext>
              </a:extLst>
            </p:cNvPr>
            <p:cNvSpPr txBox="1"/>
            <p:nvPr/>
          </p:nvSpPr>
          <p:spPr>
            <a:xfrm>
              <a:off x="6699128" y="5445175"/>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15" name="TextBox 14">
              <a:extLst>
                <a:ext uri="{FF2B5EF4-FFF2-40B4-BE49-F238E27FC236}">
                  <a16:creationId xmlns:a16="http://schemas.microsoft.com/office/drawing/2014/main" id="{4592CE8D-C7E7-4EA2-CE1A-6D032DC59712}"/>
                </a:ext>
              </a:extLst>
            </p:cNvPr>
            <p:cNvSpPr txBox="1"/>
            <p:nvPr/>
          </p:nvSpPr>
          <p:spPr>
            <a:xfrm>
              <a:off x="6699128" y="3352679"/>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3" name="Rectangle 2">
              <a:extLst>
                <a:ext uri="{FF2B5EF4-FFF2-40B4-BE49-F238E27FC236}">
                  <a16:creationId xmlns:a16="http://schemas.microsoft.com/office/drawing/2014/main" id="{7CD053E9-93C4-03EB-4340-BDDFACA04E87}"/>
                </a:ext>
              </a:extLst>
            </p:cNvPr>
            <p:cNvSpPr/>
            <p:nvPr/>
          </p:nvSpPr>
          <p:spPr bwMode="auto">
            <a:xfrm>
              <a:off x="4105268" y="2079195"/>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6" name="Rectangle 5">
              <a:extLst>
                <a:ext uri="{FF2B5EF4-FFF2-40B4-BE49-F238E27FC236}">
                  <a16:creationId xmlns:a16="http://schemas.microsoft.com/office/drawing/2014/main" id="{73FC89F8-8457-160E-5DB4-70DF17D56F93}"/>
                </a:ext>
              </a:extLst>
            </p:cNvPr>
            <p:cNvSpPr/>
            <p:nvPr/>
          </p:nvSpPr>
          <p:spPr bwMode="auto">
            <a:xfrm>
              <a:off x="6609729" y="2079195"/>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27" name="Rectangle 26">
              <a:extLst>
                <a:ext uri="{FF2B5EF4-FFF2-40B4-BE49-F238E27FC236}">
                  <a16:creationId xmlns:a16="http://schemas.microsoft.com/office/drawing/2014/main" id="{BD98DBC0-032A-AF20-5599-71F54E16A51F}"/>
                </a:ext>
              </a:extLst>
            </p:cNvPr>
            <p:cNvSpPr/>
            <p:nvPr/>
          </p:nvSpPr>
          <p:spPr bwMode="auto">
            <a:xfrm>
              <a:off x="6609729" y="4173489"/>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30" name="Rectangle 29">
              <a:extLst>
                <a:ext uri="{FF2B5EF4-FFF2-40B4-BE49-F238E27FC236}">
                  <a16:creationId xmlns:a16="http://schemas.microsoft.com/office/drawing/2014/main" id="{B782D8F0-D534-89E2-1D18-7D48C813B3BE}"/>
                </a:ext>
              </a:extLst>
            </p:cNvPr>
            <p:cNvSpPr/>
            <p:nvPr/>
          </p:nvSpPr>
          <p:spPr bwMode="auto">
            <a:xfrm>
              <a:off x="4105268" y="4173489"/>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grpSp>
    </p:spTree>
    <p:custDataLst>
      <p:tags r:id="rId1"/>
    </p:custDataLst>
    <p:extLst>
      <p:ext uri="{BB962C8B-B14F-4D97-AF65-F5344CB8AC3E}">
        <p14:creationId xmlns:p14="http://schemas.microsoft.com/office/powerpoint/2010/main" val="330668010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31A1838-D240-FB77-1007-A8925C8E85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9" name="think-cell data - do not delete" hidden="1">
                        <a:extLst>
                          <a:ext uri="{FF2B5EF4-FFF2-40B4-BE49-F238E27FC236}">
                            <a16:creationId xmlns:a16="http://schemas.microsoft.com/office/drawing/2014/main" id="{A31A1838-D240-FB77-1007-A8925C8E8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8028437-52EB-BA88-7FB5-465349329B8B}"/>
              </a:ext>
            </a:extLst>
          </p:cNvPr>
          <p:cNvSpPr/>
          <p:nvPr/>
        </p:nvSpPr>
        <p:spPr bwMode="auto">
          <a:xfrm>
            <a:off x="3820780" y="1476593"/>
            <a:ext cx="7844331" cy="4912711"/>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GB" sz="1400">
                <a:solidFill>
                  <a:schemeClr val="accent5"/>
                </a:solidFill>
              </a:rPr>
              <a:t>Lorem ipsum </a:t>
            </a:r>
            <a:r>
              <a:rPr lang="en-GB" sz="1400" err="1">
                <a:solidFill>
                  <a:schemeClr val="accent5"/>
                </a:solidFill>
              </a:rPr>
              <a:t>dolor</a:t>
            </a:r>
            <a:r>
              <a:rPr lang="en-GB" sz="1400">
                <a:solidFill>
                  <a:schemeClr val="accent5"/>
                </a:solidFill>
              </a:rPr>
              <a:t> sit </a:t>
            </a:r>
            <a:r>
              <a:rPr lang="en-GB" sz="1400" err="1">
                <a:solidFill>
                  <a:schemeClr val="accent5"/>
                </a:solidFill>
              </a:rPr>
              <a:t>amet</a:t>
            </a:r>
            <a:r>
              <a:rPr lang="en-GB" sz="1400">
                <a:solidFill>
                  <a:schemeClr val="accent5"/>
                </a:solidFill>
              </a:rPr>
              <a:t>, </a:t>
            </a:r>
            <a:r>
              <a:rPr lang="en-GB" sz="1400" err="1">
                <a:solidFill>
                  <a:schemeClr val="accent5"/>
                </a:solidFill>
              </a:rPr>
              <a:t>consectetur</a:t>
            </a:r>
            <a:r>
              <a:rPr lang="en-GB" sz="1400">
                <a:solidFill>
                  <a:schemeClr val="accent5"/>
                </a:solidFill>
              </a:rPr>
              <a:t> </a:t>
            </a:r>
            <a:r>
              <a:rPr lang="en-GB" sz="1400" err="1">
                <a:solidFill>
                  <a:schemeClr val="accent5"/>
                </a:solidFill>
              </a:rPr>
              <a:t>adipiscing</a:t>
            </a:r>
            <a:r>
              <a:rPr lang="en-GB" sz="1400">
                <a:solidFill>
                  <a:schemeClr val="accent5"/>
                </a:solidFill>
              </a:rPr>
              <a:t> </a:t>
            </a:r>
            <a:r>
              <a:rPr lang="en-GB" sz="1400" err="1">
                <a:solidFill>
                  <a:schemeClr val="accent5"/>
                </a:solidFill>
              </a:rPr>
              <a:t>elit</a:t>
            </a:r>
            <a:r>
              <a:rPr lang="en-GB" sz="1400">
                <a:solidFill>
                  <a:schemeClr val="accent5"/>
                </a:solidFill>
              </a:rPr>
              <a:t>: </a:t>
            </a:r>
          </a:p>
        </p:txBody>
      </p:sp>
      <p:sp>
        <p:nvSpPr>
          <p:cNvPr id="2" name="Title 1">
            <a:extLst>
              <a:ext uri="{FF2B5EF4-FFF2-40B4-BE49-F238E27FC236}">
                <a16:creationId xmlns:a16="http://schemas.microsoft.com/office/drawing/2014/main" id="{EB50460C-08CE-79C6-1EBA-E5F357914570}"/>
              </a:ext>
            </a:extLst>
          </p:cNvPr>
          <p:cNvSpPr>
            <a:spLocks noGrp="1"/>
          </p:cNvSpPr>
          <p:nvPr>
            <p:ph type="title"/>
          </p:nvPr>
        </p:nvSpPr>
        <p:spPr/>
        <p:txBody>
          <a:bodyPr vert="horz"/>
          <a:lstStyle/>
          <a:p>
            <a:r>
              <a:rPr lang="en-GB"/>
              <a:t>Slide messages – six deliverables details &amp; illustration</a:t>
            </a:r>
            <a:endParaRPr lang="en-GB" b="0" i="1"/>
          </a:p>
        </p:txBody>
      </p:sp>
      <p:grpSp>
        <p:nvGrpSpPr>
          <p:cNvPr id="10" name="Group 9">
            <a:extLst>
              <a:ext uri="{FF2B5EF4-FFF2-40B4-BE49-F238E27FC236}">
                <a16:creationId xmlns:a16="http://schemas.microsoft.com/office/drawing/2014/main" id="{E3620229-5A97-A6A0-04D7-76B5EB33F9C1}"/>
              </a:ext>
            </a:extLst>
          </p:cNvPr>
          <p:cNvGrpSpPr/>
          <p:nvPr/>
        </p:nvGrpSpPr>
        <p:grpSpPr>
          <a:xfrm>
            <a:off x="538442" y="1026632"/>
            <a:ext cx="3128562" cy="5362672"/>
            <a:chOff x="366992" y="1026632"/>
            <a:chExt cx="3128562" cy="5362672"/>
          </a:xfrm>
        </p:grpSpPr>
        <p:grpSp>
          <p:nvGrpSpPr>
            <p:cNvPr id="11" name="Group 10">
              <a:extLst>
                <a:ext uri="{FF2B5EF4-FFF2-40B4-BE49-F238E27FC236}">
                  <a16:creationId xmlns:a16="http://schemas.microsoft.com/office/drawing/2014/main" id="{95556829-D45F-9D74-B7BC-A4D755DFDB41}"/>
                </a:ext>
              </a:extLst>
            </p:cNvPr>
            <p:cNvGrpSpPr/>
            <p:nvPr/>
          </p:nvGrpSpPr>
          <p:grpSpPr>
            <a:xfrm>
              <a:off x="366992" y="1476632"/>
              <a:ext cx="3128562" cy="4912672"/>
              <a:chOff x="695738" y="1560362"/>
              <a:chExt cx="4295615" cy="4912672"/>
            </a:xfrm>
          </p:grpSpPr>
          <p:sp>
            <p:nvSpPr>
              <p:cNvPr id="16" name="Rectangle 15">
                <a:extLst>
                  <a:ext uri="{FF2B5EF4-FFF2-40B4-BE49-F238E27FC236}">
                    <a16:creationId xmlns:a16="http://schemas.microsoft.com/office/drawing/2014/main" id="{E0DCDCDE-4E4E-FE23-D911-4999E2A13C90}"/>
                  </a:ext>
                </a:extLst>
              </p:cNvPr>
              <p:cNvSpPr/>
              <p:nvPr/>
            </p:nvSpPr>
            <p:spPr bwMode="auto">
              <a:xfrm>
                <a:off x="695738" y="1560362"/>
                <a:ext cx="4295615" cy="1858696"/>
              </a:xfrm>
              <a:prstGeom prst="rect">
                <a:avLst/>
              </a:prstGeom>
              <a:solidFill>
                <a:schemeClr val="bg1">
                  <a:lumMod val="9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buClr>
                    <a:schemeClr val="accent3"/>
                  </a:buClr>
                  <a:buSzPct val="77000"/>
                </a:pPr>
                <a:endParaRPr lang="en-GB">
                  <a:solidFill>
                    <a:schemeClr val="accent4"/>
                  </a:solidFill>
                </a:endParaRPr>
              </a:p>
            </p:txBody>
          </p:sp>
          <p:sp>
            <p:nvSpPr>
              <p:cNvPr id="17" name="TextBox 16">
                <a:extLst>
                  <a:ext uri="{FF2B5EF4-FFF2-40B4-BE49-F238E27FC236}">
                    <a16:creationId xmlns:a16="http://schemas.microsoft.com/office/drawing/2014/main" id="{E66FA577-4BB1-969E-F699-D41096777D89}"/>
                  </a:ext>
                </a:extLst>
              </p:cNvPr>
              <p:cNvSpPr txBox="1"/>
              <p:nvPr/>
            </p:nvSpPr>
            <p:spPr>
              <a:xfrm>
                <a:off x="779761" y="2204282"/>
                <a:ext cx="4211592" cy="1007181"/>
              </a:xfrm>
              <a:prstGeom prst="rect">
                <a:avLst/>
              </a:prstGeom>
              <a:noFill/>
            </p:spPr>
            <p:txBody>
              <a:bodyPr wrap="square" lIns="72000" tIns="72000" rIns="72000" bIns="72000" rtlCol="0">
                <a:spAutoFit/>
              </a:bodyPr>
              <a:lstStyle/>
              <a:p>
                <a:pPr algn="l"/>
                <a:r>
                  <a:rPr lang="en-GB" sz="1600" b="1">
                    <a:solidFill>
                      <a:schemeClr val="accent5"/>
                    </a:solidFill>
                  </a:rPr>
                  <a:t>Lorem Ipsum</a:t>
                </a:r>
              </a:p>
              <a:p>
                <a:pPr algn="l"/>
                <a:r>
                  <a:rPr lang="en-GB" sz="1600">
                    <a:solidFill>
                      <a:schemeClr val="accent5"/>
                    </a:solidFill>
                  </a:rPr>
                  <a:t>Lorem ipsum </a:t>
                </a:r>
                <a:r>
                  <a:rPr lang="en-GB" sz="1600" err="1">
                    <a:solidFill>
                      <a:schemeClr val="accent5"/>
                    </a:solidFill>
                  </a:rPr>
                  <a:t>dolor</a:t>
                </a:r>
                <a:r>
                  <a:rPr lang="en-GB" sz="1600">
                    <a:solidFill>
                      <a:schemeClr val="accent5"/>
                    </a:solidFill>
                  </a:rPr>
                  <a:t> sit </a:t>
                </a:r>
                <a:r>
                  <a:rPr lang="en-GB" sz="1600" err="1">
                    <a:solidFill>
                      <a:schemeClr val="accent5"/>
                    </a:solidFill>
                  </a:rPr>
                  <a:t>amet</a:t>
                </a:r>
                <a:r>
                  <a:rPr lang="en-GB" sz="1600">
                    <a:solidFill>
                      <a:schemeClr val="accent5"/>
                    </a:solidFill>
                  </a:rPr>
                  <a:t>, </a:t>
                </a:r>
                <a:r>
                  <a:rPr lang="en-GB" sz="1600" err="1">
                    <a:solidFill>
                      <a:schemeClr val="accent5"/>
                    </a:solidFill>
                  </a:rPr>
                  <a:t>consectetur</a:t>
                </a:r>
                <a:r>
                  <a:rPr lang="en-GB" sz="1600">
                    <a:solidFill>
                      <a:schemeClr val="accent5"/>
                    </a:solidFill>
                  </a:rPr>
                  <a:t> </a:t>
                </a:r>
                <a:r>
                  <a:rPr lang="en-GB" sz="1600" err="1">
                    <a:solidFill>
                      <a:schemeClr val="accent5"/>
                    </a:solidFill>
                  </a:rPr>
                  <a:t>adipiscing</a:t>
                </a:r>
                <a:r>
                  <a:rPr lang="en-GB" sz="1600">
                    <a:solidFill>
                      <a:schemeClr val="accent5"/>
                    </a:solidFill>
                  </a:rPr>
                  <a:t> </a:t>
                </a:r>
                <a:r>
                  <a:rPr lang="en-GB" sz="1600" err="1">
                    <a:solidFill>
                      <a:schemeClr val="accent5"/>
                    </a:solidFill>
                  </a:rPr>
                  <a:t>elit</a:t>
                </a:r>
                <a:r>
                  <a:rPr lang="en-GB" sz="1600">
                    <a:solidFill>
                      <a:schemeClr val="accent5"/>
                    </a:solidFill>
                  </a:rPr>
                  <a:t>, </a:t>
                </a:r>
                <a:r>
                  <a:rPr lang="en-GB" sz="1600" err="1">
                    <a:solidFill>
                      <a:schemeClr val="accent5"/>
                    </a:solidFill>
                  </a:rPr>
                  <a:t>sed</a:t>
                </a:r>
                <a:r>
                  <a:rPr lang="en-GB" sz="1600">
                    <a:solidFill>
                      <a:schemeClr val="accent5"/>
                    </a:solidFill>
                  </a:rPr>
                  <a:t> </a:t>
                </a:r>
              </a:p>
            </p:txBody>
          </p:sp>
          <p:sp>
            <p:nvSpPr>
              <p:cNvPr id="18" name="Isosceles Triangle 17">
                <a:extLst>
                  <a:ext uri="{FF2B5EF4-FFF2-40B4-BE49-F238E27FC236}">
                    <a16:creationId xmlns:a16="http://schemas.microsoft.com/office/drawing/2014/main" id="{6A38601C-6ED0-A5A5-80E0-586E8443B26B}"/>
                  </a:ext>
                </a:extLst>
              </p:cNvPr>
              <p:cNvSpPr/>
              <p:nvPr/>
            </p:nvSpPr>
            <p:spPr bwMode="auto">
              <a:xfrm rot="10800000">
                <a:off x="2525318" y="3522793"/>
                <a:ext cx="636457" cy="195492"/>
              </a:xfrm>
              <a:prstGeom prst="triangle">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100"/>
              </a:p>
            </p:txBody>
          </p:sp>
          <p:sp>
            <p:nvSpPr>
              <p:cNvPr id="22" name="Rectangle 21">
                <a:extLst>
                  <a:ext uri="{FF2B5EF4-FFF2-40B4-BE49-F238E27FC236}">
                    <a16:creationId xmlns:a16="http://schemas.microsoft.com/office/drawing/2014/main" id="{D792552C-53F7-E908-8F72-FFC114CA0DB1}"/>
                  </a:ext>
                </a:extLst>
              </p:cNvPr>
              <p:cNvSpPr/>
              <p:nvPr/>
            </p:nvSpPr>
            <p:spPr bwMode="auto">
              <a:xfrm>
                <a:off x="695738" y="3822020"/>
                <a:ext cx="4295615" cy="2651014"/>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indent="-180000" algn="l">
                  <a:spcBef>
                    <a:spcPts val="840"/>
                  </a:spcBef>
                  <a:spcAft>
                    <a:spcPts val="0"/>
                  </a:spcAft>
                  <a:buClr>
                    <a:srgbClr val="FFFFFF"/>
                  </a:buClr>
                  <a:buSzPct val="77000"/>
                  <a:buFont typeface="Wingdings 3" panose="05040102010807070707" pitchFamily="18" charset="2"/>
                  <a:buChar char=""/>
                </a:pPr>
                <a:r>
                  <a:rPr lang="en-GB">
                    <a:solidFill>
                      <a:srgbClr val="FFFFFF"/>
                    </a:solidFill>
                  </a:rPr>
                  <a:t>Lorem ipsum </a:t>
                </a:r>
                <a:r>
                  <a:rPr lang="en-GB" err="1">
                    <a:solidFill>
                      <a:srgbClr val="FFFFFF"/>
                    </a:solidFill>
                  </a:rPr>
                  <a:t>dolor</a:t>
                </a:r>
                <a:r>
                  <a:rPr lang="en-GB">
                    <a:solidFill>
                      <a:srgbClr val="FFFFFF"/>
                    </a:solidFill>
                  </a:rPr>
                  <a:t> sit </a:t>
                </a:r>
                <a:r>
                  <a:rPr lang="en-GB" err="1">
                    <a:solidFill>
                      <a:srgbClr val="FFFFFF"/>
                    </a:solidFill>
                  </a:rPr>
                  <a:t>amet</a:t>
                </a:r>
                <a:r>
                  <a:rPr lang="en-GB">
                    <a:solidFill>
                      <a:srgbClr val="FFFFFF"/>
                    </a:solidFill>
                  </a:rPr>
                  <a:t>, </a:t>
                </a:r>
                <a:r>
                  <a:rPr lang="en-GB" err="1">
                    <a:solidFill>
                      <a:srgbClr val="FFFFFF"/>
                    </a:solidFill>
                  </a:rPr>
                  <a:t>consectetur</a:t>
                </a:r>
                <a:r>
                  <a:rPr lang="en-GB">
                    <a:solidFill>
                      <a:srgbClr val="FFFFFF"/>
                    </a:solidFill>
                  </a:rPr>
                  <a:t> </a:t>
                </a:r>
                <a:r>
                  <a:rPr lang="en-GB" err="1">
                    <a:solidFill>
                      <a:srgbClr val="FFFFFF"/>
                    </a:solidFill>
                  </a:rPr>
                  <a:t>adipiscing</a:t>
                </a:r>
                <a:r>
                  <a:rPr lang="en-GB">
                    <a:solidFill>
                      <a:srgbClr val="FFFFFF"/>
                    </a:solidFill>
                  </a:rPr>
                  <a:t> </a:t>
                </a:r>
                <a:r>
                  <a:rPr lang="en-GB" err="1">
                    <a:solidFill>
                      <a:srgbClr val="FFFFFF"/>
                    </a:solidFill>
                  </a:rPr>
                  <a:t>elit</a:t>
                </a:r>
                <a:r>
                  <a:rPr lang="en-GB">
                    <a:solidFill>
                      <a:srgbClr val="FFFFFF"/>
                    </a:solidFill>
                  </a:rPr>
                  <a:t>, </a:t>
                </a:r>
                <a:r>
                  <a:rPr lang="en-GB" err="1">
                    <a:solidFill>
                      <a:srgbClr val="FFFFFF"/>
                    </a:solidFill>
                  </a:rPr>
                  <a:t>sed</a:t>
                </a:r>
                <a:r>
                  <a:rPr lang="en-GB">
                    <a:solidFill>
                      <a:srgbClr val="FFFFFF"/>
                    </a:solidFill>
                  </a:rPr>
                  <a:t> do </a:t>
                </a:r>
                <a:r>
                  <a:rPr lang="en-GB" err="1">
                    <a:solidFill>
                      <a:srgbClr val="FFFFFF"/>
                    </a:solidFill>
                  </a:rPr>
                  <a:t>eiusmod</a:t>
                </a:r>
                <a:r>
                  <a:rPr lang="en-GB">
                    <a:solidFill>
                      <a:srgbClr val="FFFFFF"/>
                    </a:solidFill>
                  </a:rPr>
                  <a:t> </a:t>
                </a:r>
                <a:r>
                  <a:rPr lang="en-GB" err="1">
                    <a:solidFill>
                      <a:srgbClr val="FFFFFF"/>
                    </a:solidFill>
                  </a:rPr>
                  <a:t>tempor</a:t>
                </a:r>
                <a:r>
                  <a:rPr lang="en-GB">
                    <a:solidFill>
                      <a:srgbClr val="FFFFFF"/>
                    </a:solidFill>
                  </a:rPr>
                  <a:t> </a:t>
                </a:r>
                <a:r>
                  <a:rPr lang="en-GB" err="1">
                    <a:solidFill>
                      <a:srgbClr val="FFFFFF"/>
                    </a:solidFill>
                  </a:rPr>
                  <a:t>incididunt</a:t>
                </a:r>
                <a:r>
                  <a:rPr lang="en-GB">
                    <a:solidFill>
                      <a:srgbClr val="FFFFFF"/>
                    </a:solidFill>
                  </a:rPr>
                  <a:t> </a:t>
                </a:r>
                <a:r>
                  <a:rPr lang="en-GB" err="1">
                    <a:solidFill>
                      <a:srgbClr val="FFFFFF"/>
                    </a:solidFill>
                  </a:rPr>
                  <a:t>ut</a:t>
                </a:r>
                <a:r>
                  <a:rPr lang="en-GB">
                    <a:solidFill>
                      <a:srgbClr val="FFFFFF"/>
                    </a:solidFill>
                  </a:rPr>
                  <a:t> labore </a:t>
                </a:r>
              </a:p>
              <a:p>
                <a:pPr marL="180000" indent="-180000" algn="l">
                  <a:spcBef>
                    <a:spcPts val="840"/>
                  </a:spcBef>
                  <a:spcAft>
                    <a:spcPts val="0"/>
                  </a:spcAft>
                  <a:buClr>
                    <a:srgbClr val="FFFFFF"/>
                  </a:buClr>
                  <a:buSzPct val="77000"/>
                  <a:buFont typeface="Wingdings 3" panose="05040102010807070707" pitchFamily="18" charset="2"/>
                  <a:buChar char=""/>
                </a:pPr>
                <a:endParaRPr lang="en-GB">
                  <a:solidFill>
                    <a:srgbClr val="FFFFFF"/>
                  </a:solidFill>
                </a:endParaRPr>
              </a:p>
            </p:txBody>
          </p:sp>
        </p:grpSp>
        <p:grpSp>
          <p:nvGrpSpPr>
            <p:cNvPr id="12" name="Group 11">
              <a:extLst>
                <a:ext uri="{FF2B5EF4-FFF2-40B4-BE49-F238E27FC236}">
                  <a16:creationId xmlns:a16="http://schemas.microsoft.com/office/drawing/2014/main" id="{9DF30C82-A4FF-1DF5-FA13-D26D037A4B3C}"/>
                </a:ext>
              </a:extLst>
            </p:cNvPr>
            <p:cNvGrpSpPr/>
            <p:nvPr/>
          </p:nvGrpSpPr>
          <p:grpSpPr>
            <a:xfrm>
              <a:off x="1482040" y="1026632"/>
              <a:ext cx="898466" cy="900000"/>
              <a:chOff x="2051659" y="740990"/>
              <a:chExt cx="936000" cy="936000"/>
            </a:xfrm>
          </p:grpSpPr>
          <p:sp>
            <p:nvSpPr>
              <p:cNvPr id="13" name="Oval 12">
                <a:extLst>
                  <a:ext uri="{FF2B5EF4-FFF2-40B4-BE49-F238E27FC236}">
                    <a16:creationId xmlns:a16="http://schemas.microsoft.com/office/drawing/2014/main" id="{0C2467FE-42B0-D912-A245-2903531B95F8}"/>
                  </a:ext>
                </a:extLst>
              </p:cNvPr>
              <p:cNvSpPr/>
              <p:nvPr/>
            </p:nvSpPr>
            <p:spPr bwMode="auto">
              <a:xfrm>
                <a:off x="2051659" y="740990"/>
                <a:ext cx="936000" cy="936000"/>
              </a:xfrm>
              <a:prstGeom prst="ellipse">
                <a:avLst/>
              </a:prstGeom>
              <a:solidFill>
                <a:srgbClr val="B40646"/>
              </a:solidFill>
              <a:ln w="38100"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100">
                  <a:solidFill>
                    <a:schemeClr val="accent5"/>
                  </a:solidFill>
                </a:endParaRPr>
              </a:p>
            </p:txBody>
          </p:sp>
          <p:pic>
            <p:nvPicPr>
              <p:cNvPr id="14" name="Content Placeholder 13" descr="Building Brick Wall with solid fill">
                <a:extLst>
                  <a:ext uri="{FF2B5EF4-FFF2-40B4-BE49-F238E27FC236}">
                    <a16:creationId xmlns:a16="http://schemas.microsoft.com/office/drawing/2014/main" id="{41FA48A6-2A81-0647-A231-6306B19AF4A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11195" y="887332"/>
                <a:ext cx="616927" cy="616927"/>
              </a:xfrm>
              <a:prstGeom prst="rect">
                <a:avLst/>
              </a:prstGeom>
            </p:spPr>
          </p:pic>
        </p:grpSp>
      </p:grpSp>
      <p:sp>
        <p:nvSpPr>
          <p:cNvPr id="7" name="TextBox 6">
            <a:extLst>
              <a:ext uri="{FF2B5EF4-FFF2-40B4-BE49-F238E27FC236}">
                <a16:creationId xmlns:a16="http://schemas.microsoft.com/office/drawing/2014/main" id="{0EB396A9-F95E-8BEA-E1AB-81A0591CAE35}"/>
              </a:ext>
            </a:extLst>
          </p:cNvPr>
          <p:cNvSpPr txBox="1"/>
          <p:nvPr/>
        </p:nvSpPr>
        <p:spPr>
          <a:xfrm>
            <a:off x="3984301" y="3352679"/>
            <a:ext cx="2502710"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8" name="TextBox 7">
            <a:extLst>
              <a:ext uri="{FF2B5EF4-FFF2-40B4-BE49-F238E27FC236}">
                <a16:creationId xmlns:a16="http://schemas.microsoft.com/office/drawing/2014/main" id="{72E43887-48DE-3084-D4D9-4B078CCB15AC}"/>
              </a:ext>
            </a:extLst>
          </p:cNvPr>
          <p:cNvSpPr txBox="1"/>
          <p:nvPr/>
        </p:nvSpPr>
        <p:spPr>
          <a:xfrm>
            <a:off x="4155656" y="5445175"/>
            <a:ext cx="2160000"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9" name="TextBox 8">
            <a:extLst>
              <a:ext uri="{FF2B5EF4-FFF2-40B4-BE49-F238E27FC236}">
                <a16:creationId xmlns:a16="http://schemas.microsoft.com/office/drawing/2014/main" id="{9849A409-4D28-2800-B0B5-DE374033FE02}"/>
              </a:ext>
            </a:extLst>
          </p:cNvPr>
          <p:cNvSpPr txBox="1"/>
          <p:nvPr/>
        </p:nvSpPr>
        <p:spPr>
          <a:xfrm>
            <a:off x="6699128" y="5445175"/>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15" name="TextBox 14">
            <a:extLst>
              <a:ext uri="{FF2B5EF4-FFF2-40B4-BE49-F238E27FC236}">
                <a16:creationId xmlns:a16="http://schemas.microsoft.com/office/drawing/2014/main" id="{4825CFE2-D0A4-2178-A2FF-84CC283C605A}"/>
              </a:ext>
            </a:extLst>
          </p:cNvPr>
          <p:cNvSpPr txBox="1"/>
          <p:nvPr/>
        </p:nvSpPr>
        <p:spPr>
          <a:xfrm>
            <a:off x="6699128" y="3352679"/>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35" name="TextBox 34">
            <a:extLst>
              <a:ext uri="{FF2B5EF4-FFF2-40B4-BE49-F238E27FC236}">
                <a16:creationId xmlns:a16="http://schemas.microsoft.com/office/drawing/2014/main" id="{4A0EC334-25C8-6CC4-867F-1A75FDE2255F}"/>
              </a:ext>
            </a:extLst>
          </p:cNvPr>
          <p:cNvSpPr txBox="1"/>
          <p:nvPr/>
        </p:nvSpPr>
        <p:spPr>
          <a:xfrm>
            <a:off x="9203590" y="3352679"/>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37" name="TextBox 36">
            <a:extLst>
              <a:ext uri="{FF2B5EF4-FFF2-40B4-BE49-F238E27FC236}">
                <a16:creationId xmlns:a16="http://schemas.microsoft.com/office/drawing/2014/main" id="{F531B6DA-5120-69BD-5E11-722701562DCE}"/>
              </a:ext>
            </a:extLst>
          </p:cNvPr>
          <p:cNvSpPr txBox="1"/>
          <p:nvPr/>
        </p:nvSpPr>
        <p:spPr>
          <a:xfrm>
            <a:off x="9203590" y="5445175"/>
            <a:ext cx="2081978" cy="360850"/>
          </a:xfrm>
          <a:prstGeom prst="rect">
            <a:avLst/>
          </a:prstGeom>
          <a:noFill/>
        </p:spPr>
        <p:txBody>
          <a:bodyPr wrap="square" lIns="72000" tIns="72000" rIns="72000" bIns="72000" rtlCol="0">
            <a:spAutoFit/>
          </a:bodyPr>
          <a:lstStyle/>
          <a:p>
            <a:r>
              <a:rPr lang="en-GB">
                <a:solidFill>
                  <a:schemeClr val="accent5"/>
                </a:solidFill>
              </a:rPr>
              <a:t>Lorem ipsum </a:t>
            </a:r>
          </a:p>
        </p:txBody>
      </p:sp>
      <p:sp>
        <p:nvSpPr>
          <p:cNvPr id="3" name="Rectangle 2">
            <a:extLst>
              <a:ext uri="{FF2B5EF4-FFF2-40B4-BE49-F238E27FC236}">
                <a16:creationId xmlns:a16="http://schemas.microsoft.com/office/drawing/2014/main" id="{B274DC56-3233-57D9-9331-A5C297385A21}"/>
              </a:ext>
            </a:extLst>
          </p:cNvPr>
          <p:cNvSpPr/>
          <p:nvPr/>
        </p:nvSpPr>
        <p:spPr bwMode="auto">
          <a:xfrm>
            <a:off x="4105268" y="2079195"/>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6" name="Rectangle 5">
            <a:extLst>
              <a:ext uri="{FF2B5EF4-FFF2-40B4-BE49-F238E27FC236}">
                <a16:creationId xmlns:a16="http://schemas.microsoft.com/office/drawing/2014/main" id="{FBF19CF2-881B-CDE8-E407-28929BA717EA}"/>
              </a:ext>
            </a:extLst>
          </p:cNvPr>
          <p:cNvSpPr/>
          <p:nvPr/>
        </p:nvSpPr>
        <p:spPr bwMode="auto">
          <a:xfrm>
            <a:off x="6609729" y="2079195"/>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20" name="Rectangle 19">
            <a:extLst>
              <a:ext uri="{FF2B5EF4-FFF2-40B4-BE49-F238E27FC236}">
                <a16:creationId xmlns:a16="http://schemas.microsoft.com/office/drawing/2014/main" id="{86707152-AFD2-3AF1-4136-E763A280DB6A}"/>
              </a:ext>
            </a:extLst>
          </p:cNvPr>
          <p:cNvSpPr/>
          <p:nvPr/>
        </p:nvSpPr>
        <p:spPr bwMode="auto">
          <a:xfrm>
            <a:off x="9114191" y="2079195"/>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21" name="Rectangle 20">
            <a:extLst>
              <a:ext uri="{FF2B5EF4-FFF2-40B4-BE49-F238E27FC236}">
                <a16:creationId xmlns:a16="http://schemas.microsoft.com/office/drawing/2014/main" id="{1A90AFCC-5359-6C4B-BA16-60241B5CB2BC}"/>
              </a:ext>
            </a:extLst>
          </p:cNvPr>
          <p:cNvSpPr/>
          <p:nvPr/>
        </p:nvSpPr>
        <p:spPr bwMode="auto">
          <a:xfrm>
            <a:off x="9114191" y="4173489"/>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27" name="Rectangle 26">
            <a:extLst>
              <a:ext uri="{FF2B5EF4-FFF2-40B4-BE49-F238E27FC236}">
                <a16:creationId xmlns:a16="http://schemas.microsoft.com/office/drawing/2014/main" id="{DB13D3B7-DFB5-6667-6857-3983E8D3D124}"/>
              </a:ext>
            </a:extLst>
          </p:cNvPr>
          <p:cNvSpPr/>
          <p:nvPr/>
        </p:nvSpPr>
        <p:spPr bwMode="auto">
          <a:xfrm>
            <a:off x="6609729" y="4173489"/>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30" name="Rectangle 29">
            <a:extLst>
              <a:ext uri="{FF2B5EF4-FFF2-40B4-BE49-F238E27FC236}">
                <a16:creationId xmlns:a16="http://schemas.microsoft.com/office/drawing/2014/main" id="{576E2C8E-C235-6DE4-1354-07F106941270}"/>
              </a:ext>
            </a:extLst>
          </p:cNvPr>
          <p:cNvSpPr/>
          <p:nvPr/>
        </p:nvSpPr>
        <p:spPr bwMode="auto">
          <a:xfrm>
            <a:off x="4105268" y="4173489"/>
            <a:ext cx="2260776" cy="127168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Tree>
    <p:custDataLst>
      <p:tags r:id="rId1"/>
    </p:custDataLst>
    <p:extLst>
      <p:ext uri="{BB962C8B-B14F-4D97-AF65-F5344CB8AC3E}">
        <p14:creationId xmlns:p14="http://schemas.microsoft.com/office/powerpoint/2010/main" val="385318607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7CF2E3C8-83C7-449B-A659-83BE48A5B9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7" progId="TCLayout.ActiveDocument.1">
                  <p:embed/>
                </p:oleObj>
              </mc:Choice>
              <mc:Fallback>
                <p:oleObj name="Diapositive think-cell" r:id="rId5" imgW="347" imgH="347" progId="TCLayout.ActiveDocument.1">
                  <p:embed/>
                  <p:pic>
                    <p:nvPicPr>
                      <p:cNvPr id="49" name="Object 48" hidden="1">
                        <a:extLst>
                          <a:ext uri="{FF2B5EF4-FFF2-40B4-BE49-F238E27FC236}">
                            <a16:creationId xmlns:a16="http://schemas.microsoft.com/office/drawing/2014/main" id="{7CF2E3C8-83C7-449B-A659-83BE48A5B9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a:t>Slide message – four levers prioritization</a:t>
            </a:r>
          </a:p>
        </p:txBody>
      </p:sp>
      <p:sp>
        <p:nvSpPr>
          <p:cNvPr id="3" name="Pentagon 2"/>
          <p:cNvSpPr/>
          <p:nvPr/>
        </p:nvSpPr>
        <p:spPr>
          <a:xfrm>
            <a:off x="2040880" y="2594739"/>
            <a:ext cx="9360000" cy="740980"/>
          </a:xfrm>
          <a:prstGeom prst="homePlate">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4" name="Pentagon 3"/>
          <p:cNvSpPr/>
          <p:nvPr/>
        </p:nvSpPr>
        <p:spPr>
          <a:xfrm>
            <a:off x="2040880" y="3335719"/>
            <a:ext cx="8640000" cy="740980"/>
          </a:xfrm>
          <a:prstGeom prst="homePlat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5" name="Pentagon 4"/>
          <p:cNvSpPr/>
          <p:nvPr/>
        </p:nvSpPr>
        <p:spPr>
          <a:xfrm>
            <a:off x="2040880" y="4076699"/>
            <a:ext cx="7920000" cy="740980"/>
          </a:xfrm>
          <a:prstGeom prst="homePlat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6" name="Pentagon 5"/>
          <p:cNvSpPr/>
          <p:nvPr/>
        </p:nvSpPr>
        <p:spPr>
          <a:xfrm>
            <a:off x="2040880" y="4817679"/>
            <a:ext cx="7200000" cy="740980"/>
          </a:xfrm>
          <a:prstGeom prst="homePlat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7" name="Flowchart: Manual Input 6"/>
          <p:cNvSpPr/>
          <p:nvPr/>
        </p:nvSpPr>
        <p:spPr>
          <a:xfrm flipH="1">
            <a:off x="934458" y="2223669"/>
            <a:ext cx="1106424" cy="1853030"/>
          </a:xfrm>
          <a:prstGeom prst="flowChartManualInput">
            <a:avLst/>
          </a:pr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lowchart: Manual Input 7"/>
          <p:cNvSpPr/>
          <p:nvPr/>
        </p:nvSpPr>
        <p:spPr>
          <a:xfrm rot="10800000">
            <a:off x="934456" y="4076698"/>
            <a:ext cx="1106424" cy="1852695"/>
          </a:xfrm>
          <a:prstGeom prst="flowChartManualInput">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Flowchart: Manual Input 8"/>
          <p:cNvSpPr/>
          <p:nvPr/>
        </p:nvSpPr>
        <p:spPr>
          <a:xfrm flipH="1">
            <a:off x="934458" y="3146480"/>
            <a:ext cx="1106424" cy="930052"/>
          </a:xfrm>
          <a:prstGeom prst="flowChartManualInput">
            <a:avLst/>
          </a:prstGeom>
          <a:solidFill>
            <a:schemeClr val="accent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lowchart: Manual Input 9"/>
          <p:cNvSpPr/>
          <p:nvPr/>
        </p:nvSpPr>
        <p:spPr>
          <a:xfrm rot="10800000">
            <a:off x="934455" y="4076531"/>
            <a:ext cx="1106424" cy="930218"/>
          </a:xfrm>
          <a:prstGeom prst="flowChartManualInput">
            <a:avLst/>
          </a:prstGeom>
          <a:solidFill>
            <a:schemeClr val="accent3">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10"/>
          <p:cNvSpPr>
            <a:spLocks noChangeAspect="1"/>
          </p:cNvSpPr>
          <p:nvPr/>
        </p:nvSpPr>
        <p:spPr>
          <a:xfrm>
            <a:off x="0" y="3146480"/>
            <a:ext cx="934458" cy="929884"/>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2</a:t>
            </a:r>
          </a:p>
        </p:txBody>
      </p:sp>
      <p:sp>
        <p:nvSpPr>
          <p:cNvPr id="12" name="Rectangle 11"/>
          <p:cNvSpPr>
            <a:spLocks noChangeAspect="1"/>
          </p:cNvSpPr>
          <p:nvPr/>
        </p:nvSpPr>
        <p:spPr>
          <a:xfrm>
            <a:off x="0" y="2222999"/>
            <a:ext cx="934458" cy="923480"/>
          </a:xfrm>
          <a:prstGeom prst="rect">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1</a:t>
            </a:r>
          </a:p>
        </p:txBody>
      </p:sp>
      <p:sp>
        <p:nvSpPr>
          <p:cNvPr id="13" name="Rectangle 12"/>
          <p:cNvSpPr>
            <a:spLocks noChangeAspect="1"/>
          </p:cNvSpPr>
          <p:nvPr/>
        </p:nvSpPr>
        <p:spPr>
          <a:xfrm>
            <a:off x="0" y="4076364"/>
            <a:ext cx="934458" cy="929884"/>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3</a:t>
            </a:r>
          </a:p>
        </p:txBody>
      </p:sp>
      <p:sp>
        <p:nvSpPr>
          <p:cNvPr id="14" name="Rectangle 13"/>
          <p:cNvSpPr>
            <a:spLocks noChangeAspect="1"/>
          </p:cNvSpPr>
          <p:nvPr/>
        </p:nvSpPr>
        <p:spPr>
          <a:xfrm>
            <a:off x="0" y="5006248"/>
            <a:ext cx="934458" cy="923145"/>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4</a:t>
            </a:r>
          </a:p>
        </p:txBody>
      </p:sp>
      <p:sp>
        <p:nvSpPr>
          <p:cNvPr id="44" name="Content Placeholder 2">
            <a:extLst>
              <a:ext uri="{FF2B5EF4-FFF2-40B4-BE49-F238E27FC236}">
                <a16:creationId xmlns:a16="http://schemas.microsoft.com/office/drawing/2014/main" id="{6A7C9B84-4022-45E9-857C-24C24900520A}"/>
              </a:ext>
            </a:extLst>
          </p:cNvPr>
          <p:cNvSpPr>
            <a:spLocks noGrp="1"/>
          </p:cNvSpPr>
          <p:nvPr>
            <p:ph idx="1"/>
          </p:nvPr>
        </p:nvSpPr>
        <p:spPr>
          <a:xfrm>
            <a:off x="431999" y="1162800"/>
            <a:ext cx="11169451" cy="637849"/>
          </a:xfrm>
          <a:ln>
            <a:noFill/>
          </a:ln>
        </p:spPr>
        <p:txBody>
          <a:bodyPr/>
          <a:lstStyle/>
          <a:p>
            <a:r>
              <a:rPr lang="en-GB" sz="1600"/>
              <a:t>Lorem ipsum </a:t>
            </a:r>
            <a:r>
              <a:rPr lang="en-GB" sz="1600" err="1"/>
              <a:t>dolor</a:t>
            </a:r>
            <a:r>
              <a:rPr lang="en-GB" sz="1600"/>
              <a:t> sit </a:t>
            </a:r>
            <a:r>
              <a:rPr lang="en-GB" sz="1600" err="1"/>
              <a:t>amet</a:t>
            </a:r>
            <a:r>
              <a:rPr lang="en-GB" sz="1600"/>
              <a:t>, </a:t>
            </a:r>
            <a:r>
              <a:rPr lang="en-GB" sz="1600" err="1"/>
              <a:t>consectetur</a:t>
            </a:r>
            <a:r>
              <a:rPr lang="en-GB" sz="1600"/>
              <a:t> </a:t>
            </a:r>
            <a:r>
              <a:rPr lang="en-GB" sz="1600" err="1"/>
              <a:t>adipiscing</a:t>
            </a:r>
            <a:r>
              <a:rPr lang="en-GB" sz="1600"/>
              <a:t> </a:t>
            </a:r>
            <a:r>
              <a:rPr lang="en-GB" sz="1600" err="1"/>
              <a:t>elit</a:t>
            </a:r>
            <a:r>
              <a:rPr lang="en-GB" sz="1600"/>
              <a:t>, </a:t>
            </a:r>
            <a:r>
              <a:rPr lang="en-GB" sz="1600" err="1"/>
              <a:t>sed</a:t>
            </a:r>
            <a:r>
              <a:rPr lang="en-GB" sz="1600"/>
              <a:t> do </a:t>
            </a:r>
            <a:r>
              <a:rPr lang="en-GB" sz="1600" err="1"/>
              <a:t>eiusmod</a:t>
            </a:r>
            <a:r>
              <a:rPr lang="en-GB" sz="1600"/>
              <a:t> </a:t>
            </a:r>
            <a:r>
              <a:rPr lang="en-GB" sz="1600" err="1"/>
              <a:t>tempor</a:t>
            </a:r>
            <a:r>
              <a:rPr lang="en-GB" sz="1600"/>
              <a:t> </a:t>
            </a:r>
            <a:r>
              <a:rPr lang="en-GB" sz="1600" err="1"/>
              <a:t>incididunt</a:t>
            </a:r>
            <a:r>
              <a:rPr lang="en-GB" sz="1600"/>
              <a:t> </a:t>
            </a:r>
            <a:r>
              <a:rPr lang="en-GB" sz="1600" err="1"/>
              <a:t>ut</a:t>
            </a:r>
            <a:r>
              <a:rPr lang="en-GB" sz="1600"/>
              <a:t> labore et dolore magna </a:t>
            </a:r>
            <a:r>
              <a:rPr lang="en-GB" sz="1600" err="1"/>
              <a:t>aliqua</a:t>
            </a:r>
            <a:r>
              <a:rPr lang="en-GB" sz="1600"/>
              <a:t>. </a:t>
            </a:r>
          </a:p>
        </p:txBody>
      </p:sp>
      <p:grpSp>
        <p:nvGrpSpPr>
          <p:cNvPr id="126" name="Analytics27" descr="{&quot;Key&quot;:&quot;POWER_USER_SHAPE_ICON&quot;,&quot;Value&quot;:&quot;POWER_USER_SHAPE_ICON_STYLE_1&quot;}">
            <a:extLst>
              <a:ext uri="{FF2B5EF4-FFF2-40B4-BE49-F238E27FC236}">
                <a16:creationId xmlns:a16="http://schemas.microsoft.com/office/drawing/2014/main" id="{74BC6EF6-2000-0988-D782-E7CE2042EC02}"/>
              </a:ext>
            </a:extLst>
          </p:cNvPr>
          <p:cNvGrpSpPr>
            <a:grpSpLocks noChangeAspect="1"/>
          </p:cNvGrpSpPr>
          <p:nvPr/>
        </p:nvGrpSpPr>
        <p:grpSpPr>
          <a:xfrm>
            <a:off x="2116672" y="4213198"/>
            <a:ext cx="542925" cy="542925"/>
            <a:chOff x="4452938" y="6127750"/>
            <a:chExt cx="401638" cy="401638"/>
          </a:xfrm>
          <a:solidFill>
            <a:schemeClr val="bg1"/>
          </a:solidFill>
        </p:grpSpPr>
        <p:sp>
          <p:nvSpPr>
            <p:cNvPr id="127" name="Freeform 687">
              <a:extLst>
                <a:ext uri="{FF2B5EF4-FFF2-40B4-BE49-F238E27FC236}">
                  <a16:creationId xmlns:a16="http://schemas.microsoft.com/office/drawing/2014/main" id="{0E141E1A-6949-98B2-3CED-099CB1866568}"/>
                </a:ext>
              </a:extLst>
            </p:cNvPr>
            <p:cNvSpPr>
              <a:spLocks noEditPoints="1"/>
            </p:cNvSpPr>
            <p:nvPr/>
          </p:nvSpPr>
          <p:spPr bwMode="auto">
            <a:xfrm>
              <a:off x="4732338" y="6408738"/>
              <a:ext cx="122238" cy="120650"/>
            </a:xfrm>
            <a:custGeom>
              <a:avLst/>
              <a:gdLst>
                <a:gd name="T0" fmla="*/ 17 w 134"/>
                <a:gd name="T1" fmla="*/ 36 h 132"/>
                <a:gd name="T2" fmla="*/ 94 w 134"/>
                <a:gd name="T3" fmla="*/ 113 h 132"/>
                <a:gd name="T4" fmla="*/ 113 w 134"/>
                <a:gd name="T5" fmla="*/ 113 h 132"/>
                <a:gd name="T6" fmla="*/ 113 w 134"/>
                <a:gd name="T7" fmla="*/ 113 h 132"/>
                <a:gd name="T8" fmla="*/ 113 w 134"/>
                <a:gd name="T9" fmla="*/ 94 h 132"/>
                <a:gd name="T10" fmla="*/ 36 w 134"/>
                <a:gd name="T11" fmla="*/ 17 h 132"/>
                <a:gd name="T12" fmla="*/ 17 w 134"/>
                <a:gd name="T13" fmla="*/ 36 h 132"/>
                <a:gd name="T14" fmla="*/ 104 w 134"/>
                <a:gd name="T15" fmla="*/ 132 h 132"/>
                <a:gd name="T16" fmla="*/ 84 w 134"/>
                <a:gd name="T17" fmla="*/ 124 h 132"/>
                <a:gd name="T18" fmla="*/ 4 w 134"/>
                <a:gd name="T19" fmla="*/ 44 h 132"/>
                <a:gd name="T20" fmla="*/ 4 w 134"/>
                <a:gd name="T21" fmla="*/ 28 h 132"/>
                <a:gd name="T22" fmla="*/ 28 w 134"/>
                <a:gd name="T23" fmla="*/ 4 h 132"/>
                <a:gd name="T24" fmla="*/ 44 w 134"/>
                <a:gd name="T25" fmla="*/ 4 h 132"/>
                <a:gd name="T26" fmla="*/ 123 w 134"/>
                <a:gd name="T27" fmla="*/ 84 h 132"/>
                <a:gd name="T28" fmla="*/ 123 w 134"/>
                <a:gd name="T29" fmla="*/ 124 h 132"/>
                <a:gd name="T30" fmla="*/ 123 w 134"/>
                <a:gd name="T31" fmla="*/ 124 h 132"/>
                <a:gd name="T32" fmla="*/ 104 w 134"/>
                <a:gd name="T3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2">
                  <a:moveTo>
                    <a:pt x="17" y="36"/>
                  </a:moveTo>
                  <a:lnTo>
                    <a:pt x="94" y="113"/>
                  </a:lnTo>
                  <a:cubicBezTo>
                    <a:pt x="99" y="118"/>
                    <a:pt x="108" y="118"/>
                    <a:pt x="113" y="113"/>
                  </a:cubicBezTo>
                  <a:lnTo>
                    <a:pt x="113" y="113"/>
                  </a:lnTo>
                  <a:cubicBezTo>
                    <a:pt x="118" y="108"/>
                    <a:pt x="118" y="100"/>
                    <a:pt x="113" y="94"/>
                  </a:cubicBezTo>
                  <a:lnTo>
                    <a:pt x="36" y="17"/>
                  </a:lnTo>
                  <a:lnTo>
                    <a:pt x="17" y="36"/>
                  </a:lnTo>
                  <a:close/>
                  <a:moveTo>
                    <a:pt x="104" y="132"/>
                  </a:moveTo>
                  <a:cubicBezTo>
                    <a:pt x="97" y="132"/>
                    <a:pt x="89" y="129"/>
                    <a:pt x="84" y="124"/>
                  </a:cubicBezTo>
                  <a:lnTo>
                    <a:pt x="4" y="44"/>
                  </a:lnTo>
                  <a:cubicBezTo>
                    <a:pt x="0" y="39"/>
                    <a:pt x="0" y="32"/>
                    <a:pt x="4" y="28"/>
                  </a:cubicBezTo>
                  <a:lnTo>
                    <a:pt x="28" y="4"/>
                  </a:lnTo>
                  <a:cubicBezTo>
                    <a:pt x="32" y="0"/>
                    <a:pt x="39" y="0"/>
                    <a:pt x="44" y="4"/>
                  </a:cubicBezTo>
                  <a:lnTo>
                    <a:pt x="123" y="84"/>
                  </a:lnTo>
                  <a:cubicBezTo>
                    <a:pt x="134" y="95"/>
                    <a:pt x="134" y="113"/>
                    <a:pt x="123" y="124"/>
                  </a:cubicBezTo>
                  <a:lnTo>
                    <a:pt x="123" y="124"/>
                  </a:lnTo>
                  <a:cubicBezTo>
                    <a:pt x="118" y="129"/>
                    <a:pt x="111" y="132"/>
                    <a:pt x="104" y="13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88">
              <a:extLst>
                <a:ext uri="{FF2B5EF4-FFF2-40B4-BE49-F238E27FC236}">
                  <a16:creationId xmlns:a16="http://schemas.microsoft.com/office/drawing/2014/main" id="{F8AADF97-9DFF-7B2D-899B-4E3F14E87674}"/>
                </a:ext>
              </a:extLst>
            </p:cNvPr>
            <p:cNvSpPr>
              <a:spLocks/>
            </p:cNvSpPr>
            <p:nvPr/>
          </p:nvSpPr>
          <p:spPr bwMode="auto">
            <a:xfrm>
              <a:off x="4719638" y="6396038"/>
              <a:ext cx="47625" cy="47625"/>
            </a:xfrm>
            <a:custGeom>
              <a:avLst/>
              <a:gdLst>
                <a:gd name="T0" fmla="*/ 26 w 52"/>
                <a:gd name="T1" fmla="*/ 52 h 52"/>
                <a:gd name="T2" fmla="*/ 26 w 52"/>
                <a:gd name="T3" fmla="*/ 52 h 52"/>
                <a:gd name="T4" fmla="*/ 21 w 52"/>
                <a:gd name="T5" fmla="*/ 50 h 52"/>
                <a:gd name="T6" fmla="*/ 3 w 52"/>
                <a:gd name="T7" fmla="*/ 32 h 52"/>
                <a:gd name="T8" fmla="*/ 3 w 52"/>
                <a:gd name="T9" fmla="*/ 21 h 52"/>
                <a:gd name="T10" fmla="*/ 13 w 52"/>
                <a:gd name="T11" fmla="*/ 21 h 52"/>
                <a:gd name="T12" fmla="*/ 26 w 52"/>
                <a:gd name="T13" fmla="*/ 34 h 52"/>
                <a:gd name="T14" fmla="*/ 34 w 52"/>
                <a:gd name="T15" fmla="*/ 26 h 52"/>
                <a:gd name="T16" fmla="*/ 21 w 52"/>
                <a:gd name="T17" fmla="*/ 13 h 52"/>
                <a:gd name="T18" fmla="*/ 21 w 52"/>
                <a:gd name="T19" fmla="*/ 3 h 52"/>
                <a:gd name="T20" fmla="*/ 32 w 52"/>
                <a:gd name="T21" fmla="*/ 3 h 52"/>
                <a:gd name="T22" fmla="*/ 49 w 52"/>
                <a:gd name="T23" fmla="*/ 21 h 52"/>
                <a:gd name="T24" fmla="*/ 52 w 52"/>
                <a:gd name="T25" fmla="*/ 26 h 52"/>
                <a:gd name="T26" fmla="*/ 49 w 52"/>
                <a:gd name="T27" fmla="*/ 31 h 52"/>
                <a:gd name="T28" fmla="*/ 31 w 52"/>
                <a:gd name="T29" fmla="*/ 50 h 52"/>
                <a:gd name="T30" fmla="*/ 26 w 52"/>
                <a:gd name="T3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2">
                  <a:moveTo>
                    <a:pt x="26" y="52"/>
                  </a:moveTo>
                  <a:lnTo>
                    <a:pt x="26" y="52"/>
                  </a:lnTo>
                  <a:cubicBezTo>
                    <a:pt x="24" y="52"/>
                    <a:pt x="22" y="51"/>
                    <a:pt x="21" y="50"/>
                  </a:cubicBezTo>
                  <a:lnTo>
                    <a:pt x="3" y="32"/>
                  </a:lnTo>
                  <a:cubicBezTo>
                    <a:pt x="0" y="29"/>
                    <a:pt x="0" y="24"/>
                    <a:pt x="3" y="21"/>
                  </a:cubicBezTo>
                  <a:cubicBezTo>
                    <a:pt x="6" y="19"/>
                    <a:pt x="10" y="19"/>
                    <a:pt x="13" y="21"/>
                  </a:cubicBezTo>
                  <a:lnTo>
                    <a:pt x="26" y="34"/>
                  </a:lnTo>
                  <a:lnTo>
                    <a:pt x="34" y="26"/>
                  </a:lnTo>
                  <a:lnTo>
                    <a:pt x="21" y="13"/>
                  </a:lnTo>
                  <a:cubicBezTo>
                    <a:pt x="18" y="10"/>
                    <a:pt x="18" y="6"/>
                    <a:pt x="21" y="3"/>
                  </a:cubicBezTo>
                  <a:cubicBezTo>
                    <a:pt x="24" y="0"/>
                    <a:pt x="29" y="0"/>
                    <a:pt x="32" y="3"/>
                  </a:cubicBezTo>
                  <a:lnTo>
                    <a:pt x="49" y="21"/>
                  </a:lnTo>
                  <a:cubicBezTo>
                    <a:pt x="51" y="22"/>
                    <a:pt x="52" y="24"/>
                    <a:pt x="52" y="26"/>
                  </a:cubicBezTo>
                  <a:cubicBezTo>
                    <a:pt x="52" y="28"/>
                    <a:pt x="51" y="30"/>
                    <a:pt x="49" y="31"/>
                  </a:cubicBezTo>
                  <a:lnTo>
                    <a:pt x="31" y="50"/>
                  </a:lnTo>
                  <a:cubicBezTo>
                    <a:pt x="30" y="51"/>
                    <a:pt x="28" y="52"/>
                    <a:pt x="26" y="5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689">
              <a:extLst>
                <a:ext uri="{FF2B5EF4-FFF2-40B4-BE49-F238E27FC236}">
                  <a16:creationId xmlns:a16="http://schemas.microsoft.com/office/drawing/2014/main" id="{2D535B8E-0D9F-4BF3-E8B3-7ECB9103A44D}"/>
                </a:ext>
              </a:extLst>
            </p:cNvPr>
            <p:cNvSpPr>
              <a:spLocks noEditPoints="1"/>
            </p:cNvSpPr>
            <p:nvPr/>
          </p:nvSpPr>
          <p:spPr bwMode="auto">
            <a:xfrm>
              <a:off x="4568826" y="6246813"/>
              <a:ext cx="209550" cy="198438"/>
            </a:xfrm>
            <a:custGeom>
              <a:avLst/>
              <a:gdLst>
                <a:gd name="T0" fmla="*/ 115 w 230"/>
                <a:gd name="T1" fmla="*/ 24 h 219"/>
                <a:gd name="T2" fmla="*/ 52 w 230"/>
                <a:gd name="T3" fmla="*/ 51 h 219"/>
                <a:gd name="T4" fmla="*/ 52 w 230"/>
                <a:gd name="T5" fmla="*/ 178 h 219"/>
                <a:gd name="T6" fmla="*/ 179 w 230"/>
                <a:gd name="T7" fmla="*/ 178 h 219"/>
                <a:gd name="T8" fmla="*/ 179 w 230"/>
                <a:gd name="T9" fmla="*/ 51 h 219"/>
                <a:gd name="T10" fmla="*/ 115 w 230"/>
                <a:gd name="T11" fmla="*/ 24 h 219"/>
                <a:gd name="T12" fmla="*/ 115 w 230"/>
                <a:gd name="T13" fmla="*/ 219 h 219"/>
                <a:gd name="T14" fmla="*/ 41 w 230"/>
                <a:gd name="T15" fmla="*/ 188 h 219"/>
                <a:gd name="T16" fmla="*/ 41 w 230"/>
                <a:gd name="T17" fmla="*/ 40 h 219"/>
                <a:gd name="T18" fmla="*/ 189 w 230"/>
                <a:gd name="T19" fmla="*/ 40 h 219"/>
                <a:gd name="T20" fmla="*/ 189 w 230"/>
                <a:gd name="T21" fmla="*/ 188 h 219"/>
                <a:gd name="T22" fmla="*/ 115 w 230"/>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19">
                  <a:moveTo>
                    <a:pt x="115" y="24"/>
                  </a:moveTo>
                  <a:cubicBezTo>
                    <a:pt x="92" y="24"/>
                    <a:pt x="69" y="33"/>
                    <a:pt x="52" y="51"/>
                  </a:cubicBezTo>
                  <a:cubicBezTo>
                    <a:pt x="16" y="86"/>
                    <a:pt x="16" y="143"/>
                    <a:pt x="52" y="178"/>
                  </a:cubicBezTo>
                  <a:cubicBezTo>
                    <a:pt x="87" y="213"/>
                    <a:pt x="144" y="213"/>
                    <a:pt x="179" y="178"/>
                  </a:cubicBezTo>
                  <a:cubicBezTo>
                    <a:pt x="214" y="143"/>
                    <a:pt x="214" y="86"/>
                    <a:pt x="179" y="51"/>
                  </a:cubicBezTo>
                  <a:cubicBezTo>
                    <a:pt x="161" y="33"/>
                    <a:pt x="138" y="24"/>
                    <a:pt x="115" y="24"/>
                  </a:cubicBezTo>
                  <a:close/>
                  <a:moveTo>
                    <a:pt x="115" y="219"/>
                  </a:moveTo>
                  <a:cubicBezTo>
                    <a:pt x="88" y="219"/>
                    <a:pt x="62" y="209"/>
                    <a:pt x="41" y="188"/>
                  </a:cubicBezTo>
                  <a:cubicBezTo>
                    <a:pt x="0" y="147"/>
                    <a:pt x="0" y="81"/>
                    <a:pt x="41" y="40"/>
                  </a:cubicBezTo>
                  <a:cubicBezTo>
                    <a:pt x="82" y="0"/>
                    <a:pt x="148" y="0"/>
                    <a:pt x="189" y="40"/>
                  </a:cubicBezTo>
                  <a:cubicBezTo>
                    <a:pt x="230" y="81"/>
                    <a:pt x="230" y="147"/>
                    <a:pt x="189" y="188"/>
                  </a:cubicBezTo>
                  <a:cubicBezTo>
                    <a:pt x="169" y="209"/>
                    <a:pt x="142" y="219"/>
                    <a:pt x="115" y="2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690">
              <a:extLst>
                <a:ext uri="{FF2B5EF4-FFF2-40B4-BE49-F238E27FC236}">
                  <a16:creationId xmlns:a16="http://schemas.microsoft.com/office/drawing/2014/main" id="{473848F9-328C-B2B7-75F4-033407B7D31C}"/>
                </a:ext>
              </a:extLst>
            </p:cNvPr>
            <p:cNvSpPr>
              <a:spLocks noEditPoints="1"/>
            </p:cNvSpPr>
            <p:nvPr/>
          </p:nvSpPr>
          <p:spPr bwMode="auto">
            <a:xfrm>
              <a:off x="4452938" y="6288088"/>
              <a:ext cx="68263" cy="112713"/>
            </a:xfrm>
            <a:custGeom>
              <a:avLst/>
              <a:gdLst>
                <a:gd name="T0" fmla="*/ 14 w 76"/>
                <a:gd name="T1" fmla="*/ 108 h 123"/>
                <a:gd name="T2" fmla="*/ 61 w 76"/>
                <a:gd name="T3" fmla="*/ 108 h 123"/>
                <a:gd name="T4" fmla="*/ 61 w 76"/>
                <a:gd name="T5" fmla="*/ 14 h 123"/>
                <a:gd name="T6" fmla="*/ 14 w 76"/>
                <a:gd name="T7" fmla="*/ 14 h 123"/>
                <a:gd name="T8" fmla="*/ 14 w 76"/>
                <a:gd name="T9" fmla="*/ 108 h 123"/>
                <a:gd name="T10" fmla="*/ 69 w 76"/>
                <a:gd name="T11" fmla="*/ 123 h 123"/>
                <a:gd name="T12" fmla="*/ 7 w 76"/>
                <a:gd name="T13" fmla="*/ 123 h 123"/>
                <a:gd name="T14" fmla="*/ 0 w 76"/>
                <a:gd name="T15" fmla="*/ 116 h 123"/>
                <a:gd name="T16" fmla="*/ 0 w 76"/>
                <a:gd name="T17" fmla="*/ 7 h 123"/>
                <a:gd name="T18" fmla="*/ 7 w 76"/>
                <a:gd name="T19" fmla="*/ 0 h 123"/>
                <a:gd name="T20" fmla="*/ 69 w 76"/>
                <a:gd name="T21" fmla="*/ 0 h 123"/>
                <a:gd name="T22" fmla="*/ 76 w 76"/>
                <a:gd name="T23" fmla="*/ 7 h 123"/>
                <a:gd name="T24" fmla="*/ 76 w 76"/>
                <a:gd name="T25" fmla="*/ 116 h 123"/>
                <a:gd name="T26" fmla="*/ 69 w 76"/>
                <a:gd name="T2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23">
                  <a:moveTo>
                    <a:pt x="14" y="108"/>
                  </a:moveTo>
                  <a:lnTo>
                    <a:pt x="61" y="108"/>
                  </a:lnTo>
                  <a:lnTo>
                    <a:pt x="61" y="14"/>
                  </a:lnTo>
                  <a:lnTo>
                    <a:pt x="14" y="14"/>
                  </a:lnTo>
                  <a:lnTo>
                    <a:pt x="14" y="108"/>
                  </a:lnTo>
                  <a:close/>
                  <a:moveTo>
                    <a:pt x="69" y="123"/>
                  </a:moveTo>
                  <a:lnTo>
                    <a:pt x="7" y="123"/>
                  </a:lnTo>
                  <a:cubicBezTo>
                    <a:pt x="3" y="123"/>
                    <a:pt x="0" y="120"/>
                    <a:pt x="0" y="116"/>
                  </a:cubicBezTo>
                  <a:lnTo>
                    <a:pt x="0" y="7"/>
                  </a:lnTo>
                  <a:cubicBezTo>
                    <a:pt x="0" y="3"/>
                    <a:pt x="3" y="0"/>
                    <a:pt x="7" y="0"/>
                  </a:cubicBezTo>
                  <a:lnTo>
                    <a:pt x="69" y="0"/>
                  </a:lnTo>
                  <a:cubicBezTo>
                    <a:pt x="73" y="0"/>
                    <a:pt x="76" y="3"/>
                    <a:pt x="76" y="7"/>
                  </a:cubicBezTo>
                  <a:lnTo>
                    <a:pt x="76" y="116"/>
                  </a:lnTo>
                  <a:cubicBezTo>
                    <a:pt x="76" y="120"/>
                    <a:pt x="73" y="123"/>
                    <a:pt x="69"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691">
              <a:extLst>
                <a:ext uri="{FF2B5EF4-FFF2-40B4-BE49-F238E27FC236}">
                  <a16:creationId xmlns:a16="http://schemas.microsoft.com/office/drawing/2014/main" id="{5BA99775-444C-BC2C-C701-2CA9EFD7773D}"/>
                </a:ext>
              </a:extLst>
            </p:cNvPr>
            <p:cNvSpPr>
              <a:spLocks/>
            </p:cNvSpPr>
            <p:nvPr/>
          </p:nvSpPr>
          <p:spPr bwMode="auto">
            <a:xfrm>
              <a:off x="4552951" y="6221413"/>
              <a:ext cx="68263" cy="179388"/>
            </a:xfrm>
            <a:custGeom>
              <a:avLst/>
              <a:gdLst>
                <a:gd name="T0" fmla="*/ 25 w 76"/>
                <a:gd name="T1" fmla="*/ 196 h 196"/>
                <a:gd name="T2" fmla="*/ 7 w 76"/>
                <a:gd name="T3" fmla="*/ 196 h 196"/>
                <a:gd name="T4" fmla="*/ 0 w 76"/>
                <a:gd name="T5" fmla="*/ 189 h 196"/>
                <a:gd name="T6" fmla="*/ 0 w 76"/>
                <a:gd name="T7" fmla="*/ 8 h 196"/>
                <a:gd name="T8" fmla="*/ 7 w 76"/>
                <a:gd name="T9" fmla="*/ 0 h 196"/>
                <a:gd name="T10" fmla="*/ 69 w 76"/>
                <a:gd name="T11" fmla="*/ 0 h 196"/>
                <a:gd name="T12" fmla="*/ 76 w 76"/>
                <a:gd name="T13" fmla="*/ 8 h 196"/>
                <a:gd name="T14" fmla="*/ 76 w 76"/>
                <a:gd name="T15" fmla="*/ 44 h 196"/>
                <a:gd name="T16" fmla="*/ 69 w 76"/>
                <a:gd name="T17" fmla="*/ 51 h 196"/>
                <a:gd name="T18" fmla="*/ 62 w 76"/>
                <a:gd name="T19" fmla="*/ 44 h 196"/>
                <a:gd name="T20" fmla="*/ 62 w 76"/>
                <a:gd name="T21" fmla="*/ 15 h 196"/>
                <a:gd name="T22" fmla="*/ 15 w 76"/>
                <a:gd name="T23" fmla="*/ 15 h 196"/>
                <a:gd name="T24" fmla="*/ 15 w 76"/>
                <a:gd name="T25" fmla="*/ 181 h 196"/>
                <a:gd name="T26" fmla="*/ 25 w 76"/>
                <a:gd name="T27" fmla="*/ 181 h 196"/>
                <a:gd name="T28" fmla="*/ 32 w 76"/>
                <a:gd name="T29" fmla="*/ 189 h 196"/>
                <a:gd name="T30" fmla="*/ 25 w 76"/>
                <a:gd name="T3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196">
                  <a:moveTo>
                    <a:pt x="25" y="196"/>
                  </a:moveTo>
                  <a:lnTo>
                    <a:pt x="7" y="196"/>
                  </a:lnTo>
                  <a:cubicBezTo>
                    <a:pt x="3" y="196"/>
                    <a:pt x="0" y="193"/>
                    <a:pt x="0" y="189"/>
                  </a:cubicBezTo>
                  <a:lnTo>
                    <a:pt x="0" y="8"/>
                  </a:lnTo>
                  <a:cubicBezTo>
                    <a:pt x="0" y="4"/>
                    <a:pt x="3" y="0"/>
                    <a:pt x="7" y="0"/>
                  </a:cubicBezTo>
                  <a:lnTo>
                    <a:pt x="69" y="0"/>
                  </a:lnTo>
                  <a:cubicBezTo>
                    <a:pt x="73" y="0"/>
                    <a:pt x="76" y="4"/>
                    <a:pt x="76" y="8"/>
                  </a:cubicBezTo>
                  <a:lnTo>
                    <a:pt x="76" y="44"/>
                  </a:lnTo>
                  <a:cubicBezTo>
                    <a:pt x="76" y="48"/>
                    <a:pt x="73" y="51"/>
                    <a:pt x="69" y="51"/>
                  </a:cubicBezTo>
                  <a:cubicBezTo>
                    <a:pt x="65" y="51"/>
                    <a:pt x="62" y="48"/>
                    <a:pt x="62" y="44"/>
                  </a:cubicBezTo>
                  <a:lnTo>
                    <a:pt x="62" y="15"/>
                  </a:lnTo>
                  <a:lnTo>
                    <a:pt x="15" y="15"/>
                  </a:lnTo>
                  <a:lnTo>
                    <a:pt x="15" y="181"/>
                  </a:lnTo>
                  <a:lnTo>
                    <a:pt x="25" y="181"/>
                  </a:lnTo>
                  <a:cubicBezTo>
                    <a:pt x="29" y="181"/>
                    <a:pt x="32" y="185"/>
                    <a:pt x="32" y="189"/>
                  </a:cubicBezTo>
                  <a:cubicBezTo>
                    <a:pt x="32" y="193"/>
                    <a:pt x="29" y="196"/>
                    <a:pt x="25"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692">
              <a:extLst>
                <a:ext uri="{FF2B5EF4-FFF2-40B4-BE49-F238E27FC236}">
                  <a16:creationId xmlns:a16="http://schemas.microsoft.com/office/drawing/2014/main" id="{C2CF3694-88ED-A147-FB91-5E81A7715846}"/>
                </a:ext>
              </a:extLst>
            </p:cNvPr>
            <p:cNvSpPr>
              <a:spLocks/>
            </p:cNvSpPr>
            <p:nvPr/>
          </p:nvSpPr>
          <p:spPr bwMode="auto">
            <a:xfrm>
              <a:off x="4608513" y="6311900"/>
              <a:ext cx="12700" cy="88900"/>
            </a:xfrm>
            <a:custGeom>
              <a:avLst/>
              <a:gdLst>
                <a:gd name="T0" fmla="*/ 7 w 14"/>
                <a:gd name="T1" fmla="*/ 97 h 97"/>
                <a:gd name="T2" fmla="*/ 0 w 14"/>
                <a:gd name="T3" fmla="*/ 90 h 97"/>
                <a:gd name="T4" fmla="*/ 0 w 14"/>
                <a:gd name="T5" fmla="*/ 7 h 97"/>
                <a:gd name="T6" fmla="*/ 7 w 14"/>
                <a:gd name="T7" fmla="*/ 0 h 97"/>
                <a:gd name="T8" fmla="*/ 14 w 14"/>
                <a:gd name="T9" fmla="*/ 7 h 97"/>
                <a:gd name="T10" fmla="*/ 14 w 14"/>
                <a:gd name="T11" fmla="*/ 90 h 97"/>
                <a:gd name="T12" fmla="*/ 7 w 1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14" h="97">
                  <a:moveTo>
                    <a:pt x="7" y="97"/>
                  </a:moveTo>
                  <a:cubicBezTo>
                    <a:pt x="3" y="97"/>
                    <a:pt x="0" y="94"/>
                    <a:pt x="0" y="90"/>
                  </a:cubicBezTo>
                  <a:lnTo>
                    <a:pt x="0" y="7"/>
                  </a:lnTo>
                  <a:cubicBezTo>
                    <a:pt x="0" y="3"/>
                    <a:pt x="3" y="0"/>
                    <a:pt x="7" y="0"/>
                  </a:cubicBezTo>
                  <a:cubicBezTo>
                    <a:pt x="11" y="0"/>
                    <a:pt x="14" y="3"/>
                    <a:pt x="14" y="7"/>
                  </a:cubicBezTo>
                  <a:lnTo>
                    <a:pt x="14" y="90"/>
                  </a:lnTo>
                  <a:cubicBezTo>
                    <a:pt x="14" y="94"/>
                    <a:pt x="11" y="97"/>
                    <a:pt x="7"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93">
              <a:extLst>
                <a:ext uri="{FF2B5EF4-FFF2-40B4-BE49-F238E27FC236}">
                  <a16:creationId xmlns:a16="http://schemas.microsoft.com/office/drawing/2014/main" id="{DB21261B-F6B9-B8DF-79D1-F83CC480ED94}"/>
                </a:ext>
              </a:extLst>
            </p:cNvPr>
            <p:cNvSpPr>
              <a:spLocks/>
            </p:cNvSpPr>
            <p:nvPr/>
          </p:nvSpPr>
          <p:spPr bwMode="auto">
            <a:xfrm>
              <a:off x="4652963" y="6127750"/>
              <a:ext cx="69850" cy="128588"/>
            </a:xfrm>
            <a:custGeom>
              <a:avLst/>
              <a:gdLst>
                <a:gd name="T0" fmla="*/ 69 w 77"/>
                <a:gd name="T1" fmla="*/ 142 h 142"/>
                <a:gd name="T2" fmla="*/ 62 w 77"/>
                <a:gd name="T3" fmla="*/ 134 h 142"/>
                <a:gd name="T4" fmla="*/ 62 w 77"/>
                <a:gd name="T5" fmla="*/ 14 h 142"/>
                <a:gd name="T6" fmla="*/ 15 w 77"/>
                <a:gd name="T7" fmla="*/ 14 h 142"/>
                <a:gd name="T8" fmla="*/ 15 w 77"/>
                <a:gd name="T9" fmla="*/ 127 h 142"/>
                <a:gd name="T10" fmla="*/ 8 w 77"/>
                <a:gd name="T11" fmla="*/ 134 h 142"/>
                <a:gd name="T12" fmla="*/ 0 w 77"/>
                <a:gd name="T13" fmla="*/ 127 h 142"/>
                <a:gd name="T14" fmla="*/ 0 w 77"/>
                <a:gd name="T15" fmla="*/ 7 h 142"/>
                <a:gd name="T16" fmla="*/ 8 w 77"/>
                <a:gd name="T17" fmla="*/ 0 h 142"/>
                <a:gd name="T18" fmla="*/ 69 w 77"/>
                <a:gd name="T19" fmla="*/ 0 h 142"/>
                <a:gd name="T20" fmla="*/ 77 w 77"/>
                <a:gd name="T21" fmla="*/ 7 h 142"/>
                <a:gd name="T22" fmla="*/ 77 w 77"/>
                <a:gd name="T23" fmla="*/ 134 h 142"/>
                <a:gd name="T24" fmla="*/ 69 w 77"/>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142">
                  <a:moveTo>
                    <a:pt x="69" y="142"/>
                  </a:moveTo>
                  <a:cubicBezTo>
                    <a:pt x="65" y="142"/>
                    <a:pt x="62" y="138"/>
                    <a:pt x="62" y="134"/>
                  </a:cubicBezTo>
                  <a:lnTo>
                    <a:pt x="62" y="14"/>
                  </a:lnTo>
                  <a:lnTo>
                    <a:pt x="15" y="14"/>
                  </a:lnTo>
                  <a:lnTo>
                    <a:pt x="15" y="127"/>
                  </a:lnTo>
                  <a:cubicBezTo>
                    <a:pt x="15" y="131"/>
                    <a:pt x="12" y="134"/>
                    <a:pt x="8" y="134"/>
                  </a:cubicBezTo>
                  <a:cubicBezTo>
                    <a:pt x="4" y="134"/>
                    <a:pt x="0" y="131"/>
                    <a:pt x="0" y="127"/>
                  </a:cubicBezTo>
                  <a:lnTo>
                    <a:pt x="0" y="7"/>
                  </a:lnTo>
                  <a:cubicBezTo>
                    <a:pt x="0" y="3"/>
                    <a:pt x="4" y="0"/>
                    <a:pt x="8" y="0"/>
                  </a:cubicBezTo>
                  <a:lnTo>
                    <a:pt x="69" y="0"/>
                  </a:lnTo>
                  <a:cubicBezTo>
                    <a:pt x="73" y="0"/>
                    <a:pt x="77" y="3"/>
                    <a:pt x="77" y="7"/>
                  </a:cubicBezTo>
                  <a:lnTo>
                    <a:pt x="77" y="134"/>
                  </a:lnTo>
                  <a:cubicBezTo>
                    <a:pt x="77" y="138"/>
                    <a:pt x="73" y="142"/>
                    <a:pt x="69" y="1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694">
              <a:extLst>
                <a:ext uri="{FF2B5EF4-FFF2-40B4-BE49-F238E27FC236}">
                  <a16:creationId xmlns:a16="http://schemas.microsoft.com/office/drawing/2014/main" id="{5644ACB0-B556-0A54-B692-59AF5626BC7E}"/>
                </a:ext>
              </a:extLst>
            </p:cNvPr>
            <p:cNvSpPr>
              <a:spLocks/>
            </p:cNvSpPr>
            <p:nvPr/>
          </p:nvSpPr>
          <p:spPr bwMode="auto">
            <a:xfrm>
              <a:off x="4652963" y="6283325"/>
              <a:ext cx="69850" cy="117475"/>
            </a:xfrm>
            <a:custGeom>
              <a:avLst/>
              <a:gdLst>
                <a:gd name="T0" fmla="*/ 69 w 77"/>
                <a:gd name="T1" fmla="*/ 128 h 128"/>
                <a:gd name="T2" fmla="*/ 8 w 77"/>
                <a:gd name="T3" fmla="*/ 128 h 128"/>
                <a:gd name="T4" fmla="*/ 0 w 77"/>
                <a:gd name="T5" fmla="*/ 121 h 128"/>
                <a:gd name="T6" fmla="*/ 0 w 77"/>
                <a:gd name="T7" fmla="*/ 7 h 128"/>
                <a:gd name="T8" fmla="*/ 8 w 77"/>
                <a:gd name="T9" fmla="*/ 0 h 128"/>
                <a:gd name="T10" fmla="*/ 15 w 77"/>
                <a:gd name="T11" fmla="*/ 7 h 128"/>
                <a:gd name="T12" fmla="*/ 15 w 77"/>
                <a:gd name="T13" fmla="*/ 113 h 128"/>
                <a:gd name="T14" fmla="*/ 62 w 77"/>
                <a:gd name="T15" fmla="*/ 113 h 128"/>
                <a:gd name="T16" fmla="*/ 62 w 77"/>
                <a:gd name="T17" fmla="*/ 15 h 128"/>
                <a:gd name="T18" fmla="*/ 69 w 77"/>
                <a:gd name="T19" fmla="*/ 8 h 128"/>
                <a:gd name="T20" fmla="*/ 77 w 77"/>
                <a:gd name="T21" fmla="*/ 15 h 128"/>
                <a:gd name="T22" fmla="*/ 77 w 77"/>
                <a:gd name="T23" fmla="*/ 121 h 128"/>
                <a:gd name="T24" fmla="*/ 69 w 77"/>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128">
                  <a:moveTo>
                    <a:pt x="69" y="128"/>
                  </a:moveTo>
                  <a:lnTo>
                    <a:pt x="8" y="128"/>
                  </a:lnTo>
                  <a:cubicBezTo>
                    <a:pt x="4" y="128"/>
                    <a:pt x="0" y="125"/>
                    <a:pt x="0" y="121"/>
                  </a:cubicBezTo>
                  <a:lnTo>
                    <a:pt x="0" y="7"/>
                  </a:lnTo>
                  <a:cubicBezTo>
                    <a:pt x="0" y="3"/>
                    <a:pt x="4" y="0"/>
                    <a:pt x="8" y="0"/>
                  </a:cubicBezTo>
                  <a:cubicBezTo>
                    <a:pt x="12" y="0"/>
                    <a:pt x="15" y="3"/>
                    <a:pt x="15" y="7"/>
                  </a:cubicBezTo>
                  <a:lnTo>
                    <a:pt x="15" y="113"/>
                  </a:lnTo>
                  <a:lnTo>
                    <a:pt x="62" y="113"/>
                  </a:lnTo>
                  <a:lnTo>
                    <a:pt x="62" y="15"/>
                  </a:lnTo>
                  <a:cubicBezTo>
                    <a:pt x="62" y="11"/>
                    <a:pt x="65" y="8"/>
                    <a:pt x="69" y="8"/>
                  </a:cubicBezTo>
                  <a:cubicBezTo>
                    <a:pt x="73" y="8"/>
                    <a:pt x="77" y="11"/>
                    <a:pt x="77" y="15"/>
                  </a:cubicBezTo>
                  <a:lnTo>
                    <a:pt x="77" y="121"/>
                  </a:lnTo>
                  <a:cubicBezTo>
                    <a:pt x="77" y="125"/>
                    <a:pt x="73" y="128"/>
                    <a:pt x="69"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6" name="information">
            <a:extLst>
              <a:ext uri="{FF2B5EF4-FFF2-40B4-BE49-F238E27FC236}">
                <a16:creationId xmlns:a16="http://schemas.microsoft.com/office/drawing/2014/main" id="{411E4B38-751A-28BC-A102-E4F73CEFEF3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8134" y="3436209"/>
            <a:ext cx="540000" cy="540000"/>
          </a:xfrm>
          <a:prstGeom prst="rect">
            <a:avLst/>
          </a:prstGeom>
        </p:spPr>
      </p:pic>
      <p:pic>
        <p:nvPicPr>
          <p:cNvPr id="18" name="bar_chart_and_up_arrow">
            <a:extLst>
              <a:ext uri="{FF2B5EF4-FFF2-40B4-BE49-F238E27FC236}">
                <a16:creationId xmlns:a16="http://schemas.microsoft.com/office/drawing/2014/main" id="{80BF78AC-6A30-1E8D-1C88-AFEA139485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47526" y="4944136"/>
            <a:ext cx="481216" cy="488066"/>
          </a:xfrm>
          <a:prstGeom prst="rect">
            <a:avLst/>
          </a:prstGeom>
        </p:spPr>
      </p:pic>
      <p:pic>
        <p:nvPicPr>
          <p:cNvPr id="20" name="gun_sights">
            <a:extLst>
              <a:ext uri="{FF2B5EF4-FFF2-40B4-BE49-F238E27FC236}">
                <a16:creationId xmlns:a16="http://schemas.microsoft.com/office/drawing/2014/main" id="{A4A3F0FB-DD42-ECF7-E31D-2E79EBC85E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70634" y="2647729"/>
            <a:ext cx="635000" cy="635000"/>
          </a:xfrm>
          <a:prstGeom prst="rect">
            <a:avLst/>
          </a:prstGeom>
        </p:spPr>
      </p:pic>
    </p:spTree>
    <p:custDataLst>
      <p:tags r:id="rId1"/>
    </p:custDataLst>
    <p:extLst>
      <p:ext uri="{BB962C8B-B14F-4D97-AF65-F5344CB8AC3E}">
        <p14:creationId xmlns:p14="http://schemas.microsoft.com/office/powerpoint/2010/main" val="8286431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D1367-968B-728B-875C-FEDCED5769EE}"/>
            </a:ext>
          </a:extLst>
        </p:cNvPr>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3686478C-E37D-9166-4846-C657DD8778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7" progId="TCLayout.ActiveDocument.1">
                  <p:embed/>
                </p:oleObj>
              </mc:Choice>
              <mc:Fallback>
                <p:oleObj name="Diapositive think-cell" r:id="rId5" imgW="347" imgH="347" progId="TCLayout.ActiveDocument.1">
                  <p:embed/>
                  <p:pic>
                    <p:nvPicPr>
                      <p:cNvPr id="49" name="Object 48" hidden="1">
                        <a:extLst>
                          <a:ext uri="{FF2B5EF4-FFF2-40B4-BE49-F238E27FC236}">
                            <a16:creationId xmlns:a16="http://schemas.microsoft.com/office/drawing/2014/main" id="{3686478C-E37D-9166-4846-C657DD8778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183342-1A22-8A82-E1A0-FB2581E94045}"/>
              </a:ext>
            </a:extLst>
          </p:cNvPr>
          <p:cNvSpPr>
            <a:spLocks noGrp="1"/>
          </p:cNvSpPr>
          <p:nvPr>
            <p:ph type="title"/>
          </p:nvPr>
        </p:nvSpPr>
        <p:spPr/>
        <p:txBody>
          <a:bodyPr vert="horz"/>
          <a:lstStyle/>
          <a:p>
            <a:r>
              <a:rPr lang="en-GB"/>
              <a:t>Slide message – five levers prioritization</a:t>
            </a:r>
          </a:p>
        </p:txBody>
      </p:sp>
      <p:sp>
        <p:nvSpPr>
          <p:cNvPr id="44" name="Content Placeholder 2">
            <a:extLst>
              <a:ext uri="{FF2B5EF4-FFF2-40B4-BE49-F238E27FC236}">
                <a16:creationId xmlns:a16="http://schemas.microsoft.com/office/drawing/2014/main" id="{2E353338-40B5-9872-6247-EFABFE0108D8}"/>
              </a:ext>
            </a:extLst>
          </p:cNvPr>
          <p:cNvSpPr>
            <a:spLocks noGrp="1"/>
          </p:cNvSpPr>
          <p:nvPr>
            <p:ph idx="1"/>
          </p:nvPr>
        </p:nvSpPr>
        <p:spPr>
          <a:xfrm>
            <a:off x="431999" y="1162800"/>
            <a:ext cx="11169451" cy="637849"/>
          </a:xfrm>
          <a:ln>
            <a:noFill/>
          </a:ln>
        </p:spPr>
        <p:txBody>
          <a:bodyPr/>
          <a:lstStyle/>
          <a:p>
            <a:r>
              <a:rPr lang="en-GB" sz="1600"/>
              <a:t>Lorem ipsum </a:t>
            </a:r>
            <a:r>
              <a:rPr lang="en-GB" sz="1600" err="1"/>
              <a:t>dolor</a:t>
            </a:r>
            <a:r>
              <a:rPr lang="en-GB" sz="1600"/>
              <a:t> sit </a:t>
            </a:r>
            <a:r>
              <a:rPr lang="en-GB" sz="1600" err="1"/>
              <a:t>amet</a:t>
            </a:r>
            <a:r>
              <a:rPr lang="en-GB" sz="1600"/>
              <a:t>, </a:t>
            </a:r>
            <a:r>
              <a:rPr lang="en-GB" sz="1600" err="1"/>
              <a:t>consectetur</a:t>
            </a:r>
            <a:r>
              <a:rPr lang="en-GB" sz="1600"/>
              <a:t> </a:t>
            </a:r>
            <a:r>
              <a:rPr lang="en-GB" sz="1600" err="1"/>
              <a:t>adipiscing</a:t>
            </a:r>
            <a:r>
              <a:rPr lang="en-GB" sz="1600"/>
              <a:t> </a:t>
            </a:r>
            <a:r>
              <a:rPr lang="en-GB" sz="1600" err="1"/>
              <a:t>elit</a:t>
            </a:r>
            <a:r>
              <a:rPr lang="en-GB" sz="1600"/>
              <a:t>, </a:t>
            </a:r>
            <a:r>
              <a:rPr lang="en-GB" sz="1600" err="1"/>
              <a:t>sed</a:t>
            </a:r>
            <a:r>
              <a:rPr lang="en-GB" sz="1600"/>
              <a:t> do </a:t>
            </a:r>
            <a:r>
              <a:rPr lang="en-GB" sz="1600" err="1"/>
              <a:t>eiusmod</a:t>
            </a:r>
            <a:r>
              <a:rPr lang="en-GB" sz="1600"/>
              <a:t> </a:t>
            </a:r>
            <a:r>
              <a:rPr lang="en-GB" sz="1600" err="1"/>
              <a:t>tempor</a:t>
            </a:r>
            <a:r>
              <a:rPr lang="en-GB" sz="1600"/>
              <a:t> </a:t>
            </a:r>
            <a:r>
              <a:rPr lang="en-GB" sz="1600" err="1"/>
              <a:t>incididunt</a:t>
            </a:r>
            <a:r>
              <a:rPr lang="en-GB" sz="1600"/>
              <a:t> </a:t>
            </a:r>
            <a:r>
              <a:rPr lang="en-GB" sz="1600" err="1"/>
              <a:t>ut</a:t>
            </a:r>
            <a:r>
              <a:rPr lang="en-GB" sz="1600"/>
              <a:t> labore et dolore magna </a:t>
            </a:r>
            <a:r>
              <a:rPr lang="en-GB" sz="1600" err="1"/>
              <a:t>aliqua</a:t>
            </a:r>
            <a:r>
              <a:rPr lang="en-GB" sz="1600"/>
              <a:t>. </a:t>
            </a:r>
          </a:p>
        </p:txBody>
      </p:sp>
      <p:grpSp>
        <p:nvGrpSpPr>
          <p:cNvPr id="29" name="Groupe 28">
            <a:extLst>
              <a:ext uri="{FF2B5EF4-FFF2-40B4-BE49-F238E27FC236}">
                <a16:creationId xmlns:a16="http://schemas.microsoft.com/office/drawing/2014/main" id="{315B00F8-2E0B-1E93-B739-88EC8421D891}"/>
              </a:ext>
            </a:extLst>
          </p:cNvPr>
          <p:cNvGrpSpPr/>
          <p:nvPr/>
        </p:nvGrpSpPr>
        <p:grpSpPr>
          <a:xfrm>
            <a:off x="-1" y="1885542"/>
            <a:ext cx="11400881" cy="4633682"/>
            <a:chOff x="-1" y="1885542"/>
            <a:chExt cx="11400881" cy="4633682"/>
          </a:xfrm>
        </p:grpSpPr>
        <p:sp>
          <p:nvSpPr>
            <p:cNvPr id="25" name="Trapèze 24">
              <a:extLst>
                <a:ext uri="{FF2B5EF4-FFF2-40B4-BE49-F238E27FC236}">
                  <a16:creationId xmlns:a16="http://schemas.microsoft.com/office/drawing/2014/main" id="{26D6F587-40FD-0FD7-7807-78B097479674}"/>
                </a:ext>
              </a:extLst>
            </p:cNvPr>
            <p:cNvSpPr/>
            <p:nvPr/>
          </p:nvSpPr>
          <p:spPr bwMode="auto">
            <a:xfrm rot="5400000">
              <a:off x="685522" y="5155708"/>
              <a:ext cx="1607114" cy="1103600"/>
            </a:xfrm>
            <a:prstGeom prst="trapezoid">
              <a:avLst>
                <a:gd name="adj" fmla="val 50213"/>
              </a:avLst>
            </a:prstGeom>
            <a:solidFill>
              <a:schemeClr val="accent6">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26" name="Rectangle 25">
              <a:extLst>
                <a:ext uri="{FF2B5EF4-FFF2-40B4-BE49-F238E27FC236}">
                  <a16:creationId xmlns:a16="http://schemas.microsoft.com/office/drawing/2014/main" id="{28E16D2C-9569-9F27-7C58-A81AF976A9ED}"/>
                </a:ext>
              </a:extLst>
            </p:cNvPr>
            <p:cNvSpPr/>
            <p:nvPr/>
          </p:nvSpPr>
          <p:spPr bwMode="auto">
            <a:xfrm>
              <a:off x="934454" y="4904168"/>
              <a:ext cx="1106423" cy="552411"/>
            </a:xfrm>
            <a:prstGeom prst="rect">
              <a:avLst/>
            </a:prstGeom>
            <a:solidFill>
              <a:schemeClr val="accent6">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grpSp>
          <p:nvGrpSpPr>
            <p:cNvPr id="21" name="Groupe 20">
              <a:extLst>
                <a:ext uri="{FF2B5EF4-FFF2-40B4-BE49-F238E27FC236}">
                  <a16:creationId xmlns:a16="http://schemas.microsoft.com/office/drawing/2014/main" id="{406707CB-724D-CD1C-0E32-8FEFF102BD2B}"/>
                </a:ext>
              </a:extLst>
            </p:cNvPr>
            <p:cNvGrpSpPr/>
            <p:nvPr/>
          </p:nvGrpSpPr>
          <p:grpSpPr>
            <a:xfrm>
              <a:off x="0" y="1885542"/>
              <a:ext cx="11400880" cy="3706394"/>
              <a:chOff x="0" y="2222999"/>
              <a:chExt cx="11400880" cy="3706394"/>
            </a:xfrm>
          </p:grpSpPr>
          <p:sp>
            <p:nvSpPr>
              <p:cNvPr id="3" name="Pentagon 2">
                <a:extLst>
                  <a:ext uri="{FF2B5EF4-FFF2-40B4-BE49-F238E27FC236}">
                    <a16:creationId xmlns:a16="http://schemas.microsoft.com/office/drawing/2014/main" id="{716129CA-FB9D-3E23-CF97-FC1CC26A5F3E}"/>
                  </a:ext>
                </a:extLst>
              </p:cNvPr>
              <p:cNvSpPr/>
              <p:nvPr/>
            </p:nvSpPr>
            <p:spPr>
              <a:xfrm>
                <a:off x="2040880" y="2594739"/>
                <a:ext cx="9360000" cy="740980"/>
              </a:xfrm>
              <a:prstGeom prst="homePlate">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4" name="Pentagon 3">
                <a:extLst>
                  <a:ext uri="{FF2B5EF4-FFF2-40B4-BE49-F238E27FC236}">
                    <a16:creationId xmlns:a16="http://schemas.microsoft.com/office/drawing/2014/main" id="{C3263BBA-69D7-A9D1-4488-0CE1D8733116}"/>
                  </a:ext>
                </a:extLst>
              </p:cNvPr>
              <p:cNvSpPr/>
              <p:nvPr/>
            </p:nvSpPr>
            <p:spPr>
              <a:xfrm>
                <a:off x="2040880" y="3335719"/>
                <a:ext cx="8640000" cy="740980"/>
              </a:xfrm>
              <a:prstGeom prst="homePlat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5" name="Pentagon 4">
                <a:extLst>
                  <a:ext uri="{FF2B5EF4-FFF2-40B4-BE49-F238E27FC236}">
                    <a16:creationId xmlns:a16="http://schemas.microsoft.com/office/drawing/2014/main" id="{9655D39D-2C7C-70BE-04BB-57C3C3127DC0}"/>
                  </a:ext>
                </a:extLst>
              </p:cNvPr>
              <p:cNvSpPr/>
              <p:nvPr/>
            </p:nvSpPr>
            <p:spPr>
              <a:xfrm>
                <a:off x="2040880" y="4076699"/>
                <a:ext cx="7920000" cy="740980"/>
              </a:xfrm>
              <a:prstGeom prst="homePlat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6" name="Pentagon 5">
                <a:extLst>
                  <a:ext uri="{FF2B5EF4-FFF2-40B4-BE49-F238E27FC236}">
                    <a16:creationId xmlns:a16="http://schemas.microsoft.com/office/drawing/2014/main" id="{899087D3-EBAB-DA65-4CC0-5C4709E994DB}"/>
                  </a:ext>
                </a:extLst>
              </p:cNvPr>
              <p:cNvSpPr/>
              <p:nvPr/>
            </p:nvSpPr>
            <p:spPr>
              <a:xfrm>
                <a:off x="2040880" y="4817679"/>
                <a:ext cx="7200000" cy="740980"/>
              </a:xfrm>
              <a:prstGeom prst="homePlat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7" name="Flowchart: Manual Input 6">
                <a:extLst>
                  <a:ext uri="{FF2B5EF4-FFF2-40B4-BE49-F238E27FC236}">
                    <a16:creationId xmlns:a16="http://schemas.microsoft.com/office/drawing/2014/main" id="{4FBF2992-C847-7920-A25A-E9F5350EE5AC}"/>
                  </a:ext>
                </a:extLst>
              </p:cNvPr>
              <p:cNvSpPr/>
              <p:nvPr/>
            </p:nvSpPr>
            <p:spPr>
              <a:xfrm flipH="1">
                <a:off x="934458" y="2223669"/>
                <a:ext cx="1106424" cy="1853030"/>
              </a:xfrm>
              <a:prstGeom prst="flowChartManualInput">
                <a:avLst/>
              </a:pr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lowchart: Manual Input 7">
                <a:extLst>
                  <a:ext uri="{FF2B5EF4-FFF2-40B4-BE49-F238E27FC236}">
                    <a16:creationId xmlns:a16="http://schemas.microsoft.com/office/drawing/2014/main" id="{850B1163-F2FE-2106-5C2E-315CD3F2B819}"/>
                  </a:ext>
                </a:extLst>
              </p:cNvPr>
              <p:cNvSpPr/>
              <p:nvPr/>
            </p:nvSpPr>
            <p:spPr>
              <a:xfrm rot="10800000">
                <a:off x="934456" y="4076698"/>
                <a:ext cx="1106424" cy="1852695"/>
              </a:xfrm>
              <a:prstGeom prst="flowChartManualInput">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Flowchart: Manual Input 8">
                <a:extLst>
                  <a:ext uri="{FF2B5EF4-FFF2-40B4-BE49-F238E27FC236}">
                    <a16:creationId xmlns:a16="http://schemas.microsoft.com/office/drawing/2014/main" id="{D09139AE-45EC-A9D7-10FE-B293FE3A4FE6}"/>
                  </a:ext>
                </a:extLst>
              </p:cNvPr>
              <p:cNvSpPr/>
              <p:nvPr/>
            </p:nvSpPr>
            <p:spPr>
              <a:xfrm flipH="1">
                <a:off x="934458" y="3146480"/>
                <a:ext cx="1106424" cy="930052"/>
              </a:xfrm>
              <a:prstGeom prst="flowChartManualInput">
                <a:avLst/>
              </a:prstGeom>
              <a:solidFill>
                <a:schemeClr val="accent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lowchart: Manual Input 9">
                <a:extLst>
                  <a:ext uri="{FF2B5EF4-FFF2-40B4-BE49-F238E27FC236}">
                    <a16:creationId xmlns:a16="http://schemas.microsoft.com/office/drawing/2014/main" id="{657CB922-4ED2-E235-97A5-17823F955B46}"/>
                  </a:ext>
                </a:extLst>
              </p:cNvPr>
              <p:cNvSpPr/>
              <p:nvPr/>
            </p:nvSpPr>
            <p:spPr>
              <a:xfrm rot="10800000">
                <a:off x="934455" y="4076531"/>
                <a:ext cx="1106424" cy="930218"/>
              </a:xfrm>
              <a:prstGeom prst="flowChartManualInput">
                <a:avLst/>
              </a:prstGeom>
              <a:solidFill>
                <a:schemeClr val="accent3">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C19B2C8F-8A0B-A746-B98E-2458C3F4FA34}"/>
                  </a:ext>
                </a:extLst>
              </p:cNvPr>
              <p:cNvSpPr>
                <a:spLocks noChangeAspect="1"/>
              </p:cNvSpPr>
              <p:nvPr/>
            </p:nvSpPr>
            <p:spPr>
              <a:xfrm>
                <a:off x="0" y="3146480"/>
                <a:ext cx="934458" cy="929884"/>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2</a:t>
                </a:r>
              </a:p>
            </p:txBody>
          </p:sp>
          <p:sp>
            <p:nvSpPr>
              <p:cNvPr id="12" name="Rectangle 11">
                <a:extLst>
                  <a:ext uri="{FF2B5EF4-FFF2-40B4-BE49-F238E27FC236}">
                    <a16:creationId xmlns:a16="http://schemas.microsoft.com/office/drawing/2014/main" id="{EB5F8396-26B5-2763-1AD7-A4EB38014A2B}"/>
                  </a:ext>
                </a:extLst>
              </p:cNvPr>
              <p:cNvSpPr>
                <a:spLocks noChangeAspect="1"/>
              </p:cNvSpPr>
              <p:nvPr/>
            </p:nvSpPr>
            <p:spPr>
              <a:xfrm>
                <a:off x="0" y="2222999"/>
                <a:ext cx="934458" cy="923480"/>
              </a:xfrm>
              <a:prstGeom prst="rect">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1</a:t>
                </a:r>
              </a:p>
            </p:txBody>
          </p:sp>
          <p:sp>
            <p:nvSpPr>
              <p:cNvPr id="13" name="Rectangle 12">
                <a:extLst>
                  <a:ext uri="{FF2B5EF4-FFF2-40B4-BE49-F238E27FC236}">
                    <a16:creationId xmlns:a16="http://schemas.microsoft.com/office/drawing/2014/main" id="{38ED8AA0-74CC-7EF1-036C-60BC0DBE0585}"/>
                  </a:ext>
                </a:extLst>
              </p:cNvPr>
              <p:cNvSpPr>
                <a:spLocks noChangeAspect="1"/>
              </p:cNvSpPr>
              <p:nvPr/>
            </p:nvSpPr>
            <p:spPr>
              <a:xfrm>
                <a:off x="0" y="4076364"/>
                <a:ext cx="934458" cy="929884"/>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3</a:t>
                </a:r>
              </a:p>
            </p:txBody>
          </p:sp>
          <p:sp>
            <p:nvSpPr>
              <p:cNvPr id="14" name="Rectangle 13">
                <a:extLst>
                  <a:ext uri="{FF2B5EF4-FFF2-40B4-BE49-F238E27FC236}">
                    <a16:creationId xmlns:a16="http://schemas.microsoft.com/office/drawing/2014/main" id="{4EA250A9-95B0-7178-D6A7-242643B061D9}"/>
                  </a:ext>
                </a:extLst>
              </p:cNvPr>
              <p:cNvSpPr>
                <a:spLocks noChangeAspect="1"/>
              </p:cNvSpPr>
              <p:nvPr/>
            </p:nvSpPr>
            <p:spPr>
              <a:xfrm>
                <a:off x="0" y="5006248"/>
                <a:ext cx="934458" cy="923145"/>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4</a:t>
                </a:r>
              </a:p>
            </p:txBody>
          </p:sp>
          <p:grpSp>
            <p:nvGrpSpPr>
              <p:cNvPr id="126" name="Analytics27" descr="{&quot;Key&quot;:&quot;POWER_USER_SHAPE_ICON&quot;,&quot;Value&quot;:&quot;POWER_USER_SHAPE_ICON_STYLE_1&quot;}">
                <a:extLst>
                  <a:ext uri="{FF2B5EF4-FFF2-40B4-BE49-F238E27FC236}">
                    <a16:creationId xmlns:a16="http://schemas.microsoft.com/office/drawing/2014/main" id="{3208E47C-A4DE-7483-ADE8-C829139FCDC7}"/>
                  </a:ext>
                </a:extLst>
              </p:cNvPr>
              <p:cNvGrpSpPr>
                <a:grpSpLocks noChangeAspect="1"/>
              </p:cNvGrpSpPr>
              <p:nvPr/>
            </p:nvGrpSpPr>
            <p:grpSpPr>
              <a:xfrm>
                <a:off x="2116672" y="4213198"/>
                <a:ext cx="542925" cy="542925"/>
                <a:chOff x="4452938" y="6127750"/>
                <a:chExt cx="401638" cy="401638"/>
              </a:xfrm>
              <a:solidFill>
                <a:schemeClr val="bg1"/>
              </a:solidFill>
            </p:grpSpPr>
            <p:sp>
              <p:nvSpPr>
                <p:cNvPr id="127" name="Freeform 687">
                  <a:extLst>
                    <a:ext uri="{FF2B5EF4-FFF2-40B4-BE49-F238E27FC236}">
                      <a16:creationId xmlns:a16="http://schemas.microsoft.com/office/drawing/2014/main" id="{59A16031-6652-0B76-E7AA-A728FAEFF6EE}"/>
                    </a:ext>
                  </a:extLst>
                </p:cNvPr>
                <p:cNvSpPr>
                  <a:spLocks noEditPoints="1"/>
                </p:cNvSpPr>
                <p:nvPr/>
              </p:nvSpPr>
              <p:spPr bwMode="auto">
                <a:xfrm>
                  <a:off x="4732338" y="6408738"/>
                  <a:ext cx="122238" cy="120650"/>
                </a:xfrm>
                <a:custGeom>
                  <a:avLst/>
                  <a:gdLst>
                    <a:gd name="T0" fmla="*/ 17 w 134"/>
                    <a:gd name="T1" fmla="*/ 36 h 132"/>
                    <a:gd name="T2" fmla="*/ 94 w 134"/>
                    <a:gd name="T3" fmla="*/ 113 h 132"/>
                    <a:gd name="T4" fmla="*/ 113 w 134"/>
                    <a:gd name="T5" fmla="*/ 113 h 132"/>
                    <a:gd name="T6" fmla="*/ 113 w 134"/>
                    <a:gd name="T7" fmla="*/ 113 h 132"/>
                    <a:gd name="T8" fmla="*/ 113 w 134"/>
                    <a:gd name="T9" fmla="*/ 94 h 132"/>
                    <a:gd name="T10" fmla="*/ 36 w 134"/>
                    <a:gd name="T11" fmla="*/ 17 h 132"/>
                    <a:gd name="T12" fmla="*/ 17 w 134"/>
                    <a:gd name="T13" fmla="*/ 36 h 132"/>
                    <a:gd name="T14" fmla="*/ 104 w 134"/>
                    <a:gd name="T15" fmla="*/ 132 h 132"/>
                    <a:gd name="T16" fmla="*/ 84 w 134"/>
                    <a:gd name="T17" fmla="*/ 124 h 132"/>
                    <a:gd name="T18" fmla="*/ 4 w 134"/>
                    <a:gd name="T19" fmla="*/ 44 h 132"/>
                    <a:gd name="T20" fmla="*/ 4 w 134"/>
                    <a:gd name="T21" fmla="*/ 28 h 132"/>
                    <a:gd name="T22" fmla="*/ 28 w 134"/>
                    <a:gd name="T23" fmla="*/ 4 h 132"/>
                    <a:gd name="T24" fmla="*/ 44 w 134"/>
                    <a:gd name="T25" fmla="*/ 4 h 132"/>
                    <a:gd name="T26" fmla="*/ 123 w 134"/>
                    <a:gd name="T27" fmla="*/ 84 h 132"/>
                    <a:gd name="T28" fmla="*/ 123 w 134"/>
                    <a:gd name="T29" fmla="*/ 124 h 132"/>
                    <a:gd name="T30" fmla="*/ 123 w 134"/>
                    <a:gd name="T31" fmla="*/ 124 h 132"/>
                    <a:gd name="T32" fmla="*/ 104 w 134"/>
                    <a:gd name="T3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2">
                      <a:moveTo>
                        <a:pt x="17" y="36"/>
                      </a:moveTo>
                      <a:lnTo>
                        <a:pt x="94" y="113"/>
                      </a:lnTo>
                      <a:cubicBezTo>
                        <a:pt x="99" y="118"/>
                        <a:pt x="108" y="118"/>
                        <a:pt x="113" y="113"/>
                      </a:cubicBezTo>
                      <a:lnTo>
                        <a:pt x="113" y="113"/>
                      </a:lnTo>
                      <a:cubicBezTo>
                        <a:pt x="118" y="108"/>
                        <a:pt x="118" y="100"/>
                        <a:pt x="113" y="94"/>
                      </a:cubicBezTo>
                      <a:lnTo>
                        <a:pt x="36" y="17"/>
                      </a:lnTo>
                      <a:lnTo>
                        <a:pt x="17" y="36"/>
                      </a:lnTo>
                      <a:close/>
                      <a:moveTo>
                        <a:pt x="104" y="132"/>
                      </a:moveTo>
                      <a:cubicBezTo>
                        <a:pt x="97" y="132"/>
                        <a:pt x="89" y="129"/>
                        <a:pt x="84" y="124"/>
                      </a:cubicBezTo>
                      <a:lnTo>
                        <a:pt x="4" y="44"/>
                      </a:lnTo>
                      <a:cubicBezTo>
                        <a:pt x="0" y="39"/>
                        <a:pt x="0" y="32"/>
                        <a:pt x="4" y="28"/>
                      </a:cubicBezTo>
                      <a:lnTo>
                        <a:pt x="28" y="4"/>
                      </a:lnTo>
                      <a:cubicBezTo>
                        <a:pt x="32" y="0"/>
                        <a:pt x="39" y="0"/>
                        <a:pt x="44" y="4"/>
                      </a:cubicBezTo>
                      <a:lnTo>
                        <a:pt x="123" y="84"/>
                      </a:lnTo>
                      <a:cubicBezTo>
                        <a:pt x="134" y="95"/>
                        <a:pt x="134" y="113"/>
                        <a:pt x="123" y="124"/>
                      </a:cubicBezTo>
                      <a:lnTo>
                        <a:pt x="123" y="124"/>
                      </a:lnTo>
                      <a:cubicBezTo>
                        <a:pt x="118" y="129"/>
                        <a:pt x="111" y="132"/>
                        <a:pt x="104" y="13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88">
                  <a:extLst>
                    <a:ext uri="{FF2B5EF4-FFF2-40B4-BE49-F238E27FC236}">
                      <a16:creationId xmlns:a16="http://schemas.microsoft.com/office/drawing/2014/main" id="{9527BC23-91C5-7CF5-8462-FA84A1A2BEF9}"/>
                    </a:ext>
                  </a:extLst>
                </p:cNvPr>
                <p:cNvSpPr>
                  <a:spLocks/>
                </p:cNvSpPr>
                <p:nvPr/>
              </p:nvSpPr>
              <p:spPr bwMode="auto">
                <a:xfrm>
                  <a:off x="4719638" y="6396038"/>
                  <a:ext cx="47625" cy="47625"/>
                </a:xfrm>
                <a:custGeom>
                  <a:avLst/>
                  <a:gdLst>
                    <a:gd name="T0" fmla="*/ 26 w 52"/>
                    <a:gd name="T1" fmla="*/ 52 h 52"/>
                    <a:gd name="T2" fmla="*/ 26 w 52"/>
                    <a:gd name="T3" fmla="*/ 52 h 52"/>
                    <a:gd name="T4" fmla="*/ 21 w 52"/>
                    <a:gd name="T5" fmla="*/ 50 h 52"/>
                    <a:gd name="T6" fmla="*/ 3 w 52"/>
                    <a:gd name="T7" fmla="*/ 32 h 52"/>
                    <a:gd name="T8" fmla="*/ 3 w 52"/>
                    <a:gd name="T9" fmla="*/ 21 h 52"/>
                    <a:gd name="T10" fmla="*/ 13 w 52"/>
                    <a:gd name="T11" fmla="*/ 21 h 52"/>
                    <a:gd name="T12" fmla="*/ 26 w 52"/>
                    <a:gd name="T13" fmla="*/ 34 h 52"/>
                    <a:gd name="T14" fmla="*/ 34 w 52"/>
                    <a:gd name="T15" fmla="*/ 26 h 52"/>
                    <a:gd name="T16" fmla="*/ 21 w 52"/>
                    <a:gd name="T17" fmla="*/ 13 h 52"/>
                    <a:gd name="T18" fmla="*/ 21 w 52"/>
                    <a:gd name="T19" fmla="*/ 3 h 52"/>
                    <a:gd name="T20" fmla="*/ 32 w 52"/>
                    <a:gd name="T21" fmla="*/ 3 h 52"/>
                    <a:gd name="T22" fmla="*/ 49 w 52"/>
                    <a:gd name="T23" fmla="*/ 21 h 52"/>
                    <a:gd name="T24" fmla="*/ 52 w 52"/>
                    <a:gd name="T25" fmla="*/ 26 h 52"/>
                    <a:gd name="T26" fmla="*/ 49 w 52"/>
                    <a:gd name="T27" fmla="*/ 31 h 52"/>
                    <a:gd name="T28" fmla="*/ 31 w 52"/>
                    <a:gd name="T29" fmla="*/ 50 h 52"/>
                    <a:gd name="T30" fmla="*/ 26 w 52"/>
                    <a:gd name="T3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2">
                      <a:moveTo>
                        <a:pt x="26" y="52"/>
                      </a:moveTo>
                      <a:lnTo>
                        <a:pt x="26" y="52"/>
                      </a:lnTo>
                      <a:cubicBezTo>
                        <a:pt x="24" y="52"/>
                        <a:pt x="22" y="51"/>
                        <a:pt x="21" y="50"/>
                      </a:cubicBezTo>
                      <a:lnTo>
                        <a:pt x="3" y="32"/>
                      </a:lnTo>
                      <a:cubicBezTo>
                        <a:pt x="0" y="29"/>
                        <a:pt x="0" y="24"/>
                        <a:pt x="3" y="21"/>
                      </a:cubicBezTo>
                      <a:cubicBezTo>
                        <a:pt x="6" y="19"/>
                        <a:pt x="10" y="19"/>
                        <a:pt x="13" y="21"/>
                      </a:cubicBezTo>
                      <a:lnTo>
                        <a:pt x="26" y="34"/>
                      </a:lnTo>
                      <a:lnTo>
                        <a:pt x="34" y="26"/>
                      </a:lnTo>
                      <a:lnTo>
                        <a:pt x="21" y="13"/>
                      </a:lnTo>
                      <a:cubicBezTo>
                        <a:pt x="18" y="10"/>
                        <a:pt x="18" y="6"/>
                        <a:pt x="21" y="3"/>
                      </a:cubicBezTo>
                      <a:cubicBezTo>
                        <a:pt x="24" y="0"/>
                        <a:pt x="29" y="0"/>
                        <a:pt x="32" y="3"/>
                      </a:cubicBezTo>
                      <a:lnTo>
                        <a:pt x="49" y="21"/>
                      </a:lnTo>
                      <a:cubicBezTo>
                        <a:pt x="51" y="22"/>
                        <a:pt x="52" y="24"/>
                        <a:pt x="52" y="26"/>
                      </a:cubicBezTo>
                      <a:cubicBezTo>
                        <a:pt x="52" y="28"/>
                        <a:pt x="51" y="30"/>
                        <a:pt x="49" y="31"/>
                      </a:cubicBezTo>
                      <a:lnTo>
                        <a:pt x="31" y="50"/>
                      </a:lnTo>
                      <a:cubicBezTo>
                        <a:pt x="30" y="51"/>
                        <a:pt x="28" y="52"/>
                        <a:pt x="26" y="5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689">
                  <a:extLst>
                    <a:ext uri="{FF2B5EF4-FFF2-40B4-BE49-F238E27FC236}">
                      <a16:creationId xmlns:a16="http://schemas.microsoft.com/office/drawing/2014/main" id="{A8F1B920-9233-6117-FF4C-3DF7E2EFC5EA}"/>
                    </a:ext>
                  </a:extLst>
                </p:cNvPr>
                <p:cNvSpPr>
                  <a:spLocks noEditPoints="1"/>
                </p:cNvSpPr>
                <p:nvPr/>
              </p:nvSpPr>
              <p:spPr bwMode="auto">
                <a:xfrm>
                  <a:off x="4568826" y="6246813"/>
                  <a:ext cx="209550" cy="198438"/>
                </a:xfrm>
                <a:custGeom>
                  <a:avLst/>
                  <a:gdLst>
                    <a:gd name="T0" fmla="*/ 115 w 230"/>
                    <a:gd name="T1" fmla="*/ 24 h 219"/>
                    <a:gd name="T2" fmla="*/ 52 w 230"/>
                    <a:gd name="T3" fmla="*/ 51 h 219"/>
                    <a:gd name="T4" fmla="*/ 52 w 230"/>
                    <a:gd name="T5" fmla="*/ 178 h 219"/>
                    <a:gd name="T6" fmla="*/ 179 w 230"/>
                    <a:gd name="T7" fmla="*/ 178 h 219"/>
                    <a:gd name="T8" fmla="*/ 179 w 230"/>
                    <a:gd name="T9" fmla="*/ 51 h 219"/>
                    <a:gd name="T10" fmla="*/ 115 w 230"/>
                    <a:gd name="T11" fmla="*/ 24 h 219"/>
                    <a:gd name="T12" fmla="*/ 115 w 230"/>
                    <a:gd name="T13" fmla="*/ 219 h 219"/>
                    <a:gd name="T14" fmla="*/ 41 w 230"/>
                    <a:gd name="T15" fmla="*/ 188 h 219"/>
                    <a:gd name="T16" fmla="*/ 41 w 230"/>
                    <a:gd name="T17" fmla="*/ 40 h 219"/>
                    <a:gd name="T18" fmla="*/ 189 w 230"/>
                    <a:gd name="T19" fmla="*/ 40 h 219"/>
                    <a:gd name="T20" fmla="*/ 189 w 230"/>
                    <a:gd name="T21" fmla="*/ 188 h 219"/>
                    <a:gd name="T22" fmla="*/ 115 w 230"/>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19">
                      <a:moveTo>
                        <a:pt x="115" y="24"/>
                      </a:moveTo>
                      <a:cubicBezTo>
                        <a:pt x="92" y="24"/>
                        <a:pt x="69" y="33"/>
                        <a:pt x="52" y="51"/>
                      </a:cubicBezTo>
                      <a:cubicBezTo>
                        <a:pt x="16" y="86"/>
                        <a:pt x="16" y="143"/>
                        <a:pt x="52" y="178"/>
                      </a:cubicBezTo>
                      <a:cubicBezTo>
                        <a:pt x="87" y="213"/>
                        <a:pt x="144" y="213"/>
                        <a:pt x="179" y="178"/>
                      </a:cubicBezTo>
                      <a:cubicBezTo>
                        <a:pt x="214" y="143"/>
                        <a:pt x="214" y="86"/>
                        <a:pt x="179" y="51"/>
                      </a:cubicBezTo>
                      <a:cubicBezTo>
                        <a:pt x="161" y="33"/>
                        <a:pt x="138" y="24"/>
                        <a:pt x="115" y="24"/>
                      </a:cubicBezTo>
                      <a:close/>
                      <a:moveTo>
                        <a:pt x="115" y="219"/>
                      </a:moveTo>
                      <a:cubicBezTo>
                        <a:pt x="88" y="219"/>
                        <a:pt x="62" y="209"/>
                        <a:pt x="41" y="188"/>
                      </a:cubicBezTo>
                      <a:cubicBezTo>
                        <a:pt x="0" y="147"/>
                        <a:pt x="0" y="81"/>
                        <a:pt x="41" y="40"/>
                      </a:cubicBezTo>
                      <a:cubicBezTo>
                        <a:pt x="82" y="0"/>
                        <a:pt x="148" y="0"/>
                        <a:pt x="189" y="40"/>
                      </a:cubicBezTo>
                      <a:cubicBezTo>
                        <a:pt x="230" y="81"/>
                        <a:pt x="230" y="147"/>
                        <a:pt x="189" y="188"/>
                      </a:cubicBezTo>
                      <a:cubicBezTo>
                        <a:pt x="169" y="209"/>
                        <a:pt x="142" y="219"/>
                        <a:pt x="115" y="2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690">
                  <a:extLst>
                    <a:ext uri="{FF2B5EF4-FFF2-40B4-BE49-F238E27FC236}">
                      <a16:creationId xmlns:a16="http://schemas.microsoft.com/office/drawing/2014/main" id="{458B20A0-5EAE-988D-2B76-5728F4AF9FD6}"/>
                    </a:ext>
                  </a:extLst>
                </p:cNvPr>
                <p:cNvSpPr>
                  <a:spLocks noEditPoints="1"/>
                </p:cNvSpPr>
                <p:nvPr/>
              </p:nvSpPr>
              <p:spPr bwMode="auto">
                <a:xfrm>
                  <a:off x="4452938" y="6288088"/>
                  <a:ext cx="68263" cy="112713"/>
                </a:xfrm>
                <a:custGeom>
                  <a:avLst/>
                  <a:gdLst>
                    <a:gd name="T0" fmla="*/ 14 w 76"/>
                    <a:gd name="T1" fmla="*/ 108 h 123"/>
                    <a:gd name="T2" fmla="*/ 61 w 76"/>
                    <a:gd name="T3" fmla="*/ 108 h 123"/>
                    <a:gd name="T4" fmla="*/ 61 w 76"/>
                    <a:gd name="T5" fmla="*/ 14 h 123"/>
                    <a:gd name="T6" fmla="*/ 14 w 76"/>
                    <a:gd name="T7" fmla="*/ 14 h 123"/>
                    <a:gd name="T8" fmla="*/ 14 w 76"/>
                    <a:gd name="T9" fmla="*/ 108 h 123"/>
                    <a:gd name="T10" fmla="*/ 69 w 76"/>
                    <a:gd name="T11" fmla="*/ 123 h 123"/>
                    <a:gd name="T12" fmla="*/ 7 w 76"/>
                    <a:gd name="T13" fmla="*/ 123 h 123"/>
                    <a:gd name="T14" fmla="*/ 0 w 76"/>
                    <a:gd name="T15" fmla="*/ 116 h 123"/>
                    <a:gd name="T16" fmla="*/ 0 w 76"/>
                    <a:gd name="T17" fmla="*/ 7 h 123"/>
                    <a:gd name="T18" fmla="*/ 7 w 76"/>
                    <a:gd name="T19" fmla="*/ 0 h 123"/>
                    <a:gd name="T20" fmla="*/ 69 w 76"/>
                    <a:gd name="T21" fmla="*/ 0 h 123"/>
                    <a:gd name="T22" fmla="*/ 76 w 76"/>
                    <a:gd name="T23" fmla="*/ 7 h 123"/>
                    <a:gd name="T24" fmla="*/ 76 w 76"/>
                    <a:gd name="T25" fmla="*/ 116 h 123"/>
                    <a:gd name="T26" fmla="*/ 69 w 76"/>
                    <a:gd name="T2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23">
                      <a:moveTo>
                        <a:pt x="14" y="108"/>
                      </a:moveTo>
                      <a:lnTo>
                        <a:pt x="61" y="108"/>
                      </a:lnTo>
                      <a:lnTo>
                        <a:pt x="61" y="14"/>
                      </a:lnTo>
                      <a:lnTo>
                        <a:pt x="14" y="14"/>
                      </a:lnTo>
                      <a:lnTo>
                        <a:pt x="14" y="108"/>
                      </a:lnTo>
                      <a:close/>
                      <a:moveTo>
                        <a:pt x="69" y="123"/>
                      </a:moveTo>
                      <a:lnTo>
                        <a:pt x="7" y="123"/>
                      </a:lnTo>
                      <a:cubicBezTo>
                        <a:pt x="3" y="123"/>
                        <a:pt x="0" y="120"/>
                        <a:pt x="0" y="116"/>
                      </a:cubicBezTo>
                      <a:lnTo>
                        <a:pt x="0" y="7"/>
                      </a:lnTo>
                      <a:cubicBezTo>
                        <a:pt x="0" y="3"/>
                        <a:pt x="3" y="0"/>
                        <a:pt x="7" y="0"/>
                      </a:cubicBezTo>
                      <a:lnTo>
                        <a:pt x="69" y="0"/>
                      </a:lnTo>
                      <a:cubicBezTo>
                        <a:pt x="73" y="0"/>
                        <a:pt x="76" y="3"/>
                        <a:pt x="76" y="7"/>
                      </a:cubicBezTo>
                      <a:lnTo>
                        <a:pt x="76" y="116"/>
                      </a:lnTo>
                      <a:cubicBezTo>
                        <a:pt x="76" y="120"/>
                        <a:pt x="73" y="123"/>
                        <a:pt x="69"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691">
                  <a:extLst>
                    <a:ext uri="{FF2B5EF4-FFF2-40B4-BE49-F238E27FC236}">
                      <a16:creationId xmlns:a16="http://schemas.microsoft.com/office/drawing/2014/main" id="{F34529EB-F8A0-D937-1E71-C595D2FB75B6}"/>
                    </a:ext>
                  </a:extLst>
                </p:cNvPr>
                <p:cNvSpPr>
                  <a:spLocks/>
                </p:cNvSpPr>
                <p:nvPr/>
              </p:nvSpPr>
              <p:spPr bwMode="auto">
                <a:xfrm>
                  <a:off x="4552951" y="6221413"/>
                  <a:ext cx="68263" cy="179388"/>
                </a:xfrm>
                <a:custGeom>
                  <a:avLst/>
                  <a:gdLst>
                    <a:gd name="T0" fmla="*/ 25 w 76"/>
                    <a:gd name="T1" fmla="*/ 196 h 196"/>
                    <a:gd name="T2" fmla="*/ 7 w 76"/>
                    <a:gd name="T3" fmla="*/ 196 h 196"/>
                    <a:gd name="T4" fmla="*/ 0 w 76"/>
                    <a:gd name="T5" fmla="*/ 189 h 196"/>
                    <a:gd name="T6" fmla="*/ 0 w 76"/>
                    <a:gd name="T7" fmla="*/ 8 h 196"/>
                    <a:gd name="T8" fmla="*/ 7 w 76"/>
                    <a:gd name="T9" fmla="*/ 0 h 196"/>
                    <a:gd name="T10" fmla="*/ 69 w 76"/>
                    <a:gd name="T11" fmla="*/ 0 h 196"/>
                    <a:gd name="T12" fmla="*/ 76 w 76"/>
                    <a:gd name="T13" fmla="*/ 8 h 196"/>
                    <a:gd name="T14" fmla="*/ 76 w 76"/>
                    <a:gd name="T15" fmla="*/ 44 h 196"/>
                    <a:gd name="T16" fmla="*/ 69 w 76"/>
                    <a:gd name="T17" fmla="*/ 51 h 196"/>
                    <a:gd name="T18" fmla="*/ 62 w 76"/>
                    <a:gd name="T19" fmla="*/ 44 h 196"/>
                    <a:gd name="T20" fmla="*/ 62 w 76"/>
                    <a:gd name="T21" fmla="*/ 15 h 196"/>
                    <a:gd name="T22" fmla="*/ 15 w 76"/>
                    <a:gd name="T23" fmla="*/ 15 h 196"/>
                    <a:gd name="T24" fmla="*/ 15 w 76"/>
                    <a:gd name="T25" fmla="*/ 181 h 196"/>
                    <a:gd name="T26" fmla="*/ 25 w 76"/>
                    <a:gd name="T27" fmla="*/ 181 h 196"/>
                    <a:gd name="T28" fmla="*/ 32 w 76"/>
                    <a:gd name="T29" fmla="*/ 189 h 196"/>
                    <a:gd name="T30" fmla="*/ 25 w 76"/>
                    <a:gd name="T3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196">
                      <a:moveTo>
                        <a:pt x="25" y="196"/>
                      </a:moveTo>
                      <a:lnTo>
                        <a:pt x="7" y="196"/>
                      </a:lnTo>
                      <a:cubicBezTo>
                        <a:pt x="3" y="196"/>
                        <a:pt x="0" y="193"/>
                        <a:pt x="0" y="189"/>
                      </a:cubicBezTo>
                      <a:lnTo>
                        <a:pt x="0" y="8"/>
                      </a:lnTo>
                      <a:cubicBezTo>
                        <a:pt x="0" y="4"/>
                        <a:pt x="3" y="0"/>
                        <a:pt x="7" y="0"/>
                      </a:cubicBezTo>
                      <a:lnTo>
                        <a:pt x="69" y="0"/>
                      </a:lnTo>
                      <a:cubicBezTo>
                        <a:pt x="73" y="0"/>
                        <a:pt x="76" y="4"/>
                        <a:pt x="76" y="8"/>
                      </a:cubicBezTo>
                      <a:lnTo>
                        <a:pt x="76" y="44"/>
                      </a:lnTo>
                      <a:cubicBezTo>
                        <a:pt x="76" y="48"/>
                        <a:pt x="73" y="51"/>
                        <a:pt x="69" y="51"/>
                      </a:cubicBezTo>
                      <a:cubicBezTo>
                        <a:pt x="65" y="51"/>
                        <a:pt x="62" y="48"/>
                        <a:pt x="62" y="44"/>
                      </a:cubicBezTo>
                      <a:lnTo>
                        <a:pt x="62" y="15"/>
                      </a:lnTo>
                      <a:lnTo>
                        <a:pt x="15" y="15"/>
                      </a:lnTo>
                      <a:lnTo>
                        <a:pt x="15" y="181"/>
                      </a:lnTo>
                      <a:lnTo>
                        <a:pt x="25" y="181"/>
                      </a:lnTo>
                      <a:cubicBezTo>
                        <a:pt x="29" y="181"/>
                        <a:pt x="32" y="185"/>
                        <a:pt x="32" y="189"/>
                      </a:cubicBezTo>
                      <a:cubicBezTo>
                        <a:pt x="32" y="193"/>
                        <a:pt x="29" y="196"/>
                        <a:pt x="25"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692">
                  <a:extLst>
                    <a:ext uri="{FF2B5EF4-FFF2-40B4-BE49-F238E27FC236}">
                      <a16:creationId xmlns:a16="http://schemas.microsoft.com/office/drawing/2014/main" id="{CEB92B53-F295-ED27-70AF-F66AB7D99485}"/>
                    </a:ext>
                  </a:extLst>
                </p:cNvPr>
                <p:cNvSpPr>
                  <a:spLocks/>
                </p:cNvSpPr>
                <p:nvPr/>
              </p:nvSpPr>
              <p:spPr bwMode="auto">
                <a:xfrm>
                  <a:off x="4608513" y="6311900"/>
                  <a:ext cx="12700" cy="88900"/>
                </a:xfrm>
                <a:custGeom>
                  <a:avLst/>
                  <a:gdLst>
                    <a:gd name="T0" fmla="*/ 7 w 14"/>
                    <a:gd name="T1" fmla="*/ 97 h 97"/>
                    <a:gd name="T2" fmla="*/ 0 w 14"/>
                    <a:gd name="T3" fmla="*/ 90 h 97"/>
                    <a:gd name="T4" fmla="*/ 0 w 14"/>
                    <a:gd name="T5" fmla="*/ 7 h 97"/>
                    <a:gd name="T6" fmla="*/ 7 w 14"/>
                    <a:gd name="T7" fmla="*/ 0 h 97"/>
                    <a:gd name="T8" fmla="*/ 14 w 14"/>
                    <a:gd name="T9" fmla="*/ 7 h 97"/>
                    <a:gd name="T10" fmla="*/ 14 w 14"/>
                    <a:gd name="T11" fmla="*/ 90 h 97"/>
                    <a:gd name="T12" fmla="*/ 7 w 1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14" h="97">
                      <a:moveTo>
                        <a:pt x="7" y="97"/>
                      </a:moveTo>
                      <a:cubicBezTo>
                        <a:pt x="3" y="97"/>
                        <a:pt x="0" y="94"/>
                        <a:pt x="0" y="90"/>
                      </a:cubicBezTo>
                      <a:lnTo>
                        <a:pt x="0" y="7"/>
                      </a:lnTo>
                      <a:cubicBezTo>
                        <a:pt x="0" y="3"/>
                        <a:pt x="3" y="0"/>
                        <a:pt x="7" y="0"/>
                      </a:cubicBezTo>
                      <a:cubicBezTo>
                        <a:pt x="11" y="0"/>
                        <a:pt x="14" y="3"/>
                        <a:pt x="14" y="7"/>
                      </a:cubicBezTo>
                      <a:lnTo>
                        <a:pt x="14" y="90"/>
                      </a:lnTo>
                      <a:cubicBezTo>
                        <a:pt x="14" y="94"/>
                        <a:pt x="11" y="97"/>
                        <a:pt x="7"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93">
                  <a:extLst>
                    <a:ext uri="{FF2B5EF4-FFF2-40B4-BE49-F238E27FC236}">
                      <a16:creationId xmlns:a16="http://schemas.microsoft.com/office/drawing/2014/main" id="{F89754C0-3955-6584-E8E6-3CFF975FD3B0}"/>
                    </a:ext>
                  </a:extLst>
                </p:cNvPr>
                <p:cNvSpPr>
                  <a:spLocks/>
                </p:cNvSpPr>
                <p:nvPr/>
              </p:nvSpPr>
              <p:spPr bwMode="auto">
                <a:xfrm>
                  <a:off x="4652963" y="6127750"/>
                  <a:ext cx="69850" cy="128588"/>
                </a:xfrm>
                <a:custGeom>
                  <a:avLst/>
                  <a:gdLst>
                    <a:gd name="T0" fmla="*/ 69 w 77"/>
                    <a:gd name="T1" fmla="*/ 142 h 142"/>
                    <a:gd name="T2" fmla="*/ 62 w 77"/>
                    <a:gd name="T3" fmla="*/ 134 h 142"/>
                    <a:gd name="T4" fmla="*/ 62 w 77"/>
                    <a:gd name="T5" fmla="*/ 14 h 142"/>
                    <a:gd name="T6" fmla="*/ 15 w 77"/>
                    <a:gd name="T7" fmla="*/ 14 h 142"/>
                    <a:gd name="T8" fmla="*/ 15 w 77"/>
                    <a:gd name="T9" fmla="*/ 127 h 142"/>
                    <a:gd name="T10" fmla="*/ 8 w 77"/>
                    <a:gd name="T11" fmla="*/ 134 h 142"/>
                    <a:gd name="T12" fmla="*/ 0 w 77"/>
                    <a:gd name="T13" fmla="*/ 127 h 142"/>
                    <a:gd name="T14" fmla="*/ 0 w 77"/>
                    <a:gd name="T15" fmla="*/ 7 h 142"/>
                    <a:gd name="T16" fmla="*/ 8 w 77"/>
                    <a:gd name="T17" fmla="*/ 0 h 142"/>
                    <a:gd name="T18" fmla="*/ 69 w 77"/>
                    <a:gd name="T19" fmla="*/ 0 h 142"/>
                    <a:gd name="T20" fmla="*/ 77 w 77"/>
                    <a:gd name="T21" fmla="*/ 7 h 142"/>
                    <a:gd name="T22" fmla="*/ 77 w 77"/>
                    <a:gd name="T23" fmla="*/ 134 h 142"/>
                    <a:gd name="T24" fmla="*/ 69 w 77"/>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142">
                      <a:moveTo>
                        <a:pt x="69" y="142"/>
                      </a:moveTo>
                      <a:cubicBezTo>
                        <a:pt x="65" y="142"/>
                        <a:pt x="62" y="138"/>
                        <a:pt x="62" y="134"/>
                      </a:cubicBezTo>
                      <a:lnTo>
                        <a:pt x="62" y="14"/>
                      </a:lnTo>
                      <a:lnTo>
                        <a:pt x="15" y="14"/>
                      </a:lnTo>
                      <a:lnTo>
                        <a:pt x="15" y="127"/>
                      </a:lnTo>
                      <a:cubicBezTo>
                        <a:pt x="15" y="131"/>
                        <a:pt x="12" y="134"/>
                        <a:pt x="8" y="134"/>
                      </a:cubicBezTo>
                      <a:cubicBezTo>
                        <a:pt x="4" y="134"/>
                        <a:pt x="0" y="131"/>
                        <a:pt x="0" y="127"/>
                      </a:cubicBezTo>
                      <a:lnTo>
                        <a:pt x="0" y="7"/>
                      </a:lnTo>
                      <a:cubicBezTo>
                        <a:pt x="0" y="3"/>
                        <a:pt x="4" y="0"/>
                        <a:pt x="8" y="0"/>
                      </a:cubicBezTo>
                      <a:lnTo>
                        <a:pt x="69" y="0"/>
                      </a:lnTo>
                      <a:cubicBezTo>
                        <a:pt x="73" y="0"/>
                        <a:pt x="77" y="3"/>
                        <a:pt x="77" y="7"/>
                      </a:cubicBezTo>
                      <a:lnTo>
                        <a:pt x="77" y="134"/>
                      </a:lnTo>
                      <a:cubicBezTo>
                        <a:pt x="77" y="138"/>
                        <a:pt x="73" y="142"/>
                        <a:pt x="69" y="1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694">
                  <a:extLst>
                    <a:ext uri="{FF2B5EF4-FFF2-40B4-BE49-F238E27FC236}">
                      <a16:creationId xmlns:a16="http://schemas.microsoft.com/office/drawing/2014/main" id="{5C39B102-A48F-7420-A3C4-8FAB7AF0E355}"/>
                    </a:ext>
                  </a:extLst>
                </p:cNvPr>
                <p:cNvSpPr>
                  <a:spLocks/>
                </p:cNvSpPr>
                <p:nvPr/>
              </p:nvSpPr>
              <p:spPr bwMode="auto">
                <a:xfrm>
                  <a:off x="4652963" y="6283325"/>
                  <a:ext cx="69850" cy="117475"/>
                </a:xfrm>
                <a:custGeom>
                  <a:avLst/>
                  <a:gdLst>
                    <a:gd name="T0" fmla="*/ 69 w 77"/>
                    <a:gd name="T1" fmla="*/ 128 h 128"/>
                    <a:gd name="T2" fmla="*/ 8 w 77"/>
                    <a:gd name="T3" fmla="*/ 128 h 128"/>
                    <a:gd name="T4" fmla="*/ 0 w 77"/>
                    <a:gd name="T5" fmla="*/ 121 h 128"/>
                    <a:gd name="T6" fmla="*/ 0 w 77"/>
                    <a:gd name="T7" fmla="*/ 7 h 128"/>
                    <a:gd name="T8" fmla="*/ 8 w 77"/>
                    <a:gd name="T9" fmla="*/ 0 h 128"/>
                    <a:gd name="T10" fmla="*/ 15 w 77"/>
                    <a:gd name="T11" fmla="*/ 7 h 128"/>
                    <a:gd name="T12" fmla="*/ 15 w 77"/>
                    <a:gd name="T13" fmla="*/ 113 h 128"/>
                    <a:gd name="T14" fmla="*/ 62 w 77"/>
                    <a:gd name="T15" fmla="*/ 113 h 128"/>
                    <a:gd name="T16" fmla="*/ 62 w 77"/>
                    <a:gd name="T17" fmla="*/ 15 h 128"/>
                    <a:gd name="T18" fmla="*/ 69 w 77"/>
                    <a:gd name="T19" fmla="*/ 8 h 128"/>
                    <a:gd name="T20" fmla="*/ 77 w 77"/>
                    <a:gd name="T21" fmla="*/ 15 h 128"/>
                    <a:gd name="T22" fmla="*/ 77 w 77"/>
                    <a:gd name="T23" fmla="*/ 121 h 128"/>
                    <a:gd name="T24" fmla="*/ 69 w 77"/>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128">
                      <a:moveTo>
                        <a:pt x="69" y="128"/>
                      </a:moveTo>
                      <a:lnTo>
                        <a:pt x="8" y="128"/>
                      </a:lnTo>
                      <a:cubicBezTo>
                        <a:pt x="4" y="128"/>
                        <a:pt x="0" y="125"/>
                        <a:pt x="0" y="121"/>
                      </a:cubicBezTo>
                      <a:lnTo>
                        <a:pt x="0" y="7"/>
                      </a:lnTo>
                      <a:cubicBezTo>
                        <a:pt x="0" y="3"/>
                        <a:pt x="4" y="0"/>
                        <a:pt x="8" y="0"/>
                      </a:cubicBezTo>
                      <a:cubicBezTo>
                        <a:pt x="12" y="0"/>
                        <a:pt x="15" y="3"/>
                        <a:pt x="15" y="7"/>
                      </a:cubicBezTo>
                      <a:lnTo>
                        <a:pt x="15" y="113"/>
                      </a:lnTo>
                      <a:lnTo>
                        <a:pt x="62" y="113"/>
                      </a:lnTo>
                      <a:lnTo>
                        <a:pt x="62" y="15"/>
                      </a:lnTo>
                      <a:cubicBezTo>
                        <a:pt x="62" y="11"/>
                        <a:pt x="65" y="8"/>
                        <a:pt x="69" y="8"/>
                      </a:cubicBezTo>
                      <a:cubicBezTo>
                        <a:pt x="73" y="8"/>
                        <a:pt x="77" y="11"/>
                        <a:pt x="77" y="15"/>
                      </a:cubicBezTo>
                      <a:lnTo>
                        <a:pt x="77" y="121"/>
                      </a:lnTo>
                      <a:cubicBezTo>
                        <a:pt x="77" y="125"/>
                        <a:pt x="73" y="128"/>
                        <a:pt x="69"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6" name="information">
                <a:extLst>
                  <a:ext uri="{FF2B5EF4-FFF2-40B4-BE49-F238E27FC236}">
                    <a16:creationId xmlns:a16="http://schemas.microsoft.com/office/drawing/2014/main" id="{B151F71D-EBCE-CDD5-912B-06EFCB95C90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8134" y="3436209"/>
                <a:ext cx="540000" cy="540000"/>
              </a:xfrm>
              <a:prstGeom prst="rect">
                <a:avLst/>
              </a:prstGeom>
            </p:spPr>
          </p:pic>
          <p:pic>
            <p:nvPicPr>
              <p:cNvPr id="18" name="bar_chart_and_up_arrow">
                <a:extLst>
                  <a:ext uri="{FF2B5EF4-FFF2-40B4-BE49-F238E27FC236}">
                    <a16:creationId xmlns:a16="http://schemas.microsoft.com/office/drawing/2014/main" id="{E518548E-4FBC-3FD3-B4CE-122853A799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47526" y="4944136"/>
                <a:ext cx="481216" cy="488066"/>
              </a:xfrm>
              <a:prstGeom prst="rect">
                <a:avLst/>
              </a:prstGeom>
            </p:spPr>
          </p:pic>
          <p:pic>
            <p:nvPicPr>
              <p:cNvPr id="20" name="gun_sights">
                <a:extLst>
                  <a:ext uri="{FF2B5EF4-FFF2-40B4-BE49-F238E27FC236}">
                    <a16:creationId xmlns:a16="http://schemas.microsoft.com/office/drawing/2014/main" id="{53FE7835-CC2C-DD7E-5F78-8131475738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70634" y="2647729"/>
                <a:ext cx="635000" cy="635000"/>
              </a:xfrm>
              <a:prstGeom prst="rect">
                <a:avLst/>
              </a:prstGeom>
            </p:spPr>
          </p:pic>
        </p:grpSp>
        <p:sp>
          <p:nvSpPr>
            <p:cNvPr id="22" name="Pentagon 5">
              <a:extLst>
                <a:ext uri="{FF2B5EF4-FFF2-40B4-BE49-F238E27FC236}">
                  <a16:creationId xmlns:a16="http://schemas.microsoft.com/office/drawing/2014/main" id="{86C6D8C5-E294-F083-F4D1-C381F4490DF1}"/>
                </a:ext>
              </a:extLst>
            </p:cNvPr>
            <p:cNvSpPr/>
            <p:nvPr/>
          </p:nvSpPr>
          <p:spPr>
            <a:xfrm>
              <a:off x="2040879" y="5222451"/>
              <a:ext cx="6552000" cy="740980"/>
            </a:xfrm>
            <a:prstGeom prst="homePlate">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Lorem ipsum </a:t>
              </a:r>
              <a:r>
                <a:rPr kumimoji="0" lang="en-GB" b="0" i="0" u="none" strike="noStrike" kern="1200" cap="none" spc="0" normalizeH="0" baseline="0" noProof="0" err="1">
                  <a:ln>
                    <a:noFill/>
                  </a:ln>
                  <a:solidFill>
                    <a:prstClr val="white"/>
                  </a:solidFill>
                  <a:effectLst/>
                  <a:uLnTx/>
                  <a:uFillTx/>
                  <a:ea typeface="+mn-ea"/>
                  <a:cs typeface="+mn-cs"/>
                </a:rPr>
                <a:t>dolor</a:t>
              </a:r>
              <a:r>
                <a:rPr kumimoji="0" lang="en-GB" b="0" i="0" u="none" strike="noStrike" kern="1200" cap="none" spc="0" normalizeH="0" baseline="0" noProof="0">
                  <a:ln>
                    <a:noFill/>
                  </a:ln>
                  <a:solidFill>
                    <a:prstClr val="white"/>
                  </a:solidFill>
                  <a:effectLst/>
                  <a:uLnTx/>
                  <a:uFillTx/>
                  <a:ea typeface="+mn-ea"/>
                  <a:cs typeface="+mn-cs"/>
                </a:rPr>
                <a:t> sit </a:t>
              </a:r>
              <a:r>
                <a:rPr kumimoji="0" lang="en-GB" b="0" i="0" u="none" strike="noStrike" kern="1200" cap="none" spc="0" normalizeH="0" baseline="0" noProof="0" err="1">
                  <a:ln>
                    <a:noFill/>
                  </a:ln>
                  <a:solidFill>
                    <a:prstClr val="white"/>
                  </a:solidFill>
                  <a:effectLst/>
                  <a:uLnTx/>
                  <a:uFillTx/>
                  <a:ea typeface="+mn-ea"/>
                  <a:cs typeface="+mn-cs"/>
                </a:rPr>
                <a:t>ame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consectetu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adipiscing</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eli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sed</a:t>
              </a:r>
              <a:r>
                <a:rPr kumimoji="0" lang="en-GB" b="0" i="0" u="none" strike="noStrike" kern="1200" cap="none" spc="0" normalizeH="0" baseline="0" noProof="0">
                  <a:ln>
                    <a:noFill/>
                  </a:ln>
                  <a:solidFill>
                    <a:prstClr val="white"/>
                  </a:solidFill>
                  <a:effectLst/>
                  <a:uLnTx/>
                  <a:uFillTx/>
                  <a:ea typeface="+mn-ea"/>
                  <a:cs typeface="+mn-cs"/>
                </a:rPr>
                <a:t> do </a:t>
              </a:r>
              <a:r>
                <a:rPr kumimoji="0" lang="en-GB" b="0" i="0" u="none" strike="noStrike" kern="1200" cap="none" spc="0" normalizeH="0" baseline="0" noProof="0" err="1">
                  <a:ln>
                    <a:noFill/>
                  </a:ln>
                  <a:solidFill>
                    <a:prstClr val="white"/>
                  </a:solidFill>
                  <a:effectLst/>
                  <a:uLnTx/>
                  <a:uFillTx/>
                  <a:ea typeface="+mn-ea"/>
                  <a:cs typeface="+mn-cs"/>
                </a:rPr>
                <a:t>eiusmod</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tempor</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incididunt</a:t>
              </a:r>
              <a:r>
                <a:rPr kumimoji="0" lang="en-GB" b="0" i="0" u="none" strike="noStrike" kern="1200" cap="none" spc="0" normalizeH="0" baseline="0" noProof="0">
                  <a:ln>
                    <a:noFill/>
                  </a:ln>
                  <a:solidFill>
                    <a:prstClr val="white"/>
                  </a:solidFill>
                  <a:effectLst/>
                  <a:uLnTx/>
                  <a:uFillTx/>
                  <a:ea typeface="+mn-ea"/>
                  <a:cs typeface="+mn-cs"/>
                </a:rPr>
                <a:t> </a:t>
              </a:r>
              <a:r>
                <a:rPr kumimoji="0" lang="en-GB" b="0" i="0" u="none" strike="noStrike" kern="1200" cap="none" spc="0" normalizeH="0" baseline="0" noProof="0" err="1">
                  <a:ln>
                    <a:noFill/>
                  </a:ln>
                  <a:solidFill>
                    <a:prstClr val="white"/>
                  </a:solidFill>
                  <a:effectLst/>
                  <a:uLnTx/>
                  <a:uFillTx/>
                  <a:ea typeface="+mn-ea"/>
                  <a:cs typeface="+mn-cs"/>
                </a:rPr>
                <a:t>ut</a:t>
              </a:r>
              <a:r>
                <a:rPr kumimoji="0" lang="en-GB" b="0" i="0" u="none" strike="noStrike" kern="1200" cap="none" spc="0" normalizeH="0" baseline="0" noProof="0">
                  <a:ln>
                    <a:noFill/>
                  </a:ln>
                  <a:solidFill>
                    <a:prstClr val="white"/>
                  </a:solidFill>
                  <a:effectLst/>
                  <a:uLnTx/>
                  <a:uFillTx/>
                  <a:ea typeface="+mn-ea"/>
                  <a:cs typeface="+mn-cs"/>
                </a:rPr>
                <a:t> labore et dolore magna </a:t>
              </a:r>
              <a:r>
                <a:rPr kumimoji="0" lang="en-GB" b="0" i="0" u="none" strike="noStrike" kern="1200" cap="none" spc="0" normalizeH="0" baseline="0" noProof="0" err="1">
                  <a:ln>
                    <a:noFill/>
                  </a:ln>
                  <a:solidFill>
                    <a:prstClr val="white"/>
                  </a:solidFill>
                  <a:effectLst/>
                  <a:uLnTx/>
                  <a:uFillTx/>
                  <a:ea typeface="+mn-ea"/>
                  <a:cs typeface="+mn-cs"/>
                </a:rPr>
                <a:t>aliqua</a:t>
              </a:r>
              <a:r>
                <a:rPr kumimoji="0" lang="en-GB" b="0" i="0" u="none" strike="noStrike" kern="1200" cap="none" spc="0" normalizeH="0" baseline="0" noProof="0">
                  <a:ln>
                    <a:noFill/>
                  </a:ln>
                  <a:solidFill>
                    <a:prstClr val="white"/>
                  </a:solidFill>
                  <a:effectLst/>
                  <a:uLnTx/>
                  <a:uFillTx/>
                  <a:ea typeface="+mn-ea"/>
                  <a:cs typeface="+mn-cs"/>
                </a:rPr>
                <a:t>. </a:t>
              </a:r>
            </a:p>
          </p:txBody>
        </p:sp>
        <p:sp>
          <p:nvSpPr>
            <p:cNvPr id="24" name="Rectangle 23">
              <a:extLst>
                <a:ext uri="{FF2B5EF4-FFF2-40B4-BE49-F238E27FC236}">
                  <a16:creationId xmlns:a16="http://schemas.microsoft.com/office/drawing/2014/main" id="{DAAAEDC8-C3B0-FA0A-4051-79F0A5128622}"/>
                </a:ext>
              </a:extLst>
            </p:cNvPr>
            <p:cNvSpPr>
              <a:spLocks noChangeAspect="1"/>
            </p:cNvSpPr>
            <p:nvPr/>
          </p:nvSpPr>
          <p:spPr>
            <a:xfrm>
              <a:off x="-1" y="5596079"/>
              <a:ext cx="934458" cy="923145"/>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i="0" u="none" strike="noStrike" kern="1200" cap="none" spc="0" normalizeH="0" baseline="0" noProof="0">
                  <a:ln>
                    <a:noFill/>
                  </a:ln>
                  <a:solidFill>
                    <a:prstClr val="white"/>
                  </a:solidFill>
                  <a:effectLst/>
                  <a:uLnTx/>
                  <a:uFillTx/>
                  <a:ea typeface="+mn-ea"/>
                  <a:cs typeface="+mn-cs"/>
                </a:rPr>
                <a:t>5</a:t>
              </a:r>
            </a:p>
          </p:txBody>
        </p:sp>
        <p:pic>
          <p:nvPicPr>
            <p:cNvPr id="28" name="organisation_chart_2_levels">
              <a:extLst>
                <a:ext uri="{FF2B5EF4-FFF2-40B4-BE49-F238E27FC236}">
                  <a16:creationId xmlns:a16="http://schemas.microsoft.com/office/drawing/2014/main" id="{C78AAC71-DBC6-9652-DCA7-D686DEB4D8F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70634" y="5266875"/>
              <a:ext cx="635000" cy="635000"/>
            </a:xfrm>
            <a:prstGeom prst="rect">
              <a:avLst/>
            </a:prstGeom>
          </p:spPr>
        </p:pic>
      </p:grpSp>
    </p:spTree>
    <p:custDataLst>
      <p:tags r:id="rId1"/>
    </p:custDataLst>
    <p:extLst>
      <p:ext uri="{BB962C8B-B14F-4D97-AF65-F5344CB8AC3E}">
        <p14:creationId xmlns:p14="http://schemas.microsoft.com/office/powerpoint/2010/main" val="335573921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8B42E2-1BAF-5081-1B61-A94F36981C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3" progId="TCLayout.ActiveDocument.1">
                  <p:embed/>
                </p:oleObj>
              </mc:Choice>
              <mc:Fallback>
                <p:oleObj name="Diapositive think-cell" r:id="rId5" imgW="473" imgH="473" progId="TCLayout.ActiveDocument.1">
                  <p:embed/>
                  <p:pic>
                    <p:nvPicPr>
                      <p:cNvPr id="4" name="think-cell data - do not delete" hidden="1">
                        <a:extLst>
                          <a:ext uri="{FF2B5EF4-FFF2-40B4-BE49-F238E27FC236}">
                            <a16:creationId xmlns:a16="http://schemas.microsoft.com/office/drawing/2014/main" id="{C78B42E2-1BAF-5081-1B61-A94F36981C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Chart 3">
            <a:extLst>
              <a:ext uri="{FF2B5EF4-FFF2-40B4-BE49-F238E27FC236}">
                <a16:creationId xmlns:a16="http://schemas.microsoft.com/office/drawing/2014/main" id="{6AE6BD39-3A95-6452-3768-A0A727B0C15E}"/>
              </a:ext>
            </a:extLst>
          </p:cNvPr>
          <p:cNvGraphicFramePr/>
          <p:nvPr>
            <p:custDataLst>
              <p:tags r:id="rId2"/>
            </p:custDataLst>
          </p:nvPr>
        </p:nvGraphicFramePr>
        <p:xfrm>
          <a:off x="3321050" y="1400175"/>
          <a:ext cx="4652963" cy="4652963"/>
        </p:xfrm>
        <a:graphic>
          <a:graphicData uri="http://schemas.openxmlformats.org/drawingml/2006/chart">
            <c:chart xmlns:c="http://schemas.openxmlformats.org/drawingml/2006/chart" xmlns:r="http://schemas.openxmlformats.org/officeDocument/2006/relationships" r:id="rId7"/>
          </a:graphicData>
        </a:graphic>
      </p:graphicFrame>
      <p:sp>
        <p:nvSpPr>
          <p:cNvPr id="5" name="Ellipse 4">
            <a:extLst>
              <a:ext uri="{FF2B5EF4-FFF2-40B4-BE49-F238E27FC236}">
                <a16:creationId xmlns:a16="http://schemas.microsoft.com/office/drawing/2014/main" id="{E10439D7-28CA-905D-322E-19AEC84FE287}"/>
              </a:ext>
            </a:extLst>
          </p:cNvPr>
          <p:cNvSpPr/>
          <p:nvPr/>
        </p:nvSpPr>
        <p:spPr bwMode="auto">
          <a:xfrm>
            <a:off x="5025519" y="3045720"/>
            <a:ext cx="1368000" cy="1368000"/>
          </a:xfrm>
          <a:prstGeom prst="ellipse">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solidFill>
                <a:srgbClr val="FFFFFF"/>
              </a:solidFill>
            </a:endParaRPr>
          </a:p>
        </p:txBody>
      </p:sp>
      <p:sp>
        <p:nvSpPr>
          <p:cNvPr id="2" name="Titre 1">
            <a:extLst>
              <a:ext uri="{FF2B5EF4-FFF2-40B4-BE49-F238E27FC236}">
                <a16:creationId xmlns:a16="http://schemas.microsoft.com/office/drawing/2014/main" id="{45C4E8FB-DB7F-0E46-1DD0-A63D16C8F2C5}"/>
              </a:ext>
            </a:extLst>
          </p:cNvPr>
          <p:cNvSpPr>
            <a:spLocks noGrp="1"/>
          </p:cNvSpPr>
          <p:nvPr>
            <p:ph type="title"/>
          </p:nvPr>
        </p:nvSpPr>
        <p:spPr/>
        <p:txBody>
          <a:bodyPr vert="horz"/>
          <a:lstStyle/>
          <a:p>
            <a:r>
              <a:rPr lang="en-GB"/>
              <a:t>Slide message – Three key ideas</a:t>
            </a:r>
            <a:endParaRPr lang="en-US"/>
          </a:p>
        </p:txBody>
      </p:sp>
      <p:grpSp>
        <p:nvGrpSpPr>
          <p:cNvPr id="38" name="Group 46">
            <a:extLst>
              <a:ext uri="{FF2B5EF4-FFF2-40B4-BE49-F238E27FC236}">
                <a16:creationId xmlns:a16="http://schemas.microsoft.com/office/drawing/2014/main" id="{77BF875E-141F-F85A-4658-E4FDD8EDF332}"/>
              </a:ext>
            </a:extLst>
          </p:cNvPr>
          <p:cNvGrpSpPr/>
          <p:nvPr/>
        </p:nvGrpSpPr>
        <p:grpSpPr>
          <a:xfrm>
            <a:off x="8073341" y="1441768"/>
            <a:ext cx="2937088" cy="1039751"/>
            <a:chOff x="8221931" y="1210324"/>
            <a:chExt cx="2937088" cy="1039751"/>
          </a:xfrm>
        </p:grpSpPr>
        <p:sp>
          <p:nvSpPr>
            <p:cNvPr id="39" name="TextBox 35">
              <a:extLst>
                <a:ext uri="{FF2B5EF4-FFF2-40B4-BE49-F238E27FC236}">
                  <a16:creationId xmlns:a16="http://schemas.microsoft.com/office/drawing/2014/main" id="{70F07555-A1B8-CBFE-12C3-0B8D954FBF68}"/>
                </a:ext>
              </a:extLst>
            </p:cNvPr>
            <p:cNvSpPr txBox="1"/>
            <p:nvPr/>
          </p:nvSpPr>
          <p:spPr>
            <a:xfrm>
              <a:off x="8221931" y="1210324"/>
              <a:ext cx="2937088" cy="461665"/>
            </a:xfrm>
            <a:prstGeom prst="rect">
              <a:avLst/>
            </a:prstGeom>
            <a:noFill/>
          </p:spPr>
          <p:txBody>
            <a:bodyPr wrap="square" lIns="0" rIns="0" rtlCol="0" anchor="b">
              <a:spAutoFit/>
            </a:bodyPr>
            <a:lstStyle/>
            <a:p>
              <a:r>
                <a:rPr lang="en-US" sz="2400" b="1" cap="all" noProof="1">
                  <a:solidFill>
                    <a:srgbClr val="D9D9D9"/>
                  </a:solidFill>
                </a:rPr>
                <a:t>Lorem Ipsum</a:t>
              </a:r>
            </a:p>
          </p:txBody>
        </p:sp>
        <p:sp>
          <p:nvSpPr>
            <p:cNvPr id="40" name="TextBox 36">
              <a:extLst>
                <a:ext uri="{FF2B5EF4-FFF2-40B4-BE49-F238E27FC236}">
                  <a16:creationId xmlns:a16="http://schemas.microsoft.com/office/drawing/2014/main" id="{C567684C-9C3D-919F-E3F9-EBCF06670B2F}"/>
                </a:ext>
              </a:extLst>
            </p:cNvPr>
            <p:cNvSpPr txBox="1"/>
            <p:nvPr/>
          </p:nvSpPr>
          <p:spPr>
            <a:xfrm>
              <a:off x="8229726" y="1603744"/>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1" name="Group 45">
            <a:extLst>
              <a:ext uri="{FF2B5EF4-FFF2-40B4-BE49-F238E27FC236}">
                <a16:creationId xmlns:a16="http://schemas.microsoft.com/office/drawing/2014/main" id="{D6A14B84-F82C-8542-AD2C-033E9369A071}"/>
              </a:ext>
            </a:extLst>
          </p:cNvPr>
          <p:cNvGrpSpPr/>
          <p:nvPr/>
        </p:nvGrpSpPr>
        <p:grpSpPr>
          <a:xfrm>
            <a:off x="8542599" y="3177972"/>
            <a:ext cx="2937088" cy="1039751"/>
            <a:chOff x="8691189" y="2365299"/>
            <a:chExt cx="2937088" cy="1039751"/>
          </a:xfrm>
        </p:grpSpPr>
        <p:sp>
          <p:nvSpPr>
            <p:cNvPr id="42" name="TextBox 38">
              <a:extLst>
                <a:ext uri="{FF2B5EF4-FFF2-40B4-BE49-F238E27FC236}">
                  <a16:creationId xmlns:a16="http://schemas.microsoft.com/office/drawing/2014/main" id="{7F7D64F3-105B-535E-AD67-875B9BE5D183}"/>
                </a:ext>
              </a:extLst>
            </p:cNvPr>
            <p:cNvSpPr txBox="1"/>
            <p:nvPr/>
          </p:nvSpPr>
          <p:spPr>
            <a:xfrm>
              <a:off x="8691189" y="2365299"/>
              <a:ext cx="2937088" cy="461665"/>
            </a:xfrm>
            <a:prstGeom prst="rect">
              <a:avLst/>
            </a:prstGeom>
            <a:noFill/>
          </p:spPr>
          <p:txBody>
            <a:bodyPr wrap="square" lIns="0" rIns="0" rtlCol="0" anchor="b">
              <a:spAutoFit/>
            </a:bodyPr>
            <a:lstStyle/>
            <a:p>
              <a:r>
                <a:rPr lang="en-US" sz="2400" b="1" cap="all" noProof="1">
                  <a:solidFill>
                    <a:srgbClr val="C1B5B9"/>
                  </a:solidFill>
                </a:rPr>
                <a:t>Lorem Ipsum</a:t>
              </a:r>
            </a:p>
          </p:txBody>
        </p:sp>
        <p:sp>
          <p:nvSpPr>
            <p:cNvPr id="43" name="TextBox 39">
              <a:extLst>
                <a:ext uri="{FF2B5EF4-FFF2-40B4-BE49-F238E27FC236}">
                  <a16:creationId xmlns:a16="http://schemas.microsoft.com/office/drawing/2014/main" id="{33C820F2-F194-0881-6EF6-1EF2B8271DFD}"/>
                </a:ext>
              </a:extLst>
            </p:cNvPr>
            <p:cNvSpPr txBox="1"/>
            <p:nvPr/>
          </p:nvSpPr>
          <p:spPr>
            <a:xfrm>
              <a:off x="8698984" y="2758719"/>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4" name="Group 44">
            <a:extLst>
              <a:ext uri="{FF2B5EF4-FFF2-40B4-BE49-F238E27FC236}">
                <a16:creationId xmlns:a16="http://schemas.microsoft.com/office/drawing/2014/main" id="{6DDAD6BA-86A1-8C54-7FE2-2BE7882F357A}"/>
              </a:ext>
            </a:extLst>
          </p:cNvPr>
          <p:cNvGrpSpPr/>
          <p:nvPr/>
        </p:nvGrpSpPr>
        <p:grpSpPr>
          <a:xfrm>
            <a:off x="8073341" y="4914175"/>
            <a:ext cx="2937088" cy="1039751"/>
            <a:chOff x="8691189" y="3520274"/>
            <a:chExt cx="2937088" cy="1039751"/>
          </a:xfrm>
        </p:grpSpPr>
        <p:sp>
          <p:nvSpPr>
            <p:cNvPr id="45" name="TextBox 41">
              <a:extLst>
                <a:ext uri="{FF2B5EF4-FFF2-40B4-BE49-F238E27FC236}">
                  <a16:creationId xmlns:a16="http://schemas.microsoft.com/office/drawing/2014/main" id="{23CFAFB7-D205-05CE-327E-17C6391D2642}"/>
                </a:ext>
              </a:extLst>
            </p:cNvPr>
            <p:cNvSpPr txBox="1"/>
            <p:nvPr/>
          </p:nvSpPr>
          <p:spPr>
            <a:xfrm>
              <a:off x="8691189" y="3520274"/>
              <a:ext cx="2937088" cy="461665"/>
            </a:xfrm>
            <a:prstGeom prst="rect">
              <a:avLst/>
            </a:prstGeom>
            <a:noFill/>
          </p:spPr>
          <p:txBody>
            <a:bodyPr wrap="square" lIns="0" rIns="0" rtlCol="0" anchor="b">
              <a:spAutoFit/>
            </a:bodyPr>
            <a:lstStyle/>
            <a:p>
              <a:r>
                <a:rPr lang="en-US" sz="2400" b="1" cap="all" noProof="1">
                  <a:solidFill>
                    <a:srgbClr val="87737B"/>
                  </a:solidFill>
                </a:rPr>
                <a:t>Lorem Ipsum</a:t>
              </a:r>
            </a:p>
          </p:txBody>
        </p:sp>
        <p:sp>
          <p:nvSpPr>
            <p:cNvPr id="46" name="TextBox 42">
              <a:extLst>
                <a:ext uri="{FF2B5EF4-FFF2-40B4-BE49-F238E27FC236}">
                  <a16:creationId xmlns:a16="http://schemas.microsoft.com/office/drawing/2014/main" id="{44DDC4B6-7B8C-E678-5F40-971A194BF16D}"/>
                </a:ext>
              </a:extLst>
            </p:cNvPr>
            <p:cNvSpPr txBox="1"/>
            <p:nvPr/>
          </p:nvSpPr>
          <p:spPr>
            <a:xfrm>
              <a:off x="8698984" y="3913694"/>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7" name="Group 55">
            <a:extLst>
              <a:ext uri="{FF2B5EF4-FFF2-40B4-BE49-F238E27FC236}">
                <a16:creationId xmlns:a16="http://schemas.microsoft.com/office/drawing/2014/main" id="{F6A9AC15-3C6B-245E-FFEB-9DE3BEA14012}"/>
              </a:ext>
            </a:extLst>
          </p:cNvPr>
          <p:cNvGrpSpPr/>
          <p:nvPr/>
        </p:nvGrpSpPr>
        <p:grpSpPr>
          <a:xfrm>
            <a:off x="796784" y="2454596"/>
            <a:ext cx="2926080" cy="2552037"/>
            <a:chOff x="332936" y="2627766"/>
            <a:chExt cx="2926080" cy="2552037"/>
          </a:xfrm>
        </p:grpSpPr>
        <p:sp>
          <p:nvSpPr>
            <p:cNvPr id="48" name="TextBox 56">
              <a:extLst>
                <a:ext uri="{FF2B5EF4-FFF2-40B4-BE49-F238E27FC236}">
                  <a16:creationId xmlns:a16="http://schemas.microsoft.com/office/drawing/2014/main" id="{EC7C2D91-9ECB-0B32-6C84-5827D0ACC03A}"/>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t>Lorem Ipsum</a:t>
              </a:r>
            </a:p>
          </p:txBody>
        </p:sp>
        <p:sp>
          <p:nvSpPr>
            <p:cNvPr id="49" name="TextBox 57">
              <a:extLst>
                <a:ext uri="{FF2B5EF4-FFF2-40B4-BE49-F238E27FC236}">
                  <a16:creationId xmlns:a16="http://schemas.microsoft.com/office/drawing/2014/main" id="{2DB7D2F6-CF47-0BC5-7245-C8A793650B74}"/>
                </a:ext>
              </a:extLst>
            </p:cNvPr>
            <p:cNvSpPr txBox="1"/>
            <p:nvPr/>
          </p:nvSpPr>
          <p:spPr>
            <a:xfrm>
              <a:off x="332936" y="3086922"/>
              <a:ext cx="2926080" cy="2092881"/>
            </a:xfrm>
            <a:prstGeom prst="rect">
              <a:avLst/>
            </a:prstGeom>
            <a:noFill/>
          </p:spPr>
          <p:txBody>
            <a:bodyPr wrap="square" lIns="0" rIns="0" rtlCol="0" anchor="t">
              <a:spAutoFit/>
            </a:bodyPr>
            <a:lstStyle/>
            <a:p>
              <a:pPr algn="just">
                <a:spcAft>
                  <a:spcPts val="1200"/>
                </a:spcAft>
              </a:pPr>
              <a:r>
                <a:rPr lang="en-US" sz="1200" noProof="1">
                  <a:solidFill>
                    <a:schemeClr val="tx1">
                      <a:lumMod val="65000"/>
                      <a:lumOff val="35000"/>
                    </a:schemeClr>
                  </a:solidFill>
                </a:rPr>
                <a:t>Lorem ipsum dolor sit amet, consectetur adipiscing elit, sed do eiusmod tempor incididunt ut labore et dolore magna aliqua. Ut enim ad minim veniam, quis nostrud exercitation ullamco laboris nisi ut aliquip ex ea commodo consequat.</a:t>
              </a:r>
            </a:p>
            <a:p>
              <a:pPr algn="just">
                <a:spcAft>
                  <a:spcPts val="1200"/>
                </a:spcAft>
              </a:pPr>
              <a:r>
                <a:rPr lang="en-US" sz="1200" noProof="1">
                  <a:solidFill>
                    <a:schemeClr val="tx1">
                      <a:lumMod val="65000"/>
                      <a:lumOff val="35000"/>
                    </a:schemeClr>
                  </a:solidFill>
                </a:rPr>
                <a:t>Duis aute irure dolor in reprehenderit in voluptate velit esse cillum dolore eu fugiat nulla pariatur. Excepteur sint occaecat cupidatat non proident, sunt in culpa qui.</a:t>
              </a:r>
            </a:p>
          </p:txBody>
        </p:sp>
      </p:grpSp>
      <p:sp>
        <p:nvSpPr>
          <p:cNvPr id="55" name="Freeform: Shape 6">
            <a:extLst>
              <a:ext uri="{FF2B5EF4-FFF2-40B4-BE49-F238E27FC236}">
                <a16:creationId xmlns:a16="http://schemas.microsoft.com/office/drawing/2014/main" id="{0732D32F-E6C6-851A-D6E2-612E56DAD80D}"/>
              </a:ext>
            </a:extLst>
          </p:cNvPr>
          <p:cNvSpPr/>
          <p:nvPr/>
        </p:nvSpPr>
        <p:spPr>
          <a:xfrm>
            <a:off x="4350939" y="2447316"/>
            <a:ext cx="1279171" cy="2559317"/>
          </a:xfrm>
          <a:custGeom>
            <a:avLst/>
            <a:gdLst>
              <a:gd name="connsiteX0" fmla="*/ 1279171 w 1279171"/>
              <a:gd name="connsiteY0" fmla="*/ 0 h 2559317"/>
              <a:gd name="connsiteX1" fmla="*/ 1279171 w 1279171"/>
              <a:gd name="connsiteY1" fmla="*/ 282062 h 2559317"/>
              <a:gd name="connsiteX2" fmla="*/ 282368 w 1279171"/>
              <a:gd name="connsiteY2" fmla="*/ 1278865 h 2559317"/>
              <a:gd name="connsiteX3" fmla="*/ 1279171 w 1279171"/>
              <a:gd name="connsiteY3" fmla="*/ 2275668 h 2559317"/>
              <a:gd name="connsiteX4" fmla="*/ 1279171 w 1279171"/>
              <a:gd name="connsiteY4" fmla="*/ 2559317 h 2559317"/>
              <a:gd name="connsiteX5" fmla="*/ 1021407 w 1279171"/>
              <a:gd name="connsiteY5" fmla="*/ 2533316 h 2559317"/>
              <a:gd name="connsiteX6" fmla="*/ 0 w 1279171"/>
              <a:gd name="connsiteY6" fmla="*/ 1279563 h 2559317"/>
              <a:gd name="connsiteX7" fmla="*/ 1021407 w 1279171"/>
              <a:gd name="connsiteY7" fmla="*/ 25993 h 255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71" h="2559317">
                <a:moveTo>
                  <a:pt x="1279171" y="0"/>
                </a:moveTo>
                <a:lnTo>
                  <a:pt x="1279171" y="282062"/>
                </a:lnTo>
                <a:cubicBezTo>
                  <a:pt x="728652" y="282062"/>
                  <a:pt x="282368" y="728346"/>
                  <a:pt x="282368" y="1278865"/>
                </a:cubicBezTo>
                <a:cubicBezTo>
                  <a:pt x="282368" y="1829384"/>
                  <a:pt x="728652" y="2275668"/>
                  <a:pt x="1279171" y="2275668"/>
                </a:cubicBezTo>
                <a:lnTo>
                  <a:pt x="1279171" y="2559317"/>
                </a:lnTo>
                <a:lnTo>
                  <a:pt x="1021407" y="2533316"/>
                </a:lnTo>
                <a:cubicBezTo>
                  <a:pt x="438564" y="2413979"/>
                  <a:pt x="0" y="1897979"/>
                  <a:pt x="0" y="1279563"/>
                </a:cubicBezTo>
                <a:cubicBezTo>
                  <a:pt x="0" y="661147"/>
                  <a:pt x="438564" y="145294"/>
                  <a:pt x="1021407" y="25993"/>
                </a:cubicBezTo>
                <a:close/>
              </a:path>
            </a:pathLst>
          </a:custGeom>
          <a:gradFill>
            <a:gsLst>
              <a:gs pos="49000">
                <a:srgbClr val="D9D9D9"/>
              </a:gs>
              <a:gs pos="74500">
                <a:srgbClr val="87737B"/>
              </a:gs>
              <a:gs pos="100000">
                <a:srgbClr val="000000"/>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0" name="Graphic 60" descr="Questions with solid fill">
            <a:extLst>
              <a:ext uri="{FF2B5EF4-FFF2-40B4-BE49-F238E27FC236}">
                <a16:creationId xmlns:a16="http://schemas.microsoft.com/office/drawing/2014/main" id="{3F89602B-AF67-8893-E961-AD337BADEC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98250" y="3264219"/>
            <a:ext cx="914400" cy="914400"/>
          </a:xfrm>
          <a:prstGeom prst="rect">
            <a:avLst/>
          </a:prstGeom>
        </p:spPr>
      </p:pic>
      <p:pic>
        <p:nvPicPr>
          <p:cNvPr id="56" name="Graphic 48" descr="Chat bubble outline">
            <a:extLst>
              <a:ext uri="{FF2B5EF4-FFF2-40B4-BE49-F238E27FC236}">
                <a16:creationId xmlns:a16="http://schemas.microsoft.com/office/drawing/2014/main" id="{8EA522B9-75DA-35E3-6C08-2E51B8A1E22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25090" y="4984054"/>
            <a:ext cx="676971" cy="676971"/>
          </a:xfrm>
          <a:prstGeom prst="rect">
            <a:avLst/>
          </a:prstGeom>
        </p:spPr>
      </p:pic>
      <p:pic>
        <p:nvPicPr>
          <p:cNvPr id="57" name="Graphic 50" descr="Double Tap Gesture outline">
            <a:extLst>
              <a:ext uri="{FF2B5EF4-FFF2-40B4-BE49-F238E27FC236}">
                <a16:creationId xmlns:a16="http://schemas.microsoft.com/office/drawing/2014/main" id="{351D6DD3-9EFA-8CE6-EC9D-4CB7CEA250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31647" y="3391234"/>
            <a:ext cx="676971" cy="676971"/>
          </a:xfrm>
          <a:prstGeom prst="rect">
            <a:avLst/>
          </a:prstGeom>
        </p:spPr>
      </p:pic>
      <p:pic>
        <p:nvPicPr>
          <p:cNvPr id="59" name="Graphic 54" descr="Zoom in outline">
            <a:extLst>
              <a:ext uri="{FF2B5EF4-FFF2-40B4-BE49-F238E27FC236}">
                <a16:creationId xmlns:a16="http://schemas.microsoft.com/office/drawing/2014/main" id="{E230BBAE-E982-FC8E-514A-5614903D2EF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23406" y="1863158"/>
            <a:ext cx="676971" cy="676971"/>
          </a:xfrm>
          <a:prstGeom prst="rect">
            <a:avLst/>
          </a:prstGeom>
        </p:spPr>
      </p:pic>
    </p:spTree>
    <p:extLst>
      <p:ext uri="{BB962C8B-B14F-4D97-AF65-F5344CB8AC3E}">
        <p14:creationId xmlns:p14="http://schemas.microsoft.com/office/powerpoint/2010/main" val="317179753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9CE17-329E-18BF-9DD3-D47C967C85A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B7E64-C687-4F0A-B263-B30406A712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4" name="think-cell data - do not delete" hidden="1">
                        <a:extLst>
                          <a:ext uri="{FF2B5EF4-FFF2-40B4-BE49-F238E27FC236}">
                            <a16:creationId xmlns:a16="http://schemas.microsoft.com/office/drawing/2014/main" id="{5D9B7E64-C687-4F0A-B263-B30406A71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llipse 4">
            <a:extLst>
              <a:ext uri="{FF2B5EF4-FFF2-40B4-BE49-F238E27FC236}">
                <a16:creationId xmlns:a16="http://schemas.microsoft.com/office/drawing/2014/main" id="{696FE58D-A8D7-1C58-9A07-6158D2B20925}"/>
              </a:ext>
            </a:extLst>
          </p:cNvPr>
          <p:cNvSpPr/>
          <p:nvPr/>
        </p:nvSpPr>
        <p:spPr bwMode="auto">
          <a:xfrm>
            <a:off x="5025519" y="3045720"/>
            <a:ext cx="1368000" cy="1368000"/>
          </a:xfrm>
          <a:prstGeom prst="ellipse">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solidFill>
                <a:srgbClr val="FFFFFF"/>
              </a:solidFill>
            </a:endParaRPr>
          </a:p>
        </p:txBody>
      </p:sp>
      <p:sp>
        <p:nvSpPr>
          <p:cNvPr id="2" name="Titre 1">
            <a:extLst>
              <a:ext uri="{FF2B5EF4-FFF2-40B4-BE49-F238E27FC236}">
                <a16:creationId xmlns:a16="http://schemas.microsoft.com/office/drawing/2014/main" id="{FACEA637-1C92-6B84-FC46-94BE774A5BB5}"/>
              </a:ext>
            </a:extLst>
          </p:cNvPr>
          <p:cNvSpPr>
            <a:spLocks noGrp="1"/>
          </p:cNvSpPr>
          <p:nvPr>
            <p:ph type="title"/>
          </p:nvPr>
        </p:nvSpPr>
        <p:spPr/>
        <p:txBody>
          <a:bodyPr vert="horz"/>
          <a:lstStyle/>
          <a:p>
            <a:r>
              <a:rPr lang="en-GB"/>
              <a:t>Slide message – Four key ideas</a:t>
            </a:r>
            <a:endParaRPr lang="en-US"/>
          </a:p>
        </p:txBody>
      </p:sp>
      <p:grpSp>
        <p:nvGrpSpPr>
          <p:cNvPr id="35" name="Group 43">
            <a:extLst>
              <a:ext uri="{FF2B5EF4-FFF2-40B4-BE49-F238E27FC236}">
                <a16:creationId xmlns:a16="http://schemas.microsoft.com/office/drawing/2014/main" id="{AE4BECBC-643B-642C-EC56-747D0B2129B8}"/>
              </a:ext>
            </a:extLst>
          </p:cNvPr>
          <p:cNvGrpSpPr/>
          <p:nvPr/>
        </p:nvGrpSpPr>
        <p:grpSpPr>
          <a:xfrm>
            <a:off x="8073341" y="4972430"/>
            <a:ext cx="2937088" cy="1039751"/>
            <a:chOff x="8221931" y="4675250"/>
            <a:chExt cx="2937088" cy="1039751"/>
          </a:xfrm>
        </p:grpSpPr>
        <p:sp>
          <p:nvSpPr>
            <p:cNvPr id="36" name="TextBox 32">
              <a:extLst>
                <a:ext uri="{FF2B5EF4-FFF2-40B4-BE49-F238E27FC236}">
                  <a16:creationId xmlns:a16="http://schemas.microsoft.com/office/drawing/2014/main" id="{25949A06-E6B5-052F-CB76-732F1B74A893}"/>
                </a:ext>
              </a:extLst>
            </p:cNvPr>
            <p:cNvSpPr txBox="1"/>
            <p:nvPr/>
          </p:nvSpPr>
          <p:spPr>
            <a:xfrm>
              <a:off x="8221931" y="4675250"/>
              <a:ext cx="2937088" cy="461665"/>
            </a:xfrm>
            <a:prstGeom prst="rect">
              <a:avLst/>
            </a:prstGeom>
            <a:noFill/>
          </p:spPr>
          <p:txBody>
            <a:bodyPr wrap="square" lIns="0" rIns="0" rtlCol="0" anchor="b">
              <a:spAutoFit/>
            </a:bodyPr>
            <a:lstStyle/>
            <a:p>
              <a:r>
                <a:rPr lang="en-US" sz="2400" b="1" cap="all" noProof="1">
                  <a:solidFill>
                    <a:srgbClr val="000000"/>
                  </a:solidFill>
                </a:rPr>
                <a:t>Lorem Ipsum</a:t>
              </a:r>
            </a:p>
          </p:txBody>
        </p:sp>
        <p:sp>
          <p:nvSpPr>
            <p:cNvPr id="37" name="TextBox 33">
              <a:extLst>
                <a:ext uri="{FF2B5EF4-FFF2-40B4-BE49-F238E27FC236}">
                  <a16:creationId xmlns:a16="http://schemas.microsoft.com/office/drawing/2014/main" id="{A03A5060-04EA-260D-9570-6373D89DA7B9}"/>
                </a:ext>
              </a:extLst>
            </p:cNvPr>
            <p:cNvSpPr txBox="1"/>
            <p:nvPr/>
          </p:nvSpPr>
          <p:spPr>
            <a:xfrm>
              <a:off x="8229726" y="5068670"/>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38" name="Group 46">
            <a:extLst>
              <a:ext uri="{FF2B5EF4-FFF2-40B4-BE49-F238E27FC236}">
                <a16:creationId xmlns:a16="http://schemas.microsoft.com/office/drawing/2014/main" id="{1A4F0C78-86CA-C4BE-BB9D-159F52711532}"/>
              </a:ext>
            </a:extLst>
          </p:cNvPr>
          <p:cNvGrpSpPr/>
          <p:nvPr/>
        </p:nvGrpSpPr>
        <p:grpSpPr>
          <a:xfrm>
            <a:off x="8073341" y="1441768"/>
            <a:ext cx="2937088" cy="1039751"/>
            <a:chOff x="8221931" y="1210324"/>
            <a:chExt cx="2937088" cy="1039751"/>
          </a:xfrm>
        </p:grpSpPr>
        <p:sp>
          <p:nvSpPr>
            <p:cNvPr id="39" name="TextBox 35">
              <a:extLst>
                <a:ext uri="{FF2B5EF4-FFF2-40B4-BE49-F238E27FC236}">
                  <a16:creationId xmlns:a16="http://schemas.microsoft.com/office/drawing/2014/main" id="{771AFC21-1251-5927-75CB-8C21A2286A29}"/>
                </a:ext>
              </a:extLst>
            </p:cNvPr>
            <p:cNvSpPr txBox="1"/>
            <p:nvPr/>
          </p:nvSpPr>
          <p:spPr>
            <a:xfrm>
              <a:off x="8221931" y="1210324"/>
              <a:ext cx="2937088" cy="461665"/>
            </a:xfrm>
            <a:prstGeom prst="rect">
              <a:avLst/>
            </a:prstGeom>
            <a:noFill/>
          </p:spPr>
          <p:txBody>
            <a:bodyPr wrap="square" lIns="0" rIns="0" rtlCol="0" anchor="b">
              <a:spAutoFit/>
            </a:bodyPr>
            <a:lstStyle/>
            <a:p>
              <a:r>
                <a:rPr lang="en-US" sz="2400" b="1" cap="all" noProof="1">
                  <a:solidFill>
                    <a:srgbClr val="D9D9D9"/>
                  </a:solidFill>
                </a:rPr>
                <a:t>Lorem Ipsum</a:t>
              </a:r>
            </a:p>
          </p:txBody>
        </p:sp>
        <p:sp>
          <p:nvSpPr>
            <p:cNvPr id="40" name="TextBox 36">
              <a:extLst>
                <a:ext uri="{FF2B5EF4-FFF2-40B4-BE49-F238E27FC236}">
                  <a16:creationId xmlns:a16="http://schemas.microsoft.com/office/drawing/2014/main" id="{C572DDF3-96F5-D469-E46F-69D0A0E837C6}"/>
                </a:ext>
              </a:extLst>
            </p:cNvPr>
            <p:cNvSpPr txBox="1"/>
            <p:nvPr/>
          </p:nvSpPr>
          <p:spPr>
            <a:xfrm>
              <a:off x="8229726" y="1603744"/>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1" name="Group 45">
            <a:extLst>
              <a:ext uri="{FF2B5EF4-FFF2-40B4-BE49-F238E27FC236}">
                <a16:creationId xmlns:a16="http://schemas.microsoft.com/office/drawing/2014/main" id="{9E1B30B1-66D7-08BC-EEFA-343F6B5A627C}"/>
              </a:ext>
            </a:extLst>
          </p:cNvPr>
          <p:cNvGrpSpPr/>
          <p:nvPr/>
        </p:nvGrpSpPr>
        <p:grpSpPr>
          <a:xfrm>
            <a:off x="8542599" y="2618655"/>
            <a:ext cx="2937088" cy="1039751"/>
            <a:chOff x="8691189" y="2365299"/>
            <a:chExt cx="2937088" cy="1039751"/>
          </a:xfrm>
        </p:grpSpPr>
        <p:sp>
          <p:nvSpPr>
            <p:cNvPr id="42" name="TextBox 38">
              <a:extLst>
                <a:ext uri="{FF2B5EF4-FFF2-40B4-BE49-F238E27FC236}">
                  <a16:creationId xmlns:a16="http://schemas.microsoft.com/office/drawing/2014/main" id="{B2BCEA66-B102-4F74-77A1-8EF5B6AED9DA}"/>
                </a:ext>
              </a:extLst>
            </p:cNvPr>
            <p:cNvSpPr txBox="1"/>
            <p:nvPr/>
          </p:nvSpPr>
          <p:spPr>
            <a:xfrm>
              <a:off x="8691189" y="2365299"/>
              <a:ext cx="2937088" cy="461665"/>
            </a:xfrm>
            <a:prstGeom prst="rect">
              <a:avLst/>
            </a:prstGeom>
            <a:noFill/>
          </p:spPr>
          <p:txBody>
            <a:bodyPr wrap="square" lIns="0" rIns="0" rtlCol="0" anchor="b">
              <a:spAutoFit/>
            </a:bodyPr>
            <a:lstStyle/>
            <a:p>
              <a:r>
                <a:rPr lang="en-US" sz="2400" b="1" cap="all" noProof="1">
                  <a:solidFill>
                    <a:srgbClr val="C1B5B9"/>
                  </a:solidFill>
                </a:rPr>
                <a:t>Lorem Ipsum</a:t>
              </a:r>
            </a:p>
          </p:txBody>
        </p:sp>
        <p:sp>
          <p:nvSpPr>
            <p:cNvPr id="43" name="TextBox 39">
              <a:extLst>
                <a:ext uri="{FF2B5EF4-FFF2-40B4-BE49-F238E27FC236}">
                  <a16:creationId xmlns:a16="http://schemas.microsoft.com/office/drawing/2014/main" id="{3D03C970-8FE4-6A63-3A8B-75C45E4270FA}"/>
                </a:ext>
              </a:extLst>
            </p:cNvPr>
            <p:cNvSpPr txBox="1"/>
            <p:nvPr/>
          </p:nvSpPr>
          <p:spPr>
            <a:xfrm>
              <a:off x="8698984" y="2758719"/>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4" name="Group 44">
            <a:extLst>
              <a:ext uri="{FF2B5EF4-FFF2-40B4-BE49-F238E27FC236}">
                <a16:creationId xmlns:a16="http://schemas.microsoft.com/office/drawing/2014/main" id="{3D6C14F2-A465-3748-3BAB-3F637C6ED367}"/>
              </a:ext>
            </a:extLst>
          </p:cNvPr>
          <p:cNvGrpSpPr/>
          <p:nvPr/>
        </p:nvGrpSpPr>
        <p:grpSpPr>
          <a:xfrm>
            <a:off x="8542599" y="3795542"/>
            <a:ext cx="2937088" cy="1039751"/>
            <a:chOff x="8691189" y="3520274"/>
            <a:chExt cx="2937088" cy="1039751"/>
          </a:xfrm>
        </p:grpSpPr>
        <p:sp>
          <p:nvSpPr>
            <p:cNvPr id="45" name="TextBox 41">
              <a:extLst>
                <a:ext uri="{FF2B5EF4-FFF2-40B4-BE49-F238E27FC236}">
                  <a16:creationId xmlns:a16="http://schemas.microsoft.com/office/drawing/2014/main" id="{693ECC5A-B261-D505-061D-09A13E7A156D}"/>
                </a:ext>
              </a:extLst>
            </p:cNvPr>
            <p:cNvSpPr txBox="1"/>
            <p:nvPr/>
          </p:nvSpPr>
          <p:spPr>
            <a:xfrm>
              <a:off x="8691189" y="3520274"/>
              <a:ext cx="2937088" cy="461665"/>
            </a:xfrm>
            <a:prstGeom prst="rect">
              <a:avLst/>
            </a:prstGeom>
            <a:noFill/>
          </p:spPr>
          <p:txBody>
            <a:bodyPr wrap="square" lIns="0" rIns="0" rtlCol="0" anchor="b">
              <a:spAutoFit/>
            </a:bodyPr>
            <a:lstStyle/>
            <a:p>
              <a:r>
                <a:rPr lang="en-US" sz="2400" b="1" cap="all" noProof="1">
                  <a:solidFill>
                    <a:srgbClr val="87737B"/>
                  </a:solidFill>
                </a:rPr>
                <a:t>Lorem Ipsum</a:t>
              </a:r>
            </a:p>
          </p:txBody>
        </p:sp>
        <p:sp>
          <p:nvSpPr>
            <p:cNvPr id="46" name="TextBox 42">
              <a:extLst>
                <a:ext uri="{FF2B5EF4-FFF2-40B4-BE49-F238E27FC236}">
                  <a16:creationId xmlns:a16="http://schemas.microsoft.com/office/drawing/2014/main" id="{FBF925FB-BDC7-D3F0-9FFB-0D99C23892EC}"/>
                </a:ext>
              </a:extLst>
            </p:cNvPr>
            <p:cNvSpPr txBox="1"/>
            <p:nvPr/>
          </p:nvSpPr>
          <p:spPr>
            <a:xfrm>
              <a:off x="8698984" y="3913694"/>
              <a:ext cx="2929293" cy="646331"/>
            </a:xfrm>
            <a:prstGeom prst="rect">
              <a:avLst/>
            </a:prstGeom>
            <a:noFill/>
          </p:spPr>
          <p:txBody>
            <a:bodyPr wrap="square" lIns="0" rIns="0" rtlCol="0" anchor="t">
              <a:spAutoFit/>
            </a:bodyPr>
            <a:lstStyle/>
            <a:p>
              <a:pPr algn="just"/>
              <a:r>
                <a:rPr lang="en-US" sz="1200" noProof="1">
                  <a:solidFill>
                    <a:schemeClr val="tx1">
                      <a:lumMod val="65000"/>
                      <a:lumOff val="35000"/>
                    </a:schemeClr>
                  </a:solidFill>
                </a:rPr>
                <a:t>Lorem ipsum dolor sit amet, nibh est. A magna maecenas, quam magna nec quis, lorem nunc. Suspendisse viverra sodales mauris, cras. </a:t>
              </a:r>
            </a:p>
          </p:txBody>
        </p:sp>
      </p:grpSp>
      <p:grpSp>
        <p:nvGrpSpPr>
          <p:cNvPr id="47" name="Group 55">
            <a:extLst>
              <a:ext uri="{FF2B5EF4-FFF2-40B4-BE49-F238E27FC236}">
                <a16:creationId xmlns:a16="http://schemas.microsoft.com/office/drawing/2014/main" id="{2D84B1D6-69E7-877B-505D-8F9B439B1B7A}"/>
              </a:ext>
            </a:extLst>
          </p:cNvPr>
          <p:cNvGrpSpPr/>
          <p:nvPr/>
        </p:nvGrpSpPr>
        <p:grpSpPr>
          <a:xfrm>
            <a:off x="796784" y="2454596"/>
            <a:ext cx="2926080" cy="2552037"/>
            <a:chOff x="332936" y="2627766"/>
            <a:chExt cx="2926080" cy="2552037"/>
          </a:xfrm>
        </p:grpSpPr>
        <p:sp>
          <p:nvSpPr>
            <p:cNvPr id="48" name="TextBox 56">
              <a:extLst>
                <a:ext uri="{FF2B5EF4-FFF2-40B4-BE49-F238E27FC236}">
                  <a16:creationId xmlns:a16="http://schemas.microsoft.com/office/drawing/2014/main" id="{27B04592-914B-88A1-864C-7B1968D99B8D}"/>
                </a:ext>
              </a:extLst>
            </p:cNvPr>
            <p:cNvSpPr txBox="1"/>
            <p:nvPr/>
          </p:nvSpPr>
          <p:spPr>
            <a:xfrm>
              <a:off x="332936" y="2627766"/>
              <a:ext cx="2926080" cy="461665"/>
            </a:xfrm>
            <a:prstGeom prst="rect">
              <a:avLst/>
            </a:prstGeom>
            <a:noFill/>
          </p:spPr>
          <p:txBody>
            <a:bodyPr wrap="square" lIns="0" rIns="0" rtlCol="0" anchor="b">
              <a:spAutoFit/>
            </a:bodyPr>
            <a:lstStyle/>
            <a:p>
              <a:pPr algn="ctr"/>
              <a:r>
                <a:rPr lang="en-US" sz="2400" b="1" noProof="1"/>
                <a:t>Lorem Ipsum</a:t>
              </a:r>
            </a:p>
          </p:txBody>
        </p:sp>
        <p:sp>
          <p:nvSpPr>
            <p:cNvPr id="49" name="TextBox 57">
              <a:extLst>
                <a:ext uri="{FF2B5EF4-FFF2-40B4-BE49-F238E27FC236}">
                  <a16:creationId xmlns:a16="http://schemas.microsoft.com/office/drawing/2014/main" id="{A883939B-84BC-7BA1-C9F7-73610B8BDCD2}"/>
                </a:ext>
              </a:extLst>
            </p:cNvPr>
            <p:cNvSpPr txBox="1"/>
            <p:nvPr/>
          </p:nvSpPr>
          <p:spPr>
            <a:xfrm>
              <a:off x="332936" y="3086922"/>
              <a:ext cx="2926080" cy="2092881"/>
            </a:xfrm>
            <a:prstGeom prst="rect">
              <a:avLst/>
            </a:prstGeom>
            <a:noFill/>
          </p:spPr>
          <p:txBody>
            <a:bodyPr wrap="square" lIns="0" rIns="0" rtlCol="0" anchor="t">
              <a:spAutoFit/>
            </a:bodyPr>
            <a:lstStyle/>
            <a:p>
              <a:pPr algn="just">
                <a:spcAft>
                  <a:spcPts val="1200"/>
                </a:spcAft>
              </a:pPr>
              <a:r>
                <a:rPr lang="en-US" sz="1200" noProof="1">
                  <a:solidFill>
                    <a:schemeClr val="tx1">
                      <a:lumMod val="65000"/>
                      <a:lumOff val="35000"/>
                    </a:schemeClr>
                  </a:solidFill>
                </a:rPr>
                <a:t>Lorem ipsum dolor sit amet, consectetur adipiscing elit, sed do eiusmod tempor incididunt ut labore et dolore magna aliqua. Ut enim ad minim veniam, quis nostrud exercitation ullamco laboris nisi ut aliquip ex ea commodo consequat.</a:t>
              </a:r>
            </a:p>
            <a:p>
              <a:pPr algn="just">
                <a:spcAft>
                  <a:spcPts val="1200"/>
                </a:spcAft>
              </a:pPr>
              <a:r>
                <a:rPr lang="en-US" sz="1200" noProof="1">
                  <a:solidFill>
                    <a:schemeClr val="tx1">
                      <a:lumMod val="65000"/>
                      <a:lumOff val="35000"/>
                    </a:schemeClr>
                  </a:solidFill>
                </a:rPr>
                <a:t>Duis aute irure dolor in reprehenderit in voluptate velit esse cillum dolore eu fugiat nulla pariatur. Excepteur sint occaecat cupidatat non proident, sunt in culpa qui.</a:t>
              </a:r>
            </a:p>
          </p:txBody>
        </p:sp>
      </p:grpSp>
      <p:grpSp>
        <p:nvGrpSpPr>
          <p:cNvPr id="50" name="Group 7">
            <a:extLst>
              <a:ext uri="{FF2B5EF4-FFF2-40B4-BE49-F238E27FC236}">
                <a16:creationId xmlns:a16="http://schemas.microsoft.com/office/drawing/2014/main" id="{D4F9AB2B-2BCF-3CCF-DB8F-55B91CB1214C}"/>
              </a:ext>
            </a:extLst>
          </p:cNvPr>
          <p:cNvGrpSpPr/>
          <p:nvPr/>
        </p:nvGrpSpPr>
        <p:grpSpPr>
          <a:xfrm>
            <a:off x="4350939" y="1441768"/>
            <a:ext cx="3563585" cy="4570413"/>
            <a:chOff x="4499529" y="1144588"/>
            <a:chExt cx="3563585" cy="4570413"/>
          </a:xfrm>
        </p:grpSpPr>
        <p:sp>
          <p:nvSpPr>
            <p:cNvPr id="51" name="Freeform 5">
              <a:extLst>
                <a:ext uri="{FF2B5EF4-FFF2-40B4-BE49-F238E27FC236}">
                  <a16:creationId xmlns:a16="http://schemas.microsoft.com/office/drawing/2014/main" id="{EE41E3E3-CC32-5FF4-5BB5-7E930B571347}"/>
                </a:ext>
              </a:extLst>
            </p:cNvPr>
            <p:cNvSpPr>
              <a:spLocks/>
            </p:cNvSpPr>
            <p:nvPr/>
          </p:nvSpPr>
          <p:spPr bwMode="auto">
            <a:xfrm>
              <a:off x="5778701" y="1144588"/>
              <a:ext cx="1616075" cy="1379538"/>
            </a:xfrm>
            <a:custGeom>
              <a:avLst/>
              <a:gdLst>
                <a:gd name="T0" fmla="*/ 0 w 8480"/>
                <a:gd name="T1" fmla="*/ 0 h 7244"/>
                <a:gd name="T2" fmla="*/ 8480 w 8480"/>
                <a:gd name="T3" fmla="*/ 3513 h 7244"/>
                <a:gd name="T4" fmla="*/ 4749 w 8480"/>
                <a:gd name="T5" fmla="*/ 7244 h 7244"/>
                <a:gd name="T6" fmla="*/ 0 w 8480"/>
                <a:gd name="T7" fmla="*/ 5277 h 7244"/>
                <a:gd name="T8" fmla="*/ 0 w 8480"/>
                <a:gd name="T9" fmla="*/ 0 h 7244"/>
              </a:gdLst>
              <a:ahLst/>
              <a:cxnLst>
                <a:cxn ang="0">
                  <a:pos x="T0" y="T1"/>
                </a:cxn>
                <a:cxn ang="0">
                  <a:pos x="T2" y="T3"/>
                </a:cxn>
                <a:cxn ang="0">
                  <a:pos x="T4" y="T5"/>
                </a:cxn>
                <a:cxn ang="0">
                  <a:pos x="T6" y="T7"/>
                </a:cxn>
                <a:cxn ang="0">
                  <a:pos x="T8" y="T9"/>
                </a:cxn>
              </a:cxnLst>
              <a:rect l="0" t="0" r="r" b="b"/>
              <a:pathLst>
                <a:path w="8480" h="7244">
                  <a:moveTo>
                    <a:pt x="0" y="0"/>
                  </a:moveTo>
                  <a:cubicBezTo>
                    <a:pt x="3181" y="0"/>
                    <a:pt x="6231" y="1264"/>
                    <a:pt x="8480" y="3513"/>
                  </a:cubicBezTo>
                  <a:lnTo>
                    <a:pt x="4749" y="7244"/>
                  </a:lnTo>
                  <a:cubicBezTo>
                    <a:pt x="3490" y="5984"/>
                    <a:pt x="1782" y="5277"/>
                    <a:pt x="0" y="5277"/>
                  </a:cubicBez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
              <a:extLst>
                <a:ext uri="{FF2B5EF4-FFF2-40B4-BE49-F238E27FC236}">
                  <a16:creationId xmlns:a16="http://schemas.microsoft.com/office/drawing/2014/main" id="{24667A85-03CE-EB83-AE32-6F18B1143F41}"/>
                </a:ext>
              </a:extLst>
            </p:cNvPr>
            <p:cNvSpPr>
              <a:spLocks/>
            </p:cNvSpPr>
            <p:nvPr/>
          </p:nvSpPr>
          <p:spPr bwMode="auto">
            <a:xfrm>
              <a:off x="6683576" y="1814513"/>
              <a:ext cx="1379538" cy="1614488"/>
            </a:xfrm>
            <a:custGeom>
              <a:avLst/>
              <a:gdLst>
                <a:gd name="T0" fmla="*/ 3731 w 7244"/>
                <a:gd name="T1" fmla="*/ 0 h 8479"/>
                <a:gd name="T2" fmla="*/ 7244 w 7244"/>
                <a:gd name="T3" fmla="*/ 8479 h 8479"/>
                <a:gd name="T4" fmla="*/ 1967 w 7244"/>
                <a:gd name="T5" fmla="*/ 8479 h 8479"/>
                <a:gd name="T6" fmla="*/ 0 w 7244"/>
                <a:gd name="T7" fmla="*/ 3731 h 8479"/>
                <a:gd name="T8" fmla="*/ 3731 w 7244"/>
                <a:gd name="T9" fmla="*/ 0 h 8479"/>
              </a:gdLst>
              <a:ahLst/>
              <a:cxnLst>
                <a:cxn ang="0">
                  <a:pos x="T0" y="T1"/>
                </a:cxn>
                <a:cxn ang="0">
                  <a:pos x="T2" y="T3"/>
                </a:cxn>
                <a:cxn ang="0">
                  <a:pos x="T4" y="T5"/>
                </a:cxn>
                <a:cxn ang="0">
                  <a:pos x="T6" y="T7"/>
                </a:cxn>
                <a:cxn ang="0">
                  <a:pos x="T8" y="T9"/>
                </a:cxn>
              </a:cxnLst>
              <a:rect l="0" t="0" r="r" b="b"/>
              <a:pathLst>
                <a:path w="7244" h="8479">
                  <a:moveTo>
                    <a:pt x="3731" y="0"/>
                  </a:moveTo>
                  <a:cubicBezTo>
                    <a:pt x="5980" y="2249"/>
                    <a:pt x="7244" y="5299"/>
                    <a:pt x="7244" y="8479"/>
                  </a:cubicBezTo>
                  <a:lnTo>
                    <a:pt x="1967" y="8479"/>
                  </a:lnTo>
                  <a:cubicBezTo>
                    <a:pt x="1967" y="6698"/>
                    <a:pt x="1260" y="4990"/>
                    <a:pt x="0" y="3731"/>
                  </a:cubicBezTo>
                  <a:lnTo>
                    <a:pt x="373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
              <a:extLst>
                <a:ext uri="{FF2B5EF4-FFF2-40B4-BE49-F238E27FC236}">
                  <a16:creationId xmlns:a16="http://schemas.microsoft.com/office/drawing/2014/main" id="{B6943F65-047E-C5E2-B7E9-C84A376A13A0}"/>
                </a:ext>
              </a:extLst>
            </p:cNvPr>
            <p:cNvSpPr>
              <a:spLocks/>
            </p:cNvSpPr>
            <p:nvPr/>
          </p:nvSpPr>
          <p:spPr bwMode="auto">
            <a:xfrm>
              <a:off x="6683576" y="3429001"/>
              <a:ext cx="1379538" cy="1616075"/>
            </a:xfrm>
            <a:custGeom>
              <a:avLst/>
              <a:gdLst>
                <a:gd name="T0" fmla="*/ 7244 w 7244"/>
                <a:gd name="T1" fmla="*/ 0 h 8480"/>
                <a:gd name="T2" fmla="*/ 3731 w 7244"/>
                <a:gd name="T3" fmla="*/ 8480 h 8480"/>
                <a:gd name="T4" fmla="*/ 0 w 7244"/>
                <a:gd name="T5" fmla="*/ 4749 h 8480"/>
                <a:gd name="T6" fmla="*/ 1967 w 7244"/>
                <a:gd name="T7" fmla="*/ 0 h 8480"/>
                <a:gd name="T8" fmla="*/ 7244 w 7244"/>
                <a:gd name="T9" fmla="*/ 0 h 8480"/>
              </a:gdLst>
              <a:ahLst/>
              <a:cxnLst>
                <a:cxn ang="0">
                  <a:pos x="T0" y="T1"/>
                </a:cxn>
                <a:cxn ang="0">
                  <a:pos x="T2" y="T3"/>
                </a:cxn>
                <a:cxn ang="0">
                  <a:pos x="T4" y="T5"/>
                </a:cxn>
                <a:cxn ang="0">
                  <a:pos x="T6" y="T7"/>
                </a:cxn>
                <a:cxn ang="0">
                  <a:pos x="T8" y="T9"/>
                </a:cxn>
              </a:cxnLst>
              <a:rect l="0" t="0" r="r" b="b"/>
              <a:pathLst>
                <a:path w="7244" h="8480">
                  <a:moveTo>
                    <a:pt x="7244" y="0"/>
                  </a:moveTo>
                  <a:cubicBezTo>
                    <a:pt x="7244" y="3181"/>
                    <a:pt x="5980" y="6231"/>
                    <a:pt x="3731" y="8480"/>
                  </a:cubicBezTo>
                  <a:lnTo>
                    <a:pt x="0" y="4749"/>
                  </a:lnTo>
                  <a:cubicBezTo>
                    <a:pt x="1260" y="3490"/>
                    <a:pt x="1967" y="1781"/>
                    <a:pt x="1967" y="0"/>
                  </a:cubicBezTo>
                  <a:lnTo>
                    <a:pt x="724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8">
              <a:extLst>
                <a:ext uri="{FF2B5EF4-FFF2-40B4-BE49-F238E27FC236}">
                  <a16:creationId xmlns:a16="http://schemas.microsoft.com/office/drawing/2014/main" id="{37BFB5D6-E2E7-2A40-5C6B-9BEACC0E926D}"/>
                </a:ext>
              </a:extLst>
            </p:cNvPr>
            <p:cNvSpPr>
              <a:spLocks/>
            </p:cNvSpPr>
            <p:nvPr/>
          </p:nvSpPr>
          <p:spPr bwMode="auto">
            <a:xfrm>
              <a:off x="5778701" y="4333876"/>
              <a:ext cx="1616075" cy="1381125"/>
            </a:xfrm>
            <a:custGeom>
              <a:avLst/>
              <a:gdLst>
                <a:gd name="T0" fmla="*/ 8480 w 8480"/>
                <a:gd name="T1" fmla="*/ 3731 h 7244"/>
                <a:gd name="T2" fmla="*/ 0 w 8480"/>
                <a:gd name="T3" fmla="*/ 7244 h 7244"/>
                <a:gd name="T4" fmla="*/ 0 w 8480"/>
                <a:gd name="T5" fmla="*/ 1967 h 7244"/>
                <a:gd name="T6" fmla="*/ 4749 w 8480"/>
                <a:gd name="T7" fmla="*/ 0 h 7244"/>
                <a:gd name="T8" fmla="*/ 8480 w 8480"/>
                <a:gd name="T9" fmla="*/ 3731 h 7244"/>
              </a:gdLst>
              <a:ahLst/>
              <a:cxnLst>
                <a:cxn ang="0">
                  <a:pos x="T0" y="T1"/>
                </a:cxn>
                <a:cxn ang="0">
                  <a:pos x="T2" y="T3"/>
                </a:cxn>
                <a:cxn ang="0">
                  <a:pos x="T4" y="T5"/>
                </a:cxn>
                <a:cxn ang="0">
                  <a:pos x="T6" y="T7"/>
                </a:cxn>
                <a:cxn ang="0">
                  <a:pos x="T8" y="T9"/>
                </a:cxn>
              </a:cxnLst>
              <a:rect l="0" t="0" r="r" b="b"/>
              <a:pathLst>
                <a:path w="8480" h="7244">
                  <a:moveTo>
                    <a:pt x="8480" y="3731"/>
                  </a:moveTo>
                  <a:cubicBezTo>
                    <a:pt x="6231" y="5980"/>
                    <a:pt x="3181" y="7244"/>
                    <a:pt x="0" y="7244"/>
                  </a:cubicBezTo>
                  <a:lnTo>
                    <a:pt x="0" y="1967"/>
                  </a:lnTo>
                  <a:cubicBezTo>
                    <a:pt x="1782" y="1967"/>
                    <a:pt x="3490" y="1259"/>
                    <a:pt x="4749" y="0"/>
                  </a:cubicBezTo>
                  <a:lnTo>
                    <a:pt x="8480" y="373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Shape 6">
              <a:extLst>
                <a:ext uri="{FF2B5EF4-FFF2-40B4-BE49-F238E27FC236}">
                  <a16:creationId xmlns:a16="http://schemas.microsoft.com/office/drawing/2014/main" id="{A06A036A-06F8-1492-86FC-C2C7F145171E}"/>
                </a:ext>
              </a:extLst>
            </p:cNvPr>
            <p:cNvSpPr/>
            <p:nvPr/>
          </p:nvSpPr>
          <p:spPr>
            <a:xfrm>
              <a:off x="4499529" y="2150136"/>
              <a:ext cx="1279171" cy="2559317"/>
            </a:xfrm>
            <a:custGeom>
              <a:avLst/>
              <a:gdLst>
                <a:gd name="connsiteX0" fmla="*/ 1279171 w 1279171"/>
                <a:gd name="connsiteY0" fmla="*/ 0 h 2559317"/>
                <a:gd name="connsiteX1" fmla="*/ 1279171 w 1279171"/>
                <a:gd name="connsiteY1" fmla="*/ 282062 h 2559317"/>
                <a:gd name="connsiteX2" fmla="*/ 282368 w 1279171"/>
                <a:gd name="connsiteY2" fmla="*/ 1278865 h 2559317"/>
                <a:gd name="connsiteX3" fmla="*/ 1279171 w 1279171"/>
                <a:gd name="connsiteY3" fmla="*/ 2275668 h 2559317"/>
                <a:gd name="connsiteX4" fmla="*/ 1279171 w 1279171"/>
                <a:gd name="connsiteY4" fmla="*/ 2559317 h 2559317"/>
                <a:gd name="connsiteX5" fmla="*/ 1021407 w 1279171"/>
                <a:gd name="connsiteY5" fmla="*/ 2533316 h 2559317"/>
                <a:gd name="connsiteX6" fmla="*/ 0 w 1279171"/>
                <a:gd name="connsiteY6" fmla="*/ 1279563 h 2559317"/>
                <a:gd name="connsiteX7" fmla="*/ 1021407 w 1279171"/>
                <a:gd name="connsiteY7" fmla="*/ 25993 h 255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71" h="2559317">
                  <a:moveTo>
                    <a:pt x="1279171" y="0"/>
                  </a:moveTo>
                  <a:lnTo>
                    <a:pt x="1279171" y="282062"/>
                  </a:lnTo>
                  <a:cubicBezTo>
                    <a:pt x="728652" y="282062"/>
                    <a:pt x="282368" y="728346"/>
                    <a:pt x="282368" y="1278865"/>
                  </a:cubicBezTo>
                  <a:cubicBezTo>
                    <a:pt x="282368" y="1829384"/>
                    <a:pt x="728652" y="2275668"/>
                    <a:pt x="1279171" y="2275668"/>
                  </a:cubicBezTo>
                  <a:lnTo>
                    <a:pt x="1279171" y="2559317"/>
                  </a:lnTo>
                  <a:lnTo>
                    <a:pt x="1021407" y="2533316"/>
                  </a:lnTo>
                  <a:cubicBezTo>
                    <a:pt x="438564" y="2413979"/>
                    <a:pt x="0" y="1897979"/>
                    <a:pt x="0" y="1279563"/>
                  </a:cubicBezTo>
                  <a:cubicBezTo>
                    <a:pt x="0" y="661147"/>
                    <a:pt x="438564" y="145294"/>
                    <a:pt x="1021407" y="25993"/>
                  </a:cubicBezTo>
                  <a:close/>
                </a:path>
              </a:pathLst>
            </a:custGeom>
            <a:gradFill>
              <a:gsLst>
                <a:gs pos="49000">
                  <a:srgbClr val="D9D9D9"/>
                </a:gs>
                <a:gs pos="74500">
                  <a:srgbClr val="87737B"/>
                </a:gs>
                <a:gs pos="100000">
                  <a:srgbClr val="000000"/>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56" name="Graphic 48" descr="Chat bubble outline">
            <a:extLst>
              <a:ext uri="{FF2B5EF4-FFF2-40B4-BE49-F238E27FC236}">
                <a16:creationId xmlns:a16="http://schemas.microsoft.com/office/drawing/2014/main" id="{218FA7C4-9BE5-B181-F550-A45BE83433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98823" y="5065729"/>
            <a:ext cx="676971" cy="676971"/>
          </a:xfrm>
          <a:prstGeom prst="rect">
            <a:avLst/>
          </a:prstGeom>
        </p:spPr>
      </p:pic>
      <p:pic>
        <p:nvPicPr>
          <p:cNvPr id="57" name="Graphic 50" descr="Double Tap Gesture outline">
            <a:extLst>
              <a:ext uri="{FF2B5EF4-FFF2-40B4-BE49-F238E27FC236}">
                <a16:creationId xmlns:a16="http://schemas.microsoft.com/office/drawing/2014/main" id="{028B6488-4D86-D80E-48F6-EA61057C03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67847" y="2814260"/>
            <a:ext cx="676971" cy="676971"/>
          </a:xfrm>
          <a:prstGeom prst="rect">
            <a:avLst/>
          </a:prstGeom>
        </p:spPr>
      </p:pic>
      <p:pic>
        <p:nvPicPr>
          <p:cNvPr id="58" name="Graphic 52" descr="Shuffle outline">
            <a:extLst>
              <a:ext uri="{FF2B5EF4-FFF2-40B4-BE49-F238E27FC236}">
                <a16:creationId xmlns:a16="http://schemas.microsoft.com/office/drawing/2014/main" id="{A268EDC0-7846-5D3A-32E3-CFB8C75A2C8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87785" y="4158322"/>
            <a:ext cx="676971" cy="676971"/>
          </a:xfrm>
          <a:prstGeom prst="rect">
            <a:avLst/>
          </a:prstGeom>
        </p:spPr>
      </p:pic>
      <p:pic>
        <p:nvPicPr>
          <p:cNvPr id="59" name="Graphic 54" descr="Zoom in outline">
            <a:extLst>
              <a:ext uri="{FF2B5EF4-FFF2-40B4-BE49-F238E27FC236}">
                <a16:creationId xmlns:a16="http://schemas.microsoft.com/office/drawing/2014/main" id="{A26CF8B7-369D-7313-8651-9CCD1002E00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98823" y="1701805"/>
            <a:ext cx="676971" cy="676971"/>
          </a:xfrm>
          <a:prstGeom prst="rect">
            <a:avLst/>
          </a:prstGeom>
        </p:spPr>
      </p:pic>
      <p:pic>
        <p:nvPicPr>
          <p:cNvPr id="60" name="Graphic 60" descr="Questions with solid fill">
            <a:extLst>
              <a:ext uri="{FF2B5EF4-FFF2-40B4-BE49-F238E27FC236}">
                <a16:creationId xmlns:a16="http://schemas.microsoft.com/office/drawing/2014/main" id="{FE6539A7-2066-CE5A-4E14-51A02F791B2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198250" y="3264219"/>
            <a:ext cx="914400" cy="914400"/>
          </a:xfrm>
          <a:prstGeom prst="rect">
            <a:avLst/>
          </a:prstGeom>
        </p:spPr>
      </p:pic>
    </p:spTree>
    <p:extLst>
      <p:ext uri="{BB962C8B-B14F-4D97-AF65-F5344CB8AC3E}">
        <p14:creationId xmlns:p14="http://schemas.microsoft.com/office/powerpoint/2010/main" val="306769619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89F3B902-EA10-810E-7EAA-6378CDFE01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26" name="think-cell data - do not delete" hidden="1">
                        <a:extLst>
                          <a:ext uri="{FF2B5EF4-FFF2-40B4-BE49-F238E27FC236}">
                            <a16:creationId xmlns:a16="http://schemas.microsoft.com/office/drawing/2014/main" id="{89F3B902-EA10-810E-7EAA-6378CDFE01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5C4E8FB-DB7F-0E46-1DD0-A63D16C8F2C5}"/>
              </a:ext>
            </a:extLst>
          </p:cNvPr>
          <p:cNvSpPr>
            <a:spLocks noGrp="1"/>
          </p:cNvSpPr>
          <p:nvPr>
            <p:ph type="title"/>
          </p:nvPr>
        </p:nvSpPr>
        <p:spPr/>
        <p:txBody>
          <a:bodyPr vert="horz"/>
          <a:lstStyle/>
          <a:p>
            <a:r>
              <a:rPr lang="en-US"/>
              <a:t>Slide message – Workshop minutes with three key ideas</a:t>
            </a:r>
          </a:p>
        </p:txBody>
      </p:sp>
      <p:sp>
        <p:nvSpPr>
          <p:cNvPr id="3" name="Freeform: Shape 29">
            <a:extLst>
              <a:ext uri="{FF2B5EF4-FFF2-40B4-BE49-F238E27FC236}">
                <a16:creationId xmlns:a16="http://schemas.microsoft.com/office/drawing/2014/main" id="{C4077C1F-60E5-9565-79C4-4F62A12C1FBC}"/>
              </a:ext>
            </a:extLst>
          </p:cNvPr>
          <p:cNvSpPr/>
          <p:nvPr/>
        </p:nvSpPr>
        <p:spPr>
          <a:xfrm>
            <a:off x="4" y="1977075"/>
            <a:ext cx="12191998" cy="596255"/>
          </a:xfrm>
          <a:custGeom>
            <a:avLst/>
            <a:gdLst>
              <a:gd name="connsiteX0" fmla="*/ 0 w 12191998"/>
              <a:gd name="connsiteY0" fmla="*/ 0 h 596255"/>
              <a:gd name="connsiteX1" fmla="*/ 375105 w 12191998"/>
              <a:gd name="connsiteY1" fmla="*/ 59483 h 596255"/>
              <a:gd name="connsiteX2" fmla="*/ 6095999 w 12191998"/>
              <a:gd name="connsiteY2" fmla="*/ 464610 h 596255"/>
              <a:gd name="connsiteX3" fmla="*/ 11816892 w 12191998"/>
              <a:gd name="connsiteY3" fmla="*/ 59483 h 596255"/>
              <a:gd name="connsiteX4" fmla="*/ 12191998 w 12191998"/>
              <a:gd name="connsiteY4" fmla="*/ 0 h 596255"/>
              <a:gd name="connsiteX5" fmla="*/ 12191998 w 12191998"/>
              <a:gd name="connsiteY5" fmla="*/ 128581 h 596255"/>
              <a:gd name="connsiteX6" fmla="*/ 11868134 w 12191998"/>
              <a:gd name="connsiteY6" fmla="*/ 180782 h 596255"/>
              <a:gd name="connsiteX7" fmla="*/ 6095999 w 12191998"/>
              <a:gd name="connsiteY7" fmla="*/ 596255 h 596255"/>
              <a:gd name="connsiteX8" fmla="*/ 323863 w 12191998"/>
              <a:gd name="connsiteY8" fmla="*/ 180782 h 596255"/>
              <a:gd name="connsiteX9" fmla="*/ 0 w 12191998"/>
              <a:gd name="connsiteY9" fmla="*/ 128581 h 59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8" h="596255">
                <a:moveTo>
                  <a:pt x="0" y="0"/>
                </a:moveTo>
                <a:lnTo>
                  <a:pt x="375105" y="59483"/>
                </a:lnTo>
                <a:cubicBezTo>
                  <a:pt x="2133479" y="320354"/>
                  <a:pt x="4066711" y="464610"/>
                  <a:pt x="6095999" y="464610"/>
                </a:cubicBezTo>
                <a:cubicBezTo>
                  <a:pt x="8125287" y="464610"/>
                  <a:pt x="10058519" y="320354"/>
                  <a:pt x="11816892" y="59483"/>
                </a:cubicBezTo>
                <a:lnTo>
                  <a:pt x="12191998" y="0"/>
                </a:lnTo>
                <a:lnTo>
                  <a:pt x="12191998" y="128581"/>
                </a:lnTo>
                <a:lnTo>
                  <a:pt x="11868134" y="180782"/>
                </a:lnTo>
                <a:cubicBezTo>
                  <a:pt x="10094011" y="448315"/>
                  <a:pt x="8143463" y="596255"/>
                  <a:pt x="6095999" y="596255"/>
                </a:cubicBezTo>
                <a:cubicBezTo>
                  <a:pt x="4048534" y="596255"/>
                  <a:pt x="2097986" y="448315"/>
                  <a:pt x="323863" y="180782"/>
                </a:cubicBezTo>
                <a:lnTo>
                  <a:pt x="0" y="128581"/>
                </a:lnTo>
                <a:close/>
              </a:path>
            </a:pathLst>
          </a:custGeom>
          <a:solidFill>
            <a:schemeClr val="tx2"/>
          </a:solidFill>
          <a:ln w="12700">
            <a:miter lim="400000"/>
          </a:ln>
        </p:spPr>
        <p:txBody>
          <a:bodyPr wrap="square" lIns="38100" tIns="38100" rIns="38100" bIns="38100" anchor="ctr">
            <a:noAutofit/>
          </a:bodyPr>
          <a:lstStyle/>
          <a:p>
            <a:endParaRPr lang="en-US" sz="3000">
              <a:solidFill>
                <a:srgbClr val="FFFFFF"/>
              </a:solidFill>
            </a:endParaRPr>
          </a:p>
        </p:txBody>
      </p:sp>
      <p:grpSp>
        <p:nvGrpSpPr>
          <p:cNvPr id="32" name="Groupe 31">
            <a:extLst>
              <a:ext uri="{FF2B5EF4-FFF2-40B4-BE49-F238E27FC236}">
                <a16:creationId xmlns:a16="http://schemas.microsoft.com/office/drawing/2014/main" id="{7AD2AD21-7D07-D468-DA40-1ADBA1DB5309}"/>
              </a:ext>
            </a:extLst>
          </p:cNvPr>
          <p:cNvGrpSpPr/>
          <p:nvPr/>
        </p:nvGrpSpPr>
        <p:grpSpPr>
          <a:xfrm>
            <a:off x="2075753" y="2097996"/>
            <a:ext cx="2658575" cy="2854688"/>
            <a:chOff x="2075753" y="1967366"/>
            <a:chExt cx="2658575" cy="2854688"/>
          </a:xfrm>
        </p:grpSpPr>
        <p:sp>
          <p:nvSpPr>
            <p:cNvPr id="4" name="Shape">
              <a:extLst>
                <a:ext uri="{FF2B5EF4-FFF2-40B4-BE49-F238E27FC236}">
                  <a16:creationId xmlns:a16="http://schemas.microsoft.com/office/drawing/2014/main" id="{4CFC53ED-E223-888C-4130-7F8AE486B855}"/>
                </a:ext>
              </a:extLst>
            </p:cNvPr>
            <p:cNvSpPr/>
            <p:nvPr/>
          </p:nvSpPr>
          <p:spPr>
            <a:xfrm>
              <a:off x="2075753" y="196736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pic>
          <p:nvPicPr>
            <p:cNvPr id="11" name="Graphic 37" descr="Target Audience with solid fill">
              <a:extLst>
                <a:ext uri="{FF2B5EF4-FFF2-40B4-BE49-F238E27FC236}">
                  <a16:creationId xmlns:a16="http://schemas.microsoft.com/office/drawing/2014/main" id="{32752142-EBCC-46B6-133F-972FDFCBE9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44424" y="4064515"/>
              <a:ext cx="545858" cy="545858"/>
            </a:xfrm>
            <a:prstGeom prst="rect">
              <a:avLst/>
            </a:prstGeom>
          </p:spPr>
        </p:pic>
        <p:sp>
          <p:nvSpPr>
            <p:cNvPr id="12" name="TextBox 39">
              <a:extLst>
                <a:ext uri="{FF2B5EF4-FFF2-40B4-BE49-F238E27FC236}">
                  <a16:creationId xmlns:a16="http://schemas.microsoft.com/office/drawing/2014/main" id="{71A82999-FFB2-18EB-C5E1-25C511D94877}"/>
                </a:ext>
              </a:extLst>
            </p:cNvPr>
            <p:cNvSpPr txBox="1"/>
            <p:nvPr/>
          </p:nvSpPr>
          <p:spPr>
            <a:xfrm>
              <a:off x="2429500" y="2716569"/>
              <a:ext cx="1920240" cy="400110"/>
            </a:xfrm>
            <a:prstGeom prst="rect">
              <a:avLst/>
            </a:prstGeom>
            <a:noFill/>
          </p:spPr>
          <p:txBody>
            <a:bodyPr wrap="square" lIns="0" rIns="0" rtlCol="0" anchor="b">
              <a:spAutoFit/>
            </a:bodyPr>
            <a:lstStyle/>
            <a:p>
              <a:pPr algn="ctr"/>
              <a:r>
                <a:rPr lang="en-US" sz="2000" b="1" noProof="1">
                  <a:solidFill>
                    <a:schemeClr val="bg1"/>
                  </a:solidFill>
                </a:rPr>
                <a:t>Lorem Ipsum</a:t>
              </a:r>
            </a:p>
          </p:txBody>
        </p:sp>
        <p:sp>
          <p:nvSpPr>
            <p:cNvPr id="13" name="TextBox 40">
              <a:extLst>
                <a:ext uri="{FF2B5EF4-FFF2-40B4-BE49-F238E27FC236}">
                  <a16:creationId xmlns:a16="http://schemas.microsoft.com/office/drawing/2014/main" id="{21732B64-4DE5-1DE6-163D-62AEC0AC1836}"/>
                </a:ext>
              </a:extLst>
            </p:cNvPr>
            <p:cNvSpPr txBox="1"/>
            <p:nvPr/>
          </p:nvSpPr>
          <p:spPr>
            <a:xfrm>
              <a:off x="2429500" y="311417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20" name="Freeform: Shape 50">
              <a:extLst>
                <a:ext uri="{FF2B5EF4-FFF2-40B4-BE49-F238E27FC236}">
                  <a16:creationId xmlns:a16="http://schemas.microsoft.com/office/drawing/2014/main" id="{868F6BAF-0561-0505-78A4-F36B499D3B9E}"/>
                </a:ext>
              </a:extLst>
            </p:cNvPr>
            <p:cNvSpPr/>
            <p:nvPr/>
          </p:nvSpPr>
          <p:spPr>
            <a:xfrm>
              <a:off x="2383493" y="2148841"/>
              <a:ext cx="418749" cy="144541"/>
            </a:xfrm>
            <a:custGeom>
              <a:avLst/>
              <a:gdLst>
                <a:gd name="connsiteX0" fmla="*/ 30277 w 344087"/>
                <a:gd name="connsiteY0" fmla="*/ 0 h 144541"/>
                <a:gd name="connsiteX1" fmla="*/ 344087 w 344087"/>
                <a:gd name="connsiteY1" fmla="*/ 37244 h 144541"/>
                <a:gd name="connsiteX2" fmla="*/ 289125 w 344087"/>
                <a:gd name="connsiteY2" fmla="*/ 36781 h 144541"/>
                <a:gd name="connsiteX3" fmla="*/ 172826 w 344087"/>
                <a:gd name="connsiteY3" fmla="*/ 108474 h 144541"/>
                <a:gd name="connsiteX4" fmla="*/ 155738 w 344087"/>
                <a:gd name="connsiteY4" fmla="*/ 144541 h 144541"/>
                <a:gd name="connsiteX5" fmla="*/ 0 w 344087"/>
                <a:gd name="connsiteY5" fmla="*/ 125754 h 144541"/>
                <a:gd name="connsiteX6" fmla="*/ 30277 w 344087"/>
                <a:gd name="connsiteY6" fmla="*/ 0 h 144541"/>
                <a:gd name="connsiteX0" fmla="*/ 30277 w 344087"/>
                <a:gd name="connsiteY0" fmla="*/ 0 h 144541"/>
                <a:gd name="connsiteX1" fmla="*/ 344087 w 344087"/>
                <a:gd name="connsiteY1" fmla="*/ 37244 h 144541"/>
                <a:gd name="connsiteX2" fmla="*/ 289125 w 344087"/>
                <a:gd name="connsiteY2" fmla="*/ 36781 h 144541"/>
                <a:gd name="connsiteX3" fmla="*/ 172826 w 344087"/>
                <a:gd name="connsiteY3" fmla="*/ 108474 h 144541"/>
                <a:gd name="connsiteX4" fmla="*/ 155738 w 344087"/>
                <a:gd name="connsiteY4" fmla="*/ 144541 h 144541"/>
                <a:gd name="connsiteX5" fmla="*/ 0 w 344087"/>
                <a:gd name="connsiteY5" fmla="*/ 125754 h 144541"/>
                <a:gd name="connsiteX6" fmla="*/ 13445 w 344087"/>
                <a:gd name="connsiteY6" fmla="*/ 53815 h 144541"/>
                <a:gd name="connsiteX7" fmla="*/ 30277 w 344087"/>
                <a:gd name="connsiteY7" fmla="*/ 0 h 144541"/>
                <a:gd name="connsiteX0" fmla="*/ 104939 w 418749"/>
                <a:gd name="connsiteY0" fmla="*/ 0 h 144541"/>
                <a:gd name="connsiteX1" fmla="*/ 418749 w 418749"/>
                <a:gd name="connsiteY1" fmla="*/ 37244 h 144541"/>
                <a:gd name="connsiteX2" fmla="*/ 363787 w 418749"/>
                <a:gd name="connsiteY2" fmla="*/ 36781 h 144541"/>
                <a:gd name="connsiteX3" fmla="*/ 247488 w 418749"/>
                <a:gd name="connsiteY3" fmla="*/ 108474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 name="connsiteX0" fmla="*/ 104939 w 418749"/>
                <a:gd name="connsiteY0" fmla="*/ 0 h 144541"/>
                <a:gd name="connsiteX1" fmla="*/ 418749 w 418749"/>
                <a:gd name="connsiteY1" fmla="*/ 37244 h 144541"/>
                <a:gd name="connsiteX2" fmla="*/ 387599 w 418749"/>
                <a:gd name="connsiteY2" fmla="*/ 72500 h 144541"/>
                <a:gd name="connsiteX3" fmla="*/ 247488 w 418749"/>
                <a:gd name="connsiteY3" fmla="*/ 108474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 name="connsiteX0" fmla="*/ 104939 w 418749"/>
                <a:gd name="connsiteY0" fmla="*/ 0 h 144541"/>
                <a:gd name="connsiteX1" fmla="*/ 418749 w 418749"/>
                <a:gd name="connsiteY1" fmla="*/ 37244 h 144541"/>
                <a:gd name="connsiteX2" fmla="*/ 387599 w 418749"/>
                <a:gd name="connsiteY2" fmla="*/ 72500 h 144541"/>
                <a:gd name="connsiteX3" fmla="*/ 290351 w 418749"/>
                <a:gd name="connsiteY3" fmla="*/ 120380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749" h="144541">
                  <a:moveTo>
                    <a:pt x="104939" y="0"/>
                  </a:moveTo>
                  <a:lnTo>
                    <a:pt x="418749" y="37244"/>
                  </a:lnTo>
                  <a:lnTo>
                    <a:pt x="387599" y="72500"/>
                  </a:lnTo>
                  <a:cubicBezTo>
                    <a:pt x="341240" y="81004"/>
                    <a:pt x="318488" y="82702"/>
                    <a:pt x="290351" y="120380"/>
                  </a:cubicBezTo>
                  <a:lnTo>
                    <a:pt x="230400" y="144541"/>
                  </a:lnTo>
                  <a:lnTo>
                    <a:pt x="74662" y="125754"/>
                  </a:lnTo>
                  <a:lnTo>
                    <a:pt x="0" y="49052"/>
                  </a:lnTo>
                  <a:lnTo>
                    <a:pt x="104939" y="0"/>
                  </a:lnTo>
                  <a:close/>
                </a:path>
              </a:pathLst>
            </a:custGeom>
            <a:solidFill>
              <a:schemeClr val="tx2"/>
            </a:solidFill>
            <a:ln w="12700">
              <a:miter lim="400000"/>
            </a:ln>
          </p:spPr>
          <p:txBody>
            <a:bodyPr wrap="square" lIns="38100" tIns="38100" rIns="38100" bIns="38100" anchor="ctr">
              <a:noAutofit/>
            </a:bodyPr>
            <a:lstStyle/>
            <a:p>
              <a:endParaRPr sz="3000">
                <a:solidFill>
                  <a:srgbClr val="FFFFFF"/>
                </a:solidFill>
              </a:endParaRPr>
            </a:p>
          </p:txBody>
        </p:sp>
      </p:grpSp>
      <p:grpSp>
        <p:nvGrpSpPr>
          <p:cNvPr id="31" name="Groupe 30">
            <a:extLst>
              <a:ext uri="{FF2B5EF4-FFF2-40B4-BE49-F238E27FC236}">
                <a16:creationId xmlns:a16="http://schemas.microsoft.com/office/drawing/2014/main" id="{FF454F4C-ED82-CA8E-6864-0B185AEBDA8F}"/>
              </a:ext>
            </a:extLst>
          </p:cNvPr>
          <p:cNvGrpSpPr/>
          <p:nvPr/>
        </p:nvGrpSpPr>
        <p:grpSpPr>
          <a:xfrm>
            <a:off x="4766713" y="2224270"/>
            <a:ext cx="2658575" cy="2854688"/>
            <a:chOff x="4766713" y="2180726"/>
            <a:chExt cx="2658575" cy="2854688"/>
          </a:xfrm>
        </p:grpSpPr>
        <p:sp>
          <p:nvSpPr>
            <p:cNvPr id="5" name="Shape">
              <a:extLst>
                <a:ext uri="{FF2B5EF4-FFF2-40B4-BE49-F238E27FC236}">
                  <a16:creationId xmlns:a16="http://schemas.microsoft.com/office/drawing/2014/main" id="{6A91A70C-E133-7CBB-9F7D-27ECAEB813CC}"/>
                </a:ext>
              </a:extLst>
            </p:cNvPr>
            <p:cNvSpPr/>
            <p:nvPr/>
          </p:nvSpPr>
          <p:spPr>
            <a:xfrm>
              <a:off x="4766713" y="218072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pic>
          <p:nvPicPr>
            <p:cNvPr id="9" name="Graphic 35" descr="Customer review with solid fill">
              <a:extLst>
                <a:ext uri="{FF2B5EF4-FFF2-40B4-BE49-F238E27FC236}">
                  <a16:creationId xmlns:a16="http://schemas.microsoft.com/office/drawing/2014/main" id="{1402E2AA-BCA9-D626-31DA-9A9D5AA1ED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35384" y="4277875"/>
              <a:ext cx="545858" cy="545858"/>
            </a:xfrm>
            <a:prstGeom prst="rect">
              <a:avLst/>
            </a:prstGeom>
          </p:spPr>
        </p:pic>
        <p:sp>
          <p:nvSpPr>
            <p:cNvPr id="14" name="TextBox 42">
              <a:extLst>
                <a:ext uri="{FF2B5EF4-FFF2-40B4-BE49-F238E27FC236}">
                  <a16:creationId xmlns:a16="http://schemas.microsoft.com/office/drawing/2014/main" id="{D5C41B0F-0311-9669-1884-E61D3F5FDFC2}"/>
                </a:ext>
              </a:extLst>
            </p:cNvPr>
            <p:cNvSpPr txBox="1"/>
            <p:nvPr/>
          </p:nvSpPr>
          <p:spPr>
            <a:xfrm>
              <a:off x="5122063" y="2966519"/>
              <a:ext cx="1920240" cy="400110"/>
            </a:xfrm>
            <a:prstGeom prst="rect">
              <a:avLst/>
            </a:prstGeom>
            <a:noFill/>
          </p:spPr>
          <p:txBody>
            <a:bodyPr wrap="square" lIns="0" rIns="0" rtlCol="0" anchor="b">
              <a:spAutoFit/>
            </a:bodyPr>
            <a:lstStyle>
              <a:defPPr>
                <a:defRPr lang="en-US"/>
              </a:defPPr>
              <a:lvl1pPr algn="ctr">
                <a:defRPr sz="2000" b="1"/>
              </a:lvl1pPr>
            </a:lstStyle>
            <a:p>
              <a:r>
                <a:rPr lang="en-US" noProof="1">
                  <a:solidFill>
                    <a:schemeClr val="bg1"/>
                  </a:solidFill>
                </a:rPr>
                <a:t>Lorem Ipsum</a:t>
              </a:r>
            </a:p>
          </p:txBody>
        </p:sp>
        <p:sp>
          <p:nvSpPr>
            <p:cNvPr id="15" name="TextBox 43">
              <a:extLst>
                <a:ext uri="{FF2B5EF4-FFF2-40B4-BE49-F238E27FC236}">
                  <a16:creationId xmlns:a16="http://schemas.microsoft.com/office/drawing/2014/main" id="{6862793F-B157-1ED2-A27E-19FDF0975CC2}"/>
                </a:ext>
              </a:extLst>
            </p:cNvPr>
            <p:cNvSpPr txBox="1"/>
            <p:nvPr/>
          </p:nvSpPr>
          <p:spPr>
            <a:xfrm>
              <a:off x="5122063" y="336412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21" name="Freeform: Shape 51">
              <a:extLst>
                <a:ext uri="{FF2B5EF4-FFF2-40B4-BE49-F238E27FC236}">
                  <a16:creationId xmlns:a16="http://schemas.microsoft.com/office/drawing/2014/main" id="{DA6FF0F3-6B88-353D-2763-C9BC9F30DE84}"/>
                </a:ext>
              </a:extLst>
            </p:cNvPr>
            <p:cNvSpPr/>
            <p:nvPr/>
          </p:nvSpPr>
          <p:spPr>
            <a:xfrm>
              <a:off x="5060019" y="2385487"/>
              <a:ext cx="425460" cy="136656"/>
            </a:xfrm>
            <a:custGeom>
              <a:avLst/>
              <a:gdLst>
                <a:gd name="connsiteX0" fmla="*/ 31212 w 342905"/>
                <a:gd name="connsiteY0" fmla="*/ 0 h 136656"/>
                <a:gd name="connsiteX1" fmla="*/ 342905 w 342905"/>
                <a:gd name="connsiteY1" fmla="*/ 13892 h 136656"/>
                <a:gd name="connsiteX2" fmla="*/ 295666 w 342905"/>
                <a:gd name="connsiteY2" fmla="*/ 13494 h 136656"/>
                <a:gd name="connsiteX3" fmla="*/ 179367 w 342905"/>
                <a:gd name="connsiteY3" fmla="*/ 85187 h 136656"/>
                <a:gd name="connsiteX4" fmla="*/ 154981 w 342905"/>
                <a:gd name="connsiteY4" fmla="*/ 136656 h 136656"/>
                <a:gd name="connsiteX5" fmla="*/ 0 w 342905"/>
                <a:gd name="connsiteY5" fmla="*/ 129635 h 136656"/>
                <a:gd name="connsiteX6" fmla="*/ 31212 w 342905"/>
                <a:gd name="connsiteY6" fmla="*/ 0 h 136656"/>
                <a:gd name="connsiteX0" fmla="*/ 31212 w 342905"/>
                <a:gd name="connsiteY0" fmla="*/ 0 h 136656"/>
                <a:gd name="connsiteX1" fmla="*/ 342905 w 342905"/>
                <a:gd name="connsiteY1" fmla="*/ 13892 h 136656"/>
                <a:gd name="connsiteX2" fmla="*/ 295666 w 342905"/>
                <a:gd name="connsiteY2" fmla="*/ 13494 h 136656"/>
                <a:gd name="connsiteX3" fmla="*/ 179367 w 342905"/>
                <a:gd name="connsiteY3" fmla="*/ 85187 h 136656"/>
                <a:gd name="connsiteX4" fmla="*/ 154981 w 342905"/>
                <a:gd name="connsiteY4" fmla="*/ 136656 h 136656"/>
                <a:gd name="connsiteX5" fmla="*/ 0 w 342905"/>
                <a:gd name="connsiteY5" fmla="*/ 129635 h 136656"/>
                <a:gd name="connsiteX6" fmla="*/ 12695 w 342905"/>
                <a:gd name="connsiteY6" fmla="*/ 67201 h 136656"/>
                <a:gd name="connsiteX7" fmla="*/ 31212 w 342905"/>
                <a:gd name="connsiteY7" fmla="*/ 0 h 136656"/>
                <a:gd name="connsiteX0" fmla="*/ 113767 w 425460"/>
                <a:gd name="connsiteY0" fmla="*/ 0 h 136656"/>
                <a:gd name="connsiteX1" fmla="*/ 425460 w 425460"/>
                <a:gd name="connsiteY1" fmla="*/ 13892 h 136656"/>
                <a:gd name="connsiteX2" fmla="*/ 378221 w 425460"/>
                <a:gd name="connsiteY2" fmla="*/ 13494 h 136656"/>
                <a:gd name="connsiteX3" fmla="*/ 261922 w 425460"/>
                <a:gd name="connsiteY3" fmla="*/ 85187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 name="connsiteX0" fmla="*/ 113767 w 425460"/>
                <a:gd name="connsiteY0" fmla="*/ 0 h 136656"/>
                <a:gd name="connsiteX1" fmla="*/ 425460 w 425460"/>
                <a:gd name="connsiteY1" fmla="*/ 13892 h 136656"/>
                <a:gd name="connsiteX2" fmla="*/ 378221 w 425460"/>
                <a:gd name="connsiteY2" fmla="*/ 13494 h 136656"/>
                <a:gd name="connsiteX3" fmla="*/ 323835 w 425460"/>
                <a:gd name="connsiteY3" fmla="*/ 101856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 name="connsiteX0" fmla="*/ 113767 w 425460"/>
                <a:gd name="connsiteY0" fmla="*/ 0 h 136656"/>
                <a:gd name="connsiteX1" fmla="*/ 425460 w 425460"/>
                <a:gd name="connsiteY1" fmla="*/ 13892 h 136656"/>
                <a:gd name="connsiteX2" fmla="*/ 392509 w 425460"/>
                <a:gd name="connsiteY2" fmla="*/ 61119 h 136656"/>
                <a:gd name="connsiteX3" fmla="*/ 323835 w 425460"/>
                <a:gd name="connsiteY3" fmla="*/ 101856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460" h="136656">
                  <a:moveTo>
                    <a:pt x="113767" y="0"/>
                  </a:moveTo>
                  <a:lnTo>
                    <a:pt x="425460" y="13892"/>
                  </a:lnTo>
                  <a:lnTo>
                    <a:pt x="392509" y="61119"/>
                  </a:lnTo>
                  <a:cubicBezTo>
                    <a:pt x="346150" y="69623"/>
                    <a:pt x="351972" y="64178"/>
                    <a:pt x="323835" y="101856"/>
                  </a:cubicBezTo>
                  <a:lnTo>
                    <a:pt x="237536" y="136656"/>
                  </a:lnTo>
                  <a:lnTo>
                    <a:pt x="82555" y="129635"/>
                  </a:lnTo>
                  <a:lnTo>
                    <a:pt x="0" y="64819"/>
                  </a:lnTo>
                  <a:lnTo>
                    <a:pt x="113767" y="0"/>
                  </a:lnTo>
                  <a:close/>
                </a:path>
              </a:pathLst>
            </a:custGeom>
            <a:solidFill>
              <a:schemeClr val="tx2"/>
            </a:solidFill>
            <a:ln w="12700">
              <a:miter lim="400000"/>
            </a:ln>
          </p:spPr>
          <p:txBody>
            <a:bodyPr wrap="square" lIns="38100" tIns="38100" rIns="38100" bIns="38100" anchor="ctr">
              <a:noAutofit/>
            </a:bodyPr>
            <a:lstStyle/>
            <a:p>
              <a:endParaRPr lang="fr-FR" sz="3000">
                <a:solidFill>
                  <a:schemeClr val="bg1"/>
                </a:solidFill>
              </a:endParaRPr>
            </a:p>
          </p:txBody>
        </p:sp>
      </p:grpSp>
      <p:grpSp>
        <p:nvGrpSpPr>
          <p:cNvPr id="29" name="Groupe 28">
            <a:extLst>
              <a:ext uri="{FF2B5EF4-FFF2-40B4-BE49-F238E27FC236}">
                <a16:creationId xmlns:a16="http://schemas.microsoft.com/office/drawing/2014/main" id="{E0250F89-FC18-2E2F-B3D2-A261EBDD576D}"/>
              </a:ext>
            </a:extLst>
          </p:cNvPr>
          <p:cNvGrpSpPr/>
          <p:nvPr/>
        </p:nvGrpSpPr>
        <p:grpSpPr>
          <a:xfrm>
            <a:off x="7457673" y="2186168"/>
            <a:ext cx="2658575" cy="2854688"/>
            <a:chOff x="6160029" y="2218826"/>
            <a:chExt cx="2658575" cy="2854688"/>
          </a:xfrm>
        </p:grpSpPr>
        <p:sp>
          <p:nvSpPr>
            <p:cNvPr id="6" name="Shape">
              <a:extLst>
                <a:ext uri="{FF2B5EF4-FFF2-40B4-BE49-F238E27FC236}">
                  <a16:creationId xmlns:a16="http://schemas.microsoft.com/office/drawing/2014/main" id="{7F1F872D-811C-B24C-2B84-3A1B21383D1C}"/>
                </a:ext>
              </a:extLst>
            </p:cNvPr>
            <p:cNvSpPr/>
            <p:nvPr/>
          </p:nvSpPr>
          <p:spPr>
            <a:xfrm>
              <a:off x="6160029" y="221882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pic>
          <p:nvPicPr>
            <p:cNvPr id="10" name="Graphic 36" descr="Open folder with solid fill">
              <a:extLst>
                <a:ext uri="{FF2B5EF4-FFF2-40B4-BE49-F238E27FC236}">
                  <a16:creationId xmlns:a16="http://schemas.microsoft.com/office/drawing/2014/main" id="{63A8C653-BEBF-9E7F-0E24-8B3373684B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8700" y="4315975"/>
              <a:ext cx="545858" cy="545858"/>
            </a:xfrm>
            <a:prstGeom prst="rect">
              <a:avLst/>
            </a:prstGeom>
          </p:spPr>
        </p:pic>
        <p:sp>
          <p:nvSpPr>
            <p:cNvPr id="16" name="TextBox 45">
              <a:extLst>
                <a:ext uri="{FF2B5EF4-FFF2-40B4-BE49-F238E27FC236}">
                  <a16:creationId xmlns:a16="http://schemas.microsoft.com/office/drawing/2014/main" id="{08897144-F6C7-5279-B51F-09BD8C0545FD}"/>
                </a:ext>
              </a:extLst>
            </p:cNvPr>
            <p:cNvSpPr txBox="1"/>
            <p:nvPr/>
          </p:nvSpPr>
          <p:spPr>
            <a:xfrm>
              <a:off x="6547764" y="2988229"/>
              <a:ext cx="1920240" cy="400110"/>
            </a:xfrm>
            <a:prstGeom prst="rect">
              <a:avLst/>
            </a:prstGeom>
            <a:noFill/>
          </p:spPr>
          <p:txBody>
            <a:bodyPr wrap="square" lIns="0" rIns="0" rtlCol="0" anchor="b">
              <a:spAutoFit/>
            </a:bodyPr>
            <a:lstStyle>
              <a:defPPr>
                <a:defRPr lang="en-US"/>
              </a:defPPr>
              <a:lvl1pPr algn="ctr">
                <a:defRPr sz="2000" b="1"/>
              </a:lvl1pPr>
            </a:lstStyle>
            <a:p>
              <a:r>
                <a:rPr lang="en-US" noProof="1">
                  <a:solidFill>
                    <a:schemeClr val="bg1"/>
                  </a:solidFill>
                </a:rPr>
                <a:t>Lorem Ipsum</a:t>
              </a:r>
            </a:p>
          </p:txBody>
        </p:sp>
        <p:sp>
          <p:nvSpPr>
            <p:cNvPr id="17" name="TextBox 46">
              <a:extLst>
                <a:ext uri="{FF2B5EF4-FFF2-40B4-BE49-F238E27FC236}">
                  <a16:creationId xmlns:a16="http://schemas.microsoft.com/office/drawing/2014/main" id="{0C0EAD1A-F5B4-0B79-F755-E384A54AB825}"/>
                </a:ext>
              </a:extLst>
            </p:cNvPr>
            <p:cNvSpPr txBox="1"/>
            <p:nvPr/>
          </p:nvSpPr>
          <p:spPr>
            <a:xfrm>
              <a:off x="6547764" y="338583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22" name="Freeform: Shape 54">
              <a:extLst>
                <a:ext uri="{FF2B5EF4-FFF2-40B4-BE49-F238E27FC236}">
                  <a16:creationId xmlns:a16="http://schemas.microsoft.com/office/drawing/2014/main" id="{CEE97863-61E6-005C-10A2-1D43DEE0630B}"/>
                </a:ext>
              </a:extLst>
            </p:cNvPr>
            <p:cNvSpPr/>
            <p:nvPr/>
          </p:nvSpPr>
          <p:spPr>
            <a:xfrm>
              <a:off x="6503192" y="2437554"/>
              <a:ext cx="327131" cy="134233"/>
            </a:xfrm>
            <a:custGeom>
              <a:avLst/>
              <a:gdLst>
                <a:gd name="connsiteX0" fmla="*/ 298904 w 298904"/>
                <a:gd name="connsiteY0" fmla="*/ 0 h 134233"/>
                <a:gd name="connsiteX1" fmla="*/ 235153 w 298904"/>
                <a:gd name="connsiteY1" fmla="*/ 24434 h 134233"/>
                <a:gd name="connsiteX2" fmla="*/ 183837 w 298904"/>
                <a:gd name="connsiteY2" fmla="*/ 71221 h 134233"/>
                <a:gd name="connsiteX3" fmla="*/ 154643 w 298904"/>
                <a:gd name="connsiteY3" fmla="*/ 132839 h 134233"/>
                <a:gd name="connsiteX4" fmla="*/ 0 w 298904"/>
                <a:gd name="connsiteY4" fmla="*/ 134233 h 134233"/>
                <a:gd name="connsiteX5" fmla="*/ 31749 w 298904"/>
                <a:gd name="connsiteY5" fmla="*/ 2370 h 134233"/>
                <a:gd name="connsiteX6" fmla="*/ 298904 w 298904"/>
                <a:gd name="connsiteY6" fmla="*/ 0 h 134233"/>
                <a:gd name="connsiteX0" fmla="*/ 298904 w 298904"/>
                <a:gd name="connsiteY0" fmla="*/ 0 h 134233"/>
                <a:gd name="connsiteX1" fmla="*/ 235153 w 298904"/>
                <a:gd name="connsiteY1" fmla="*/ 24434 h 134233"/>
                <a:gd name="connsiteX2" fmla="*/ 183837 w 298904"/>
                <a:gd name="connsiteY2" fmla="*/ 71221 h 134233"/>
                <a:gd name="connsiteX3" fmla="*/ 154643 w 298904"/>
                <a:gd name="connsiteY3" fmla="*/ 132839 h 134233"/>
                <a:gd name="connsiteX4" fmla="*/ 0 w 298904"/>
                <a:gd name="connsiteY4" fmla="*/ 134233 h 134233"/>
                <a:gd name="connsiteX5" fmla="*/ 14636 w 298904"/>
                <a:gd name="connsiteY5" fmla="*/ 60377 h 134233"/>
                <a:gd name="connsiteX6" fmla="*/ 31749 w 298904"/>
                <a:gd name="connsiteY6" fmla="*/ 2370 h 134233"/>
                <a:gd name="connsiteX7" fmla="*/ 298904 w 298904"/>
                <a:gd name="connsiteY7" fmla="*/ 0 h 134233"/>
                <a:gd name="connsiteX0" fmla="*/ 327131 w 327131"/>
                <a:gd name="connsiteY0" fmla="*/ 0 h 134233"/>
                <a:gd name="connsiteX1" fmla="*/ 263380 w 327131"/>
                <a:gd name="connsiteY1" fmla="*/ 24434 h 134233"/>
                <a:gd name="connsiteX2" fmla="*/ 212064 w 327131"/>
                <a:gd name="connsiteY2" fmla="*/ 71221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 name="connsiteX0" fmla="*/ 327131 w 327131"/>
                <a:gd name="connsiteY0" fmla="*/ 0 h 134233"/>
                <a:gd name="connsiteX1" fmla="*/ 263380 w 327131"/>
                <a:gd name="connsiteY1" fmla="*/ 24434 h 134233"/>
                <a:gd name="connsiteX2" fmla="*/ 252545 w 327131"/>
                <a:gd name="connsiteY2" fmla="*/ 85508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 name="connsiteX0" fmla="*/ 327131 w 327131"/>
                <a:gd name="connsiteY0" fmla="*/ 0 h 134233"/>
                <a:gd name="connsiteX1" fmla="*/ 306243 w 327131"/>
                <a:gd name="connsiteY1" fmla="*/ 48246 h 134233"/>
                <a:gd name="connsiteX2" fmla="*/ 252545 w 327131"/>
                <a:gd name="connsiteY2" fmla="*/ 85508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131" h="134233">
                  <a:moveTo>
                    <a:pt x="327131" y="0"/>
                  </a:moveTo>
                  <a:lnTo>
                    <a:pt x="306243" y="48246"/>
                  </a:lnTo>
                  <a:cubicBezTo>
                    <a:pt x="286481" y="60397"/>
                    <a:pt x="266614" y="66669"/>
                    <a:pt x="252545" y="85508"/>
                  </a:cubicBezTo>
                  <a:lnTo>
                    <a:pt x="182870" y="132839"/>
                  </a:lnTo>
                  <a:lnTo>
                    <a:pt x="28227" y="134233"/>
                  </a:lnTo>
                  <a:lnTo>
                    <a:pt x="0" y="62758"/>
                  </a:lnTo>
                  <a:lnTo>
                    <a:pt x="59976" y="2370"/>
                  </a:lnTo>
                  <a:lnTo>
                    <a:pt x="327131" y="0"/>
                  </a:lnTo>
                  <a:close/>
                </a:path>
              </a:pathLst>
            </a:custGeom>
            <a:solidFill>
              <a:schemeClr val="tx2"/>
            </a:solidFill>
            <a:ln w="12700">
              <a:miter lim="400000"/>
            </a:ln>
          </p:spPr>
          <p:txBody>
            <a:bodyPr wrap="square" lIns="38100" tIns="38100" rIns="38100" bIns="38100" anchor="ctr">
              <a:noAutofit/>
            </a:bodyPr>
            <a:lstStyle/>
            <a:p>
              <a:endParaRPr lang="fr-FR" sz="3000">
                <a:solidFill>
                  <a:schemeClr val="bg1"/>
                </a:solidFill>
              </a:endParaRPr>
            </a:p>
          </p:txBody>
        </p:sp>
      </p:grpSp>
    </p:spTree>
    <p:extLst>
      <p:ext uri="{BB962C8B-B14F-4D97-AF65-F5344CB8AC3E}">
        <p14:creationId xmlns:p14="http://schemas.microsoft.com/office/powerpoint/2010/main" val="86526388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74596-EAB4-B381-CC37-EFE6F9CDC3C2}"/>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1B65E53B-CE1D-1E01-819E-77BBC8B520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26" name="think-cell data - do not delete" hidden="1">
                        <a:extLst>
                          <a:ext uri="{FF2B5EF4-FFF2-40B4-BE49-F238E27FC236}">
                            <a16:creationId xmlns:a16="http://schemas.microsoft.com/office/drawing/2014/main" id="{1B65E53B-CE1D-1E01-819E-77BBC8B520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ADE7F54B-CF51-C16A-6E67-4396DF44C271}"/>
              </a:ext>
            </a:extLst>
          </p:cNvPr>
          <p:cNvSpPr>
            <a:spLocks noGrp="1"/>
          </p:cNvSpPr>
          <p:nvPr>
            <p:ph type="title"/>
          </p:nvPr>
        </p:nvSpPr>
        <p:spPr/>
        <p:txBody>
          <a:bodyPr vert="horz"/>
          <a:lstStyle/>
          <a:p>
            <a:r>
              <a:rPr lang="en-US"/>
              <a:t>Slide message – Workshop minutes with four key ideas</a:t>
            </a:r>
          </a:p>
        </p:txBody>
      </p:sp>
      <p:sp>
        <p:nvSpPr>
          <p:cNvPr id="3" name="Freeform: Shape 29">
            <a:extLst>
              <a:ext uri="{FF2B5EF4-FFF2-40B4-BE49-F238E27FC236}">
                <a16:creationId xmlns:a16="http://schemas.microsoft.com/office/drawing/2014/main" id="{FF58DB70-3DD6-C816-C535-5B9C6F2F6203}"/>
              </a:ext>
            </a:extLst>
          </p:cNvPr>
          <p:cNvSpPr/>
          <p:nvPr/>
        </p:nvSpPr>
        <p:spPr>
          <a:xfrm>
            <a:off x="4" y="1977075"/>
            <a:ext cx="12191998" cy="596255"/>
          </a:xfrm>
          <a:custGeom>
            <a:avLst/>
            <a:gdLst>
              <a:gd name="connsiteX0" fmla="*/ 0 w 12191998"/>
              <a:gd name="connsiteY0" fmla="*/ 0 h 596255"/>
              <a:gd name="connsiteX1" fmla="*/ 375105 w 12191998"/>
              <a:gd name="connsiteY1" fmla="*/ 59483 h 596255"/>
              <a:gd name="connsiteX2" fmla="*/ 6095999 w 12191998"/>
              <a:gd name="connsiteY2" fmla="*/ 464610 h 596255"/>
              <a:gd name="connsiteX3" fmla="*/ 11816892 w 12191998"/>
              <a:gd name="connsiteY3" fmla="*/ 59483 h 596255"/>
              <a:gd name="connsiteX4" fmla="*/ 12191998 w 12191998"/>
              <a:gd name="connsiteY4" fmla="*/ 0 h 596255"/>
              <a:gd name="connsiteX5" fmla="*/ 12191998 w 12191998"/>
              <a:gd name="connsiteY5" fmla="*/ 128581 h 596255"/>
              <a:gd name="connsiteX6" fmla="*/ 11868134 w 12191998"/>
              <a:gd name="connsiteY6" fmla="*/ 180782 h 596255"/>
              <a:gd name="connsiteX7" fmla="*/ 6095999 w 12191998"/>
              <a:gd name="connsiteY7" fmla="*/ 596255 h 596255"/>
              <a:gd name="connsiteX8" fmla="*/ 323863 w 12191998"/>
              <a:gd name="connsiteY8" fmla="*/ 180782 h 596255"/>
              <a:gd name="connsiteX9" fmla="*/ 0 w 12191998"/>
              <a:gd name="connsiteY9" fmla="*/ 128581 h 59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8" h="596255">
                <a:moveTo>
                  <a:pt x="0" y="0"/>
                </a:moveTo>
                <a:lnTo>
                  <a:pt x="375105" y="59483"/>
                </a:lnTo>
                <a:cubicBezTo>
                  <a:pt x="2133479" y="320354"/>
                  <a:pt x="4066711" y="464610"/>
                  <a:pt x="6095999" y="464610"/>
                </a:cubicBezTo>
                <a:cubicBezTo>
                  <a:pt x="8125287" y="464610"/>
                  <a:pt x="10058519" y="320354"/>
                  <a:pt x="11816892" y="59483"/>
                </a:cubicBezTo>
                <a:lnTo>
                  <a:pt x="12191998" y="0"/>
                </a:lnTo>
                <a:lnTo>
                  <a:pt x="12191998" y="128581"/>
                </a:lnTo>
                <a:lnTo>
                  <a:pt x="11868134" y="180782"/>
                </a:lnTo>
                <a:cubicBezTo>
                  <a:pt x="10094011" y="448315"/>
                  <a:pt x="8143463" y="596255"/>
                  <a:pt x="6095999" y="596255"/>
                </a:cubicBezTo>
                <a:cubicBezTo>
                  <a:pt x="4048534" y="596255"/>
                  <a:pt x="2097986" y="448315"/>
                  <a:pt x="323863" y="180782"/>
                </a:cubicBezTo>
                <a:lnTo>
                  <a:pt x="0" y="128581"/>
                </a:lnTo>
                <a:close/>
              </a:path>
            </a:pathLst>
          </a:custGeom>
          <a:solidFill>
            <a:schemeClr val="tx2"/>
          </a:solidFill>
          <a:ln w="12700">
            <a:miter lim="400000"/>
          </a:ln>
        </p:spPr>
        <p:txBody>
          <a:bodyPr wrap="square" lIns="38100" tIns="38100" rIns="38100" bIns="38100" anchor="ctr">
            <a:noAutofit/>
          </a:bodyPr>
          <a:lstStyle/>
          <a:p>
            <a:endParaRPr lang="en-US" sz="3000">
              <a:solidFill>
                <a:srgbClr val="FFFFFF"/>
              </a:solidFill>
            </a:endParaRPr>
          </a:p>
        </p:txBody>
      </p:sp>
      <p:sp>
        <p:nvSpPr>
          <p:cNvPr id="4" name="Shape">
            <a:extLst>
              <a:ext uri="{FF2B5EF4-FFF2-40B4-BE49-F238E27FC236}">
                <a16:creationId xmlns:a16="http://schemas.microsoft.com/office/drawing/2014/main" id="{1A334799-37FD-2680-2E59-556DF623ED48}"/>
              </a:ext>
            </a:extLst>
          </p:cNvPr>
          <p:cNvSpPr/>
          <p:nvPr/>
        </p:nvSpPr>
        <p:spPr>
          <a:xfrm>
            <a:off x="778109" y="196736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5" name="Shape">
            <a:extLst>
              <a:ext uri="{FF2B5EF4-FFF2-40B4-BE49-F238E27FC236}">
                <a16:creationId xmlns:a16="http://schemas.microsoft.com/office/drawing/2014/main" id="{567343EE-2CE4-708A-D1F9-54E7745ABC40}"/>
              </a:ext>
            </a:extLst>
          </p:cNvPr>
          <p:cNvSpPr/>
          <p:nvPr/>
        </p:nvSpPr>
        <p:spPr>
          <a:xfrm>
            <a:off x="3469069" y="218072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6" name="Shape">
            <a:extLst>
              <a:ext uri="{FF2B5EF4-FFF2-40B4-BE49-F238E27FC236}">
                <a16:creationId xmlns:a16="http://schemas.microsoft.com/office/drawing/2014/main" id="{F50A43A4-46FE-A7EA-ECFF-B7FA93BBD98F}"/>
              </a:ext>
            </a:extLst>
          </p:cNvPr>
          <p:cNvSpPr/>
          <p:nvPr/>
        </p:nvSpPr>
        <p:spPr>
          <a:xfrm>
            <a:off x="6160029" y="221882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7" name="Shape">
            <a:extLst>
              <a:ext uri="{FF2B5EF4-FFF2-40B4-BE49-F238E27FC236}">
                <a16:creationId xmlns:a16="http://schemas.microsoft.com/office/drawing/2014/main" id="{7F5C286A-2BFC-067B-038A-A9E1F6D11FC6}"/>
              </a:ext>
            </a:extLst>
          </p:cNvPr>
          <p:cNvSpPr/>
          <p:nvPr/>
        </p:nvSpPr>
        <p:spPr>
          <a:xfrm>
            <a:off x="8850990" y="2081666"/>
            <a:ext cx="2658575" cy="2854688"/>
          </a:xfrm>
          <a:custGeom>
            <a:avLst/>
            <a:gdLst/>
            <a:ahLst/>
            <a:cxnLst>
              <a:cxn ang="0">
                <a:pos x="wd2" y="hd2"/>
              </a:cxn>
              <a:cxn ang="5400000">
                <a:pos x="wd2" y="hd2"/>
              </a:cxn>
              <a:cxn ang="10800000">
                <a:pos x="wd2" y="hd2"/>
              </a:cxn>
              <a:cxn ang="16200000">
                <a:pos x="wd2" y="hd2"/>
              </a:cxn>
            </a:cxnLst>
            <a:rect l="0" t="0" r="r" b="b"/>
            <a:pathLst>
              <a:path w="20826" h="21600" extrusionOk="0">
                <a:moveTo>
                  <a:pt x="3575" y="0"/>
                </a:moveTo>
                <a:lnTo>
                  <a:pt x="108" y="13909"/>
                </a:lnTo>
                <a:cubicBezTo>
                  <a:pt x="-387" y="15860"/>
                  <a:pt x="870" y="17810"/>
                  <a:pt x="2851" y="18251"/>
                </a:cubicBezTo>
                <a:lnTo>
                  <a:pt x="17251" y="21600"/>
                </a:lnTo>
                <a:lnTo>
                  <a:pt x="20718" y="7691"/>
                </a:lnTo>
                <a:cubicBezTo>
                  <a:pt x="21213" y="5740"/>
                  <a:pt x="19956" y="3790"/>
                  <a:pt x="17975" y="3349"/>
                </a:cubicBezTo>
                <a:lnTo>
                  <a:pt x="3575" y="0"/>
                </a:lnTo>
                <a:close/>
                <a:moveTo>
                  <a:pt x="4108" y="2686"/>
                </a:moveTo>
                <a:cubicBezTo>
                  <a:pt x="4299" y="1950"/>
                  <a:pt x="5061" y="1509"/>
                  <a:pt x="5823" y="1656"/>
                </a:cubicBezTo>
                <a:cubicBezTo>
                  <a:pt x="6584" y="1840"/>
                  <a:pt x="7042" y="2576"/>
                  <a:pt x="6889" y="3312"/>
                </a:cubicBezTo>
                <a:cubicBezTo>
                  <a:pt x="6699" y="4048"/>
                  <a:pt x="5937" y="4489"/>
                  <a:pt x="5175" y="4342"/>
                </a:cubicBezTo>
                <a:cubicBezTo>
                  <a:pt x="4413" y="4158"/>
                  <a:pt x="3918" y="3422"/>
                  <a:pt x="4108" y="2686"/>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pic>
        <p:nvPicPr>
          <p:cNvPr id="8" name="Graphic 34" descr="Briefcase with solid fill">
            <a:extLst>
              <a:ext uri="{FF2B5EF4-FFF2-40B4-BE49-F238E27FC236}">
                <a16:creationId xmlns:a16="http://schemas.microsoft.com/office/drawing/2014/main" id="{0F21D7D2-02E3-80F9-B2E7-5299E06CAE5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9661" y="4178815"/>
            <a:ext cx="545858" cy="545858"/>
          </a:xfrm>
          <a:prstGeom prst="rect">
            <a:avLst/>
          </a:prstGeom>
        </p:spPr>
      </p:pic>
      <p:pic>
        <p:nvPicPr>
          <p:cNvPr id="9" name="Graphic 35" descr="Customer review with solid fill">
            <a:extLst>
              <a:ext uri="{FF2B5EF4-FFF2-40B4-BE49-F238E27FC236}">
                <a16:creationId xmlns:a16="http://schemas.microsoft.com/office/drawing/2014/main" id="{9189BD33-E513-B561-85EC-3EF152D158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7740" y="4277875"/>
            <a:ext cx="545858" cy="545858"/>
          </a:xfrm>
          <a:prstGeom prst="rect">
            <a:avLst/>
          </a:prstGeom>
        </p:spPr>
      </p:pic>
      <p:pic>
        <p:nvPicPr>
          <p:cNvPr id="10" name="Graphic 36" descr="Open folder with solid fill">
            <a:extLst>
              <a:ext uri="{FF2B5EF4-FFF2-40B4-BE49-F238E27FC236}">
                <a16:creationId xmlns:a16="http://schemas.microsoft.com/office/drawing/2014/main" id="{F7D9BFA0-6427-47EF-58B0-CF2CF61E074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8700" y="4315975"/>
            <a:ext cx="545858" cy="545858"/>
          </a:xfrm>
          <a:prstGeom prst="rect">
            <a:avLst/>
          </a:prstGeom>
        </p:spPr>
      </p:pic>
      <p:pic>
        <p:nvPicPr>
          <p:cNvPr id="11" name="Graphic 37" descr="Target Audience with solid fill">
            <a:extLst>
              <a:ext uri="{FF2B5EF4-FFF2-40B4-BE49-F238E27FC236}">
                <a16:creationId xmlns:a16="http://schemas.microsoft.com/office/drawing/2014/main" id="{49141E32-BD9B-5E3C-D11D-2A5BCC3D20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46780" y="4064515"/>
            <a:ext cx="545858" cy="545858"/>
          </a:xfrm>
          <a:prstGeom prst="rect">
            <a:avLst/>
          </a:prstGeom>
        </p:spPr>
      </p:pic>
      <p:sp>
        <p:nvSpPr>
          <p:cNvPr id="12" name="TextBox 39">
            <a:extLst>
              <a:ext uri="{FF2B5EF4-FFF2-40B4-BE49-F238E27FC236}">
                <a16:creationId xmlns:a16="http://schemas.microsoft.com/office/drawing/2014/main" id="{0D27B932-20DD-32F5-75DC-932235B51706}"/>
              </a:ext>
            </a:extLst>
          </p:cNvPr>
          <p:cNvSpPr txBox="1"/>
          <p:nvPr/>
        </p:nvSpPr>
        <p:spPr>
          <a:xfrm>
            <a:off x="1131856" y="2716569"/>
            <a:ext cx="1920240" cy="400110"/>
          </a:xfrm>
          <a:prstGeom prst="rect">
            <a:avLst/>
          </a:prstGeom>
          <a:noFill/>
        </p:spPr>
        <p:txBody>
          <a:bodyPr wrap="square" lIns="0" rIns="0" rtlCol="0" anchor="b">
            <a:spAutoFit/>
          </a:bodyPr>
          <a:lstStyle/>
          <a:p>
            <a:pPr algn="ctr"/>
            <a:r>
              <a:rPr lang="en-US" sz="2000" b="1" noProof="1">
                <a:solidFill>
                  <a:schemeClr val="bg1"/>
                </a:solidFill>
              </a:rPr>
              <a:t>Lorem Ipsum</a:t>
            </a:r>
          </a:p>
        </p:txBody>
      </p:sp>
      <p:sp>
        <p:nvSpPr>
          <p:cNvPr id="13" name="TextBox 40">
            <a:extLst>
              <a:ext uri="{FF2B5EF4-FFF2-40B4-BE49-F238E27FC236}">
                <a16:creationId xmlns:a16="http://schemas.microsoft.com/office/drawing/2014/main" id="{28F1FCC2-A6C0-A436-1FF9-DC3ED9891BA6}"/>
              </a:ext>
            </a:extLst>
          </p:cNvPr>
          <p:cNvSpPr txBox="1"/>
          <p:nvPr/>
        </p:nvSpPr>
        <p:spPr>
          <a:xfrm>
            <a:off x="1131856" y="311417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14" name="TextBox 42">
            <a:extLst>
              <a:ext uri="{FF2B5EF4-FFF2-40B4-BE49-F238E27FC236}">
                <a16:creationId xmlns:a16="http://schemas.microsoft.com/office/drawing/2014/main" id="{A06AD41A-F79A-EED6-786B-F8EE3A09F150}"/>
              </a:ext>
            </a:extLst>
          </p:cNvPr>
          <p:cNvSpPr txBox="1"/>
          <p:nvPr/>
        </p:nvSpPr>
        <p:spPr>
          <a:xfrm>
            <a:off x="3824419" y="2966519"/>
            <a:ext cx="1920240" cy="400110"/>
          </a:xfrm>
          <a:prstGeom prst="rect">
            <a:avLst/>
          </a:prstGeom>
          <a:noFill/>
        </p:spPr>
        <p:txBody>
          <a:bodyPr wrap="square" lIns="0" rIns="0" rtlCol="0" anchor="b">
            <a:spAutoFit/>
          </a:bodyPr>
          <a:lstStyle>
            <a:defPPr>
              <a:defRPr lang="en-US"/>
            </a:defPPr>
            <a:lvl1pPr algn="ctr">
              <a:defRPr sz="2000" b="1"/>
            </a:lvl1pPr>
          </a:lstStyle>
          <a:p>
            <a:r>
              <a:rPr lang="en-US" noProof="1">
                <a:solidFill>
                  <a:schemeClr val="bg1"/>
                </a:solidFill>
              </a:rPr>
              <a:t>Lorem Ipsum</a:t>
            </a:r>
          </a:p>
        </p:txBody>
      </p:sp>
      <p:sp>
        <p:nvSpPr>
          <p:cNvPr id="15" name="TextBox 43">
            <a:extLst>
              <a:ext uri="{FF2B5EF4-FFF2-40B4-BE49-F238E27FC236}">
                <a16:creationId xmlns:a16="http://schemas.microsoft.com/office/drawing/2014/main" id="{C25DB308-3F64-56D1-980A-F3E345923FE8}"/>
              </a:ext>
            </a:extLst>
          </p:cNvPr>
          <p:cNvSpPr txBox="1"/>
          <p:nvPr/>
        </p:nvSpPr>
        <p:spPr>
          <a:xfrm>
            <a:off x="3824419" y="336412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16" name="TextBox 45">
            <a:extLst>
              <a:ext uri="{FF2B5EF4-FFF2-40B4-BE49-F238E27FC236}">
                <a16:creationId xmlns:a16="http://schemas.microsoft.com/office/drawing/2014/main" id="{BF7A4C4B-2335-8C2F-B3AB-A9D184765B6F}"/>
              </a:ext>
            </a:extLst>
          </p:cNvPr>
          <p:cNvSpPr txBox="1"/>
          <p:nvPr/>
        </p:nvSpPr>
        <p:spPr>
          <a:xfrm>
            <a:off x="6547764" y="2988229"/>
            <a:ext cx="1920240" cy="400110"/>
          </a:xfrm>
          <a:prstGeom prst="rect">
            <a:avLst/>
          </a:prstGeom>
          <a:noFill/>
        </p:spPr>
        <p:txBody>
          <a:bodyPr wrap="square" lIns="0" rIns="0" rtlCol="0" anchor="b">
            <a:spAutoFit/>
          </a:bodyPr>
          <a:lstStyle>
            <a:defPPr>
              <a:defRPr lang="en-US"/>
            </a:defPPr>
            <a:lvl1pPr algn="ctr">
              <a:defRPr sz="2000" b="1"/>
            </a:lvl1pPr>
          </a:lstStyle>
          <a:p>
            <a:r>
              <a:rPr lang="en-US" noProof="1">
                <a:solidFill>
                  <a:schemeClr val="bg1"/>
                </a:solidFill>
              </a:rPr>
              <a:t>Lorem Ipsum</a:t>
            </a:r>
          </a:p>
        </p:txBody>
      </p:sp>
      <p:sp>
        <p:nvSpPr>
          <p:cNvPr id="17" name="TextBox 46">
            <a:extLst>
              <a:ext uri="{FF2B5EF4-FFF2-40B4-BE49-F238E27FC236}">
                <a16:creationId xmlns:a16="http://schemas.microsoft.com/office/drawing/2014/main" id="{E245C154-4D04-8770-7C3A-47EEC478A0E0}"/>
              </a:ext>
            </a:extLst>
          </p:cNvPr>
          <p:cNvSpPr txBox="1"/>
          <p:nvPr/>
        </p:nvSpPr>
        <p:spPr>
          <a:xfrm>
            <a:off x="6547764" y="338583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18" name="TextBox 48">
            <a:extLst>
              <a:ext uri="{FF2B5EF4-FFF2-40B4-BE49-F238E27FC236}">
                <a16:creationId xmlns:a16="http://schemas.microsoft.com/office/drawing/2014/main" id="{4A717D30-E4A4-BF1F-C013-1F45E7D9079C}"/>
              </a:ext>
            </a:extLst>
          </p:cNvPr>
          <p:cNvSpPr txBox="1"/>
          <p:nvPr/>
        </p:nvSpPr>
        <p:spPr>
          <a:xfrm>
            <a:off x="9271110" y="2830869"/>
            <a:ext cx="1920240" cy="400110"/>
          </a:xfrm>
          <a:prstGeom prst="rect">
            <a:avLst/>
          </a:prstGeom>
          <a:noFill/>
        </p:spPr>
        <p:txBody>
          <a:bodyPr wrap="square" lIns="0" rIns="0" rtlCol="0" anchor="b">
            <a:spAutoFit/>
          </a:bodyPr>
          <a:lstStyle/>
          <a:p>
            <a:pPr algn="ctr"/>
            <a:r>
              <a:rPr lang="en-US" sz="2000" b="1" noProof="1">
                <a:solidFill>
                  <a:schemeClr val="bg1"/>
                </a:solidFill>
              </a:rPr>
              <a:t>Lorem Ipsum</a:t>
            </a:r>
          </a:p>
        </p:txBody>
      </p:sp>
      <p:sp>
        <p:nvSpPr>
          <p:cNvPr id="19" name="TextBox 49">
            <a:extLst>
              <a:ext uri="{FF2B5EF4-FFF2-40B4-BE49-F238E27FC236}">
                <a16:creationId xmlns:a16="http://schemas.microsoft.com/office/drawing/2014/main" id="{95E4542D-6ABA-EA05-D0CE-63F7E290DA4D}"/>
              </a:ext>
            </a:extLst>
          </p:cNvPr>
          <p:cNvSpPr txBox="1"/>
          <p:nvPr/>
        </p:nvSpPr>
        <p:spPr>
          <a:xfrm>
            <a:off x="9271110" y="3228470"/>
            <a:ext cx="1920240" cy="738664"/>
          </a:xfrm>
          <a:prstGeom prst="rect">
            <a:avLst/>
          </a:prstGeom>
          <a:noFill/>
        </p:spPr>
        <p:txBody>
          <a:bodyPr wrap="square" lIns="0" rIns="0" rtlCol="0" anchor="t">
            <a:spAutoFit/>
          </a:bodyPr>
          <a:lstStyle/>
          <a:p>
            <a:pPr algn="ctr"/>
            <a:r>
              <a:rPr lang="en-US" sz="1400" noProof="1">
                <a:solidFill>
                  <a:schemeClr val="bg1"/>
                </a:solidFill>
              </a:rPr>
              <a:t>Lorem ipsum dolor sit amet, nibh est. A magna maecenas, quam. </a:t>
            </a:r>
          </a:p>
        </p:txBody>
      </p:sp>
      <p:sp>
        <p:nvSpPr>
          <p:cNvPr id="20" name="Freeform: Shape 50">
            <a:extLst>
              <a:ext uri="{FF2B5EF4-FFF2-40B4-BE49-F238E27FC236}">
                <a16:creationId xmlns:a16="http://schemas.microsoft.com/office/drawing/2014/main" id="{555D171A-520B-7DD6-197C-E8F5A5B38AAD}"/>
              </a:ext>
            </a:extLst>
          </p:cNvPr>
          <p:cNvSpPr/>
          <p:nvPr/>
        </p:nvSpPr>
        <p:spPr>
          <a:xfrm>
            <a:off x="1085849" y="2148841"/>
            <a:ext cx="418749" cy="144541"/>
          </a:xfrm>
          <a:custGeom>
            <a:avLst/>
            <a:gdLst>
              <a:gd name="connsiteX0" fmla="*/ 30277 w 344087"/>
              <a:gd name="connsiteY0" fmla="*/ 0 h 144541"/>
              <a:gd name="connsiteX1" fmla="*/ 344087 w 344087"/>
              <a:gd name="connsiteY1" fmla="*/ 37244 h 144541"/>
              <a:gd name="connsiteX2" fmla="*/ 289125 w 344087"/>
              <a:gd name="connsiteY2" fmla="*/ 36781 h 144541"/>
              <a:gd name="connsiteX3" fmla="*/ 172826 w 344087"/>
              <a:gd name="connsiteY3" fmla="*/ 108474 h 144541"/>
              <a:gd name="connsiteX4" fmla="*/ 155738 w 344087"/>
              <a:gd name="connsiteY4" fmla="*/ 144541 h 144541"/>
              <a:gd name="connsiteX5" fmla="*/ 0 w 344087"/>
              <a:gd name="connsiteY5" fmla="*/ 125754 h 144541"/>
              <a:gd name="connsiteX6" fmla="*/ 30277 w 344087"/>
              <a:gd name="connsiteY6" fmla="*/ 0 h 144541"/>
              <a:gd name="connsiteX0" fmla="*/ 30277 w 344087"/>
              <a:gd name="connsiteY0" fmla="*/ 0 h 144541"/>
              <a:gd name="connsiteX1" fmla="*/ 344087 w 344087"/>
              <a:gd name="connsiteY1" fmla="*/ 37244 h 144541"/>
              <a:gd name="connsiteX2" fmla="*/ 289125 w 344087"/>
              <a:gd name="connsiteY2" fmla="*/ 36781 h 144541"/>
              <a:gd name="connsiteX3" fmla="*/ 172826 w 344087"/>
              <a:gd name="connsiteY3" fmla="*/ 108474 h 144541"/>
              <a:gd name="connsiteX4" fmla="*/ 155738 w 344087"/>
              <a:gd name="connsiteY4" fmla="*/ 144541 h 144541"/>
              <a:gd name="connsiteX5" fmla="*/ 0 w 344087"/>
              <a:gd name="connsiteY5" fmla="*/ 125754 h 144541"/>
              <a:gd name="connsiteX6" fmla="*/ 13445 w 344087"/>
              <a:gd name="connsiteY6" fmla="*/ 53815 h 144541"/>
              <a:gd name="connsiteX7" fmla="*/ 30277 w 344087"/>
              <a:gd name="connsiteY7" fmla="*/ 0 h 144541"/>
              <a:gd name="connsiteX0" fmla="*/ 104939 w 418749"/>
              <a:gd name="connsiteY0" fmla="*/ 0 h 144541"/>
              <a:gd name="connsiteX1" fmla="*/ 418749 w 418749"/>
              <a:gd name="connsiteY1" fmla="*/ 37244 h 144541"/>
              <a:gd name="connsiteX2" fmla="*/ 363787 w 418749"/>
              <a:gd name="connsiteY2" fmla="*/ 36781 h 144541"/>
              <a:gd name="connsiteX3" fmla="*/ 247488 w 418749"/>
              <a:gd name="connsiteY3" fmla="*/ 108474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 name="connsiteX0" fmla="*/ 104939 w 418749"/>
              <a:gd name="connsiteY0" fmla="*/ 0 h 144541"/>
              <a:gd name="connsiteX1" fmla="*/ 418749 w 418749"/>
              <a:gd name="connsiteY1" fmla="*/ 37244 h 144541"/>
              <a:gd name="connsiteX2" fmla="*/ 387599 w 418749"/>
              <a:gd name="connsiteY2" fmla="*/ 72500 h 144541"/>
              <a:gd name="connsiteX3" fmla="*/ 247488 w 418749"/>
              <a:gd name="connsiteY3" fmla="*/ 108474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 name="connsiteX0" fmla="*/ 104939 w 418749"/>
              <a:gd name="connsiteY0" fmla="*/ 0 h 144541"/>
              <a:gd name="connsiteX1" fmla="*/ 418749 w 418749"/>
              <a:gd name="connsiteY1" fmla="*/ 37244 h 144541"/>
              <a:gd name="connsiteX2" fmla="*/ 387599 w 418749"/>
              <a:gd name="connsiteY2" fmla="*/ 72500 h 144541"/>
              <a:gd name="connsiteX3" fmla="*/ 290351 w 418749"/>
              <a:gd name="connsiteY3" fmla="*/ 120380 h 144541"/>
              <a:gd name="connsiteX4" fmla="*/ 230400 w 418749"/>
              <a:gd name="connsiteY4" fmla="*/ 144541 h 144541"/>
              <a:gd name="connsiteX5" fmla="*/ 74662 w 418749"/>
              <a:gd name="connsiteY5" fmla="*/ 125754 h 144541"/>
              <a:gd name="connsiteX6" fmla="*/ 0 w 418749"/>
              <a:gd name="connsiteY6" fmla="*/ 49052 h 144541"/>
              <a:gd name="connsiteX7" fmla="*/ 104939 w 418749"/>
              <a:gd name="connsiteY7" fmla="*/ 0 h 1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749" h="144541">
                <a:moveTo>
                  <a:pt x="104939" y="0"/>
                </a:moveTo>
                <a:lnTo>
                  <a:pt x="418749" y="37244"/>
                </a:lnTo>
                <a:lnTo>
                  <a:pt x="387599" y="72500"/>
                </a:lnTo>
                <a:cubicBezTo>
                  <a:pt x="341240" y="81004"/>
                  <a:pt x="318488" y="82702"/>
                  <a:pt x="290351" y="120380"/>
                </a:cubicBezTo>
                <a:lnTo>
                  <a:pt x="230400" y="144541"/>
                </a:lnTo>
                <a:lnTo>
                  <a:pt x="74662" y="125754"/>
                </a:lnTo>
                <a:lnTo>
                  <a:pt x="0" y="49052"/>
                </a:lnTo>
                <a:lnTo>
                  <a:pt x="104939" y="0"/>
                </a:lnTo>
                <a:close/>
              </a:path>
            </a:pathLst>
          </a:custGeom>
          <a:solidFill>
            <a:schemeClr val="tx2"/>
          </a:solidFill>
          <a:ln w="12700">
            <a:miter lim="400000"/>
          </a:ln>
        </p:spPr>
        <p:txBody>
          <a:bodyPr wrap="square" lIns="38100" tIns="38100" rIns="38100" bIns="38100" anchor="ctr">
            <a:noAutofit/>
          </a:bodyPr>
          <a:lstStyle/>
          <a:p>
            <a:endParaRPr sz="3000">
              <a:solidFill>
                <a:srgbClr val="FFFFFF"/>
              </a:solidFill>
            </a:endParaRPr>
          </a:p>
        </p:txBody>
      </p:sp>
      <p:sp>
        <p:nvSpPr>
          <p:cNvPr id="21" name="Freeform: Shape 51">
            <a:extLst>
              <a:ext uri="{FF2B5EF4-FFF2-40B4-BE49-F238E27FC236}">
                <a16:creationId xmlns:a16="http://schemas.microsoft.com/office/drawing/2014/main" id="{D12FF082-9A39-FF37-1B26-93DAAC25D5D5}"/>
              </a:ext>
            </a:extLst>
          </p:cNvPr>
          <p:cNvSpPr/>
          <p:nvPr/>
        </p:nvSpPr>
        <p:spPr>
          <a:xfrm>
            <a:off x="3762375" y="2385487"/>
            <a:ext cx="425460" cy="136656"/>
          </a:xfrm>
          <a:custGeom>
            <a:avLst/>
            <a:gdLst>
              <a:gd name="connsiteX0" fmla="*/ 31212 w 342905"/>
              <a:gd name="connsiteY0" fmla="*/ 0 h 136656"/>
              <a:gd name="connsiteX1" fmla="*/ 342905 w 342905"/>
              <a:gd name="connsiteY1" fmla="*/ 13892 h 136656"/>
              <a:gd name="connsiteX2" fmla="*/ 295666 w 342905"/>
              <a:gd name="connsiteY2" fmla="*/ 13494 h 136656"/>
              <a:gd name="connsiteX3" fmla="*/ 179367 w 342905"/>
              <a:gd name="connsiteY3" fmla="*/ 85187 h 136656"/>
              <a:gd name="connsiteX4" fmla="*/ 154981 w 342905"/>
              <a:gd name="connsiteY4" fmla="*/ 136656 h 136656"/>
              <a:gd name="connsiteX5" fmla="*/ 0 w 342905"/>
              <a:gd name="connsiteY5" fmla="*/ 129635 h 136656"/>
              <a:gd name="connsiteX6" fmla="*/ 31212 w 342905"/>
              <a:gd name="connsiteY6" fmla="*/ 0 h 136656"/>
              <a:gd name="connsiteX0" fmla="*/ 31212 w 342905"/>
              <a:gd name="connsiteY0" fmla="*/ 0 h 136656"/>
              <a:gd name="connsiteX1" fmla="*/ 342905 w 342905"/>
              <a:gd name="connsiteY1" fmla="*/ 13892 h 136656"/>
              <a:gd name="connsiteX2" fmla="*/ 295666 w 342905"/>
              <a:gd name="connsiteY2" fmla="*/ 13494 h 136656"/>
              <a:gd name="connsiteX3" fmla="*/ 179367 w 342905"/>
              <a:gd name="connsiteY3" fmla="*/ 85187 h 136656"/>
              <a:gd name="connsiteX4" fmla="*/ 154981 w 342905"/>
              <a:gd name="connsiteY4" fmla="*/ 136656 h 136656"/>
              <a:gd name="connsiteX5" fmla="*/ 0 w 342905"/>
              <a:gd name="connsiteY5" fmla="*/ 129635 h 136656"/>
              <a:gd name="connsiteX6" fmla="*/ 12695 w 342905"/>
              <a:gd name="connsiteY6" fmla="*/ 67201 h 136656"/>
              <a:gd name="connsiteX7" fmla="*/ 31212 w 342905"/>
              <a:gd name="connsiteY7" fmla="*/ 0 h 136656"/>
              <a:gd name="connsiteX0" fmla="*/ 113767 w 425460"/>
              <a:gd name="connsiteY0" fmla="*/ 0 h 136656"/>
              <a:gd name="connsiteX1" fmla="*/ 425460 w 425460"/>
              <a:gd name="connsiteY1" fmla="*/ 13892 h 136656"/>
              <a:gd name="connsiteX2" fmla="*/ 378221 w 425460"/>
              <a:gd name="connsiteY2" fmla="*/ 13494 h 136656"/>
              <a:gd name="connsiteX3" fmla="*/ 261922 w 425460"/>
              <a:gd name="connsiteY3" fmla="*/ 85187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 name="connsiteX0" fmla="*/ 113767 w 425460"/>
              <a:gd name="connsiteY0" fmla="*/ 0 h 136656"/>
              <a:gd name="connsiteX1" fmla="*/ 425460 w 425460"/>
              <a:gd name="connsiteY1" fmla="*/ 13892 h 136656"/>
              <a:gd name="connsiteX2" fmla="*/ 378221 w 425460"/>
              <a:gd name="connsiteY2" fmla="*/ 13494 h 136656"/>
              <a:gd name="connsiteX3" fmla="*/ 323835 w 425460"/>
              <a:gd name="connsiteY3" fmla="*/ 101856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 name="connsiteX0" fmla="*/ 113767 w 425460"/>
              <a:gd name="connsiteY0" fmla="*/ 0 h 136656"/>
              <a:gd name="connsiteX1" fmla="*/ 425460 w 425460"/>
              <a:gd name="connsiteY1" fmla="*/ 13892 h 136656"/>
              <a:gd name="connsiteX2" fmla="*/ 392509 w 425460"/>
              <a:gd name="connsiteY2" fmla="*/ 61119 h 136656"/>
              <a:gd name="connsiteX3" fmla="*/ 323835 w 425460"/>
              <a:gd name="connsiteY3" fmla="*/ 101856 h 136656"/>
              <a:gd name="connsiteX4" fmla="*/ 237536 w 425460"/>
              <a:gd name="connsiteY4" fmla="*/ 136656 h 136656"/>
              <a:gd name="connsiteX5" fmla="*/ 82555 w 425460"/>
              <a:gd name="connsiteY5" fmla="*/ 129635 h 136656"/>
              <a:gd name="connsiteX6" fmla="*/ 0 w 425460"/>
              <a:gd name="connsiteY6" fmla="*/ 64819 h 136656"/>
              <a:gd name="connsiteX7" fmla="*/ 113767 w 425460"/>
              <a:gd name="connsiteY7" fmla="*/ 0 h 13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460" h="136656">
                <a:moveTo>
                  <a:pt x="113767" y="0"/>
                </a:moveTo>
                <a:lnTo>
                  <a:pt x="425460" y="13892"/>
                </a:lnTo>
                <a:lnTo>
                  <a:pt x="392509" y="61119"/>
                </a:lnTo>
                <a:cubicBezTo>
                  <a:pt x="346150" y="69623"/>
                  <a:pt x="351972" y="64178"/>
                  <a:pt x="323835" y="101856"/>
                </a:cubicBezTo>
                <a:lnTo>
                  <a:pt x="237536" y="136656"/>
                </a:lnTo>
                <a:lnTo>
                  <a:pt x="82555" y="129635"/>
                </a:lnTo>
                <a:lnTo>
                  <a:pt x="0" y="64819"/>
                </a:lnTo>
                <a:lnTo>
                  <a:pt x="113767" y="0"/>
                </a:lnTo>
                <a:close/>
              </a:path>
            </a:pathLst>
          </a:custGeom>
          <a:solidFill>
            <a:schemeClr val="tx2"/>
          </a:solidFill>
          <a:ln w="12700">
            <a:miter lim="400000"/>
          </a:ln>
        </p:spPr>
        <p:txBody>
          <a:bodyPr wrap="square" lIns="38100" tIns="38100" rIns="38100" bIns="38100" anchor="ctr">
            <a:noAutofit/>
          </a:bodyPr>
          <a:lstStyle/>
          <a:p>
            <a:endParaRPr lang="fr-FR" sz="3000">
              <a:solidFill>
                <a:schemeClr val="bg1"/>
              </a:solidFill>
            </a:endParaRPr>
          </a:p>
        </p:txBody>
      </p:sp>
      <p:sp>
        <p:nvSpPr>
          <p:cNvPr id="22" name="Freeform: Shape 54">
            <a:extLst>
              <a:ext uri="{FF2B5EF4-FFF2-40B4-BE49-F238E27FC236}">
                <a16:creationId xmlns:a16="http://schemas.microsoft.com/office/drawing/2014/main" id="{0A9C63F4-ED49-4339-A2A7-3DE439F1D794}"/>
              </a:ext>
            </a:extLst>
          </p:cNvPr>
          <p:cNvSpPr/>
          <p:nvPr/>
        </p:nvSpPr>
        <p:spPr>
          <a:xfrm>
            <a:off x="6503192" y="2437554"/>
            <a:ext cx="327131" cy="134233"/>
          </a:xfrm>
          <a:custGeom>
            <a:avLst/>
            <a:gdLst>
              <a:gd name="connsiteX0" fmla="*/ 298904 w 298904"/>
              <a:gd name="connsiteY0" fmla="*/ 0 h 134233"/>
              <a:gd name="connsiteX1" fmla="*/ 235153 w 298904"/>
              <a:gd name="connsiteY1" fmla="*/ 24434 h 134233"/>
              <a:gd name="connsiteX2" fmla="*/ 183837 w 298904"/>
              <a:gd name="connsiteY2" fmla="*/ 71221 h 134233"/>
              <a:gd name="connsiteX3" fmla="*/ 154643 w 298904"/>
              <a:gd name="connsiteY3" fmla="*/ 132839 h 134233"/>
              <a:gd name="connsiteX4" fmla="*/ 0 w 298904"/>
              <a:gd name="connsiteY4" fmla="*/ 134233 h 134233"/>
              <a:gd name="connsiteX5" fmla="*/ 31749 w 298904"/>
              <a:gd name="connsiteY5" fmla="*/ 2370 h 134233"/>
              <a:gd name="connsiteX6" fmla="*/ 298904 w 298904"/>
              <a:gd name="connsiteY6" fmla="*/ 0 h 134233"/>
              <a:gd name="connsiteX0" fmla="*/ 298904 w 298904"/>
              <a:gd name="connsiteY0" fmla="*/ 0 h 134233"/>
              <a:gd name="connsiteX1" fmla="*/ 235153 w 298904"/>
              <a:gd name="connsiteY1" fmla="*/ 24434 h 134233"/>
              <a:gd name="connsiteX2" fmla="*/ 183837 w 298904"/>
              <a:gd name="connsiteY2" fmla="*/ 71221 h 134233"/>
              <a:gd name="connsiteX3" fmla="*/ 154643 w 298904"/>
              <a:gd name="connsiteY3" fmla="*/ 132839 h 134233"/>
              <a:gd name="connsiteX4" fmla="*/ 0 w 298904"/>
              <a:gd name="connsiteY4" fmla="*/ 134233 h 134233"/>
              <a:gd name="connsiteX5" fmla="*/ 14636 w 298904"/>
              <a:gd name="connsiteY5" fmla="*/ 60377 h 134233"/>
              <a:gd name="connsiteX6" fmla="*/ 31749 w 298904"/>
              <a:gd name="connsiteY6" fmla="*/ 2370 h 134233"/>
              <a:gd name="connsiteX7" fmla="*/ 298904 w 298904"/>
              <a:gd name="connsiteY7" fmla="*/ 0 h 134233"/>
              <a:gd name="connsiteX0" fmla="*/ 327131 w 327131"/>
              <a:gd name="connsiteY0" fmla="*/ 0 h 134233"/>
              <a:gd name="connsiteX1" fmla="*/ 263380 w 327131"/>
              <a:gd name="connsiteY1" fmla="*/ 24434 h 134233"/>
              <a:gd name="connsiteX2" fmla="*/ 212064 w 327131"/>
              <a:gd name="connsiteY2" fmla="*/ 71221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 name="connsiteX0" fmla="*/ 327131 w 327131"/>
              <a:gd name="connsiteY0" fmla="*/ 0 h 134233"/>
              <a:gd name="connsiteX1" fmla="*/ 263380 w 327131"/>
              <a:gd name="connsiteY1" fmla="*/ 24434 h 134233"/>
              <a:gd name="connsiteX2" fmla="*/ 252545 w 327131"/>
              <a:gd name="connsiteY2" fmla="*/ 85508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 name="connsiteX0" fmla="*/ 327131 w 327131"/>
              <a:gd name="connsiteY0" fmla="*/ 0 h 134233"/>
              <a:gd name="connsiteX1" fmla="*/ 306243 w 327131"/>
              <a:gd name="connsiteY1" fmla="*/ 48246 h 134233"/>
              <a:gd name="connsiteX2" fmla="*/ 252545 w 327131"/>
              <a:gd name="connsiteY2" fmla="*/ 85508 h 134233"/>
              <a:gd name="connsiteX3" fmla="*/ 182870 w 327131"/>
              <a:gd name="connsiteY3" fmla="*/ 132839 h 134233"/>
              <a:gd name="connsiteX4" fmla="*/ 28227 w 327131"/>
              <a:gd name="connsiteY4" fmla="*/ 134233 h 134233"/>
              <a:gd name="connsiteX5" fmla="*/ 0 w 327131"/>
              <a:gd name="connsiteY5" fmla="*/ 62758 h 134233"/>
              <a:gd name="connsiteX6" fmla="*/ 59976 w 327131"/>
              <a:gd name="connsiteY6" fmla="*/ 2370 h 134233"/>
              <a:gd name="connsiteX7" fmla="*/ 327131 w 327131"/>
              <a:gd name="connsiteY7" fmla="*/ 0 h 13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131" h="134233">
                <a:moveTo>
                  <a:pt x="327131" y="0"/>
                </a:moveTo>
                <a:lnTo>
                  <a:pt x="306243" y="48246"/>
                </a:lnTo>
                <a:cubicBezTo>
                  <a:pt x="286481" y="60397"/>
                  <a:pt x="266614" y="66669"/>
                  <a:pt x="252545" y="85508"/>
                </a:cubicBezTo>
                <a:lnTo>
                  <a:pt x="182870" y="132839"/>
                </a:lnTo>
                <a:lnTo>
                  <a:pt x="28227" y="134233"/>
                </a:lnTo>
                <a:lnTo>
                  <a:pt x="0" y="62758"/>
                </a:lnTo>
                <a:lnTo>
                  <a:pt x="59976" y="2370"/>
                </a:lnTo>
                <a:lnTo>
                  <a:pt x="327131" y="0"/>
                </a:lnTo>
                <a:close/>
              </a:path>
            </a:pathLst>
          </a:custGeom>
          <a:solidFill>
            <a:schemeClr val="tx2"/>
          </a:solidFill>
          <a:ln w="12700">
            <a:miter lim="400000"/>
          </a:ln>
        </p:spPr>
        <p:txBody>
          <a:bodyPr wrap="square" lIns="38100" tIns="38100" rIns="38100" bIns="38100" anchor="ctr">
            <a:noAutofit/>
          </a:bodyPr>
          <a:lstStyle/>
          <a:p>
            <a:endParaRPr lang="fr-FR" sz="3000">
              <a:solidFill>
                <a:schemeClr val="bg1"/>
              </a:solidFill>
            </a:endParaRPr>
          </a:p>
        </p:txBody>
      </p:sp>
      <p:sp>
        <p:nvSpPr>
          <p:cNvPr id="23" name="Freeform: Shape 56">
            <a:extLst>
              <a:ext uri="{FF2B5EF4-FFF2-40B4-BE49-F238E27FC236}">
                <a16:creationId xmlns:a16="http://schemas.microsoft.com/office/drawing/2014/main" id="{B6B7472E-319D-8740-69EA-1C3209BFEFAD}"/>
              </a:ext>
            </a:extLst>
          </p:cNvPr>
          <p:cNvSpPr/>
          <p:nvPr/>
        </p:nvSpPr>
        <p:spPr>
          <a:xfrm>
            <a:off x="9153525" y="2302211"/>
            <a:ext cx="365921" cy="155200"/>
          </a:xfrm>
          <a:custGeom>
            <a:avLst/>
            <a:gdLst>
              <a:gd name="connsiteX0" fmla="*/ 299647 w 299647"/>
              <a:gd name="connsiteY0" fmla="*/ 0 h 155200"/>
              <a:gd name="connsiteX1" fmla="*/ 240639 w 299647"/>
              <a:gd name="connsiteY1" fmla="*/ 22616 h 155200"/>
              <a:gd name="connsiteX2" fmla="*/ 158508 w 299647"/>
              <a:gd name="connsiteY2" fmla="*/ 134441 h 155200"/>
              <a:gd name="connsiteX3" fmla="*/ 157412 w 299647"/>
              <a:gd name="connsiteY3" fmla="*/ 142247 h 155200"/>
              <a:gd name="connsiteX4" fmla="*/ 0 w 299647"/>
              <a:gd name="connsiteY4" fmla="*/ 155200 h 155200"/>
              <a:gd name="connsiteX5" fmla="*/ 32153 w 299647"/>
              <a:gd name="connsiteY5" fmla="*/ 21655 h 155200"/>
              <a:gd name="connsiteX6" fmla="*/ 299647 w 299647"/>
              <a:gd name="connsiteY6" fmla="*/ 0 h 155200"/>
              <a:gd name="connsiteX0" fmla="*/ 299647 w 299647"/>
              <a:gd name="connsiteY0" fmla="*/ 0 h 155200"/>
              <a:gd name="connsiteX1" fmla="*/ 240639 w 299647"/>
              <a:gd name="connsiteY1" fmla="*/ 22616 h 155200"/>
              <a:gd name="connsiteX2" fmla="*/ 158508 w 299647"/>
              <a:gd name="connsiteY2" fmla="*/ 134441 h 155200"/>
              <a:gd name="connsiteX3" fmla="*/ 157412 w 299647"/>
              <a:gd name="connsiteY3" fmla="*/ 142247 h 155200"/>
              <a:gd name="connsiteX4" fmla="*/ 0 w 299647"/>
              <a:gd name="connsiteY4" fmla="*/ 155200 h 155200"/>
              <a:gd name="connsiteX5" fmla="*/ 12830 w 299647"/>
              <a:gd name="connsiteY5" fmla="*/ 81420 h 155200"/>
              <a:gd name="connsiteX6" fmla="*/ 32153 w 299647"/>
              <a:gd name="connsiteY6" fmla="*/ 21655 h 155200"/>
              <a:gd name="connsiteX7" fmla="*/ 299647 w 299647"/>
              <a:gd name="connsiteY7" fmla="*/ 0 h 155200"/>
              <a:gd name="connsiteX0" fmla="*/ 363017 w 363017"/>
              <a:gd name="connsiteY0" fmla="*/ 0 h 155200"/>
              <a:gd name="connsiteX1" fmla="*/ 304009 w 363017"/>
              <a:gd name="connsiteY1" fmla="*/ 22616 h 155200"/>
              <a:gd name="connsiteX2" fmla="*/ 221878 w 363017"/>
              <a:gd name="connsiteY2" fmla="*/ 134441 h 155200"/>
              <a:gd name="connsiteX3" fmla="*/ 220782 w 363017"/>
              <a:gd name="connsiteY3" fmla="*/ 142247 h 155200"/>
              <a:gd name="connsiteX4" fmla="*/ 63370 w 363017"/>
              <a:gd name="connsiteY4" fmla="*/ 155200 h 155200"/>
              <a:gd name="connsiteX5" fmla="*/ 0 w 363017"/>
              <a:gd name="connsiteY5" fmla="*/ 83801 h 155200"/>
              <a:gd name="connsiteX6" fmla="*/ 95523 w 363017"/>
              <a:gd name="connsiteY6" fmla="*/ 21655 h 155200"/>
              <a:gd name="connsiteX7" fmla="*/ 363017 w 363017"/>
              <a:gd name="connsiteY7" fmla="*/ 0 h 155200"/>
              <a:gd name="connsiteX0" fmla="*/ 363017 w 365921"/>
              <a:gd name="connsiteY0" fmla="*/ 0 h 155200"/>
              <a:gd name="connsiteX1" fmla="*/ 365921 w 365921"/>
              <a:gd name="connsiteY1" fmla="*/ 58335 h 155200"/>
              <a:gd name="connsiteX2" fmla="*/ 221878 w 365921"/>
              <a:gd name="connsiteY2" fmla="*/ 134441 h 155200"/>
              <a:gd name="connsiteX3" fmla="*/ 220782 w 365921"/>
              <a:gd name="connsiteY3" fmla="*/ 142247 h 155200"/>
              <a:gd name="connsiteX4" fmla="*/ 63370 w 365921"/>
              <a:gd name="connsiteY4" fmla="*/ 155200 h 155200"/>
              <a:gd name="connsiteX5" fmla="*/ 0 w 365921"/>
              <a:gd name="connsiteY5" fmla="*/ 83801 h 155200"/>
              <a:gd name="connsiteX6" fmla="*/ 95523 w 365921"/>
              <a:gd name="connsiteY6" fmla="*/ 21655 h 155200"/>
              <a:gd name="connsiteX7" fmla="*/ 363017 w 365921"/>
              <a:gd name="connsiteY7" fmla="*/ 0 h 155200"/>
              <a:gd name="connsiteX0" fmla="*/ 363017 w 365921"/>
              <a:gd name="connsiteY0" fmla="*/ 0 h 155200"/>
              <a:gd name="connsiteX1" fmla="*/ 365921 w 365921"/>
              <a:gd name="connsiteY1" fmla="*/ 58335 h 155200"/>
              <a:gd name="connsiteX2" fmla="*/ 274266 w 365921"/>
              <a:gd name="connsiteY2" fmla="*/ 124916 h 155200"/>
              <a:gd name="connsiteX3" fmla="*/ 220782 w 365921"/>
              <a:gd name="connsiteY3" fmla="*/ 142247 h 155200"/>
              <a:gd name="connsiteX4" fmla="*/ 63370 w 365921"/>
              <a:gd name="connsiteY4" fmla="*/ 155200 h 155200"/>
              <a:gd name="connsiteX5" fmla="*/ 0 w 365921"/>
              <a:gd name="connsiteY5" fmla="*/ 83801 h 155200"/>
              <a:gd name="connsiteX6" fmla="*/ 95523 w 365921"/>
              <a:gd name="connsiteY6" fmla="*/ 21655 h 155200"/>
              <a:gd name="connsiteX7" fmla="*/ 363017 w 365921"/>
              <a:gd name="connsiteY7" fmla="*/ 0 h 15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921" h="155200">
                <a:moveTo>
                  <a:pt x="363017" y="0"/>
                </a:moveTo>
                <a:lnTo>
                  <a:pt x="365921" y="58335"/>
                </a:lnTo>
                <a:cubicBezTo>
                  <a:pt x="326395" y="82636"/>
                  <a:pt x="286457" y="76281"/>
                  <a:pt x="274266" y="124916"/>
                </a:cubicBezTo>
                <a:lnTo>
                  <a:pt x="220782" y="142247"/>
                </a:lnTo>
                <a:lnTo>
                  <a:pt x="63370" y="155200"/>
                </a:lnTo>
                <a:lnTo>
                  <a:pt x="0" y="83801"/>
                </a:lnTo>
                <a:lnTo>
                  <a:pt x="95523" y="21655"/>
                </a:lnTo>
                <a:lnTo>
                  <a:pt x="363017" y="0"/>
                </a:lnTo>
                <a:close/>
              </a:path>
            </a:pathLst>
          </a:custGeom>
          <a:solidFill>
            <a:schemeClr val="tx2"/>
          </a:solidFill>
          <a:ln w="12700">
            <a:miter lim="400000"/>
          </a:ln>
        </p:spPr>
        <p:txBody>
          <a:bodyPr wrap="square" lIns="38100" tIns="38100" rIns="38100" bIns="38100" anchor="ctr">
            <a:noAutofit/>
          </a:bodyPr>
          <a:lstStyle/>
          <a:p>
            <a:endParaRPr sz="3000">
              <a:solidFill>
                <a:srgbClr val="FFFFFF"/>
              </a:solidFill>
            </a:endParaRPr>
          </a:p>
        </p:txBody>
      </p:sp>
    </p:spTree>
    <p:extLst>
      <p:ext uri="{BB962C8B-B14F-4D97-AF65-F5344CB8AC3E}">
        <p14:creationId xmlns:p14="http://schemas.microsoft.com/office/powerpoint/2010/main" val="105492146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66922-55B2-9569-DC1D-6A49C8207629}"/>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340597E-AE73-9C94-83A2-C1CC7A2118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32" name="think-cell data - do not delete" hidden="1">
                        <a:extLst>
                          <a:ext uri="{FF2B5EF4-FFF2-40B4-BE49-F238E27FC236}">
                            <a16:creationId xmlns:a16="http://schemas.microsoft.com/office/drawing/2014/main" id="{A340597E-AE73-9C94-83A2-C1CC7A2118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8DDCDD2-71BD-1C7A-6614-35F93EDBCD35}"/>
              </a:ext>
            </a:extLst>
          </p:cNvPr>
          <p:cNvSpPr>
            <a:spLocks noGrp="1"/>
          </p:cNvSpPr>
          <p:nvPr>
            <p:ph type="title"/>
          </p:nvPr>
        </p:nvSpPr>
        <p:spPr/>
        <p:txBody>
          <a:bodyPr vert="horz"/>
          <a:lstStyle/>
          <a:p>
            <a:r>
              <a:rPr lang="en-US"/>
              <a:t>Slide message – three ideas</a:t>
            </a:r>
          </a:p>
        </p:txBody>
      </p:sp>
      <p:grpSp>
        <p:nvGrpSpPr>
          <p:cNvPr id="39" name="Groupe 38">
            <a:extLst>
              <a:ext uri="{FF2B5EF4-FFF2-40B4-BE49-F238E27FC236}">
                <a16:creationId xmlns:a16="http://schemas.microsoft.com/office/drawing/2014/main" id="{3E451E7F-772A-CA3F-1654-BE6898CBC8AC}"/>
              </a:ext>
            </a:extLst>
          </p:cNvPr>
          <p:cNvGrpSpPr/>
          <p:nvPr/>
        </p:nvGrpSpPr>
        <p:grpSpPr>
          <a:xfrm>
            <a:off x="3033910" y="1043087"/>
            <a:ext cx="6124180" cy="4771825"/>
            <a:chOff x="2049361" y="1043087"/>
            <a:chExt cx="6124180" cy="4771825"/>
          </a:xfrm>
        </p:grpSpPr>
        <p:grpSp>
          <p:nvGrpSpPr>
            <p:cNvPr id="38" name="Groupe 37">
              <a:extLst>
                <a:ext uri="{FF2B5EF4-FFF2-40B4-BE49-F238E27FC236}">
                  <a16:creationId xmlns:a16="http://schemas.microsoft.com/office/drawing/2014/main" id="{FA20E6D0-5476-88B5-D599-70AB7B717337}"/>
                </a:ext>
              </a:extLst>
            </p:cNvPr>
            <p:cNvGrpSpPr/>
            <p:nvPr/>
          </p:nvGrpSpPr>
          <p:grpSpPr>
            <a:xfrm>
              <a:off x="2049361" y="1043087"/>
              <a:ext cx="2186820" cy="4771825"/>
              <a:chOff x="2049361" y="1043087"/>
              <a:chExt cx="2186820" cy="4771825"/>
            </a:xfrm>
          </p:grpSpPr>
          <p:sp>
            <p:nvSpPr>
              <p:cNvPr id="3" name="Shape">
                <a:extLst>
                  <a:ext uri="{FF2B5EF4-FFF2-40B4-BE49-F238E27FC236}">
                    <a16:creationId xmlns:a16="http://schemas.microsoft.com/office/drawing/2014/main" id="{B4EE41B7-9A21-491D-88EA-45331569370F}"/>
                  </a:ext>
                </a:extLst>
              </p:cNvPr>
              <p:cNvSpPr/>
              <p:nvPr/>
            </p:nvSpPr>
            <p:spPr>
              <a:xfrm>
                <a:off x="204936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4" name="Shape">
                <a:extLst>
                  <a:ext uri="{FF2B5EF4-FFF2-40B4-BE49-F238E27FC236}">
                    <a16:creationId xmlns:a16="http://schemas.microsoft.com/office/drawing/2014/main" id="{2E3C5084-A555-6E43-13D9-96F63ECCD320}"/>
                  </a:ext>
                </a:extLst>
              </p:cNvPr>
              <p:cNvSpPr/>
              <p:nvPr/>
            </p:nvSpPr>
            <p:spPr>
              <a:xfrm>
                <a:off x="261115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82" y="10204"/>
                    </a:moveTo>
                    <a:lnTo>
                      <a:pt x="910" y="13155"/>
                    </a:lnTo>
                    <a:cubicBezTo>
                      <a:pt x="1145" y="11747"/>
                      <a:pt x="1402" y="10340"/>
                      <a:pt x="1658" y="8959"/>
                    </a:cubicBezTo>
                    <a:lnTo>
                      <a:pt x="19156" y="6253"/>
                    </a:lnTo>
                    <a:cubicBezTo>
                      <a:pt x="19327" y="6740"/>
                      <a:pt x="19434" y="7308"/>
                      <a:pt x="19434" y="7877"/>
                    </a:cubicBezTo>
                    <a:cubicBezTo>
                      <a:pt x="19583" y="8608"/>
                      <a:pt x="19733" y="9392"/>
                      <a:pt x="19882"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65" y="4006"/>
                      <a:pt x="17532"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1015" y="18244"/>
                      <a:pt x="20801" y="16971"/>
                      <a:pt x="20566" y="15699"/>
                    </a:cubicBezTo>
                    <a:close/>
                    <a:moveTo>
                      <a:pt x="19882" y="10962"/>
                    </a:moveTo>
                    <a:lnTo>
                      <a:pt x="910" y="13913"/>
                    </a:lnTo>
                    <a:cubicBezTo>
                      <a:pt x="675" y="15320"/>
                      <a:pt x="419" y="16728"/>
                      <a:pt x="162" y="18108"/>
                    </a:cubicBezTo>
                    <a:lnTo>
                      <a:pt x="20566" y="14941"/>
                    </a:lnTo>
                    <a:cubicBezTo>
                      <a:pt x="20352" y="13615"/>
                      <a:pt x="20117" y="12289"/>
                      <a:pt x="19882"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5" name="Rectangle">
                <a:extLst>
                  <a:ext uri="{FF2B5EF4-FFF2-40B4-BE49-F238E27FC236}">
                    <a16:creationId xmlns:a16="http://schemas.microsoft.com/office/drawing/2014/main" id="{5A31E74A-D574-AB27-62AC-6B1C03010B91}"/>
                  </a:ext>
                </a:extLst>
              </p:cNvPr>
              <p:cNvSpPr/>
              <p:nvPr/>
            </p:nvSpPr>
            <p:spPr>
              <a:xfrm>
                <a:off x="309204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6" name="Graphic 17" descr="Lightbulb with solid fill">
                <a:extLst>
                  <a:ext uri="{FF2B5EF4-FFF2-40B4-BE49-F238E27FC236}">
                    <a16:creationId xmlns:a16="http://schemas.microsoft.com/office/drawing/2014/main" id="{236266DC-EBCD-6E7D-6242-6F268B24CC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73243" y="3202697"/>
                <a:ext cx="739056" cy="739056"/>
              </a:xfrm>
              <a:prstGeom prst="rect">
                <a:avLst/>
              </a:prstGeom>
            </p:spPr>
          </p:pic>
          <p:grpSp>
            <p:nvGrpSpPr>
              <p:cNvPr id="7" name="Group 18">
                <a:extLst>
                  <a:ext uri="{FF2B5EF4-FFF2-40B4-BE49-F238E27FC236}">
                    <a16:creationId xmlns:a16="http://schemas.microsoft.com/office/drawing/2014/main" id="{44C8013B-446F-2F64-3B38-1F367D07FAAC}"/>
                  </a:ext>
                </a:extLst>
              </p:cNvPr>
              <p:cNvGrpSpPr/>
              <p:nvPr/>
            </p:nvGrpSpPr>
            <p:grpSpPr>
              <a:xfrm>
                <a:off x="2371793" y="4226798"/>
                <a:ext cx="1541957" cy="1136265"/>
                <a:chOff x="332936" y="2781654"/>
                <a:chExt cx="2975111" cy="1136265"/>
              </a:xfrm>
            </p:grpSpPr>
            <p:sp>
              <p:nvSpPr>
                <p:cNvPr id="8" name="TextBox 19">
                  <a:extLst>
                    <a:ext uri="{FF2B5EF4-FFF2-40B4-BE49-F238E27FC236}">
                      <a16:creationId xmlns:a16="http://schemas.microsoft.com/office/drawing/2014/main" id="{EF8034C6-7631-A1F3-C49B-54C9603C235B}"/>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9" name="TextBox 20">
                  <a:extLst>
                    <a:ext uri="{FF2B5EF4-FFF2-40B4-BE49-F238E27FC236}">
                      <a16:creationId xmlns:a16="http://schemas.microsoft.com/office/drawing/2014/main" id="{B3F66CD7-94EB-CDF0-DC38-FCF4BF978821}"/>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7" name="Groupe 36">
              <a:extLst>
                <a:ext uri="{FF2B5EF4-FFF2-40B4-BE49-F238E27FC236}">
                  <a16:creationId xmlns:a16="http://schemas.microsoft.com/office/drawing/2014/main" id="{267ECAA4-DA85-FB89-6048-709F9BE008AC}"/>
                </a:ext>
              </a:extLst>
            </p:cNvPr>
            <p:cNvGrpSpPr/>
            <p:nvPr/>
          </p:nvGrpSpPr>
          <p:grpSpPr>
            <a:xfrm>
              <a:off x="4018041" y="1043087"/>
              <a:ext cx="2186820" cy="4771825"/>
              <a:chOff x="4018041" y="1043087"/>
              <a:chExt cx="2186820" cy="4771825"/>
            </a:xfrm>
          </p:grpSpPr>
          <p:sp>
            <p:nvSpPr>
              <p:cNvPr id="10" name="Shape">
                <a:extLst>
                  <a:ext uri="{FF2B5EF4-FFF2-40B4-BE49-F238E27FC236}">
                    <a16:creationId xmlns:a16="http://schemas.microsoft.com/office/drawing/2014/main" id="{D5A59108-26E9-BD97-1A8D-CECF052C6D35}"/>
                  </a:ext>
                </a:extLst>
              </p:cNvPr>
              <p:cNvSpPr/>
              <p:nvPr/>
            </p:nvSpPr>
            <p:spPr>
              <a:xfrm>
                <a:off x="401804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11C07A9E-F085-180F-6CCD-53A234582354}"/>
                  </a:ext>
                </a:extLst>
              </p:cNvPr>
              <p:cNvSpPr/>
              <p:nvPr/>
            </p:nvSpPr>
            <p:spPr>
              <a:xfrm>
                <a:off x="457983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2" name="Rectangle">
                <a:extLst>
                  <a:ext uri="{FF2B5EF4-FFF2-40B4-BE49-F238E27FC236}">
                    <a16:creationId xmlns:a16="http://schemas.microsoft.com/office/drawing/2014/main" id="{A7855372-7B24-685C-B235-C054E09BFA4A}"/>
                  </a:ext>
                </a:extLst>
              </p:cNvPr>
              <p:cNvSpPr/>
              <p:nvPr/>
            </p:nvSpPr>
            <p:spPr>
              <a:xfrm>
                <a:off x="506072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13" name="Graphic 15" descr="Gears with solid fill">
                <a:extLst>
                  <a:ext uri="{FF2B5EF4-FFF2-40B4-BE49-F238E27FC236}">
                    <a16:creationId xmlns:a16="http://schemas.microsoft.com/office/drawing/2014/main" id="{D4EC0214-B445-AA85-4034-EBDFAE88C3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41923" y="3202697"/>
                <a:ext cx="739056" cy="739056"/>
              </a:xfrm>
              <a:prstGeom prst="rect">
                <a:avLst/>
              </a:prstGeom>
            </p:spPr>
          </p:pic>
          <p:grpSp>
            <p:nvGrpSpPr>
              <p:cNvPr id="14" name="Group 21">
                <a:extLst>
                  <a:ext uri="{FF2B5EF4-FFF2-40B4-BE49-F238E27FC236}">
                    <a16:creationId xmlns:a16="http://schemas.microsoft.com/office/drawing/2014/main" id="{928C321E-82A6-9B56-BB66-4337E7021DB1}"/>
                  </a:ext>
                </a:extLst>
              </p:cNvPr>
              <p:cNvGrpSpPr/>
              <p:nvPr/>
            </p:nvGrpSpPr>
            <p:grpSpPr>
              <a:xfrm>
                <a:off x="4340473" y="4226798"/>
                <a:ext cx="1541957" cy="1136265"/>
                <a:chOff x="332936" y="2781654"/>
                <a:chExt cx="2975111" cy="1136265"/>
              </a:xfrm>
            </p:grpSpPr>
            <p:sp>
              <p:nvSpPr>
                <p:cNvPr id="15" name="TextBox 22">
                  <a:extLst>
                    <a:ext uri="{FF2B5EF4-FFF2-40B4-BE49-F238E27FC236}">
                      <a16:creationId xmlns:a16="http://schemas.microsoft.com/office/drawing/2014/main" id="{7796CAEB-6BB8-80D0-46F0-CE8315F8D566}"/>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16" name="TextBox 23">
                  <a:extLst>
                    <a:ext uri="{FF2B5EF4-FFF2-40B4-BE49-F238E27FC236}">
                      <a16:creationId xmlns:a16="http://schemas.microsoft.com/office/drawing/2014/main" id="{215537A5-C9BA-669E-D4C1-87DA32787EA3}"/>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6" name="Groupe 35">
              <a:extLst>
                <a:ext uri="{FF2B5EF4-FFF2-40B4-BE49-F238E27FC236}">
                  <a16:creationId xmlns:a16="http://schemas.microsoft.com/office/drawing/2014/main" id="{BCD7B550-46BE-2E62-8623-13E04A43C2C5}"/>
                </a:ext>
              </a:extLst>
            </p:cNvPr>
            <p:cNvGrpSpPr/>
            <p:nvPr/>
          </p:nvGrpSpPr>
          <p:grpSpPr>
            <a:xfrm>
              <a:off x="5986721" y="1043087"/>
              <a:ext cx="2186820" cy="4771825"/>
              <a:chOff x="5986721" y="1043087"/>
              <a:chExt cx="2186820" cy="4771825"/>
            </a:xfrm>
          </p:grpSpPr>
          <p:sp>
            <p:nvSpPr>
              <p:cNvPr id="17" name="Shape">
                <a:extLst>
                  <a:ext uri="{FF2B5EF4-FFF2-40B4-BE49-F238E27FC236}">
                    <a16:creationId xmlns:a16="http://schemas.microsoft.com/office/drawing/2014/main" id="{69C07C69-F47E-4753-E810-8C7A83247D5E}"/>
                  </a:ext>
                </a:extLst>
              </p:cNvPr>
              <p:cNvSpPr/>
              <p:nvPr/>
            </p:nvSpPr>
            <p:spPr>
              <a:xfrm>
                <a:off x="598672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6B6CA1E1-212B-11C4-3A0E-1C170878F56D}"/>
                  </a:ext>
                </a:extLst>
              </p:cNvPr>
              <p:cNvSpPr/>
              <p:nvPr/>
            </p:nvSpPr>
            <p:spPr>
              <a:xfrm>
                <a:off x="654851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9" name="Rectangle">
                <a:extLst>
                  <a:ext uri="{FF2B5EF4-FFF2-40B4-BE49-F238E27FC236}">
                    <a16:creationId xmlns:a16="http://schemas.microsoft.com/office/drawing/2014/main" id="{EB590A31-068F-8B58-73CD-DA886A066280}"/>
                  </a:ext>
                </a:extLst>
              </p:cNvPr>
              <p:cNvSpPr/>
              <p:nvPr/>
            </p:nvSpPr>
            <p:spPr>
              <a:xfrm>
                <a:off x="702940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20" name="Graphic 14" descr="Bullseye with solid fill">
                <a:extLst>
                  <a:ext uri="{FF2B5EF4-FFF2-40B4-BE49-F238E27FC236}">
                    <a16:creationId xmlns:a16="http://schemas.microsoft.com/office/drawing/2014/main" id="{D08176C5-E75C-3901-EF76-344D666BE54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10603" y="3202697"/>
                <a:ext cx="739056" cy="739056"/>
              </a:xfrm>
              <a:prstGeom prst="rect">
                <a:avLst/>
              </a:prstGeom>
            </p:spPr>
          </p:pic>
          <p:grpSp>
            <p:nvGrpSpPr>
              <p:cNvPr id="21" name="Group 24">
                <a:extLst>
                  <a:ext uri="{FF2B5EF4-FFF2-40B4-BE49-F238E27FC236}">
                    <a16:creationId xmlns:a16="http://schemas.microsoft.com/office/drawing/2014/main" id="{255AA10E-4C7D-533D-8301-289E3DF4C552}"/>
                  </a:ext>
                </a:extLst>
              </p:cNvPr>
              <p:cNvGrpSpPr/>
              <p:nvPr/>
            </p:nvGrpSpPr>
            <p:grpSpPr>
              <a:xfrm>
                <a:off x="6309153" y="4226798"/>
                <a:ext cx="1541957" cy="1136265"/>
                <a:chOff x="332936" y="2781654"/>
                <a:chExt cx="2975111" cy="1136265"/>
              </a:xfrm>
            </p:grpSpPr>
            <p:sp>
              <p:nvSpPr>
                <p:cNvPr id="22" name="TextBox 25">
                  <a:extLst>
                    <a:ext uri="{FF2B5EF4-FFF2-40B4-BE49-F238E27FC236}">
                      <a16:creationId xmlns:a16="http://schemas.microsoft.com/office/drawing/2014/main" id="{9EFA6C21-F166-9C97-F31D-0C1F536947F2}"/>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23" name="TextBox 26">
                  <a:extLst>
                    <a:ext uri="{FF2B5EF4-FFF2-40B4-BE49-F238E27FC236}">
                      <a16:creationId xmlns:a16="http://schemas.microsoft.com/office/drawing/2014/main" id="{A4A0D9DA-EC8B-87D2-F086-51F02593D884}"/>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spTree>
    <p:extLst>
      <p:ext uri="{BB962C8B-B14F-4D97-AF65-F5344CB8AC3E}">
        <p14:creationId xmlns:p14="http://schemas.microsoft.com/office/powerpoint/2010/main" val="224424771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49F7668E-6C22-AD70-FDB3-DE498E291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32" name="think-cell data - do not delete" hidden="1">
                        <a:extLst>
                          <a:ext uri="{FF2B5EF4-FFF2-40B4-BE49-F238E27FC236}">
                            <a16:creationId xmlns:a16="http://schemas.microsoft.com/office/drawing/2014/main" id="{49F7668E-6C22-AD70-FDB3-DE498E291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5C4E8FB-DB7F-0E46-1DD0-A63D16C8F2C5}"/>
              </a:ext>
            </a:extLst>
          </p:cNvPr>
          <p:cNvSpPr>
            <a:spLocks noGrp="1"/>
          </p:cNvSpPr>
          <p:nvPr>
            <p:ph type="title"/>
          </p:nvPr>
        </p:nvSpPr>
        <p:spPr/>
        <p:txBody>
          <a:bodyPr vert="horz"/>
          <a:lstStyle/>
          <a:p>
            <a:r>
              <a:rPr lang="en-US"/>
              <a:t>Slide message – four ideas</a:t>
            </a:r>
          </a:p>
        </p:txBody>
      </p:sp>
      <p:sp>
        <p:nvSpPr>
          <p:cNvPr id="3" name="Shape">
            <a:extLst>
              <a:ext uri="{FF2B5EF4-FFF2-40B4-BE49-F238E27FC236}">
                <a16:creationId xmlns:a16="http://schemas.microsoft.com/office/drawing/2014/main" id="{992E40A3-EC15-EB29-0140-C47B392366CF}"/>
              </a:ext>
            </a:extLst>
          </p:cNvPr>
          <p:cNvSpPr/>
          <p:nvPr/>
        </p:nvSpPr>
        <p:spPr>
          <a:xfrm>
            <a:off x="204936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4" name="Shape">
            <a:extLst>
              <a:ext uri="{FF2B5EF4-FFF2-40B4-BE49-F238E27FC236}">
                <a16:creationId xmlns:a16="http://schemas.microsoft.com/office/drawing/2014/main" id="{CE8EACDA-913F-9790-704C-6C84683C21FC}"/>
              </a:ext>
            </a:extLst>
          </p:cNvPr>
          <p:cNvSpPr/>
          <p:nvPr/>
        </p:nvSpPr>
        <p:spPr>
          <a:xfrm>
            <a:off x="261115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82" y="10204"/>
                </a:moveTo>
                <a:lnTo>
                  <a:pt x="910" y="13155"/>
                </a:lnTo>
                <a:cubicBezTo>
                  <a:pt x="1145" y="11747"/>
                  <a:pt x="1402" y="10340"/>
                  <a:pt x="1658" y="8959"/>
                </a:cubicBezTo>
                <a:lnTo>
                  <a:pt x="19156" y="6253"/>
                </a:lnTo>
                <a:cubicBezTo>
                  <a:pt x="19327" y="6740"/>
                  <a:pt x="19434" y="7308"/>
                  <a:pt x="19434" y="7877"/>
                </a:cubicBezTo>
                <a:cubicBezTo>
                  <a:pt x="19583" y="8608"/>
                  <a:pt x="19733" y="9392"/>
                  <a:pt x="19882"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65" y="4006"/>
                  <a:pt x="17532"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1015" y="18244"/>
                  <a:pt x="20801" y="16971"/>
                  <a:pt x="20566" y="15699"/>
                </a:cubicBezTo>
                <a:close/>
                <a:moveTo>
                  <a:pt x="19882" y="10962"/>
                </a:moveTo>
                <a:lnTo>
                  <a:pt x="910" y="13913"/>
                </a:lnTo>
                <a:cubicBezTo>
                  <a:pt x="675" y="15320"/>
                  <a:pt x="419" y="16728"/>
                  <a:pt x="162" y="18108"/>
                </a:cubicBezTo>
                <a:lnTo>
                  <a:pt x="20566" y="14941"/>
                </a:lnTo>
                <a:cubicBezTo>
                  <a:pt x="20352" y="13615"/>
                  <a:pt x="20117" y="12289"/>
                  <a:pt x="19882"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5" name="Rectangle">
            <a:extLst>
              <a:ext uri="{FF2B5EF4-FFF2-40B4-BE49-F238E27FC236}">
                <a16:creationId xmlns:a16="http://schemas.microsoft.com/office/drawing/2014/main" id="{62F03572-F5AB-5428-CDC0-7320FD7D9BCD}"/>
              </a:ext>
            </a:extLst>
          </p:cNvPr>
          <p:cNvSpPr/>
          <p:nvPr/>
        </p:nvSpPr>
        <p:spPr>
          <a:xfrm>
            <a:off x="309204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6" name="Graphic 17" descr="Lightbulb with solid fill">
            <a:extLst>
              <a:ext uri="{FF2B5EF4-FFF2-40B4-BE49-F238E27FC236}">
                <a16:creationId xmlns:a16="http://schemas.microsoft.com/office/drawing/2014/main" id="{937DF8DC-9BB3-ADE9-67B1-7FC5DD115D2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73243" y="3202697"/>
            <a:ext cx="739056" cy="739056"/>
          </a:xfrm>
          <a:prstGeom prst="rect">
            <a:avLst/>
          </a:prstGeom>
        </p:spPr>
      </p:pic>
      <p:grpSp>
        <p:nvGrpSpPr>
          <p:cNvPr id="7" name="Group 18">
            <a:extLst>
              <a:ext uri="{FF2B5EF4-FFF2-40B4-BE49-F238E27FC236}">
                <a16:creationId xmlns:a16="http://schemas.microsoft.com/office/drawing/2014/main" id="{5B6028FD-65E7-D55D-4B28-20F7CCB93088}"/>
              </a:ext>
            </a:extLst>
          </p:cNvPr>
          <p:cNvGrpSpPr/>
          <p:nvPr/>
        </p:nvGrpSpPr>
        <p:grpSpPr>
          <a:xfrm>
            <a:off x="2371793" y="4226798"/>
            <a:ext cx="1541957" cy="1136265"/>
            <a:chOff x="332936" y="2781654"/>
            <a:chExt cx="2975111" cy="1136265"/>
          </a:xfrm>
        </p:grpSpPr>
        <p:sp>
          <p:nvSpPr>
            <p:cNvPr id="8" name="TextBox 19">
              <a:extLst>
                <a:ext uri="{FF2B5EF4-FFF2-40B4-BE49-F238E27FC236}">
                  <a16:creationId xmlns:a16="http://schemas.microsoft.com/office/drawing/2014/main" id="{871B8CC2-89A5-05D4-F037-25BC9AA3DDE2}"/>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9" name="TextBox 20">
              <a:extLst>
                <a:ext uri="{FF2B5EF4-FFF2-40B4-BE49-F238E27FC236}">
                  <a16:creationId xmlns:a16="http://schemas.microsoft.com/office/drawing/2014/main" id="{027A60DC-01D9-8724-109E-16B30A4A4EED}"/>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sp>
        <p:nvSpPr>
          <p:cNvPr id="10" name="Shape">
            <a:extLst>
              <a:ext uri="{FF2B5EF4-FFF2-40B4-BE49-F238E27FC236}">
                <a16:creationId xmlns:a16="http://schemas.microsoft.com/office/drawing/2014/main" id="{965BC40A-9A06-BA69-CC15-DEB3A664F1AA}"/>
              </a:ext>
            </a:extLst>
          </p:cNvPr>
          <p:cNvSpPr/>
          <p:nvPr/>
        </p:nvSpPr>
        <p:spPr>
          <a:xfrm>
            <a:off x="401804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35CDF0FC-5592-41B4-1BCF-CF155676EB0F}"/>
              </a:ext>
            </a:extLst>
          </p:cNvPr>
          <p:cNvSpPr/>
          <p:nvPr/>
        </p:nvSpPr>
        <p:spPr>
          <a:xfrm>
            <a:off x="457983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2" name="Rectangle">
            <a:extLst>
              <a:ext uri="{FF2B5EF4-FFF2-40B4-BE49-F238E27FC236}">
                <a16:creationId xmlns:a16="http://schemas.microsoft.com/office/drawing/2014/main" id="{EFCEDF7A-26C1-E5C5-1A01-F0E38C16E6DA}"/>
              </a:ext>
            </a:extLst>
          </p:cNvPr>
          <p:cNvSpPr/>
          <p:nvPr/>
        </p:nvSpPr>
        <p:spPr>
          <a:xfrm>
            <a:off x="506072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13" name="Graphic 15" descr="Gears with solid fill">
            <a:extLst>
              <a:ext uri="{FF2B5EF4-FFF2-40B4-BE49-F238E27FC236}">
                <a16:creationId xmlns:a16="http://schemas.microsoft.com/office/drawing/2014/main" id="{7FD05847-6504-465D-6265-F9393774D1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41923" y="3202697"/>
            <a:ext cx="739056" cy="739056"/>
          </a:xfrm>
          <a:prstGeom prst="rect">
            <a:avLst/>
          </a:prstGeom>
        </p:spPr>
      </p:pic>
      <p:grpSp>
        <p:nvGrpSpPr>
          <p:cNvPr id="14" name="Group 21">
            <a:extLst>
              <a:ext uri="{FF2B5EF4-FFF2-40B4-BE49-F238E27FC236}">
                <a16:creationId xmlns:a16="http://schemas.microsoft.com/office/drawing/2014/main" id="{49C4F97C-5374-32C2-F3B7-C96B15EE6879}"/>
              </a:ext>
            </a:extLst>
          </p:cNvPr>
          <p:cNvGrpSpPr/>
          <p:nvPr/>
        </p:nvGrpSpPr>
        <p:grpSpPr>
          <a:xfrm>
            <a:off x="4340473" y="4226798"/>
            <a:ext cx="1541957" cy="1136265"/>
            <a:chOff x="332936" y="2781654"/>
            <a:chExt cx="2975111" cy="1136265"/>
          </a:xfrm>
        </p:grpSpPr>
        <p:sp>
          <p:nvSpPr>
            <p:cNvPr id="15" name="TextBox 22">
              <a:extLst>
                <a:ext uri="{FF2B5EF4-FFF2-40B4-BE49-F238E27FC236}">
                  <a16:creationId xmlns:a16="http://schemas.microsoft.com/office/drawing/2014/main" id="{868FFC33-3F7F-3D04-1F38-ACAB6948A7A5}"/>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16" name="TextBox 23">
              <a:extLst>
                <a:ext uri="{FF2B5EF4-FFF2-40B4-BE49-F238E27FC236}">
                  <a16:creationId xmlns:a16="http://schemas.microsoft.com/office/drawing/2014/main" id="{C658095C-43E7-EA71-2A59-B75F2FC7A141}"/>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sp>
        <p:nvSpPr>
          <p:cNvPr id="17" name="Shape">
            <a:extLst>
              <a:ext uri="{FF2B5EF4-FFF2-40B4-BE49-F238E27FC236}">
                <a16:creationId xmlns:a16="http://schemas.microsoft.com/office/drawing/2014/main" id="{3BEAA142-B92D-95DD-61F2-35A979957A7E}"/>
              </a:ext>
            </a:extLst>
          </p:cNvPr>
          <p:cNvSpPr/>
          <p:nvPr/>
        </p:nvSpPr>
        <p:spPr>
          <a:xfrm>
            <a:off x="598672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3B89C250-DA25-A0D7-A686-BC2FE8D39584}"/>
              </a:ext>
            </a:extLst>
          </p:cNvPr>
          <p:cNvSpPr/>
          <p:nvPr/>
        </p:nvSpPr>
        <p:spPr>
          <a:xfrm>
            <a:off x="654851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9" name="Rectangle">
            <a:extLst>
              <a:ext uri="{FF2B5EF4-FFF2-40B4-BE49-F238E27FC236}">
                <a16:creationId xmlns:a16="http://schemas.microsoft.com/office/drawing/2014/main" id="{2A2D1357-2374-7AC9-49E8-D71C3CF58BD4}"/>
              </a:ext>
            </a:extLst>
          </p:cNvPr>
          <p:cNvSpPr/>
          <p:nvPr/>
        </p:nvSpPr>
        <p:spPr>
          <a:xfrm>
            <a:off x="702940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20" name="Graphic 14" descr="Bullseye with solid fill">
            <a:extLst>
              <a:ext uri="{FF2B5EF4-FFF2-40B4-BE49-F238E27FC236}">
                <a16:creationId xmlns:a16="http://schemas.microsoft.com/office/drawing/2014/main" id="{F5CE2E4C-2C49-584A-06F1-804656E780E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10603" y="3202697"/>
            <a:ext cx="739056" cy="739056"/>
          </a:xfrm>
          <a:prstGeom prst="rect">
            <a:avLst/>
          </a:prstGeom>
        </p:spPr>
      </p:pic>
      <p:grpSp>
        <p:nvGrpSpPr>
          <p:cNvPr id="21" name="Group 24">
            <a:extLst>
              <a:ext uri="{FF2B5EF4-FFF2-40B4-BE49-F238E27FC236}">
                <a16:creationId xmlns:a16="http://schemas.microsoft.com/office/drawing/2014/main" id="{FBCDAB49-7AB4-D640-CF09-F6081177903A}"/>
              </a:ext>
            </a:extLst>
          </p:cNvPr>
          <p:cNvGrpSpPr/>
          <p:nvPr/>
        </p:nvGrpSpPr>
        <p:grpSpPr>
          <a:xfrm>
            <a:off x="6309153" y="4226798"/>
            <a:ext cx="1541957" cy="1136265"/>
            <a:chOff x="332936" y="2781654"/>
            <a:chExt cx="2975111" cy="1136265"/>
          </a:xfrm>
        </p:grpSpPr>
        <p:sp>
          <p:nvSpPr>
            <p:cNvPr id="22" name="TextBox 25">
              <a:extLst>
                <a:ext uri="{FF2B5EF4-FFF2-40B4-BE49-F238E27FC236}">
                  <a16:creationId xmlns:a16="http://schemas.microsoft.com/office/drawing/2014/main" id="{9A98FA89-C5ED-3F39-672F-6A8A42F0E995}"/>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23" name="TextBox 26">
              <a:extLst>
                <a:ext uri="{FF2B5EF4-FFF2-40B4-BE49-F238E27FC236}">
                  <a16:creationId xmlns:a16="http://schemas.microsoft.com/office/drawing/2014/main" id="{FCA899EE-3F7C-AB05-BD27-8987998DAAA9}"/>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sp>
        <p:nvSpPr>
          <p:cNvPr id="24" name="Shape">
            <a:extLst>
              <a:ext uri="{FF2B5EF4-FFF2-40B4-BE49-F238E27FC236}">
                <a16:creationId xmlns:a16="http://schemas.microsoft.com/office/drawing/2014/main" id="{DCE09289-8F8B-F2D8-2EF8-AF2665253AF0}"/>
              </a:ext>
            </a:extLst>
          </p:cNvPr>
          <p:cNvSpPr/>
          <p:nvPr/>
        </p:nvSpPr>
        <p:spPr>
          <a:xfrm>
            <a:off x="7955401" y="3082967"/>
            <a:ext cx="2187239" cy="2731945"/>
          </a:xfrm>
          <a:custGeom>
            <a:avLst/>
            <a:gdLst/>
            <a:ahLst/>
            <a:cxnLst>
              <a:cxn ang="0">
                <a:pos x="wd2" y="hd2"/>
              </a:cxn>
              <a:cxn ang="5400000">
                <a:pos x="wd2" y="hd2"/>
              </a:cxn>
              <a:cxn ang="10800000">
                <a:pos x="wd2" y="hd2"/>
              </a:cxn>
              <a:cxn ang="16200000">
                <a:pos x="wd2" y="hd2"/>
              </a:cxn>
            </a:cxnLst>
            <a:rect l="0" t="0" r="r" b="b"/>
            <a:pathLst>
              <a:path w="20585" h="21600" extrusionOk="0">
                <a:moveTo>
                  <a:pt x="19489" y="7709"/>
                </a:moveTo>
                <a:cubicBezTo>
                  <a:pt x="18655" y="5894"/>
                  <a:pt x="17147" y="4357"/>
                  <a:pt x="16353" y="2525"/>
                </a:cubicBezTo>
                <a:cubicBezTo>
                  <a:pt x="16122" y="1976"/>
                  <a:pt x="15911" y="1427"/>
                  <a:pt x="15730" y="861"/>
                </a:cubicBezTo>
                <a:cubicBezTo>
                  <a:pt x="15569" y="355"/>
                  <a:pt x="15016" y="0"/>
                  <a:pt x="14393" y="0"/>
                </a:cubicBezTo>
                <a:lnTo>
                  <a:pt x="6191" y="0"/>
                </a:lnTo>
                <a:cubicBezTo>
                  <a:pt x="5558" y="0"/>
                  <a:pt x="5015" y="355"/>
                  <a:pt x="4854" y="861"/>
                </a:cubicBezTo>
                <a:cubicBezTo>
                  <a:pt x="4673" y="1419"/>
                  <a:pt x="4472" y="1976"/>
                  <a:pt x="4231" y="2525"/>
                </a:cubicBezTo>
                <a:cubicBezTo>
                  <a:pt x="3447" y="4357"/>
                  <a:pt x="1939" y="5894"/>
                  <a:pt x="1095" y="7709"/>
                </a:cubicBezTo>
                <a:cubicBezTo>
                  <a:pt x="-212" y="10530"/>
                  <a:pt x="-503" y="13916"/>
                  <a:pt x="1075" y="16711"/>
                </a:cubicBezTo>
                <a:cubicBezTo>
                  <a:pt x="2713" y="19607"/>
                  <a:pt x="6221" y="21600"/>
                  <a:pt x="10282" y="21600"/>
                </a:cubicBezTo>
                <a:cubicBezTo>
                  <a:pt x="14343" y="21600"/>
                  <a:pt x="17861" y="19599"/>
                  <a:pt x="19489" y="16711"/>
                </a:cubicBezTo>
                <a:cubicBezTo>
                  <a:pt x="21097" y="13916"/>
                  <a:pt x="20795" y="10530"/>
                  <a:pt x="19489" y="7709"/>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25" name="Shape">
            <a:extLst>
              <a:ext uri="{FF2B5EF4-FFF2-40B4-BE49-F238E27FC236}">
                <a16:creationId xmlns:a16="http://schemas.microsoft.com/office/drawing/2014/main" id="{0055592D-FC74-B8B3-1408-13156D41F40E}"/>
              </a:ext>
            </a:extLst>
          </p:cNvPr>
          <p:cNvSpPr/>
          <p:nvPr/>
        </p:nvSpPr>
        <p:spPr>
          <a:xfrm>
            <a:off x="8517400"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26" name="Rectangle">
            <a:extLst>
              <a:ext uri="{FF2B5EF4-FFF2-40B4-BE49-F238E27FC236}">
                <a16:creationId xmlns:a16="http://schemas.microsoft.com/office/drawing/2014/main" id="{4BBDA99F-B96D-A87F-B16C-2F0DCF10810E}"/>
              </a:ext>
            </a:extLst>
          </p:cNvPr>
          <p:cNvSpPr/>
          <p:nvPr/>
        </p:nvSpPr>
        <p:spPr>
          <a:xfrm>
            <a:off x="8998290"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27" name="Graphic 16" descr="Hourglass 30% with solid fill">
            <a:extLst>
              <a:ext uri="{FF2B5EF4-FFF2-40B4-BE49-F238E27FC236}">
                <a16:creationId xmlns:a16="http://schemas.microsoft.com/office/drawing/2014/main" id="{372A989C-B218-2AC5-718B-3C493A5B35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79492" y="3186346"/>
            <a:ext cx="739056" cy="739056"/>
          </a:xfrm>
          <a:prstGeom prst="rect">
            <a:avLst/>
          </a:prstGeom>
        </p:spPr>
      </p:pic>
      <p:grpSp>
        <p:nvGrpSpPr>
          <p:cNvPr id="28" name="Group 27">
            <a:extLst>
              <a:ext uri="{FF2B5EF4-FFF2-40B4-BE49-F238E27FC236}">
                <a16:creationId xmlns:a16="http://schemas.microsoft.com/office/drawing/2014/main" id="{18832E94-686B-8C56-8253-DEE4E000A2E8}"/>
              </a:ext>
            </a:extLst>
          </p:cNvPr>
          <p:cNvGrpSpPr/>
          <p:nvPr/>
        </p:nvGrpSpPr>
        <p:grpSpPr>
          <a:xfrm>
            <a:off x="8278042" y="4226798"/>
            <a:ext cx="1541957" cy="1136265"/>
            <a:chOff x="332936" y="2781654"/>
            <a:chExt cx="2975111" cy="1136265"/>
          </a:xfrm>
        </p:grpSpPr>
        <p:sp>
          <p:nvSpPr>
            <p:cNvPr id="29" name="TextBox 28">
              <a:extLst>
                <a:ext uri="{FF2B5EF4-FFF2-40B4-BE49-F238E27FC236}">
                  <a16:creationId xmlns:a16="http://schemas.microsoft.com/office/drawing/2014/main" id="{6CC365C5-199F-7BCD-F0A6-2AB6FF70AAD6}"/>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30" name="TextBox 29">
              <a:extLst>
                <a:ext uri="{FF2B5EF4-FFF2-40B4-BE49-F238E27FC236}">
                  <a16:creationId xmlns:a16="http://schemas.microsoft.com/office/drawing/2014/main" id="{E1415AA5-D76C-CD1F-4F3E-AC4A9A4695B2}"/>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spTree>
    <p:extLst>
      <p:ext uri="{BB962C8B-B14F-4D97-AF65-F5344CB8AC3E}">
        <p14:creationId xmlns:p14="http://schemas.microsoft.com/office/powerpoint/2010/main" val="3346952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6182C9-A099-4E9E-B697-5BC15C94852A}"/>
              </a:ext>
            </a:extLst>
          </p:cNvPr>
          <p:cNvSpPr>
            <a:spLocks noGrp="1"/>
          </p:cNvSpPr>
          <p:nvPr>
            <p:ph type="title"/>
          </p:nvPr>
        </p:nvSpPr>
        <p:spPr>
          <a:xfrm>
            <a:off x="432000" y="316800"/>
            <a:ext cx="11340000" cy="468000"/>
          </a:xfrm>
        </p:spPr>
        <p:txBody>
          <a:bodyPr/>
          <a:lstStyle/>
          <a:p>
            <a:r>
              <a:rPr lang="en-GB" dirty="0"/>
              <a:t>Client references</a:t>
            </a:r>
          </a:p>
        </p:txBody>
      </p:sp>
      <p:sp>
        <p:nvSpPr>
          <p:cNvPr id="20" name="Rectangle 19">
            <a:extLst>
              <a:ext uri="{FF2B5EF4-FFF2-40B4-BE49-F238E27FC236}">
                <a16:creationId xmlns:a16="http://schemas.microsoft.com/office/drawing/2014/main" id="{32ACFAA4-8E2B-4936-89B9-4194ABCBE444}"/>
              </a:ext>
            </a:extLst>
          </p:cNvPr>
          <p:cNvSpPr>
            <a:spLocks noRot="1" noMove="1" noResize="1" noEditPoints="1" noAdjustHandles="1" noChangeArrowheads="1" noChangeShapeType="1"/>
          </p:cNvSpPr>
          <p:nvPr>
            <p:custDataLst>
              <p:tags r:id="rId1"/>
            </p:custDataLst>
          </p:nvPr>
        </p:nvSpPr>
        <p:spPr bwMode="auto">
          <a:xfrm>
            <a:off x="6197251" y="1270751"/>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29" name="Rectangle 28">
            <a:extLst>
              <a:ext uri="{FF2B5EF4-FFF2-40B4-BE49-F238E27FC236}">
                <a16:creationId xmlns:a16="http://schemas.microsoft.com/office/drawing/2014/main" id="{A7E983AF-2391-4DC7-99FA-69910538162D}"/>
              </a:ext>
            </a:extLst>
          </p:cNvPr>
          <p:cNvSpPr>
            <a:spLocks noRot="1" noMove="1" noResize="1" noEditPoints="1" noAdjustHandles="1" noChangeArrowheads="1" noChangeShapeType="1"/>
          </p:cNvSpPr>
          <p:nvPr>
            <p:custDataLst>
              <p:tags r:id="rId2"/>
            </p:custDataLst>
          </p:nvPr>
        </p:nvSpPr>
        <p:spPr bwMode="auto">
          <a:xfrm>
            <a:off x="7889459" y="1270751"/>
            <a:ext cx="3526699" cy="2456699"/>
          </a:xfrm>
          <a:prstGeom prst="rect">
            <a:avLst/>
          </a:prstGeom>
          <a:solidFill>
            <a:schemeClr val="bg2"/>
          </a:solid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Text is Arial 12 </a:t>
            </a:r>
            <a:r>
              <a:rPr lang="en-GB" sz="1200" dirty="0" err="1">
                <a:solidFill>
                  <a:srgbClr val="000000"/>
                </a:solidFill>
              </a:rPr>
              <a:t>pt</a:t>
            </a:r>
            <a:r>
              <a:rPr lang="en-GB" sz="1200"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ine spacing 8.4pt before, single </a:t>
            </a:r>
          </a:p>
        </p:txBody>
      </p:sp>
      <p:sp>
        <p:nvSpPr>
          <p:cNvPr id="32" name="Rectangle 31">
            <a:extLst>
              <a:ext uri="{FF2B5EF4-FFF2-40B4-BE49-F238E27FC236}">
                <a16:creationId xmlns:a16="http://schemas.microsoft.com/office/drawing/2014/main" id="{3A111344-E3E3-4DAA-9DB1-FE33954CFDDF}"/>
              </a:ext>
            </a:extLst>
          </p:cNvPr>
          <p:cNvSpPr>
            <a:spLocks noRot="1" noMove="1" noResize="1" noEditPoints="1" noAdjustHandles="1" noChangeArrowheads="1" noChangeShapeType="1"/>
          </p:cNvSpPr>
          <p:nvPr>
            <p:custDataLst>
              <p:tags r:id="rId3"/>
            </p:custDataLst>
          </p:nvPr>
        </p:nvSpPr>
        <p:spPr bwMode="auto">
          <a:xfrm>
            <a:off x="6197250" y="2491561"/>
            <a:ext cx="1692209" cy="123588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34" name="Rectangle 33">
            <a:extLst>
              <a:ext uri="{FF2B5EF4-FFF2-40B4-BE49-F238E27FC236}">
                <a16:creationId xmlns:a16="http://schemas.microsoft.com/office/drawing/2014/main" id="{C844D82D-66EE-437D-8D0D-4286CD673CC7}"/>
              </a:ext>
            </a:extLst>
          </p:cNvPr>
          <p:cNvSpPr>
            <a:spLocks noRot="1" noMove="1" noResize="1" noEditPoints="1" noAdjustHandles="1" noChangeArrowheads="1" noChangeShapeType="1"/>
          </p:cNvSpPr>
          <p:nvPr>
            <p:custDataLst>
              <p:tags r:id="rId4"/>
            </p:custDataLst>
          </p:nvPr>
        </p:nvSpPr>
        <p:spPr bwMode="auto">
          <a:xfrm>
            <a:off x="787843" y="3917950"/>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35" name="Rectangle 34">
            <a:extLst>
              <a:ext uri="{FF2B5EF4-FFF2-40B4-BE49-F238E27FC236}">
                <a16:creationId xmlns:a16="http://schemas.microsoft.com/office/drawing/2014/main" id="{FC17E9E2-EDBC-4F07-A627-8A9F346CA5C0}"/>
              </a:ext>
            </a:extLst>
          </p:cNvPr>
          <p:cNvSpPr>
            <a:spLocks noRot="1" noMove="1" noResize="1" noEditPoints="1" noAdjustHandles="1" noChangeArrowheads="1" noChangeShapeType="1"/>
          </p:cNvSpPr>
          <p:nvPr>
            <p:custDataLst>
              <p:tags r:id="rId5"/>
            </p:custDataLst>
          </p:nvPr>
        </p:nvSpPr>
        <p:spPr bwMode="auto">
          <a:xfrm>
            <a:off x="2480051" y="3917950"/>
            <a:ext cx="3526699" cy="2456699"/>
          </a:xfrm>
          <a:prstGeom prst="rect">
            <a:avLst/>
          </a:prstGeom>
          <a:solidFill>
            <a:schemeClr val="bg2"/>
          </a:solid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Text is Arial 12 </a:t>
            </a:r>
            <a:r>
              <a:rPr lang="en-GB" sz="1200" dirty="0" err="1">
                <a:solidFill>
                  <a:srgbClr val="000000"/>
                </a:solidFill>
              </a:rPr>
              <a:t>pt</a:t>
            </a:r>
            <a:r>
              <a:rPr lang="en-GB" sz="1200"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ine spacing 8.4pt before, single </a:t>
            </a:r>
          </a:p>
        </p:txBody>
      </p:sp>
      <p:sp>
        <p:nvSpPr>
          <p:cNvPr id="36" name="Rectangle 35">
            <a:extLst>
              <a:ext uri="{FF2B5EF4-FFF2-40B4-BE49-F238E27FC236}">
                <a16:creationId xmlns:a16="http://schemas.microsoft.com/office/drawing/2014/main" id="{2B9FC557-538B-4C0E-812A-A75AB86531E2}"/>
              </a:ext>
            </a:extLst>
          </p:cNvPr>
          <p:cNvSpPr>
            <a:spLocks noRot="1" noMove="1" noResize="1" noEditPoints="1" noAdjustHandles="1" noChangeArrowheads="1" noChangeShapeType="1"/>
          </p:cNvSpPr>
          <p:nvPr>
            <p:custDataLst>
              <p:tags r:id="rId6"/>
            </p:custDataLst>
          </p:nvPr>
        </p:nvSpPr>
        <p:spPr bwMode="auto">
          <a:xfrm>
            <a:off x="787842" y="5138760"/>
            <a:ext cx="1692209" cy="123588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38" name="Rectangle 37">
            <a:extLst>
              <a:ext uri="{FF2B5EF4-FFF2-40B4-BE49-F238E27FC236}">
                <a16:creationId xmlns:a16="http://schemas.microsoft.com/office/drawing/2014/main" id="{16AED184-CCE8-4751-AD17-AF248A3F657D}"/>
              </a:ext>
            </a:extLst>
          </p:cNvPr>
          <p:cNvSpPr>
            <a:spLocks noRot="1" noMove="1" noResize="1" noEditPoints="1" noAdjustHandles="1" noChangeArrowheads="1" noChangeShapeType="1"/>
          </p:cNvSpPr>
          <p:nvPr>
            <p:custDataLst>
              <p:tags r:id="rId7"/>
            </p:custDataLst>
          </p:nvPr>
        </p:nvSpPr>
        <p:spPr bwMode="auto">
          <a:xfrm>
            <a:off x="6197251" y="3917950"/>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39" name="Rectangle 38">
            <a:extLst>
              <a:ext uri="{FF2B5EF4-FFF2-40B4-BE49-F238E27FC236}">
                <a16:creationId xmlns:a16="http://schemas.microsoft.com/office/drawing/2014/main" id="{C98C55C8-4B1B-432F-86E9-BF60FB185761}"/>
              </a:ext>
            </a:extLst>
          </p:cNvPr>
          <p:cNvSpPr>
            <a:spLocks noRot="1" noMove="1" noResize="1" noEditPoints="1" noAdjustHandles="1" noChangeArrowheads="1" noChangeShapeType="1"/>
          </p:cNvSpPr>
          <p:nvPr>
            <p:custDataLst>
              <p:tags r:id="rId8"/>
            </p:custDataLst>
          </p:nvPr>
        </p:nvSpPr>
        <p:spPr bwMode="auto">
          <a:xfrm>
            <a:off x="7889459" y="3917950"/>
            <a:ext cx="3526699" cy="2456699"/>
          </a:xfrm>
          <a:prstGeom prst="rect">
            <a:avLst/>
          </a:prstGeom>
          <a:solidFill>
            <a:schemeClr val="bg2"/>
          </a:solid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Text is Arial 12 </a:t>
            </a:r>
            <a:r>
              <a:rPr lang="en-GB" sz="1200" dirty="0" err="1">
                <a:solidFill>
                  <a:srgbClr val="000000"/>
                </a:solidFill>
              </a:rPr>
              <a:t>pt</a:t>
            </a:r>
            <a:r>
              <a:rPr lang="en-GB" sz="1200"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ine spacing 8.4pt before, single </a:t>
            </a:r>
          </a:p>
        </p:txBody>
      </p:sp>
      <p:sp>
        <p:nvSpPr>
          <p:cNvPr id="40" name="Rectangle 39">
            <a:extLst>
              <a:ext uri="{FF2B5EF4-FFF2-40B4-BE49-F238E27FC236}">
                <a16:creationId xmlns:a16="http://schemas.microsoft.com/office/drawing/2014/main" id="{A0C14AA7-00BF-4F33-AD15-473CDB739DB0}"/>
              </a:ext>
            </a:extLst>
          </p:cNvPr>
          <p:cNvSpPr>
            <a:spLocks noRot="1" noMove="1" noResize="1" noEditPoints="1" noAdjustHandles="1" noChangeArrowheads="1" noChangeShapeType="1"/>
          </p:cNvSpPr>
          <p:nvPr>
            <p:custDataLst>
              <p:tags r:id="rId9"/>
            </p:custDataLst>
          </p:nvPr>
        </p:nvSpPr>
        <p:spPr bwMode="auto">
          <a:xfrm>
            <a:off x="6197250" y="5138760"/>
            <a:ext cx="1692209" cy="123588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
        <p:nvSpPr>
          <p:cNvPr id="42" name="Rectangle 41">
            <a:extLst>
              <a:ext uri="{FF2B5EF4-FFF2-40B4-BE49-F238E27FC236}">
                <a16:creationId xmlns:a16="http://schemas.microsoft.com/office/drawing/2014/main" id="{856D63F6-92A7-47DB-B5CB-08E7C810EA50}"/>
              </a:ext>
            </a:extLst>
          </p:cNvPr>
          <p:cNvSpPr>
            <a:spLocks noRot="1" noMove="1" noResize="1" noEditPoints="1" noAdjustHandles="1" noChangeArrowheads="1" noChangeShapeType="1"/>
          </p:cNvSpPr>
          <p:nvPr>
            <p:custDataLst>
              <p:tags r:id="rId10"/>
            </p:custDataLst>
          </p:nvPr>
        </p:nvSpPr>
        <p:spPr bwMode="auto">
          <a:xfrm>
            <a:off x="787843" y="1270751"/>
            <a:ext cx="1692209" cy="1067509"/>
          </a:xfrm>
          <a:prstGeom prst="rect">
            <a:avLst/>
          </a:prstGeom>
          <a:noFill/>
          <a:ln w="19050"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b" anchorCtr="0" forceAA="0" compatLnSpc="1">
            <a:prstTxWarp prst="textNoShape">
              <a:avLst/>
            </a:prstTxWarp>
            <a:noAutofit/>
          </a:bodyPr>
          <a:lstStyle/>
          <a:p>
            <a:pPr algn="l">
              <a:buClr>
                <a:schemeClr val="accent3"/>
              </a:buClr>
              <a:buSzPct val="77000"/>
            </a:pPr>
            <a:r>
              <a:rPr lang="en-GB" sz="1000" dirty="0">
                <a:solidFill>
                  <a:srgbClr val="87737B"/>
                </a:solidFill>
                <a:latin typeface="+mn-lt"/>
              </a:rPr>
              <a:t>Logo centre aligned with this box</a:t>
            </a:r>
          </a:p>
          <a:p>
            <a:pPr algn="l">
              <a:buClr>
                <a:schemeClr val="accent3"/>
              </a:buClr>
              <a:buSzPct val="77000"/>
            </a:pPr>
            <a:r>
              <a:rPr lang="en-GB" sz="1000" dirty="0">
                <a:solidFill>
                  <a:srgbClr val="87737B"/>
                </a:solidFill>
                <a:latin typeface="+mn-lt"/>
              </a:rPr>
              <a:t>Use high quality greyscale or black logo</a:t>
            </a:r>
          </a:p>
        </p:txBody>
      </p:sp>
      <p:sp>
        <p:nvSpPr>
          <p:cNvPr id="43" name="Rectangle 42">
            <a:extLst>
              <a:ext uri="{FF2B5EF4-FFF2-40B4-BE49-F238E27FC236}">
                <a16:creationId xmlns:a16="http://schemas.microsoft.com/office/drawing/2014/main" id="{7B5C1FF6-8E3C-41C8-82CD-6D5B69F51F4B}"/>
              </a:ext>
            </a:extLst>
          </p:cNvPr>
          <p:cNvSpPr>
            <a:spLocks noRot="1" noMove="1" noResize="1" noEditPoints="1" noAdjustHandles="1" noChangeArrowheads="1" noChangeShapeType="1"/>
          </p:cNvSpPr>
          <p:nvPr>
            <p:custDataLst>
              <p:tags r:id="rId11"/>
            </p:custDataLst>
          </p:nvPr>
        </p:nvSpPr>
        <p:spPr bwMode="auto">
          <a:xfrm>
            <a:off x="2480051" y="1270751"/>
            <a:ext cx="3526699" cy="2456699"/>
          </a:xfrm>
          <a:prstGeom prst="rect">
            <a:avLst/>
          </a:prstGeom>
          <a:solidFill>
            <a:schemeClr val="bg2"/>
          </a:solid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Bullet points to cover our role on the project and what we did, not background information, in the present tense</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Include tangible results of our work on the project; quantify where possible (%, not numbers)</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eave enough space between text and the edge of the box</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Text is Arial 12 </a:t>
            </a:r>
            <a:r>
              <a:rPr lang="en-GB" sz="1200" dirty="0" err="1">
                <a:solidFill>
                  <a:srgbClr val="000000"/>
                </a:solidFill>
              </a:rPr>
              <a:t>pt</a:t>
            </a:r>
            <a:r>
              <a:rPr lang="en-GB" sz="1200" dirty="0">
                <a:solidFill>
                  <a:srgbClr val="000000"/>
                </a:solidFill>
              </a:rPr>
              <a:t>, left aligned </a:t>
            </a:r>
          </a:p>
          <a:p>
            <a:pPr marL="179388" lvl="1" indent="-179388" algn="l" defTabSz="1125444">
              <a:buClr>
                <a:srgbClr val="C1B5B8"/>
              </a:buClr>
              <a:buSzPct val="77000"/>
              <a:buFont typeface="Wingdings 3" panose="05040102010807070707" pitchFamily="18" charset="2"/>
              <a:buChar char=""/>
              <a:defRPr/>
            </a:pPr>
            <a:r>
              <a:rPr lang="en-GB" sz="1200" dirty="0">
                <a:solidFill>
                  <a:srgbClr val="000000"/>
                </a:solidFill>
              </a:rPr>
              <a:t>Line spacing 8.4pt before, single </a:t>
            </a:r>
          </a:p>
        </p:txBody>
      </p:sp>
      <p:sp>
        <p:nvSpPr>
          <p:cNvPr id="44" name="Rectangle 43">
            <a:extLst>
              <a:ext uri="{FF2B5EF4-FFF2-40B4-BE49-F238E27FC236}">
                <a16:creationId xmlns:a16="http://schemas.microsoft.com/office/drawing/2014/main" id="{62B33207-A580-498C-B156-C433720A7181}"/>
              </a:ext>
            </a:extLst>
          </p:cNvPr>
          <p:cNvSpPr>
            <a:spLocks noRot="1" noMove="1" noResize="1" noEditPoints="1" noAdjustHandles="1" noChangeArrowheads="1" noChangeShapeType="1"/>
          </p:cNvSpPr>
          <p:nvPr>
            <p:custDataLst>
              <p:tags r:id="rId12"/>
            </p:custDataLst>
          </p:nvPr>
        </p:nvSpPr>
        <p:spPr bwMode="auto">
          <a:xfrm>
            <a:off x="787842" y="2491561"/>
            <a:ext cx="1692209" cy="1235889"/>
          </a:xfrm>
          <a:prstGeom prst="rect">
            <a:avLst/>
          </a:prstGeom>
          <a:noFill/>
          <a:ln w="19050" cap="flat" cmpd="sng" algn="ctr">
            <a:no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dirty="0">
                <a:solidFill>
                  <a:schemeClr val="accent2"/>
                </a:solidFill>
                <a:latin typeface="+mn-lt"/>
              </a:rPr>
              <a:t>Type of company</a:t>
            </a:r>
          </a:p>
          <a:p>
            <a:pPr algn="l">
              <a:buClr>
                <a:schemeClr val="accent3"/>
              </a:buClr>
              <a:buSzPct val="77000"/>
            </a:pPr>
            <a:r>
              <a:rPr lang="en-GB" dirty="0">
                <a:solidFill>
                  <a:schemeClr val="accent2"/>
                </a:solidFill>
                <a:latin typeface="+mn-lt"/>
              </a:rPr>
              <a:t>Title of project</a:t>
            </a:r>
          </a:p>
        </p:txBody>
      </p:sp>
    </p:spTree>
    <p:extLst>
      <p:ext uri="{BB962C8B-B14F-4D97-AF65-F5344CB8AC3E}">
        <p14:creationId xmlns:p14="http://schemas.microsoft.com/office/powerpoint/2010/main" val="30736425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9ECEE-FEDB-9F1D-0AB7-FD0135C9AB36}"/>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E71846ED-8302-9D6D-D908-84648D446F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32" name="think-cell data - do not delete" hidden="1">
                        <a:extLst>
                          <a:ext uri="{FF2B5EF4-FFF2-40B4-BE49-F238E27FC236}">
                            <a16:creationId xmlns:a16="http://schemas.microsoft.com/office/drawing/2014/main" id="{E71846ED-8302-9D6D-D908-84648D446F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0A66C88-10D0-719D-ABD1-961D501A702E}"/>
              </a:ext>
            </a:extLst>
          </p:cNvPr>
          <p:cNvSpPr>
            <a:spLocks noGrp="1"/>
          </p:cNvSpPr>
          <p:nvPr>
            <p:ph type="title"/>
          </p:nvPr>
        </p:nvSpPr>
        <p:spPr/>
        <p:txBody>
          <a:bodyPr vert="horz"/>
          <a:lstStyle/>
          <a:p>
            <a:r>
              <a:rPr lang="en-US"/>
              <a:t>Slide message – five ideas</a:t>
            </a:r>
          </a:p>
        </p:txBody>
      </p:sp>
      <p:grpSp>
        <p:nvGrpSpPr>
          <p:cNvPr id="49" name="Groupe 48">
            <a:extLst>
              <a:ext uri="{FF2B5EF4-FFF2-40B4-BE49-F238E27FC236}">
                <a16:creationId xmlns:a16="http://schemas.microsoft.com/office/drawing/2014/main" id="{736257DF-78FD-1FC0-3298-065823E0E81C}"/>
              </a:ext>
            </a:extLst>
          </p:cNvPr>
          <p:cNvGrpSpPr/>
          <p:nvPr/>
        </p:nvGrpSpPr>
        <p:grpSpPr>
          <a:xfrm>
            <a:off x="1086225" y="1043087"/>
            <a:ext cx="10019551" cy="4771825"/>
            <a:chOff x="1086225" y="1043087"/>
            <a:chExt cx="10019551" cy="4771825"/>
          </a:xfrm>
        </p:grpSpPr>
        <p:grpSp>
          <p:nvGrpSpPr>
            <p:cNvPr id="46" name="Groupe 45">
              <a:extLst>
                <a:ext uri="{FF2B5EF4-FFF2-40B4-BE49-F238E27FC236}">
                  <a16:creationId xmlns:a16="http://schemas.microsoft.com/office/drawing/2014/main" id="{7DBE4303-A4FD-5A28-365D-1FCFB4FF5884}"/>
                </a:ext>
              </a:extLst>
            </p:cNvPr>
            <p:cNvGrpSpPr/>
            <p:nvPr/>
          </p:nvGrpSpPr>
          <p:grpSpPr>
            <a:xfrm>
              <a:off x="1086225" y="1043087"/>
              <a:ext cx="10019551" cy="4771825"/>
              <a:chOff x="2049361" y="1043087"/>
              <a:chExt cx="10019551" cy="4771825"/>
            </a:xfrm>
          </p:grpSpPr>
          <p:grpSp>
            <p:nvGrpSpPr>
              <p:cNvPr id="34" name="Groupe 33">
                <a:extLst>
                  <a:ext uri="{FF2B5EF4-FFF2-40B4-BE49-F238E27FC236}">
                    <a16:creationId xmlns:a16="http://schemas.microsoft.com/office/drawing/2014/main" id="{CA57EE93-450F-630C-29B2-56117AA3B003}"/>
                  </a:ext>
                </a:extLst>
              </p:cNvPr>
              <p:cNvGrpSpPr/>
              <p:nvPr/>
            </p:nvGrpSpPr>
            <p:grpSpPr>
              <a:xfrm>
                <a:off x="2049361" y="1043087"/>
                <a:ext cx="2186820" cy="4771825"/>
                <a:chOff x="2049361" y="1043087"/>
                <a:chExt cx="2186820" cy="4771825"/>
              </a:xfrm>
            </p:grpSpPr>
            <p:sp>
              <p:nvSpPr>
                <p:cNvPr id="3" name="Shape">
                  <a:extLst>
                    <a:ext uri="{FF2B5EF4-FFF2-40B4-BE49-F238E27FC236}">
                      <a16:creationId xmlns:a16="http://schemas.microsoft.com/office/drawing/2014/main" id="{AFA122F5-DC8F-1ED5-1BF7-1E2CAFBC8450}"/>
                    </a:ext>
                  </a:extLst>
                </p:cNvPr>
                <p:cNvSpPr/>
                <p:nvPr/>
              </p:nvSpPr>
              <p:spPr>
                <a:xfrm>
                  <a:off x="204936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5"/>
                </a:solidFill>
                <a:ln w="12700">
                  <a:miter lim="400000"/>
                </a:ln>
              </p:spPr>
              <p:txBody>
                <a:bodyPr lIns="38100" tIns="38100" rIns="38100" bIns="38100" anchor="ctr"/>
                <a:lstStyle/>
                <a:p>
                  <a:pPr>
                    <a:defRPr sz="3000">
                      <a:solidFill>
                        <a:srgbClr val="FFFFFF"/>
                      </a:solidFill>
                    </a:defRPr>
                  </a:pPr>
                  <a:endParaRPr/>
                </a:p>
              </p:txBody>
            </p:sp>
            <p:sp>
              <p:nvSpPr>
                <p:cNvPr id="4" name="Shape">
                  <a:extLst>
                    <a:ext uri="{FF2B5EF4-FFF2-40B4-BE49-F238E27FC236}">
                      <a16:creationId xmlns:a16="http://schemas.microsoft.com/office/drawing/2014/main" id="{D27BD021-07E8-3AE9-40B9-EA2E9946F94E}"/>
                    </a:ext>
                  </a:extLst>
                </p:cNvPr>
                <p:cNvSpPr/>
                <p:nvPr/>
              </p:nvSpPr>
              <p:spPr>
                <a:xfrm>
                  <a:off x="261115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82" y="10204"/>
                      </a:moveTo>
                      <a:lnTo>
                        <a:pt x="910" y="13155"/>
                      </a:lnTo>
                      <a:cubicBezTo>
                        <a:pt x="1145" y="11747"/>
                        <a:pt x="1402" y="10340"/>
                        <a:pt x="1658" y="8959"/>
                      </a:cubicBezTo>
                      <a:lnTo>
                        <a:pt x="19156" y="6253"/>
                      </a:lnTo>
                      <a:cubicBezTo>
                        <a:pt x="19327" y="6740"/>
                        <a:pt x="19434" y="7308"/>
                        <a:pt x="19434" y="7877"/>
                      </a:cubicBezTo>
                      <a:cubicBezTo>
                        <a:pt x="19583" y="8608"/>
                        <a:pt x="19733" y="9392"/>
                        <a:pt x="19882"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65" y="4006"/>
                        <a:pt x="17532"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1015" y="18244"/>
                        <a:pt x="20801" y="16971"/>
                        <a:pt x="20566" y="15699"/>
                      </a:cubicBezTo>
                      <a:close/>
                      <a:moveTo>
                        <a:pt x="19882" y="10962"/>
                      </a:moveTo>
                      <a:lnTo>
                        <a:pt x="910" y="13913"/>
                      </a:lnTo>
                      <a:cubicBezTo>
                        <a:pt x="675" y="15320"/>
                        <a:pt x="419" y="16728"/>
                        <a:pt x="162" y="18108"/>
                      </a:cubicBezTo>
                      <a:lnTo>
                        <a:pt x="20566" y="14941"/>
                      </a:lnTo>
                      <a:cubicBezTo>
                        <a:pt x="20352" y="13615"/>
                        <a:pt x="20117" y="12289"/>
                        <a:pt x="19882"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5" name="Rectangle">
                  <a:extLst>
                    <a:ext uri="{FF2B5EF4-FFF2-40B4-BE49-F238E27FC236}">
                      <a16:creationId xmlns:a16="http://schemas.microsoft.com/office/drawing/2014/main" id="{0C22F3CA-FC0D-2237-B15F-6F095E92636E}"/>
                    </a:ext>
                  </a:extLst>
                </p:cNvPr>
                <p:cNvSpPr/>
                <p:nvPr/>
              </p:nvSpPr>
              <p:spPr>
                <a:xfrm>
                  <a:off x="309204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6" name="Graphic 17" descr="Lightbulb with solid fill">
                  <a:extLst>
                    <a:ext uri="{FF2B5EF4-FFF2-40B4-BE49-F238E27FC236}">
                      <a16:creationId xmlns:a16="http://schemas.microsoft.com/office/drawing/2014/main" id="{DB3C7915-8496-7DCC-8F84-4CBF488100B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73243" y="3202697"/>
                  <a:ext cx="739056" cy="739056"/>
                </a:xfrm>
                <a:prstGeom prst="rect">
                  <a:avLst/>
                </a:prstGeom>
              </p:spPr>
            </p:pic>
            <p:grpSp>
              <p:nvGrpSpPr>
                <p:cNvPr id="7" name="Group 18">
                  <a:extLst>
                    <a:ext uri="{FF2B5EF4-FFF2-40B4-BE49-F238E27FC236}">
                      <a16:creationId xmlns:a16="http://schemas.microsoft.com/office/drawing/2014/main" id="{A281D562-683D-6F1C-4989-93CB6DF267B7}"/>
                    </a:ext>
                  </a:extLst>
                </p:cNvPr>
                <p:cNvGrpSpPr/>
                <p:nvPr/>
              </p:nvGrpSpPr>
              <p:grpSpPr>
                <a:xfrm>
                  <a:off x="2371793" y="4226798"/>
                  <a:ext cx="1541957" cy="1136265"/>
                  <a:chOff x="332936" y="2781654"/>
                  <a:chExt cx="2975111" cy="1136265"/>
                </a:xfrm>
              </p:grpSpPr>
              <p:sp>
                <p:nvSpPr>
                  <p:cNvPr id="8" name="TextBox 19">
                    <a:extLst>
                      <a:ext uri="{FF2B5EF4-FFF2-40B4-BE49-F238E27FC236}">
                        <a16:creationId xmlns:a16="http://schemas.microsoft.com/office/drawing/2014/main" id="{CD4336CC-D10A-46AE-B549-0F93FEA817BF}"/>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9" name="TextBox 20">
                    <a:extLst>
                      <a:ext uri="{FF2B5EF4-FFF2-40B4-BE49-F238E27FC236}">
                        <a16:creationId xmlns:a16="http://schemas.microsoft.com/office/drawing/2014/main" id="{54174BE4-654A-4600-4261-BE7BD8B3B06B}"/>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7" name="Groupe 36">
                <a:extLst>
                  <a:ext uri="{FF2B5EF4-FFF2-40B4-BE49-F238E27FC236}">
                    <a16:creationId xmlns:a16="http://schemas.microsoft.com/office/drawing/2014/main" id="{9E39E0B0-0B2C-1677-1D20-59958540FF4C}"/>
                  </a:ext>
                </a:extLst>
              </p:cNvPr>
              <p:cNvGrpSpPr/>
              <p:nvPr/>
            </p:nvGrpSpPr>
            <p:grpSpPr>
              <a:xfrm>
                <a:off x="4007334" y="1043087"/>
                <a:ext cx="2186820" cy="4771825"/>
                <a:chOff x="4018041" y="1043087"/>
                <a:chExt cx="2186820" cy="4771825"/>
              </a:xfrm>
            </p:grpSpPr>
            <p:sp>
              <p:nvSpPr>
                <p:cNvPr id="10" name="Shape">
                  <a:extLst>
                    <a:ext uri="{FF2B5EF4-FFF2-40B4-BE49-F238E27FC236}">
                      <a16:creationId xmlns:a16="http://schemas.microsoft.com/office/drawing/2014/main" id="{08BEE366-E0D7-BFA7-A4A2-043B69A1E2D9}"/>
                    </a:ext>
                  </a:extLst>
                </p:cNvPr>
                <p:cNvSpPr/>
                <p:nvPr/>
              </p:nvSpPr>
              <p:spPr>
                <a:xfrm>
                  <a:off x="401804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4"/>
                </a:solidFill>
                <a:ln w="12700">
                  <a:miter lim="400000"/>
                </a:ln>
              </p:spPr>
              <p:txBody>
                <a:bodyPr lIns="38100" tIns="38100" rIns="38100" bIns="38100" anchor="ctr"/>
                <a:lstStyle/>
                <a:p>
                  <a:pPr>
                    <a:defRPr sz="3000">
                      <a:solidFill>
                        <a:srgbClr val="FFFFFF"/>
                      </a:solidFill>
                    </a:defRPr>
                  </a:pPr>
                  <a:endParaRPr/>
                </a:p>
              </p:txBody>
            </p:sp>
            <p:sp>
              <p:nvSpPr>
                <p:cNvPr id="11" name="Shape">
                  <a:extLst>
                    <a:ext uri="{FF2B5EF4-FFF2-40B4-BE49-F238E27FC236}">
                      <a16:creationId xmlns:a16="http://schemas.microsoft.com/office/drawing/2014/main" id="{901C9D8F-C473-F709-C16D-D812CFD18F46}"/>
                    </a:ext>
                  </a:extLst>
                </p:cNvPr>
                <p:cNvSpPr/>
                <p:nvPr/>
              </p:nvSpPr>
              <p:spPr>
                <a:xfrm>
                  <a:off x="457983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2" name="Rectangle">
                  <a:extLst>
                    <a:ext uri="{FF2B5EF4-FFF2-40B4-BE49-F238E27FC236}">
                      <a16:creationId xmlns:a16="http://schemas.microsoft.com/office/drawing/2014/main" id="{65E323FB-52DC-6E2E-1C77-C48E793C0247}"/>
                    </a:ext>
                  </a:extLst>
                </p:cNvPr>
                <p:cNvSpPr/>
                <p:nvPr/>
              </p:nvSpPr>
              <p:spPr>
                <a:xfrm>
                  <a:off x="506072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13" name="Graphic 15" descr="Gears with solid fill">
                  <a:extLst>
                    <a:ext uri="{FF2B5EF4-FFF2-40B4-BE49-F238E27FC236}">
                      <a16:creationId xmlns:a16="http://schemas.microsoft.com/office/drawing/2014/main" id="{A4E2178F-57D3-063E-4A70-4B51ECB9BE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41923" y="3202697"/>
                  <a:ext cx="739056" cy="739056"/>
                </a:xfrm>
                <a:prstGeom prst="rect">
                  <a:avLst/>
                </a:prstGeom>
              </p:spPr>
            </p:pic>
            <p:grpSp>
              <p:nvGrpSpPr>
                <p:cNvPr id="14" name="Group 21">
                  <a:extLst>
                    <a:ext uri="{FF2B5EF4-FFF2-40B4-BE49-F238E27FC236}">
                      <a16:creationId xmlns:a16="http://schemas.microsoft.com/office/drawing/2014/main" id="{4116F241-3260-E86B-4B52-DC5AFB7AB3DE}"/>
                    </a:ext>
                  </a:extLst>
                </p:cNvPr>
                <p:cNvGrpSpPr/>
                <p:nvPr/>
              </p:nvGrpSpPr>
              <p:grpSpPr>
                <a:xfrm>
                  <a:off x="4340473" y="4226798"/>
                  <a:ext cx="1541957" cy="1136265"/>
                  <a:chOff x="332936" y="2781654"/>
                  <a:chExt cx="2975111" cy="1136265"/>
                </a:xfrm>
              </p:grpSpPr>
              <p:sp>
                <p:nvSpPr>
                  <p:cNvPr id="15" name="TextBox 22">
                    <a:extLst>
                      <a:ext uri="{FF2B5EF4-FFF2-40B4-BE49-F238E27FC236}">
                        <a16:creationId xmlns:a16="http://schemas.microsoft.com/office/drawing/2014/main" id="{87FA6FC5-E57C-D7EF-8F98-CD1445777DA2}"/>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16" name="TextBox 23">
                    <a:extLst>
                      <a:ext uri="{FF2B5EF4-FFF2-40B4-BE49-F238E27FC236}">
                        <a16:creationId xmlns:a16="http://schemas.microsoft.com/office/drawing/2014/main" id="{1BD0BB80-2312-008B-1292-646DB06284C1}"/>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6" name="Groupe 35">
                <a:extLst>
                  <a:ext uri="{FF2B5EF4-FFF2-40B4-BE49-F238E27FC236}">
                    <a16:creationId xmlns:a16="http://schemas.microsoft.com/office/drawing/2014/main" id="{152B5F82-19DA-D144-BFF9-3A876C732FCE}"/>
                  </a:ext>
                </a:extLst>
              </p:cNvPr>
              <p:cNvGrpSpPr/>
              <p:nvPr/>
            </p:nvGrpSpPr>
            <p:grpSpPr>
              <a:xfrm>
                <a:off x="5965307" y="1043087"/>
                <a:ext cx="2186820" cy="4771825"/>
                <a:chOff x="5986721" y="1043087"/>
                <a:chExt cx="2186820" cy="4771825"/>
              </a:xfrm>
            </p:grpSpPr>
            <p:sp>
              <p:nvSpPr>
                <p:cNvPr id="17" name="Shape">
                  <a:extLst>
                    <a:ext uri="{FF2B5EF4-FFF2-40B4-BE49-F238E27FC236}">
                      <a16:creationId xmlns:a16="http://schemas.microsoft.com/office/drawing/2014/main" id="{3CC4A0C9-E5DE-966A-083E-E3C4AA2F7D0F}"/>
                    </a:ext>
                  </a:extLst>
                </p:cNvPr>
                <p:cNvSpPr/>
                <p:nvPr/>
              </p:nvSpPr>
              <p:spPr>
                <a:xfrm>
                  <a:off x="5986721" y="3082967"/>
                  <a:ext cx="2186820" cy="2731945"/>
                </a:xfrm>
                <a:custGeom>
                  <a:avLst/>
                  <a:gdLst/>
                  <a:ahLst/>
                  <a:cxnLst>
                    <a:cxn ang="0">
                      <a:pos x="wd2" y="hd2"/>
                    </a:cxn>
                    <a:cxn ang="5400000">
                      <a:pos x="wd2" y="hd2"/>
                    </a:cxn>
                    <a:cxn ang="10800000">
                      <a:pos x="wd2" y="hd2"/>
                    </a:cxn>
                    <a:cxn ang="16200000">
                      <a:pos x="wd2" y="hd2"/>
                    </a:cxn>
                  </a:cxnLst>
                  <a:rect l="0" t="0" r="r" b="b"/>
                  <a:pathLst>
                    <a:path w="20590" h="21600" extrusionOk="0">
                      <a:moveTo>
                        <a:pt x="19498" y="7709"/>
                      </a:moveTo>
                      <a:cubicBezTo>
                        <a:pt x="18663" y="5894"/>
                        <a:pt x="17155" y="4357"/>
                        <a:pt x="16361" y="2525"/>
                      </a:cubicBezTo>
                      <a:cubicBezTo>
                        <a:pt x="16129" y="1976"/>
                        <a:pt x="15918" y="1427"/>
                        <a:pt x="15737" y="861"/>
                      </a:cubicBezTo>
                      <a:cubicBezTo>
                        <a:pt x="15576" y="355"/>
                        <a:pt x="15023" y="0"/>
                        <a:pt x="14400" y="0"/>
                      </a:cubicBezTo>
                      <a:lnTo>
                        <a:pt x="6194" y="0"/>
                      </a:lnTo>
                      <a:cubicBezTo>
                        <a:pt x="5561" y="0"/>
                        <a:pt x="5018" y="355"/>
                        <a:pt x="4857" y="861"/>
                      </a:cubicBezTo>
                      <a:cubicBezTo>
                        <a:pt x="4676" y="1419"/>
                        <a:pt x="4475" y="1976"/>
                        <a:pt x="4233" y="2525"/>
                      </a:cubicBezTo>
                      <a:cubicBezTo>
                        <a:pt x="3449" y="4357"/>
                        <a:pt x="1941" y="5894"/>
                        <a:pt x="1096" y="7709"/>
                      </a:cubicBezTo>
                      <a:cubicBezTo>
                        <a:pt x="-211" y="10530"/>
                        <a:pt x="-503" y="13916"/>
                        <a:pt x="1076" y="16711"/>
                      </a:cubicBezTo>
                      <a:cubicBezTo>
                        <a:pt x="2715" y="19607"/>
                        <a:pt x="6224" y="21600"/>
                        <a:pt x="10287" y="21600"/>
                      </a:cubicBezTo>
                      <a:cubicBezTo>
                        <a:pt x="14350" y="21600"/>
                        <a:pt x="17869" y="19599"/>
                        <a:pt x="19498" y="16711"/>
                      </a:cubicBezTo>
                      <a:cubicBezTo>
                        <a:pt x="21097" y="13916"/>
                        <a:pt x="20805" y="10530"/>
                        <a:pt x="19498" y="7709"/>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758558F5-0523-7E8E-3581-E6AD39661C1B}"/>
                    </a:ext>
                  </a:extLst>
                </p:cNvPr>
                <p:cNvSpPr/>
                <p:nvPr/>
              </p:nvSpPr>
              <p:spPr>
                <a:xfrm>
                  <a:off x="6548511"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19" name="Rectangle">
                  <a:extLst>
                    <a:ext uri="{FF2B5EF4-FFF2-40B4-BE49-F238E27FC236}">
                      <a16:creationId xmlns:a16="http://schemas.microsoft.com/office/drawing/2014/main" id="{35F5CAEB-0193-BF44-453D-69AC84A72BD4}"/>
                    </a:ext>
                  </a:extLst>
                </p:cNvPr>
                <p:cNvSpPr/>
                <p:nvPr/>
              </p:nvSpPr>
              <p:spPr>
                <a:xfrm>
                  <a:off x="7029401"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20" name="Graphic 14" descr="Bullseye with solid fill">
                  <a:extLst>
                    <a:ext uri="{FF2B5EF4-FFF2-40B4-BE49-F238E27FC236}">
                      <a16:creationId xmlns:a16="http://schemas.microsoft.com/office/drawing/2014/main" id="{60A4BD51-D217-15FD-882A-2B1F6E3253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10603" y="3202697"/>
                  <a:ext cx="739056" cy="739056"/>
                </a:xfrm>
                <a:prstGeom prst="rect">
                  <a:avLst/>
                </a:prstGeom>
              </p:spPr>
            </p:pic>
            <p:grpSp>
              <p:nvGrpSpPr>
                <p:cNvPr id="21" name="Group 24">
                  <a:extLst>
                    <a:ext uri="{FF2B5EF4-FFF2-40B4-BE49-F238E27FC236}">
                      <a16:creationId xmlns:a16="http://schemas.microsoft.com/office/drawing/2014/main" id="{AB87B707-54F1-69D7-5B1B-B3226B76F797}"/>
                    </a:ext>
                  </a:extLst>
                </p:cNvPr>
                <p:cNvGrpSpPr/>
                <p:nvPr/>
              </p:nvGrpSpPr>
              <p:grpSpPr>
                <a:xfrm>
                  <a:off x="6309153" y="4226798"/>
                  <a:ext cx="1541957" cy="1136265"/>
                  <a:chOff x="332936" y="2781654"/>
                  <a:chExt cx="2975111" cy="1136265"/>
                </a:xfrm>
              </p:grpSpPr>
              <p:sp>
                <p:nvSpPr>
                  <p:cNvPr id="22" name="TextBox 25">
                    <a:extLst>
                      <a:ext uri="{FF2B5EF4-FFF2-40B4-BE49-F238E27FC236}">
                        <a16:creationId xmlns:a16="http://schemas.microsoft.com/office/drawing/2014/main" id="{038C552D-AC79-EB76-53C4-EDC0D57E1DB6}"/>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23" name="TextBox 26">
                    <a:extLst>
                      <a:ext uri="{FF2B5EF4-FFF2-40B4-BE49-F238E27FC236}">
                        <a16:creationId xmlns:a16="http://schemas.microsoft.com/office/drawing/2014/main" id="{B70C246D-12BD-3868-D8BF-9CDC3AF01717}"/>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5" name="Groupe 34">
                <a:extLst>
                  <a:ext uri="{FF2B5EF4-FFF2-40B4-BE49-F238E27FC236}">
                    <a16:creationId xmlns:a16="http://schemas.microsoft.com/office/drawing/2014/main" id="{96A635E4-3F04-9E39-F17C-8888FCA0EB12}"/>
                  </a:ext>
                </a:extLst>
              </p:cNvPr>
              <p:cNvGrpSpPr/>
              <p:nvPr/>
            </p:nvGrpSpPr>
            <p:grpSpPr>
              <a:xfrm>
                <a:off x="7923280" y="1043087"/>
                <a:ext cx="2187239" cy="4771825"/>
                <a:chOff x="7955401" y="1043087"/>
                <a:chExt cx="2187239" cy="4771825"/>
              </a:xfrm>
            </p:grpSpPr>
            <p:sp>
              <p:nvSpPr>
                <p:cNvPr id="24" name="Shape">
                  <a:extLst>
                    <a:ext uri="{FF2B5EF4-FFF2-40B4-BE49-F238E27FC236}">
                      <a16:creationId xmlns:a16="http://schemas.microsoft.com/office/drawing/2014/main" id="{F34C7A61-1732-EFD6-2613-3422E4DD8890}"/>
                    </a:ext>
                  </a:extLst>
                </p:cNvPr>
                <p:cNvSpPr/>
                <p:nvPr/>
              </p:nvSpPr>
              <p:spPr>
                <a:xfrm>
                  <a:off x="7955401" y="3082967"/>
                  <a:ext cx="2187239" cy="2731945"/>
                </a:xfrm>
                <a:custGeom>
                  <a:avLst/>
                  <a:gdLst/>
                  <a:ahLst/>
                  <a:cxnLst>
                    <a:cxn ang="0">
                      <a:pos x="wd2" y="hd2"/>
                    </a:cxn>
                    <a:cxn ang="5400000">
                      <a:pos x="wd2" y="hd2"/>
                    </a:cxn>
                    <a:cxn ang="10800000">
                      <a:pos x="wd2" y="hd2"/>
                    </a:cxn>
                    <a:cxn ang="16200000">
                      <a:pos x="wd2" y="hd2"/>
                    </a:cxn>
                  </a:cxnLst>
                  <a:rect l="0" t="0" r="r" b="b"/>
                  <a:pathLst>
                    <a:path w="20585" h="21600" extrusionOk="0">
                      <a:moveTo>
                        <a:pt x="19489" y="7709"/>
                      </a:moveTo>
                      <a:cubicBezTo>
                        <a:pt x="18655" y="5894"/>
                        <a:pt x="17147" y="4357"/>
                        <a:pt x="16353" y="2525"/>
                      </a:cubicBezTo>
                      <a:cubicBezTo>
                        <a:pt x="16122" y="1976"/>
                        <a:pt x="15911" y="1427"/>
                        <a:pt x="15730" y="861"/>
                      </a:cubicBezTo>
                      <a:cubicBezTo>
                        <a:pt x="15569" y="355"/>
                        <a:pt x="15016" y="0"/>
                        <a:pt x="14393" y="0"/>
                      </a:cubicBezTo>
                      <a:lnTo>
                        <a:pt x="6191" y="0"/>
                      </a:lnTo>
                      <a:cubicBezTo>
                        <a:pt x="5558" y="0"/>
                        <a:pt x="5015" y="355"/>
                        <a:pt x="4854" y="861"/>
                      </a:cubicBezTo>
                      <a:cubicBezTo>
                        <a:pt x="4673" y="1419"/>
                        <a:pt x="4472" y="1976"/>
                        <a:pt x="4231" y="2525"/>
                      </a:cubicBezTo>
                      <a:cubicBezTo>
                        <a:pt x="3447" y="4357"/>
                        <a:pt x="1939" y="5894"/>
                        <a:pt x="1095" y="7709"/>
                      </a:cubicBezTo>
                      <a:cubicBezTo>
                        <a:pt x="-212" y="10530"/>
                        <a:pt x="-503" y="13916"/>
                        <a:pt x="1075" y="16711"/>
                      </a:cubicBezTo>
                      <a:cubicBezTo>
                        <a:pt x="2713" y="19607"/>
                        <a:pt x="6221" y="21600"/>
                        <a:pt x="10282" y="21600"/>
                      </a:cubicBezTo>
                      <a:cubicBezTo>
                        <a:pt x="14343" y="21600"/>
                        <a:pt x="17861" y="19599"/>
                        <a:pt x="19489" y="16711"/>
                      </a:cubicBezTo>
                      <a:cubicBezTo>
                        <a:pt x="21097" y="13916"/>
                        <a:pt x="20795" y="10530"/>
                        <a:pt x="19489" y="7709"/>
                      </a:cubicBezTo>
                      <a:close/>
                    </a:path>
                  </a:pathLst>
                </a:custGeom>
                <a:solidFill>
                  <a:schemeClr val="accent6"/>
                </a:solidFill>
                <a:ln w="12700">
                  <a:miter lim="400000"/>
                </a:ln>
              </p:spPr>
              <p:txBody>
                <a:bodyPr lIns="38100" tIns="38100" rIns="38100" bIns="38100" anchor="ctr"/>
                <a:lstStyle/>
                <a:p>
                  <a:pPr>
                    <a:defRPr sz="3000">
                      <a:solidFill>
                        <a:srgbClr val="FFFFFF"/>
                      </a:solidFill>
                    </a:defRPr>
                  </a:pPr>
                  <a:endParaRPr/>
                </a:p>
              </p:txBody>
            </p:sp>
            <p:sp>
              <p:nvSpPr>
                <p:cNvPr id="25" name="Shape">
                  <a:extLst>
                    <a:ext uri="{FF2B5EF4-FFF2-40B4-BE49-F238E27FC236}">
                      <a16:creationId xmlns:a16="http://schemas.microsoft.com/office/drawing/2014/main" id="{754785DF-5C4E-C04B-F09E-F9B6F65D9150}"/>
                    </a:ext>
                  </a:extLst>
                </p:cNvPr>
                <p:cNvSpPr/>
                <p:nvPr/>
              </p:nvSpPr>
              <p:spPr>
                <a:xfrm>
                  <a:off x="8517400"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26" name="Rectangle">
                  <a:extLst>
                    <a:ext uri="{FF2B5EF4-FFF2-40B4-BE49-F238E27FC236}">
                      <a16:creationId xmlns:a16="http://schemas.microsoft.com/office/drawing/2014/main" id="{0886CBEE-349B-5126-6B9B-08DAD9A4A025}"/>
                    </a:ext>
                  </a:extLst>
                </p:cNvPr>
                <p:cNvSpPr/>
                <p:nvPr/>
              </p:nvSpPr>
              <p:spPr>
                <a:xfrm>
                  <a:off x="8998290"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pic>
              <p:nvPicPr>
                <p:cNvPr id="27" name="Graphic 16" descr="Hourglass 30% with solid fill">
                  <a:extLst>
                    <a:ext uri="{FF2B5EF4-FFF2-40B4-BE49-F238E27FC236}">
                      <a16:creationId xmlns:a16="http://schemas.microsoft.com/office/drawing/2014/main" id="{6A8492A0-BCF7-E30B-36DD-61CA28B4EA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79492" y="3186346"/>
                  <a:ext cx="739056" cy="739056"/>
                </a:xfrm>
                <a:prstGeom prst="rect">
                  <a:avLst/>
                </a:prstGeom>
              </p:spPr>
            </p:pic>
            <p:grpSp>
              <p:nvGrpSpPr>
                <p:cNvPr id="28" name="Group 27">
                  <a:extLst>
                    <a:ext uri="{FF2B5EF4-FFF2-40B4-BE49-F238E27FC236}">
                      <a16:creationId xmlns:a16="http://schemas.microsoft.com/office/drawing/2014/main" id="{A6FD8987-D052-404D-22CE-39B2CFBE872B}"/>
                    </a:ext>
                  </a:extLst>
                </p:cNvPr>
                <p:cNvGrpSpPr/>
                <p:nvPr/>
              </p:nvGrpSpPr>
              <p:grpSpPr>
                <a:xfrm>
                  <a:off x="8278042" y="4226798"/>
                  <a:ext cx="1541957" cy="1136265"/>
                  <a:chOff x="332936" y="2781654"/>
                  <a:chExt cx="2975111" cy="1136265"/>
                </a:xfrm>
              </p:grpSpPr>
              <p:sp>
                <p:nvSpPr>
                  <p:cNvPr id="29" name="TextBox 28">
                    <a:extLst>
                      <a:ext uri="{FF2B5EF4-FFF2-40B4-BE49-F238E27FC236}">
                        <a16:creationId xmlns:a16="http://schemas.microsoft.com/office/drawing/2014/main" id="{D18A8842-C796-19AC-5F7D-7970825652F1}"/>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30" name="TextBox 29">
                    <a:extLst>
                      <a:ext uri="{FF2B5EF4-FFF2-40B4-BE49-F238E27FC236}">
                        <a16:creationId xmlns:a16="http://schemas.microsoft.com/office/drawing/2014/main" id="{48114EF3-16A1-E8A1-43F0-3DA20755BE24}"/>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nvGrpSpPr>
              <p:cNvPr id="38" name="Groupe 37">
                <a:extLst>
                  <a:ext uri="{FF2B5EF4-FFF2-40B4-BE49-F238E27FC236}">
                    <a16:creationId xmlns:a16="http://schemas.microsoft.com/office/drawing/2014/main" id="{51356D32-8353-8E8D-D786-8C8412723BDC}"/>
                  </a:ext>
                </a:extLst>
              </p:cNvPr>
              <p:cNvGrpSpPr/>
              <p:nvPr/>
            </p:nvGrpSpPr>
            <p:grpSpPr>
              <a:xfrm>
                <a:off x="9881673" y="1043087"/>
                <a:ext cx="2187239" cy="4771825"/>
                <a:chOff x="7955401" y="1043087"/>
                <a:chExt cx="2187239" cy="4771825"/>
              </a:xfrm>
            </p:grpSpPr>
            <p:sp>
              <p:nvSpPr>
                <p:cNvPr id="39" name="Shape">
                  <a:extLst>
                    <a:ext uri="{FF2B5EF4-FFF2-40B4-BE49-F238E27FC236}">
                      <a16:creationId xmlns:a16="http://schemas.microsoft.com/office/drawing/2014/main" id="{DB6A7B26-2AF8-3F38-3CCC-DCE62D2D201B}"/>
                    </a:ext>
                  </a:extLst>
                </p:cNvPr>
                <p:cNvSpPr/>
                <p:nvPr/>
              </p:nvSpPr>
              <p:spPr>
                <a:xfrm>
                  <a:off x="7955401" y="3082967"/>
                  <a:ext cx="2187239" cy="2731945"/>
                </a:xfrm>
                <a:custGeom>
                  <a:avLst/>
                  <a:gdLst/>
                  <a:ahLst/>
                  <a:cxnLst>
                    <a:cxn ang="0">
                      <a:pos x="wd2" y="hd2"/>
                    </a:cxn>
                    <a:cxn ang="5400000">
                      <a:pos x="wd2" y="hd2"/>
                    </a:cxn>
                    <a:cxn ang="10800000">
                      <a:pos x="wd2" y="hd2"/>
                    </a:cxn>
                    <a:cxn ang="16200000">
                      <a:pos x="wd2" y="hd2"/>
                    </a:cxn>
                  </a:cxnLst>
                  <a:rect l="0" t="0" r="r" b="b"/>
                  <a:pathLst>
                    <a:path w="20585" h="21600" extrusionOk="0">
                      <a:moveTo>
                        <a:pt x="19489" y="7709"/>
                      </a:moveTo>
                      <a:cubicBezTo>
                        <a:pt x="18655" y="5894"/>
                        <a:pt x="17147" y="4357"/>
                        <a:pt x="16353" y="2525"/>
                      </a:cubicBezTo>
                      <a:cubicBezTo>
                        <a:pt x="16122" y="1976"/>
                        <a:pt x="15911" y="1427"/>
                        <a:pt x="15730" y="861"/>
                      </a:cubicBezTo>
                      <a:cubicBezTo>
                        <a:pt x="15569" y="355"/>
                        <a:pt x="15016" y="0"/>
                        <a:pt x="14393" y="0"/>
                      </a:cubicBezTo>
                      <a:lnTo>
                        <a:pt x="6191" y="0"/>
                      </a:lnTo>
                      <a:cubicBezTo>
                        <a:pt x="5558" y="0"/>
                        <a:pt x="5015" y="355"/>
                        <a:pt x="4854" y="861"/>
                      </a:cubicBezTo>
                      <a:cubicBezTo>
                        <a:pt x="4673" y="1419"/>
                        <a:pt x="4472" y="1976"/>
                        <a:pt x="4231" y="2525"/>
                      </a:cubicBezTo>
                      <a:cubicBezTo>
                        <a:pt x="3447" y="4357"/>
                        <a:pt x="1939" y="5894"/>
                        <a:pt x="1095" y="7709"/>
                      </a:cubicBezTo>
                      <a:cubicBezTo>
                        <a:pt x="-212" y="10530"/>
                        <a:pt x="-503" y="13916"/>
                        <a:pt x="1075" y="16711"/>
                      </a:cubicBezTo>
                      <a:cubicBezTo>
                        <a:pt x="2713" y="19607"/>
                        <a:pt x="6221" y="21600"/>
                        <a:pt x="10282" y="21600"/>
                      </a:cubicBezTo>
                      <a:cubicBezTo>
                        <a:pt x="14343" y="21600"/>
                        <a:pt x="17861" y="19599"/>
                        <a:pt x="19489" y="16711"/>
                      </a:cubicBezTo>
                      <a:cubicBezTo>
                        <a:pt x="21097" y="13916"/>
                        <a:pt x="20795" y="10530"/>
                        <a:pt x="19489" y="7709"/>
                      </a:cubicBezTo>
                      <a:close/>
                    </a:path>
                  </a:pathLst>
                </a:custGeom>
                <a:solidFill>
                  <a:schemeClr val="tx2"/>
                </a:solidFill>
                <a:ln w="12700">
                  <a:miter lim="400000"/>
                </a:ln>
              </p:spPr>
              <p:txBody>
                <a:bodyPr lIns="38100" tIns="38100" rIns="38100" bIns="38100" anchor="ctr"/>
                <a:lstStyle/>
                <a:p>
                  <a:pPr>
                    <a:defRPr sz="3000">
                      <a:solidFill>
                        <a:srgbClr val="FFFFFF"/>
                      </a:solidFill>
                    </a:defRPr>
                  </a:pPr>
                  <a:endParaRPr/>
                </a:p>
              </p:txBody>
            </p:sp>
            <p:sp>
              <p:nvSpPr>
                <p:cNvPr id="40" name="Shape">
                  <a:extLst>
                    <a:ext uri="{FF2B5EF4-FFF2-40B4-BE49-F238E27FC236}">
                      <a16:creationId xmlns:a16="http://schemas.microsoft.com/office/drawing/2014/main" id="{D6BEA4D5-673C-795C-C51B-3168DB56B537}"/>
                    </a:ext>
                  </a:extLst>
                </p:cNvPr>
                <p:cNvSpPr/>
                <p:nvPr/>
              </p:nvSpPr>
              <p:spPr>
                <a:xfrm>
                  <a:off x="8517400" y="2200264"/>
                  <a:ext cx="1063240" cy="852266"/>
                </a:xfrm>
                <a:custGeom>
                  <a:avLst/>
                  <a:gdLst/>
                  <a:ahLst/>
                  <a:cxnLst>
                    <a:cxn ang="0">
                      <a:pos x="wd2" y="hd2"/>
                    </a:cxn>
                    <a:cxn ang="5400000">
                      <a:pos x="wd2" y="hd2"/>
                    </a:cxn>
                    <a:cxn ang="10800000">
                      <a:pos x="wd2" y="hd2"/>
                    </a:cxn>
                    <a:cxn ang="16200000">
                      <a:pos x="wd2" y="hd2"/>
                    </a:cxn>
                  </a:cxnLst>
                  <a:rect l="0" t="0" r="r" b="b"/>
                  <a:pathLst>
                    <a:path w="21270" h="21600" extrusionOk="0">
                      <a:moveTo>
                        <a:pt x="19861" y="10204"/>
                      </a:moveTo>
                      <a:lnTo>
                        <a:pt x="889" y="13155"/>
                      </a:lnTo>
                      <a:cubicBezTo>
                        <a:pt x="1124" y="11747"/>
                        <a:pt x="1380" y="10340"/>
                        <a:pt x="1637" y="8959"/>
                      </a:cubicBezTo>
                      <a:lnTo>
                        <a:pt x="19135" y="6253"/>
                      </a:lnTo>
                      <a:cubicBezTo>
                        <a:pt x="19305" y="6740"/>
                        <a:pt x="19412" y="7308"/>
                        <a:pt x="19412" y="7877"/>
                      </a:cubicBezTo>
                      <a:cubicBezTo>
                        <a:pt x="19562" y="8608"/>
                        <a:pt x="19711" y="9392"/>
                        <a:pt x="19861" y="10204"/>
                      </a:cubicBezTo>
                      <a:close/>
                      <a:moveTo>
                        <a:pt x="16208" y="3005"/>
                      </a:moveTo>
                      <a:lnTo>
                        <a:pt x="15695" y="3005"/>
                      </a:lnTo>
                      <a:cubicBezTo>
                        <a:pt x="15118" y="3005"/>
                        <a:pt x="14627" y="2490"/>
                        <a:pt x="14477" y="1786"/>
                      </a:cubicBezTo>
                      <a:lnTo>
                        <a:pt x="14477" y="1786"/>
                      </a:lnTo>
                      <a:cubicBezTo>
                        <a:pt x="14477" y="812"/>
                        <a:pt x="13857" y="0"/>
                        <a:pt x="13067" y="0"/>
                      </a:cubicBezTo>
                      <a:lnTo>
                        <a:pt x="10631" y="0"/>
                      </a:lnTo>
                      <a:lnTo>
                        <a:pt x="8196" y="0"/>
                      </a:lnTo>
                      <a:cubicBezTo>
                        <a:pt x="7427" y="0"/>
                        <a:pt x="6786" y="785"/>
                        <a:pt x="6786" y="1786"/>
                      </a:cubicBezTo>
                      <a:cubicBezTo>
                        <a:pt x="6786" y="1786"/>
                        <a:pt x="6786" y="1786"/>
                        <a:pt x="6786" y="1786"/>
                      </a:cubicBezTo>
                      <a:cubicBezTo>
                        <a:pt x="6657" y="2490"/>
                        <a:pt x="6145" y="3005"/>
                        <a:pt x="5568" y="3005"/>
                      </a:cubicBezTo>
                      <a:lnTo>
                        <a:pt x="5055" y="3005"/>
                      </a:lnTo>
                      <a:cubicBezTo>
                        <a:pt x="3282" y="3005"/>
                        <a:pt x="1829" y="4818"/>
                        <a:pt x="1829" y="7092"/>
                      </a:cubicBezTo>
                      <a:cubicBezTo>
                        <a:pt x="1765" y="7444"/>
                        <a:pt x="1701" y="7823"/>
                        <a:pt x="1637" y="8174"/>
                      </a:cubicBezTo>
                      <a:lnTo>
                        <a:pt x="19135" y="5468"/>
                      </a:lnTo>
                      <a:cubicBezTo>
                        <a:pt x="18643" y="4006"/>
                        <a:pt x="17511" y="3005"/>
                        <a:pt x="16208" y="3005"/>
                      </a:cubicBezTo>
                      <a:close/>
                      <a:moveTo>
                        <a:pt x="20566" y="15699"/>
                      </a:moveTo>
                      <a:lnTo>
                        <a:pt x="162" y="18866"/>
                      </a:lnTo>
                      <a:cubicBezTo>
                        <a:pt x="120" y="19083"/>
                        <a:pt x="77" y="19299"/>
                        <a:pt x="34" y="19516"/>
                      </a:cubicBezTo>
                      <a:cubicBezTo>
                        <a:pt x="-158" y="20598"/>
                        <a:pt x="483" y="21600"/>
                        <a:pt x="1338" y="21600"/>
                      </a:cubicBezTo>
                      <a:lnTo>
                        <a:pt x="19925" y="21600"/>
                      </a:lnTo>
                      <a:cubicBezTo>
                        <a:pt x="20801" y="21600"/>
                        <a:pt x="21442" y="20571"/>
                        <a:pt x="21228" y="19516"/>
                      </a:cubicBezTo>
                      <a:cubicBezTo>
                        <a:pt x="20993" y="18244"/>
                        <a:pt x="20780" y="16971"/>
                        <a:pt x="20566" y="15699"/>
                      </a:cubicBezTo>
                      <a:close/>
                      <a:moveTo>
                        <a:pt x="19861" y="10962"/>
                      </a:moveTo>
                      <a:lnTo>
                        <a:pt x="889" y="13913"/>
                      </a:lnTo>
                      <a:cubicBezTo>
                        <a:pt x="654" y="15320"/>
                        <a:pt x="397" y="16728"/>
                        <a:pt x="141" y="18108"/>
                      </a:cubicBezTo>
                      <a:lnTo>
                        <a:pt x="20545" y="14941"/>
                      </a:lnTo>
                      <a:cubicBezTo>
                        <a:pt x="20331" y="13615"/>
                        <a:pt x="20096" y="12289"/>
                        <a:pt x="19861" y="10962"/>
                      </a:cubicBezTo>
                      <a:close/>
                    </a:path>
                  </a:pathLst>
                </a:custGeom>
                <a:solidFill>
                  <a:schemeClr val="bg1">
                    <a:lumMod val="65000"/>
                  </a:schemeClr>
                </a:solidFill>
                <a:ln w="12700">
                  <a:miter lim="400000"/>
                </a:ln>
              </p:spPr>
              <p:txBody>
                <a:bodyPr lIns="38100" tIns="38100" rIns="38100" bIns="38100" anchor="ctr"/>
                <a:lstStyle/>
                <a:p>
                  <a:pPr>
                    <a:defRPr sz="3000">
                      <a:solidFill>
                        <a:srgbClr val="FFFFFF"/>
                      </a:solidFill>
                    </a:defRPr>
                  </a:pPr>
                  <a:endParaRPr/>
                </a:p>
              </p:txBody>
            </p:sp>
            <p:sp>
              <p:nvSpPr>
                <p:cNvPr id="41" name="Rectangle">
                  <a:extLst>
                    <a:ext uri="{FF2B5EF4-FFF2-40B4-BE49-F238E27FC236}">
                      <a16:creationId xmlns:a16="http://schemas.microsoft.com/office/drawing/2014/main" id="{9A073194-FDE8-40F9-0CB7-29660A53E08E}"/>
                    </a:ext>
                  </a:extLst>
                </p:cNvPr>
                <p:cNvSpPr/>
                <p:nvPr/>
              </p:nvSpPr>
              <p:spPr>
                <a:xfrm>
                  <a:off x="8998290" y="1043087"/>
                  <a:ext cx="101460" cy="1126740"/>
                </a:xfrm>
                <a:prstGeom prst="rect">
                  <a:avLst/>
                </a:prstGeom>
                <a:solidFill>
                  <a:schemeClr val="tx1"/>
                </a:solidFill>
                <a:ln w="12700">
                  <a:miter lim="400000"/>
                </a:ln>
              </p:spPr>
              <p:txBody>
                <a:bodyPr lIns="38100" tIns="38100" rIns="38100" bIns="38100" anchor="ctr"/>
                <a:lstStyle/>
                <a:p>
                  <a:pPr>
                    <a:defRPr sz="3000">
                      <a:solidFill>
                        <a:srgbClr val="FFFFFF"/>
                      </a:solidFill>
                    </a:defRPr>
                  </a:pPr>
                  <a:endParaRPr/>
                </a:p>
              </p:txBody>
            </p:sp>
            <p:grpSp>
              <p:nvGrpSpPr>
                <p:cNvPr id="43" name="Group 27">
                  <a:extLst>
                    <a:ext uri="{FF2B5EF4-FFF2-40B4-BE49-F238E27FC236}">
                      <a16:creationId xmlns:a16="http://schemas.microsoft.com/office/drawing/2014/main" id="{CE17E87F-6C32-7538-B009-F6712605F803}"/>
                    </a:ext>
                  </a:extLst>
                </p:cNvPr>
                <p:cNvGrpSpPr/>
                <p:nvPr/>
              </p:nvGrpSpPr>
              <p:grpSpPr>
                <a:xfrm>
                  <a:off x="8278042" y="4226798"/>
                  <a:ext cx="1541957" cy="1136265"/>
                  <a:chOff x="332936" y="2781654"/>
                  <a:chExt cx="2975111" cy="1136265"/>
                </a:xfrm>
              </p:grpSpPr>
              <p:sp>
                <p:nvSpPr>
                  <p:cNvPr id="44" name="TextBox 28">
                    <a:extLst>
                      <a:ext uri="{FF2B5EF4-FFF2-40B4-BE49-F238E27FC236}">
                        <a16:creationId xmlns:a16="http://schemas.microsoft.com/office/drawing/2014/main" id="{03B2791D-FF23-32B6-AAA0-3AE10EA3D58E}"/>
                      </a:ext>
                    </a:extLst>
                  </p:cNvPr>
                  <p:cNvSpPr txBox="1"/>
                  <p:nvPr/>
                </p:nvSpPr>
                <p:spPr>
                  <a:xfrm>
                    <a:off x="332936" y="2781654"/>
                    <a:ext cx="2926080" cy="307777"/>
                  </a:xfrm>
                  <a:prstGeom prst="rect">
                    <a:avLst/>
                  </a:prstGeom>
                  <a:noFill/>
                </p:spPr>
                <p:txBody>
                  <a:bodyPr wrap="square" lIns="0" rIns="0" rtlCol="0" anchor="b">
                    <a:spAutoFit/>
                  </a:bodyPr>
                  <a:lstStyle/>
                  <a:p>
                    <a:pPr algn="ctr"/>
                    <a:r>
                      <a:rPr lang="en-US" b="1" noProof="1">
                        <a:solidFill>
                          <a:schemeClr val="bg1"/>
                        </a:solidFill>
                      </a:rPr>
                      <a:t>Lorem Ipsum</a:t>
                    </a:r>
                  </a:p>
                </p:txBody>
              </p:sp>
              <p:sp>
                <p:nvSpPr>
                  <p:cNvPr id="45" name="TextBox 29">
                    <a:extLst>
                      <a:ext uri="{FF2B5EF4-FFF2-40B4-BE49-F238E27FC236}">
                        <a16:creationId xmlns:a16="http://schemas.microsoft.com/office/drawing/2014/main" id="{8A0352F4-CF89-3A45-F20F-E1BC9CF5E994}"/>
                      </a:ext>
                    </a:extLst>
                  </p:cNvPr>
                  <p:cNvSpPr txBox="1"/>
                  <p:nvPr/>
                </p:nvSpPr>
                <p:spPr>
                  <a:xfrm>
                    <a:off x="332936" y="3086922"/>
                    <a:ext cx="2975111" cy="830997"/>
                  </a:xfrm>
                  <a:prstGeom prst="rect">
                    <a:avLst/>
                  </a:prstGeom>
                  <a:noFill/>
                </p:spPr>
                <p:txBody>
                  <a:bodyPr wrap="square" lIns="0" rIns="0" rtlCol="0" anchor="t">
                    <a:spAutoFit/>
                  </a:bodyPr>
                  <a:lstStyle/>
                  <a:p>
                    <a:pPr algn="ctr"/>
                    <a:r>
                      <a:rPr lang="en-US" sz="1200" noProof="1">
                        <a:solidFill>
                          <a:schemeClr val="bg1"/>
                        </a:solidFill>
                      </a:rPr>
                      <a:t>Lorem ipsum dolor sit amet, nibh est. A magna maecenas, quam. </a:t>
                    </a:r>
                  </a:p>
                </p:txBody>
              </p:sp>
            </p:grpSp>
          </p:grpSp>
        </p:grpSp>
        <p:pic>
          <p:nvPicPr>
            <p:cNvPr id="48" name="alert">
              <a:extLst>
                <a:ext uri="{FF2B5EF4-FFF2-40B4-BE49-F238E27FC236}">
                  <a16:creationId xmlns:a16="http://schemas.microsoft.com/office/drawing/2014/main" id="{4AEAEBDA-95EB-EA5C-C183-18BD86C7DBC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17660" y="3302040"/>
              <a:ext cx="567220" cy="612000"/>
            </a:xfrm>
            <a:prstGeom prst="rect">
              <a:avLst/>
            </a:prstGeom>
          </p:spPr>
        </p:pic>
      </p:grpSp>
    </p:spTree>
    <p:extLst>
      <p:ext uri="{BB962C8B-B14F-4D97-AF65-F5344CB8AC3E}">
        <p14:creationId xmlns:p14="http://schemas.microsoft.com/office/powerpoint/2010/main" val="233016707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83894D5-FCAC-A99A-F40D-CB74AEBBB4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17" name="think-cell data - do not delete" hidden="1">
                        <a:extLst>
                          <a:ext uri="{FF2B5EF4-FFF2-40B4-BE49-F238E27FC236}">
                            <a16:creationId xmlns:a16="http://schemas.microsoft.com/office/drawing/2014/main" id="{A83894D5-FCAC-A99A-F40D-CB74AEBBB4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Isosceles Triangle 12">
            <a:extLst>
              <a:ext uri="{FF2B5EF4-FFF2-40B4-BE49-F238E27FC236}">
                <a16:creationId xmlns:a16="http://schemas.microsoft.com/office/drawing/2014/main" id="{04DFC07C-5283-B149-5009-2F4DF8025537}"/>
              </a:ext>
            </a:extLst>
          </p:cNvPr>
          <p:cNvSpPr/>
          <p:nvPr/>
        </p:nvSpPr>
        <p:spPr bwMode="auto">
          <a:xfrm rot="16200000">
            <a:off x="2405661" y="578294"/>
            <a:ext cx="2126025" cy="4220163"/>
          </a:xfrm>
          <a:custGeom>
            <a:avLst/>
            <a:gdLst>
              <a:gd name="connsiteX0" fmla="*/ 0 w 4252050"/>
              <a:gd name="connsiteY0" fmla="*/ 4209012 h 4209012"/>
              <a:gd name="connsiteX1" fmla="*/ 2126025 w 4252050"/>
              <a:gd name="connsiteY1" fmla="*/ 0 h 4209012"/>
              <a:gd name="connsiteX2" fmla="*/ 4252050 w 4252050"/>
              <a:gd name="connsiteY2" fmla="*/ 4209012 h 4209012"/>
              <a:gd name="connsiteX3" fmla="*/ 0 w 4252050"/>
              <a:gd name="connsiteY3" fmla="*/ 4209012 h 4209012"/>
              <a:gd name="connsiteX0" fmla="*/ 851351 w 2126025"/>
              <a:gd name="connsiteY0" fmla="*/ 4220163 h 4220163"/>
              <a:gd name="connsiteX1" fmla="*/ 0 w 2126025"/>
              <a:gd name="connsiteY1" fmla="*/ 0 h 4220163"/>
              <a:gd name="connsiteX2" fmla="*/ 2126025 w 2126025"/>
              <a:gd name="connsiteY2" fmla="*/ 4209012 h 4220163"/>
              <a:gd name="connsiteX3" fmla="*/ 851351 w 2126025"/>
              <a:gd name="connsiteY3" fmla="*/ 4220163 h 4220163"/>
            </a:gdLst>
            <a:ahLst/>
            <a:cxnLst>
              <a:cxn ang="0">
                <a:pos x="connsiteX0" y="connsiteY0"/>
              </a:cxn>
              <a:cxn ang="0">
                <a:pos x="connsiteX1" y="connsiteY1"/>
              </a:cxn>
              <a:cxn ang="0">
                <a:pos x="connsiteX2" y="connsiteY2"/>
              </a:cxn>
              <a:cxn ang="0">
                <a:pos x="connsiteX3" y="connsiteY3"/>
              </a:cxn>
            </a:cxnLst>
            <a:rect l="l" t="t" r="r" b="b"/>
            <a:pathLst>
              <a:path w="2126025" h="4220163">
                <a:moveTo>
                  <a:pt x="851351" y="4220163"/>
                </a:moveTo>
                <a:lnTo>
                  <a:pt x="0" y="0"/>
                </a:lnTo>
                <a:lnTo>
                  <a:pt x="2126025" y="4209012"/>
                </a:lnTo>
                <a:lnTo>
                  <a:pt x="851351" y="4220163"/>
                </a:lnTo>
                <a:close/>
              </a:path>
            </a:pathLst>
          </a:custGeom>
          <a:solidFill>
            <a:schemeClr val="accent2">
              <a:alpha val="3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5" name="Isosceles Triangle 23">
            <a:extLst>
              <a:ext uri="{FF2B5EF4-FFF2-40B4-BE49-F238E27FC236}">
                <a16:creationId xmlns:a16="http://schemas.microsoft.com/office/drawing/2014/main" id="{9379740A-9600-0CF7-6642-F2EF9BEB52C4}"/>
              </a:ext>
            </a:extLst>
          </p:cNvPr>
          <p:cNvSpPr/>
          <p:nvPr/>
        </p:nvSpPr>
        <p:spPr bwMode="auto">
          <a:xfrm rot="16200000">
            <a:off x="2843373" y="1654253"/>
            <a:ext cx="1241221" cy="4220166"/>
          </a:xfrm>
          <a:custGeom>
            <a:avLst/>
            <a:gdLst>
              <a:gd name="connsiteX0" fmla="*/ 0 w 4252050"/>
              <a:gd name="connsiteY0" fmla="*/ 4209012 h 4209012"/>
              <a:gd name="connsiteX1" fmla="*/ 2126025 w 4252050"/>
              <a:gd name="connsiteY1" fmla="*/ 0 h 4209012"/>
              <a:gd name="connsiteX2" fmla="*/ 4252050 w 4252050"/>
              <a:gd name="connsiteY2" fmla="*/ 4209012 h 4209012"/>
              <a:gd name="connsiteX3" fmla="*/ 0 w 4252050"/>
              <a:gd name="connsiteY3" fmla="*/ 4209012 h 4209012"/>
              <a:gd name="connsiteX0" fmla="*/ 0 w 2757787"/>
              <a:gd name="connsiteY0" fmla="*/ 4209012 h 4209012"/>
              <a:gd name="connsiteX1" fmla="*/ 2126025 w 2757787"/>
              <a:gd name="connsiteY1" fmla="*/ 0 h 4209012"/>
              <a:gd name="connsiteX2" fmla="*/ 2757787 w 2757787"/>
              <a:gd name="connsiteY2" fmla="*/ 4209012 h 4209012"/>
              <a:gd name="connsiteX3" fmla="*/ 0 w 2757787"/>
              <a:gd name="connsiteY3" fmla="*/ 4209012 h 4209012"/>
              <a:gd name="connsiteX0" fmla="*/ 0 w 1241221"/>
              <a:gd name="connsiteY0" fmla="*/ 4220166 h 4220166"/>
              <a:gd name="connsiteX1" fmla="*/ 609459 w 1241221"/>
              <a:gd name="connsiteY1" fmla="*/ 0 h 4220166"/>
              <a:gd name="connsiteX2" fmla="*/ 1241221 w 1241221"/>
              <a:gd name="connsiteY2" fmla="*/ 4209012 h 4220166"/>
              <a:gd name="connsiteX3" fmla="*/ 0 w 1241221"/>
              <a:gd name="connsiteY3" fmla="*/ 4220166 h 4220166"/>
            </a:gdLst>
            <a:ahLst/>
            <a:cxnLst>
              <a:cxn ang="0">
                <a:pos x="connsiteX0" y="connsiteY0"/>
              </a:cxn>
              <a:cxn ang="0">
                <a:pos x="connsiteX1" y="connsiteY1"/>
              </a:cxn>
              <a:cxn ang="0">
                <a:pos x="connsiteX2" y="connsiteY2"/>
              </a:cxn>
              <a:cxn ang="0">
                <a:pos x="connsiteX3" y="connsiteY3"/>
              </a:cxn>
            </a:cxnLst>
            <a:rect l="l" t="t" r="r" b="b"/>
            <a:pathLst>
              <a:path w="1241221" h="4220166">
                <a:moveTo>
                  <a:pt x="0" y="4220166"/>
                </a:moveTo>
                <a:lnTo>
                  <a:pt x="609459" y="0"/>
                </a:lnTo>
                <a:lnTo>
                  <a:pt x="1241221" y="4209012"/>
                </a:lnTo>
                <a:lnTo>
                  <a:pt x="0" y="4220166"/>
                </a:lnTo>
                <a:close/>
              </a:path>
            </a:pathLst>
          </a:custGeom>
          <a:solidFill>
            <a:schemeClr val="accent2">
              <a:alpha val="3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6" name="Isosceles Triangle 25">
            <a:extLst>
              <a:ext uri="{FF2B5EF4-FFF2-40B4-BE49-F238E27FC236}">
                <a16:creationId xmlns:a16="http://schemas.microsoft.com/office/drawing/2014/main" id="{7B475C52-ABBA-97C9-587F-462075D1F3A1}"/>
              </a:ext>
            </a:extLst>
          </p:cNvPr>
          <p:cNvSpPr/>
          <p:nvPr/>
        </p:nvSpPr>
        <p:spPr bwMode="auto">
          <a:xfrm rot="16200000">
            <a:off x="2408494" y="2709898"/>
            <a:ext cx="2126025" cy="4209012"/>
          </a:xfrm>
          <a:custGeom>
            <a:avLst/>
            <a:gdLst>
              <a:gd name="connsiteX0" fmla="*/ 0 w 4252050"/>
              <a:gd name="connsiteY0" fmla="*/ 4209012 h 4209012"/>
              <a:gd name="connsiteX1" fmla="*/ 2126025 w 4252050"/>
              <a:gd name="connsiteY1" fmla="*/ 0 h 4209012"/>
              <a:gd name="connsiteX2" fmla="*/ 4252050 w 4252050"/>
              <a:gd name="connsiteY2" fmla="*/ 4209012 h 4209012"/>
              <a:gd name="connsiteX3" fmla="*/ 0 w 4252050"/>
              <a:gd name="connsiteY3" fmla="*/ 4209012 h 4209012"/>
              <a:gd name="connsiteX0" fmla="*/ 0 w 2126025"/>
              <a:gd name="connsiteY0" fmla="*/ 4209012 h 4209012"/>
              <a:gd name="connsiteX1" fmla="*/ 2126025 w 2126025"/>
              <a:gd name="connsiteY1" fmla="*/ 0 h 4209012"/>
              <a:gd name="connsiteX2" fmla="*/ 1241221 w 2126025"/>
              <a:gd name="connsiteY2" fmla="*/ 4197861 h 4209012"/>
              <a:gd name="connsiteX3" fmla="*/ 0 w 2126025"/>
              <a:gd name="connsiteY3" fmla="*/ 4209012 h 4209012"/>
              <a:gd name="connsiteX0" fmla="*/ 0 w 2126025"/>
              <a:gd name="connsiteY0" fmla="*/ 4209012 h 4209012"/>
              <a:gd name="connsiteX1" fmla="*/ 2126025 w 2126025"/>
              <a:gd name="connsiteY1" fmla="*/ 0 h 4209012"/>
              <a:gd name="connsiteX2" fmla="*/ 1252372 w 2126025"/>
              <a:gd name="connsiteY2" fmla="*/ 4197864 h 4209012"/>
              <a:gd name="connsiteX3" fmla="*/ 0 w 2126025"/>
              <a:gd name="connsiteY3" fmla="*/ 4209012 h 4209012"/>
            </a:gdLst>
            <a:ahLst/>
            <a:cxnLst>
              <a:cxn ang="0">
                <a:pos x="connsiteX0" y="connsiteY0"/>
              </a:cxn>
              <a:cxn ang="0">
                <a:pos x="connsiteX1" y="connsiteY1"/>
              </a:cxn>
              <a:cxn ang="0">
                <a:pos x="connsiteX2" y="connsiteY2"/>
              </a:cxn>
              <a:cxn ang="0">
                <a:pos x="connsiteX3" y="connsiteY3"/>
              </a:cxn>
            </a:cxnLst>
            <a:rect l="l" t="t" r="r" b="b"/>
            <a:pathLst>
              <a:path w="2126025" h="4209012">
                <a:moveTo>
                  <a:pt x="0" y="4209012"/>
                </a:moveTo>
                <a:lnTo>
                  <a:pt x="2126025" y="0"/>
                </a:lnTo>
                <a:lnTo>
                  <a:pt x="1252372" y="4197864"/>
                </a:lnTo>
                <a:lnTo>
                  <a:pt x="0" y="4209012"/>
                </a:lnTo>
                <a:close/>
              </a:path>
            </a:pathLst>
          </a:custGeom>
          <a:solidFill>
            <a:schemeClr val="accent2">
              <a:alpha val="3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2" name="Title 1">
            <a:extLst>
              <a:ext uri="{FF2B5EF4-FFF2-40B4-BE49-F238E27FC236}">
                <a16:creationId xmlns:a16="http://schemas.microsoft.com/office/drawing/2014/main" id="{57C9C97B-27B2-6B0B-13D2-A617825D1588}"/>
              </a:ext>
            </a:extLst>
          </p:cNvPr>
          <p:cNvSpPr>
            <a:spLocks noGrp="1"/>
          </p:cNvSpPr>
          <p:nvPr>
            <p:ph type="title"/>
          </p:nvPr>
        </p:nvSpPr>
        <p:spPr/>
        <p:txBody>
          <a:bodyPr vert="horz"/>
          <a:lstStyle/>
          <a:p>
            <a:r>
              <a:rPr lang="en-GB"/>
              <a:t>Slide message – three key ideas</a:t>
            </a:r>
          </a:p>
        </p:txBody>
      </p:sp>
      <p:sp>
        <p:nvSpPr>
          <p:cNvPr id="7" name="Rectangle 6">
            <a:extLst>
              <a:ext uri="{FF2B5EF4-FFF2-40B4-BE49-F238E27FC236}">
                <a16:creationId xmlns:a16="http://schemas.microsoft.com/office/drawing/2014/main" id="{AF8CF93E-5FEF-E5EB-72D1-866AFEA6406B}"/>
              </a:ext>
            </a:extLst>
          </p:cNvPr>
          <p:cNvSpPr/>
          <p:nvPr/>
        </p:nvSpPr>
        <p:spPr bwMode="auto">
          <a:xfrm>
            <a:off x="5675026" y="1644516"/>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684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8" name="Oval 7">
            <a:extLst>
              <a:ext uri="{FF2B5EF4-FFF2-40B4-BE49-F238E27FC236}">
                <a16:creationId xmlns:a16="http://schemas.microsoft.com/office/drawing/2014/main" id="{EF2FCBEF-BE8F-19C3-80C8-39B28822E1E6}"/>
              </a:ext>
            </a:extLst>
          </p:cNvPr>
          <p:cNvSpPr/>
          <p:nvPr/>
        </p:nvSpPr>
        <p:spPr>
          <a:xfrm>
            <a:off x="5043745" y="1644600"/>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1" name="Rectangle 10">
            <a:extLst>
              <a:ext uri="{FF2B5EF4-FFF2-40B4-BE49-F238E27FC236}">
                <a16:creationId xmlns:a16="http://schemas.microsoft.com/office/drawing/2014/main" id="{03C97547-FF51-9105-9EE4-EF6F1AA8BC21}"/>
              </a:ext>
            </a:extLst>
          </p:cNvPr>
          <p:cNvSpPr/>
          <p:nvPr/>
        </p:nvSpPr>
        <p:spPr bwMode="auto">
          <a:xfrm>
            <a:off x="5675026" y="3138055"/>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720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12" name="Oval 11">
            <a:extLst>
              <a:ext uri="{FF2B5EF4-FFF2-40B4-BE49-F238E27FC236}">
                <a16:creationId xmlns:a16="http://schemas.microsoft.com/office/drawing/2014/main" id="{05BAA0B9-460A-7C13-7E98-6B6B6449DE96}"/>
              </a:ext>
            </a:extLst>
          </p:cNvPr>
          <p:cNvSpPr/>
          <p:nvPr/>
        </p:nvSpPr>
        <p:spPr>
          <a:xfrm>
            <a:off x="5043745" y="3138139"/>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5" name="Rectangle 14">
            <a:extLst>
              <a:ext uri="{FF2B5EF4-FFF2-40B4-BE49-F238E27FC236}">
                <a16:creationId xmlns:a16="http://schemas.microsoft.com/office/drawing/2014/main" id="{1AE7CC09-DA6D-1CEC-42DD-7D700FDB6803}"/>
              </a:ext>
            </a:extLst>
          </p:cNvPr>
          <p:cNvSpPr/>
          <p:nvPr/>
        </p:nvSpPr>
        <p:spPr bwMode="auto">
          <a:xfrm>
            <a:off x="5675026" y="4628256"/>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720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16" name="Oval 15">
            <a:extLst>
              <a:ext uri="{FF2B5EF4-FFF2-40B4-BE49-F238E27FC236}">
                <a16:creationId xmlns:a16="http://schemas.microsoft.com/office/drawing/2014/main" id="{8EF2035A-C21B-BECE-63E0-BD45136D9863}"/>
              </a:ext>
            </a:extLst>
          </p:cNvPr>
          <p:cNvSpPr/>
          <p:nvPr/>
        </p:nvSpPr>
        <p:spPr>
          <a:xfrm>
            <a:off x="5043745" y="4628340"/>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0" name="Oval 19">
            <a:extLst>
              <a:ext uri="{FF2B5EF4-FFF2-40B4-BE49-F238E27FC236}">
                <a16:creationId xmlns:a16="http://schemas.microsoft.com/office/drawing/2014/main" id="{98BE98A8-E272-630C-C8EE-8324BA6E34DB}"/>
              </a:ext>
            </a:extLst>
          </p:cNvPr>
          <p:cNvSpPr/>
          <p:nvPr/>
        </p:nvSpPr>
        <p:spPr bwMode="auto">
          <a:xfrm>
            <a:off x="1358592" y="2885363"/>
            <a:ext cx="1656000" cy="1656000"/>
          </a:xfrm>
          <a:prstGeom prst="ellipse">
            <a:avLst/>
          </a:prstGeom>
          <a:solidFill>
            <a:schemeClr val="accent2"/>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23" name="TextBox 22">
            <a:extLst>
              <a:ext uri="{FF2B5EF4-FFF2-40B4-BE49-F238E27FC236}">
                <a16:creationId xmlns:a16="http://schemas.microsoft.com/office/drawing/2014/main" id="{588FE5EE-0B82-A9E4-7932-A76DD6D41F12}"/>
              </a:ext>
            </a:extLst>
          </p:cNvPr>
          <p:cNvSpPr txBox="1"/>
          <p:nvPr/>
        </p:nvSpPr>
        <p:spPr>
          <a:xfrm>
            <a:off x="971551" y="4514411"/>
            <a:ext cx="2430080" cy="891764"/>
          </a:xfrm>
          <a:prstGeom prst="rect">
            <a:avLst/>
          </a:prstGeom>
          <a:noFill/>
        </p:spPr>
        <p:txBody>
          <a:bodyPr wrap="square" lIns="72000" tIns="72000" rIns="72000" bIns="72000" rtlCol="0">
            <a:spAutoFit/>
          </a:bodyPr>
          <a:lstStyle/>
          <a:p>
            <a:r>
              <a:rPr lang="en-GB" sz="1800" b="1">
                <a:solidFill>
                  <a:schemeClr val="accent6"/>
                </a:solidFill>
              </a:rPr>
              <a:t>Lorem Ipsum</a:t>
            </a:r>
          </a:p>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400" b="0" i="0" u="none" strike="noStrike" kern="0" cap="none" spc="0" normalizeH="0" baseline="0" noProof="0">
                <a:ln>
                  <a:noFill/>
                </a:ln>
                <a:solidFill>
                  <a:sysClr val="windowText" lastClr="000000"/>
                </a:solidFill>
                <a:effectLst/>
                <a:uLnTx/>
                <a:uFillTx/>
                <a:latin typeface="+mn-lt"/>
              </a:rPr>
              <a:t>Lorem ipsum </a:t>
            </a:r>
            <a:r>
              <a:rPr kumimoji="0" lang="fr-FR" sz="1400" b="0" i="0" u="none" strike="noStrike" kern="0" cap="none" spc="0" normalizeH="0" baseline="0" noProof="0" err="1">
                <a:ln>
                  <a:noFill/>
                </a:ln>
                <a:solidFill>
                  <a:sysClr val="windowText" lastClr="000000"/>
                </a:solidFill>
                <a:effectLst/>
                <a:uLnTx/>
                <a:uFillTx/>
                <a:latin typeface="+mn-lt"/>
              </a:rPr>
              <a:t>dolor</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sit</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amet</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consectetuer</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adipiscing</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elit</a:t>
            </a:r>
            <a:r>
              <a:rPr kumimoji="0" lang="fr-FR" sz="1400" b="0" i="0" u="none" strike="noStrike" kern="0" cap="none" spc="0" normalizeH="0" baseline="0" noProof="0">
                <a:ln>
                  <a:noFill/>
                </a:ln>
                <a:solidFill>
                  <a:sysClr val="windowText" lastClr="000000"/>
                </a:solidFill>
                <a:effectLst/>
                <a:uLnTx/>
                <a:uFillTx/>
                <a:latin typeface="+mn-lt"/>
              </a:rPr>
              <a:t> </a:t>
            </a:r>
          </a:p>
        </p:txBody>
      </p:sp>
      <p:pic>
        <p:nvPicPr>
          <p:cNvPr id="25" name="Content Placeholder 24" descr="Meeting with solid fill">
            <a:extLst>
              <a:ext uri="{FF2B5EF4-FFF2-40B4-BE49-F238E27FC236}">
                <a16:creationId xmlns:a16="http://schemas.microsoft.com/office/drawing/2014/main" id="{34DD3BD5-4F4C-CC49-1D54-26B48E0AC9EC}"/>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1729390" y="3272338"/>
            <a:ext cx="914400" cy="914400"/>
          </a:xfrm>
        </p:spPr>
      </p:pic>
      <p:pic>
        <p:nvPicPr>
          <p:cNvPr id="30" name="Graphic 29" descr="Link with solid fill">
            <a:extLst>
              <a:ext uri="{FF2B5EF4-FFF2-40B4-BE49-F238E27FC236}">
                <a16:creationId xmlns:a16="http://schemas.microsoft.com/office/drawing/2014/main" id="{2316134F-FF2F-CAF7-EBFD-900C177838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15985" y="1810180"/>
            <a:ext cx="914400" cy="914400"/>
          </a:xfrm>
          <a:prstGeom prst="rect">
            <a:avLst/>
          </a:prstGeom>
        </p:spPr>
      </p:pic>
      <p:pic>
        <p:nvPicPr>
          <p:cNvPr id="32" name="Graphic 31" descr="Circles with arrows with solid fill">
            <a:extLst>
              <a:ext uri="{FF2B5EF4-FFF2-40B4-BE49-F238E27FC236}">
                <a16:creationId xmlns:a16="http://schemas.microsoft.com/office/drawing/2014/main" id="{C7FB2166-B282-B319-E9E6-56E6D0A2CA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5985" y="3299774"/>
            <a:ext cx="914400" cy="914400"/>
          </a:xfrm>
          <a:prstGeom prst="rect">
            <a:avLst/>
          </a:prstGeom>
        </p:spPr>
      </p:pic>
      <p:pic>
        <p:nvPicPr>
          <p:cNvPr id="34" name="Graphic 33" descr="Checklist with solid fill">
            <a:extLst>
              <a:ext uri="{FF2B5EF4-FFF2-40B4-BE49-F238E27FC236}">
                <a16:creationId xmlns:a16="http://schemas.microsoft.com/office/drawing/2014/main" id="{17969480-C3DE-61AC-6C6E-D976CD027A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15985" y="4814404"/>
            <a:ext cx="914400" cy="914400"/>
          </a:xfrm>
          <a:prstGeom prst="rect">
            <a:avLst/>
          </a:prstGeom>
        </p:spPr>
      </p:pic>
      <p:sp>
        <p:nvSpPr>
          <p:cNvPr id="3" name="Rectangle 2">
            <a:extLst>
              <a:ext uri="{FF2B5EF4-FFF2-40B4-BE49-F238E27FC236}">
                <a16:creationId xmlns:a16="http://schemas.microsoft.com/office/drawing/2014/main" id="{51B5C7FF-5F01-EE35-97E6-9FE6F6F3F44F}"/>
              </a:ext>
            </a:extLst>
          </p:cNvPr>
          <p:cNvSpPr/>
          <p:nvPr/>
        </p:nvSpPr>
        <p:spPr bwMode="auto">
          <a:xfrm>
            <a:off x="7758579" y="1644516"/>
            <a:ext cx="2718920" cy="1288295"/>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10" name="Rectangle 9">
            <a:extLst>
              <a:ext uri="{FF2B5EF4-FFF2-40B4-BE49-F238E27FC236}">
                <a16:creationId xmlns:a16="http://schemas.microsoft.com/office/drawing/2014/main" id="{8C5EAD0E-5CCE-2011-A792-81B7AE4D03F1}"/>
              </a:ext>
            </a:extLst>
          </p:cNvPr>
          <p:cNvSpPr/>
          <p:nvPr/>
        </p:nvSpPr>
        <p:spPr bwMode="auto">
          <a:xfrm>
            <a:off x="7758578" y="3120189"/>
            <a:ext cx="2718920" cy="1288295"/>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
        <p:nvSpPr>
          <p:cNvPr id="13" name="Rectangle 12">
            <a:extLst>
              <a:ext uri="{FF2B5EF4-FFF2-40B4-BE49-F238E27FC236}">
                <a16:creationId xmlns:a16="http://schemas.microsoft.com/office/drawing/2014/main" id="{D1001F83-0650-3534-41D3-389A2878D51D}"/>
              </a:ext>
            </a:extLst>
          </p:cNvPr>
          <p:cNvSpPr/>
          <p:nvPr/>
        </p:nvSpPr>
        <p:spPr bwMode="auto">
          <a:xfrm>
            <a:off x="7758579" y="4628256"/>
            <a:ext cx="2718920" cy="1288295"/>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spTree>
    <p:extLst>
      <p:ext uri="{BB962C8B-B14F-4D97-AF65-F5344CB8AC3E}">
        <p14:creationId xmlns:p14="http://schemas.microsoft.com/office/powerpoint/2010/main" val="252466616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FD86A-7B8D-2527-EB00-B078EDBC2A83}"/>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AEA053D-66ED-83D5-3C84-4523729021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17" name="think-cell data - do not delete" hidden="1">
                        <a:extLst>
                          <a:ext uri="{FF2B5EF4-FFF2-40B4-BE49-F238E27FC236}">
                            <a16:creationId xmlns:a16="http://schemas.microsoft.com/office/drawing/2014/main" id="{1AEA053D-66ED-83D5-3C84-452372902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Trapèze 32">
            <a:extLst>
              <a:ext uri="{FF2B5EF4-FFF2-40B4-BE49-F238E27FC236}">
                <a16:creationId xmlns:a16="http://schemas.microsoft.com/office/drawing/2014/main" id="{9DD9C863-4D05-7427-639C-BF3897CFFC35}"/>
              </a:ext>
            </a:extLst>
          </p:cNvPr>
          <p:cNvSpPr/>
          <p:nvPr/>
        </p:nvSpPr>
        <p:spPr bwMode="auto">
          <a:xfrm rot="16200000">
            <a:off x="1314657" y="2091084"/>
            <a:ext cx="5121988" cy="3400724"/>
          </a:xfrm>
          <a:prstGeom prst="trapezoid">
            <a:avLst>
              <a:gd name="adj" fmla="val 65604"/>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p>
        </p:txBody>
      </p:sp>
      <p:sp>
        <p:nvSpPr>
          <p:cNvPr id="39" name="Forme libre : forme 38">
            <a:extLst>
              <a:ext uri="{FF2B5EF4-FFF2-40B4-BE49-F238E27FC236}">
                <a16:creationId xmlns:a16="http://schemas.microsoft.com/office/drawing/2014/main" id="{934F929C-864F-231F-785C-F8EAEA18CDBD}"/>
              </a:ext>
            </a:extLst>
          </p:cNvPr>
          <p:cNvSpPr/>
          <p:nvPr/>
        </p:nvSpPr>
        <p:spPr bwMode="auto">
          <a:xfrm flipV="1">
            <a:off x="1916669" y="2421126"/>
            <a:ext cx="3830291" cy="1381631"/>
          </a:xfrm>
          <a:custGeom>
            <a:avLst/>
            <a:gdLst>
              <a:gd name="connsiteX0" fmla="*/ 14 w 3830291"/>
              <a:gd name="connsiteY0" fmla="*/ 312 h 1381631"/>
              <a:gd name="connsiteX1" fmla="*/ 3426260 w 3830291"/>
              <a:gd name="connsiteY1" fmla="*/ 1157083 h 1381631"/>
              <a:gd name="connsiteX2" fmla="*/ 3382192 w 3830291"/>
              <a:gd name="connsiteY2" fmla="*/ 1278269 h 1381631"/>
              <a:gd name="connsiteX3" fmla="*/ 14 w 3830291"/>
              <a:gd name="connsiteY3" fmla="*/ 312 h 1381631"/>
            </a:gdLst>
            <a:ahLst/>
            <a:cxnLst>
              <a:cxn ang="0">
                <a:pos x="connsiteX0" y="connsiteY0"/>
              </a:cxn>
              <a:cxn ang="0">
                <a:pos x="connsiteX1" y="connsiteY1"/>
              </a:cxn>
              <a:cxn ang="0">
                <a:pos x="connsiteX2" y="connsiteY2"/>
              </a:cxn>
              <a:cxn ang="0">
                <a:pos x="connsiteX3" y="connsiteY3"/>
              </a:cxn>
            </a:cxnLst>
            <a:rect l="l" t="t" r="r" b="b"/>
            <a:pathLst>
              <a:path w="3830291" h="1381631">
                <a:moveTo>
                  <a:pt x="14" y="312"/>
                </a:moveTo>
                <a:cubicBezTo>
                  <a:pt x="7359" y="-19886"/>
                  <a:pt x="2862564" y="944090"/>
                  <a:pt x="3426260" y="1157083"/>
                </a:cubicBezTo>
                <a:cubicBezTo>
                  <a:pt x="3989956" y="1370076"/>
                  <a:pt x="3953233" y="1472900"/>
                  <a:pt x="3382192" y="1278269"/>
                </a:cubicBezTo>
                <a:cubicBezTo>
                  <a:pt x="2811151" y="1083638"/>
                  <a:pt x="-7331" y="20510"/>
                  <a:pt x="14" y="312"/>
                </a:cubicBezTo>
                <a:close/>
              </a:path>
            </a:pathLst>
          </a:cu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p>
        </p:txBody>
      </p:sp>
      <p:sp>
        <p:nvSpPr>
          <p:cNvPr id="38" name="Forme libre : forme 37">
            <a:extLst>
              <a:ext uri="{FF2B5EF4-FFF2-40B4-BE49-F238E27FC236}">
                <a16:creationId xmlns:a16="http://schemas.microsoft.com/office/drawing/2014/main" id="{92367C7D-D4AF-353C-8813-BD7678047DD0}"/>
              </a:ext>
            </a:extLst>
          </p:cNvPr>
          <p:cNvSpPr/>
          <p:nvPr/>
        </p:nvSpPr>
        <p:spPr bwMode="auto">
          <a:xfrm>
            <a:off x="2170309" y="3877625"/>
            <a:ext cx="3830291" cy="1381631"/>
          </a:xfrm>
          <a:custGeom>
            <a:avLst/>
            <a:gdLst>
              <a:gd name="connsiteX0" fmla="*/ 14 w 3830291"/>
              <a:gd name="connsiteY0" fmla="*/ 312 h 1381631"/>
              <a:gd name="connsiteX1" fmla="*/ 3426260 w 3830291"/>
              <a:gd name="connsiteY1" fmla="*/ 1157083 h 1381631"/>
              <a:gd name="connsiteX2" fmla="*/ 3382192 w 3830291"/>
              <a:gd name="connsiteY2" fmla="*/ 1278269 h 1381631"/>
              <a:gd name="connsiteX3" fmla="*/ 14 w 3830291"/>
              <a:gd name="connsiteY3" fmla="*/ 312 h 1381631"/>
            </a:gdLst>
            <a:ahLst/>
            <a:cxnLst>
              <a:cxn ang="0">
                <a:pos x="connsiteX0" y="connsiteY0"/>
              </a:cxn>
              <a:cxn ang="0">
                <a:pos x="connsiteX1" y="connsiteY1"/>
              </a:cxn>
              <a:cxn ang="0">
                <a:pos x="connsiteX2" y="connsiteY2"/>
              </a:cxn>
              <a:cxn ang="0">
                <a:pos x="connsiteX3" y="connsiteY3"/>
              </a:cxn>
            </a:cxnLst>
            <a:rect l="l" t="t" r="r" b="b"/>
            <a:pathLst>
              <a:path w="3830291" h="1381631">
                <a:moveTo>
                  <a:pt x="14" y="312"/>
                </a:moveTo>
                <a:cubicBezTo>
                  <a:pt x="7359" y="-19886"/>
                  <a:pt x="2862564" y="944090"/>
                  <a:pt x="3426260" y="1157083"/>
                </a:cubicBezTo>
                <a:cubicBezTo>
                  <a:pt x="3989956" y="1370076"/>
                  <a:pt x="3953233" y="1472900"/>
                  <a:pt x="3382192" y="1278269"/>
                </a:cubicBezTo>
                <a:cubicBezTo>
                  <a:pt x="2811151" y="1083638"/>
                  <a:pt x="-7331" y="20510"/>
                  <a:pt x="14" y="312"/>
                </a:cubicBezTo>
                <a:close/>
              </a:path>
            </a:pathLst>
          </a:cu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p>
        </p:txBody>
      </p:sp>
      <p:sp>
        <p:nvSpPr>
          <p:cNvPr id="37" name="Forme libre : forme 36">
            <a:extLst>
              <a:ext uri="{FF2B5EF4-FFF2-40B4-BE49-F238E27FC236}">
                <a16:creationId xmlns:a16="http://schemas.microsoft.com/office/drawing/2014/main" id="{D2A1336B-B63F-E9D8-46CF-9F00C7D02A28}"/>
              </a:ext>
            </a:extLst>
          </p:cNvPr>
          <p:cNvSpPr/>
          <p:nvPr/>
        </p:nvSpPr>
        <p:spPr bwMode="auto">
          <a:xfrm>
            <a:off x="2159299" y="3734682"/>
            <a:ext cx="3513684" cy="127827"/>
          </a:xfrm>
          <a:custGeom>
            <a:avLst/>
            <a:gdLst>
              <a:gd name="connsiteX0" fmla="*/ 8 w 3823183"/>
              <a:gd name="connsiteY0" fmla="*/ 99187 h 107486"/>
              <a:gd name="connsiteX1" fmla="*/ 3415237 w 3823183"/>
              <a:gd name="connsiteY1" fmla="*/ 35 h 107486"/>
              <a:gd name="connsiteX2" fmla="*/ 3382186 w 3823183"/>
              <a:gd name="connsiteY2" fmla="*/ 88170 h 107486"/>
              <a:gd name="connsiteX3" fmla="*/ 8 w 3823183"/>
              <a:gd name="connsiteY3" fmla="*/ 99187 h 107486"/>
            </a:gdLst>
            <a:ahLst/>
            <a:cxnLst>
              <a:cxn ang="0">
                <a:pos x="connsiteX0" y="connsiteY0"/>
              </a:cxn>
              <a:cxn ang="0">
                <a:pos x="connsiteX1" y="connsiteY1"/>
              </a:cxn>
              <a:cxn ang="0">
                <a:pos x="connsiteX2" y="connsiteY2"/>
              </a:cxn>
              <a:cxn ang="0">
                <a:pos x="connsiteX3" y="connsiteY3"/>
              </a:cxn>
            </a:cxnLst>
            <a:rect l="l" t="t" r="r" b="b"/>
            <a:pathLst>
              <a:path w="3823183" h="107486">
                <a:moveTo>
                  <a:pt x="8" y="99187"/>
                </a:moveTo>
                <a:cubicBezTo>
                  <a:pt x="5516" y="84498"/>
                  <a:pt x="2851541" y="1871"/>
                  <a:pt x="3415237" y="35"/>
                </a:cubicBezTo>
                <a:cubicBezTo>
                  <a:pt x="3978933" y="-1801"/>
                  <a:pt x="3949555" y="67972"/>
                  <a:pt x="3382186" y="88170"/>
                </a:cubicBezTo>
                <a:cubicBezTo>
                  <a:pt x="2814817" y="108368"/>
                  <a:pt x="-5500" y="113876"/>
                  <a:pt x="8" y="99187"/>
                </a:cubicBezTo>
                <a:close/>
              </a:path>
            </a:pathLst>
          </a:cu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US" sz="1400"/>
          </a:p>
        </p:txBody>
      </p:sp>
      <p:sp>
        <p:nvSpPr>
          <p:cNvPr id="2" name="Title 1">
            <a:extLst>
              <a:ext uri="{FF2B5EF4-FFF2-40B4-BE49-F238E27FC236}">
                <a16:creationId xmlns:a16="http://schemas.microsoft.com/office/drawing/2014/main" id="{71BD72D9-A38C-6D97-CA8A-7B82D851EA5E}"/>
              </a:ext>
            </a:extLst>
          </p:cNvPr>
          <p:cNvSpPr>
            <a:spLocks noGrp="1"/>
          </p:cNvSpPr>
          <p:nvPr>
            <p:ph type="title"/>
          </p:nvPr>
        </p:nvSpPr>
        <p:spPr/>
        <p:txBody>
          <a:bodyPr vert="horz"/>
          <a:lstStyle/>
          <a:p>
            <a:r>
              <a:rPr lang="en-GB"/>
              <a:t>Slide message – four key ideas</a:t>
            </a:r>
          </a:p>
        </p:txBody>
      </p:sp>
      <p:sp>
        <p:nvSpPr>
          <p:cNvPr id="20" name="Oval 19">
            <a:extLst>
              <a:ext uri="{FF2B5EF4-FFF2-40B4-BE49-F238E27FC236}">
                <a16:creationId xmlns:a16="http://schemas.microsoft.com/office/drawing/2014/main" id="{7788F8C8-7A88-BF81-067C-E1A2622C99B8}"/>
              </a:ext>
            </a:extLst>
          </p:cNvPr>
          <p:cNvSpPr/>
          <p:nvPr/>
        </p:nvSpPr>
        <p:spPr bwMode="auto">
          <a:xfrm>
            <a:off x="1358592" y="2964556"/>
            <a:ext cx="1656000" cy="1656000"/>
          </a:xfrm>
          <a:prstGeom prst="ellipse">
            <a:avLst/>
          </a:prstGeom>
          <a:solidFill>
            <a:schemeClr val="accent2"/>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a:p>
        </p:txBody>
      </p:sp>
      <p:sp>
        <p:nvSpPr>
          <p:cNvPr id="23" name="TextBox 22">
            <a:extLst>
              <a:ext uri="{FF2B5EF4-FFF2-40B4-BE49-F238E27FC236}">
                <a16:creationId xmlns:a16="http://schemas.microsoft.com/office/drawing/2014/main" id="{55052E66-E866-6A0D-1362-462459925C74}"/>
              </a:ext>
            </a:extLst>
          </p:cNvPr>
          <p:cNvSpPr txBox="1"/>
          <p:nvPr/>
        </p:nvSpPr>
        <p:spPr>
          <a:xfrm>
            <a:off x="971551" y="4514411"/>
            <a:ext cx="2430080" cy="891764"/>
          </a:xfrm>
          <a:prstGeom prst="rect">
            <a:avLst/>
          </a:prstGeom>
          <a:noFill/>
        </p:spPr>
        <p:txBody>
          <a:bodyPr wrap="square" lIns="72000" tIns="72000" rIns="72000" bIns="72000" rtlCol="0">
            <a:spAutoFit/>
          </a:bodyPr>
          <a:lstStyle/>
          <a:p>
            <a:r>
              <a:rPr lang="en-GB" sz="1800" b="1">
                <a:solidFill>
                  <a:schemeClr val="accent6"/>
                </a:solidFill>
              </a:rPr>
              <a:t>Lorem Ipsum</a:t>
            </a:r>
          </a:p>
          <a:p>
            <a:pPr marL="0" marR="0" lvl="0" indent="0" algn="l" defTabSz="457200" eaLnBrk="1" fontAlgn="auto" latinLnBrk="0" hangingPunct="1">
              <a:lnSpc>
                <a:spcPct val="100000"/>
              </a:lnSpc>
              <a:spcBef>
                <a:spcPts val="300"/>
              </a:spcBef>
              <a:spcAft>
                <a:spcPts val="300"/>
              </a:spcAft>
              <a:buClrTx/>
              <a:buSzTx/>
              <a:buFontTx/>
              <a:buNone/>
              <a:tabLst/>
              <a:defRPr/>
            </a:pPr>
            <a:r>
              <a:rPr kumimoji="0" lang="fr-FR" sz="1400" b="0" i="0" u="none" strike="noStrike" kern="0" cap="none" spc="0" normalizeH="0" baseline="0" noProof="0">
                <a:ln>
                  <a:noFill/>
                </a:ln>
                <a:solidFill>
                  <a:sysClr val="windowText" lastClr="000000"/>
                </a:solidFill>
                <a:effectLst/>
                <a:uLnTx/>
                <a:uFillTx/>
                <a:latin typeface="+mn-lt"/>
              </a:rPr>
              <a:t>Lorem ipsum </a:t>
            </a:r>
            <a:r>
              <a:rPr kumimoji="0" lang="fr-FR" sz="1400" b="0" i="0" u="none" strike="noStrike" kern="0" cap="none" spc="0" normalizeH="0" baseline="0" noProof="0" err="1">
                <a:ln>
                  <a:noFill/>
                </a:ln>
                <a:solidFill>
                  <a:sysClr val="windowText" lastClr="000000"/>
                </a:solidFill>
                <a:effectLst/>
                <a:uLnTx/>
                <a:uFillTx/>
                <a:latin typeface="+mn-lt"/>
              </a:rPr>
              <a:t>dolor</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sit</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amet</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consectetuer</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adipiscing</a:t>
            </a:r>
            <a:r>
              <a:rPr kumimoji="0" lang="fr-FR" sz="1400" b="0" i="0" u="none" strike="noStrike" kern="0" cap="none" spc="0" normalizeH="0" baseline="0" noProof="0">
                <a:ln>
                  <a:noFill/>
                </a:ln>
                <a:solidFill>
                  <a:sysClr val="windowText" lastClr="000000"/>
                </a:solidFill>
                <a:effectLst/>
                <a:uLnTx/>
                <a:uFillTx/>
                <a:latin typeface="+mn-lt"/>
              </a:rPr>
              <a:t> </a:t>
            </a:r>
            <a:r>
              <a:rPr kumimoji="0" lang="fr-FR" sz="1400" b="0" i="0" u="none" strike="noStrike" kern="0" cap="none" spc="0" normalizeH="0" baseline="0" noProof="0" err="1">
                <a:ln>
                  <a:noFill/>
                </a:ln>
                <a:solidFill>
                  <a:sysClr val="windowText" lastClr="000000"/>
                </a:solidFill>
                <a:effectLst/>
                <a:uLnTx/>
                <a:uFillTx/>
                <a:latin typeface="+mn-lt"/>
              </a:rPr>
              <a:t>elit</a:t>
            </a:r>
            <a:r>
              <a:rPr kumimoji="0" lang="fr-FR" sz="1400" b="0" i="0" u="none" strike="noStrike" kern="0" cap="none" spc="0" normalizeH="0" baseline="0" noProof="0">
                <a:ln>
                  <a:noFill/>
                </a:ln>
                <a:solidFill>
                  <a:sysClr val="windowText" lastClr="000000"/>
                </a:solidFill>
                <a:effectLst/>
                <a:uLnTx/>
                <a:uFillTx/>
                <a:latin typeface="+mn-lt"/>
              </a:rPr>
              <a:t> </a:t>
            </a:r>
          </a:p>
        </p:txBody>
      </p:sp>
      <p:pic>
        <p:nvPicPr>
          <p:cNvPr id="25" name="Content Placeholder 24" descr="Meeting with solid fill">
            <a:extLst>
              <a:ext uri="{FF2B5EF4-FFF2-40B4-BE49-F238E27FC236}">
                <a16:creationId xmlns:a16="http://schemas.microsoft.com/office/drawing/2014/main" id="{6D9DBC9D-2350-704F-1289-CC8E8D6FEFFF}"/>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1729390" y="3272338"/>
            <a:ext cx="914400" cy="914400"/>
          </a:xfrm>
        </p:spPr>
      </p:pic>
      <p:grpSp>
        <p:nvGrpSpPr>
          <p:cNvPr id="35" name="Groupe 34">
            <a:extLst>
              <a:ext uri="{FF2B5EF4-FFF2-40B4-BE49-F238E27FC236}">
                <a16:creationId xmlns:a16="http://schemas.microsoft.com/office/drawing/2014/main" id="{4FB82640-515A-17BF-251C-282A56900F15}"/>
              </a:ext>
            </a:extLst>
          </p:cNvPr>
          <p:cNvGrpSpPr/>
          <p:nvPr/>
        </p:nvGrpSpPr>
        <p:grpSpPr>
          <a:xfrm>
            <a:off x="5041701" y="1232590"/>
            <a:ext cx="5435798" cy="5119933"/>
            <a:chOff x="5041701" y="1232590"/>
            <a:chExt cx="5435798" cy="5119933"/>
          </a:xfrm>
        </p:grpSpPr>
        <p:grpSp>
          <p:nvGrpSpPr>
            <p:cNvPr id="22" name="Groupe 21">
              <a:extLst>
                <a:ext uri="{FF2B5EF4-FFF2-40B4-BE49-F238E27FC236}">
                  <a16:creationId xmlns:a16="http://schemas.microsoft.com/office/drawing/2014/main" id="{6D4D01AE-F532-63AE-C474-DC50964311E2}"/>
                </a:ext>
              </a:extLst>
            </p:cNvPr>
            <p:cNvGrpSpPr/>
            <p:nvPr/>
          </p:nvGrpSpPr>
          <p:grpSpPr>
            <a:xfrm>
              <a:off x="5043745" y="2532407"/>
              <a:ext cx="5433754" cy="1220484"/>
              <a:chOff x="5043745" y="1644516"/>
              <a:chExt cx="5433754" cy="1220484"/>
            </a:xfrm>
          </p:grpSpPr>
          <p:sp>
            <p:nvSpPr>
              <p:cNvPr id="7" name="Rectangle 6">
                <a:extLst>
                  <a:ext uri="{FF2B5EF4-FFF2-40B4-BE49-F238E27FC236}">
                    <a16:creationId xmlns:a16="http://schemas.microsoft.com/office/drawing/2014/main" id="{D616781F-723D-F223-0C09-4BBDBA600AFE}"/>
                  </a:ext>
                </a:extLst>
              </p:cNvPr>
              <p:cNvSpPr/>
              <p:nvPr/>
            </p:nvSpPr>
            <p:spPr bwMode="auto">
              <a:xfrm>
                <a:off x="5675026" y="1644516"/>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684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8" name="Oval 7">
                <a:extLst>
                  <a:ext uri="{FF2B5EF4-FFF2-40B4-BE49-F238E27FC236}">
                    <a16:creationId xmlns:a16="http://schemas.microsoft.com/office/drawing/2014/main" id="{1E7BE747-99F0-A90B-9B72-B04F4AE1C816}"/>
                  </a:ext>
                </a:extLst>
              </p:cNvPr>
              <p:cNvSpPr/>
              <p:nvPr/>
            </p:nvSpPr>
            <p:spPr>
              <a:xfrm>
                <a:off x="5043745" y="1644600"/>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30" name="Graphic 29" descr="Link with solid fill">
                <a:extLst>
                  <a:ext uri="{FF2B5EF4-FFF2-40B4-BE49-F238E27FC236}">
                    <a16:creationId xmlns:a16="http://schemas.microsoft.com/office/drawing/2014/main" id="{44A418F9-5256-41A3-E468-F099285219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15985" y="1810180"/>
                <a:ext cx="914400" cy="914400"/>
              </a:xfrm>
              <a:prstGeom prst="rect">
                <a:avLst/>
              </a:prstGeom>
            </p:spPr>
          </p:pic>
          <p:sp>
            <p:nvSpPr>
              <p:cNvPr id="3" name="Rectangle 2">
                <a:extLst>
                  <a:ext uri="{FF2B5EF4-FFF2-40B4-BE49-F238E27FC236}">
                    <a16:creationId xmlns:a16="http://schemas.microsoft.com/office/drawing/2014/main" id="{CE4BA23A-52B8-AAC6-2AFE-C278A32F39BF}"/>
                  </a:ext>
                </a:extLst>
              </p:cNvPr>
              <p:cNvSpPr/>
              <p:nvPr/>
            </p:nvSpPr>
            <p:spPr bwMode="auto">
              <a:xfrm>
                <a:off x="7758579" y="1644517"/>
                <a:ext cx="2718920" cy="122040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grpSp>
        <p:grpSp>
          <p:nvGrpSpPr>
            <p:cNvPr id="21" name="Groupe 20">
              <a:extLst>
                <a:ext uri="{FF2B5EF4-FFF2-40B4-BE49-F238E27FC236}">
                  <a16:creationId xmlns:a16="http://schemas.microsoft.com/office/drawing/2014/main" id="{876D0F72-89D2-776E-6CC5-73FA402CA0E4}"/>
                </a:ext>
              </a:extLst>
            </p:cNvPr>
            <p:cNvGrpSpPr/>
            <p:nvPr/>
          </p:nvGrpSpPr>
          <p:grpSpPr>
            <a:xfrm>
              <a:off x="5043745" y="3832223"/>
              <a:ext cx="5433753" cy="1220484"/>
              <a:chOff x="5043745" y="3138055"/>
              <a:chExt cx="5433753" cy="1220484"/>
            </a:xfrm>
          </p:grpSpPr>
          <p:sp>
            <p:nvSpPr>
              <p:cNvPr id="11" name="Rectangle 10">
                <a:extLst>
                  <a:ext uri="{FF2B5EF4-FFF2-40B4-BE49-F238E27FC236}">
                    <a16:creationId xmlns:a16="http://schemas.microsoft.com/office/drawing/2014/main" id="{D56DCA6F-B9AC-5A20-F538-4898DBCED7E5}"/>
                  </a:ext>
                </a:extLst>
              </p:cNvPr>
              <p:cNvSpPr/>
              <p:nvPr/>
            </p:nvSpPr>
            <p:spPr bwMode="auto">
              <a:xfrm>
                <a:off x="5675026" y="3138055"/>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720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12" name="Oval 11">
                <a:extLst>
                  <a:ext uri="{FF2B5EF4-FFF2-40B4-BE49-F238E27FC236}">
                    <a16:creationId xmlns:a16="http://schemas.microsoft.com/office/drawing/2014/main" id="{965FC615-577E-EAA8-C974-39B7D1840964}"/>
                  </a:ext>
                </a:extLst>
              </p:cNvPr>
              <p:cNvSpPr/>
              <p:nvPr/>
            </p:nvSpPr>
            <p:spPr>
              <a:xfrm>
                <a:off x="5043745" y="3138139"/>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32" name="Graphic 31" descr="Circles with arrows with solid fill">
                <a:extLst>
                  <a:ext uri="{FF2B5EF4-FFF2-40B4-BE49-F238E27FC236}">
                    <a16:creationId xmlns:a16="http://schemas.microsoft.com/office/drawing/2014/main" id="{2B6AA5E0-E843-AAD3-976E-F938F51745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5985" y="3299774"/>
                <a:ext cx="914400" cy="914400"/>
              </a:xfrm>
              <a:prstGeom prst="rect">
                <a:avLst/>
              </a:prstGeom>
            </p:spPr>
          </p:pic>
          <p:sp>
            <p:nvSpPr>
              <p:cNvPr id="10" name="Rectangle 9">
                <a:extLst>
                  <a:ext uri="{FF2B5EF4-FFF2-40B4-BE49-F238E27FC236}">
                    <a16:creationId xmlns:a16="http://schemas.microsoft.com/office/drawing/2014/main" id="{ED1622D0-610B-7D78-BD7D-5946892C5C34}"/>
                  </a:ext>
                </a:extLst>
              </p:cNvPr>
              <p:cNvSpPr/>
              <p:nvPr/>
            </p:nvSpPr>
            <p:spPr bwMode="auto">
              <a:xfrm>
                <a:off x="7758578" y="3138056"/>
                <a:ext cx="2718920" cy="122040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grpSp>
        <p:grpSp>
          <p:nvGrpSpPr>
            <p:cNvPr id="19" name="Groupe 18">
              <a:extLst>
                <a:ext uri="{FF2B5EF4-FFF2-40B4-BE49-F238E27FC236}">
                  <a16:creationId xmlns:a16="http://schemas.microsoft.com/office/drawing/2014/main" id="{4B98DD41-C1C9-FC09-B058-18B1AA3A0F84}"/>
                </a:ext>
              </a:extLst>
            </p:cNvPr>
            <p:cNvGrpSpPr/>
            <p:nvPr/>
          </p:nvGrpSpPr>
          <p:grpSpPr>
            <a:xfrm>
              <a:off x="5043745" y="5132039"/>
              <a:ext cx="5433754" cy="1220484"/>
              <a:chOff x="5043745" y="4628256"/>
              <a:chExt cx="5433754" cy="1220484"/>
            </a:xfrm>
          </p:grpSpPr>
          <p:sp>
            <p:nvSpPr>
              <p:cNvPr id="15" name="Rectangle 14">
                <a:extLst>
                  <a:ext uri="{FF2B5EF4-FFF2-40B4-BE49-F238E27FC236}">
                    <a16:creationId xmlns:a16="http://schemas.microsoft.com/office/drawing/2014/main" id="{BD320FA7-6D13-C924-EE1B-513918D5173E}"/>
                  </a:ext>
                </a:extLst>
              </p:cNvPr>
              <p:cNvSpPr/>
              <p:nvPr/>
            </p:nvSpPr>
            <p:spPr bwMode="auto">
              <a:xfrm>
                <a:off x="5675026" y="4628256"/>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720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16" name="Oval 15">
                <a:extLst>
                  <a:ext uri="{FF2B5EF4-FFF2-40B4-BE49-F238E27FC236}">
                    <a16:creationId xmlns:a16="http://schemas.microsoft.com/office/drawing/2014/main" id="{67D43D1F-FB4A-4537-EED5-6B6C9B7A32C1}"/>
                  </a:ext>
                </a:extLst>
              </p:cNvPr>
              <p:cNvSpPr/>
              <p:nvPr/>
            </p:nvSpPr>
            <p:spPr>
              <a:xfrm>
                <a:off x="5043745" y="4628340"/>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34" name="Graphic 33" descr="Checklist with solid fill">
                <a:extLst>
                  <a:ext uri="{FF2B5EF4-FFF2-40B4-BE49-F238E27FC236}">
                    <a16:creationId xmlns:a16="http://schemas.microsoft.com/office/drawing/2014/main" id="{098F3A26-356E-D9F6-785F-D672844B758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15985" y="4814404"/>
                <a:ext cx="914400" cy="914400"/>
              </a:xfrm>
              <a:prstGeom prst="rect">
                <a:avLst/>
              </a:prstGeom>
            </p:spPr>
          </p:pic>
          <p:sp>
            <p:nvSpPr>
              <p:cNvPr id="13" name="Rectangle 12">
                <a:extLst>
                  <a:ext uri="{FF2B5EF4-FFF2-40B4-BE49-F238E27FC236}">
                    <a16:creationId xmlns:a16="http://schemas.microsoft.com/office/drawing/2014/main" id="{ABC55E0B-2B5B-502F-F364-6D1A203B561D}"/>
                  </a:ext>
                </a:extLst>
              </p:cNvPr>
              <p:cNvSpPr/>
              <p:nvPr/>
            </p:nvSpPr>
            <p:spPr bwMode="auto">
              <a:xfrm>
                <a:off x="7758579" y="4628256"/>
                <a:ext cx="2718920" cy="1220401"/>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grpSp>
        <p:grpSp>
          <p:nvGrpSpPr>
            <p:cNvPr id="24" name="Groupe 23">
              <a:extLst>
                <a:ext uri="{FF2B5EF4-FFF2-40B4-BE49-F238E27FC236}">
                  <a16:creationId xmlns:a16="http://schemas.microsoft.com/office/drawing/2014/main" id="{EB77E14F-A168-A901-7A30-98FDB1116F61}"/>
                </a:ext>
              </a:extLst>
            </p:cNvPr>
            <p:cNvGrpSpPr/>
            <p:nvPr/>
          </p:nvGrpSpPr>
          <p:grpSpPr>
            <a:xfrm>
              <a:off x="5041701" y="1232590"/>
              <a:ext cx="5433754" cy="1220485"/>
              <a:chOff x="5043745" y="1644515"/>
              <a:chExt cx="5433754" cy="1220485"/>
            </a:xfrm>
          </p:grpSpPr>
          <p:sp>
            <p:nvSpPr>
              <p:cNvPr id="26" name="Rectangle 25">
                <a:extLst>
                  <a:ext uri="{FF2B5EF4-FFF2-40B4-BE49-F238E27FC236}">
                    <a16:creationId xmlns:a16="http://schemas.microsoft.com/office/drawing/2014/main" id="{7CE0E741-DF51-951F-4689-E0C4AE980AD4}"/>
                  </a:ext>
                </a:extLst>
              </p:cNvPr>
              <p:cNvSpPr/>
              <p:nvPr/>
            </p:nvSpPr>
            <p:spPr bwMode="auto">
              <a:xfrm>
                <a:off x="5675026" y="1644515"/>
                <a:ext cx="1894694" cy="1220484"/>
              </a:xfrm>
              <a:prstGeom prst="rect">
                <a:avLst/>
              </a:prstGeom>
              <a:solidFill>
                <a:schemeClr val="accent6"/>
              </a:solidFill>
              <a:ln w="38100" cap="flat" cmpd="sng" algn="ctr">
                <a:noFill/>
                <a:prstDash val="solid"/>
                <a:round/>
                <a:headEnd type="none" w="med" len="med"/>
                <a:tailEnd type="none" w="med" len="med"/>
              </a:ln>
              <a:effectLst/>
            </p:spPr>
            <p:txBody>
              <a:bodyPr rot="0" spcFirstLastPara="0" vertOverflow="overflow" horzOverflow="overflow" vert="horz" wrap="square" lIns="684000" tIns="72000" rIns="54000" bIns="72000" numCol="1" spcCol="0" rtlCol="0" fromWordArt="0" anchor="ctr" anchorCtr="0" forceAA="0" compatLnSpc="1">
                <a:prstTxWarp prst="textNoShape">
                  <a:avLst/>
                </a:prstTxWarp>
                <a:noAutofit/>
              </a:bodyPr>
              <a:lstStyle/>
              <a:p>
                <a:pPr algn="l">
                  <a:buClr>
                    <a:schemeClr val="accent3"/>
                  </a:buClr>
                  <a:buSzPct val="77000"/>
                </a:pPr>
                <a:r>
                  <a:rPr lang="en-GB" sz="1600">
                    <a:solidFill>
                      <a:schemeClr val="bg1"/>
                    </a:solidFill>
                  </a:rPr>
                  <a:t>Lorem Ipsum</a:t>
                </a:r>
              </a:p>
            </p:txBody>
          </p:sp>
          <p:sp>
            <p:nvSpPr>
              <p:cNvPr id="27" name="Oval 7">
                <a:extLst>
                  <a:ext uri="{FF2B5EF4-FFF2-40B4-BE49-F238E27FC236}">
                    <a16:creationId xmlns:a16="http://schemas.microsoft.com/office/drawing/2014/main" id="{FC528600-0040-396A-B696-8443A52AEA4E}"/>
                  </a:ext>
                </a:extLst>
              </p:cNvPr>
              <p:cNvSpPr/>
              <p:nvPr/>
            </p:nvSpPr>
            <p:spPr>
              <a:xfrm>
                <a:off x="5043745" y="1644600"/>
                <a:ext cx="1220400" cy="1220400"/>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9" name="Rectangle 28">
                <a:extLst>
                  <a:ext uri="{FF2B5EF4-FFF2-40B4-BE49-F238E27FC236}">
                    <a16:creationId xmlns:a16="http://schemas.microsoft.com/office/drawing/2014/main" id="{6839EA32-81C3-7C74-E2B1-03D9A2451B07}"/>
                  </a:ext>
                </a:extLst>
              </p:cNvPr>
              <p:cNvSpPr/>
              <p:nvPr/>
            </p:nvSpPr>
            <p:spPr bwMode="auto">
              <a:xfrm>
                <a:off x="7758579" y="1644515"/>
                <a:ext cx="2718920" cy="1220400"/>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r>
                  <a:rPr lang="en-GB" sz="1400"/>
                  <a:t>Image/text</a:t>
                </a:r>
              </a:p>
            </p:txBody>
          </p:sp>
        </p:grpSp>
      </p:grpSp>
      <p:pic>
        <p:nvPicPr>
          <p:cNvPr id="41" name="bar_chart">
            <a:extLst>
              <a:ext uri="{FF2B5EF4-FFF2-40B4-BE49-F238E27FC236}">
                <a16:creationId xmlns:a16="http://schemas.microsoft.com/office/drawing/2014/main" id="{FCC2FE11-D5E4-16FE-20A8-BE718F65672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81475" y="1491425"/>
            <a:ext cx="886046" cy="635000"/>
          </a:xfrm>
          <a:prstGeom prst="rect">
            <a:avLst/>
          </a:prstGeom>
        </p:spPr>
      </p:pic>
    </p:spTree>
    <p:extLst>
      <p:ext uri="{BB962C8B-B14F-4D97-AF65-F5344CB8AC3E}">
        <p14:creationId xmlns:p14="http://schemas.microsoft.com/office/powerpoint/2010/main" val="421364240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5EF384-F3D6-B607-353E-ED02146069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165EF384-F3D6-B607-353E-ED0214606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257B5E8-796D-91ED-4016-44A38B507B9F}"/>
              </a:ext>
            </a:extLst>
          </p:cNvPr>
          <p:cNvSpPr>
            <a:spLocks noGrp="1"/>
          </p:cNvSpPr>
          <p:nvPr>
            <p:ph type="title"/>
          </p:nvPr>
        </p:nvSpPr>
        <p:spPr/>
        <p:txBody>
          <a:bodyPr vert="horz"/>
          <a:lstStyle/>
          <a:p>
            <a:r>
              <a:rPr lang="en-GB"/>
              <a:t>Slide message – three scenarios comparison</a:t>
            </a:r>
          </a:p>
        </p:txBody>
      </p:sp>
      <p:graphicFrame>
        <p:nvGraphicFramePr>
          <p:cNvPr id="6" name="Espace réservé du contenu 5">
            <a:extLst>
              <a:ext uri="{FF2B5EF4-FFF2-40B4-BE49-F238E27FC236}">
                <a16:creationId xmlns:a16="http://schemas.microsoft.com/office/drawing/2014/main" id="{6493BF74-C43A-9CCD-31E7-6ECAE642C262}"/>
              </a:ext>
            </a:extLst>
          </p:cNvPr>
          <p:cNvGraphicFramePr>
            <a:graphicFrameLocks noGrp="1"/>
          </p:cNvGraphicFramePr>
          <p:nvPr>
            <p:ph idx="1"/>
          </p:nvPr>
        </p:nvGraphicFramePr>
        <p:xfrm>
          <a:off x="431312" y="1107620"/>
          <a:ext cx="10828572" cy="5156022"/>
        </p:xfrm>
        <a:graphic>
          <a:graphicData uri="http://schemas.openxmlformats.org/drawingml/2006/table">
            <a:tbl>
              <a:tblPr firstRow="1" bandRow="1">
                <a:tableStyleId>{5C22544A-7EE6-4342-B048-85BDC9FD1C3A}</a:tableStyleId>
              </a:tblPr>
              <a:tblGrid>
                <a:gridCol w="2707143">
                  <a:extLst>
                    <a:ext uri="{9D8B030D-6E8A-4147-A177-3AD203B41FA5}">
                      <a16:colId xmlns:a16="http://schemas.microsoft.com/office/drawing/2014/main" val="3694240927"/>
                    </a:ext>
                  </a:extLst>
                </a:gridCol>
                <a:gridCol w="2707143">
                  <a:extLst>
                    <a:ext uri="{9D8B030D-6E8A-4147-A177-3AD203B41FA5}">
                      <a16:colId xmlns:a16="http://schemas.microsoft.com/office/drawing/2014/main" val="2063632028"/>
                    </a:ext>
                  </a:extLst>
                </a:gridCol>
                <a:gridCol w="2707143">
                  <a:extLst>
                    <a:ext uri="{9D8B030D-6E8A-4147-A177-3AD203B41FA5}">
                      <a16:colId xmlns:a16="http://schemas.microsoft.com/office/drawing/2014/main" val="1346986099"/>
                    </a:ext>
                  </a:extLst>
                </a:gridCol>
                <a:gridCol w="2707143">
                  <a:extLst>
                    <a:ext uri="{9D8B030D-6E8A-4147-A177-3AD203B41FA5}">
                      <a16:colId xmlns:a16="http://schemas.microsoft.com/office/drawing/2014/main" val="621544787"/>
                    </a:ext>
                  </a:extLst>
                </a:gridCol>
              </a:tblGrid>
              <a:tr h="818697">
                <a:tc>
                  <a:txBody>
                    <a:bodyPr/>
                    <a:lstStyle/>
                    <a:p>
                      <a:endParaRPr lang="en-GB"/>
                    </a:p>
                  </a:txBody>
                  <a:tcPr>
                    <a:lnR w="57150" cap="flat" cmpd="sng" algn="ctr">
                      <a:solidFill>
                        <a:schemeClr val="bg1"/>
                      </a:solidFill>
                      <a:prstDash val="solid"/>
                      <a:round/>
                      <a:headEnd type="none" w="med" len="med"/>
                      <a:tailEnd type="none" w="med" len="med"/>
                    </a:lnR>
                    <a:lnB w="38100" cmpd="sng">
                      <a:noFill/>
                    </a:lnB>
                    <a:solidFill>
                      <a:schemeClr val="bg1"/>
                    </a:solidFill>
                  </a:tcPr>
                </a:tc>
                <a:tc>
                  <a:txBody>
                    <a:bodyPr/>
                    <a:lstStyle/>
                    <a:p>
                      <a:pPr algn="ctr"/>
                      <a:r>
                        <a:rPr lang="en-GB" sz="2000">
                          <a:solidFill>
                            <a:schemeClr val="bg1"/>
                          </a:solidFill>
                        </a:rPr>
                        <a:t>Solution 1</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GB" sz="2000">
                          <a:solidFill>
                            <a:schemeClr val="bg1"/>
                          </a:solidFill>
                        </a:rPr>
                        <a:t>Solution 2</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GB" sz="2000">
                          <a:solidFill>
                            <a:schemeClr val="bg1"/>
                          </a:solidFill>
                        </a:rPr>
                        <a:t>Solution 3</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163864674"/>
                  </a:ext>
                </a:extLst>
              </a:tr>
              <a:tr h="818697">
                <a:tc>
                  <a:txBody>
                    <a:bodyPr/>
                    <a:lstStyle/>
                    <a:p>
                      <a:r>
                        <a:rPr lang="en-GB" sz="1800" b="1"/>
                        <a:t>Criteria 1</a:t>
                      </a:r>
                    </a:p>
                  </a:txBody>
                  <a:tcPr anchor="ctr">
                    <a:lnL w="12700" cmpd="sng">
                      <a:noFill/>
                    </a:lnL>
                    <a:lnR w="12700" cap="flat" cmpd="sng" algn="ctr">
                      <a:solidFill>
                        <a:schemeClr val="bg1"/>
                      </a:solidFill>
                      <a:prstDash val="solid"/>
                      <a:round/>
                      <a:headEnd type="none" w="med" len="med"/>
                      <a:tailEnd type="none" w="med" len="med"/>
                    </a:lnR>
                    <a:lnT w="381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mpd="sng">
                      <a:noFill/>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mpd="sng">
                      <a:noFill/>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22677549"/>
                  </a:ext>
                </a:extLst>
              </a:tr>
              <a:tr h="818697">
                <a:tc>
                  <a:txBody>
                    <a:bodyPr/>
                    <a:lstStyle/>
                    <a:p>
                      <a:r>
                        <a:rPr lang="en-GB" sz="1800" b="1"/>
                        <a:t>Criteria 2</a:t>
                      </a:r>
                    </a:p>
                  </a:txBody>
                  <a:tcPr anchor="ctr">
                    <a:lnL w="12700" cmpd="sng">
                      <a:noFill/>
                    </a:lnL>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571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6495407"/>
                  </a:ext>
                </a:extLst>
              </a:tr>
              <a:tr h="818697">
                <a:tc>
                  <a:txBody>
                    <a:bodyPr/>
                    <a:lstStyle/>
                    <a:p>
                      <a:r>
                        <a:rPr lang="en-GB" sz="1800" b="1"/>
                        <a:t>Criteria 3</a:t>
                      </a:r>
                    </a:p>
                  </a:txBody>
                  <a:tcPr anchor="ctr">
                    <a:lnL w="12700" cmpd="sng">
                      <a:noFill/>
                    </a:lnL>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571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60216777"/>
                  </a:ext>
                </a:extLst>
              </a:tr>
              <a:tr h="818697">
                <a:tc>
                  <a:txBody>
                    <a:bodyPr/>
                    <a:lstStyle/>
                    <a:p>
                      <a:r>
                        <a:rPr lang="en-GB" sz="1800" b="1"/>
                        <a:t>Criteria 4</a:t>
                      </a:r>
                    </a:p>
                  </a:txBody>
                  <a:tcPr anchor="ctr">
                    <a:lnL w="12700" cmpd="sng">
                      <a:noFill/>
                    </a:lnL>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571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22051390"/>
                  </a:ext>
                </a:extLst>
              </a:tr>
              <a:tr h="818697">
                <a:tc>
                  <a:txBody>
                    <a:bodyPr/>
                    <a:lstStyle/>
                    <a:p>
                      <a:r>
                        <a:rPr lang="en-GB" sz="1800" b="1"/>
                        <a:t>Criteria 5</a:t>
                      </a:r>
                    </a:p>
                  </a:txBody>
                  <a:tcPr anchor="ctr">
                    <a:lnL w="12700" cmpd="sng">
                      <a:noFill/>
                    </a:lnL>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GB"/>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33650935"/>
                  </a:ext>
                </a:extLst>
              </a:tr>
              <a:tr h="0">
                <a:tc>
                  <a:txBody>
                    <a:bodyPr/>
                    <a:lstStyle/>
                    <a:p>
                      <a:endParaRPr lang="en-GB" sz="800" b="1"/>
                    </a:p>
                  </a:txBody>
                  <a:tcPr anchor="ctr">
                    <a:lnL w="12700" cmpd="sng">
                      <a:noFill/>
                    </a:lnL>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GB" sz="1000"/>
                    </a:p>
                  </a:txBody>
                  <a:tcPr>
                    <a:lnL w="127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GB" sz="100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GB" sz="100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93720768"/>
                  </a:ext>
                </a:extLst>
              </a:tr>
            </a:tbl>
          </a:graphicData>
        </a:graphic>
      </p:graphicFrame>
      <p:grpSp>
        <p:nvGrpSpPr>
          <p:cNvPr id="7" name="Groupe 6">
            <a:extLst>
              <a:ext uri="{FF2B5EF4-FFF2-40B4-BE49-F238E27FC236}">
                <a16:creationId xmlns:a16="http://schemas.microsoft.com/office/drawing/2014/main" id="{F78F9389-AB32-D316-0646-81BAD7E67612}"/>
              </a:ext>
            </a:extLst>
          </p:cNvPr>
          <p:cNvGrpSpPr/>
          <p:nvPr/>
        </p:nvGrpSpPr>
        <p:grpSpPr>
          <a:xfrm>
            <a:off x="3862263" y="2121986"/>
            <a:ext cx="1344757" cy="378281"/>
            <a:chOff x="3910691" y="2512446"/>
            <a:chExt cx="1344757" cy="378281"/>
          </a:xfrm>
          <a:solidFill>
            <a:schemeClr val="accent6"/>
          </a:solidFill>
        </p:grpSpPr>
        <p:pic>
          <p:nvPicPr>
            <p:cNvPr id="8" name="favourite">
              <a:extLst>
                <a:ext uri="{FF2B5EF4-FFF2-40B4-BE49-F238E27FC236}">
                  <a16:creationId xmlns:a16="http://schemas.microsoft.com/office/drawing/2014/main" id="{B119E190-566B-9941-34B9-1F9F4AB325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10691" y="2512446"/>
              <a:ext cx="378281" cy="378281"/>
            </a:xfrm>
            <a:prstGeom prst="rect">
              <a:avLst/>
            </a:prstGeom>
          </p:spPr>
        </p:pic>
        <p:pic>
          <p:nvPicPr>
            <p:cNvPr id="9" name="favourite">
              <a:extLst>
                <a:ext uri="{FF2B5EF4-FFF2-40B4-BE49-F238E27FC236}">
                  <a16:creationId xmlns:a16="http://schemas.microsoft.com/office/drawing/2014/main" id="{37936EC5-B08A-D593-626D-0B00413952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93929" y="2512446"/>
              <a:ext cx="378281" cy="378281"/>
            </a:xfrm>
            <a:prstGeom prst="rect">
              <a:avLst/>
            </a:prstGeom>
          </p:spPr>
        </p:pic>
        <p:pic>
          <p:nvPicPr>
            <p:cNvPr id="10" name="favourite">
              <a:extLst>
                <a:ext uri="{FF2B5EF4-FFF2-40B4-BE49-F238E27FC236}">
                  <a16:creationId xmlns:a16="http://schemas.microsoft.com/office/drawing/2014/main" id="{D4233DDB-C822-598D-3A89-A56D3F97AE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77167" y="2512446"/>
              <a:ext cx="378281" cy="378281"/>
            </a:xfrm>
            <a:prstGeom prst="rect">
              <a:avLst/>
            </a:prstGeom>
          </p:spPr>
        </p:pic>
      </p:grpSp>
      <p:grpSp>
        <p:nvGrpSpPr>
          <p:cNvPr id="11" name="Groupe 10">
            <a:extLst>
              <a:ext uri="{FF2B5EF4-FFF2-40B4-BE49-F238E27FC236}">
                <a16:creationId xmlns:a16="http://schemas.microsoft.com/office/drawing/2014/main" id="{2D5F1E69-ABD5-7E14-6B63-123FEDC5FEEA}"/>
              </a:ext>
            </a:extLst>
          </p:cNvPr>
          <p:cNvGrpSpPr/>
          <p:nvPr/>
        </p:nvGrpSpPr>
        <p:grpSpPr>
          <a:xfrm>
            <a:off x="4103881" y="2959288"/>
            <a:ext cx="861519" cy="378281"/>
            <a:chOff x="3910691" y="2512446"/>
            <a:chExt cx="861519" cy="378281"/>
          </a:xfrm>
          <a:solidFill>
            <a:schemeClr val="accent6"/>
          </a:solidFill>
        </p:grpSpPr>
        <p:pic>
          <p:nvPicPr>
            <p:cNvPr id="12" name="favourite">
              <a:extLst>
                <a:ext uri="{FF2B5EF4-FFF2-40B4-BE49-F238E27FC236}">
                  <a16:creationId xmlns:a16="http://schemas.microsoft.com/office/drawing/2014/main" id="{9DDF5119-E7C2-35E7-8BF9-0712E032E8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10691" y="2512446"/>
              <a:ext cx="378281" cy="378281"/>
            </a:xfrm>
            <a:prstGeom prst="rect">
              <a:avLst/>
            </a:prstGeom>
          </p:spPr>
        </p:pic>
        <p:pic>
          <p:nvPicPr>
            <p:cNvPr id="13" name="favourite">
              <a:extLst>
                <a:ext uri="{FF2B5EF4-FFF2-40B4-BE49-F238E27FC236}">
                  <a16:creationId xmlns:a16="http://schemas.microsoft.com/office/drawing/2014/main" id="{98769B31-95A0-5843-83C3-A3283F0E6F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93929" y="2512446"/>
              <a:ext cx="378281" cy="378281"/>
            </a:xfrm>
            <a:prstGeom prst="rect">
              <a:avLst/>
            </a:prstGeom>
          </p:spPr>
        </p:pic>
      </p:grpSp>
      <p:pic>
        <p:nvPicPr>
          <p:cNvPr id="14" name="favourite">
            <a:extLst>
              <a:ext uri="{FF2B5EF4-FFF2-40B4-BE49-F238E27FC236}">
                <a16:creationId xmlns:a16="http://schemas.microsoft.com/office/drawing/2014/main" id="{1BA9D4BC-54F0-964D-9D68-F373A6D67AAD}"/>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4345501" y="3796590"/>
            <a:ext cx="378281" cy="378281"/>
          </a:xfrm>
          <a:prstGeom prst="rect">
            <a:avLst/>
          </a:prstGeom>
        </p:spPr>
      </p:pic>
    </p:spTree>
    <p:extLst>
      <p:ext uri="{BB962C8B-B14F-4D97-AF65-F5344CB8AC3E}">
        <p14:creationId xmlns:p14="http://schemas.microsoft.com/office/powerpoint/2010/main" val="100740842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D16D42-A285-752B-6EFE-B370F3D7DA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7" progId="TCLayout.ActiveDocument.1">
                  <p:embed/>
                </p:oleObj>
              </mc:Choice>
              <mc:Fallback>
                <p:oleObj name="Diapositive think-cell" r:id="rId4" imgW="347" imgH="347" progId="TCLayout.ActiveDocument.1">
                  <p:embed/>
                  <p:pic>
                    <p:nvPicPr>
                      <p:cNvPr id="5" name="Object 4" hidden="1">
                        <a:extLst>
                          <a:ext uri="{FF2B5EF4-FFF2-40B4-BE49-F238E27FC236}">
                            <a16:creationId xmlns:a16="http://schemas.microsoft.com/office/drawing/2014/main" id="{8BD16D42-A285-752B-6EFE-B370F3D7DA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6224FA6-A77B-E768-DF76-2FFE09CF59E0}"/>
              </a:ext>
            </a:extLst>
          </p:cNvPr>
          <p:cNvSpPr>
            <a:spLocks noGrp="1"/>
          </p:cNvSpPr>
          <p:nvPr>
            <p:ph type="title"/>
          </p:nvPr>
        </p:nvSpPr>
        <p:spPr/>
        <p:txBody>
          <a:bodyPr vert="horz"/>
          <a:lstStyle/>
          <a:p>
            <a:r>
              <a:rPr lang="en-GB"/>
              <a:t>Approach presentation – three steps approach</a:t>
            </a:r>
          </a:p>
        </p:txBody>
      </p:sp>
      <p:grpSp>
        <p:nvGrpSpPr>
          <p:cNvPr id="31" name="Groupe 30">
            <a:extLst>
              <a:ext uri="{FF2B5EF4-FFF2-40B4-BE49-F238E27FC236}">
                <a16:creationId xmlns:a16="http://schemas.microsoft.com/office/drawing/2014/main" id="{2456D15C-920B-73DD-A3F2-EFADA994CE1C}"/>
              </a:ext>
            </a:extLst>
          </p:cNvPr>
          <p:cNvGrpSpPr/>
          <p:nvPr/>
        </p:nvGrpSpPr>
        <p:grpSpPr>
          <a:xfrm>
            <a:off x="1942937" y="2195693"/>
            <a:ext cx="8306126" cy="3191309"/>
            <a:chOff x="1455667" y="2195693"/>
            <a:chExt cx="8306126" cy="3191309"/>
          </a:xfrm>
        </p:grpSpPr>
        <p:grpSp>
          <p:nvGrpSpPr>
            <p:cNvPr id="29" name="Groupe 28">
              <a:extLst>
                <a:ext uri="{FF2B5EF4-FFF2-40B4-BE49-F238E27FC236}">
                  <a16:creationId xmlns:a16="http://schemas.microsoft.com/office/drawing/2014/main" id="{0FBC4561-280A-A66F-4BB0-7013FC47A0A7}"/>
                </a:ext>
              </a:extLst>
            </p:cNvPr>
            <p:cNvGrpSpPr/>
            <p:nvPr/>
          </p:nvGrpSpPr>
          <p:grpSpPr>
            <a:xfrm>
              <a:off x="4232008" y="2374586"/>
              <a:ext cx="2809305" cy="3012416"/>
              <a:chOff x="4242894" y="2374586"/>
              <a:chExt cx="2809305" cy="3012416"/>
            </a:xfrm>
          </p:grpSpPr>
          <p:sp>
            <p:nvSpPr>
              <p:cNvPr id="58" name="Rectangle 57">
                <a:extLst>
                  <a:ext uri="{FF2B5EF4-FFF2-40B4-BE49-F238E27FC236}">
                    <a16:creationId xmlns:a16="http://schemas.microsoft.com/office/drawing/2014/main" id="{71ED02C6-1960-8B91-D128-F1F0959D855C}"/>
                  </a:ext>
                </a:extLst>
              </p:cNvPr>
              <p:cNvSpPr/>
              <p:nvPr/>
            </p:nvSpPr>
            <p:spPr>
              <a:xfrm>
                <a:off x="5039012" y="2374586"/>
                <a:ext cx="2013187" cy="523220"/>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59" name="Rectangle 58">
                <a:extLst>
                  <a:ext uri="{FF2B5EF4-FFF2-40B4-BE49-F238E27FC236}">
                    <a16:creationId xmlns:a16="http://schemas.microsoft.com/office/drawing/2014/main" id="{2B166D09-582F-12E4-FD1E-3DCE3A76F08B}"/>
                  </a:ext>
                </a:extLst>
              </p:cNvPr>
              <p:cNvSpPr/>
              <p:nvPr/>
            </p:nvSpPr>
            <p:spPr>
              <a:xfrm>
                <a:off x="4242894" y="2589087"/>
                <a:ext cx="696881" cy="584775"/>
              </a:xfrm>
              <a:prstGeom prst="rect">
                <a:avLst/>
              </a:prstGeom>
            </p:spPr>
            <p:txBody>
              <a:bodyPr wrap="square" anchor="ctr">
                <a:spAutoFit/>
              </a:bodyPr>
              <a:lstStyle/>
              <a:p>
                <a:pPr algn="ctr"/>
                <a:r>
                  <a:rPr lang="en-US" sz="3200" b="1">
                    <a:solidFill>
                      <a:schemeClr val="accent4"/>
                    </a:solidFill>
                    <a:latin typeface="+mn-lt"/>
                    <a:ea typeface="Segoe UI" panose="020B0502040204020203" pitchFamily="34" charset="0"/>
                    <a:cs typeface="Segoe UI" panose="020B0502040204020203" pitchFamily="34" charset="0"/>
                  </a:rPr>
                  <a:t>02</a:t>
                </a:r>
                <a:endParaRPr lang="en-US" sz="3200" b="1">
                  <a:solidFill>
                    <a:schemeClr val="accent4"/>
                  </a:solidFill>
                  <a:latin typeface="+mn-lt"/>
                </a:endParaRPr>
              </a:p>
            </p:txBody>
          </p:sp>
          <p:cxnSp>
            <p:nvCxnSpPr>
              <p:cNvPr id="60" name="Straight Connector 59">
                <a:extLst>
                  <a:ext uri="{FF2B5EF4-FFF2-40B4-BE49-F238E27FC236}">
                    <a16:creationId xmlns:a16="http://schemas.microsoft.com/office/drawing/2014/main" id="{1983B8B2-8DED-8B4A-9C1E-6733C27729B9}"/>
                  </a:ext>
                </a:extLst>
              </p:cNvPr>
              <p:cNvCxnSpPr>
                <a:cxnSpLocks/>
              </p:cNvCxnSpPr>
              <p:nvPr/>
            </p:nvCxnSpPr>
            <p:spPr>
              <a:xfrm>
                <a:off x="4999636" y="2476653"/>
                <a:ext cx="0" cy="8280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Hexagon 48">
                <a:extLst>
                  <a:ext uri="{FF2B5EF4-FFF2-40B4-BE49-F238E27FC236}">
                    <a16:creationId xmlns:a16="http://schemas.microsoft.com/office/drawing/2014/main" id="{95C8BFF8-DAC7-973A-441C-FE2BAFA4BFA8}"/>
                  </a:ext>
                </a:extLst>
              </p:cNvPr>
              <p:cNvSpPr/>
              <p:nvPr/>
            </p:nvSpPr>
            <p:spPr>
              <a:xfrm>
                <a:off x="4754490" y="3454369"/>
                <a:ext cx="2261298" cy="1932633"/>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C800BAAF-2BEB-C8F2-C6FA-1E96F6913890}"/>
                  </a:ext>
                </a:extLst>
              </p:cNvPr>
              <p:cNvSpPr/>
              <p:nvPr/>
            </p:nvSpPr>
            <p:spPr>
              <a:xfrm>
                <a:off x="4509160" y="3454369"/>
                <a:ext cx="2236586" cy="1932633"/>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3_pallets">
                <a:extLst>
                  <a:ext uri="{FF2B5EF4-FFF2-40B4-BE49-F238E27FC236}">
                    <a16:creationId xmlns:a16="http://schemas.microsoft.com/office/drawing/2014/main" id="{4A0C44C4-4D8B-7979-878E-6D9ACF9359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7320" y="3989008"/>
                <a:ext cx="760266" cy="863353"/>
              </a:xfrm>
              <a:prstGeom prst="rect">
                <a:avLst/>
              </a:prstGeom>
            </p:spPr>
          </p:pic>
        </p:grpSp>
        <p:grpSp>
          <p:nvGrpSpPr>
            <p:cNvPr id="30" name="Groupe 29">
              <a:extLst>
                <a:ext uri="{FF2B5EF4-FFF2-40B4-BE49-F238E27FC236}">
                  <a16:creationId xmlns:a16="http://schemas.microsoft.com/office/drawing/2014/main" id="{F3EFB013-4000-FB64-52ED-E49D981821D2}"/>
                </a:ext>
              </a:extLst>
            </p:cNvPr>
            <p:cNvGrpSpPr/>
            <p:nvPr/>
          </p:nvGrpSpPr>
          <p:grpSpPr>
            <a:xfrm>
              <a:off x="1455667" y="2195693"/>
              <a:ext cx="2786572" cy="2965192"/>
              <a:chOff x="1455667" y="2369866"/>
              <a:chExt cx="2786572" cy="2965192"/>
            </a:xfrm>
          </p:grpSpPr>
          <p:sp>
            <p:nvSpPr>
              <p:cNvPr id="44" name="Rectangle 43">
                <a:extLst>
                  <a:ext uri="{FF2B5EF4-FFF2-40B4-BE49-F238E27FC236}">
                    <a16:creationId xmlns:a16="http://schemas.microsoft.com/office/drawing/2014/main" id="{B4313A12-76DF-1650-07A0-2032B97EE733}"/>
                  </a:ext>
                </a:extLst>
              </p:cNvPr>
              <p:cNvSpPr/>
              <p:nvPr/>
            </p:nvSpPr>
            <p:spPr>
              <a:xfrm>
                <a:off x="2229052" y="4451171"/>
                <a:ext cx="2013187" cy="738664"/>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45" name="Rectangle 44">
                <a:extLst>
                  <a:ext uri="{FF2B5EF4-FFF2-40B4-BE49-F238E27FC236}">
                    <a16:creationId xmlns:a16="http://schemas.microsoft.com/office/drawing/2014/main" id="{C05EC1A2-5EB3-B6AF-BF70-DD7596457744}"/>
                  </a:ext>
                </a:extLst>
              </p:cNvPr>
              <p:cNvSpPr/>
              <p:nvPr/>
            </p:nvSpPr>
            <p:spPr>
              <a:xfrm>
                <a:off x="1455667" y="4628671"/>
                <a:ext cx="696881" cy="584775"/>
              </a:xfrm>
              <a:prstGeom prst="rect">
                <a:avLst/>
              </a:prstGeom>
            </p:spPr>
            <p:txBody>
              <a:bodyPr wrap="square" anchor="ctr">
                <a:spAutoFit/>
              </a:bodyPr>
              <a:lstStyle/>
              <a:p>
                <a:pPr algn="ctr"/>
                <a:r>
                  <a:rPr lang="en-US" sz="3200" b="1">
                    <a:solidFill>
                      <a:schemeClr val="tx2"/>
                    </a:solidFill>
                    <a:latin typeface="+mn-lt"/>
                    <a:ea typeface="Segoe UI" panose="020B0502040204020203" pitchFamily="34" charset="0"/>
                    <a:cs typeface="Segoe UI" panose="020B0502040204020203" pitchFamily="34" charset="0"/>
                  </a:rPr>
                  <a:t>01</a:t>
                </a:r>
                <a:endParaRPr lang="en-US" sz="3200" b="1">
                  <a:solidFill>
                    <a:schemeClr val="tx2"/>
                  </a:solidFill>
                  <a:latin typeface="+mn-lt"/>
                </a:endParaRPr>
              </a:p>
            </p:txBody>
          </p:sp>
          <p:cxnSp>
            <p:nvCxnSpPr>
              <p:cNvPr id="46" name="Straight Connector 45">
                <a:extLst>
                  <a:ext uri="{FF2B5EF4-FFF2-40B4-BE49-F238E27FC236}">
                    <a16:creationId xmlns:a16="http://schemas.microsoft.com/office/drawing/2014/main" id="{145C0775-ECFA-ABB1-2898-34E451BFBDF9}"/>
                  </a:ext>
                </a:extLst>
              </p:cNvPr>
              <p:cNvCxnSpPr>
                <a:cxnSpLocks/>
              </p:cNvCxnSpPr>
              <p:nvPr/>
            </p:nvCxnSpPr>
            <p:spPr>
              <a:xfrm>
                <a:off x="2190801" y="4507058"/>
                <a:ext cx="0" cy="82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Hexagon 46">
                <a:extLst>
                  <a:ext uri="{FF2B5EF4-FFF2-40B4-BE49-F238E27FC236}">
                    <a16:creationId xmlns:a16="http://schemas.microsoft.com/office/drawing/2014/main" id="{C7F80756-906D-362F-0824-1E6D55037539}"/>
                  </a:ext>
                </a:extLst>
              </p:cNvPr>
              <p:cNvSpPr/>
              <p:nvPr/>
            </p:nvSpPr>
            <p:spPr>
              <a:xfrm>
                <a:off x="1744859" y="2369867"/>
                <a:ext cx="2466410" cy="193263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CBA113E0-F1DC-E812-2B80-FCD541E24E20}"/>
                  </a:ext>
                </a:extLst>
              </p:cNvPr>
              <p:cNvSpPr/>
              <p:nvPr/>
            </p:nvSpPr>
            <p:spPr>
              <a:xfrm>
                <a:off x="1695623" y="2369866"/>
                <a:ext cx="2241855" cy="1932634"/>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mpty_safe">
                <a:extLst>
                  <a:ext uri="{FF2B5EF4-FFF2-40B4-BE49-F238E27FC236}">
                    <a16:creationId xmlns:a16="http://schemas.microsoft.com/office/drawing/2014/main" id="{A8EEAD52-5F83-561A-0F76-B00D21795E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84933" y="2922183"/>
                <a:ext cx="863234" cy="828000"/>
              </a:xfrm>
              <a:prstGeom prst="rect">
                <a:avLst/>
              </a:prstGeom>
            </p:spPr>
          </p:pic>
        </p:grpSp>
        <p:grpSp>
          <p:nvGrpSpPr>
            <p:cNvPr id="28" name="Groupe 27">
              <a:extLst>
                <a:ext uri="{FF2B5EF4-FFF2-40B4-BE49-F238E27FC236}">
                  <a16:creationId xmlns:a16="http://schemas.microsoft.com/office/drawing/2014/main" id="{228B8A78-96B3-F3CE-ED3A-F67050CB3DBE}"/>
                </a:ext>
              </a:extLst>
            </p:cNvPr>
            <p:cNvGrpSpPr/>
            <p:nvPr/>
          </p:nvGrpSpPr>
          <p:grpSpPr>
            <a:xfrm>
              <a:off x="6929755" y="2195693"/>
              <a:ext cx="2832038" cy="2946933"/>
              <a:chOff x="6929755" y="2184807"/>
              <a:chExt cx="2832038" cy="2946933"/>
            </a:xfrm>
          </p:grpSpPr>
          <p:sp>
            <p:nvSpPr>
              <p:cNvPr id="54" name="Rectangle 53">
                <a:extLst>
                  <a:ext uri="{FF2B5EF4-FFF2-40B4-BE49-F238E27FC236}">
                    <a16:creationId xmlns:a16="http://schemas.microsoft.com/office/drawing/2014/main" id="{7792E923-2622-3A6D-742B-B502133E7610}"/>
                  </a:ext>
                </a:extLst>
              </p:cNvPr>
              <p:cNvSpPr/>
              <p:nvPr/>
            </p:nvSpPr>
            <p:spPr>
              <a:xfrm>
                <a:off x="7748606" y="4247853"/>
                <a:ext cx="2013187" cy="523220"/>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55" name="Rectangle 54">
                <a:extLst>
                  <a:ext uri="{FF2B5EF4-FFF2-40B4-BE49-F238E27FC236}">
                    <a16:creationId xmlns:a16="http://schemas.microsoft.com/office/drawing/2014/main" id="{7A0A7D51-B26E-C019-1511-1409462BA43B}"/>
                  </a:ext>
                </a:extLst>
              </p:cNvPr>
              <p:cNvSpPr/>
              <p:nvPr/>
            </p:nvSpPr>
            <p:spPr>
              <a:xfrm>
                <a:off x="6929755" y="4425353"/>
                <a:ext cx="737849" cy="584775"/>
              </a:xfrm>
              <a:prstGeom prst="rect">
                <a:avLst/>
              </a:prstGeom>
            </p:spPr>
            <p:txBody>
              <a:bodyPr wrap="square" anchor="ctr">
                <a:spAutoFit/>
              </a:bodyPr>
              <a:lstStyle/>
              <a:p>
                <a:pPr algn="ctr"/>
                <a:r>
                  <a:rPr lang="en-US" sz="3200" b="1">
                    <a:solidFill>
                      <a:schemeClr val="accent6"/>
                    </a:solidFill>
                    <a:latin typeface="+mn-lt"/>
                    <a:ea typeface="Segoe UI" panose="020B0502040204020203" pitchFamily="34" charset="0"/>
                    <a:cs typeface="Segoe UI" panose="020B0502040204020203" pitchFamily="34" charset="0"/>
                  </a:rPr>
                  <a:t>03</a:t>
                </a:r>
                <a:endParaRPr lang="en-US" sz="3200" b="1">
                  <a:solidFill>
                    <a:schemeClr val="accent6"/>
                  </a:solidFill>
                  <a:latin typeface="+mn-lt"/>
                </a:endParaRPr>
              </a:p>
            </p:txBody>
          </p:sp>
          <p:cxnSp>
            <p:nvCxnSpPr>
              <p:cNvPr id="56" name="Straight Connector 55">
                <a:extLst>
                  <a:ext uri="{FF2B5EF4-FFF2-40B4-BE49-F238E27FC236}">
                    <a16:creationId xmlns:a16="http://schemas.microsoft.com/office/drawing/2014/main" id="{6D4FD7EE-24F2-1E37-EEDF-D2DDA8FA455A}"/>
                  </a:ext>
                </a:extLst>
              </p:cNvPr>
              <p:cNvCxnSpPr>
                <a:cxnSpLocks/>
              </p:cNvCxnSpPr>
              <p:nvPr/>
            </p:nvCxnSpPr>
            <p:spPr>
              <a:xfrm>
                <a:off x="7708106" y="4303740"/>
                <a:ext cx="0" cy="8280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Hexagon 50">
                <a:extLst>
                  <a:ext uri="{FF2B5EF4-FFF2-40B4-BE49-F238E27FC236}">
                    <a16:creationId xmlns:a16="http://schemas.microsoft.com/office/drawing/2014/main" id="{455AA020-68D8-7E8D-F6A3-A4D05AE93D66}"/>
                  </a:ext>
                </a:extLst>
              </p:cNvPr>
              <p:cNvSpPr/>
              <p:nvPr/>
            </p:nvSpPr>
            <p:spPr>
              <a:xfrm>
                <a:off x="7249521" y="2184808"/>
                <a:ext cx="2466410" cy="1932634"/>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925679B0-FA3F-3DF7-13AD-242E29A6827E}"/>
                  </a:ext>
                </a:extLst>
              </p:cNvPr>
              <p:cNvSpPr/>
              <p:nvPr/>
            </p:nvSpPr>
            <p:spPr>
              <a:xfrm>
                <a:off x="7200284" y="2184807"/>
                <a:ext cx="2241855" cy="1932634"/>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truck_1">
                <a:extLst>
                  <a:ext uri="{FF2B5EF4-FFF2-40B4-BE49-F238E27FC236}">
                    <a16:creationId xmlns:a16="http://schemas.microsoft.com/office/drawing/2014/main" id="{FA903CC2-151B-7AB7-D924-0C30777411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3002" y="2791124"/>
                <a:ext cx="956418" cy="720000"/>
              </a:xfrm>
              <a:prstGeom prst="rect">
                <a:avLst/>
              </a:prstGeom>
            </p:spPr>
          </p:pic>
        </p:grpSp>
      </p:grpSp>
    </p:spTree>
    <p:extLst>
      <p:ext uri="{BB962C8B-B14F-4D97-AF65-F5344CB8AC3E}">
        <p14:creationId xmlns:p14="http://schemas.microsoft.com/office/powerpoint/2010/main" val="242941863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145E4-8499-9134-7C2C-67F99FA9D1B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0DC8CD-2A47-385C-E473-6E75045433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7" progId="TCLayout.ActiveDocument.1">
                  <p:embed/>
                </p:oleObj>
              </mc:Choice>
              <mc:Fallback>
                <p:oleObj name="Diapositive think-cell" r:id="rId4" imgW="347" imgH="347" progId="TCLayout.ActiveDocument.1">
                  <p:embed/>
                  <p:pic>
                    <p:nvPicPr>
                      <p:cNvPr id="5" name="Object 4" hidden="1">
                        <a:extLst>
                          <a:ext uri="{FF2B5EF4-FFF2-40B4-BE49-F238E27FC236}">
                            <a16:creationId xmlns:a16="http://schemas.microsoft.com/office/drawing/2014/main" id="{BA0DC8CD-2A47-385C-E473-6E7504543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AB21FC-E41A-0327-D869-8F4D9F76FD81}"/>
              </a:ext>
            </a:extLst>
          </p:cNvPr>
          <p:cNvSpPr>
            <a:spLocks noGrp="1"/>
          </p:cNvSpPr>
          <p:nvPr>
            <p:ph type="title"/>
          </p:nvPr>
        </p:nvSpPr>
        <p:spPr/>
        <p:txBody>
          <a:bodyPr vert="horz"/>
          <a:lstStyle/>
          <a:p>
            <a:r>
              <a:rPr lang="en-GB"/>
              <a:t>Approach presentation – four steps approach</a:t>
            </a:r>
          </a:p>
        </p:txBody>
      </p:sp>
      <p:grpSp>
        <p:nvGrpSpPr>
          <p:cNvPr id="15" name="Groupe 14">
            <a:extLst>
              <a:ext uri="{FF2B5EF4-FFF2-40B4-BE49-F238E27FC236}">
                <a16:creationId xmlns:a16="http://schemas.microsoft.com/office/drawing/2014/main" id="{0D175EF9-EC59-4128-2347-DC79DE9A8CF9}"/>
              </a:ext>
            </a:extLst>
          </p:cNvPr>
          <p:cNvGrpSpPr/>
          <p:nvPr/>
        </p:nvGrpSpPr>
        <p:grpSpPr>
          <a:xfrm>
            <a:off x="685932" y="2195693"/>
            <a:ext cx="10820136" cy="3191309"/>
            <a:chOff x="669309" y="2195693"/>
            <a:chExt cx="10820136" cy="3191309"/>
          </a:xfrm>
        </p:grpSpPr>
        <p:grpSp>
          <p:nvGrpSpPr>
            <p:cNvPr id="29" name="Groupe 28">
              <a:extLst>
                <a:ext uri="{FF2B5EF4-FFF2-40B4-BE49-F238E27FC236}">
                  <a16:creationId xmlns:a16="http://schemas.microsoft.com/office/drawing/2014/main" id="{47C35213-5B9A-6AE5-3D2E-105426DB7A31}"/>
                </a:ext>
              </a:extLst>
            </p:cNvPr>
            <p:cNvGrpSpPr/>
            <p:nvPr/>
          </p:nvGrpSpPr>
          <p:grpSpPr>
            <a:xfrm>
              <a:off x="3316853" y="2374586"/>
              <a:ext cx="2809305" cy="3012416"/>
              <a:chOff x="4242894" y="2374586"/>
              <a:chExt cx="2809305" cy="3012416"/>
            </a:xfrm>
          </p:grpSpPr>
          <p:sp>
            <p:nvSpPr>
              <p:cNvPr id="58" name="Rectangle 57">
                <a:extLst>
                  <a:ext uri="{FF2B5EF4-FFF2-40B4-BE49-F238E27FC236}">
                    <a16:creationId xmlns:a16="http://schemas.microsoft.com/office/drawing/2014/main" id="{91C8FC90-4D9C-395C-1B35-419B16F656D6}"/>
                  </a:ext>
                </a:extLst>
              </p:cNvPr>
              <p:cNvSpPr/>
              <p:nvPr/>
            </p:nvSpPr>
            <p:spPr>
              <a:xfrm>
                <a:off x="5039012" y="2374586"/>
                <a:ext cx="2013187" cy="523220"/>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59" name="Rectangle 58">
                <a:extLst>
                  <a:ext uri="{FF2B5EF4-FFF2-40B4-BE49-F238E27FC236}">
                    <a16:creationId xmlns:a16="http://schemas.microsoft.com/office/drawing/2014/main" id="{0AFEAEE0-DE62-1F72-70E6-E0BD400DD12D}"/>
                  </a:ext>
                </a:extLst>
              </p:cNvPr>
              <p:cNvSpPr/>
              <p:nvPr/>
            </p:nvSpPr>
            <p:spPr>
              <a:xfrm>
                <a:off x="4242894" y="2589087"/>
                <a:ext cx="696881" cy="584775"/>
              </a:xfrm>
              <a:prstGeom prst="rect">
                <a:avLst/>
              </a:prstGeom>
            </p:spPr>
            <p:txBody>
              <a:bodyPr wrap="square" anchor="ctr">
                <a:spAutoFit/>
              </a:bodyPr>
              <a:lstStyle/>
              <a:p>
                <a:pPr algn="ctr"/>
                <a:r>
                  <a:rPr lang="en-US" sz="3200" b="1">
                    <a:solidFill>
                      <a:schemeClr val="accent4"/>
                    </a:solidFill>
                    <a:latin typeface="+mn-lt"/>
                    <a:ea typeface="Segoe UI" panose="020B0502040204020203" pitchFamily="34" charset="0"/>
                    <a:cs typeface="Segoe UI" panose="020B0502040204020203" pitchFamily="34" charset="0"/>
                  </a:rPr>
                  <a:t>02</a:t>
                </a:r>
                <a:endParaRPr lang="en-US" sz="3200" b="1">
                  <a:solidFill>
                    <a:schemeClr val="accent4"/>
                  </a:solidFill>
                  <a:latin typeface="+mn-lt"/>
                </a:endParaRPr>
              </a:p>
            </p:txBody>
          </p:sp>
          <p:cxnSp>
            <p:nvCxnSpPr>
              <p:cNvPr id="60" name="Straight Connector 59">
                <a:extLst>
                  <a:ext uri="{FF2B5EF4-FFF2-40B4-BE49-F238E27FC236}">
                    <a16:creationId xmlns:a16="http://schemas.microsoft.com/office/drawing/2014/main" id="{EFA2F4DB-45AC-893E-F1D6-E3459548E52B}"/>
                  </a:ext>
                </a:extLst>
              </p:cNvPr>
              <p:cNvCxnSpPr>
                <a:cxnSpLocks/>
              </p:cNvCxnSpPr>
              <p:nvPr/>
            </p:nvCxnSpPr>
            <p:spPr>
              <a:xfrm>
                <a:off x="4999636" y="2476653"/>
                <a:ext cx="0" cy="8280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Hexagon 48">
                <a:extLst>
                  <a:ext uri="{FF2B5EF4-FFF2-40B4-BE49-F238E27FC236}">
                    <a16:creationId xmlns:a16="http://schemas.microsoft.com/office/drawing/2014/main" id="{10F72E96-9DFE-3067-1997-8F1680A48F29}"/>
                  </a:ext>
                </a:extLst>
              </p:cNvPr>
              <p:cNvSpPr/>
              <p:nvPr/>
            </p:nvSpPr>
            <p:spPr>
              <a:xfrm>
                <a:off x="4754490" y="3454369"/>
                <a:ext cx="2261298" cy="1932633"/>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13941E0E-8FEF-6880-C5D5-A85179C7BD28}"/>
                  </a:ext>
                </a:extLst>
              </p:cNvPr>
              <p:cNvSpPr/>
              <p:nvPr/>
            </p:nvSpPr>
            <p:spPr>
              <a:xfrm>
                <a:off x="4509160" y="3454369"/>
                <a:ext cx="2236586" cy="1932633"/>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3_pallets">
                <a:extLst>
                  <a:ext uri="{FF2B5EF4-FFF2-40B4-BE49-F238E27FC236}">
                    <a16:creationId xmlns:a16="http://schemas.microsoft.com/office/drawing/2014/main" id="{ECB20373-3B31-52C7-E19C-7FE93B0296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7320" y="3989008"/>
                <a:ext cx="760266" cy="863353"/>
              </a:xfrm>
              <a:prstGeom prst="rect">
                <a:avLst/>
              </a:prstGeom>
            </p:spPr>
          </p:pic>
        </p:grpSp>
        <p:grpSp>
          <p:nvGrpSpPr>
            <p:cNvPr id="30" name="Groupe 29">
              <a:extLst>
                <a:ext uri="{FF2B5EF4-FFF2-40B4-BE49-F238E27FC236}">
                  <a16:creationId xmlns:a16="http://schemas.microsoft.com/office/drawing/2014/main" id="{2BC3AE26-629B-F520-3548-FAA58904D80B}"/>
                </a:ext>
              </a:extLst>
            </p:cNvPr>
            <p:cNvGrpSpPr/>
            <p:nvPr/>
          </p:nvGrpSpPr>
          <p:grpSpPr>
            <a:xfrm>
              <a:off x="669309" y="2195693"/>
              <a:ext cx="2786572" cy="2965192"/>
              <a:chOff x="1455667" y="2369866"/>
              <a:chExt cx="2786572" cy="2965192"/>
            </a:xfrm>
          </p:grpSpPr>
          <p:sp>
            <p:nvSpPr>
              <p:cNvPr id="44" name="Rectangle 43">
                <a:extLst>
                  <a:ext uri="{FF2B5EF4-FFF2-40B4-BE49-F238E27FC236}">
                    <a16:creationId xmlns:a16="http://schemas.microsoft.com/office/drawing/2014/main" id="{CE4D5163-022D-7566-7BAE-698E180DFF04}"/>
                  </a:ext>
                </a:extLst>
              </p:cNvPr>
              <p:cNvSpPr/>
              <p:nvPr/>
            </p:nvSpPr>
            <p:spPr>
              <a:xfrm>
                <a:off x="2229052" y="4451171"/>
                <a:ext cx="2013187" cy="738664"/>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45" name="Rectangle 44">
                <a:extLst>
                  <a:ext uri="{FF2B5EF4-FFF2-40B4-BE49-F238E27FC236}">
                    <a16:creationId xmlns:a16="http://schemas.microsoft.com/office/drawing/2014/main" id="{351A1FFF-69BB-57FB-4244-45063AFB918E}"/>
                  </a:ext>
                </a:extLst>
              </p:cNvPr>
              <p:cNvSpPr/>
              <p:nvPr/>
            </p:nvSpPr>
            <p:spPr>
              <a:xfrm>
                <a:off x="1455667" y="4628671"/>
                <a:ext cx="696881" cy="584775"/>
              </a:xfrm>
              <a:prstGeom prst="rect">
                <a:avLst/>
              </a:prstGeom>
            </p:spPr>
            <p:txBody>
              <a:bodyPr wrap="square" anchor="ctr">
                <a:spAutoFit/>
              </a:bodyPr>
              <a:lstStyle/>
              <a:p>
                <a:pPr algn="ctr"/>
                <a:r>
                  <a:rPr lang="en-US" sz="3200" b="1">
                    <a:solidFill>
                      <a:schemeClr val="tx2"/>
                    </a:solidFill>
                    <a:latin typeface="+mn-lt"/>
                    <a:ea typeface="Segoe UI" panose="020B0502040204020203" pitchFamily="34" charset="0"/>
                    <a:cs typeface="Segoe UI" panose="020B0502040204020203" pitchFamily="34" charset="0"/>
                  </a:rPr>
                  <a:t>01</a:t>
                </a:r>
                <a:endParaRPr lang="en-US" sz="3200" b="1">
                  <a:solidFill>
                    <a:schemeClr val="tx2"/>
                  </a:solidFill>
                  <a:latin typeface="+mn-lt"/>
                </a:endParaRPr>
              </a:p>
            </p:txBody>
          </p:sp>
          <p:cxnSp>
            <p:nvCxnSpPr>
              <p:cNvPr id="46" name="Straight Connector 45">
                <a:extLst>
                  <a:ext uri="{FF2B5EF4-FFF2-40B4-BE49-F238E27FC236}">
                    <a16:creationId xmlns:a16="http://schemas.microsoft.com/office/drawing/2014/main" id="{D0EABE48-0226-BE7E-BC72-67C0932ED783}"/>
                  </a:ext>
                </a:extLst>
              </p:cNvPr>
              <p:cNvCxnSpPr>
                <a:cxnSpLocks/>
              </p:cNvCxnSpPr>
              <p:nvPr/>
            </p:nvCxnSpPr>
            <p:spPr>
              <a:xfrm>
                <a:off x="2190801" y="4507058"/>
                <a:ext cx="0" cy="82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Hexagon 46">
                <a:extLst>
                  <a:ext uri="{FF2B5EF4-FFF2-40B4-BE49-F238E27FC236}">
                    <a16:creationId xmlns:a16="http://schemas.microsoft.com/office/drawing/2014/main" id="{DA182520-F47E-47F6-E4DA-D4A45AEC7165}"/>
                  </a:ext>
                </a:extLst>
              </p:cNvPr>
              <p:cNvSpPr/>
              <p:nvPr/>
            </p:nvSpPr>
            <p:spPr>
              <a:xfrm>
                <a:off x="1744859" y="2369867"/>
                <a:ext cx="2466410" cy="193263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0FD0F255-BAD6-22A1-B8FF-7F477A4F5CD7}"/>
                  </a:ext>
                </a:extLst>
              </p:cNvPr>
              <p:cNvSpPr/>
              <p:nvPr/>
            </p:nvSpPr>
            <p:spPr>
              <a:xfrm>
                <a:off x="1695623" y="2369866"/>
                <a:ext cx="2241855" cy="1932634"/>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mpty_safe">
                <a:extLst>
                  <a:ext uri="{FF2B5EF4-FFF2-40B4-BE49-F238E27FC236}">
                    <a16:creationId xmlns:a16="http://schemas.microsoft.com/office/drawing/2014/main" id="{51A18E39-6557-E86B-0D6E-932573130E9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84933" y="2922183"/>
                <a:ext cx="863234" cy="828000"/>
              </a:xfrm>
              <a:prstGeom prst="rect">
                <a:avLst/>
              </a:prstGeom>
            </p:spPr>
          </p:pic>
        </p:grpSp>
        <p:grpSp>
          <p:nvGrpSpPr>
            <p:cNvPr id="28" name="Groupe 27">
              <a:extLst>
                <a:ext uri="{FF2B5EF4-FFF2-40B4-BE49-F238E27FC236}">
                  <a16:creationId xmlns:a16="http://schemas.microsoft.com/office/drawing/2014/main" id="{53B3EAB9-2D08-A529-4BD6-B002AC21466B}"/>
                </a:ext>
              </a:extLst>
            </p:cNvPr>
            <p:cNvGrpSpPr/>
            <p:nvPr/>
          </p:nvGrpSpPr>
          <p:grpSpPr>
            <a:xfrm>
              <a:off x="5987130" y="2195693"/>
              <a:ext cx="2832038" cy="2946933"/>
              <a:chOff x="6929755" y="2184807"/>
              <a:chExt cx="2832038" cy="2946933"/>
            </a:xfrm>
          </p:grpSpPr>
          <p:sp>
            <p:nvSpPr>
              <p:cNvPr id="54" name="Rectangle 53">
                <a:extLst>
                  <a:ext uri="{FF2B5EF4-FFF2-40B4-BE49-F238E27FC236}">
                    <a16:creationId xmlns:a16="http://schemas.microsoft.com/office/drawing/2014/main" id="{4CB0262C-4AFA-CC19-9BCF-EAB688A0F74F}"/>
                  </a:ext>
                </a:extLst>
              </p:cNvPr>
              <p:cNvSpPr/>
              <p:nvPr/>
            </p:nvSpPr>
            <p:spPr>
              <a:xfrm>
                <a:off x="7748606" y="4247853"/>
                <a:ext cx="2013187" cy="523220"/>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55" name="Rectangle 54">
                <a:extLst>
                  <a:ext uri="{FF2B5EF4-FFF2-40B4-BE49-F238E27FC236}">
                    <a16:creationId xmlns:a16="http://schemas.microsoft.com/office/drawing/2014/main" id="{6A811D27-DD18-D1EC-45C9-D1DF0C013840}"/>
                  </a:ext>
                </a:extLst>
              </p:cNvPr>
              <p:cNvSpPr/>
              <p:nvPr/>
            </p:nvSpPr>
            <p:spPr>
              <a:xfrm>
                <a:off x="6929755" y="4425353"/>
                <a:ext cx="737849" cy="584775"/>
              </a:xfrm>
              <a:prstGeom prst="rect">
                <a:avLst/>
              </a:prstGeom>
            </p:spPr>
            <p:txBody>
              <a:bodyPr wrap="square" anchor="ctr">
                <a:spAutoFit/>
              </a:bodyPr>
              <a:lstStyle/>
              <a:p>
                <a:pPr algn="ctr"/>
                <a:r>
                  <a:rPr lang="en-US" sz="3200" b="1">
                    <a:solidFill>
                      <a:schemeClr val="accent6"/>
                    </a:solidFill>
                    <a:latin typeface="+mn-lt"/>
                    <a:ea typeface="Segoe UI" panose="020B0502040204020203" pitchFamily="34" charset="0"/>
                    <a:cs typeface="Segoe UI" panose="020B0502040204020203" pitchFamily="34" charset="0"/>
                  </a:rPr>
                  <a:t>03</a:t>
                </a:r>
                <a:endParaRPr lang="en-US" sz="3200" b="1">
                  <a:solidFill>
                    <a:schemeClr val="accent6"/>
                  </a:solidFill>
                  <a:latin typeface="+mn-lt"/>
                </a:endParaRPr>
              </a:p>
            </p:txBody>
          </p:sp>
          <p:cxnSp>
            <p:nvCxnSpPr>
              <p:cNvPr id="56" name="Straight Connector 55">
                <a:extLst>
                  <a:ext uri="{FF2B5EF4-FFF2-40B4-BE49-F238E27FC236}">
                    <a16:creationId xmlns:a16="http://schemas.microsoft.com/office/drawing/2014/main" id="{13A0C3B1-2E54-EF81-0751-73270CD70D66}"/>
                  </a:ext>
                </a:extLst>
              </p:cNvPr>
              <p:cNvCxnSpPr>
                <a:cxnSpLocks/>
              </p:cNvCxnSpPr>
              <p:nvPr/>
            </p:nvCxnSpPr>
            <p:spPr>
              <a:xfrm>
                <a:off x="7708106" y="4303740"/>
                <a:ext cx="0" cy="8280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Hexagon 50">
                <a:extLst>
                  <a:ext uri="{FF2B5EF4-FFF2-40B4-BE49-F238E27FC236}">
                    <a16:creationId xmlns:a16="http://schemas.microsoft.com/office/drawing/2014/main" id="{34B778FD-3CFD-11EB-30EB-AC737E006600}"/>
                  </a:ext>
                </a:extLst>
              </p:cNvPr>
              <p:cNvSpPr/>
              <p:nvPr/>
            </p:nvSpPr>
            <p:spPr>
              <a:xfrm>
                <a:off x="7249521" y="2184808"/>
                <a:ext cx="2466410" cy="1932634"/>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F923E5C7-F1E7-F6F8-77B7-DE698FF3151F}"/>
                  </a:ext>
                </a:extLst>
              </p:cNvPr>
              <p:cNvSpPr/>
              <p:nvPr/>
            </p:nvSpPr>
            <p:spPr>
              <a:xfrm>
                <a:off x="7200284" y="2184807"/>
                <a:ext cx="2241855" cy="1932634"/>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truck_1">
                <a:extLst>
                  <a:ext uri="{FF2B5EF4-FFF2-40B4-BE49-F238E27FC236}">
                    <a16:creationId xmlns:a16="http://schemas.microsoft.com/office/drawing/2014/main" id="{3446B0FB-5E92-E29B-31CC-A7DB600A29B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3002" y="2791124"/>
                <a:ext cx="956418" cy="720000"/>
              </a:xfrm>
              <a:prstGeom prst="rect">
                <a:avLst/>
              </a:prstGeom>
            </p:spPr>
          </p:pic>
        </p:grpSp>
        <p:grpSp>
          <p:nvGrpSpPr>
            <p:cNvPr id="6" name="Groupe 5">
              <a:extLst>
                <a:ext uri="{FF2B5EF4-FFF2-40B4-BE49-F238E27FC236}">
                  <a16:creationId xmlns:a16="http://schemas.microsoft.com/office/drawing/2014/main" id="{D446504B-CFED-47C4-769B-ED4C6F7A40D3}"/>
                </a:ext>
              </a:extLst>
            </p:cNvPr>
            <p:cNvGrpSpPr/>
            <p:nvPr/>
          </p:nvGrpSpPr>
          <p:grpSpPr>
            <a:xfrm>
              <a:off x="8680140" y="2374586"/>
              <a:ext cx="2809305" cy="3012416"/>
              <a:chOff x="4242894" y="2374586"/>
              <a:chExt cx="2809305" cy="3012416"/>
            </a:xfrm>
          </p:grpSpPr>
          <p:sp>
            <p:nvSpPr>
              <p:cNvPr id="8" name="Rectangle 7">
                <a:extLst>
                  <a:ext uri="{FF2B5EF4-FFF2-40B4-BE49-F238E27FC236}">
                    <a16:creationId xmlns:a16="http://schemas.microsoft.com/office/drawing/2014/main" id="{8DEF7735-2B1E-7905-27A6-54C10232DE33}"/>
                  </a:ext>
                </a:extLst>
              </p:cNvPr>
              <p:cNvSpPr/>
              <p:nvPr/>
            </p:nvSpPr>
            <p:spPr>
              <a:xfrm>
                <a:off x="5039012" y="2374586"/>
                <a:ext cx="2013187" cy="523220"/>
              </a:xfrm>
              <a:prstGeom prst="rect">
                <a:avLst/>
              </a:prstGeom>
            </p:spPr>
            <p:txBody>
              <a:bodyPr wrap="square">
                <a:spAutoFit/>
              </a:bodyPr>
              <a:lstStyle/>
              <a:p>
                <a:pPr algn="l"/>
                <a:r>
                  <a:rPr lang="da-DK">
                    <a:solidFill>
                      <a:schemeClr val="bg2">
                        <a:lumMod val="10000"/>
                      </a:schemeClr>
                    </a:solidFill>
                    <a:latin typeface="+mn-lt"/>
                    <a:ea typeface="Segoe UI" panose="020B0502040204020203" pitchFamily="34" charset="0"/>
                    <a:cs typeface="Segoe UI" panose="020B0502040204020203" pitchFamily="34" charset="0"/>
                  </a:rPr>
                  <a:t>Lorem ipsum dolor sit amet, consectetur adipiscing elit</a:t>
                </a:r>
                <a:endParaRPr lang="en-US">
                  <a:solidFill>
                    <a:schemeClr val="bg2">
                      <a:lumMod val="10000"/>
                    </a:schemeClr>
                  </a:solidFill>
                  <a:latin typeface="+mn-lt"/>
                </a:endParaRPr>
              </a:p>
            </p:txBody>
          </p:sp>
          <p:sp>
            <p:nvSpPr>
              <p:cNvPr id="9" name="Rectangle 8">
                <a:extLst>
                  <a:ext uri="{FF2B5EF4-FFF2-40B4-BE49-F238E27FC236}">
                    <a16:creationId xmlns:a16="http://schemas.microsoft.com/office/drawing/2014/main" id="{054506F1-93C8-7364-837A-CE94354B223D}"/>
                  </a:ext>
                </a:extLst>
              </p:cNvPr>
              <p:cNvSpPr/>
              <p:nvPr/>
            </p:nvSpPr>
            <p:spPr>
              <a:xfrm>
                <a:off x="4242894" y="2589087"/>
                <a:ext cx="696881" cy="584775"/>
              </a:xfrm>
              <a:prstGeom prst="rect">
                <a:avLst/>
              </a:prstGeom>
            </p:spPr>
            <p:txBody>
              <a:bodyPr wrap="square" anchor="ctr">
                <a:spAutoFit/>
              </a:bodyPr>
              <a:lstStyle/>
              <a:p>
                <a:pPr algn="ctr"/>
                <a:r>
                  <a:rPr lang="en-US" sz="3200" b="1">
                    <a:solidFill>
                      <a:schemeClr val="accent2"/>
                    </a:solidFill>
                    <a:latin typeface="+mn-lt"/>
                    <a:ea typeface="Segoe UI" panose="020B0502040204020203" pitchFamily="34" charset="0"/>
                    <a:cs typeface="Segoe UI" panose="020B0502040204020203" pitchFamily="34" charset="0"/>
                  </a:rPr>
                  <a:t>04</a:t>
                </a:r>
                <a:endParaRPr lang="en-US" sz="3200" b="1">
                  <a:solidFill>
                    <a:schemeClr val="accent2"/>
                  </a:solidFill>
                  <a:latin typeface="+mn-lt"/>
                </a:endParaRPr>
              </a:p>
            </p:txBody>
          </p:sp>
          <p:cxnSp>
            <p:nvCxnSpPr>
              <p:cNvPr id="10" name="Straight Connector 59">
                <a:extLst>
                  <a:ext uri="{FF2B5EF4-FFF2-40B4-BE49-F238E27FC236}">
                    <a16:creationId xmlns:a16="http://schemas.microsoft.com/office/drawing/2014/main" id="{9066CECB-442D-2C8F-513B-BA22C994BEAC}"/>
                  </a:ext>
                </a:extLst>
              </p:cNvPr>
              <p:cNvCxnSpPr>
                <a:cxnSpLocks/>
              </p:cNvCxnSpPr>
              <p:nvPr/>
            </p:nvCxnSpPr>
            <p:spPr>
              <a:xfrm>
                <a:off x="4999636" y="2476653"/>
                <a:ext cx="0" cy="82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Hexagon 48">
                <a:extLst>
                  <a:ext uri="{FF2B5EF4-FFF2-40B4-BE49-F238E27FC236}">
                    <a16:creationId xmlns:a16="http://schemas.microsoft.com/office/drawing/2014/main" id="{F2613A53-3ECC-5542-3083-5D7F8EBA8C0A}"/>
                  </a:ext>
                </a:extLst>
              </p:cNvPr>
              <p:cNvSpPr/>
              <p:nvPr/>
            </p:nvSpPr>
            <p:spPr>
              <a:xfrm>
                <a:off x="4754490" y="3454369"/>
                <a:ext cx="2261298" cy="193263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49">
                <a:extLst>
                  <a:ext uri="{FF2B5EF4-FFF2-40B4-BE49-F238E27FC236}">
                    <a16:creationId xmlns:a16="http://schemas.microsoft.com/office/drawing/2014/main" id="{B2B2168A-7E70-4F09-2F90-BBD793DD499B}"/>
                  </a:ext>
                </a:extLst>
              </p:cNvPr>
              <p:cNvSpPr/>
              <p:nvPr/>
            </p:nvSpPr>
            <p:spPr>
              <a:xfrm>
                <a:off x="4509160" y="3454369"/>
                <a:ext cx="2236586" cy="1932633"/>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9" name="grey_factory">
            <a:extLst>
              <a:ext uri="{FF2B5EF4-FFF2-40B4-BE49-F238E27FC236}">
                <a16:creationId xmlns:a16="http://schemas.microsoft.com/office/drawing/2014/main" id="{1FE064C7-5B53-FCDE-E6FD-71378C105AC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45049" y="3914728"/>
            <a:ext cx="787083" cy="924824"/>
          </a:xfrm>
          <a:prstGeom prst="rect">
            <a:avLst/>
          </a:prstGeom>
        </p:spPr>
      </p:pic>
    </p:spTree>
    <p:extLst>
      <p:ext uri="{BB962C8B-B14F-4D97-AF65-F5344CB8AC3E}">
        <p14:creationId xmlns:p14="http://schemas.microsoft.com/office/powerpoint/2010/main" val="139185061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A4B4649B-9ADB-9217-ECFA-B4AEBA7976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51" name="think-cell data - do not delete" hidden="1">
                        <a:extLst>
                          <a:ext uri="{FF2B5EF4-FFF2-40B4-BE49-F238E27FC236}">
                            <a16:creationId xmlns:a16="http://schemas.microsoft.com/office/drawing/2014/main" id="{A4B4649B-9ADB-9217-ECFA-B4AEBA7976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BF7AEDD-973D-7AC5-2278-A44F7C49B115}"/>
              </a:ext>
            </a:extLst>
          </p:cNvPr>
          <p:cNvSpPr>
            <a:spLocks noGrp="1"/>
          </p:cNvSpPr>
          <p:nvPr>
            <p:ph type="title"/>
          </p:nvPr>
        </p:nvSpPr>
        <p:spPr/>
        <p:txBody>
          <a:bodyPr vert="horz"/>
          <a:lstStyle/>
          <a:p>
            <a:r>
              <a:rPr lang="en-US"/>
              <a:t>Historical timeline – four milestones</a:t>
            </a:r>
          </a:p>
        </p:txBody>
      </p:sp>
      <p:grpSp>
        <p:nvGrpSpPr>
          <p:cNvPr id="39" name="Graphic 81" descr="Flag">
            <a:extLst>
              <a:ext uri="{FF2B5EF4-FFF2-40B4-BE49-F238E27FC236}">
                <a16:creationId xmlns:a16="http://schemas.microsoft.com/office/drawing/2014/main" id="{1AB4930E-0EF0-C23B-0325-B1CE81EB409E}"/>
              </a:ext>
            </a:extLst>
          </p:cNvPr>
          <p:cNvGrpSpPr/>
          <p:nvPr/>
        </p:nvGrpSpPr>
        <p:grpSpPr>
          <a:xfrm flipH="1">
            <a:off x="9771051" y="2880117"/>
            <a:ext cx="914400" cy="914400"/>
            <a:chOff x="8781586" y="2045919"/>
            <a:chExt cx="914400" cy="914400"/>
          </a:xfrm>
          <a:solidFill>
            <a:schemeClr val="accent5"/>
          </a:solidFill>
        </p:grpSpPr>
        <p:sp>
          <p:nvSpPr>
            <p:cNvPr id="40" name="Freeform: Shape 104">
              <a:extLst>
                <a:ext uri="{FF2B5EF4-FFF2-40B4-BE49-F238E27FC236}">
                  <a16:creationId xmlns:a16="http://schemas.microsoft.com/office/drawing/2014/main" id="{4EE772F9-078C-4CEE-65BE-42AE66319D69}"/>
                </a:ext>
              </a:extLst>
            </p:cNvPr>
            <p:cNvSpPr/>
            <p:nvPr/>
          </p:nvSpPr>
          <p:spPr>
            <a:xfrm>
              <a:off x="8972086" y="2123071"/>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41" name="Freeform: Shape 105">
              <a:extLst>
                <a:ext uri="{FF2B5EF4-FFF2-40B4-BE49-F238E27FC236}">
                  <a16:creationId xmlns:a16="http://schemas.microsoft.com/office/drawing/2014/main" id="{41632C57-7FA0-244E-DA13-E85795436D9A}"/>
                </a:ext>
              </a:extLst>
            </p:cNvPr>
            <p:cNvSpPr/>
            <p:nvPr/>
          </p:nvSpPr>
          <p:spPr>
            <a:xfrm>
              <a:off x="9067336" y="2121166"/>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3C3FB6D1-B8AA-268A-B029-F8FB0CF12DF4}"/>
              </a:ext>
            </a:extLst>
          </p:cNvPr>
          <p:cNvSpPr/>
          <p:nvPr/>
        </p:nvSpPr>
        <p:spPr>
          <a:xfrm>
            <a:off x="2134227" y="5284199"/>
            <a:ext cx="2095187" cy="10854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4" name="Rectangle 3">
            <a:extLst>
              <a:ext uri="{FF2B5EF4-FFF2-40B4-BE49-F238E27FC236}">
                <a16:creationId xmlns:a16="http://schemas.microsoft.com/office/drawing/2014/main" id="{83892B09-4B31-AF13-A873-3C30121C003C}"/>
              </a:ext>
            </a:extLst>
          </p:cNvPr>
          <p:cNvSpPr/>
          <p:nvPr/>
        </p:nvSpPr>
        <p:spPr>
          <a:xfrm>
            <a:off x="4229413" y="4859516"/>
            <a:ext cx="2095187" cy="151011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5" name="Rectangle 4">
            <a:extLst>
              <a:ext uri="{FF2B5EF4-FFF2-40B4-BE49-F238E27FC236}">
                <a16:creationId xmlns:a16="http://schemas.microsoft.com/office/drawing/2014/main" id="{8A4646D7-DCF4-88AA-F561-6A1165387255}"/>
              </a:ext>
            </a:extLst>
          </p:cNvPr>
          <p:cNvSpPr/>
          <p:nvPr/>
        </p:nvSpPr>
        <p:spPr>
          <a:xfrm>
            <a:off x="6324600" y="4419621"/>
            <a:ext cx="2095187" cy="19500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n Ipsum</a:t>
            </a:r>
          </a:p>
        </p:txBody>
      </p:sp>
      <p:sp>
        <p:nvSpPr>
          <p:cNvPr id="6" name="Rectangle 5">
            <a:extLst>
              <a:ext uri="{FF2B5EF4-FFF2-40B4-BE49-F238E27FC236}">
                <a16:creationId xmlns:a16="http://schemas.microsoft.com/office/drawing/2014/main" id="{A9FEC423-DE61-7B93-50AC-602F9F0E36A6}"/>
              </a:ext>
            </a:extLst>
          </p:cNvPr>
          <p:cNvSpPr/>
          <p:nvPr/>
        </p:nvSpPr>
        <p:spPr>
          <a:xfrm>
            <a:off x="8419786" y="4001894"/>
            <a:ext cx="2095187" cy="23677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8" name="Rectangle 7">
            <a:extLst>
              <a:ext uri="{FF2B5EF4-FFF2-40B4-BE49-F238E27FC236}">
                <a16:creationId xmlns:a16="http://schemas.microsoft.com/office/drawing/2014/main" id="{E940AC92-3D4F-4E25-DD10-E3423141E012}"/>
              </a:ext>
            </a:extLst>
          </p:cNvPr>
          <p:cNvSpPr/>
          <p:nvPr/>
        </p:nvSpPr>
        <p:spPr>
          <a:xfrm>
            <a:off x="2134226" y="5033458"/>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F6A82EE-D9B0-3649-4B07-2C7BA68701B6}"/>
              </a:ext>
            </a:extLst>
          </p:cNvPr>
          <p:cNvSpPr/>
          <p:nvPr/>
        </p:nvSpPr>
        <p:spPr>
          <a:xfrm>
            <a:off x="4229412" y="4608995"/>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685479B-6B57-7765-9839-55A05B598177}"/>
              </a:ext>
            </a:extLst>
          </p:cNvPr>
          <p:cNvSpPr/>
          <p:nvPr/>
        </p:nvSpPr>
        <p:spPr>
          <a:xfrm>
            <a:off x="6324599" y="4184532"/>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1BD5B63-12BA-F0FD-7E3F-B86B3B21FC36}"/>
              </a:ext>
            </a:extLst>
          </p:cNvPr>
          <p:cNvSpPr/>
          <p:nvPr/>
        </p:nvSpPr>
        <p:spPr>
          <a:xfrm>
            <a:off x="8419787" y="3760069"/>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C73B85E-EAC0-1C56-A044-354571C44DBB}"/>
              </a:ext>
            </a:extLst>
          </p:cNvPr>
          <p:cNvSpPr/>
          <p:nvPr/>
        </p:nvSpPr>
        <p:spPr>
          <a:xfrm>
            <a:off x="2134227"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1</a:t>
            </a:r>
          </a:p>
        </p:txBody>
      </p:sp>
      <p:sp>
        <p:nvSpPr>
          <p:cNvPr id="14" name="Rectangle 13">
            <a:extLst>
              <a:ext uri="{FF2B5EF4-FFF2-40B4-BE49-F238E27FC236}">
                <a16:creationId xmlns:a16="http://schemas.microsoft.com/office/drawing/2014/main" id="{89F47024-8CF3-6734-92AF-AB18E020642A}"/>
              </a:ext>
            </a:extLst>
          </p:cNvPr>
          <p:cNvSpPr/>
          <p:nvPr/>
        </p:nvSpPr>
        <p:spPr>
          <a:xfrm>
            <a:off x="4229414"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2</a:t>
            </a:r>
          </a:p>
        </p:txBody>
      </p:sp>
      <p:sp>
        <p:nvSpPr>
          <p:cNvPr id="15" name="Rectangle 14">
            <a:extLst>
              <a:ext uri="{FF2B5EF4-FFF2-40B4-BE49-F238E27FC236}">
                <a16:creationId xmlns:a16="http://schemas.microsoft.com/office/drawing/2014/main" id="{10CFC439-DB75-4F2E-8F7A-E3A19D5B8428}"/>
              </a:ext>
            </a:extLst>
          </p:cNvPr>
          <p:cNvSpPr/>
          <p:nvPr/>
        </p:nvSpPr>
        <p:spPr>
          <a:xfrm>
            <a:off x="6324601"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3</a:t>
            </a:r>
          </a:p>
        </p:txBody>
      </p:sp>
      <p:sp>
        <p:nvSpPr>
          <p:cNvPr id="16" name="Rectangle 15">
            <a:extLst>
              <a:ext uri="{FF2B5EF4-FFF2-40B4-BE49-F238E27FC236}">
                <a16:creationId xmlns:a16="http://schemas.microsoft.com/office/drawing/2014/main" id="{5B73C977-1A75-C317-C2C9-A1DA877F605A}"/>
              </a:ext>
            </a:extLst>
          </p:cNvPr>
          <p:cNvSpPr/>
          <p:nvPr/>
        </p:nvSpPr>
        <p:spPr>
          <a:xfrm>
            <a:off x="8419787"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4</a:t>
            </a:r>
          </a:p>
        </p:txBody>
      </p:sp>
      <p:grpSp>
        <p:nvGrpSpPr>
          <p:cNvPr id="18" name="Group 82">
            <a:extLst>
              <a:ext uri="{FF2B5EF4-FFF2-40B4-BE49-F238E27FC236}">
                <a16:creationId xmlns:a16="http://schemas.microsoft.com/office/drawing/2014/main" id="{5A0615D5-97FD-6604-0CCA-FBB746AAA598}"/>
              </a:ext>
            </a:extLst>
          </p:cNvPr>
          <p:cNvGrpSpPr/>
          <p:nvPr/>
        </p:nvGrpSpPr>
        <p:grpSpPr>
          <a:xfrm>
            <a:off x="2134227" y="2795965"/>
            <a:ext cx="1575594" cy="1167042"/>
            <a:chOff x="332936" y="2689321"/>
            <a:chExt cx="2926080" cy="1167042"/>
          </a:xfrm>
        </p:grpSpPr>
        <p:sp>
          <p:nvSpPr>
            <p:cNvPr id="19" name="TextBox 83">
              <a:extLst>
                <a:ext uri="{FF2B5EF4-FFF2-40B4-BE49-F238E27FC236}">
                  <a16:creationId xmlns:a16="http://schemas.microsoft.com/office/drawing/2014/main" id="{9D084527-0546-2E22-5393-4883BFF4F17D}"/>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0" name="TextBox 84">
              <a:extLst>
                <a:ext uri="{FF2B5EF4-FFF2-40B4-BE49-F238E27FC236}">
                  <a16:creationId xmlns:a16="http://schemas.microsoft.com/office/drawing/2014/main" id="{97E69219-B0C7-2AF1-CD93-F7F796EA9CE2}"/>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1" name="Group 85">
            <a:extLst>
              <a:ext uri="{FF2B5EF4-FFF2-40B4-BE49-F238E27FC236}">
                <a16:creationId xmlns:a16="http://schemas.microsoft.com/office/drawing/2014/main" id="{F120B328-7227-D17E-66F2-D52F3BDC8402}"/>
              </a:ext>
            </a:extLst>
          </p:cNvPr>
          <p:cNvGrpSpPr/>
          <p:nvPr/>
        </p:nvGrpSpPr>
        <p:grpSpPr>
          <a:xfrm>
            <a:off x="4233618" y="2370763"/>
            <a:ext cx="1575594" cy="1167042"/>
            <a:chOff x="332936" y="2689321"/>
            <a:chExt cx="2926080" cy="1167042"/>
          </a:xfrm>
        </p:grpSpPr>
        <p:sp>
          <p:nvSpPr>
            <p:cNvPr id="22" name="TextBox 86">
              <a:extLst>
                <a:ext uri="{FF2B5EF4-FFF2-40B4-BE49-F238E27FC236}">
                  <a16:creationId xmlns:a16="http://schemas.microsoft.com/office/drawing/2014/main" id="{6A5F23B0-A7BA-2F22-934D-0DD0EBA9E4E8}"/>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3" name="TextBox 87">
              <a:extLst>
                <a:ext uri="{FF2B5EF4-FFF2-40B4-BE49-F238E27FC236}">
                  <a16:creationId xmlns:a16="http://schemas.microsoft.com/office/drawing/2014/main" id="{1B9ED5AD-714B-EC7E-0D33-6D78C094B8C8}"/>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4" name="Group 88">
            <a:extLst>
              <a:ext uri="{FF2B5EF4-FFF2-40B4-BE49-F238E27FC236}">
                <a16:creationId xmlns:a16="http://schemas.microsoft.com/office/drawing/2014/main" id="{082D571E-4BE1-79D7-F3AE-965F836820EF}"/>
              </a:ext>
            </a:extLst>
          </p:cNvPr>
          <p:cNvGrpSpPr/>
          <p:nvPr/>
        </p:nvGrpSpPr>
        <p:grpSpPr>
          <a:xfrm>
            <a:off x="6323280" y="1945560"/>
            <a:ext cx="1575594" cy="1167042"/>
            <a:chOff x="332936" y="2689321"/>
            <a:chExt cx="2926080" cy="1167042"/>
          </a:xfrm>
        </p:grpSpPr>
        <p:sp>
          <p:nvSpPr>
            <p:cNvPr id="25" name="TextBox 89">
              <a:extLst>
                <a:ext uri="{FF2B5EF4-FFF2-40B4-BE49-F238E27FC236}">
                  <a16:creationId xmlns:a16="http://schemas.microsoft.com/office/drawing/2014/main" id="{5D641E26-746A-9794-0DEB-BAF2E623BC27}"/>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6" name="TextBox 90">
              <a:extLst>
                <a:ext uri="{FF2B5EF4-FFF2-40B4-BE49-F238E27FC236}">
                  <a16:creationId xmlns:a16="http://schemas.microsoft.com/office/drawing/2014/main" id="{26184724-030A-81E6-1704-CB42914DAC3E}"/>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7" name="Group 91">
            <a:extLst>
              <a:ext uri="{FF2B5EF4-FFF2-40B4-BE49-F238E27FC236}">
                <a16:creationId xmlns:a16="http://schemas.microsoft.com/office/drawing/2014/main" id="{A83DB847-C3AA-CA3B-CE18-352082DA0ADD}"/>
              </a:ext>
            </a:extLst>
          </p:cNvPr>
          <p:cNvGrpSpPr/>
          <p:nvPr/>
        </p:nvGrpSpPr>
        <p:grpSpPr>
          <a:xfrm>
            <a:off x="8419786" y="1520357"/>
            <a:ext cx="1575594" cy="1167042"/>
            <a:chOff x="332936" y="2689321"/>
            <a:chExt cx="2926080" cy="1167042"/>
          </a:xfrm>
        </p:grpSpPr>
        <p:sp>
          <p:nvSpPr>
            <p:cNvPr id="28" name="TextBox 92">
              <a:extLst>
                <a:ext uri="{FF2B5EF4-FFF2-40B4-BE49-F238E27FC236}">
                  <a16:creationId xmlns:a16="http://schemas.microsoft.com/office/drawing/2014/main" id="{1198A2B5-990A-198B-CBB6-C3A707756CB1}"/>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9" name="TextBox 93">
              <a:extLst>
                <a:ext uri="{FF2B5EF4-FFF2-40B4-BE49-F238E27FC236}">
                  <a16:creationId xmlns:a16="http://schemas.microsoft.com/office/drawing/2014/main" id="{1A2C1127-CB23-9712-2F83-BB020C41A527}"/>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33" name="Graphic 79" descr="Flag">
            <a:extLst>
              <a:ext uri="{FF2B5EF4-FFF2-40B4-BE49-F238E27FC236}">
                <a16:creationId xmlns:a16="http://schemas.microsoft.com/office/drawing/2014/main" id="{26CE5F60-CAEF-11C6-A8E7-D64EB2928A2F}"/>
              </a:ext>
            </a:extLst>
          </p:cNvPr>
          <p:cNvGrpSpPr/>
          <p:nvPr/>
        </p:nvGrpSpPr>
        <p:grpSpPr>
          <a:xfrm flipH="1">
            <a:off x="4698820" y="3731295"/>
            <a:ext cx="914400" cy="914400"/>
            <a:chOff x="4591206" y="2957817"/>
            <a:chExt cx="914400" cy="914400"/>
          </a:xfrm>
          <a:solidFill>
            <a:schemeClr val="accent3">
              <a:lumMod val="75000"/>
            </a:schemeClr>
          </a:solidFill>
        </p:grpSpPr>
        <p:sp>
          <p:nvSpPr>
            <p:cNvPr id="34" name="Freeform: Shape 98">
              <a:extLst>
                <a:ext uri="{FF2B5EF4-FFF2-40B4-BE49-F238E27FC236}">
                  <a16:creationId xmlns:a16="http://schemas.microsoft.com/office/drawing/2014/main" id="{E7A5F2A6-3E5D-B991-47C6-9D60324391A1}"/>
                </a:ext>
              </a:extLst>
            </p:cNvPr>
            <p:cNvSpPr/>
            <p:nvPr/>
          </p:nvSpPr>
          <p:spPr>
            <a:xfrm>
              <a:off x="4781706" y="30349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5" name="Freeform: Shape 99">
              <a:extLst>
                <a:ext uri="{FF2B5EF4-FFF2-40B4-BE49-F238E27FC236}">
                  <a16:creationId xmlns:a16="http://schemas.microsoft.com/office/drawing/2014/main" id="{D6EE6734-A7CE-3D21-DE93-98764B681185}"/>
                </a:ext>
              </a:extLst>
            </p:cNvPr>
            <p:cNvSpPr/>
            <p:nvPr/>
          </p:nvSpPr>
          <p:spPr>
            <a:xfrm>
              <a:off x="4876956" y="30330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36" name="Graphic 71" descr="Flag">
            <a:extLst>
              <a:ext uri="{FF2B5EF4-FFF2-40B4-BE49-F238E27FC236}">
                <a16:creationId xmlns:a16="http://schemas.microsoft.com/office/drawing/2014/main" id="{4B2B1588-1642-0AE4-2113-CE8447C947FF}"/>
              </a:ext>
            </a:extLst>
          </p:cNvPr>
          <p:cNvGrpSpPr/>
          <p:nvPr/>
        </p:nvGrpSpPr>
        <p:grpSpPr>
          <a:xfrm flipH="1">
            <a:off x="1677027" y="4144362"/>
            <a:ext cx="914400" cy="914400"/>
            <a:chOff x="400833" y="3872217"/>
            <a:chExt cx="914400" cy="914400"/>
          </a:xfrm>
          <a:solidFill>
            <a:schemeClr val="accent2"/>
          </a:solidFill>
        </p:grpSpPr>
        <p:sp>
          <p:nvSpPr>
            <p:cNvPr id="37" name="Freeform: Shape 101">
              <a:extLst>
                <a:ext uri="{FF2B5EF4-FFF2-40B4-BE49-F238E27FC236}">
                  <a16:creationId xmlns:a16="http://schemas.microsoft.com/office/drawing/2014/main" id="{F9FF98CD-3ADD-961C-8B47-60ACE3D6AEFF}"/>
                </a:ext>
              </a:extLst>
            </p:cNvPr>
            <p:cNvSpPr/>
            <p:nvPr/>
          </p:nvSpPr>
          <p:spPr>
            <a:xfrm>
              <a:off x="591333" y="39493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8" name="Freeform: Shape 102">
              <a:extLst>
                <a:ext uri="{FF2B5EF4-FFF2-40B4-BE49-F238E27FC236}">
                  <a16:creationId xmlns:a16="http://schemas.microsoft.com/office/drawing/2014/main" id="{4B9CF08F-CD7B-0C47-F2E8-9CFE0E8AF2EC}"/>
                </a:ext>
              </a:extLst>
            </p:cNvPr>
            <p:cNvSpPr/>
            <p:nvPr/>
          </p:nvSpPr>
          <p:spPr>
            <a:xfrm>
              <a:off x="686583" y="39474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42" name="Graphic 77" descr="Walk">
            <a:extLst>
              <a:ext uri="{FF2B5EF4-FFF2-40B4-BE49-F238E27FC236}">
                <a16:creationId xmlns:a16="http://schemas.microsoft.com/office/drawing/2014/main" id="{73CEB7B9-DBFC-64DB-585D-081804BB8090}"/>
              </a:ext>
            </a:extLst>
          </p:cNvPr>
          <p:cNvGrpSpPr/>
          <p:nvPr/>
        </p:nvGrpSpPr>
        <p:grpSpPr>
          <a:xfrm>
            <a:off x="2956824" y="4191989"/>
            <a:ext cx="533759" cy="819150"/>
            <a:chOff x="1680630" y="3919844"/>
            <a:chExt cx="533759" cy="819150"/>
          </a:xfrm>
          <a:solidFill>
            <a:srgbClr val="000000"/>
          </a:solidFill>
        </p:grpSpPr>
        <p:sp>
          <p:nvSpPr>
            <p:cNvPr id="43" name="Freeform: Shape 107">
              <a:extLst>
                <a:ext uri="{FF2B5EF4-FFF2-40B4-BE49-F238E27FC236}">
                  <a16:creationId xmlns:a16="http://schemas.microsoft.com/office/drawing/2014/main" id="{D45C3D81-0A79-E6BF-6EA9-1EA5E85EED91}"/>
                </a:ext>
              </a:extLst>
            </p:cNvPr>
            <p:cNvSpPr/>
            <p:nvPr/>
          </p:nvSpPr>
          <p:spPr>
            <a:xfrm>
              <a:off x="1919016" y="39198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4" name="Freeform: Shape 108">
              <a:extLst>
                <a:ext uri="{FF2B5EF4-FFF2-40B4-BE49-F238E27FC236}">
                  <a16:creationId xmlns:a16="http://schemas.microsoft.com/office/drawing/2014/main" id="{B150F616-DEA3-56B2-0EC1-DB3814DC790E}"/>
                </a:ext>
              </a:extLst>
            </p:cNvPr>
            <p:cNvSpPr/>
            <p:nvPr/>
          </p:nvSpPr>
          <p:spPr>
            <a:xfrm>
              <a:off x="1680630" y="4091294"/>
              <a:ext cx="533759" cy="647700"/>
            </a:xfrm>
            <a:custGeom>
              <a:avLst/>
              <a:gdLst>
                <a:gd name="connsiteX0" fmla="*/ 507943 w 533759"/>
                <a:gd name="connsiteY0" fmla="*/ 201930 h 647700"/>
                <a:gd name="connsiteX1" fmla="*/ 409835 w 533759"/>
                <a:gd name="connsiteY1" fmla="*/ 169545 h 647700"/>
                <a:gd name="connsiteX2" fmla="*/ 353638 w 533759"/>
                <a:gd name="connsiteY2" fmla="*/ 40005 h 647700"/>
                <a:gd name="connsiteX3" fmla="*/ 286963 w 533759"/>
                <a:gd name="connsiteY3" fmla="*/ 0 h 647700"/>
                <a:gd name="connsiteX4" fmla="*/ 254578 w 533759"/>
                <a:gd name="connsiteY4" fmla="*/ 7620 h 647700"/>
                <a:gd name="connsiteX5" fmla="*/ 121228 w 533759"/>
                <a:gd name="connsiteY5" fmla="*/ 60007 h 647700"/>
                <a:gd name="connsiteX6" fmla="*/ 100273 w 533759"/>
                <a:gd name="connsiteY6" fmla="*/ 80963 h 647700"/>
                <a:gd name="connsiteX7" fmla="*/ 52648 w 533759"/>
                <a:gd name="connsiteY7" fmla="*/ 195263 h 647700"/>
                <a:gd name="connsiteX8" fmla="*/ 73603 w 533759"/>
                <a:gd name="connsiteY8" fmla="*/ 244793 h 647700"/>
                <a:gd name="connsiteX9" fmla="*/ 87890 w 533759"/>
                <a:gd name="connsiteY9" fmla="*/ 247650 h 647700"/>
                <a:gd name="connsiteX10" fmla="*/ 123133 w 533759"/>
                <a:gd name="connsiteY10" fmla="*/ 223838 h 647700"/>
                <a:gd name="connsiteX11" fmla="*/ 162185 w 533759"/>
                <a:gd name="connsiteY11" fmla="*/ 124777 h 647700"/>
                <a:gd name="connsiteX12" fmla="*/ 202190 w 533759"/>
                <a:gd name="connsiteY12" fmla="*/ 109538 h 647700"/>
                <a:gd name="connsiteX13" fmla="*/ 136468 w 533759"/>
                <a:gd name="connsiteY13" fmla="*/ 430530 h 647700"/>
                <a:gd name="connsiteX14" fmla="*/ 8833 w 533759"/>
                <a:gd name="connsiteY14" fmla="*/ 585788 h 647700"/>
                <a:gd name="connsiteX15" fmla="*/ 13595 w 533759"/>
                <a:gd name="connsiteY15" fmla="*/ 639128 h 647700"/>
                <a:gd name="connsiteX16" fmla="*/ 37408 w 533759"/>
                <a:gd name="connsiteY16" fmla="*/ 647700 h 647700"/>
                <a:gd name="connsiteX17" fmla="*/ 66935 w 533759"/>
                <a:gd name="connsiteY17" fmla="*/ 633413 h 647700"/>
                <a:gd name="connsiteX18" fmla="*/ 200285 w 533759"/>
                <a:gd name="connsiteY18" fmla="*/ 471488 h 647700"/>
                <a:gd name="connsiteX19" fmla="*/ 207905 w 533759"/>
                <a:gd name="connsiteY19" fmla="*/ 455295 h 647700"/>
                <a:gd name="connsiteX20" fmla="*/ 230765 w 533759"/>
                <a:gd name="connsiteY20" fmla="*/ 344805 h 647700"/>
                <a:gd name="connsiteX21" fmla="*/ 333635 w 533759"/>
                <a:gd name="connsiteY21" fmla="*/ 419100 h 647700"/>
                <a:gd name="connsiteX22" fmla="*/ 333635 w 533759"/>
                <a:gd name="connsiteY22" fmla="*/ 609600 h 647700"/>
                <a:gd name="connsiteX23" fmla="*/ 371735 w 533759"/>
                <a:gd name="connsiteY23" fmla="*/ 647700 h 647700"/>
                <a:gd name="connsiteX24" fmla="*/ 409835 w 533759"/>
                <a:gd name="connsiteY24" fmla="*/ 609600 h 647700"/>
                <a:gd name="connsiteX25" fmla="*/ 409835 w 533759"/>
                <a:gd name="connsiteY25" fmla="*/ 400050 h 647700"/>
                <a:gd name="connsiteX26" fmla="*/ 394595 w 533759"/>
                <a:gd name="connsiteY26" fmla="*/ 369570 h 647700"/>
                <a:gd name="connsiteX27" fmla="*/ 302203 w 533759"/>
                <a:gd name="connsiteY27" fmla="*/ 301943 h 647700"/>
                <a:gd name="connsiteX28" fmla="*/ 327920 w 533759"/>
                <a:gd name="connsiteY28" fmla="*/ 173355 h 647700"/>
                <a:gd name="connsiteX29" fmla="*/ 346018 w 533759"/>
                <a:gd name="connsiteY29" fmla="*/ 215265 h 647700"/>
                <a:gd name="connsiteX30" fmla="*/ 368878 w 533759"/>
                <a:gd name="connsiteY30" fmla="*/ 236220 h 647700"/>
                <a:gd name="connsiteX31" fmla="*/ 483178 w 533759"/>
                <a:gd name="connsiteY31" fmla="*/ 274320 h 647700"/>
                <a:gd name="connsiteX32" fmla="*/ 495560 w 533759"/>
                <a:gd name="connsiteY32" fmla="*/ 276225 h 647700"/>
                <a:gd name="connsiteX33" fmla="*/ 531755 w 533759"/>
                <a:gd name="connsiteY33" fmla="*/ 250508 h 647700"/>
                <a:gd name="connsiteX34" fmla="*/ 507943 w 533759"/>
                <a:gd name="connsiteY34" fmla="*/ 20193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759" h="647700">
                  <a:moveTo>
                    <a:pt x="507943" y="201930"/>
                  </a:moveTo>
                  <a:lnTo>
                    <a:pt x="409835" y="169545"/>
                  </a:lnTo>
                  <a:cubicBezTo>
                    <a:pt x="409835" y="169545"/>
                    <a:pt x="355543" y="43815"/>
                    <a:pt x="353638" y="40005"/>
                  </a:cubicBezTo>
                  <a:cubicBezTo>
                    <a:pt x="340303" y="16193"/>
                    <a:pt x="315538" y="0"/>
                    <a:pt x="286963" y="0"/>
                  </a:cubicBezTo>
                  <a:cubicBezTo>
                    <a:pt x="275533" y="0"/>
                    <a:pt x="264103" y="2857"/>
                    <a:pt x="254578" y="7620"/>
                  </a:cubicBezTo>
                  <a:lnTo>
                    <a:pt x="121228" y="60007"/>
                  </a:lnTo>
                  <a:cubicBezTo>
                    <a:pt x="111703" y="63818"/>
                    <a:pt x="104083" y="71438"/>
                    <a:pt x="100273" y="80963"/>
                  </a:cubicBezTo>
                  <a:lnTo>
                    <a:pt x="52648" y="195263"/>
                  </a:lnTo>
                  <a:cubicBezTo>
                    <a:pt x="45028" y="214313"/>
                    <a:pt x="53600" y="237173"/>
                    <a:pt x="73603" y="244793"/>
                  </a:cubicBezTo>
                  <a:cubicBezTo>
                    <a:pt x="78365" y="246698"/>
                    <a:pt x="83128" y="247650"/>
                    <a:pt x="87890" y="247650"/>
                  </a:cubicBezTo>
                  <a:cubicBezTo>
                    <a:pt x="103130" y="247650"/>
                    <a:pt x="117418" y="239077"/>
                    <a:pt x="123133" y="223838"/>
                  </a:cubicBezTo>
                  <a:lnTo>
                    <a:pt x="162185" y="124777"/>
                  </a:lnTo>
                  <a:lnTo>
                    <a:pt x="202190" y="109538"/>
                  </a:lnTo>
                  <a:lnTo>
                    <a:pt x="136468" y="430530"/>
                  </a:lnTo>
                  <a:lnTo>
                    <a:pt x="8833" y="585788"/>
                  </a:lnTo>
                  <a:cubicBezTo>
                    <a:pt x="-4502" y="601980"/>
                    <a:pt x="-2597" y="625793"/>
                    <a:pt x="13595" y="639128"/>
                  </a:cubicBezTo>
                  <a:cubicBezTo>
                    <a:pt x="20263" y="644843"/>
                    <a:pt x="28835" y="647700"/>
                    <a:pt x="37408" y="647700"/>
                  </a:cubicBezTo>
                  <a:cubicBezTo>
                    <a:pt x="48838" y="647700"/>
                    <a:pt x="59315" y="642938"/>
                    <a:pt x="66935" y="633413"/>
                  </a:cubicBezTo>
                  <a:lnTo>
                    <a:pt x="200285" y="471488"/>
                  </a:lnTo>
                  <a:cubicBezTo>
                    <a:pt x="204095" y="466725"/>
                    <a:pt x="206953" y="461010"/>
                    <a:pt x="207905" y="455295"/>
                  </a:cubicBezTo>
                  <a:lnTo>
                    <a:pt x="230765" y="344805"/>
                  </a:lnTo>
                  <a:lnTo>
                    <a:pt x="333635" y="419100"/>
                  </a:lnTo>
                  <a:lnTo>
                    <a:pt x="333635" y="609600"/>
                  </a:lnTo>
                  <a:cubicBezTo>
                    <a:pt x="333635" y="630555"/>
                    <a:pt x="350780" y="647700"/>
                    <a:pt x="371735" y="647700"/>
                  </a:cubicBezTo>
                  <a:cubicBezTo>
                    <a:pt x="392690" y="647700"/>
                    <a:pt x="409835" y="630555"/>
                    <a:pt x="409835" y="609600"/>
                  </a:cubicBezTo>
                  <a:lnTo>
                    <a:pt x="409835" y="400050"/>
                  </a:lnTo>
                  <a:cubicBezTo>
                    <a:pt x="409835" y="387668"/>
                    <a:pt x="404120" y="376238"/>
                    <a:pt x="394595" y="369570"/>
                  </a:cubicBezTo>
                  <a:lnTo>
                    <a:pt x="302203" y="301943"/>
                  </a:lnTo>
                  <a:lnTo>
                    <a:pt x="327920" y="173355"/>
                  </a:lnTo>
                  <a:lnTo>
                    <a:pt x="346018" y="215265"/>
                  </a:lnTo>
                  <a:cubicBezTo>
                    <a:pt x="350780" y="224790"/>
                    <a:pt x="358400" y="232410"/>
                    <a:pt x="368878" y="236220"/>
                  </a:cubicBezTo>
                  <a:lnTo>
                    <a:pt x="483178" y="274320"/>
                  </a:lnTo>
                  <a:cubicBezTo>
                    <a:pt x="486988" y="275273"/>
                    <a:pt x="490798" y="276225"/>
                    <a:pt x="495560" y="276225"/>
                  </a:cubicBezTo>
                  <a:cubicBezTo>
                    <a:pt x="511753" y="276225"/>
                    <a:pt x="526040" y="265748"/>
                    <a:pt x="531755" y="250508"/>
                  </a:cubicBezTo>
                  <a:cubicBezTo>
                    <a:pt x="538423" y="230505"/>
                    <a:pt x="527945" y="208598"/>
                    <a:pt x="507943" y="201930"/>
                  </a:cubicBezTo>
                  <a:close/>
                </a:path>
              </a:pathLst>
            </a:custGeom>
            <a:solidFill>
              <a:srgbClr val="000000"/>
            </a:solidFill>
            <a:ln w="9525" cap="flat">
              <a:noFill/>
              <a:prstDash val="solid"/>
              <a:miter/>
            </a:ln>
          </p:spPr>
          <p:txBody>
            <a:bodyPr rtlCol="0" anchor="ctr"/>
            <a:lstStyle/>
            <a:p>
              <a:endParaRPr lang="en-US"/>
            </a:p>
          </p:txBody>
        </p:sp>
      </p:grpSp>
      <p:grpSp>
        <p:nvGrpSpPr>
          <p:cNvPr id="45" name="Graphic 75" descr="Run">
            <a:extLst>
              <a:ext uri="{FF2B5EF4-FFF2-40B4-BE49-F238E27FC236}">
                <a16:creationId xmlns:a16="http://schemas.microsoft.com/office/drawing/2014/main" id="{E70DCEC8-ED34-9191-E4CA-104D500A16F6}"/>
              </a:ext>
            </a:extLst>
          </p:cNvPr>
          <p:cNvGrpSpPr/>
          <p:nvPr/>
        </p:nvGrpSpPr>
        <p:grpSpPr>
          <a:xfrm>
            <a:off x="6582161" y="3337317"/>
            <a:ext cx="719322" cy="819150"/>
            <a:chOff x="6002653" y="3010743"/>
            <a:chExt cx="719322" cy="819150"/>
          </a:xfrm>
          <a:solidFill>
            <a:srgbClr val="000000"/>
          </a:solidFill>
        </p:grpSpPr>
        <p:sp>
          <p:nvSpPr>
            <p:cNvPr id="46" name="Freeform: Shape 110">
              <a:extLst>
                <a:ext uri="{FF2B5EF4-FFF2-40B4-BE49-F238E27FC236}">
                  <a16:creationId xmlns:a16="http://schemas.microsoft.com/office/drawing/2014/main" id="{D6A97A07-42B6-F6FC-C34D-F90AEC58D590}"/>
                </a:ext>
              </a:extLst>
            </p:cNvPr>
            <p:cNvSpPr/>
            <p:nvPr/>
          </p:nvSpPr>
          <p:spPr>
            <a:xfrm>
              <a:off x="6440804" y="301074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7" name="Freeform: Shape 111">
              <a:extLst>
                <a:ext uri="{FF2B5EF4-FFF2-40B4-BE49-F238E27FC236}">
                  <a16:creationId xmlns:a16="http://schemas.microsoft.com/office/drawing/2014/main" id="{2F27BAE3-044E-1C79-748F-E147DF466109}"/>
                </a:ext>
              </a:extLst>
            </p:cNvPr>
            <p:cNvSpPr/>
            <p:nvPr/>
          </p:nvSpPr>
          <p:spPr>
            <a:xfrm>
              <a:off x="6002653" y="3172668"/>
              <a:ext cx="719322" cy="657225"/>
            </a:xfrm>
            <a:custGeom>
              <a:avLst/>
              <a:gdLst>
                <a:gd name="connsiteX0" fmla="*/ 699135 w 719322"/>
                <a:gd name="connsiteY0" fmla="*/ 19050 h 657225"/>
                <a:gd name="connsiteX1" fmla="*/ 647700 w 719322"/>
                <a:gd name="connsiteY1" fmla="*/ 35243 h 657225"/>
                <a:gd name="connsiteX2" fmla="*/ 614363 w 719322"/>
                <a:gd name="connsiteY2" fmla="*/ 98107 h 657225"/>
                <a:gd name="connsiteX3" fmla="*/ 467678 w 719322"/>
                <a:gd name="connsiteY3" fmla="*/ 5715 h 657225"/>
                <a:gd name="connsiteX4" fmla="*/ 447675 w 719322"/>
                <a:gd name="connsiteY4" fmla="*/ 0 h 657225"/>
                <a:gd name="connsiteX5" fmla="*/ 285750 w 719322"/>
                <a:gd name="connsiteY5" fmla="*/ 0 h 657225"/>
                <a:gd name="connsiteX6" fmla="*/ 252413 w 719322"/>
                <a:gd name="connsiteY6" fmla="*/ 20003 h 657225"/>
                <a:gd name="connsiteX7" fmla="*/ 190500 w 719322"/>
                <a:gd name="connsiteY7" fmla="*/ 134302 h 657225"/>
                <a:gd name="connsiteX8" fmla="*/ 205740 w 719322"/>
                <a:gd name="connsiteY8" fmla="*/ 185738 h 657225"/>
                <a:gd name="connsiteX9" fmla="*/ 223838 w 719322"/>
                <a:gd name="connsiteY9" fmla="*/ 190500 h 657225"/>
                <a:gd name="connsiteX10" fmla="*/ 257175 w 719322"/>
                <a:gd name="connsiteY10" fmla="*/ 170498 h 657225"/>
                <a:gd name="connsiteX11" fmla="*/ 308610 w 719322"/>
                <a:gd name="connsiteY11" fmla="*/ 76200 h 657225"/>
                <a:gd name="connsiteX12" fmla="*/ 364808 w 719322"/>
                <a:gd name="connsiteY12" fmla="*/ 76200 h 657225"/>
                <a:gd name="connsiteX13" fmla="*/ 196215 w 719322"/>
                <a:gd name="connsiteY13" fmla="*/ 390525 h 657225"/>
                <a:gd name="connsiteX14" fmla="*/ 38100 w 719322"/>
                <a:gd name="connsiteY14" fmla="*/ 390525 h 657225"/>
                <a:gd name="connsiteX15" fmla="*/ 0 w 719322"/>
                <a:gd name="connsiteY15" fmla="*/ 428625 h 657225"/>
                <a:gd name="connsiteX16" fmla="*/ 38100 w 719322"/>
                <a:gd name="connsiteY16" fmla="*/ 466725 h 657225"/>
                <a:gd name="connsiteX17" fmla="*/ 219075 w 719322"/>
                <a:gd name="connsiteY17" fmla="*/ 466725 h 657225"/>
                <a:gd name="connsiteX18" fmla="*/ 252413 w 719322"/>
                <a:gd name="connsiteY18" fmla="*/ 446723 h 657225"/>
                <a:gd name="connsiteX19" fmla="*/ 319088 w 719322"/>
                <a:gd name="connsiteY19" fmla="*/ 323850 h 657225"/>
                <a:gd name="connsiteX20" fmla="*/ 428625 w 719322"/>
                <a:gd name="connsiteY20" fmla="*/ 425767 h 657225"/>
                <a:gd name="connsiteX21" fmla="*/ 420053 w 719322"/>
                <a:gd name="connsiteY21" fmla="*/ 617220 h 657225"/>
                <a:gd name="connsiteX22" fmla="*/ 455295 w 719322"/>
                <a:gd name="connsiteY22" fmla="*/ 657225 h 657225"/>
                <a:gd name="connsiteX23" fmla="*/ 457200 w 719322"/>
                <a:gd name="connsiteY23" fmla="*/ 657225 h 657225"/>
                <a:gd name="connsiteX24" fmla="*/ 495300 w 719322"/>
                <a:gd name="connsiteY24" fmla="*/ 621030 h 657225"/>
                <a:gd name="connsiteX25" fmla="*/ 504825 w 719322"/>
                <a:gd name="connsiteY25" fmla="*/ 411480 h 657225"/>
                <a:gd name="connsiteX26" fmla="*/ 492443 w 719322"/>
                <a:gd name="connsiteY26" fmla="*/ 381953 h 657225"/>
                <a:gd name="connsiteX27" fmla="*/ 400050 w 719322"/>
                <a:gd name="connsiteY27" fmla="*/ 296228 h 657225"/>
                <a:gd name="connsiteX28" fmla="*/ 497205 w 719322"/>
                <a:gd name="connsiteY28" fmla="*/ 115252 h 657225"/>
                <a:gd name="connsiteX29" fmla="*/ 607695 w 719322"/>
                <a:gd name="connsiteY29" fmla="*/ 184785 h 657225"/>
                <a:gd name="connsiteX30" fmla="*/ 638175 w 719322"/>
                <a:gd name="connsiteY30" fmla="*/ 189548 h 657225"/>
                <a:gd name="connsiteX31" fmla="*/ 661988 w 719322"/>
                <a:gd name="connsiteY31" fmla="*/ 170498 h 657225"/>
                <a:gd name="connsiteX32" fmla="*/ 714375 w 719322"/>
                <a:gd name="connsiteY32" fmla="*/ 70485 h 657225"/>
                <a:gd name="connsiteX33" fmla="*/ 699135 w 719322"/>
                <a:gd name="connsiteY33" fmla="*/ 1905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322" h="657225">
                  <a:moveTo>
                    <a:pt x="699135" y="19050"/>
                  </a:moveTo>
                  <a:cubicBezTo>
                    <a:pt x="680085" y="9525"/>
                    <a:pt x="657225" y="16193"/>
                    <a:pt x="647700" y="35243"/>
                  </a:cubicBezTo>
                  <a:lnTo>
                    <a:pt x="614363" y="98107"/>
                  </a:lnTo>
                  <a:lnTo>
                    <a:pt x="467678" y="5715"/>
                  </a:lnTo>
                  <a:cubicBezTo>
                    <a:pt x="461963" y="1905"/>
                    <a:pt x="455295" y="0"/>
                    <a:pt x="447675" y="0"/>
                  </a:cubicBezTo>
                  <a:lnTo>
                    <a:pt x="285750" y="0"/>
                  </a:lnTo>
                  <a:cubicBezTo>
                    <a:pt x="271463" y="0"/>
                    <a:pt x="259080" y="7620"/>
                    <a:pt x="252413" y="20003"/>
                  </a:cubicBezTo>
                  <a:lnTo>
                    <a:pt x="190500" y="134302"/>
                  </a:lnTo>
                  <a:cubicBezTo>
                    <a:pt x="180023" y="152400"/>
                    <a:pt x="187643" y="176213"/>
                    <a:pt x="205740" y="185738"/>
                  </a:cubicBezTo>
                  <a:cubicBezTo>
                    <a:pt x="211455" y="188595"/>
                    <a:pt x="218122" y="190500"/>
                    <a:pt x="223838" y="190500"/>
                  </a:cubicBezTo>
                  <a:cubicBezTo>
                    <a:pt x="237172" y="190500"/>
                    <a:pt x="250508" y="182880"/>
                    <a:pt x="257175" y="170498"/>
                  </a:cubicBezTo>
                  <a:lnTo>
                    <a:pt x="308610" y="76200"/>
                  </a:lnTo>
                  <a:lnTo>
                    <a:pt x="364808" y="76200"/>
                  </a:lnTo>
                  <a:lnTo>
                    <a:pt x="196215" y="390525"/>
                  </a:lnTo>
                  <a:lnTo>
                    <a:pt x="38100" y="390525"/>
                  </a:lnTo>
                  <a:cubicBezTo>
                    <a:pt x="17145" y="390525"/>
                    <a:pt x="0" y="407670"/>
                    <a:pt x="0" y="428625"/>
                  </a:cubicBezTo>
                  <a:cubicBezTo>
                    <a:pt x="0" y="449580"/>
                    <a:pt x="17145" y="466725"/>
                    <a:pt x="38100" y="466725"/>
                  </a:cubicBezTo>
                  <a:lnTo>
                    <a:pt x="219075" y="466725"/>
                  </a:lnTo>
                  <a:cubicBezTo>
                    <a:pt x="233363" y="466725"/>
                    <a:pt x="245745" y="459105"/>
                    <a:pt x="252413" y="446723"/>
                  </a:cubicBezTo>
                  <a:lnTo>
                    <a:pt x="319088" y="323850"/>
                  </a:lnTo>
                  <a:lnTo>
                    <a:pt x="428625" y="425767"/>
                  </a:lnTo>
                  <a:lnTo>
                    <a:pt x="420053" y="617220"/>
                  </a:lnTo>
                  <a:cubicBezTo>
                    <a:pt x="418148" y="638175"/>
                    <a:pt x="434340" y="656273"/>
                    <a:pt x="455295" y="657225"/>
                  </a:cubicBezTo>
                  <a:cubicBezTo>
                    <a:pt x="456248" y="657225"/>
                    <a:pt x="456248" y="657225"/>
                    <a:pt x="457200" y="657225"/>
                  </a:cubicBezTo>
                  <a:cubicBezTo>
                    <a:pt x="477203" y="657225"/>
                    <a:pt x="494348" y="641033"/>
                    <a:pt x="495300" y="621030"/>
                  </a:cubicBezTo>
                  <a:lnTo>
                    <a:pt x="504825" y="411480"/>
                  </a:lnTo>
                  <a:cubicBezTo>
                    <a:pt x="505778" y="400050"/>
                    <a:pt x="501015" y="389573"/>
                    <a:pt x="492443" y="381953"/>
                  </a:cubicBezTo>
                  <a:lnTo>
                    <a:pt x="400050" y="296228"/>
                  </a:lnTo>
                  <a:lnTo>
                    <a:pt x="497205" y="115252"/>
                  </a:lnTo>
                  <a:lnTo>
                    <a:pt x="607695" y="184785"/>
                  </a:lnTo>
                  <a:cubicBezTo>
                    <a:pt x="616268" y="190500"/>
                    <a:pt x="627698" y="192405"/>
                    <a:pt x="638175" y="189548"/>
                  </a:cubicBezTo>
                  <a:cubicBezTo>
                    <a:pt x="648653" y="186690"/>
                    <a:pt x="657225" y="180023"/>
                    <a:pt x="661988" y="170498"/>
                  </a:cubicBezTo>
                  <a:lnTo>
                    <a:pt x="714375" y="70485"/>
                  </a:lnTo>
                  <a:cubicBezTo>
                    <a:pt x="724853" y="52388"/>
                    <a:pt x="718185" y="29528"/>
                    <a:pt x="699135" y="19050"/>
                  </a:cubicBezTo>
                  <a:close/>
                </a:path>
              </a:pathLst>
            </a:custGeom>
            <a:solidFill>
              <a:srgbClr val="000000"/>
            </a:solidFill>
            <a:ln w="9525" cap="flat">
              <a:noFill/>
              <a:prstDash val="solid"/>
              <a:miter/>
            </a:ln>
          </p:spPr>
          <p:txBody>
            <a:bodyPr rtlCol="0" anchor="ctr"/>
            <a:lstStyle/>
            <a:p>
              <a:endParaRPr lang="en-US"/>
            </a:p>
          </p:txBody>
        </p:sp>
      </p:grpSp>
      <p:grpSp>
        <p:nvGrpSpPr>
          <p:cNvPr id="48" name="Graphic 73" descr="Confused person">
            <a:extLst>
              <a:ext uri="{FF2B5EF4-FFF2-40B4-BE49-F238E27FC236}">
                <a16:creationId xmlns:a16="http://schemas.microsoft.com/office/drawing/2014/main" id="{096A7422-C163-204E-4329-69DE08D87D0F}"/>
              </a:ext>
            </a:extLst>
          </p:cNvPr>
          <p:cNvGrpSpPr/>
          <p:nvPr/>
        </p:nvGrpSpPr>
        <p:grpSpPr>
          <a:xfrm>
            <a:off x="8195574" y="2839693"/>
            <a:ext cx="914400" cy="914400"/>
            <a:chOff x="10440444" y="2046870"/>
            <a:chExt cx="914400" cy="914400"/>
          </a:xfrm>
        </p:grpSpPr>
        <p:sp>
          <p:nvSpPr>
            <p:cNvPr id="49" name="Freeform: Shape 113">
              <a:extLst>
                <a:ext uri="{FF2B5EF4-FFF2-40B4-BE49-F238E27FC236}">
                  <a16:creationId xmlns:a16="http://schemas.microsoft.com/office/drawing/2014/main" id="{186649D0-A717-62CC-8CC4-1321EDCE9703}"/>
                </a:ext>
              </a:extLst>
            </p:cNvPr>
            <p:cNvSpPr/>
            <p:nvPr/>
          </p:nvSpPr>
          <p:spPr>
            <a:xfrm>
              <a:off x="10582963" y="2246895"/>
              <a:ext cx="629524" cy="685800"/>
            </a:xfrm>
            <a:custGeom>
              <a:avLst/>
              <a:gdLst>
                <a:gd name="connsiteX0" fmla="*/ 629005 w 629524"/>
                <a:gd name="connsiteY0" fmla="*/ 165164 h 685800"/>
                <a:gd name="connsiteX1" fmla="*/ 585190 w 629524"/>
                <a:gd name="connsiteY1" fmla="*/ 133826 h 685800"/>
                <a:gd name="connsiteX2" fmla="*/ 501846 w 629524"/>
                <a:gd name="connsiteY2" fmla="*/ 147733 h 685800"/>
                <a:gd name="connsiteX3" fmla="*/ 467080 w 629524"/>
                <a:gd name="connsiteY3" fmla="*/ 54578 h 685800"/>
                <a:gd name="connsiteX4" fmla="*/ 314680 w 629524"/>
                <a:gd name="connsiteY4" fmla="*/ 0 h 685800"/>
                <a:gd name="connsiteX5" fmla="*/ 163137 w 629524"/>
                <a:gd name="connsiteY5" fmla="*/ 54578 h 685800"/>
                <a:gd name="connsiteX6" fmla="*/ 128085 w 629524"/>
                <a:gd name="connsiteY6" fmla="*/ 147733 h 685800"/>
                <a:gd name="connsiteX7" fmla="*/ 44742 w 629524"/>
                <a:gd name="connsiteY7" fmla="*/ 133826 h 685800"/>
                <a:gd name="connsiteX8" fmla="*/ 589 w 629524"/>
                <a:gd name="connsiteY8" fmla="*/ 164709 h 685800"/>
                <a:gd name="connsiteX9" fmla="*/ 31472 w 629524"/>
                <a:gd name="connsiteY9" fmla="*/ 208862 h 685800"/>
                <a:gd name="connsiteX10" fmla="*/ 32169 w 629524"/>
                <a:gd name="connsiteY10" fmla="*/ 208978 h 685800"/>
                <a:gd name="connsiteX11" fmla="*/ 146469 w 629524"/>
                <a:gd name="connsiteY11" fmla="*/ 228028 h 685800"/>
                <a:gd name="connsiteX12" fmla="*/ 152755 w 629524"/>
                <a:gd name="connsiteY12" fmla="*/ 228600 h 685800"/>
                <a:gd name="connsiteX13" fmla="*/ 188474 w 629524"/>
                <a:gd name="connsiteY13" fmla="*/ 203835 h 685800"/>
                <a:gd name="connsiteX14" fmla="*/ 211905 w 629524"/>
                <a:gd name="connsiteY14" fmla="*/ 141065 h 685800"/>
                <a:gd name="connsiteX15" fmla="*/ 219430 w 629524"/>
                <a:gd name="connsiteY15" fmla="*/ 144399 h 685800"/>
                <a:gd name="connsiteX16" fmla="*/ 219430 w 629524"/>
                <a:gd name="connsiteY16" fmla="*/ 685800 h 685800"/>
                <a:gd name="connsiteX17" fmla="*/ 295630 w 629524"/>
                <a:gd name="connsiteY17" fmla="*/ 685800 h 685800"/>
                <a:gd name="connsiteX18" fmla="*/ 295630 w 629524"/>
                <a:gd name="connsiteY18" fmla="*/ 342900 h 685800"/>
                <a:gd name="connsiteX19" fmla="*/ 333730 w 629524"/>
                <a:gd name="connsiteY19" fmla="*/ 342900 h 685800"/>
                <a:gd name="connsiteX20" fmla="*/ 333730 w 629524"/>
                <a:gd name="connsiteY20" fmla="*/ 685800 h 685800"/>
                <a:gd name="connsiteX21" fmla="*/ 409930 w 629524"/>
                <a:gd name="connsiteY21" fmla="*/ 685800 h 685800"/>
                <a:gd name="connsiteX22" fmla="*/ 409930 w 629524"/>
                <a:gd name="connsiteY22" fmla="*/ 144494 h 685800"/>
                <a:gd name="connsiteX23" fmla="*/ 417931 w 629524"/>
                <a:gd name="connsiteY23" fmla="*/ 140970 h 685800"/>
                <a:gd name="connsiteX24" fmla="*/ 441458 w 629524"/>
                <a:gd name="connsiteY24" fmla="*/ 203835 h 685800"/>
                <a:gd name="connsiteX25" fmla="*/ 477081 w 629524"/>
                <a:gd name="connsiteY25" fmla="*/ 228600 h 685800"/>
                <a:gd name="connsiteX26" fmla="*/ 483368 w 629524"/>
                <a:gd name="connsiteY26" fmla="*/ 228028 h 685800"/>
                <a:gd name="connsiteX27" fmla="*/ 597668 w 629524"/>
                <a:gd name="connsiteY27" fmla="*/ 208978 h 685800"/>
                <a:gd name="connsiteX28" fmla="*/ 629005 w 629524"/>
                <a:gd name="connsiteY28" fmla="*/ 165164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9524" h="685800">
                  <a:moveTo>
                    <a:pt x="629005" y="165164"/>
                  </a:moveTo>
                  <a:cubicBezTo>
                    <a:pt x="625554" y="144414"/>
                    <a:pt x="605941" y="130386"/>
                    <a:pt x="585190" y="133826"/>
                  </a:cubicBezTo>
                  <a:lnTo>
                    <a:pt x="501846" y="147733"/>
                  </a:lnTo>
                  <a:cubicBezTo>
                    <a:pt x="501846" y="147733"/>
                    <a:pt x="467080" y="55435"/>
                    <a:pt x="467080" y="54578"/>
                  </a:cubicBezTo>
                  <a:cubicBezTo>
                    <a:pt x="449364" y="0"/>
                    <a:pt x="373354" y="0"/>
                    <a:pt x="314680" y="0"/>
                  </a:cubicBezTo>
                  <a:cubicBezTo>
                    <a:pt x="256006" y="0"/>
                    <a:pt x="180473" y="0"/>
                    <a:pt x="163137" y="54578"/>
                  </a:cubicBezTo>
                  <a:cubicBezTo>
                    <a:pt x="163137" y="55435"/>
                    <a:pt x="128085" y="147733"/>
                    <a:pt x="128085" y="147733"/>
                  </a:cubicBezTo>
                  <a:lnTo>
                    <a:pt x="44742" y="133826"/>
                  </a:lnTo>
                  <a:cubicBezTo>
                    <a:pt x="24021" y="130162"/>
                    <a:pt x="4254" y="143988"/>
                    <a:pt x="589" y="164709"/>
                  </a:cubicBezTo>
                  <a:cubicBezTo>
                    <a:pt x="-3076" y="185430"/>
                    <a:pt x="10752" y="205198"/>
                    <a:pt x="31472" y="208862"/>
                  </a:cubicBezTo>
                  <a:cubicBezTo>
                    <a:pt x="31704" y="208903"/>
                    <a:pt x="31936" y="208941"/>
                    <a:pt x="32169" y="208978"/>
                  </a:cubicBezTo>
                  <a:lnTo>
                    <a:pt x="146469" y="228028"/>
                  </a:lnTo>
                  <a:cubicBezTo>
                    <a:pt x="148542" y="228408"/>
                    <a:pt x="150646" y="228599"/>
                    <a:pt x="152755" y="228600"/>
                  </a:cubicBezTo>
                  <a:cubicBezTo>
                    <a:pt x="168664" y="228612"/>
                    <a:pt x="182906" y="218738"/>
                    <a:pt x="188474" y="203835"/>
                  </a:cubicBezTo>
                  <a:lnTo>
                    <a:pt x="211905" y="141065"/>
                  </a:lnTo>
                  <a:lnTo>
                    <a:pt x="219430" y="144399"/>
                  </a:lnTo>
                  <a:lnTo>
                    <a:pt x="219430" y="685800"/>
                  </a:lnTo>
                  <a:lnTo>
                    <a:pt x="295630" y="685800"/>
                  </a:lnTo>
                  <a:lnTo>
                    <a:pt x="295630" y="342900"/>
                  </a:lnTo>
                  <a:lnTo>
                    <a:pt x="333730" y="342900"/>
                  </a:lnTo>
                  <a:lnTo>
                    <a:pt x="333730" y="685800"/>
                  </a:lnTo>
                  <a:lnTo>
                    <a:pt x="409930" y="685800"/>
                  </a:lnTo>
                  <a:lnTo>
                    <a:pt x="409930" y="144494"/>
                  </a:lnTo>
                  <a:cubicBezTo>
                    <a:pt x="412692" y="143351"/>
                    <a:pt x="415359" y="142208"/>
                    <a:pt x="417931" y="140970"/>
                  </a:cubicBezTo>
                  <a:lnTo>
                    <a:pt x="441458" y="203835"/>
                  </a:lnTo>
                  <a:cubicBezTo>
                    <a:pt x="447014" y="218705"/>
                    <a:pt x="461207" y="228572"/>
                    <a:pt x="477081" y="228600"/>
                  </a:cubicBezTo>
                  <a:cubicBezTo>
                    <a:pt x="479190" y="228599"/>
                    <a:pt x="481294" y="228408"/>
                    <a:pt x="483368" y="228028"/>
                  </a:cubicBezTo>
                  <a:lnTo>
                    <a:pt x="597668" y="208978"/>
                  </a:lnTo>
                  <a:cubicBezTo>
                    <a:pt x="618418" y="205528"/>
                    <a:pt x="632446" y="185915"/>
                    <a:pt x="629005" y="165164"/>
                  </a:cubicBezTo>
                  <a:close/>
                </a:path>
              </a:pathLst>
            </a:custGeom>
            <a:solidFill>
              <a:srgbClr val="000000"/>
            </a:solidFill>
            <a:ln w="9525" cap="flat">
              <a:noFill/>
              <a:prstDash val="solid"/>
              <a:miter/>
            </a:ln>
          </p:spPr>
          <p:txBody>
            <a:bodyPr rtlCol="0" anchor="ctr"/>
            <a:lstStyle/>
            <a:p>
              <a:endParaRPr lang="en-US"/>
            </a:p>
          </p:txBody>
        </p:sp>
        <p:sp>
          <p:nvSpPr>
            <p:cNvPr id="50" name="Freeform: Shape 114">
              <a:extLst>
                <a:ext uri="{FF2B5EF4-FFF2-40B4-BE49-F238E27FC236}">
                  <a16:creationId xmlns:a16="http://schemas.microsoft.com/office/drawing/2014/main" id="{8281CF54-FFA9-D5E8-EA8E-FC36E6D09D06}"/>
                </a:ext>
              </a:extLst>
            </p:cNvPr>
            <p:cNvSpPr/>
            <p:nvPr/>
          </p:nvSpPr>
          <p:spPr>
            <a:xfrm>
              <a:off x="10821444" y="2075445"/>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5417965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9D3F7-0B85-64A9-7D42-03F13938A461}"/>
            </a:ext>
          </a:extLst>
        </p:cNvPr>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2BF875CD-A661-9291-736E-3E65875161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51" name="think-cell data - do not delete" hidden="1">
                        <a:extLst>
                          <a:ext uri="{FF2B5EF4-FFF2-40B4-BE49-F238E27FC236}">
                            <a16:creationId xmlns:a16="http://schemas.microsoft.com/office/drawing/2014/main" id="{2BF875CD-A661-9291-736E-3E6587516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C8E2BF92-9507-992E-6970-E4F964ED6D1A}"/>
              </a:ext>
            </a:extLst>
          </p:cNvPr>
          <p:cNvSpPr>
            <a:spLocks noGrp="1"/>
          </p:cNvSpPr>
          <p:nvPr>
            <p:ph type="title"/>
          </p:nvPr>
        </p:nvSpPr>
        <p:spPr/>
        <p:txBody>
          <a:bodyPr vert="horz"/>
          <a:lstStyle/>
          <a:p>
            <a:r>
              <a:rPr lang="en-US"/>
              <a:t>Historical timeline – five milestones</a:t>
            </a:r>
          </a:p>
        </p:txBody>
      </p:sp>
      <p:sp>
        <p:nvSpPr>
          <p:cNvPr id="3" name="Rectangle 2">
            <a:extLst>
              <a:ext uri="{FF2B5EF4-FFF2-40B4-BE49-F238E27FC236}">
                <a16:creationId xmlns:a16="http://schemas.microsoft.com/office/drawing/2014/main" id="{930DD9EB-0FDB-14CF-262C-90E4A39F1906}"/>
              </a:ext>
            </a:extLst>
          </p:cNvPr>
          <p:cNvSpPr/>
          <p:nvPr/>
        </p:nvSpPr>
        <p:spPr>
          <a:xfrm>
            <a:off x="858033" y="5284199"/>
            <a:ext cx="2095187" cy="10854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4" name="Rectangle 3">
            <a:extLst>
              <a:ext uri="{FF2B5EF4-FFF2-40B4-BE49-F238E27FC236}">
                <a16:creationId xmlns:a16="http://schemas.microsoft.com/office/drawing/2014/main" id="{A4A57501-9C50-44C8-E523-54D6B4072612}"/>
              </a:ext>
            </a:extLst>
          </p:cNvPr>
          <p:cNvSpPr/>
          <p:nvPr/>
        </p:nvSpPr>
        <p:spPr>
          <a:xfrm>
            <a:off x="2953219" y="4859516"/>
            <a:ext cx="2095187" cy="151011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5" name="Rectangle 4">
            <a:extLst>
              <a:ext uri="{FF2B5EF4-FFF2-40B4-BE49-F238E27FC236}">
                <a16:creationId xmlns:a16="http://schemas.microsoft.com/office/drawing/2014/main" id="{D0903D8B-DCE2-D056-9A9A-46BC8DB734D4}"/>
              </a:ext>
            </a:extLst>
          </p:cNvPr>
          <p:cNvSpPr/>
          <p:nvPr/>
        </p:nvSpPr>
        <p:spPr>
          <a:xfrm>
            <a:off x="5048406" y="4419621"/>
            <a:ext cx="2095187" cy="19500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n Ipsum</a:t>
            </a:r>
          </a:p>
        </p:txBody>
      </p:sp>
      <p:sp>
        <p:nvSpPr>
          <p:cNvPr id="6" name="Rectangle 5">
            <a:extLst>
              <a:ext uri="{FF2B5EF4-FFF2-40B4-BE49-F238E27FC236}">
                <a16:creationId xmlns:a16="http://schemas.microsoft.com/office/drawing/2014/main" id="{D84167DD-B553-3AB4-5731-DA9B31BCD1F9}"/>
              </a:ext>
            </a:extLst>
          </p:cNvPr>
          <p:cNvSpPr/>
          <p:nvPr/>
        </p:nvSpPr>
        <p:spPr>
          <a:xfrm>
            <a:off x="7143592" y="4001894"/>
            <a:ext cx="2095187" cy="23677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7" name="Rectangle 6">
            <a:extLst>
              <a:ext uri="{FF2B5EF4-FFF2-40B4-BE49-F238E27FC236}">
                <a16:creationId xmlns:a16="http://schemas.microsoft.com/office/drawing/2014/main" id="{B9ABC2B0-DD20-75FB-9F95-6C86559F4615}"/>
              </a:ext>
            </a:extLst>
          </p:cNvPr>
          <p:cNvSpPr/>
          <p:nvPr/>
        </p:nvSpPr>
        <p:spPr>
          <a:xfrm>
            <a:off x="9238779" y="3586126"/>
            <a:ext cx="2095187" cy="27835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8" name="Rectangle 7">
            <a:extLst>
              <a:ext uri="{FF2B5EF4-FFF2-40B4-BE49-F238E27FC236}">
                <a16:creationId xmlns:a16="http://schemas.microsoft.com/office/drawing/2014/main" id="{9F9428C1-730B-38D9-128C-B59144A51750}"/>
              </a:ext>
            </a:extLst>
          </p:cNvPr>
          <p:cNvSpPr/>
          <p:nvPr/>
        </p:nvSpPr>
        <p:spPr>
          <a:xfrm>
            <a:off x="858032" y="5033458"/>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E992502-01C0-7E85-D2F0-3DF4CD998DE4}"/>
              </a:ext>
            </a:extLst>
          </p:cNvPr>
          <p:cNvSpPr/>
          <p:nvPr/>
        </p:nvSpPr>
        <p:spPr>
          <a:xfrm>
            <a:off x="2953218" y="4608995"/>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DA2D146-BBFD-453C-7DC2-E7C736A39CF9}"/>
              </a:ext>
            </a:extLst>
          </p:cNvPr>
          <p:cNvSpPr/>
          <p:nvPr/>
        </p:nvSpPr>
        <p:spPr>
          <a:xfrm>
            <a:off x="5048405" y="4184532"/>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E90C10E-246B-84B7-E396-69245C8AACE8}"/>
              </a:ext>
            </a:extLst>
          </p:cNvPr>
          <p:cNvSpPr/>
          <p:nvPr/>
        </p:nvSpPr>
        <p:spPr>
          <a:xfrm>
            <a:off x="7143593" y="3760069"/>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8A3EFC4-BC4B-26F3-59C4-79AB90EA918E}"/>
              </a:ext>
            </a:extLst>
          </p:cNvPr>
          <p:cNvSpPr/>
          <p:nvPr/>
        </p:nvSpPr>
        <p:spPr>
          <a:xfrm>
            <a:off x="9238780" y="3335606"/>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F7C60C4-AF1B-6F0F-1647-BC3320C4548C}"/>
              </a:ext>
            </a:extLst>
          </p:cNvPr>
          <p:cNvSpPr/>
          <p:nvPr/>
        </p:nvSpPr>
        <p:spPr>
          <a:xfrm>
            <a:off x="858033"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1</a:t>
            </a:r>
          </a:p>
        </p:txBody>
      </p:sp>
      <p:sp>
        <p:nvSpPr>
          <p:cNvPr id="14" name="Rectangle 13">
            <a:extLst>
              <a:ext uri="{FF2B5EF4-FFF2-40B4-BE49-F238E27FC236}">
                <a16:creationId xmlns:a16="http://schemas.microsoft.com/office/drawing/2014/main" id="{15118E47-E5F8-96B5-C5EC-A9E97EA025AB}"/>
              </a:ext>
            </a:extLst>
          </p:cNvPr>
          <p:cNvSpPr/>
          <p:nvPr/>
        </p:nvSpPr>
        <p:spPr>
          <a:xfrm>
            <a:off x="2953220"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2</a:t>
            </a:r>
          </a:p>
        </p:txBody>
      </p:sp>
      <p:sp>
        <p:nvSpPr>
          <p:cNvPr id="15" name="Rectangle 14">
            <a:extLst>
              <a:ext uri="{FF2B5EF4-FFF2-40B4-BE49-F238E27FC236}">
                <a16:creationId xmlns:a16="http://schemas.microsoft.com/office/drawing/2014/main" id="{6E0152A6-5928-8529-ACB6-9AF57D758486}"/>
              </a:ext>
            </a:extLst>
          </p:cNvPr>
          <p:cNvSpPr/>
          <p:nvPr/>
        </p:nvSpPr>
        <p:spPr>
          <a:xfrm>
            <a:off x="5048407"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3</a:t>
            </a:r>
          </a:p>
        </p:txBody>
      </p:sp>
      <p:sp>
        <p:nvSpPr>
          <p:cNvPr id="16" name="Rectangle 15">
            <a:extLst>
              <a:ext uri="{FF2B5EF4-FFF2-40B4-BE49-F238E27FC236}">
                <a16:creationId xmlns:a16="http://schemas.microsoft.com/office/drawing/2014/main" id="{62070701-727C-BB59-13EF-012240392AFE}"/>
              </a:ext>
            </a:extLst>
          </p:cNvPr>
          <p:cNvSpPr/>
          <p:nvPr/>
        </p:nvSpPr>
        <p:spPr>
          <a:xfrm>
            <a:off x="7143593"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4</a:t>
            </a:r>
          </a:p>
        </p:txBody>
      </p:sp>
      <p:sp>
        <p:nvSpPr>
          <p:cNvPr id="17" name="Rectangle 16">
            <a:extLst>
              <a:ext uri="{FF2B5EF4-FFF2-40B4-BE49-F238E27FC236}">
                <a16:creationId xmlns:a16="http://schemas.microsoft.com/office/drawing/2014/main" id="{9F1C81B3-D2AB-C5AC-E0C7-95944FD8F825}"/>
              </a:ext>
            </a:extLst>
          </p:cNvPr>
          <p:cNvSpPr/>
          <p:nvPr/>
        </p:nvSpPr>
        <p:spPr>
          <a:xfrm>
            <a:off x="9238780"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5</a:t>
            </a:r>
          </a:p>
        </p:txBody>
      </p:sp>
      <p:grpSp>
        <p:nvGrpSpPr>
          <p:cNvPr id="18" name="Group 82">
            <a:extLst>
              <a:ext uri="{FF2B5EF4-FFF2-40B4-BE49-F238E27FC236}">
                <a16:creationId xmlns:a16="http://schemas.microsoft.com/office/drawing/2014/main" id="{C8B8112C-2574-EE8E-626F-A7268BA3956E}"/>
              </a:ext>
            </a:extLst>
          </p:cNvPr>
          <p:cNvGrpSpPr/>
          <p:nvPr/>
        </p:nvGrpSpPr>
        <p:grpSpPr>
          <a:xfrm>
            <a:off x="858033" y="2795965"/>
            <a:ext cx="1575594" cy="1167042"/>
            <a:chOff x="332936" y="2689321"/>
            <a:chExt cx="2926080" cy="1167042"/>
          </a:xfrm>
        </p:grpSpPr>
        <p:sp>
          <p:nvSpPr>
            <p:cNvPr id="19" name="TextBox 83">
              <a:extLst>
                <a:ext uri="{FF2B5EF4-FFF2-40B4-BE49-F238E27FC236}">
                  <a16:creationId xmlns:a16="http://schemas.microsoft.com/office/drawing/2014/main" id="{132D6D64-286A-2910-715C-A8EE34A0ECB9}"/>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0" name="TextBox 84">
              <a:extLst>
                <a:ext uri="{FF2B5EF4-FFF2-40B4-BE49-F238E27FC236}">
                  <a16:creationId xmlns:a16="http://schemas.microsoft.com/office/drawing/2014/main" id="{5E904C21-D35F-3407-1BAE-B4295114E251}"/>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1" name="Group 85">
            <a:extLst>
              <a:ext uri="{FF2B5EF4-FFF2-40B4-BE49-F238E27FC236}">
                <a16:creationId xmlns:a16="http://schemas.microsoft.com/office/drawing/2014/main" id="{483DD3A0-AD5A-1856-3D3E-0E24AFE6EC95}"/>
              </a:ext>
            </a:extLst>
          </p:cNvPr>
          <p:cNvGrpSpPr/>
          <p:nvPr/>
        </p:nvGrpSpPr>
        <p:grpSpPr>
          <a:xfrm>
            <a:off x="2957424" y="2370763"/>
            <a:ext cx="1575594" cy="1167042"/>
            <a:chOff x="332936" y="2689321"/>
            <a:chExt cx="2926080" cy="1167042"/>
          </a:xfrm>
        </p:grpSpPr>
        <p:sp>
          <p:nvSpPr>
            <p:cNvPr id="22" name="TextBox 86">
              <a:extLst>
                <a:ext uri="{FF2B5EF4-FFF2-40B4-BE49-F238E27FC236}">
                  <a16:creationId xmlns:a16="http://schemas.microsoft.com/office/drawing/2014/main" id="{290EE172-91D8-C3FF-F7E9-156E537E1ADE}"/>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3" name="TextBox 87">
              <a:extLst>
                <a:ext uri="{FF2B5EF4-FFF2-40B4-BE49-F238E27FC236}">
                  <a16:creationId xmlns:a16="http://schemas.microsoft.com/office/drawing/2014/main" id="{9792995B-354D-BBD6-84AA-02C3FCFED7B4}"/>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4" name="Group 88">
            <a:extLst>
              <a:ext uri="{FF2B5EF4-FFF2-40B4-BE49-F238E27FC236}">
                <a16:creationId xmlns:a16="http://schemas.microsoft.com/office/drawing/2014/main" id="{067799D6-247B-F595-446B-E0A9930D08CA}"/>
              </a:ext>
            </a:extLst>
          </p:cNvPr>
          <p:cNvGrpSpPr/>
          <p:nvPr/>
        </p:nvGrpSpPr>
        <p:grpSpPr>
          <a:xfrm>
            <a:off x="5047086" y="1945560"/>
            <a:ext cx="1575594" cy="1167042"/>
            <a:chOff x="332936" y="2689321"/>
            <a:chExt cx="2926080" cy="1167042"/>
          </a:xfrm>
        </p:grpSpPr>
        <p:sp>
          <p:nvSpPr>
            <p:cNvPr id="25" name="TextBox 89">
              <a:extLst>
                <a:ext uri="{FF2B5EF4-FFF2-40B4-BE49-F238E27FC236}">
                  <a16:creationId xmlns:a16="http://schemas.microsoft.com/office/drawing/2014/main" id="{E8F083F8-AB8A-1844-DAE9-5EC0EF69EF64}"/>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6" name="TextBox 90">
              <a:extLst>
                <a:ext uri="{FF2B5EF4-FFF2-40B4-BE49-F238E27FC236}">
                  <a16:creationId xmlns:a16="http://schemas.microsoft.com/office/drawing/2014/main" id="{123F252F-12D2-15D8-D757-B6CE558507C1}"/>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7" name="Group 91">
            <a:extLst>
              <a:ext uri="{FF2B5EF4-FFF2-40B4-BE49-F238E27FC236}">
                <a16:creationId xmlns:a16="http://schemas.microsoft.com/office/drawing/2014/main" id="{E5C67EB3-E866-E40F-69E7-30DBF8C845D6}"/>
              </a:ext>
            </a:extLst>
          </p:cNvPr>
          <p:cNvGrpSpPr/>
          <p:nvPr/>
        </p:nvGrpSpPr>
        <p:grpSpPr>
          <a:xfrm>
            <a:off x="7143592" y="1520357"/>
            <a:ext cx="1575594" cy="1167042"/>
            <a:chOff x="332936" y="2689321"/>
            <a:chExt cx="2926080" cy="1167042"/>
          </a:xfrm>
        </p:grpSpPr>
        <p:sp>
          <p:nvSpPr>
            <p:cNvPr id="28" name="TextBox 92">
              <a:extLst>
                <a:ext uri="{FF2B5EF4-FFF2-40B4-BE49-F238E27FC236}">
                  <a16:creationId xmlns:a16="http://schemas.microsoft.com/office/drawing/2014/main" id="{7BBD3D0E-00B7-248B-4836-45CD5DCA31ED}"/>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9" name="TextBox 93">
              <a:extLst>
                <a:ext uri="{FF2B5EF4-FFF2-40B4-BE49-F238E27FC236}">
                  <a16:creationId xmlns:a16="http://schemas.microsoft.com/office/drawing/2014/main" id="{32622A60-4614-AB69-4593-C15F148B7CC1}"/>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30" name="Group 94">
            <a:extLst>
              <a:ext uri="{FF2B5EF4-FFF2-40B4-BE49-F238E27FC236}">
                <a16:creationId xmlns:a16="http://schemas.microsoft.com/office/drawing/2014/main" id="{D91E58C8-5429-2BD9-BC34-20F0F6ACCD84}"/>
              </a:ext>
            </a:extLst>
          </p:cNvPr>
          <p:cNvGrpSpPr/>
          <p:nvPr/>
        </p:nvGrpSpPr>
        <p:grpSpPr>
          <a:xfrm>
            <a:off x="9238779" y="1095154"/>
            <a:ext cx="1575594" cy="1167042"/>
            <a:chOff x="332936" y="2689321"/>
            <a:chExt cx="2926080" cy="1167042"/>
          </a:xfrm>
        </p:grpSpPr>
        <p:sp>
          <p:nvSpPr>
            <p:cNvPr id="31" name="TextBox 95">
              <a:extLst>
                <a:ext uri="{FF2B5EF4-FFF2-40B4-BE49-F238E27FC236}">
                  <a16:creationId xmlns:a16="http://schemas.microsoft.com/office/drawing/2014/main" id="{C8612C5B-25B9-1A3E-3E07-ADA0D76763BB}"/>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32" name="TextBox 96">
              <a:extLst>
                <a:ext uri="{FF2B5EF4-FFF2-40B4-BE49-F238E27FC236}">
                  <a16:creationId xmlns:a16="http://schemas.microsoft.com/office/drawing/2014/main" id="{43A8F03E-45B3-BF68-92FD-9CC2F6D6D1F1}"/>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33" name="Graphic 79" descr="Flag">
            <a:extLst>
              <a:ext uri="{FF2B5EF4-FFF2-40B4-BE49-F238E27FC236}">
                <a16:creationId xmlns:a16="http://schemas.microsoft.com/office/drawing/2014/main" id="{87190A92-950C-6912-7160-C21035F02CAD}"/>
              </a:ext>
            </a:extLst>
          </p:cNvPr>
          <p:cNvGrpSpPr/>
          <p:nvPr/>
        </p:nvGrpSpPr>
        <p:grpSpPr>
          <a:xfrm flipH="1">
            <a:off x="4591206" y="3284391"/>
            <a:ext cx="914400" cy="914400"/>
            <a:chOff x="4591206" y="2957817"/>
            <a:chExt cx="914400" cy="914400"/>
          </a:xfrm>
          <a:solidFill>
            <a:schemeClr val="accent3">
              <a:lumMod val="75000"/>
            </a:schemeClr>
          </a:solidFill>
        </p:grpSpPr>
        <p:sp>
          <p:nvSpPr>
            <p:cNvPr id="34" name="Freeform: Shape 98">
              <a:extLst>
                <a:ext uri="{FF2B5EF4-FFF2-40B4-BE49-F238E27FC236}">
                  <a16:creationId xmlns:a16="http://schemas.microsoft.com/office/drawing/2014/main" id="{D5B4AC3F-1C98-E92D-1DB3-4A9E62D9BA8D}"/>
                </a:ext>
              </a:extLst>
            </p:cNvPr>
            <p:cNvSpPr/>
            <p:nvPr/>
          </p:nvSpPr>
          <p:spPr>
            <a:xfrm>
              <a:off x="4781706" y="30349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5" name="Freeform: Shape 99">
              <a:extLst>
                <a:ext uri="{FF2B5EF4-FFF2-40B4-BE49-F238E27FC236}">
                  <a16:creationId xmlns:a16="http://schemas.microsoft.com/office/drawing/2014/main" id="{37ED5844-76F6-2353-9244-F641115AAD4C}"/>
                </a:ext>
              </a:extLst>
            </p:cNvPr>
            <p:cNvSpPr/>
            <p:nvPr/>
          </p:nvSpPr>
          <p:spPr>
            <a:xfrm>
              <a:off x="4876956" y="30330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36" name="Graphic 71" descr="Flag">
            <a:extLst>
              <a:ext uri="{FF2B5EF4-FFF2-40B4-BE49-F238E27FC236}">
                <a16:creationId xmlns:a16="http://schemas.microsoft.com/office/drawing/2014/main" id="{ADFC6935-9FF2-07EC-B46B-44C75954E0A1}"/>
              </a:ext>
            </a:extLst>
          </p:cNvPr>
          <p:cNvGrpSpPr/>
          <p:nvPr/>
        </p:nvGrpSpPr>
        <p:grpSpPr>
          <a:xfrm flipH="1">
            <a:off x="400833" y="4144362"/>
            <a:ext cx="914400" cy="914400"/>
            <a:chOff x="400833" y="3872217"/>
            <a:chExt cx="914400" cy="914400"/>
          </a:xfrm>
          <a:solidFill>
            <a:schemeClr val="accent2"/>
          </a:solidFill>
        </p:grpSpPr>
        <p:sp>
          <p:nvSpPr>
            <p:cNvPr id="37" name="Freeform: Shape 101">
              <a:extLst>
                <a:ext uri="{FF2B5EF4-FFF2-40B4-BE49-F238E27FC236}">
                  <a16:creationId xmlns:a16="http://schemas.microsoft.com/office/drawing/2014/main" id="{6C014BB0-3D13-C25A-C27B-BEDFB95CCD10}"/>
                </a:ext>
              </a:extLst>
            </p:cNvPr>
            <p:cNvSpPr/>
            <p:nvPr/>
          </p:nvSpPr>
          <p:spPr>
            <a:xfrm>
              <a:off x="591333" y="39493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8" name="Freeform: Shape 102">
              <a:extLst>
                <a:ext uri="{FF2B5EF4-FFF2-40B4-BE49-F238E27FC236}">
                  <a16:creationId xmlns:a16="http://schemas.microsoft.com/office/drawing/2014/main" id="{20FB0A01-40EB-65DA-BB87-5B24FD3F91F4}"/>
                </a:ext>
              </a:extLst>
            </p:cNvPr>
            <p:cNvSpPr/>
            <p:nvPr/>
          </p:nvSpPr>
          <p:spPr>
            <a:xfrm>
              <a:off x="686583" y="39474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39" name="Graphic 81" descr="Flag">
            <a:extLst>
              <a:ext uri="{FF2B5EF4-FFF2-40B4-BE49-F238E27FC236}">
                <a16:creationId xmlns:a16="http://schemas.microsoft.com/office/drawing/2014/main" id="{69BAE334-8856-4897-AD9F-A471FD22B502}"/>
              </a:ext>
            </a:extLst>
          </p:cNvPr>
          <p:cNvGrpSpPr/>
          <p:nvPr/>
        </p:nvGrpSpPr>
        <p:grpSpPr>
          <a:xfrm flipH="1">
            <a:off x="8781586" y="2426920"/>
            <a:ext cx="914400" cy="914400"/>
            <a:chOff x="8781586" y="2045919"/>
            <a:chExt cx="914400" cy="914400"/>
          </a:xfrm>
          <a:solidFill>
            <a:schemeClr val="accent5"/>
          </a:solidFill>
        </p:grpSpPr>
        <p:sp>
          <p:nvSpPr>
            <p:cNvPr id="40" name="Freeform: Shape 104">
              <a:extLst>
                <a:ext uri="{FF2B5EF4-FFF2-40B4-BE49-F238E27FC236}">
                  <a16:creationId xmlns:a16="http://schemas.microsoft.com/office/drawing/2014/main" id="{38E39B6E-BA26-AED9-E8BA-8F5E2276011C}"/>
                </a:ext>
              </a:extLst>
            </p:cNvPr>
            <p:cNvSpPr/>
            <p:nvPr/>
          </p:nvSpPr>
          <p:spPr>
            <a:xfrm>
              <a:off x="8972086" y="2123071"/>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41" name="Freeform: Shape 105">
              <a:extLst>
                <a:ext uri="{FF2B5EF4-FFF2-40B4-BE49-F238E27FC236}">
                  <a16:creationId xmlns:a16="http://schemas.microsoft.com/office/drawing/2014/main" id="{70126E0F-D587-AE89-2D7B-ED58F1028B91}"/>
                </a:ext>
              </a:extLst>
            </p:cNvPr>
            <p:cNvSpPr/>
            <p:nvPr/>
          </p:nvSpPr>
          <p:spPr>
            <a:xfrm>
              <a:off x="9067336" y="2121166"/>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42" name="Graphic 77" descr="Walk">
            <a:extLst>
              <a:ext uri="{FF2B5EF4-FFF2-40B4-BE49-F238E27FC236}">
                <a16:creationId xmlns:a16="http://schemas.microsoft.com/office/drawing/2014/main" id="{6D635A38-F152-E578-E3B3-D46CC4FD74C8}"/>
              </a:ext>
            </a:extLst>
          </p:cNvPr>
          <p:cNvGrpSpPr/>
          <p:nvPr/>
        </p:nvGrpSpPr>
        <p:grpSpPr>
          <a:xfrm>
            <a:off x="1680630" y="4191989"/>
            <a:ext cx="533759" cy="819150"/>
            <a:chOff x="1680630" y="3919844"/>
            <a:chExt cx="533759" cy="819150"/>
          </a:xfrm>
          <a:solidFill>
            <a:srgbClr val="000000"/>
          </a:solidFill>
        </p:grpSpPr>
        <p:sp>
          <p:nvSpPr>
            <p:cNvPr id="43" name="Freeform: Shape 107">
              <a:extLst>
                <a:ext uri="{FF2B5EF4-FFF2-40B4-BE49-F238E27FC236}">
                  <a16:creationId xmlns:a16="http://schemas.microsoft.com/office/drawing/2014/main" id="{4B89CA9C-C37E-A07E-8665-F4E2F280F777}"/>
                </a:ext>
              </a:extLst>
            </p:cNvPr>
            <p:cNvSpPr/>
            <p:nvPr/>
          </p:nvSpPr>
          <p:spPr>
            <a:xfrm>
              <a:off x="1919016" y="39198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4" name="Freeform: Shape 108">
              <a:extLst>
                <a:ext uri="{FF2B5EF4-FFF2-40B4-BE49-F238E27FC236}">
                  <a16:creationId xmlns:a16="http://schemas.microsoft.com/office/drawing/2014/main" id="{21C7F39E-ACC2-CE61-E46F-358C2DFF18F8}"/>
                </a:ext>
              </a:extLst>
            </p:cNvPr>
            <p:cNvSpPr/>
            <p:nvPr/>
          </p:nvSpPr>
          <p:spPr>
            <a:xfrm>
              <a:off x="1680630" y="4091294"/>
              <a:ext cx="533759" cy="647700"/>
            </a:xfrm>
            <a:custGeom>
              <a:avLst/>
              <a:gdLst>
                <a:gd name="connsiteX0" fmla="*/ 507943 w 533759"/>
                <a:gd name="connsiteY0" fmla="*/ 201930 h 647700"/>
                <a:gd name="connsiteX1" fmla="*/ 409835 w 533759"/>
                <a:gd name="connsiteY1" fmla="*/ 169545 h 647700"/>
                <a:gd name="connsiteX2" fmla="*/ 353638 w 533759"/>
                <a:gd name="connsiteY2" fmla="*/ 40005 h 647700"/>
                <a:gd name="connsiteX3" fmla="*/ 286963 w 533759"/>
                <a:gd name="connsiteY3" fmla="*/ 0 h 647700"/>
                <a:gd name="connsiteX4" fmla="*/ 254578 w 533759"/>
                <a:gd name="connsiteY4" fmla="*/ 7620 h 647700"/>
                <a:gd name="connsiteX5" fmla="*/ 121228 w 533759"/>
                <a:gd name="connsiteY5" fmla="*/ 60007 h 647700"/>
                <a:gd name="connsiteX6" fmla="*/ 100273 w 533759"/>
                <a:gd name="connsiteY6" fmla="*/ 80963 h 647700"/>
                <a:gd name="connsiteX7" fmla="*/ 52648 w 533759"/>
                <a:gd name="connsiteY7" fmla="*/ 195263 h 647700"/>
                <a:gd name="connsiteX8" fmla="*/ 73603 w 533759"/>
                <a:gd name="connsiteY8" fmla="*/ 244793 h 647700"/>
                <a:gd name="connsiteX9" fmla="*/ 87890 w 533759"/>
                <a:gd name="connsiteY9" fmla="*/ 247650 h 647700"/>
                <a:gd name="connsiteX10" fmla="*/ 123133 w 533759"/>
                <a:gd name="connsiteY10" fmla="*/ 223838 h 647700"/>
                <a:gd name="connsiteX11" fmla="*/ 162185 w 533759"/>
                <a:gd name="connsiteY11" fmla="*/ 124777 h 647700"/>
                <a:gd name="connsiteX12" fmla="*/ 202190 w 533759"/>
                <a:gd name="connsiteY12" fmla="*/ 109538 h 647700"/>
                <a:gd name="connsiteX13" fmla="*/ 136468 w 533759"/>
                <a:gd name="connsiteY13" fmla="*/ 430530 h 647700"/>
                <a:gd name="connsiteX14" fmla="*/ 8833 w 533759"/>
                <a:gd name="connsiteY14" fmla="*/ 585788 h 647700"/>
                <a:gd name="connsiteX15" fmla="*/ 13595 w 533759"/>
                <a:gd name="connsiteY15" fmla="*/ 639128 h 647700"/>
                <a:gd name="connsiteX16" fmla="*/ 37408 w 533759"/>
                <a:gd name="connsiteY16" fmla="*/ 647700 h 647700"/>
                <a:gd name="connsiteX17" fmla="*/ 66935 w 533759"/>
                <a:gd name="connsiteY17" fmla="*/ 633413 h 647700"/>
                <a:gd name="connsiteX18" fmla="*/ 200285 w 533759"/>
                <a:gd name="connsiteY18" fmla="*/ 471488 h 647700"/>
                <a:gd name="connsiteX19" fmla="*/ 207905 w 533759"/>
                <a:gd name="connsiteY19" fmla="*/ 455295 h 647700"/>
                <a:gd name="connsiteX20" fmla="*/ 230765 w 533759"/>
                <a:gd name="connsiteY20" fmla="*/ 344805 h 647700"/>
                <a:gd name="connsiteX21" fmla="*/ 333635 w 533759"/>
                <a:gd name="connsiteY21" fmla="*/ 419100 h 647700"/>
                <a:gd name="connsiteX22" fmla="*/ 333635 w 533759"/>
                <a:gd name="connsiteY22" fmla="*/ 609600 h 647700"/>
                <a:gd name="connsiteX23" fmla="*/ 371735 w 533759"/>
                <a:gd name="connsiteY23" fmla="*/ 647700 h 647700"/>
                <a:gd name="connsiteX24" fmla="*/ 409835 w 533759"/>
                <a:gd name="connsiteY24" fmla="*/ 609600 h 647700"/>
                <a:gd name="connsiteX25" fmla="*/ 409835 w 533759"/>
                <a:gd name="connsiteY25" fmla="*/ 400050 h 647700"/>
                <a:gd name="connsiteX26" fmla="*/ 394595 w 533759"/>
                <a:gd name="connsiteY26" fmla="*/ 369570 h 647700"/>
                <a:gd name="connsiteX27" fmla="*/ 302203 w 533759"/>
                <a:gd name="connsiteY27" fmla="*/ 301943 h 647700"/>
                <a:gd name="connsiteX28" fmla="*/ 327920 w 533759"/>
                <a:gd name="connsiteY28" fmla="*/ 173355 h 647700"/>
                <a:gd name="connsiteX29" fmla="*/ 346018 w 533759"/>
                <a:gd name="connsiteY29" fmla="*/ 215265 h 647700"/>
                <a:gd name="connsiteX30" fmla="*/ 368878 w 533759"/>
                <a:gd name="connsiteY30" fmla="*/ 236220 h 647700"/>
                <a:gd name="connsiteX31" fmla="*/ 483178 w 533759"/>
                <a:gd name="connsiteY31" fmla="*/ 274320 h 647700"/>
                <a:gd name="connsiteX32" fmla="*/ 495560 w 533759"/>
                <a:gd name="connsiteY32" fmla="*/ 276225 h 647700"/>
                <a:gd name="connsiteX33" fmla="*/ 531755 w 533759"/>
                <a:gd name="connsiteY33" fmla="*/ 250508 h 647700"/>
                <a:gd name="connsiteX34" fmla="*/ 507943 w 533759"/>
                <a:gd name="connsiteY34" fmla="*/ 20193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759" h="647700">
                  <a:moveTo>
                    <a:pt x="507943" y="201930"/>
                  </a:moveTo>
                  <a:lnTo>
                    <a:pt x="409835" y="169545"/>
                  </a:lnTo>
                  <a:cubicBezTo>
                    <a:pt x="409835" y="169545"/>
                    <a:pt x="355543" y="43815"/>
                    <a:pt x="353638" y="40005"/>
                  </a:cubicBezTo>
                  <a:cubicBezTo>
                    <a:pt x="340303" y="16193"/>
                    <a:pt x="315538" y="0"/>
                    <a:pt x="286963" y="0"/>
                  </a:cubicBezTo>
                  <a:cubicBezTo>
                    <a:pt x="275533" y="0"/>
                    <a:pt x="264103" y="2857"/>
                    <a:pt x="254578" y="7620"/>
                  </a:cubicBezTo>
                  <a:lnTo>
                    <a:pt x="121228" y="60007"/>
                  </a:lnTo>
                  <a:cubicBezTo>
                    <a:pt x="111703" y="63818"/>
                    <a:pt x="104083" y="71438"/>
                    <a:pt x="100273" y="80963"/>
                  </a:cubicBezTo>
                  <a:lnTo>
                    <a:pt x="52648" y="195263"/>
                  </a:lnTo>
                  <a:cubicBezTo>
                    <a:pt x="45028" y="214313"/>
                    <a:pt x="53600" y="237173"/>
                    <a:pt x="73603" y="244793"/>
                  </a:cubicBezTo>
                  <a:cubicBezTo>
                    <a:pt x="78365" y="246698"/>
                    <a:pt x="83128" y="247650"/>
                    <a:pt x="87890" y="247650"/>
                  </a:cubicBezTo>
                  <a:cubicBezTo>
                    <a:pt x="103130" y="247650"/>
                    <a:pt x="117418" y="239077"/>
                    <a:pt x="123133" y="223838"/>
                  </a:cubicBezTo>
                  <a:lnTo>
                    <a:pt x="162185" y="124777"/>
                  </a:lnTo>
                  <a:lnTo>
                    <a:pt x="202190" y="109538"/>
                  </a:lnTo>
                  <a:lnTo>
                    <a:pt x="136468" y="430530"/>
                  </a:lnTo>
                  <a:lnTo>
                    <a:pt x="8833" y="585788"/>
                  </a:lnTo>
                  <a:cubicBezTo>
                    <a:pt x="-4502" y="601980"/>
                    <a:pt x="-2597" y="625793"/>
                    <a:pt x="13595" y="639128"/>
                  </a:cubicBezTo>
                  <a:cubicBezTo>
                    <a:pt x="20263" y="644843"/>
                    <a:pt x="28835" y="647700"/>
                    <a:pt x="37408" y="647700"/>
                  </a:cubicBezTo>
                  <a:cubicBezTo>
                    <a:pt x="48838" y="647700"/>
                    <a:pt x="59315" y="642938"/>
                    <a:pt x="66935" y="633413"/>
                  </a:cubicBezTo>
                  <a:lnTo>
                    <a:pt x="200285" y="471488"/>
                  </a:lnTo>
                  <a:cubicBezTo>
                    <a:pt x="204095" y="466725"/>
                    <a:pt x="206953" y="461010"/>
                    <a:pt x="207905" y="455295"/>
                  </a:cubicBezTo>
                  <a:lnTo>
                    <a:pt x="230765" y="344805"/>
                  </a:lnTo>
                  <a:lnTo>
                    <a:pt x="333635" y="419100"/>
                  </a:lnTo>
                  <a:lnTo>
                    <a:pt x="333635" y="609600"/>
                  </a:lnTo>
                  <a:cubicBezTo>
                    <a:pt x="333635" y="630555"/>
                    <a:pt x="350780" y="647700"/>
                    <a:pt x="371735" y="647700"/>
                  </a:cubicBezTo>
                  <a:cubicBezTo>
                    <a:pt x="392690" y="647700"/>
                    <a:pt x="409835" y="630555"/>
                    <a:pt x="409835" y="609600"/>
                  </a:cubicBezTo>
                  <a:lnTo>
                    <a:pt x="409835" y="400050"/>
                  </a:lnTo>
                  <a:cubicBezTo>
                    <a:pt x="409835" y="387668"/>
                    <a:pt x="404120" y="376238"/>
                    <a:pt x="394595" y="369570"/>
                  </a:cubicBezTo>
                  <a:lnTo>
                    <a:pt x="302203" y="301943"/>
                  </a:lnTo>
                  <a:lnTo>
                    <a:pt x="327920" y="173355"/>
                  </a:lnTo>
                  <a:lnTo>
                    <a:pt x="346018" y="215265"/>
                  </a:lnTo>
                  <a:cubicBezTo>
                    <a:pt x="350780" y="224790"/>
                    <a:pt x="358400" y="232410"/>
                    <a:pt x="368878" y="236220"/>
                  </a:cubicBezTo>
                  <a:lnTo>
                    <a:pt x="483178" y="274320"/>
                  </a:lnTo>
                  <a:cubicBezTo>
                    <a:pt x="486988" y="275273"/>
                    <a:pt x="490798" y="276225"/>
                    <a:pt x="495560" y="276225"/>
                  </a:cubicBezTo>
                  <a:cubicBezTo>
                    <a:pt x="511753" y="276225"/>
                    <a:pt x="526040" y="265748"/>
                    <a:pt x="531755" y="250508"/>
                  </a:cubicBezTo>
                  <a:cubicBezTo>
                    <a:pt x="538423" y="230505"/>
                    <a:pt x="527945" y="208598"/>
                    <a:pt x="507943" y="201930"/>
                  </a:cubicBezTo>
                  <a:close/>
                </a:path>
              </a:pathLst>
            </a:custGeom>
            <a:solidFill>
              <a:srgbClr val="000000"/>
            </a:solidFill>
            <a:ln w="9525" cap="flat">
              <a:noFill/>
              <a:prstDash val="solid"/>
              <a:miter/>
            </a:ln>
          </p:spPr>
          <p:txBody>
            <a:bodyPr rtlCol="0" anchor="ctr"/>
            <a:lstStyle/>
            <a:p>
              <a:endParaRPr lang="en-US"/>
            </a:p>
          </p:txBody>
        </p:sp>
      </p:grpSp>
      <p:grpSp>
        <p:nvGrpSpPr>
          <p:cNvPr id="45" name="Graphic 75" descr="Run">
            <a:extLst>
              <a:ext uri="{FF2B5EF4-FFF2-40B4-BE49-F238E27FC236}">
                <a16:creationId xmlns:a16="http://schemas.microsoft.com/office/drawing/2014/main" id="{38F6E7BE-E268-DCC6-1AFA-CF09B65CDDEB}"/>
              </a:ext>
            </a:extLst>
          </p:cNvPr>
          <p:cNvGrpSpPr/>
          <p:nvPr/>
        </p:nvGrpSpPr>
        <p:grpSpPr>
          <a:xfrm>
            <a:off x="6002653" y="3337317"/>
            <a:ext cx="719322" cy="819150"/>
            <a:chOff x="6002653" y="3010743"/>
            <a:chExt cx="719322" cy="819150"/>
          </a:xfrm>
          <a:solidFill>
            <a:srgbClr val="000000"/>
          </a:solidFill>
        </p:grpSpPr>
        <p:sp>
          <p:nvSpPr>
            <p:cNvPr id="46" name="Freeform: Shape 110">
              <a:extLst>
                <a:ext uri="{FF2B5EF4-FFF2-40B4-BE49-F238E27FC236}">
                  <a16:creationId xmlns:a16="http://schemas.microsoft.com/office/drawing/2014/main" id="{73B8104F-C1C4-946F-8834-57934527AEDF}"/>
                </a:ext>
              </a:extLst>
            </p:cNvPr>
            <p:cNvSpPr/>
            <p:nvPr/>
          </p:nvSpPr>
          <p:spPr>
            <a:xfrm>
              <a:off x="6440804" y="301074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7" name="Freeform: Shape 111">
              <a:extLst>
                <a:ext uri="{FF2B5EF4-FFF2-40B4-BE49-F238E27FC236}">
                  <a16:creationId xmlns:a16="http://schemas.microsoft.com/office/drawing/2014/main" id="{34C7D7F7-B2BC-38DA-2167-7D646BBD5284}"/>
                </a:ext>
              </a:extLst>
            </p:cNvPr>
            <p:cNvSpPr/>
            <p:nvPr/>
          </p:nvSpPr>
          <p:spPr>
            <a:xfrm>
              <a:off x="6002653" y="3172668"/>
              <a:ext cx="719322" cy="657225"/>
            </a:xfrm>
            <a:custGeom>
              <a:avLst/>
              <a:gdLst>
                <a:gd name="connsiteX0" fmla="*/ 699135 w 719322"/>
                <a:gd name="connsiteY0" fmla="*/ 19050 h 657225"/>
                <a:gd name="connsiteX1" fmla="*/ 647700 w 719322"/>
                <a:gd name="connsiteY1" fmla="*/ 35243 h 657225"/>
                <a:gd name="connsiteX2" fmla="*/ 614363 w 719322"/>
                <a:gd name="connsiteY2" fmla="*/ 98107 h 657225"/>
                <a:gd name="connsiteX3" fmla="*/ 467678 w 719322"/>
                <a:gd name="connsiteY3" fmla="*/ 5715 h 657225"/>
                <a:gd name="connsiteX4" fmla="*/ 447675 w 719322"/>
                <a:gd name="connsiteY4" fmla="*/ 0 h 657225"/>
                <a:gd name="connsiteX5" fmla="*/ 285750 w 719322"/>
                <a:gd name="connsiteY5" fmla="*/ 0 h 657225"/>
                <a:gd name="connsiteX6" fmla="*/ 252413 w 719322"/>
                <a:gd name="connsiteY6" fmla="*/ 20003 h 657225"/>
                <a:gd name="connsiteX7" fmla="*/ 190500 w 719322"/>
                <a:gd name="connsiteY7" fmla="*/ 134302 h 657225"/>
                <a:gd name="connsiteX8" fmla="*/ 205740 w 719322"/>
                <a:gd name="connsiteY8" fmla="*/ 185738 h 657225"/>
                <a:gd name="connsiteX9" fmla="*/ 223838 w 719322"/>
                <a:gd name="connsiteY9" fmla="*/ 190500 h 657225"/>
                <a:gd name="connsiteX10" fmla="*/ 257175 w 719322"/>
                <a:gd name="connsiteY10" fmla="*/ 170498 h 657225"/>
                <a:gd name="connsiteX11" fmla="*/ 308610 w 719322"/>
                <a:gd name="connsiteY11" fmla="*/ 76200 h 657225"/>
                <a:gd name="connsiteX12" fmla="*/ 364808 w 719322"/>
                <a:gd name="connsiteY12" fmla="*/ 76200 h 657225"/>
                <a:gd name="connsiteX13" fmla="*/ 196215 w 719322"/>
                <a:gd name="connsiteY13" fmla="*/ 390525 h 657225"/>
                <a:gd name="connsiteX14" fmla="*/ 38100 w 719322"/>
                <a:gd name="connsiteY14" fmla="*/ 390525 h 657225"/>
                <a:gd name="connsiteX15" fmla="*/ 0 w 719322"/>
                <a:gd name="connsiteY15" fmla="*/ 428625 h 657225"/>
                <a:gd name="connsiteX16" fmla="*/ 38100 w 719322"/>
                <a:gd name="connsiteY16" fmla="*/ 466725 h 657225"/>
                <a:gd name="connsiteX17" fmla="*/ 219075 w 719322"/>
                <a:gd name="connsiteY17" fmla="*/ 466725 h 657225"/>
                <a:gd name="connsiteX18" fmla="*/ 252413 w 719322"/>
                <a:gd name="connsiteY18" fmla="*/ 446723 h 657225"/>
                <a:gd name="connsiteX19" fmla="*/ 319088 w 719322"/>
                <a:gd name="connsiteY19" fmla="*/ 323850 h 657225"/>
                <a:gd name="connsiteX20" fmla="*/ 428625 w 719322"/>
                <a:gd name="connsiteY20" fmla="*/ 425767 h 657225"/>
                <a:gd name="connsiteX21" fmla="*/ 420053 w 719322"/>
                <a:gd name="connsiteY21" fmla="*/ 617220 h 657225"/>
                <a:gd name="connsiteX22" fmla="*/ 455295 w 719322"/>
                <a:gd name="connsiteY22" fmla="*/ 657225 h 657225"/>
                <a:gd name="connsiteX23" fmla="*/ 457200 w 719322"/>
                <a:gd name="connsiteY23" fmla="*/ 657225 h 657225"/>
                <a:gd name="connsiteX24" fmla="*/ 495300 w 719322"/>
                <a:gd name="connsiteY24" fmla="*/ 621030 h 657225"/>
                <a:gd name="connsiteX25" fmla="*/ 504825 w 719322"/>
                <a:gd name="connsiteY25" fmla="*/ 411480 h 657225"/>
                <a:gd name="connsiteX26" fmla="*/ 492443 w 719322"/>
                <a:gd name="connsiteY26" fmla="*/ 381953 h 657225"/>
                <a:gd name="connsiteX27" fmla="*/ 400050 w 719322"/>
                <a:gd name="connsiteY27" fmla="*/ 296228 h 657225"/>
                <a:gd name="connsiteX28" fmla="*/ 497205 w 719322"/>
                <a:gd name="connsiteY28" fmla="*/ 115252 h 657225"/>
                <a:gd name="connsiteX29" fmla="*/ 607695 w 719322"/>
                <a:gd name="connsiteY29" fmla="*/ 184785 h 657225"/>
                <a:gd name="connsiteX30" fmla="*/ 638175 w 719322"/>
                <a:gd name="connsiteY30" fmla="*/ 189548 h 657225"/>
                <a:gd name="connsiteX31" fmla="*/ 661988 w 719322"/>
                <a:gd name="connsiteY31" fmla="*/ 170498 h 657225"/>
                <a:gd name="connsiteX32" fmla="*/ 714375 w 719322"/>
                <a:gd name="connsiteY32" fmla="*/ 70485 h 657225"/>
                <a:gd name="connsiteX33" fmla="*/ 699135 w 719322"/>
                <a:gd name="connsiteY33" fmla="*/ 1905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322" h="657225">
                  <a:moveTo>
                    <a:pt x="699135" y="19050"/>
                  </a:moveTo>
                  <a:cubicBezTo>
                    <a:pt x="680085" y="9525"/>
                    <a:pt x="657225" y="16193"/>
                    <a:pt x="647700" y="35243"/>
                  </a:cubicBezTo>
                  <a:lnTo>
                    <a:pt x="614363" y="98107"/>
                  </a:lnTo>
                  <a:lnTo>
                    <a:pt x="467678" y="5715"/>
                  </a:lnTo>
                  <a:cubicBezTo>
                    <a:pt x="461963" y="1905"/>
                    <a:pt x="455295" y="0"/>
                    <a:pt x="447675" y="0"/>
                  </a:cubicBezTo>
                  <a:lnTo>
                    <a:pt x="285750" y="0"/>
                  </a:lnTo>
                  <a:cubicBezTo>
                    <a:pt x="271463" y="0"/>
                    <a:pt x="259080" y="7620"/>
                    <a:pt x="252413" y="20003"/>
                  </a:cubicBezTo>
                  <a:lnTo>
                    <a:pt x="190500" y="134302"/>
                  </a:lnTo>
                  <a:cubicBezTo>
                    <a:pt x="180023" y="152400"/>
                    <a:pt x="187643" y="176213"/>
                    <a:pt x="205740" y="185738"/>
                  </a:cubicBezTo>
                  <a:cubicBezTo>
                    <a:pt x="211455" y="188595"/>
                    <a:pt x="218122" y="190500"/>
                    <a:pt x="223838" y="190500"/>
                  </a:cubicBezTo>
                  <a:cubicBezTo>
                    <a:pt x="237172" y="190500"/>
                    <a:pt x="250508" y="182880"/>
                    <a:pt x="257175" y="170498"/>
                  </a:cubicBezTo>
                  <a:lnTo>
                    <a:pt x="308610" y="76200"/>
                  </a:lnTo>
                  <a:lnTo>
                    <a:pt x="364808" y="76200"/>
                  </a:lnTo>
                  <a:lnTo>
                    <a:pt x="196215" y="390525"/>
                  </a:lnTo>
                  <a:lnTo>
                    <a:pt x="38100" y="390525"/>
                  </a:lnTo>
                  <a:cubicBezTo>
                    <a:pt x="17145" y="390525"/>
                    <a:pt x="0" y="407670"/>
                    <a:pt x="0" y="428625"/>
                  </a:cubicBezTo>
                  <a:cubicBezTo>
                    <a:pt x="0" y="449580"/>
                    <a:pt x="17145" y="466725"/>
                    <a:pt x="38100" y="466725"/>
                  </a:cubicBezTo>
                  <a:lnTo>
                    <a:pt x="219075" y="466725"/>
                  </a:lnTo>
                  <a:cubicBezTo>
                    <a:pt x="233363" y="466725"/>
                    <a:pt x="245745" y="459105"/>
                    <a:pt x="252413" y="446723"/>
                  </a:cubicBezTo>
                  <a:lnTo>
                    <a:pt x="319088" y="323850"/>
                  </a:lnTo>
                  <a:lnTo>
                    <a:pt x="428625" y="425767"/>
                  </a:lnTo>
                  <a:lnTo>
                    <a:pt x="420053" y="617220"/>
                  </a:lnTo>
                  <a:cubicBezTo>
                    <a:pt x="418148" y="638175"/>
                    <a:pt x="434340" y="656273"/>
                    <a:pt x="455295" y="657225"/>
                  </a:cubicBezTo>
                  <a:cubicBezTo>
                    <a:pt x="456248" y="657225"/>
                    <a:pt x="456248" y="657225"/>
                    <a:pt x="457200" y="657225"/>
                  </a:cubicBezTo>
                  <a:cubicBezTo>
                    <a:pt x="477203" y="657225"/>
                    <a:pt x="494348" y="641033"/>
                    <a:pt x="495300" y="621030"/>
                  </a:cubicBezTo>
                  <a:lnTo>
                    <a:pt x="504825" y="411480"/>
                  </a:lnTo>
                  <a:cubicBezTo>
                    <a:pt x="505778" y="400050"/>
                    <a:pt x="501015" y="389573"/>
                    <a:pt x="492443" y="381953"/>
                  </a:cubicBezTo>
                  <a:lnTo>
                    <a:pt x="400050" y="296228"/>
                  </a:lnTo>
                  <a:lnTo>
                    <a:pt x="497205" y="115252"/>
                  </a:lnTo>
                  <a:lnTo>
                    <a:pt x="607695" y="184785"/>
                  </a:lnTo>
                  <a:cubicBezTo>
                    <a:pt x="616268" y="190500"/>
                    <a:pt x="627698" y="192405"/>
                    <a:pt x="638175" y="189548"/>
                  </a:cubicBezTo>
                  <a:cubicBezTo>
                    <a:pt x="648653" y="186690"/>
                    <a:pt x="657225" y="180023"/>
                    <a:pt x="661988" y="170498"/>
                  </a:cubicBezTo>
                  <a:lnTo>
                    <a:pt x="714375" y="70485"/>
                  </a:lnTo>
                  <a:cubicBezTo>
                    <a:pt x="724853" y="52388"/>
                    <a:pt x="718185" y="29528"/>
                    <a:pt x="699135" y="19050"/>
                  </a:cubicBezTo>
                  <a:close/>
                </a:path>
              </a:pathLst>
            </a:custGeom>
            <a:solidFill>
              <a:srgbClr val="000000"/>
            </a:solidFill>
            <a:ln w="9525" cap="flat">
              <a:noFill/>
              <a:prstDash val="solid"/>
              <a:miter/>
            </a:ln>
          </p:spPr>
          <p:txBody>
            <a:bodyPr rtlCol="0" anchor="ctr"/>
            <a:lstStyle/>
            <a:p>
              <a:endParaRPr lang="en-US"/>
            </a:p>
          </p:txBody>
        </p:sp>
      </p:grpSp>
      <p:grpSp>
        <p:nvGrpSpPr>
          <p:cNvPr id="48" name="Graphic 73" descr="Confused person">
            <a:extLst>
              <a:ext uri="{FF2B5EF4-FFF2-40B4-BE49-F238E27FC236}">
                <a16:creationId xmlns:a16="http://schemas.microsoft.com/office/drawing/2014/main" id="{5AF81DC5-49BE-B1CF-5EF1-5B37F36FAD2F}"/>
              </a:ext>
            </a:extLst>
          </p:cNvPr>
          <p:cNvGrpSpPr/>
          <p:nvPr/>
        </p:nvGrpSpPr>
        <p:grpSpPr>
          <a:xfrm>
            <a:off x="10440444" y="2427871"/>
            <a:ext cx="914400" cy="914400"/>
            <a:chOff x="10440444" y="2046870"/>
            <a:chExt cx="914400" cy="914400"/>
          </a:xfrm>
        </p:grpSpPr>
        <p:sp>
          <p:nvSpPr>
            <p:cNvPr id="49" name="Freeform: Shape 113">
              <a:extLst>
                <a:ext uri="{FF2B5EF4-FFF2-40B4-BE49-F238E27FC236}">
                  <a16:creationId xmlns:a16="http://schemas.microsoft.com/office/drawing/2014/main" id="{D52F28BF-3C50-FC1E-1F34-DDCDFDCEA647}"/>
                </a:ext>
              </a:extLst>
            </p:cNvPr>
            <p:cNvSpPr/>
            <p:nvPr/>
          </p:nvSpPr>
          <p:spPr>
            <a:xfrm>
              <a:off x="10582963" y="2246895"/>
              <a:ext cx="629524" cy="685800"/>
            </a:xfrm>
            <a:custGeom>
              <a:avLst/>
              <a:gdLst>
                <a:gd name="connsiteX0" fmla="*/ 629005 w 629524"/>
                <a:gd name="connsiteY0" fmla="*/ 165164 h 685800"/>
                <a:gd name="connsiteX1" fmla="*/ 585190 w 629524"/>
                <a:gd name="connsiteY1" fmla="*/ 133826 h 685800"/>
                <a:gd name="connsiteX2" fmla="*/ 501846 w 629524"/>
                <a:gd name="connsiteY2" fmla="*/ 147733 h 685800"/>
                <a:gd name="connsiteX3" fmla="*/ 467080 w 629524"/>
                <a:gd name="connsiteY3" fmla="*/ 54578 h 685800"/>
                <a:gd name="connsiteX4" fmla="*/ 314680 w 629524"/>
                <a:gd name="connsiteY4" fmla="*/ 0 h 685800"/>
                <a:gd name="connsiteX5" fmla="*/ 163137 w 629524"/>
                <a:gd name="connsiteY5" fmla="*/ 54578 h 685800"/>
                <a:gd name="connsiteX6" fmla="*/ 128085 w 629524"/>
                <a:gd name="connsiteY6" fmla="*/ 147733 h 685800"/>
                <a:gd name="connsiteX7" fmla="*/ 44742 w 629524"/>
                <a:gd name="connsiteY7" fmla="*/ 133826 h 685800"/>
                <a:gd name="connsiteX8" fmla="*/ 589 w 629524"/>
                <a:gd name="connsiteY8" fmla="*/ 164709 h 685800"/>
                <a:gd name="connsiteX9" fmla="*/ 31472 w 629524"/>
                <a:gd name="connsiteY9" fmla="*/ 208862 h 685800"/>
                <a:gd name="connsiteX10" fmla="*/ 32169 w 629524"/>
                <a:gd name="connsiteY10" fmla="*/ 208978 h 685800"/>
                <a:gd name="connsiteX11" fmla="*/ 146469 w 629524"/>
                <a:gd name="connsiteY11" fmla="*/ 228028 h 685800"/>
                <a:gd name="connsiteX12" fmla="*/ 152755 w 629524"/>
                <a:gd name="connsiteY12" fmla="*/ 228600 h 685800"/>
                <a:gd name="connsiteX13" fmla="*/ 188474 w 629524"/>
                <a:gd name="connsiteY13" fmla="*/ 203835 h 685800"/>
                <a:gd name="connsiteX14" fmla="*/ 211905 w 629524"/>
                <a:gd name="connsiteY14" fmla="*/ 141065 h 685800"/>
                <a:gd name="connsiteX15" fmla="*/ 219430 w 629524"/>
                <a:gd name="connsiteY15" fmla="*/ 144399 h 685800"/>
                <a:gd name="connsiteX16" fmla="*/ 219430 w 629524"/>
                <a:gd name="connsiteY16" fmla="*/ 685800 h 685800"/>
                <a:gd name="connsiteX17" fmla="*/ 295630 w 629524"/>
                <a:gd name="connsiteY17" fmla="*/ 685800 h 685800"/>
                <a:gd name="connsiteX18" fmla="*/ 295630 w 629524"/>
                <a:gd name="connsiteY18" fmla="*/ 342900 h 685800"/>
                <a:gd name="connsiteX19" fmla="*/ 333730 w 629524"/>
                <a:gd name="connsiteY19" fmla="*/ 342900 h 685800"/>
                <a:gd name="connsiteX20" fmla="*/ 333730 w 629524"/>
                <a:gd name="connsiteY20" fmla="*/ 685800 h 685800"/>
                <a:gd name="connsiteX21" fmla="*/ 409930 w 629524"/>
                <a:gd name="connsiteY21" fmla="*/ 685800 h 685800"/>
                <a:gd name="connsiteX22" fmla="*/ 409930 w 629524"/>
                <a:gd name="connsiteY22" fmla="*/ 144494 h 685800"/>
                <a:gd name="connsiteX23" fmla="*/ 417931 w 629524"/>
                <a:gd name="connsiteY23" fmla="*/ 140970 h 685800"/>
                <a:gd name="connsiteX24" fmla="*/ 441458 w 629524"/>
                <a:gd name="connsiteY24" fmla="*/ 203835 h 685800"/>
                <a:gd name="connsiteX25" fmla="*/ 477081 w 629524"/>
                <a:gd name="connsiteY25" fmla="*/ 228600 h 685800"/>
                <a:gd name="connsiteX26" fmla="*/ 483368 w 629524"/>
                <a:gd name="connsiteY26" fmla="*/ 228028 h 685800"/>
                <a:gd name="connsiteX27" fmla="*/ 597668 w 629524"/>
                <a:gd name="connsiteY27" fmla="*/ 208978 h 685800"/>
                <a:gd name="connsiteX28" fmla="*/ 629005 w 629524"/>
                <a:gd name="connsiteY28" fmla="*/ 165164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9524" h="685800">
                  <a:moveTo>
                    <a:pt x="629005" y="165164"/>
                  </a:moveTo>
                  <a:cubicBezTo>
                    <a:pt x="625554" y="144414"/>
                    <a:pt x="605941" y="130386"/>
                    <a:pt x="585190" y="133826"/>
                  </a:cubicBezTo>
                  <a:lnTo>
                    <a:pt x="501846" y="147733"/>
                  </a:lnTo>
                  <a:cubicBezTo>
                    <a:pt x="501846" y="147733"/>
                    <a:pt x="467080" y="55435"/>
                    <a:pt x="467080" y="54578"/>
                  </a:cubicBezTo>
                  <a:cubicBezTo>
                    <a:pt x="449364" y="0"/>
                    <a:pt x="373354" y="0"/>
                    <a:pt x="314680" y="0"/>
                  </a:cubicBezTo>
                  <a:cubicBezTo>
                    <a:pt x="256006" y="0"/>
                    <a:pt x="180473" y="0"/>
                    <a:pt x="163137" y="54578"/>
                  </a:cubicBezTo>
                  <a:cubicBezTo>
                    <a:pt x="163137" y="55435"/>
                    <a:pt x="128085" y="147733"/>
                    <a:pt x="128085" y="147733"/>
                  </a:cubicBezTo>
                  <a:lnTo>
                    <a:pt x="44742" y="133826"/>
                  </a:lnTo>
                  <a:cubicBezTo>
                    <a:pt x="24021" y="130162"/>
                    <a:pt x="4254" y="143988"/>
                    <a:pt x="589" y="164709"/>
                  </a:cubicBezTo>
                  <a:cubicBezTo>
                    <a:pt x="-3076" y="185430"/>
                    <a:pt x="10752" y="205198"/>
                    <a:pt x="31472" y="208862"/>
                  </a:cubicBezTo>
                  <a:cubicBezTo>
                    <a:pt x="31704" y="208903"/>
                    <a:pt x="31936" y="208941"/>
                    <a:pt x="32169" y="208978"/>
                  </a:cubicBezTo>
                  <a:lnTo>
                    <a:pt x="146469" y="228028"/>
                  </a:lnTo>
                  <a:cubicBezTo>
                    <a:pt x="148542" y="228408"/>
                    <a:pt x="150646" y="228599"/>
                    <a:pt x="152755" y="228600"/>
                  </a:cubicBezTo>
                  <a:cubicBezTo>
                    <a:pt x="168664" y="228612"/>
                    <a:pt x="182906" y="218738"/>
                    <a:pt x="188474" y="203835"/>
                  </a:cubicBezTo>
                  <a:lnTo>
                    <a:pt x="211905" y="141065"/>
                  </a:lnTo>
                  <a:lnTo>
                    <a:pt x="219430" y="144399"/>
                  </a:lnTo>
                  <a:lnTo>
                    <a:pt x="219430" y="685800"/>
                  </a:lnTo>
                  <a:lnTo>
                    <a:pt x="295630" y="685800"/>
                  </a:lnTo>
                  <a:lnTo>
                    <a:pt x="295630" y="342900"/>
                  </a:lnTo>
                  <a:lnTo>
                    <a:pt x="333730" y="342900"/>
                  </a:lnTo>
                  <a:lnTo>
                    <a:pt x="333730" y="685800"/>
                  </a:lnTo>
                  <a:lnTo>
                    <a:pt x="409930" y="685800"/>
                  </a:lnTo>
                  <a:lnTo>
                    <a:pt x="409930" y="144494"/>
                  </a:lnTo>
                  <a:cubicBezTo>
                    <a:pt x="412692" y="143351"/>
                    <a:pt x="415359" y="142208"/>
                    <a:pt x="417931" y="140970"/>
                  </a:cubicBezTo>
                  <a:lnTo>
                    <a:pt x="441458" y="203835"/>
                  </a:lnTo>
                  <a:cubicBezTo>
                    <a:pt x="447014" y="218705"/>
                    <a:pt x="461207" y="228572"/>
                    <a:pt x="477081" y="228600"/>
                  </a:cubicBezTo>
                  <a:cubicBezTo>
                    <a:pt x="479190" y="228599"/>
                    <a:pt x="481294" y="228408"/>
                    <a:pt x="483368" y="228028"/>
                  </a:cubicBezTo>
                  <a:lnTo>
                    <a:pt x="597668" y="208978"/>
                  </a:lnTo>
                  <a:cubicBezTo>
                    <a:pt x="618418" y="205528"/>
                    <a:pt x="632446" y="185915"/>
                    <a:pt x="629005" y="165164"/>
                  </a:cubicBezTo>
                  <a:close/>
                </a:path>
              </a:pathLst>
            </a:custGeom>
            <a:solidFill>
              <a:srgbClr val="000000"/>
            </a:solidFill>
            <a:ln w="9525" cap="flat">
              <a:noFill/>
              <a:prstDash val="solid"/>
              <a:miter/>
            </a:ln>
          </p:spPr>
          <p:txBody>
            <a:bodyPr rtlCol="0" anchor="ctr"/>
            <a:lstStyle/>
            <a:p>
              <a:endParaRPr lang="en-US"/>
            </a:p>
          </p:txBody>
        </p:sp>
        <p:sp>
          <p:nvSpPr>
            <p:cNvPr id="50" name="Freeform: Shape 114">
              <a:extLst>
                <a:ext uri="{FF2B5EF4-FFF2-40B4-BE49-F238E27FC236}">
                  <a16:creationId xmlns:a16="http://schemas.microsoft.com/office/drawing/2014/main" id="{B6C447CE-DB63-D108-A93D-1F1F5C769F4F}"/>
                </a:ext>
              </a:extLst>
            </p:cNvPr>
            <p:cNvSpPr/>
            <p:nvPr/>
          </p:nvSpPr>
          <p:spPr>
            <a:xfrm>
              <a:off x="10821444" y="2075445"/>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62776369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0D41F-DBDB-36EF-B133-8482D9AA916F}"/>
            </a:ext>
          </a:extLst>
        </p:cNvPr>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391B0033-5F64-C802-0EB5-2A274E1074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51" name="think-cell data - do not delete" hidden="1">
                        <a:extLst>
                          <a:ext uri="{FF2B5EF4-FFF2-40B4-BE49-F238E27FC236}">
                            <a16:creationId xmlns:a16="http://schemas.microsoft.com/office/drawing/2014/main" id="{391B0033-5F64-C802-0EB5-2A274E107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063E703-C8FC-378A-CA5D-FC77D320285A}"/>
              </a:ext>
            </a:extLst>
          </p:cNvPr>
          <p:cNvSpPr>
            <a:spLocks noGrp="1"/>
          </p:cNvSpPr>
          <p:nvPr>
            <p:ph type="title"/>
          </p:nvPr>
        </p:nvSpPr>
        <p:spPr/>
        <p:txBody>
          <a:bodyPr vert="horz"/>
          <a:lstStyle/>
          <a:p>
            <a:r>
              <a:rPr lang="en-US"/>
              <a:t>Historical timeline – six </a:t>
            </a:r>
            <a:r>
              <a:rPr lang="en-US" err="1"/>
              <a:t>miletones</a:t>
            </a:r>
            <a:endParaRPr lang="en-US"/>
          </a:p>
        </p:txBody>
      </p:sp>
      <p:grpSp>
        <p:nvGrpSpPr>
          <p:cNvPr id="33" name="Graphic 79" descr="Flag">
            <a:extLst>
              <a:ext uri="{FF2B5EF4-FFF2-40B4-BE49-F238E27FC236}">
                <a16:creationId xmlns:a16="http://schemas.microsoft.com/office/drawing/2014/main" id="{8355D6CC-E2E0-E986-0189-CC1452F22015}"/>
              </a:ext>
            </a:extLst>
          </p:cNvPr>
          <p:cNvGrpSpPr>
            <a:grpSpLocks noChangeAspect="1"/>
          </p:cNvGrpSpPr>
          <p:nvPr/>
        </p:nvGrpSpPr>
        <p:grpSpPr>
          <a:xfrm flipH="1">
            <a:off x="4766266" y="3620897"/>
            <a:ext cx="611367" cy="611367"/>
            <a:chOff x="4591206" y="2957817"/>
            <a:chExt cx="914400" cy="914400"/>
          </a:xfrm>
          <a:solidFill>
            <a:schemeClr val="accent3">
              <a:lumMod val="75000"/>
            </a:schemeClr>
          </a:solidFill>
        </p:grpSpPr>
        <p:sp>
          <p:nvSpPr>
            <p:cNvPr id="34" name="Freeform: Shape 98">
              <a:extLst>
                <a:ext uri="{FF2B5EF4-FFF2-40B4-BE49-F238E27FC236}">
                  <a16:creationId xmlns:a16="http://schemas.microsoft.com/office/drawing/2014/main" id="{5E42E7FD-0E63-7E25-16A5-B8AA2AA2B2BF}"/>
                </a:ext>
              </a:extLst>
            </p:cNvPr>
            <p:cNvSpPr/>
            <p:nvPr/>
          </p:nvSpPr>
          <p:spPr>
            <a:xfrm>
              <a:off x="4781706" y="30349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5" name="Freeform: Shape 99">
              <a:extLst>
                <a:ext uri="{FF2B5EF4-FFF2-40B4-BE49-F238E27FC236}">
                  <a16:creationId xmlns:a16="http://schemas.microsoft.com/office/drawing/2014/main" id="{DB9A8C2E-0837-7BA7-97A1-DECBC9E440C2}"/>
                </a:ext>
              </a:extLst>
            </p:cNvPr>
            <p:cNvSpPr/>
            <p:nvPr/>
          </p:nvSpPr>
          <p:spPr>
            <a:xfrm>
              <a:off x="4876956" y="30330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36" name="Graphic 71" descr="Flag">
            <a:extLst>
              <a:ext uri="{FF2B5EF4-FFF2-40B4-BE49-F238E27FC236}">
                <a16:creationId xmlns:a16="http://schemas.microsoft.com/office/drawing/2014/main" id="{28829B61-C393-CB58-D2BE-FC31FFEDD745}"/>
              </a:ext>
            </a:extLst>
          </p:cNvPr>
          <p:cNvGrpSpPr>
            <a:grpSpLocks noChangeAspect="1"/>
          </p:cNvGrpSpPr>
          <p:nvPr/>
        </p:nvGrpSpPr>
        <p:grpSpPr>
          <a:xfrm flipH="1">
            <a:off x="896526" y="4421871"/>
            <a:ext cx="611367" cy="611367"/>
            <a:chOff x="400833" y="3872217"/>
            <a:chExt cx="914400" cy="914400"/>
          </a:xfrm>
          <a:solidFill>
            <a:schemeClr val="accent2"/>
          </a:solidFill>
        </p:grpSpPr>
        <p:sp>
          <p:nvSpPr>
            <p:cNvPr id="37" name="Freeform: Shape 101">
              <a:extLst>
                <a:ext uri="{FF2B5EF4-FFF2-40B4-BE49-F238E27FC236}">
                  <a16:creationId xmlns:a16="http://schemas.microsoft.com/office/drawing/2014/main" id="{73DDF7CB-BE9C-9385-DA0A-2746AE827C61}"/>
                </a:ext>
              </a:extLst>
            </p:cNvPr>
            <p:cNvSpPr/>
            <p:nvPr/>
          </p:nvSpPr>
          <p:spPr>
            <a:xfrm>
              <a:off x="591333" y="3949369"/>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38" name="Freeform: Shape 102">
              <a:extLst>
                <a:ext uri="{FF2B5EF4-FFF2-40B4-BE49-F238E27FC236}">
                  <a16:creationId xmlns:a16="http://schemas.microsoft.com/office/drawing/2014/main" id="{A8BF2B79-81B8-3304-2C44-C0F5CACBDA1E}"/>
                </a:ext>
              </a:extLst>
            </p:cNvPr>
            <p:cNvSpPr/>
            <p:nvPr/>
          </p:nvSpPr>
          <p:spPr>
            <a:xfrm>
              <a:off x="686583" y="3947464"/>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39" name="Graphic 81" descr="Flag">
            <a:extLst>
              <a:ext uri="{FF2B5EF4-FFF2-40B4-BE49-F238E27FC236}">
                <a16:creationId xmlns:a16="http://schemas.microsoft.com/office/drawing/2014/main" id="{81A5313E-BD6C-66BB-BC42-7C6C547E495D}"/>
              </a:ext>
            </a:extLst>
          </p:cNvPr>
          <p:cNvGrpSpPr>
            <a:grpSpLocks noChangeAspect="1"/>
          </p:cNvGrpSpPr>
          <p:nvPr/>
        </p:nvGrpSpPr>
        <p:grpSpPr>
          <a:xfrm flipH="1">
            <a:off x="8522611" y="2776344"/>
            <a:ext cx="611367" cy="611367"/>
            <a:chOff x="8781586" y="2045919"/>
            <a:chExt cx="914400" cy="914400"/>
          </a:xfrm>
          <a:solidFill>
            <a:schemeClr val="accent5"/>
          </a:solidFill>
        </p:grpSpPr>
        <p:sp>
          <p:nvSpPr>
            <p:cNvPr id="40" name="Freeform: Shape 104">
              <a:extLst>
                <a:ext uri="{FF2B5EF4-FFF2-40B4-BE49-F238E27FC236}">
                  <a16:creationId xmlns:a16="http://schemas.microsoft.com/office/drawing/2014/main" id="{229C700C-FCFC-2673-9E67-2B99643704FD}"/>
                </a:ext>
              </a:extLst>
            </p:cNvPr>
            <p:cNvSpPr/>
            <p:nvPr/>
          </p:nvSpPr>
          <p:spPr>
            <a:xfrm>
              <a:off x="8972086" y="2123071"/>
              <a:ext cx="57150" cy="761999"/>
            </a:xfrm>
            <a:custGeom>
              <a:avLst/>
              <a:gdLst>
                <a:gd name="connsiteX0" fmla="*/ 28575 w 57150"/>
                <a:gd name="connsiteY0" fmla="*/ 0 h 761999"/>
                <a:gd name="connsiteX1" fmla="*/ 0 w 57150"/>
                <a:gd name="connsiteY1" fmla="*/ 28575 h 761999"/>
                <a:gd name="connsiteX2" fmla="*/ 0 w 57150"/>
                <a:gd name="connsiteY2" fmla="*/ 762000 h 761999"/>
                <a:gd name="connsiteX3" fmla="*/ 57150 w 57150"/>
                <a:gd name="connsiteY3" fmla="*/ 762000 h 761999"/>
                <a:gd name="connsiteX4" fmla="*/ 57150 w 57150"/>
                <a:gd name="connsiteY4" fmla="*/ 28575 h 761999"/>
                <a:gd name="connsiteX5" fmla="*/ 28575 w 57150"/>
                <a:gd name="connsiteY5" fmla="*/ 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761999">
                  <a:moveTo>
                    <a:pt x="28575" y="0"/>
                  </a:moveTo>
                  <a:cubicBezTo>
                    <a:pt x="12382" y="0"/>
                    <a:pt x="0" y="12382"/>
                    <a:pt x="0" y="28575"/>
                  </a:cubicBezTo>
                  <a:lnTo>
                    <a:pt x="0" y="762000"/>
                  </a:lnTo>
                  <a:lnTo>
                    <a:pt x="57150" y="762000"/>
                  </a:lnTo>
                  <a:lnTo>
                    <a:pt x="57150" y="28575"/>
                  </a:lnTo>
                  <a:cubicBezTo>
                    <a:pt x="57150" y="12382"/>
                    <a:pt x="44768" y="0"/>
                    <a:pt x="28575" y="0"/>
                  </a:cubicBezTo>
                  <a:close/>
                </a:path>
              </a:pathLst>
            </a:custGeom>
            <a:grpFill/>
            <a:ln w="9525" cap="flat">
              <a:noFill/>
              <a:prstDash val="solid"/>
              <a:miter/>
            </a:ln>
          </p:spPr>
          <p:txBody>
            <a:bodyPr rtlCol="0" anchor="ctr"/>
            <a:lstStyle/>
            <a:p>
              <a:endParaRPr lang="en-US"/>
            </a:p>
          </p:txBody>
        </p:sp>
        <p:sp>
          <p:nvSpPr>
            <p:cNvPr id="41" name="Freeform: Shape 105">
              <a:extLst>
                <a:ext uri="{FF2B5EF4-FFF2-40B4-BE49-F238E27FC236}">
                  <a16:creationId xmlns:a16="http://schemas.microsoft.com/office/drawing/2014/main" id="{B53BAAA0-A788-6689-2FE7-A8A3FA7F7521}"/>
                </a:ext>
              </a:extLst>
            </p:cNvPr>
            <p:cNvSpPr/>
            <p:nvPr/>
          </p:nvSpPr>
          <p:spPr>
            <a:xfrm>
              <a:off x="9067336" y="2121166"/>
              <a:ext cx="438150" cy="342900"/>
            </a:xfrm>
            <a:custGeom>
              <a:avLst/>
              <a:gdLst>
                <a:gd name="connsiteX0" fmla="*/ 120968 w 438150"/>
                <a:gd name="connsiteY0" fmla="*/ 0 h 342900"/>
                <a:gd name="connsiteX1" fmla="*/ 0 w 438150"/>
                <a:gd name="connsiteY1" fmla="*/ 27623 h 342900"/>
                <a:gd name="connsiteX2" fmla="*/ 0 w 438150"/>
                <a:gd name="connsiteY2" fmla="*/ 342900 h 342900"/>
                <a:gd name="connsiteX3" fmla="*/ 120968 w 438150"/>
                <a:gd name="connsiteY3" fmla="*/ 315278 h 342900"/>
                <a:gd name="connsiteX4" fmla="*/ 438150 w 438150"/>
                <a:gd name="connsiteY4" fmla="*/ 317183 h 342900"/>
                <a:gd name="connsiteX5" fmla="*/ 438150 w 438150"/>
                <a:gd name="connsiteY5" fmla="*/ 1905 h 342900"/>
                <a:gd name="connsiteX6" fmla="*/ 120968 w 43815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50" h="342900">
                  <a:moveTo>
                    <a:pt x="120968" y="0"/>
                  </a:moveTo>
                  <a:cubicBezTo>
                    <a:pt x="37148" y="0"/>
                    <a:pt x="0" y="27623"/>
                    <a:pt x="0" y="27623"/>
                  </a:cubicBezTo>
                  <a:lnTo>
                    <a:pt x="0" y="342900"/>
                  </a:lnTo>
                  <a:cubicBezTo>
                    <a:pt x="0" y="342900"/>
                    <a:pt x="36195" y="315278"/>
                    <a:pt x="120968" y="315278"/>
                  </a:cubicBezTo>
                  <a:cubicBezTo>
                    <a:pt x="221933" y="315278"/>
                    <a:pt x="320993" y="370523"/>
                    <a:pt x="438150" y="317183"/>
                  </a:cubicBezTo>
                  <a:lnTo>
                    <a:pt x="438150" y="1905"/>
                  </a:lnTo>
                  <a:cubicBezTo>
                    <a:pt x="290513" y="45720"/>
                    <a:pt x="221933" y="0"/>
                    <a:pt x="120968" y="0"/>
                  </a:cubicBezTo>
                  <a:close/>
                </a:path>
              </a:pathLst>
            </a:custGeom>
            <a:grpFill/>
            <a:ln w="9525" cap="flat">
              <a:noFill/>
              <a:prstDash val="solid"/>
              <a:miter/>
            </a:ln>
          </p:spPr>
          <p:txBody>
            <a:bodyPr rtlCol="0" anchor="ctr"/>
            <a:lstStyle/>
            <a:p>
              <a:endParaRPr lang="en-US"/>
            </a:p>
          </p:txBody>
        </p:sp>
      </p:grpSp>
      <p:grpSp>
        <p:nvGrpSpPr>
          <p:cNvPr id="42" name="Graphic 77" descr="Walk">
            <a:extLst>
              <a:ext uri="{FF2B5EF4-FFF2-40B4-BE49-F238E27FC236}">
                <a16:creationId xmlns:a16="http://schemas.microsoft.com/office/drawing/2014/main" id="{C0FA8EDB-CD91-4F3D-0D14-90B5895FF69D}"/>
              </a:ext>
            </a:extLst>
          </p:cNvPr>
          <p:cNvGrpSpPr>
            <a:grpSpLocks noChangeAspect="1"/>
          </p:cNvGrpSpPr>
          <p:nvPr/>
        </p:nvGrpSpPr>
        <p:grpSpPr>
          <a:xfrm>
            <a:off x="3109020" y="4046687"/>
            <a:ext cx="356871" cy="547683"/>
            <a:chOff x="1680630" y="3919844"/>
            <a:chExt cx="533759" cy="819150"/>
          </a:xfrm>
          <a:solidFill>
            <a:srgbClr val="000000"/>
          </a:solidFill>
        </p:grpSpPr>
        <p:sp>
          <p:nvSpPr>
            <p:cNvPr id="43" name="Freeform: Shape 107">
              <a:extLst>
                <a:ext uri="{FF2B5EF4-FFF2-40B4-BE49-F238E27FC236}">
                  <a16:creationId xmlns:a16="http://schemas.microsoft.com/office/drawing/2014/main" id="{B611FCA1-2211-AF74-69DB-223FB437DC8A}"/>
                </a:ext>
              </a:extLst>
            </p:cNvPr>
            <p:cNvSpPr/>
            <p:nvPr/>
          </p:nvSpPr>
          <p:spPr>
            <a:xfrm>
              <a:off x="1919016" y="39198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4" name="Freeform: Shape 108">
              <a:extLst>
                <a:ext uri="{FF2B5EF4-FFF2-40B4-BE49-F238E27FC236}">
                  <a16:creationId xmlns:a16="http://schemas.microsoft.com/office/drawing/2014/main" id="{FCAA3BC8-0534-CE25-B8CE-44A416B5A54A}"/>
                </a:ext>
              </a:extLst>
            </p:cNvPr>
            <p:cNvSpPr/>
            <p:nvPr/>
          </p:nvSpPr>
          <p:spPr>
            <a:xfrm>
              <a:off x="1680630" y="4091294"/>
              <a:ext cx="533759" cy="647700"/>
            </a:xfrm>
            <a:custGeom>
              <a:avLst/>
              <a:gdLst>
                <a:gd name="connsiteX0" fmla="*/ 507943 w 533759"/>
                <a:gd name="connsiteY0" fmla="*/ 201930 h 647700"/>
                <a:gd name="connsiteX1" fmla="*/ 409835 w 533759"/>
                <a:gd name="connsiteY1" fmla="*/ 169545 h 647700"/>
                <a:gd name="connsiteX2" fmla="*/ 353638 w 533759"/>
                <a:gd name="connsiteY2" fmla="*/ 40005 h 647700"/>
                <a:gd name="connsiteX3" fmla="*/ 286963 w 533759"/>
                <a:gd name="connsiteY3" fmla="*/ 0 h 647700"/>
                <a:gd name="connsiteX4" fmla="*/ 254578 w 533759"/>
                <a:gd name="connsiteY4" fmla="*/ 7620 h 647700"/>
                <a:gd name="connsiteX5" fmla="*/ 121228 w 533759"/>
                <a:gd name="connsiteY5" fmla="*/ 60007 h 647700"/>
                <a:gd name="connsiteX6" fmla="*/ 100273 w 533759"/>
                <a:gd name="connsiteY6" fmla="*/ 80963 h 647700"/>
                <a:gd name="connsiteX7" fmla="*/ 52648 w 533759"/>
                <a:gd name="connsiteY7" fmla="*/ 195263 h 647700"/>
                <a:gd name="connsiteX8" fmla="*/ 73603 w 533759"/>
                <a:gd name="connsiteY8" fmla="*/ 244793 h 647700"/>
                <a:gd name="connsiteX9" fmla="*/ 87890 w 533759"/>
                <a:gd name="connsiteY9" fmla="*/ 247650 h 647700"/>
                <a:gd name="connsiteX10" fmla="*/ 123133 w 533759"/>
                <a:gd name="connsiteY10" fmla="*/ 223838 h 647700"/>
                <a:gd name="connsiteX11" fmla="*/ 162185 w 533759"/>
                <a:gd name="connsiteY11" fmla="*/ 124777 h 647700"/>
                <a:gd name="connsiteX12" fmla="*/ 202190 w 533759"/>
                <a:gd name="connsiteY12" fmla="*/ 109538 h 647700"/>
                <a:gd name="connsiteX13" fmla="*/ 136468 w 533759"/>
                <a:gd name="connsiteY13" fmla="*/ 430530 h 647700"/>
                <a:gd name="connsiteX14" fmla="*/ 8833 w 533759"/>
                <a:gd name="connsiteY14" fmla="*/ 585788 h 647700"/>
                <a:gd name="connsiteX15" fmla="*/ 13595 w 533759"/>
                <a:gd name="connsiteY15" fmla="*/ 639128 h 647700"/>
                <a:gd name="connsiteX16" fmla="*/ 37408 w 533759"/>
                <a:gd name="connsiteY16" fmla="*/ 647700 h 647700"/>
                <a:gd name="connsiteX17" fmla="*/ 66935 w 533759"/>
                <a:gd name="connsiteY17" fmla="*/ 633413 h 647700"/>
                <a:gd name="connsiteX18" fmla="*/ 200285 w 533759"/>
                <a:gd name="connsiteY18" fmla="*/ 471488 h 647700"/>
                <a:gd name="connsiteX19" fmla="*/ 207905 w 533759"/>
                <a:gd name="connsiteY19" fmla="*/ 455295 h 647700"/>
                <a:gd name="connsiteX20" fmla="*/ 230765 w 533759"/>
                <a:gd name="connsiteY20" fmla="*/ 344805 h 647700"/>
                <a:gd name="connsiteX21" fmla="*/ 333635 w 533759"/>
                <a:gd name="connsiteY21" fmla="*/ 419100 h 647700"/>
                <a:gd name="connsiteX22" fmla="*/ 333635 w 533759"/>
                <a:gd name="connsiteY22" fmla="*/ 609600 h 647700"/>
                <a:gd name="connsiteX23" fmla="*/ 371735 w 533759"/>
                <a:gd name="connsiteY23" fmla="*/ 647700 h 647700"/>
                <a:gd name="connsiteX24" fmla="*/ 409835 w 533759"/>
                <a:gd name="connsiteY24" fmla="*/ 609600 h 647700"/>
                <a:gd name="connsiteX25" fmla="*/ 409835 w 533759"/>
                <a:gd name="connsiteY25" fmla="*/ 400050 h 647700"/>
                <a:gd name="connsiteX26" fmla="*/ 394595 w 533759"/>
                <a:gd name="connsiteY26" fmla="*/ 369570 h 647700"/>
                <a:gd name="connsiteX27" fmla="*/ 302203 w 533759"/>
                <a:gd name="connsiteY27" fmla="*/ 301943 h 647700"/>
                <a:gd name="connsiteX28" fmla="*/ 327920 w 533759"/>
                <a:gd name="connsiteY28" fmla="*/ 173355 h 647700"/>
                <a:gd name="connsiteX29" fmla="*/ 346018 w 533759"/>
                <a:gd name="connsiteY29" fmla="*/ 215265 h 647700"/>
                <a:gd name="connsiteX30" fmla="*/ 368878 w 533759"/>
                <a:gd name="connsiteY30" fmla="*/ 236220 h 647700"/>
                <a:gd name="connsiteX31" fmla="*/ 483178 w 533759"/>
                <a:gd name="connsiteY31" fmla="*/ 274320 h 647700"/>
                <a:gd name="connsiteX32" fmla="*/ 495560 w 533759"/>
                <a:gd name="connsiteY32" fmla="*/ 276225 h 647700"/>
                <a:gd name="connsiteX33" fmla="*/ 531755 w 533759"/>
                <a:gd name="connsiteY33" fmla="*/ 250508 h 647700"/>
                <a:gd name="connsiteX34" fmla="*/ 507943 w 533759"/>
                <a:gd name="connsiteY34" fmla="*/ 20193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759" h="647700">
                  <a:moveTo>
                    <a:pt x="507943" y="201930"/>
                  </a:moveTo>
                  <a:lnTo>
                    <a:pt x="409835" y="169545"/>
                  </a:lnTo>
                  <a:cubicBezTo>
                    <a:pt x="409835" y="169545"/>
                    <a:pt x="355543" y="43815"/>
                    <a:pt x="353638" y="40005"/>
                  </a:cubicBezTo>
                  <a:cubicBezTo>
                    <a:pt x="340303" y="16193"/>
                    <a:pt x="315538" y="0"/>
                    <a:pt x="286963" y="0"/>
                  </a:cubicBezTo>
                  <a:cubicBezTo>
                    <a:pt x="275533" y="0"/>
                    <a:pt x="264103" y="2857"/>
                    <a:pt x="254578" y="7620"/>
                  </a:cubicBezTo>
                  <a:lnTo>
                    <a:pt x="121228" y="60007"/>
                  </a:lnTo>
                  <a:cubicBezTo>
                    <a:pt x="111703" y="63818"/>
                    <a:pt x="104083" y="71438"/>
                    <a:pt x="100273" y="80963"/>
                  </a:cubicBezTo>
                  <a:lnTo>
                    <a:pt x="52648" y="195263"/>
                  </a:lnTo>
                  <a:cubicBezTo>
                    <a:pt x="45028" y="214313"/>
                    <a:pt x="53600" y="237173"/>
                    <a:pt x="73603" y="244793"/>
                  </a:cubicBezTo>
                  <a:cubicBezTo>
                    <a:pt x="78365" y="246698"/>
                    <a:pt x="83128" y="247650"/>
                    <a:pt x="87890" y="247650"/>
                  </a:cubicBezTo>
                  <a:cubicBezTo>
                    <a:pt x="103130" y="247650"/>
                    <a:pt x="117418" y="239077"/>
                    <a:pt x="123133" y="223838"/>
                  </a:cubicBezTo>
                  <a:lnTo>
                    <a:pt x="162185" y="124777"/>
                  </a:lnTo>
                  <a:lnTo>
                    <a:pt x="202190" y="109538"/>
                  </a:lnTo>
                  <a:lnTo>
                    <a:pt x="136468" y="430530"/>
                  </a:lnTo>
                  <a:lnTo>
                    <a:pt x="8833" y="585788"/>
                  </a:lnTo>
                  <a:cubicBezTo>
                    <a:pt x="-4502" y="601980"/>
                    <a:pt x="-2597" y="625793"/>
                    <a:pt x="13595" y="639128"/>
                  </a:cubicBezTo>
                  <a:cubicBezTo>
                    <a:pt x="20263" y="644843"/>
                    <a:pt x="28835" y="647700"/>
                    <a:pt x="37408" y="647700"/>
                  </a:cubicBezTo>
                  <a:cubicBezTo>
                    <a:pt x="48838" y="647700"/>
                    <a:pt x="59315" y="642938"/>
                    <a:pt x="66935" y="633413"/>
                  </a:cubicBezTo>
                  <a:lnTo>
                    <a:pt x="200285" y="471488"/>
                  </a:lnTo>
                  <a:cubicBezTo>
                    <a:pt x="204095" y="466725"/>
                    <a:pt x="206953" y="461010"/>
                    <a:pt x="207905" y="455295"/>
                  </a:cubicBezTo>
                  <a:lnTo>
                    <a:pt x="230765" y="344805"/>
                  </a:lnTo>
                  <a:lnTo>
                    <a:pt x="333635" y="419100"/>
                  </a:lnTo>
                  <a:lnTo>
                    <a:pt x="333635" y="609600"/>
                  </a:lnTo>
                  <a:cubicBezTo>
                    <a:pt x="333635" y="630555"/>
                    <a:pt x="350780" y="647700"/>
                    <a:pt x="371735" y="647700"/>
                  </a:cubicBezTo>
                  <a:cubicBezTo>
                    <a:pt x="392690" y="647700"/>
                    <a:pt x="409835" y="630555"/>
                    <a:pt x="409835" y="609600"/>
                  </a:cubicBezTo>
                  <a:lnTo>
                    <a:pt x="409835" y="400050"/>
                  </a:lnTo>
                  <a:cubicBezTo>
                    <a:pt x="409835" y="387668"/>
                    <a:pt x="404120" y="376238"/>
                    <a:pt x="394595" y="369570"/>
                  </a:cubicBezTo>
                  <a:lnTo>
                    <a:pt x="302203" y="301943"/>
                  </a:lnTo>
                  <a:lnTo>
                    <a:pt x="327920" y="173355"/>
                  </a:lnTo>
                  <a:lnTo>
                    <a:pt x="346018" y="215265"/>
                  </a:lnTo>
                  <a:cubicBezTo>
                    <a:pt x="350780" y="224790"/>
                    <a:pt x="358400" y="232410"/>
                    <a:pt x="368878" y="236220"/>
                  </a:cubicBezTo>
                  <a:lnTo>
                    <a:pt x="483178" y="274320"/>
                  </a:lnTo>
                  <a:cubicBezTo>
                    <a:pt x="486988" y="275273"/>
                    <a:pt x="490798" y="276225"/>
                    <a:pt x="495560" y="276225"/>
                  </a:cubicBezTo>
                  <a:cubicBezTo>
                    <a:pt x="511753" y="276225"/>
                    <a:pt x="526040" y="265748"/>
                    <a:pt x="531755" y="250508"/>
                  </a:cubicBezTo>
                  <a:cubicBezTo>
                    <a:pt x="538423" y="230505"/>
                    <a:pt x="527945" y="208598"/>
                    <a:pt x="507943" y="201930"/>
                  </a:cubicBezTo>
                  <a:close/>
                </a:path>
              </a:pathLst>
            </a:custGeom>
            <a:solidFill>
              <a:srgbClr val="000000"/>
            </a:solidFill>
            <a:ln w="9525" cap="flat">
              <a:noFill/>
              <a:prstDash val="solid"/>
              <a:miter/>
            </a:ln>
          </p:spPr>
          <p:txBody>
            <a:bodyPr rtlCol="0" anchor="ctr"/>
            <a:lstStyle/>
            <a:p>
              <a:endParaRPr lang="en-US"/>
            </a:p>
          </p:txBody>
        </p:sp>
      </p:grpSp>
      <p:grpSp>
        <p:nvGrpSpPr>
          <p:cNvPr id="45" name="Graphic 75" descr="Run">
            <a:extLst>
              <a:ext uri="{FF2B5EF4-FFF2-40B4-BE49-F238E27FC236}">
                <a16:creationId xmlns:a16="http://schemas.microsoft.com/office/drawing/2014/main" id="{2FB80CD2-E85B-561D-77DD-B3CC62C3B28B}"/>
              </a:ext>
            </a:extLst>
          </p:cNvPr>
          <p:cNvGrpSpPr>
            <a:grpSpLocks noChangeAspect="1"/>
          </p:cNvGrpSpPr>
          <p:nvPr/>
        </p:nvGrpSpPr>
        <p:grpSpPr>
          <a:xfrm>
            <a:off x="6777703" y="3223811"/>
            <a:ext cx="480938" cy="547683"/>
            <a:chOff x="6002653" y="3010743"/>
            <a:chExt cx="719322" cy="819150"/>
          </a:xfrm>
          <a:solidFill>
            <a:srgbClr val="000000"/>
          </a:solidFill>
        </p:grpSpPr>
        <p:sp>
          <p:nvSpPr>
            <p:cNvPr id="46" name="Freeform: Shape 110">
              <a:extLst>
                <a:ext uri="{FF2B5EF4-FFF2-40B4-BE49-F238E27FC236}">
                  <a16:creationId xmlns:a16="http://schemas.microsoft.com/office/drawing/2014/main" id="{23163D32-2984-BEE9-9ED1-3CE4D9DF82C3}"/>
                </a:ext>
              </a:extLst>
            </p:cNvPr>
            <p:cNvSpPr/>
            <p:nvPr/>
          </p:nvSpPr>
          <p:spPr>
            <a:xfrm>
              <a:off x="6440804" y="301074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sp>
          <p:nvSpPr>
            <p:cNvPr id="47" name="Freeform: Shape 111">
              <a:extLst>
                <a:ext uri="{FF2B5EF4-FFF2-40B4-BE49-F238E27FC236}">
                  <a16:creationId xmlns:a16="http://schemas.microsoft.com/office/drawing/2014/main" id="{8D24C36F-2FD9-200C-BDF6-E5AE306F99B5}"/>
                </a:ext>
              </a:extLst>
            </p:cNvPr>
            <p:cNvSpPr/>
            <p:nvPr/>
          </p:nvSpPr>
          <p:spPr>
            <a:xfrm>
              <a:off x="6002653" y="3172668"/>
              <a:ext cx="719322" cy="657225"/>
            </a:xfrm>
            <a:custGeom>
              <a:avLst/>
              <a:gdLst>
                <a:gd name="connsiteX0" fmla="*/ 699135 w 719322"/>
                <a:gd name="connsiteY0" fmla="*/ 19050 h 657225"/>
                <a:gd name="connsiteX1" fmla="*/ 647700 w 719322"/>
                <a:gd name="connsiteY1" fmla="*/ 35243 h 657225"/>
                <a:gd name="connsiteX2" fmla="*/ 614363 w 719322"/>
                <a:gd name="connsiteY2" fmla="*/ 98107 h 657225"/>
                <a:gd name="connsiteX3" fmla="*/ 467678 w 719322"/>
                <a:gd name="connsiteY3" fmla="*/ 5715 h 657225"/>
                <a:gd name="connsiteX4" fmla="*/ 447675 w 719322"/>
                <a:gd name="connsiteY4" fmla="*/ 0 h 657225"/>
                <a:gd name="connsiteX5" fmla="*/ 285750 w 719322"/>
                <a:gd name="connsiteY5" fmla="*/ 0 h 657225"/>
                <a:gd name="connsiteX6" fmla="*/ 252413 w 719322"/>
                <a:gd name="connsiteY6" fmla="*/ 20003 h 657225"/>
                <a:gd name="connsiteX7" fmla="*/ 190500 w 719322"/>
                <a:gd name="connsiteY7" fmla="*/ 134302 h 657225"/>
                <a:gd name="connsiteX8" fmla="*/ 205740 w 719322"/>
                <a:gd name="connsiteY8" fmla="*/ 185738 h 657225"/>
                <a:gd name="connsiteX9" fmla="*/ 223838 w 719322"/>
                <a:gd name="connsiteY9" fmla="*/ 190500 h 657225"/>
                <a:gd name="connsiteX10" fmla="*/ 257175 w 719322"/>
                <a:gd name="connsiteY10" fmla="*/ 170498 h 657225"/>
                <a:gd name="connsiteX11" fmla="*/ 308610 w 719322"/>
                <a:gd name="connsiteY11" fmla="*/ 76200 h 657225"/>
                <a:gd name="connsiteX12" fmla="*/ 364808 w 719322"/>
                <a:gd name="connsiteY12" fmla="*/ 76200 h 657225"/>
                <a:gd name="connsiteX13" fmla="*/ 196215 w 719322"/>
                <a:gd name="connsiteY13" fmla="*/ 390525 h 657225"/>
                <a:gd name="connsiteX14" fmla="*/ 38100 w 719322"/>
                <a:gd name="connsiteY14" fmla="*/ 390525 h 657225"/>
                <a:gd name="connsiteX15" fmla="*/ 0 w 719322"/>
                <a:gd name="connsiteY15" fmla="*/ 428625 h 657225"/>
                <a:gd name="connsiteX16" fmla="*/ 38100 w 719322"/>
                <a:gd name="connsiteY16" fmla="*/ 466725 h 657225"/>
                <a:gd name="connsiteX17" fmla="*/ 219075 w 719322"/>
                <a:gd name="connsiteY17" fmla="*/ 466725 h 657225"/>
                <a:gd name="connsiteX18" fmla="*/ 252413 w 719322"/>
                <a:gd name="connsiteY18" fmla="*/ 446723 h 657225"/>
                <a:gd name="connsiteX19" fmla="*/ 319088 w 719322"/>
                <a:gd name="connsiteY19" fmla="*/ 323850 h 657225"/>
                <a:gd name="connsiteX20" fmla="*/ 428625 w 719322"/>
                <a:gd name="connsiteY20" fmla="*/ 425767 h 657225"/>
                <a:gd name="connsiteX21" fmla="*/ 420053 w 719322"/>
                <a:gd name="connsiteY21" fmla="*/ 617220 h 657225"/>
                <a:gd name="connsiteX22" fmla="*/ 455295 w 719322"/>
                <a:gd name="connsiteY22" fmla="*/ 657225 h 657225"/>
                <a:gd name="connsiteX23" fmla="*/ 457200 w 719322"/>
                <a:gd name="connsiteY23" fmla="*/ 657225 h 657225"/>
                <a:gd name="connsiteX24" fmla="*/ 495300 w 719322"/>
                <a:gd name="connsiteY24" fmla="*/ 621030 h 657225"/>
                <a:gd name="connsiteX25" fmla="*/ 504825 w 719322"/>
                <a:gd name="connsiteY25" fmla="*/ 411480 h 657225"/>
                <a:gd name="connsiteX26" fmla="*/ 492443 w 719322"/>
                <a:gd name="connsiteY26" fmla="*/ 381953 h 657225"/>
                <a:gd name="connsiteX27" fmla="*/ 400050 w 719322"/>
                <a:gd name="connsiteY27" fmla="*/ 296228 h 657225"/>
                <a:gd name="connsiteX28" fmla="*/ 497205 w 719322"/>
                <a:gd name="connsiteY28" fmla="*/ 115252 h 657225"/>
                <a:gd name="connsiteX29" fmla="*/ 607695 w 719322"/>
                <a:gd name="connsiteY29" fmla="*/ 184785 h 657225"/>
                <a:gd name="connsiteX30" fmla="*/ 638175 w 719322"/>
                <a:gd name="connsiteY30" fmla="*/ 189548 h 657225"/>
                <a:gd name="connsiteX31" fmla="*/ 661988 w 719322"/>
                <a:gd name="connsiteY31" fmla="*/ 170498 h 657225"/>
                <a:gd name="connsiteX32" fmla="*/ 714375 w 719322"/>
                <a:gd name="connsiteY32" fmla="*/ 70485 h 657225"/>
                <a:gd name="connsiteX33" fmla="*/ 699135 w 719322"/>
                <a:gd name="connsiteY33" fmla="*/ 1905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19322" h="657225">
                  <a:moveTo>
                    <a:pt x="699135" y="19050"/>
                  </a:moveTo>
                  <a:cubicBezTo>
                    <a:pt x="680085" y="9525"/>
                    <a:pt x="657225" y="16193"/>
                    <a:pt x="647700" y="35243"/>
                  </a:cubicBezTo>
                  <a:lnTo>
                    <a:pt x="614363" y="98107"/>
                  </a:lnTo>
                  <a:lnTo>
                    <a:pt x="467678" y="5715"/>
                  </a:lnTo>
                  <a:cubicBezTo>
                    <a:pt x="461963" y="1905"/>
                    <a:pt x="455295" y="0"/>
                    <a:pt x="447675" y="0"/>
                  </a:cubicBezTo>
                  <a:lnTo>
                    <a:pt x="285750" y="0"/>
                  </a:lnTo>
                  <a:cubicBezTo>
                    <a:pt x="271463" y="0"/>
                    <a:pt x="259080" y="7620"/>
                    <a:pt x="252413" y="20003"/>
                  </a:cubicBezTo>
                  <a:lnTo>
                    <a:pt x="190500" y="134302"/>
                  </a:lnTo>
                  <a:cubicBezTo>
                    <a:pt x="180023" y="152400"/>
                    <a:pt x="187643" y="176213"/>
                    <a:pt x="205740" y="185738"/>
                  </a:cubicBezTo>
                  <a:cubicBezTo>
                    <a:pt x="211455" y="188595"/>
                    <a:pt x="218122" y="190500"/>
                    <a:pt x="223838" y="190500"/>
                  </a:cubicBezTo>
                  <a:cubicBezTo>
                    <a:pt x="237172" y="190500"/>
                    <a:pt x="250508" y="182880"/>
                    <a:pt x="257175" y="170498"/>
                  </a:cubicBezTo>
                  <a:lnTo>
                    <a:pt x="308610" y="76200"/>
                  </a:lnTo>
                  <a:lnTo>
                    <a:pt x="364808" y="76200"/>
                  </a:lnTo>
                  <a:lnTo>
                    <a:pt x="196215" y="390525"/>
                  </a:lnTo>
                  <a:lnTo>
                    <a:pt x="38100" y="390525"/>
                  </a:lnTo>
                  <a:cubicBezTo>
                    <a:pt x="17145" y="390525"/>
                    <a:pt x="0" y="407670"/>
                    <a:pt x="0" y="428625"/>
                  </a:cubicBezTo>
                  <a:cubicBezTo>
                    <a:pt x="0" y="449580"/>
                    <a:pt x="17145" y="466725"/>
                    <a:pt x="38100" y="466725"/>
                  </a:cubicBezTo>
                  <a:lnTo>
                    <a:pt x="219075" y="466725"/>
                  </a:lnTo>
                  <a:cubicBezTo>
                    <a:pt x="233363" y="466725"/>
                    <a:pt x="245745" y="459105"/>
                    <a:pt x="252413" y="446723"/>
                  </a:cubicBezTo>
                  <a:lnTo>
                    <a:pt x="319088" y="323850"/>
                  </a:lnTo>
                  <a:lnTo>
                    <a:pt x="428625" y="425767"/>
                  </a:lnTo>
                  <a:lnTo>
                    <a:pt x="420053" y="617220"/>
                  </a:lnTo>
                  <a:cubicBezTo>
                    <a:pt x="418148" y="638175"/>
                    <a:pt x="434340" y="656273"/>
                    <a:pt x="455295" y="657225"/>
                  </a:cubicBezTo>
                  <a:cubicBezTo>
                    <a:pt x="456248" y="657225"/>
                    <a:pt x="456248" y="657225"/>
                    <a:pt x="457200" y="657225"/>
                  </a:cubicBezTo>
                  <a:cubicBezTo>
                    <a:pt x="477203" y="657225"/>
                    <a:pt x="494348" y="641033"/>
                    <a:pt x="495300" y="621030"/>
                  </a:cubicBezTo>
                  <a:lnTo>
                    <a:pt x="504825" y="411480"/>
                  </a:lnTo>
                  <a:cubicBezTo>
                    <a:pt x="505778" y="400050"/>
                    <a:pt x="501015" y="389573"/>
                    <a:pt x="492443" y="381953"/>
                  </a:cubicBezTo>
                  <a:lnTo>
                    <a:pt x="400050" y="296228"/>
                  </a:lnTo>
                  <a:lnTo>
                    <a:pt x="497205" y="115252"/>
                  </a:lnTo>
                  <a:lnTo>
                    <a:pt x="607695" y="184785"/>
                  </a:lnTo>
                  <a:cubicBezTo>
                    <a:pt x="616268" y="190500"/>
                    <a:pt x="627698" y="192405"/>
                    <a:pt x="638175" y="189548"/>
                  </a:cubicBezTo>
                  <a:cubicBezTo>
                    <a:pt x="648653" y="186690"/>
                    <a:pt x="657225" y="180023"/>
                    <a:pt x="661988" y="170498"/>
                  </a:cubicBezTo>
                  <a:lnTo>
                    <a:pt x="714375" y="70485"/>
                  </a:lnTo>
                  <a:cubicBezTo>
                    <a:pt x="724853" y="52388"/>
                    <a:pt x="718185" y="29528"/>
                    <a:pt x="699135" y="19050"/>
                  </a:cubicBezTo>
                  <a:close/>
                </a:path>
              </a:pathLst>
            </a:custGeom>
            <a:solidFill>
              <a:srgbClr val="000000"/>
            </a:solidFill>
            <a:ln w="9525" cap="flat">
              <a:noFill/>
              <a:prstDash val="solid"/>
              <a:miter/>
            </a:ln>
          </p:spPr>
          <p:txBody>
            <a:bodyPr rtlCol="0" anchor="ctr"/>
            <a:lstStyle/>
            <a:p>
              <a:endParaRPr lang="en-US"/>
            </a:p>
          </p:txBody>
        </p:sp>
      </p:grpSp>
      <p:grpSp>
        <p:nvGrpSpPr>
          <p:cNvPr id="48" name="Graphic 73" descr="Confused person">
            <a:extLst>
              <a:ext uri="{FF2B5EF4-FFF2-40B4-BE49-F238E27FC236}">
                <a16:creationId xmlns:a16="http://schemas.microsoft.com/office/drawing/2014/main" id="{BFA16EF6-DCBF-658F-B6E7-B55D843DFEDF}"/>
              </a:ext>
            </a:extLst>
          </p:cNvPr>
          <p:cNvGrpSpPr>
            <a:grpSpLocks noChangeAspect="1"/>
          </p:cNvGrpSpPr>
          <p:nvPr/>
        </p:nvGrpSpPr>
        <p:grpSpPr>
          <a:xfrm>
            <a:off x="10488576" y="2339156"/>
            <a:ext cx="611367" cy="611367"/>
            <a:chOff x="10440444" y="2046870"/>
            <a:chExt cx="914400" cy="914400"/>
          </a:xfrm>
        </p:grpSpPr>
        <p:sp>
          <p:nvSpPr>
            <p:cNvPr id="49" name="Freeform: Shape 113">
              <a:extLst>
                <a:ext uri="{FF2B5EF4-FFF2-40B4-BE49-F238E27FC236}">
                  <a16:creationId xmlns:a16="http://schemas.microsoft.com/office/drawing/2014/main" id="{0CCB4706-033E-68C9-CCCB-B9AF976ED3D2}"/>
                </a:ext>
              </a:extLst>
            </p:cNvPr>
            <p:cNvSpPr/>
            <p:nvPr/>
          </p:nvSpPr>
          <p:spPr>
            <a:xfrm>
              <a:off x="10582963" y="2246895"/>
              <a:ext cx="629524" cy="685800"/>
            </a:xfrm>
            <a:custGeom>
              <a:avLst/>
              <a:gdLst>
                <a:gd name="connsiteX0" fmla="*/ 629005 w 629524"/>
                <a:gd name="connsiteY0" fmla="*/ 165164 h 685800"/>
                <a:gd name="connsiteX1" fmla="*/ 585190 w 629524"/>
                <a:gd name="connsiteY1" fmla="*/ 133826 h 685800"/>
                <a:gd name="connsiteX2" fmla="*/ 501846 w 629524"/>
                <a:gd name="connsiteY2" fmla="*/ 147733 h 685800"/>
                <a:gd name="connsiteX3" fmla="*/ 467080 w 629524"/>
                <a:gd name="connsiteY3" fmla="*/ 54578 h 685800"/>
                <a:gd name="connsiteX4" fmla="*/ 314680 w 629524"/>
                <a:gd name="connsiteY4" fmla="*/ 0 h 685800"/>
                <a:gd name="connsiteX5" fmla="*/ 163137 w 629524"/>
                <a:gd name="connsiteY5" fmla="*/ 54578 h 685800"/>
                <a:gd name="connsiteX6" fmla="*/ 128085 w 629524"/>
                <a:gd name="connsiteY6" fmla="*/ 147733 h 685800"/>
                <a:gd name="connsiteX7" fmla="*/ 44742 w 629524"/>
                <a:gd name="connsiteY7" fmla="*/ 133826 h 685800"/>
                <a:gd name="connsiteX8" fmla="*/ 589 w 629524"/>
                <a:gd name="connsiteY8" fmla="*/ 164709 h 685800"/>
                <a:gd name="connsiteX9" fmla="*/ 31472 w 629524"/>
                <a:gd name="connsiteY9" fmla="*/ 208862 h 685800"/>
                <a:gd name="connsiteX10" fmla="*/ 32169 w 629524"/>
                <a:gd name="connsiteY10" fmla="*/ 208978 h 685800"/>
                <a:gd name="connsiteX11" fmla="*/ 146469 w 629524"/>
                <a:gd name="connsiteY11" fmla="*/ 228028 h 685800"/>
                <a:gd name="connsiteX12" fmla="*/ 152755 w 629524"/>
                <a:gd name="connsiteY12" fmla="*/ 228600 h 685800"/>
                <a:gd name="connsiteX13" fmla="*/ 188474 w 629524"/>
                <a:gd name="connsiteY13" fmla="*/ 203835 h 685800"/>
                <a:gd name="connsiteX14" fmla="*/ 211905 w 629524"/>
                <a:gd name="connsiteY14" fmla="*/ 141065 h 685800"/>
                <a:gd name="connsiteX15" fmla="*/ 219430 w 629524"/>
                <a:gd name="connsiteY15" fmla="*/ 144399 h 685800"/>
                <a:gd name="connsiteX16" fmla="*/ 219430 w 629524"/>
                <a:gd name="connsiteY16" fmla="*/ 685800 h 685800"/>
                <a:gd name="connsiteX17" fmla="*/ 295630 w 629524"/>
                <a:gd name="connsiteY17" fmla="*/ 685800 h 685800"/>
                <a:gd name="connsiteX18" fmla="*/ 295630 w 629524"/>
                <a:gd name="connsiteY18" fmla="*/ 342900 h 685800"/>
                <a:gd name="connsiteX19" fmla="*/ 333730 w 629524"/>
                <a:gd name="connsiteY19" fmla="*/ 342900 h 685800"/>
                <a:gd name="connsiteX20" fmla="*/ 333730 w 629524"/>
                <a:gd name="connsiteY20" fmla="*/ 685800 h 685800"/>
                <a:gd name="connsiteX21" fmla="*/ 409930 w 629524"/>
                <a:gd name="connsiteY21" fmla="*/ 685800 h 685800"/>
                <a:gd name="connsiteX22" fmla="*/ 409930 w 629524"/>
                <a:gd name="connsiteY22" fmla="*/ 144494 h 685800"/>
                <a:gd name="connsiteX23" fmla="*/ 417931 w 629524"/>
                <a:gd name="connsiteY23" fmla="*/ 140970 h 685800"/>
                <a:gd name="connsiteX24" fmla="*/ 441458 w 629524"/>
                <a:gd name="connsiteY24" fmla="*/ 203835 h 685800"/>
                <a:gd name="connsiteX25" fmla="*/ 477081 w 629524"/>
                <a:gd name="connsiteY25" fmla="*/ 228600 h 685800"/>
                <a:gd name="connsiteX26" fmla="*/ 483368 w 629524"/>
                <a:gd name="connsiteY26" fmla="*/ 228028 h 685800"/>
                <a:gd name="connsiteX27" fmla="*/ 597668 w 629524"/>
                <a:gd name="connsiteY27" fmla="*/ 208978 h 685800"/>
                <a:gd name="connsiteX28" fmla="*/ 629005 w 629524"/>
                <a:gd name="connsiteY28" fmla="*/ 165164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9524" h="685800">
                  <a:moveTo>
                    <a:pt x="629005" y="165164"/>
                  </a:moveTo>
                  <a:cubicBezTo>
                    <a:pt x="625554" y="144414"/>
                    <a:pt x="605941" y="130386"/>
                    <a:pt x="585190" y="133826"/>
                  </a:cubicBezTo>
                  <a:lnTo>
                    <a:pt x="501846" y="147733"/>
                  </a:lnTo>
                  <a:cubicBezTo>
                    <a:pt x="501846" y="147733"/>
                    <a:pt x="467080" y="55435"/>
                    <a:pt x="467080" y="54578"/>
                  </a:cubicBezTo>
                  <a:cubicBezTo>
                    <a:pt x="449364" y="0"/>
                    <a:pt x="373354" y="0"/>
                    <a:pt x="314680" y="0"/>
                  </a:cubicBezTo>
                  <a:cubicBezTo>
                    <a:pt x="256006" y="0"/>
                    <a:pt x="180473" y="0"/>
                    <a:pt x="163137" y="54578"/>
                  </a:cubicBezTo>
                  <a:cubicBezTo>
                    <a:pt x="163137" y="55435"/>
                    <a:pt x="128085" y="147733"/>
                    <a:pt x="128085" y="147733"/>
                  </a:cubicBezTo>
                  <a:lnTo>
                    <a:pt x="44742" y="133826"/>
                  </a:lnTo>
                  <a:cubicBezTo>
                    <a:pt x="24021" y="130162"/>
                    <a:pt x="4254" y="143988"/>
                    <a:pt x="589" y="164709"/>
                  </a:cubicBezTo>
                  <a:cubicBezTo>
                    <a:pt x="-3076" y="185430"/>
                    <a:pt x="10752" y="205198"/>
                    <a:pt x="31472" y="208862"/>
                  </a:cubicBezTo>
                  <a:cubicBezTo>
                    <a:pt x="31704" y="208903"/>
                    <a:pt x="31936" y="208941"/>
                    <a:pt x="32169" y="208978"/>
                  </a:cubicBezTo>
                  <a:lnTo>
                    <a:pt x="146469" y="228028"/>
                  </a:lnTo>
                  <a:cubicBezTo>
                    <a:pt x="148542" y="228408"/>
                    <a:pt x="150646" y="228599"/>
                    <a:pt x="152755" y="228600"/>
                  </a:cubicBezTo>
                  <a:cubicBezTo>
                    <a:pt x="168664" y="228612"/>
                    <a:pt x="182906" y="218738"/>
                    <a:pt x="188474" y="203835"/>
                  </a:cubicBezTo>
                  <a:lnTo>
                    <a:pt x="211905" y="141065"/>
                  </a:lnTo>
                  <a:lnTo>
                    <a:pt x="219430" y="144399"/>
                  </a:lnTo>
                  <a:lnTo>
                    <a:pt x="219430" y="685800"/>
                  </a:lnTo>
                  <a:lnTo>
                    <a:pt x="295630" y="685800"/>
                  </a:lnTo>
                  <a:lnTo>
                    <a:pt x="295630" y="342900"/>
                  </a:lnTo>
                  <a:lnTo>
                    <a:pt x="333730" y="342900"/>
                  </a:lnTo>
                  <a:lnTo>
                    <a:pt x="333730" y="685800"/>
                  </a:lnTo>
                  <a:lnTo>
                    <a:pt x="409930" y="685800"/>
                  </a:lnTo>
                  <a:lnTo>
                    <a:pt x="409930" y="144494"/>
                  </a:lnTo>
                  <a:cubicBezTo>
                    <a:pt x="412692" y="143351"/>
                    <a:pt x="415359" y="142208"/>
                    <a:pt x="417931" y="140970"/>
                  </a:cubicBezTo>
                  <a:lnTo>
                    <a:pt x="441458" y="203835"/>
                  </a:lnTo>
                  <a:cubicBezTo>
                    <a:pt x="447014" y="218705"/>
                    <a:pt x="461207" y="228572"/>
                    <a:pt x="477081" y="228600"/>
                  </a:cubicBezTo>
                  <a:cubicBezTo>
                    <a:pt x="479190" y="228599"/>
                    <a:pt x="481294" y="228408"/>
                    <a:pt x="483368" y="228028"/>
                  </a:cubicBezTo>
                  <a:lnTo>
                    <a:pt x="597668" y="208978"/>
                  </a:lnTo>
                  <a:cubicBezTo>
                    <a:pt x="618418" y="205528"/>
                    <a:pt x="632446" y="185915"/>
                    <a:pt x="629005" y="165164"/>
                  </a:cubicBezTo>
                  <a:close/>
                </a:path>
              </a:pathLst>
            </a:custGeom>
            <a:solidFill>
              <a:srgbClr val="000000"/>
            </a:solidFill>
            <a:ln w="9525" cap="flat">
              <a:noFill/>
              <a:prstDash val="solid"/>
              <a:miter/>
            </a:ln>
          </p:spPr>
          <p:txBody>
            <a:bodyPr rtlCol="0" anchor="ctr"/>
            <a:lstStyle/>
            <a:p>
              <a:endParaRPr lang="en-US"/>
            </a:p>
          </p:txBody>
        </p:sp>
        <p:sp>
          <p:nvSpPr>
            <p:cNvPr id="50" name="Freeform: Shape 114">
              <a:extLst>
                <a:ext uri="{FF2B5EF4-FFF2-40B4-BE49-F238E27FC236}">
                  <a16:creationId xmlns:a16="http://schemas.microsoft.com/office/drawing/2014/main" id="{21CB4F3D-FE11-8249-AAA3-168BFEAD3AA8}"/>
                </a:ext>
              </a:extLst>
            </p:cNvPr>
            <p:cNvSpPr/>
            <p:nvPr/>
          </p:nvSpPr>
          <p:spPr>
            <a:xfrm>
              <a:off x="10821444" y="2075445"/>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rgbClr val="000000"/>
            </a:solidFill>
            <a:ln w="9525" cap="flat">
              <a:noFill/>
              <a:prstDash val="solid"/>
              <a:miter/>
            </a:ln>
          </p:spPr>
          <p:txBody>
            <a:bodyPr rtlCol="0" anchor="ctr"/>
            <a:lstStyle/>
            <a:p>
              <a:endParaRPr lang="en-US"/>
            </a:p>
          </p:txBody>
        </p:sp>
      </p:grpSp>
      <p:grpSp>
        <p:nvGrpSpPr>
          <p:cNvPr id="67" name="Groupe 66">
            <a:extLst>
              <a:ext uri="{FF2B5EF4-FFF2-40B4-BE49-F238E27FC236}">
                <a16:creationId xmlns:a16="http://schemas.microsoft.com/office/drawing/2014/main" id="{C26F7BED-0859-0D07-F79C-E4A698C6265B}"/>
              </a:ext>
            </a:extLst>
          </p:cNvPr>
          <p:cNvGrpSpPr/>
          <p:nvPr/>
        </p:nvGrpSpPr>
        <p:grpSpPr>
          <a:xfrm>
            <a:off x="457591" y="1095154"/>
            <a:ext cx="11276818" cy="5274483"/>
            <a:chOff x="858032" y="1095154"/>
            <a:chExt cx="12565598" cy="5274483"/>
          </a:xfrm>
        </p:grpSpPr>
        <p:sp>
          <p:nvSpPr>
            <p:cNvPr id="3" name="Rectangle 2">
              <a:extLst>
                <a:ext uri="{FF2B5EF4-FFF2-40B4-BE49-F238E27FC236}">
                  <a16:creationId xmlns:a16="http://schemas.microsoft.com/office/drawing/2014/main" id="{EED03440-0CD5-2F3C-D1D2-8575545C210B}"/>
                </a:ext>
              </a:extLst>
            </p:cNvPr>
            <p:cNvSpPr/>
            <p:nvPr/>
          </p:nvSpPr>
          <p:spPr>
            <a:xfrm>
              <a:off x="858033" y="5284199"/>
              <a:ext cx="2095187" cy="10854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4" name="Rectangle 3">
              <a:extLst>
                <a:ext uri="{FF2B5EF4-FFF2-40B4-BE49-F238E27FC236}">
                  <a16:creationId xmlns:a16="http://schemas.microsoft.com/office/drawing/2014/main" id="{B54CECDC-8786-C130-D517-BF4DA2C2B944}"/>
                </a:ext>
              </a:extLst>
            </p:cNvPr>
            <p:cNvSpPr/>
            <p:nvPr/>
          </p:nvSpPr>
          <p:spPr>
            <a:xfrm>
              <a:off x="2953219" y="4859516"/>
              <a:ext cx="2095187" cy="151011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5" name="Rectangle 4">
              <a:extLst>
                <a:ext uri="{FF2B5EF4-FFF2-40B4-BE49-F238E27FC236}">
                  <a16:creationId xmlns:a16="http://schemas.microsoft.com/office/drawing/2014/main" id="{319AC0DD-02E0-4355-275B-79FC01BDB6B9}"/>
                </a:ext>
              </a:extLst>
            </p:cNvPr>
            <p:cNvSpPr/>
            <p:nvPr/>
          </p:nvSpPr>
          <p:spPr>
            <a:xfrm>
              <a:off x="5048406" y="4419621"/>
              <a:ext cx="2095187" cy="19500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n Ipsum</a:t>
              </a:r>
            </a:p>
          </p:txBody>
        </p:sp>
        <p:sp>
          <p:nvSpPr>
            <p:cNvPr id="6" name="Rectangle 5">
              <a:extLst>
                <a:ext uri="{FF2B5EF4-FFF2-40B4-BE49-F238E27FC236}">
                  <a16:creationId xmlns:a16="http://schemas.microsoft.com/office/drawing/2014/main" id="{F7BE4EE6-DD16-468F-7D0B-9F8173B76195}"/>
                </a:ext>
              </a:extLst>
            </p:cNvPr>
            <p:cNvSpPr/>
            <p:nvPr/>
          </p:nvSpPr>
          <p:spPr>
            <a:xfrm>
              <a:off x="7143592" y="4001894"/>
              <a:ext cx="2095187" cy="23677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8" name="Rectangle 7">
              <a:extLst>
                <a:ext uri="{FF2B5EF4-FFF2-40B4-BE49-F238E27FC236}">
                  <a16:creationId xmlns:a16="http://schemas.microsoft.com/office/drawing/2014/main" id="{87A6E905-B2FC-0600-E8DB-2384445170C3}"/>
                </a:ext>
              </a:extLst>
            </p:cNvPr>
            <p:cNvSpPr/>
            <p:nvPr/>
          </p:nvSpPr>
          <p:spPr>
            <a:xfrm>
              <a:off x="858032" y="5033458"/>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0C548C8-A0DB-113C-B6C1-ADF01DF0501B}"/>
                </a:ext>
              </a:extLst>
            </p:cNvPr>
            <p:cNvSpPr/>
            <p:nvPr/>
          </p:nvSpPr>
          <p:spPr>
            <a:xfrm>
              <a:off x="2953218" y="4617689"/>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A162256-B4AA-B593-D4B2-3EEBDC98E8C5}"/>
                </a:ext>
              </a:extLst>
            </p:cNvPr>
            <p:cNvSpPr/>
            <p:nvPr/>
          </p:nvSpPr>
          <p:spPr>
            <a:xfrm>
              <a:off x="5048405" y="4201918"/>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2463351-AB28-2C82-D718-C75373D273E2}"/>
                </a:ext>
              </a:extLst>
            </p:cNvPr>
            <p:cNvSpPr/>
            <p:nvPr/>
          </p:nvSpPr>
          <p:spPr>
            <a:xfrm>
              <a:off x="7143593" y="3786147"/>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558A029-0299-4E21-2B81-E7314CF62FF1}"/>
                </a:ext>
              </a:extLst>
            </p:cNvPr>
            <p:cNvSpPr/>
            <p:nvPr/>
          </p:nvSpPr>
          <p:spPr>
            <a:xfrm>
              <a:off x="858033"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1</a:t>
              </a:r>
            </a:p>
          </p:txBody>
        </p:sp>
        <p:sp>
          <p:nvSpPr>
            <p:cNvPr id="14" name="Rectangle 13">
              <a:extLst>
                <a:ext uri="{FF2B5EF4-FFF2-40B4-BE49-F238E27FC236}">
                  <a16:creationId xmlns:a16="http://schemas.microsoft.com/office/drawing/2014/main" id="{7FB56B6E-4E0E-6730-C05D-EFD0C1B578AB}"/>
                </a:ext>
              </a:extLst>
            </p:cNvPr>
            <p:cNvSpPr/>
            <p:nvPr/>
          </p:nvSpPr>
          <p:spPr>
            <a:xfrm>
              <a:off x="2953220"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2</a:t>
              </a:r>
            </a:p>
          </p:txBody>
        </p:sp>
        <p:sp>
          <p:nvSpPr>
            <p:cNvPr id="15" name="Rectangle 14">
              <a:extLst>
                <a:ext uri="{FF2B5EF4-FFF2-40B4-BE49-F238E27FC236}">
                  <a16:creationId xmlns:a16="http://schemas.microsoft.com/office/drawing/2014/main" id="{F6092E41-6A78-F227-7511-CD49720991B2}"/>
                </a:ext>
              </a:extLst>
            </p:cNvPr>
            <p:cNvSpPr/>
            <p:nvPr/>
          </p:nvSpPr>
          <p:spPr>
            <a:xfrm>
              <a:off x="5048407"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3</a:t>
              </a:r>
            </a:p>
          </p:txBody>
        </p:sp>
        <p:sp>
          <p:nvSpPr>
            <p:cNvPr id="16" name="Rectangle 15">
              <a:extLst>
                <a:ext uri="{FF2B5EF4-FFF2-40B4-BE49-F238E27FC236}">
                  <a16:creationId xmlns:a16="http://schemas.microsoft.com/office/drawing/2014/main" id="{930728B7-C767-D0E5-B586-8E3AD6FF8672}"/>
                </a:ext>
              </a:extLst>
            </p:cNvPr>
            <p:cNvSpPr/>
            <p:nvPr/>
          </p:nvSpPr>
          <p:spPr>
            <a:xfrm>
              <a:off x="7143593" y="5693230"/>
              <a:ext cx="2095187" cy="6764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4</a:t>
              </a:r>
            </a:p>
          </p:txBody>
        </p:sp>
        <p:grpSp>
          <p:nvGrpSpPr>
            <p:cNvPr id="18" name="Group 82">
              <a:extLst>
                <a:ext uri="{FF2B5EF4-FFF2-40B4-BE49-F238E27FC236}">
                  <a16:creationId xmlns:a16="http://schemas.microsoft.com/office/drawing/2014/main" id="{F0045495-6AEB-8F6B-17C8-DE4A61F16B09}"/>
                </a:ext>
              </a:extLst>
            </p:cNvPr>
            <p:cNvGrpSpPr/>
            <p:nvPr/>
          </p:nvGrpSpPr>
          <p:grpSpPr>
            <a:xfrm>
              <a:off x="858033" y="2795965"/>
              <a:ext cx="1575594" cy="1167042"/>
              <a:chOff x="332936" y="2689321"/>
              <a:chExt cx="2926080" cy="1167042"/>
            </a:xfrm>
          </p:grpSpPr>
          <p:sp>
            <p:nvSpPr>
              <p:cNvPr id="19" name="TextBox 83">
                <a:extLst>
                  <a:ext uri="{FF2B5EF4-FFF2-40B4-BE49-F238E27FC236}">
                    <a16:creationId xmlns:a16="http://schemas.microsoft.com/office/drawing/2014/main" id="{4219CF78-276F-3A3F-9DA5-5B57D6BF39C6}"/>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0" name="TextBox 84">
                <a:extLst>
                  <a:ext uri="{FF2B5EF4-FFF2-40B4-BE49-F238E27FC236}">
                    <a16:creationId xmlns:a16="http://schemas.microsoft.com/office/drawing/2014/main" id="{51A1F709-9B26-F386-6A75-244054D8727D}"/>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1" name="Group 85">
              <a:extLst>
                <a:ext uri="{FF2B5EF4-FFF2-40B4-BE49-F238E27FC236}">
                  <a16:creationId xmlns:a16="http://schemas.microsoft.com/office/drawing/2014/main" id="{A9FA0F02-C803-6DC9-8829-DB5B5DD1B300}"/>
                </a:ext>
              </a:extLst>
            </p:cNvPr>
            <p:cNvGrpSpPr/>
            <p:nvPr/>
          </p:nvGrpSpPr>
          <p:grpSpPr>
            <a:xfrm>
              <a:off x="2957424" y="2455802"/>
              <a:ext cx="1575594" cy="1167042"/>
              <a:chOff x="332936" y="2689321"/>
              <a:chExt cx="2926080" cy="1167042"/>
            </a:xfrm>
          </p:grpSpPr>
          <p:sp>
            <p:nvSpPr>
              <p:cNvPr id="22" name="TextBox 86">
                <a:extLst>
                  <a:ext uri="{FF2B5EF4-FFF2-40B4-BE49-F238E27FC236}">
                    <a16:creationId xmlns:a16="http://schemas.microsoft.com/office/drawing/2014/main" id="{DEDA6106-E986-B8F2-9015-1EDE7665A0A0}"/>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3" name="TextBox 87">
                <a:extLst>
                  <a:ext uri="{FF2B5EF4-FFF2-40B4-BE49-F238E27FC236}">
                    <a16:creationId xmlns:a16="http://schemas.microsoft.com/office/drawing/2014/main" id="{B1633055-4868-C646-97C4-31A926940CAE}"/>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4" name="Group 88">
              <a:extLst>
                <a:ext uri="{FF2B5EF4-FFF2-40B4-BE49-F238E27FC236}">
                  <a16:creationId xmlns:a16="http://schemas.microsoft.com/office/drawing/2014/main" id="{7DBF316A-174F-7B71-F559-4078B750B6B3}"/>
                </a:ext>
              </a:extLst>
            </p:cNvPr>
            <p:cNvGrpSpPr/>
            <p:nvPr/>
          </p:nvGrpSpPr>
          <p:grpSpPr>
            <a:xfrm>
              <a:off x="5047086" y="2115640"/>
              <a:ext cx="1575594" cy="1167042"/>
              <a:chOff x="332936" y="2689321"/>
              <a:chExt cx="2926080" cy="1167042"/>
            </a:xfrm>
          </p:grpSpPr>
          <p:sp>
            <p:nvSpPr>
              <p:cNvPr id="25" name="TextBox 89">
                <a:extLst>
                  <a:ext uri="{FF2B5EF4-FFF2-40B4-BE49-F238E27FC236}">
                    <a16:creationId xmlns:a16="http://schemas.microsoft.com/office/drawing/2014/main" id="{C6C4F7FE-8B18-809E-A644-44B01398C696}"/>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6" name="TextBox 90">
                <a:extLst>
                  <a:ext uri="{FF2B5EF4-FFF2-40B4-BE49-F238E27FC236}">
                    <a16:creationId xmlns:a16="http://schemas.microsoft.com/office/drawing/2014/main" id="{4DA589BD-A7B0-D8A5-7906-B12B5D012730}"/>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nvGrpSpPr>
            <p:cNvPr id="27" name="Group 91">
              <a:extLst>
                <a:ext uri="{FF2B5EF4-FFF2-40B4-BE49-F238E27FC236}">
                  <a16:creationId xmlns:a16="http://schemas.microsoft.com/office/drawing/2014/main" id="{C8B7AD8D-36DE-EFE6-BB0F-CAE1273D8B97}"/>
                </a:ext>
              </a:extLst>
            </p:cNvPr>
            <p:cNvGrpSpPr/>
            <p:nvPr/>
          </p:nvGrpSpPr>
          <p:grpSpPr>
            <a:xfrm>
              <a:off x="7143592" y="1775478"/>
              <a:ext cx="1575594" cy="1167042"/>
              <a:chOff x="332936" y="2689321"/>
              <a:chExt cx="2926080" cy="1167042"/>
            </a:xfrm>
          </p:grpSpPr>
          <p:sp>
            <p:nvSpPr>
              <p:cNvPr id="28" name="TextBox 92">
                <a:extLst>
                  <a:ext uri="{FF2B5EF4-FFF2-40B4-BE49-F238E27FC236}">
                    <a16:creationId xmlns:a16="http://schemas.microsoft.com/office/drawing/2014/main" id="{321112F5-D437-B2A8-DFD8-2EB788AEF86C}"/>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29" name="TextBox 93">
                <a:extLst>
                  <a:ext uri="{FF2B5EF4-FFF2-40B4-BE49-F238E27FC236}">
                    <a16:creationId xmlns:a16="http://schemas.microsoft.com/office/drawing/2014/main" id="{5FBAA8AC-E553-64E6-290C-AF91E98A0AFF}"/>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sp>
          <p:nvSpPr>
            <p:cNvPr id="7" name="Rectangle 6">
              <a:extLst>
                <a:ext uri="{FF2B5EF4-FFF2-40B4-BE49-F238E27FC236}">
                  <a16:creationId xmlns:a16="http://schemas.microsoft.com/office/drawing/2014/main" id="{97A15D65-D587-A78C-0831-EA8719DBF214}"/>
                </a:ext>
              </a:extLst>
            </p:cNvPr>
            <p:cNvSpPr/>
            <p:nvPr/>
          </p:nvSpPr>
          <p:spPr>
            <a:xfrm>
              <a:off x="9238779" y="3586126"/>
              <a:ext cx="2095187" cy="27835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12" name="Rectangle 11">
              <a:extLst>
                <a:ext uri="{FF2B5EF4-FFF2-40B4-BE49-F238E27FC236}">
                  <a16:creationId xmlns:a16="http://schemas.microsoft.com/office/drawing/2014/main" id="{17FC5D55-5999-8ABB-4511-35208A06EDFA}"/>
                </a:ext>
              </a:extLst>
            </p:cNvPr>
            <p:cNvSpPr/>
            <p:nvPr/>
          </p:nvSpPr>
          <p:spPr>
            <a:xfrm>
              <a:off x="9238780" y="3370376"/>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CC419EE-91B3-F523-0037-1AE12920FE7E}"/>
                </a:ext>
              </a:extLst>
            </p:cNvPr>
            <p:cNvSpPr/>
            <p:nvPr/>
          </p:nvSpPr>
          <p:spPr>
            <a:xfrm>
              <a:off x="9238780" y="5693230"/>
              <a:ext cx="2095187" cy="6764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5</a:t>
              </a:r>
            </a:p>
          </p:txBody>
        </p:sp>
        <p:grpSp>
          <p:nvGrpSpPr>
            <p:cNvPr id="30" name="Group 94">
              <a:extLst>
                <a:ext uri="{FF2B5EF4-FFF2-40B4-BE49-F238E27FC236}">
                  <a16:creationId xmlns:a16="http://schemas.microsoft.com/office/drawing/2014/main" id="{918CB274-8D11-96D4-3194-FE5903EF03FF}"/>
                </a:ext>
              </a:extLst>
            </p:cNvPr>
            <p:cNvGrpSpPr/>
            <p:nvPr/>
          </p:nvGrpSpPr>
          <p:grpSpPr>
            <a:xfrm>
              <a:off x="9238779" y="1435316"/>
              <a:ext cx="1575594" cy="1167042"/>
              <a:chOff x="332936" y="2689321"/>
              <a:chExt cx="2926080" cy="1167042"/>
            </a:xfrm>
          </p:grpSpPr>
          <p:sp>
            <p:nvSpPr>
              <p:cNvPr id="31" name="TextBox 95">
                <a:extLst>
                  <a:ext uri="{FF2B5EF4-FFF2-40B4-BE49-F238E27FC236}">
                    <a16:creationId xmlns:a16="http://schemas.microsoft.com/office/drawing/2014/main" id="{25F53A37-523A-9EC4-6117-BC031D618D6B}"/>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32" name="TextBox 96">
                <a:extLst>
                  <a:ext uri="{FF2B5EF4-FFF2-40B4-BE49-F238E27FC236}">
                    <a16:creationId xmlns:a16="http://schemas.microsoft.com/office/drawing/2014/main" id="{019891C7-D225-56D1-3741-C901D62EE864}"/>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sp>
          <p:nvSpPr>
            <p:cNvPr id="61" name="Rectangle 60">
              <a:extLst>
                <a:ext uri="{FF2B5EF4-FFF2-40B4-BE49-F238E27FC236}">
                  <a16:creationId xmlns:a16="http://schemas.microsoft.com/office/drawing/2014/main" id="{6E3C585C-BF9C-FBC1-571C-67CE60B5086B}"/>
                </a:ext>
              </a:extLst>
            </p:cNvPr>
            <p:cNvSpPr/>
            <p:nvPr/>
          </p:nvSpPr>
          <p:spPr>
            <a:xfrm>
              <a:off x="11328442" y="3186600"/>
              <a:ext cx="2095187" cy="3183035"/>
            </a:xfrm>
            <a:prstGeom prst="rect">
              <a:avLst/>
            </a:pr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b="1" cap="all">
                  <a:solidFill>
                    <a:schemeClr val="tx1"/>
                  </a:solidFill>
                </a:rPr>
                <a:t>Lorem Ipsum</a:t>
              </a:r>
            </a:p>
          </p:txBody>
        </p:sp>
        <p:sp>
          <p:nvSpPr>
            <p:cNvPr id="62" name="Rectangle 61">
              <a:extLst>
                <a:ext uri="{FF2B5EF4-FFF2-40B4-BE49-F238E27FC236}">
                  <a16:creationId xmlns:a16="http://schemas.microsoft.com/office/drawing/2014/main" id="{285E742B-3215-A65B-C03B-D88F2E5DC00C}"/>
                </a:ext>
              </a:extLst>
            </p:cNvPr>
            <p:cNvSpPr/>
            <p:nvPr/>
          </p:nvSpPr>
          <p:spPr>
            <a:xfrm>
              <a:off x="11328443" y="2954605"/>
              <a:ext cx="2095187" cy="250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A0DE538F-0619-3898-F617-1B4814F30646}"/>
                </a:ext>
              </a:extLst>
            </p:cNvPr>
            <p:cNvSpPr/>
            <p:nvPr/>
          </p:nvSpPr>
          <p:spPr>
            <a:xfrm>
              <a:off x="11328443" y="5693230"/>
              <a:ext cx="2095187" cy="676407"/>
            </a:xfrm>
            <a:prstGeom prst="rect">
              <a:avLst/>
            </a:prstGeom>
            <a:solidFill>
              <a:srgbClr val="6C0E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effectLst>
                    <a:outerShdw blurRad="38100" dist="38100" dir="2700000" algn="tl">
                      <a:srgbClr val="000000">
                        <a:alpha val="43137"/>
                      </a:srgbClr>
                    </a:outerShdw>
                  </a:effectLst>
                </a:rPr>
                <a:t>Year 6</a:t>
              </a:r>
            </a:p>
          </p:txBody>
        </p:sp>
        <p:grpSp>
          <p:nvGrpSpPr>
            <p:cNvPr id="64" name="Group 94">
              <a:extLst>
                <a:ext uri="{FF2B5EF4-FFF2-40B4-BE49-F238E27FC236}">
                  <a16:creationId xmlns:a16="http://schemas.microsoft.com/office/drawing/2014/main" id="{72EE12EB-824F-B909-0BDA-F7DF5DC4ECC8}"/>
                </a:ext>
              </a:extLst>
            </p:cNvPr>
            <p:cNvGrpSpPr/>
            <p:nvPr/>
          </p:nvGrpSpPr>
          <p:grpSpPr>
            <a:xfrm>
              <a:off x="11328442" y="1095154"/>
              <a:ext cx="1575594" cy="1167042"/>
              <a:chOff x="332936" y="2689321"/>
              <a:chExt cx="2926080" cy="1167042"/>
            </a:xfrm>
          </p:grpSpPr>
          <p:sp>
            <p:nvSpPr>
              <p:cNvPr id="65" name="TextBox 95">
                <a:extLst>
                  <a:ext uri="{FF2B5EF4-FFF2-40B4-BE49-F238E27FC236}">
                    <a16:creationId xmlns:a16="http://schemas.microsoft.com/office/drawing/2014/main" id="{A93E8A43-6048-9DC7-241E-087F5CB7490B}"/>
                  </a:ext>
                </a:extLst>
              </p:cNvPr>
              <p:cNvSpPr txBox="1"/>
              <p:nvPr/>
            </p:nvSpPr>
            <p:spPr>
              <a:xfrm>
                <a:off x="332936" y="2689321"/>
                <a:ext cx="2926080" cy="400110"/>
              </a:xfrm>
              <a:prstGeom prst="rect">
                <a:avLst/>
              </a:prstGeom>
              <a:noFill/>
            </p:spPr>
            <p:txBody>
              <a:bodyPr wrap="square" lIns="0" rIns="0" rtlCol="0" anchor="b">
                <a:spAutoFit/>
              </a:bodyPr>
              <a:lstStyle/>
              <a:p>
                <a:pPr algn="r"/>
                <a:r>
                  <a:rPr lang="en-US" sz="2000" b="1" noProof="1"/>
                  <a:t>Lorem Ipsum</a:t>
                </a:r>
              </a:p>
            </p:txBody>
          </p:sp>
          <p:sp>
            <p:nvSpPr>
              <p:cNvPr id="66" name="TextBox 96">
                <a:extLst>
                  <a:ext uri="{FF2B5EF4-FFF2-40B4-BE49-F238E27FC236}">
                    <a16:creationId xmlns:a16="http://schemas.microsoft.com/office/drawing/2014/main" id="{6065FB4C-72C3-049F-0B2C-9BE8161F5E41}"/>
                  </a:ext>
                </a:extLst>
              </p:cNvPr>
              <p:cNvSpPr txBox="1"/>
              <p:nvPr/>
            </p:nvSpPr>
            <p:spPr>
              <a:xfrm>
                <a:off x="332936" y="3086922"/>
                <a:ext cx="2926080" cy="769441"/>
              </a:xfrm>
              <a:prstGeom prst="rect">
                <a:avLst/>
              </a:prstGeom>
              <a:noFill/>
            </p:spPr>
            <p:txBody>
              <a:bodyPr wrap="square" lIns="0" rIns="0" rtlCol="0" anchor="t">
                <a:spAutoFit/>
              </a:bodyPr>
              <a:lstStyle/>
              <a:p>
                <a:pPr algn="just"/>
                <a:r>
                  <a:rPr lang="en-US" sz="1100" noProof="1">
                    <a:solidFill>
                      <a:schemeClr val="tx1">
                        <a:lumMod val="65000"/>
                        <a:lumOff val="35000"/>
                      </a:schemeClr>
                    </a:solidFill>
                  </a:rPr>
                  <a:t>Lorem ipsum dolor sit amet, nibh est. A magna maecenas, quam magna nec quis, lorem nunc.</a:t>
                </a:r>
              </a:p>
            </p:txBody>
          </p:sp>
        </p:grpSp>
      </p:grpSp>
    </p:spTree>
    <p:extLst>
      <p:ext uri="{BB962C8B-B14F-4D97-AF65-F5344CB8AC3E}">
        <p14:creationId xmlns:p14="http://schemas.microsoft.com/office/powerpoint/2010/main" val="3957748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8F9E55-E718-4527-BB79-B1A996DC5F77}"/>
              </a:ext>
            </a:extLst>
          </p:cNvPr>
          <p:cNvSpPr>
            <a:spLocks noRot="1" noMove="1" noResize="1" noEditPoints="1" noAdjustHandles="1" noChangeArrowheads="1" noChangeShapeType="1"/>
          </p:cNvSpPr>
          <p:nvPr>
            <p:custDataLst>
              <p:tags r:id="rId1"/>
            </p:custDataLst>
          </p:nvPr>
        </p:nvSpPr>
        <p:spPr bwMode="auto">
          <a:xfrm>
            <a:off x="2403987" y="1694313"/>
            <a:ext cx="3074400" cy="4415542"/>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Overview of functional experience]</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Specific skills / expertise / sector focus]</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Previous employers and role at Argon &amp; Co</a:t>
            </a:r>
          </a:p>
          <a:p>
            <a:pPr marL="0" marR="0" lvl="0" indent="0" algn="l" defTabSz="914400" rtl="0" eaLnBrk="0" fontAlgn="base" latinLnBrk="0" hangingPunct="0">
              <a:lnSpc>
                <a:spcPct val="100000"/>
              </a:lnSpc>
              <a:spcBef>
                <a:spcPts val="780"/>
              </a:spcBef>
              <a:spcAft>
                <a:spcPct val="0"/>
              </a:spcAft>
              <a:buClr>
                <a:srgbClr val="C1B5B8"/>
              </a:buClr>
              <a:buSzPct val="77000"/>
              <a:buFont typeface="Wingdings" pitchFamily="2" charset="2"/>
              <a:buNone/>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Guidelines </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Clear, concise content with evident expertise (points of differentiation, not generic)</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Do not specify number of years other than in decades if absolutely necessary</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For general use</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Updated every 1 – 2 years</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Font Arial 13pt, left aligne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7.8pt before, single line spacing</a:t>
            </a:r>
          </a:p>
        </p:txBody>
      </p:sp>
      <p:sp>
        <p:nvSpPr>
          <p:cNvPr id="2" name="Title 1">
            <a:extLst>
              <a:ext uri="{FF2B5EF4-FFF2-40B4-BE49-F238E27FC236}">
                <a16:creationId xmlns:a16="http://schemas.microsoft.com/office/drawing/2014/main" id="{9E9DD749-E38C-4284-B3DD-7FBC99C02380}"/>
              </a:ext>
            </a:extLst>
          </p:cNvPr>
          <p:cNvSpPr>
            <a:spLocks noGrp="1"/>
          </p:cNvSpPr>
          <p:nvPr>
            <p:ph type="title"/>
            <p:custDataLst>
              <p:tags r:id="rId2"/>
            </p:custDataLst>
          </p:nvPr>
        </p:nvSpPr>
        <p:spPr/>
        <p:txBody>
          <a:bodyPr/>
          <a:lstStyle/>
          <a:p>
            <a:r>
              <a:rPr lang="en-GB" dirty="0" err="1"/>
              <a:t>Firstname</a:t>
            </a:r>
            <a:r>
              <a:rPr lang="en-GB" dirty="0"/>
              <a:t> Surname</a:t>
            </a:r>
          </a:p>
        </p:txBody>
      </p:sp>
      <p:sp>
        <p:nvSpPr>
          <p:cNvPr id="4" name="Rectangle 3">
            <a:extLst>
              <a:ext uri="{FF2B5EF4-FFF2-40B4-BE49-F238E27FC236}">
                <a16:creationId xmlns:a16="http://schemas.microsoft.com/office/drawing/2014/main" id="{43E64272-6FB1-4D7F-99E8-6C367359790D}"/>
              </a:ext>
            </a:extLst>
          </p:cNvPr>
          <p:cNvSpPr>
            <a:spLocks noRot="1" noMove="1" noResize="1" noEditPoints="1" noAdjustHandles="1" noChangeArrowheads="1" noChangeShapeType="1"/>
          </p:cNvSpPr>
          <p:nvPr>
            <p:custDataLst>
              <p:tags r:id="rId3"/>
            </p:custDataLst>
          </p:nvPr>
        </p:nvSpPr>
        <p:spPr bwMode="auto">
          <a:xfrm>
            <a:off x="541513" y="1159948"/>
            <a:ext cx="1619999" cy="1619999"/>
          </a:xfrm>
          <a:prstGeom prst="rect">
            <a:avLst/>
          </a:prstGeom>
          <a:noFill/>
          <a:ln w="3175" cap="flat" cmpd="sng" algn="ctr">
            <a:solidFill>
              <a:schemeClr val="bg2"/>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87737B"/>
                </a:solidFill>
                <a:effectLst/>
                <a:uLnTx/>
                <a:uFillTx/>
                <a:latin typeface="Arial" charset="0"/>
                <a:ea typeface="+mn-ea"/>
                <a:cs typeface="+mn-cs"/>
              </a:rPr>
              <a:t>Insert photo</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87737B"/>
                </a:solidFill>
                <a:effectLst/>
                <a:uLnTx/>
                <a:uFillTx/>
                <a:latin typeface="Arial" charset="0"/>
                <a:ea typeface="+mn-ea"/>
                <a:cs typeface="+mn-cs"/>
              </a:rPr>
              <a:t>4.5cm x 4.5cm</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0" u="none" strike="noStrike" kern="1200" cap="none" spc="0" normalizeH="0" baseline="0" noProof="0" dirty="0">
                <a:ln>
                  <a:noFill/>
                </a:ln>
                <a:solidFill>
                  <a:srgbClr val="87737B"/>
                </a:solidFill>
                <a:effectLst/>
                <a:uLnTx/>
                <a:uFillTx/>
                <a:latin typeface="Arial" charset="0"/>
                <a:ea typeface="+mn-ea"/>
                <a:cs typeface="+mn-cs"/>
              </a:rPr>
              <a:t>Colour photo in line with brand guidelines</a:t>
            </a:r>
          </a:p>
        </p:txBody>
      </p:sp>
      <p:sp>
        <p:nvSpPr>
          <p:cNvPr id="5" name="Rectangle 4">
            <a:extLst>
              <a:ext uri="{FF2B5EF4-FFF2-40B4-BE49-F238E27FC236}">
                <a16:creationId xmlns:a16="http://schemas.microsoft.com/office/drawing/2014/main" id="{83139116-DF2D-4C89-A868-0E186B9F3F98}"/>
              </a:ext>
            </a:extLst>
          </p:cNvPr>
          <p:cNvSpPr>
            <a:spLocks noRot="1" noMove="1" noResize="1" noEditPoints="1" noAdjustHandles="1" noChangeArrowheads="1" noChangeShapeType="1"/>
          </p:cNvSpPr>
          <p:nvPr>
            <p:custDataLst>
              <p:tags r:id="rId4"/>
            </p:custDataLst>
          </p:nvPr>
        </p:nvSpPr>
        <p:spPr bwMode="auto">
          <a:xfrm>
            <a:off x="541513" y="2820912"/>
            <a:ext cx="1620000" cy="1032384"/>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spAutoFit/>
          </a:bodyPr>
          <a:lstStyle/>
          <a:p>
            <a:pPr marL="0" marR="0" lvl="0" indent="0" algn="l" defTabSz="914400" rtl="0" eaLnBrk="0" fontAlgn="base" latinLnBrk="0" hangingPunct="0">
              <a:lnSpc>
                <a:spcPct val="100000"/>
              </a:lnSpc>
              <a:spcBef>
                <a:spcPts val="0"/>
              </a:spcBef>
              <a:spcAft>
                <a:spcPct val="0"/>
              </a:spcAft>
              <a:buClr>
                <a:srgbClr val="C1B5B8"/>
              </a:buClr>
              <a:buSzPct val="77000"/>
              <a:buFont typeface="Wingdings" pitchFamily="2" charset="2"/>
              <a:buNone/>
              <a:tabLst/>
              <a:defRPr/>
            </a:pPr>
            <a:r>
              <a:rPr kumimoji="0" lang="en-GB" sz="1000" b="0" i="1" u="none" strike="noStrike" kern="1200" cap="none" spc="0" normalizeH="0" baseline="0" noProof="0" dirty="0">
                <a:ln>
                  <a:noFill/>
                </a:ln>
                <a:solidFill>
                  <a:srgbClr val="000000"/>
                </a:solidFill>
                <a:effectLst/>
                <a:uLnTx/>
                <a:uFillTx/>
                <a:latin typeface="Arial" charset="0"/>
                <a:ea typeface="+mn-ea"/>
                <a:cs typeface="+mn-cs"/>
              </a:rPr>
              <a:t>Education:</a:t>
            </a:r>
          </a:p>
          <a:p>
            <a:pPr marL="0" marR="0" lvl="0" indent="0" algn="l" defTabSz="914400" rtl="0" eaLnBrk="0" fontAlgn="base" latinLnBrk="0" hangingPunct="0">
              <a:lnSpc>
                <a:spcPct val="100000"/>
              </a:lnSpc>
              <a:spcBef>
                <a:spcPts val="0"/>
              </a:spcBef>
              <a:spcAft>
                <a:spcPct val="0"/>
              </a:spcAft>
              <a:buClr>
                <a:prstClr val="white"/>
              </a:buClr>
              <a:buSzPct val="82000"/>
              <a:buFont typeface="Wingdings" pitchFamily="2" charset="2"/>
              <a:buNone/>
              <a:tabLst/>
              <a:defRPr/>
            </a:pPr>
            <a:r>
              <a:rPr kumimoji="0" lang="en-GB" sz="1000" b="0" i="0" u="none" strike="noStrike" kern="1200" cap="none" spc="0" normalizeH="0" baseline="0" noProof="0" dirty="0">
                <a:ln>
                  <a:noFill/>
                </a:ln>
                <a:solidFill>
                  <a:srgbClr val="000000"/>
                </a:solidFill>
                <a:effectLst/>
                <a:uLnTx/>
                <a:uFillTx/>
                <a:latin typeface="Arial" charset="0"/>
                <a:ea typeface="+mn-ea"/>
                <a:cs typeface="+mn-cs"/>
              </a:rPr>
              <a:t>Details of degree</a:t>
            </a:r>
          </a:p>
          <a:p>
            <a:pPr marL="0" marR="0" lvl="0" indent="0" algn="l" defTabSz="914400" rtl="0" eaLnBrk="0" fontAlgn="base" latinLnBrk="0" hangingPunct="0">
              <a:lnSpc>
                <a:spcPct val="100000"/>
              </a:lnSpc>
              <a:spcBef>
                <a:spcPts val="0"/>
              </a:spcBef>
              <a:spcAft>
                <a:spcPct val="0"/>
              </a:spcAft>
              <a:buClr>
                <a:prstClr val="white"/>
              </a:buClr>
              <a:buSzPct val="82000"/>
              <a:buFont typeface="Wingdings" pitchFamily="2" charset="2"/>
              <a:buNone/>
              <a:tabLst/>
              <a:defRPr/>
            </a:pPr>
            <a:br>
              <a:rPr kumimoji="0" lang="en-GB" sz="1000" b="0" i="0" u="none" strike="noStrike" kern="1200" cap="none" spc="0" normalizeH="0" baseline="0" noProof="0" dirty="0">
                <a:ln>
                  <a:noFill/>
                </a:ln>
                <a:solidFill>
                  <a:srgbClr val="000000"/>
                </a:solidFill>
                <a:effectLst/>
                <a:uLnTx/>
                <a:uFillTx/>
                <a:latin typeface="Arial" charset="0"/>
                <a:ea typeface="+mn-ea"/>
                <a:cs typeface="+mn-cs"/>
              </a:rPr>
            </a:br>
            <a:r>
              <a:rPr kumimoji="0" lang="en-GB" sz="1000" b="0" i="1" u="none" strike="noStrike" kern="1200" cap="none" spc="0" normalizeH="0" baseline="0" noProof="0" dirty="0">
                <a:ln>
                  <a:noFill/>
                </a:ln>
                <a:solidFill>
                  <a:srgbClr val="000000"/>
                </a:solidFill>
                <a:effectLst/>
                <a:uLnTx/>
                <a:uFillTx/>
                <a:latin typeface="Arial" charset="0"/>
                <a:ea typeface="+mn-ea"/>
                <a:cs typeface="+mn-cs"/>
              </a:rPr>
              <a:t>Languages:</a:t>
            </a:r>
            <a:br>
              <a:rPr kumimoji="0" lang="en-GB" sz="1000" b="0" i="0" u="none" strike="noStrike" kern="1200" cap="none" spc="0" normalizeH="0" baseline="0" noProof="0" dirty="0">
                <a:ln>
                  <a:noFill/>
                </a:ln>
                <a:solidFill>
                  <a:srgbClr val="000000"/>
                </a:solidFill>
                <a:effectLst/>
                <a:uLnTx/>
                <a:uFillTx/>
                <a:latin typeface="Arial" charset="0"/>
                <a:ea typeface="+mn-ea"/>
                <a:cs typeface="+mn-cs"/>
              </a:rPr>
            </a:br>
            <a:r>
              <a:rPr kumimoji="0" lang="en-GB" sz="1000" b="0" i="0" u="none" strike="noStrike" kern="1200" cap="none" spc="0" normalizeH="0" baseline="0" noProof="0" dirty="0">
                <a:ln>
                  <a:noFill/>
                </a:ln>
                <a:solidFill>
                  <a:srgbClr val="000000"/>
                </a:solidFill>
                <a:effectLst/>
                <a:uLnTx/>
                <a:uFillTx/>
                <a:latin typeface="Arial" charset="0"/>
                <a:ea typeface="+mn-ea"/>
                <a:cs typeface="+mn-cs"/>
              </a:rPr>
              <a:t>Language 1</a:t>
            </a:r>
          </a:p>
          <a:p>
            <a:pPr marL="0" marR="0" lvl="0" indent="0" algn="l" defTabSz="914400" rtl="0" eaLnBrk="0" fontAlgn="base" latinLnBrk="0" hangingPunct="0">
              <a:lnSpc>
                <a:spcPct val="100000"/>
              </a:lnSpc>
              <a:spcBef>
                <a:spcPts val="0"/>
              </a:spcBef>
              <a:spcAft>
                <a:spcPct val="0"/>
              </a:spcAft>
              <a:buClr>
                <a:prstClr val="white"/>
              </a:buClr>
              <a:buSzPct val="82000"/>
              <a:buFont typeface="Wingdings" pitchFamily="2" charset="2"/>
              <a:buNone/>
              <a:tabLst/>
              <a:defRPr/>
            </a:pPr>
            <a:r>
              <a:rPr kumimoji="0" lang="en-GB" sz="1000" b="0" i="0" u="none" strike="noStrike" kern="1200" cap="none" spc="0" normalizeH="0" baseline="0" noProof="0" dirty="0">
                <a:ln>
                  <a:noFill/>
                </a:ln>
                <a:solidFill>
                  <a:srgbClr val="000000"/>
                </a:solidFill>
                <a:effectLst/>
                <a:uLnTx/>
                <a:uFillTx/>
                <a:latin typeface="Arial" charset="0"/>
                <a:ea typeface="+mn-ea"/>
                <a:cs typeface="+mn-cs"/>
              </a:rPr>
              <a:t>Language 2</a:t>
            </a:r>
            <a:endParaRPr kumimoji="0" lang="en-GB" sz="9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Rectangle 8">
            <a:extLst>
              <a:ext uri="{FF2B5EF4-FFF2-40B4-BE49-F238E27FC236}">
                <a16:creationId xmlns:a16="http://schemas.microsoft.com/office/drawing/2014/main" id="{ADEA097D-475E-4509-B91B-47A4042607DF}"/>
              </a:ext>
            </a:extLst>
          </p:cNvPr>
          <p:cNvSpPr>
            <a:spLocks noRot="1" noMove="1" noResize="1" noEditPoints="1" noAdjustHandles="1" noChangeArrowheads="1" noChangeShapeType="1"/>
          </p:cNvSpPr>
          <p:nvPr>
            <p:custDataLst>
              <p:tags r:id="rId5"/>
            </p:custDataLst>
          </p:nvPr>
        </p:nvSpPr>
        <p:spPr bwMode="auto">
          <a:xfrm>
            <a:off x="5714129" y="1694313"/>
            <a:ext cx="5789613" cy="4415541"/>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Client name or anonymised name] – once sentence description of work</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Client name or anonymised name] – once sentence description of work</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Client name or anonymised name] – once sentence description of work</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Client name or anonymised name] – once sentence description of work</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0" u="none" strike="noStrike" kern="1200" cap="none" spc="0" normalizeH="0" baseline="0" noProof="0" dirty="0">
                <a:ln>
                  <a:noFill/>
                </a:ln>
                <a:solidFill>
                  <a:srgbClr val="000000"/>
                </a:solidFill>
                <a:effectLst/>
                <a:uLnTx/>
                <a:uFillTx/>
                <a:latin typeface="Arial" charset="0"/>
                <a:ea typeface="+mn-ea"/>
                <a:cs typeface="+mn-cs"/>
              </a:rPr>
              <a:t>[Client name or anonymised name] – once sentence description of work</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Guidelines </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Clear, concise description of project</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Font Arial 13pt, left aligned</a:t>
            </a:r>
          </a:p>
          <a:p>
            <a:pPr marL="179388" marR="0" lvl="0" indent="-179388" algn="l" defTabSz="914400" rtl="0" eaLnBrk="0" fontAlgn="base" latinLnBrk="0" hangingPunct="0">
              <a:lnSpc>
                <a:spcPct val="100000"/>
              </a:lnSpc>
              <a:spcBef>
                <a:spcPct val="50000"/>
              </a:spcBef>
              <a:spcAft>
                <a:spcPct val="0"/>
              </a:spcAft>
              <a:buClr>
                <a:srgbClr val="C1B5B8"/>
              </a:buClr>
              <a:buSzPct val="77000"/>
              <a:buFont typeface="Wingdings 3" panose="05040102010807070707" pitchFamily="18" charset="2"/>
              <a:buChar char=""/>
              <a:tabLst/>
              <a:defRPr/>
            </a:pPr>
            <a:r>
              <a:rPr kumimoji="0" lang="en-GB" sz="1300" b="0" i="1" u="none" strike="noStrike" kern="1200" cap="none" spc="0" normalizeH="0" baseline="0" noProof="0" dirty="0">
                <a:ln>
                  <a:noFill/>
                </a:ln>
                <a:solidFill>
                  <a:srgbClr val="87737B"/>
                </a:solidFill>
                <a:effectLst/>
                <a:uLnTx/>
                <a:uFillTx/>
                <a:latin typeface="Arial" charset="0"/>
                <a:ea typeface="+mn-ea"/>
                <a:cs typeface="+mn-cs"/>
              </a:rPr>
              <a:t>7.8pt before, single line spacing</a:t>
            </a:r>
          </a:p>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endParaRPr kumimoji="0" lang="en-GB" sz="1300" b="0" i="1" u="none" strike="noStrike" kern="1200" cap="none" spc="0" normalizeH="0" baseline="0" noProof="0" dirty="0">
              <a:ln>
                <a:noFill/>
              </a:ln>
              <a:solidFill>
                <a:srgbClr val="87737B"/>
              </a:solidFill>
              <a:effectLst/>
              <a:uLnTx/>
              <a:uFillTx/>
              <a:latin typeface="Arial" charset="0"/>
              <a:ea typeface="+mn-ea"/>
              <a:cs typeface="+mn-cs"/>
            </a:endParaRPr>
          </a:p>
        </p:txBody>
      </p:sp>
      <p:sp>
        <p:nvSpPr>
          <p:cNvPr id="11" name="Rectangle 10">
            <a:extLst>
              <a:ext uri="{FF2B5EF4-FFF2-40B4-BE49-F238E27FC236}">
                <a16:creationId xmlns:a16="http://schemas.microsoft.com/office/drawing/2014/main" id="{3F217205-B7FF-4C36-9440-2A8CB99AA4BB}"/>
              </a:ext>
            </a:extLst>
          </p:cNvPr>
          <p:cNvSpPr>
            <a:spLocks noRot="1" noMove="1" noResize="1" noEditPoints="1" noAdjustHandles="1" noChangeArrowheads="1" noChangeShapeType="1" noTextEdit="1"/>
          </p:cNvSpPr>
          <p:nvPr>
            <p:custDataLst>
              <p:tags r:id="rId6"/>
            </p:custDataLst>
          </p:nvPr>
        </p:nvSpPr>
        <p:spPr bwMode="auto">
          <a:xfrm>
            <a:off x="5714129" y="1159918"/>
            <a:ext cx="5789613" cy="538604"/>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1" i="0" u="none" strike="noStrike" kern="1200" cap="none" spc="0" normalizeH="0" baseline="0" noProof="0" dirty="0">
                <a:ln>
                  <a:noFill/>
                </a:ln>
                <a:solidFill>
                  <a:prstClr val="white"/>
                </a:solidFill>
                <a:effectLst/>
                <a:uLnTx/>
                <a:uFillTx/>
                <a:latin typeface="Arial" charset="0"/>
                <a:ea typeface="+mn-ea"/>
                <a:cs typeface="+mn-cs"/>
              </a:rPr>
              <a:t>Selected experience</a:t>
            </a:r>
          </a:p>
        </p:txBody>
      </p:sp>
      <p:sp>
        <p:nvSpPr>
          <p:cNvPr id="12" name="Rectangle 11">
            <a:extLst>
              <a:ext uri="{FF2B5EF4-FFF2-40B4-BE49-F238E27FC236}">
                <a16:creationId xmlns:a16="http://schemas.microsoft.com/office/drawing/2014/main" id="{5040510B-4CFD-4C66-A2EE-AF87A2646D4A}"/>
              </a:ext>
            </a:extLst>
          </p:cNvPr>
          <p:cNvSpPr>
            <a:spLocks noRot="1" noMove="1" noResize="1" noEditPoints="1" noAdjustHandles="1" noChangeArrowheads="1" noChangeShapeType="1" noTextEdit="1"/>
          </p:cNvSpPr>
          <p:nvPr>
            <p:custDataLst>
              <p:tags r:id="rId7"/>
            </p:custDataLst>
          </p:nvPr>
        </p:nvSpPr>
        <p:spPr bwMode="auto">
          <a:xfrm>
            <a:off x="2403987" y="1160436"/>
            <a:ext cx="3074400" cy="533877"/>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
                <a:srgbClr val="C1B5B8"/>
              </a:buClr>
              <a:buSzPct val="77000"/>
              <a:buFont typeface="Wingdings" pitchFamily="2" charset="2"/>
              <a:buNone/>
              <a:tabLst/>
              <a:defRPr/>
            </a:pPr>
            <a:r>
              <a:rPr kumimoji="0" lang="en-GB" sz="1300" b="1" i="0" u="none" strike="noStrike" kern="1200" cap="none" spc="0" normalizeH="0" baseline="0" noProof="0" dirty="0">
                <a:ln>
                  <a:noFill/>
                </a:ln>
                <a:solidFill>
                  <a:prstClr val="white"/>
                </a:solidFill>
                <a:effectLst/>
                <a:uLnTx/>
                <a:uFillTx/>
                <a:latin typeface="Arial" charset="0"/>
                <a:ea typeface="+mn-ea"/>
                <a:cs typeface="+mn-cs"/>
              </a:rPr>
              <a:t>Roles and expertise</a:t>
            </a:r>
          </a:p>
        </p:txBody>
      </p:sp>
    </p:spTree>
    <p:extLst>
      <p:ext uri="{BB962C8B-B14F-4D97-AF65-F5344CB8AC3E}">
        <p14:creationId xmlns:p14="http://schemas.microsoft.com/office/powerpoint/2010/main" val="2918465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4779628-E0AF-4DB7-9023-C2B439763F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6" progId="TCLayout.ActiveDocument.1">
                  <p:embed/>
                </p:oleObj>
              </mc:Choice>
              <mc:Fallback>
                <p:oleObj name="Diapositive think-cell" r:id="rId5" imgW="473" imgH="476" progId="TCLayout.ActiveDocument.1">
                  <p:embed/>
                  <p:pic>
                    <p:nvPicPr>
                      <p:cNvPr id="6" name="Objet 5" hidden="1">
                        <a:extLst>
                          <a:ext uri="{FF2B5EF4-FFF2-40B4-BE49-F238E27FC236}">
                            <a16:creationId xmlns:a16="http://schemas.microsoft.com/office/drawing/2014/main" id="{24779628-E0AF-4DB7-9023-C2B439763F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2D62DB-6D9E-4A1A-A2E7-20543EFBEB42}"/>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DC48D67-EC1F-4509-8CBF-F94EE747C863}"/>
              </a:ext>
            </a:extLst>
          </p:cNvPr>
          <p:cNvSpPr>
            <a:spLocks noGrp="1"/>
          </p:cNvSpPr>
          <p:nvPr>
            <p:ph type="title"/>
          </p:nvPr>
        </p:nvSpPr>
        <p:spPr/>
        <p:txBody>
          <a:bodyPr/>
          <a:lstStyle/>
          <a:p>
            <a:r>
              <a:rPr lang="en-GB">
                <a:solidFill>
                  <a:srgbClr val="B40646"/>
                </a:solidFill>
              </a:rPr>
              <a:t>Comments </a:t>
            </a:r>
            <a:endParaRPr lang="en-GB" dirty="0">
              <a:solidFill>
                <a:srgbClr val="B40646"/>
              </a:solidFill>
            </a:endParaRPr>
          </a:p>
        </p:txBody>
      </p:sp>
      <p:sp>
        <p:nvSpPr>
          <p:cNvPr id="3" name="Content Placeholder 2">
            <a:extLst>
              <a:ext uri="{FF2B5EF4-FFF2-40B4-BE49-F238E27FC236}">
                <a16:creationId xmlns:a16="http://schemas.microsoft.com/office/drawing/2014/main" id="{0A19FE6F-BA1A-482A-929D-0E1BE1707966}"/>
              </a:ext>
            </a:extLst>
          </p:cNvPr>
          <p:cNvSpPr>
            <a:spLocks noGrp="1"/>
          </p:cNvSpPr>
          <p:nvPr>
            <p:ph idx="1"/>
          </p:nvPr>
        </p:nvSpPr>
        <p:spPr>
          <a:xfrm>
            <a:off x="432000" y="1162800"/>
            <a:ext cx="5347938" cy="4659463"/>
          </a:xfrm>
        </p:spPr>
        <p:txBody>
          <a:bodyPr/>
          <a:lstStyle/>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We do not use underlining and lines on colour blocks very much as all you see is lines, rather than focusing on the content</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Icons should be used judiciously where they emphasise the point or are part of the message. Otherwise they detract from what the slide is trying to say</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The current version also assumes that we have all the icons in white too – which we do not, and one colour – which we do not. They are either in black or grey and cranberry</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We also do not use significant amounts of bold text – it is quite old fashioned to do so</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We only use the top line colours and the other standard Argon &amp; Co colours for shape fill</a:t>
            </a:r>
            <a:endParaRPr lang="en-GB" sz="1600" dirty="0">
              <a:solidFill>
                <a:srgbClr val="000000"/>
              </a:solidFill>
            </a:endParaRPr>
          </a:p>
        </p:txBody>
      </p:sp>
      <p:sp>
        <p:nvSpPr>
          <p:cNvPr id="4" name="Content Placeholder 3">
            <a:extLst>
              <a:ext uri="{FF2B5EF4-FFF2-40B4-BE49-F238E27FC236}">
                <a16:creationId xmlns:a16="http://schemas.microsoft.com/office/drawing/2014/main" id="{A8CB06F1-F102-43AA-AB47-CCF2FBB81792}"/>
              </a:ext>
            </a:extLst>
          </p:cNvPr>
          <p:cNvSpPr>
            <a:spLocks noGrp="1"/>
          </p:cNvSpPr>
          <p:nvPr>
            <p:ph sz="half" idx="4294967295"/>
          </p:nvPr>
        </p:nvSpPr>
        <p:spPr>
          <a:xfrm>
            <a:off x="6426000" y="1162800"/>
            <a:ext cx="5347938" cy="4946721"/>
          </a:xfrm>
        </p:spPr>
        <p:txBody>
          <a:bodyPr/>
          <a:lstStyle/>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We wouldn’t normally put text boxes on top of shapes, we would normally put the text in the shape so you aren’t continually realigning them</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We would normally use a table to create a scenario summary of outputs rather than individual boxes</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Colours – we must use minimal colours on a page unless for highlighting – typically black, white and one other colour (usually cranberry), with other colours being used sparingly to draw attention to the key message, if necessary</a:t>
            </a:r>
          </a:p>
          <a:p>
            <a:pPr marL="342900" indent="-342900">
              <a:spcAft>
                <a:spcPts val="1200"/>
              </a:spcAft>
              <a:buClr>
                <a:srgbClr val="B40646"/>
              </a:buClr>
              <a:buSzPct val="82000"/>
              <a:buFont typeface="Wingdings 3" panose="05040102010807070707" pitchFamily="18" charset="2"/>
              <a:buChar char=""/>
            </a:pPr>
            <a:r>
              <a:rPr lang="en-GB" sz="1600">
                <a:solidFill>
                  <a:srgbClr val="000000"/>
                </a:solidFill>
              </a:rPr>
              <a:t>The new 16:9 format requires a different way of thinking about slide layouts, with two columns being the default rather than long lines of text that would be difficult to read. Similarly, graphics and text work better if the text is to the side of the graphic not above and/or below. This needs to be ingrained in the training of the template to staff</a:t>
            </a:r>
            <a:endParaRPr lang="en-GB" sz="1600" dirty="0">
              <a:solidFill>
                <a:srgbClr val="000000"/>
              </a:solidFill>
            </a:endParaRPr>
          </a:p>
        </p:txBody>
      </p:sp>
    </p:spTree>
    <p:extLst>
      <p:ext uri="{BB962C8B-B14F-4D97-AF65-F5344CB8AC3E}">
        <p14:creationId xmlns:p14="http://schemas.microsoft.com/office/powerpoint/2010/main" val="2763071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D24AB2A0-909B-4344-BFD2-7D1C63D0B9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473" imgH="476" progId="TCLayout.ActiveDocument.1">
                  <p:embed/>
                </p:oleObj>
              </mc:Choice>
              <mc:Fallback>
                <p:oleObj name="Diapositive think-cell" r:id="rId18" imgW="473" imgH="476" progId="TCLayout.ActiveDocument.1">
                  <p:embed/>
                  <p:pic>
                    <p:nvPicPr>
                      <p:cNvPr id="15" name="Objet 14" hidden="1">
                        <a:extLst>
                          <a:ext uri="{FF2B5EF4-FFF2-40B4-BE49-F238E27FC236}">
                            <a16:creationId xmlns:a16="http://schemas.microsoft.com/office/drawing/2014/main" id="{D24AB2A0-909B-4344-BFD2-7D1C63D0B93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C9DE90B-853F-45A3-BD17-9B6C969006C6}"/>
              </a:ext>
            </a:extLst>
          </p:cNvPr>
          <p:cNvSpPr/>
          <p:nvPr>
            <p:custDataLst>
              <p:tags r:id="rId2"/>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3BCED2C-E227-4FAB-8226-F36302C9B34D}"/>
              </a:ext>
            </a:extLst>
          </p:cNvPr>
          <p:cNvSpPr>
            <a:spLocks noGrp="1"/>
          </p:cNvSpPr>
          <p:nvPr>
            <p:ph type="title"/>
          </p:nvPr>
        </p:nvSpPr>
        <p:spPr/>
        <p:txBody>
          <a:bodyPr/>
          <a:lstStyle/>
          <a:p>
            <a:r>
              <a:rPr lang="en-GB" dirty="0"/>
              <a:t>Four person team with key message (delete textbox and centre if not needed)</a:t>
            </a:r>
          </a:p>
        </p:txBody>
      </p:sp>
      <p:sp>
        <p:nvSpPr>
          <p:cNvPr id="13" name="Content Placeholder 12">
            <a:extLst>
              <a:ext uri="{FF2B5EF4-FFF2-40B4-BE49-F238E27FC236}">
                <a16:creationId xmlns:a16="http://schemas.microsoft.com/office/drawing/2014/main" id="{A4E0ED09-4A5B-42C9-A6BF-1F1876B97848}"/>
              </a:ext>
            </a:extLst>
          </p:cNvPr>
          <p:cNvSpPr>
            <a:spLocks noGrp="1"/>
          </p:cNvSpPr>
          <p:nvPr>
            <p:ph idx="1"/>
            <p:custDataLst>
              <p:tags r:id="rId3"/>
            </p:custDataLst>
          </p:nvPr>
        </p:nvSpPr>
        <p:spPr>
          <a:xfrm>
            <a:off x="432000" y="1309062"/>
            <a:ext cx="3118589" cy="1735585"/>
          </a:xfrm>
        </p:spPr>
        <p:txBody>
          <a:bodyPr/>
          <a:lstStyle/>
          <a:p>
            <a:r>
              <a:rPr lang="en-GB" dirty="0">
                <a:latin typeface="+mn-lt"/>
              </a:rPr>
              <a:t>Key message goes here</a:t>
            </a:r>
          </a:p>
          <a:p>
            <a:r>
              <a:rPr lang="en-GB" dirty="0">
                <a:latin typeface="+mn-lt"/>
              </a:rPr>
              <a:t>This can include why this is the ideal team for this particular project etc</a:t>
            </a:r>
          </a:p>
          <a:p>
            <a:r>
              <a:rPr lang="en-GB" dirty="0">
                <a:latin typeface="+mn-lt"/>
              </a:rPr>
              <a:t>Font size 18</a:t>
            </a:r>
          </a:p>
        </p:txBody>
      </p:sp>
      <p:sp>
        <p:nvSpPr>
          <p:cNvPr id="5" name="Rectangle 19">
            <a:extLst>
              <a:ext uri="{FF2B5EF4-FFF2-40B4-BE49-F238E27FC236}">
                <a16:creationId xmlns:a16="http://schemas.microsoft.com/office/drawing/2014/main" id="{D1F3F097-1348-4C0E-9A9A-2EE3A8876D01}"/>
              </a:ext>
            </a:extLst>
          </p:cNvPr>
          <p:cNvSpPr>
            <a:spLocks noRot="1" noMove="1" noResize="1" noEditPoints="1" noAdjustHandles="1" noChangeArrowheads="1" noChangeShapeType="1"/>
          </p:cNvSpPr>
          <p:nvPr>
            <p:custDataLst>
              <p:tags r:id="rId4"/>
            </p:custDataLst>
          </p:nvPr>
        </p:nvSpPr>
        <p:spPr bwMode="auto">
          <a:xfrm>
            <a:off x="4818477" y="1309062"/>
            <a:ext cx="2507445" cy="2224800"/>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the project</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Font size 10.5</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Line spacing 2.64pt before, 6pt after, single</a:t>
            </a:r>
          </a:p>
          <a:p>
            <a:pPr eaLnBrk="1" hangingPunct="1">
              <a:spcBef>
                <a:spcPts val="400"/>
              </a:spcBef>
              <a:spcAft>
                <a:spcPts val="400"/>
              </a:spcAft>
              <a:buClrTx/>
              <a:buFontTx/>
              <a:buChar char="•"/>
            </a:pPr>
            <a:endParaRPr lang="en-GB" altLang="en-US" sz="1100" dirty="0">
              <a:solidFill>
                <a:schemeClr val="accent2"/>
              </a:solidFill>
              <a:latin typeface="+mn-lt"/>
            </a:endParaRPr>
          </a:p>
        </p:txBody>
      </p:sp>
      <p:sp>
        <p:nvSpPr>
          <p:cNvPr id="8" name="Rectangle 16">
            <a:extLst>
              <a:ext uri="{FF2B5EF4-FFF2-40B4-BE49-F238E27FC236}">
                <a16:creationId xmlns:a16="http://schemas.microsoft.com/office/drawing/2014/main" id="{91BB5094-E204-4491-A700-FC1B27BEE908}"/>
              </a:ext>
            </a:extLst>
          </p:cNvPr>
          <p:cNvSpPr>
            <a:spLocks noRot="1" noMove="1" noResize="1" noEditPoints="1" noAdjustHandles="1" noChangeArrowheads="1" noChangeShapeType="1"/>
          </p:cNvSpPr>
          <p:nvPr>
            <p:custDataLst>
              <p:tags r:id="rId5"/>
            </p:custDataLst>
          </p:nvPr>
        </p:nvSpPr>
        <p:spPr bwMode="auto">
          <a:xfrm>
            <a:off x="3704336" y="2423224"/>
            <a:ext cx="1112400" cy="111063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1200">
                <a:solidFill>
                  <a:schemeClr val="bg1"/>
                </a:solidFill>
                <a:latin typeface="+mn-lt"/>
              </a:rPr>
              <a:t>Firstname</a:t>
            </a:r>
            <a:br>
              <a:rPr lang="en-GB" altLang="en-US" sz="1200">
                <a:solidFill>
                  <a:schemeClr val="bg1"/>
                </a:solidFill>
                <a:latin typeface="+mn-lt"/>
              </a:rPr>
            </a:br>
            <a:r>
              <a:rPr lang="en-GB" altLang="en-US" sz="1200">
                <a:solidFill>
                  <a:schemeClr val="bg1"/>
                </a:solidFill>
                <a:latin typeface="+mn-lt"/>
              </a:rPr>
              <a:t>Lastname</a:t>
            </a:r>
            <a:endParaRPr lang="en-GB" altLang="en-US" sz="1200" dirty="0">
              <a:solidFill>
                <a:schemeClr val="bg1"/>
              </a:solidFill>
              <a:latin typeface="+mn-lt"/>
            </a:endParaRPr>
          </a:p>
        </p:txBody>
      </p:sp>
      <p:sp>
        <p:nvSpPr>
          <p:cNvPr id="6" name="Rectangle 19-2">
            <a:extLst>
              <a:ext uri="{FF2B5EF4-FFF2-40B4-BE49-F238E27FC236}">
                <a16:creationId xmlns:a16="http://schemas.microsoft.com/office/drawing/2014/main" id="{1677D02F-25E3-4467-B622-8197741B4F9E}"/>
              </a:ext>
            </a:extLst>
          </p:cNvPr>
          <p:cNvSpPr>
            <a:spLocks noRot="1" noMove="1" noResize="1" noEditPoints="1" noAdjustHandles="1" noChangeArrowheads="1" noChangeShapeType="1"/>
          </p:cNvSpPr>
          <p:nvPr>
            <p:custDataLst>
              <p:tags r:id="rId6"/>
            </p:custDataLst>
          </p:nvPr>
        </p:nvSpPr>
        <p:spPr bwMode="auto">
          <a:xfrm>
            <a:off x="8729649" y="1309062"/>
            <a:ext cx="2507445" cy="2224800"/>
          </a:xfrm>
          <a:prstGeom prst="rect">
            <a:avLst/>
          </a:prstGeom>
          <a:solidFill>
            <a:schemeClr val="bg2"/>
          </a:solidFill>
          <a:ln>
            <a:noFill/>
          </a:ln>
        </p:spPr>
        <p:txBody>
          <a:bodyPr lIns="108000" tIns="108000" rIns="72000" bIns="72000"/>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the project</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Font size 10.5</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Line spacing 2.64pt before, 6pt after, single</a:t>
            </a:r>
          </a:p>
        </p:txBody>
      </p:sp>
      <p:sp>
        <p:nvSpPr>
          <p:cNvPr id="9" name="Rectangle 16-2">
            <a:extLst>
              <a:ext uri="{FF2B5EF4-FFF2-40B4-BE49-F238E27FC236}">
                <a16:creationId xmlns:a16="http://schemas.microsoft.com/office/drawing/2014/main" id="{C2DAF271-12F6-4AB5-AF74-18190239D761}"/>
              </a:ext>
            </a:extLst>
          </p:cNvPr>
          <p:cNvSpPr>
            <a:spLocks noRot="1" noMove="1" noResize="1" noEditPoints="1" noAdjustHandles="1" noChangeArrowheads="1" noChangeShapeType="1"/>
          </p:cNvSpPr>
          <p:nvPr>
            <p:custDataLst>
              <p:tags r:id="rId7"/>
            </p:custDataLst>
          </p:nvPr>
        </p:nvSpPr>
        <p:spPr bwMode="auto">
          <a:xfrm>
            <a:off x="7617249" y="2423224"/>
            <a:ext cx="1112400" cy="111063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1200">
                <a:solidFill>
                  <a:schemeClr val="bg1"/>
                </a:solidFill>
                <a:latin typeface="+mn-lt"/>
              </a:rPr>
              <a:t>Firstname</a:t>
            </a:r>
            <a:br>
              <a:rPr lang="en-GB" altLang="en-US" sz="1200">
                <a:solidFill>
                  <a:schemeClr val="bg1"/>
                </a:solidFill>
                <a:latin typeface="+mn-lt"/>
              </a:rPr>
            </a:br>
            <a:r>
              <a:rPr lang="en-GB" altLang="en-US" sz="1200">
                <a:solidFill>
                  <a:schemeClr val="bg1"/>
                </a:solidFill>
                <a:latin typeface="+mn-lt"/>
              </a:rPr>
              <a:t>Lastname</a:t>
            </a:r>
            <a:endParaRPr lang="en-GB" altLang="en-US" sz="1200" dirty="0">
              <a:solidFill>
                <a:schemeClr val="bg1"/>
              </a:solidFill>
              <a:latin typeface="+mn-lt"/>
            </a:endParaRPr>
          </a:p>
        </p:txBody>
      </p:sp>
      <p:sp>
        <p:nvSpPr>
          <p:cNvPr id="11" name="Rectangle 19-4">
            <a:extLst>
              <a:ext uri="{FF2B5EF4-FFF2-40B4-BE49-F238E27FC236}">
                <a16:creationId xmlns:a16="http://schemas.microsoft.com/office/drawing/2014/main" id="{35C6B34F-AB3D-44D3-B27B-DEB338833C19}"/>
              </a:ext>
            </a:extLst>
          </p:cNvPr>
          <p:cNvSpPr>
            <a:spLocks noRot="1" noMove="1" noResize="1" noEditPoints="1" noAdjustHandles="1" noChangeArrowheads="1" noChangeShapeType="1"/>
          </p:cNvSpPr>
          <p:nvPr>
            <p:custDataLst>
              <p:tags r:id="rId8"/>
            </p:custDataLst>
          </p:nvPr>
        </p:nvSpPr>
        <p:spPr bwMode="auto">
          <a:xfrm>
            <a:off x="8729888" y="3791896"/>
            <a:ext cx="2507445" cy="2224800"/>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the project</a:t>
            </a:r>
          </a:p>
          <a:p>
            <a:pPr marL="228600" lvl="1" indent="-2286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Font size 10.5</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Line spacing 2.64pt before, 6pt after, single</a:t>
            </a:r>
          </a:p>
        </p:txBody>
      </p:sp>
      <p:sp>
        <p:nvSpPr>
          <p:cNvPr id="12" name="Rectangle 11">
            <a:extLst>
              <a:ext uri="{FF2B5EF4-FFF2-40B4-BE49-F238E27FC236}">
                <a16:creationId xmlns:a16="http://schemas.microsoft.com/office/drawing/2014/main" id="{01265545-8251-4575-8356-96F64336B60D}"/>
              </a:ext>
            </a:extLst>
          </p:cNvPr>
          <p:cNvSpPr>
            <a:spLocks noRot="1" noMove="1" noResize="1" noEditPoints="1" noAdjustHandles="1" noChangeArrowheads="1" noChangeShapeType="1"/>
          </p:cNvSpPr>
          <p:nvPr>
            <p:custDataLst>
              <p:tags r:id="rId9"/>
            </p:custDataLst>
          </p:nvPr>
        </p:nvSpPr>
        <p:spPr bwMode="auto">
          <a:xfrm>
            <a:off x="7617249" y="4906058"/>
            <a:ext cx="1112400" cy="111063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1200" dirty="0" err="1">
                <a:solidFill>
                  <a:schemeClr val="bg1"/>
                </a:solidFill>
                <a:latin typeface="+mn-lt"/>
              </a:rPr>
              <a:t>Firstname</a:t>
            </a:r>
            <a:br>
              <a:rPr lang="en-GB" altLang="en-US" sz="1200" dirty="0">
                <a:solidFill>
                  <a:schemeClr val="bg1"/>
                </a:solidFill>
                <a:latin typeface="+mn-lt"/>
              </a:rPr>
            </a:br>
            <a:r>
              <a:rPr lang="en-GB" altLang="en-US" sz="1200" dirty="0">
                <a:solidFill>
                  <a:schemeClr val="bg1"/>
                </a:solidFill>
                <a:latin typeface="+mn-lt"/>
              </a:rPr>
              <a:t>Lastname</a:t>
            </a:r>
          </a:p>
        </p:txBody>
      </p:sp>
      <p:sp>
        <p:nvSpPr>
          <p:cNvPr id="7" name="Rectangle 19-3">
            <a:extLst>
              <a:ext uri="{FF2B5EF4-FFF2-40B4-BE49-F238E27FC236}">
                <a16:creationId xmlns:a16="http://schemas.microsoft.com/office/drawing/2014/main" id="{8CCBFE10-6B23-4EE5-AA95-AC874F7B5224}"/>
              </a:ext>
            </a:extLst>
          </p:cNvPr>
          <p:cNvSpPr>
            <a:spLocks noRot="1" noMove="1" noResize="1" noEditPoints="1" noAdjustHandles="1" noChangeArrowheads="1" noChangeShapeType="1"/>
          </p:cNvSpPr>
          <p:nvPr>
            <p:custDataLst>
              <p:tags r:id="rId10"/>
            </p:custDataLst>
          </p:nvPr>
        </p:nvSpPr>
        <p:spPr bwMode="auto">
          <a:xfrm>
            <a:off x="4818238" y="3791896"/>
            <a:ext cx="2507445" cy="2224800"/>
          </a:xfrm>
          <a:prstGeom prst="rect">
            <a:avLst/>
          </a:prstGeom>
          <a:solidFill>
            <a:schemeClr val="bg2"/>
          </a:solidFill>
          <a:ln>
            <a:noFill/>
          </a:ln>
        </p:spPr>
        <p:txBody>
          <a:bodyPr lIns="108000" tIns="108000" rIns="72000" bIns="72000"/>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the project</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Selected information from CV</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Font size 10.5</a:t>
            </a:r>
          </a:p>
          <a:p>
            <a:pPr marL="179388" lvl="1" indent="-179388" algn="l" defTabSz="1125444">
              <a:buClr>
                <a:srgbClr val="C1B5B8"/>
              </a:buClr>
              <a:buSzPct val="77000"/>
              <a:buFont typeface="Wingdings 3" panose="05040102010807070707" pitchFamily="18" charset="2"/>
              <a:buChar char=""/>
              <a:defRPr/>
            </a:pPr>
            <a:r>
              <a:rPr lang="en-GB" altLang="en-US" sz="1050" dirty="0">
                <a:solidFill>
                  <a:schemeClr val="accent2"/>
                </a:solidFill>
              </a:rPr>
              <a:t>Line spacing 2.64pt before, 6pt after, single</a:t>
            </a:r>
          </a:p>
        </p:txBody>
      </p:sp>
      <p:sp>
        <p:nvSpPr>
          <p:cNvPr id="10" name="Rectangle 16-3">
            <a:extLst>
              <a:ext uri="{FF2B5EF4-FFF2-40B4-BE49-F238E27FC236}">
                <a16:creationId xmlns:a16="http://schemas.microsoft.com/office/drawing/2014/main" id="{D78E4447-583B-41C3-89A6-F3656E1DC084}"/>
              </a:ext>
            </a:extLst>
          </p:cNvPr>
          <p:cNvSpPr>
            <a:spLocks noRot="1" noMove="1" noResize="1" noEditPoints="1" noAdjustHandles="1" noChangeArrowheads="1" noChangeShapeType="1"/>
          </p:cNvSpPr>
          <p:nvPr>
            <p:custDataLst>
              <p:tags r:id="rId11"/>
            </p:custDataLst>
          </p:nvPr>
        </p:nvSpPr>
        <p:spPr bwMode="auto">
          <a:xfrm>
            <a:off x="3710744" y="4906058"/>
            <a:ext cx="1112400" cy="111063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1200">
                <a:solidFill>
                  <a:schemeClr val="bg1"/>
                </a:solidFill>
                <a:latin typeface="+mn-lt"/>
              </a:rPr>
              <a:t>Firstname</a:t>
            </a:r>
            <a:br>
              <a:rPr lang="en-GB" altLang="en-US" sz="1200">
                <a:solidFill>
                  <a:schemeClr val="bg1"/>
                </a:solidFill>
                <a:latin typeface="+mn-lt"/>
              </a:rPr>
            </a:br>
            <a:r>
              <a:rPr lang="en-GB" altLang="en-US" sz="1200">
                <a:solidFill>
                  <a:schemeClr val="bg1"/>
                </a:solidFill>
                <a:latin typeface="+mn-lt"/>
              </a:rPr>
              <a:t>Lastname</a:t>
            </a:r>
            <a:endParaRPr lang="en-GB" altLang="en-US" sz="1200" dirty="0">
              <a:solidFill>
                <a:schemeClr val="bg1"/>
              </a:solidFill>
              <a:latin typeface="+mn-lt"/>
            </a:endParaRPr>
          </a:p>
        </p:txBody>
      </p:sp>
      <p:sp>
        <p:nvSpPr>
          <p:cNvPr id="23" name="Rectangle 22">
            <a:extLst>
              <a:ext uri="{FF2B5EF4-FFF2-40B4-BE49-F238E27FC236}">
                <a16:creationId xmlns:a16="http://schemas.microsoft.com/office/drawing/2014/main" id="{BA9B5E00-6AB2-421B-B145-75EAE1272A58}"/>
              </a:ext>
            </a:extLst>
          </p:cNvPr>
          <p:cNvSpPr>
            <a:spLocks noRot="1" noMove="1" noResize="1" noEditPoints="1" noAdjustHandles="1" noChangeArrowheads="1" noChangeShapeType="1"/>
          </p:cNvSpPr>
          <p:nvPr>
            <p:custDataLst>
              <p:tags r:id="rId12"/>
            </p:custDataLst>
          </p:nvPr>
        </p:nvSpPr>
        <p:spPr bwMode="auto">
          <a:xfrm>
            <a:off x="7617249" y="3791896"/>
            <a:ext cx="1112400" cy="1110638"/>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800">
                <a:solidFill>
                  <a:srgbClr val="87737B"/>
                </a:solidFill>
                <a:latin typeface="+mn-lt"/>
              </a:rPr>
              <a:t>Insert photo</a:t>
            </a:r>
          </a:p>
          <a:p>
            <a:pPr algn="l">
              <a:spcBef>
                <a:spcPts val="400"/>
              </a:spcBef>
              <a:spcAft>
                <a:spcPts val="400"/>
              </a:spcAft>
              <a:buClr>
                <a:schemeClr val="accent3"/>
              </a:buClr>
              <a:buSzPct val="77000"/>
            </a:pPr>
            <a:r>
              <a:rPr lang="en-GB" sz="800">
                <a:solidFill>
                  <a:srgbClr val="87737B"/>
                </a:solidFill>
                <a:latin typeface="+mn-lt"/>
              </a:rPr>
              <a:t>3.09 cm x 3.09cm</a:t>
            </a:r>
          </a:p>
          <a:p>
            <a:pPr algn="l">
              <a:spcBef>
                <a:spcPts val="400"/>
              </a:spcBef>
              <a:spcAft>
                <a:spcPts val="400"/>
              </a:spcAft>
              <a:buClr>
                <a:schemeClr val="accent3"/>
              </a:buClr>
              <a:buSzPct val="77000"/>
            </a:pPr>
            <a:r>
              <a:rPr lang="en-GB" sz="800">
                <a:solidFill>
                  <a:srgbClr val="87737B"/>
                </a:solidFill>
                <a:latin typeface="+mn-lt"/>
              </a:rPr>
              <a:t>Colour photo in line with brand guidelines</a:t>
            </a:r>
            <a:endParaRPr lang="en-GB" sz="800" dirty="0">
              <a:solidFill>
                <a:srgbClr val="87737B"/>
              </a:solidFill>
              <a:latin typeface="+mn-lt"/>
            </a:endParaRPr>
          </a:p>
        </p:txBody>
      </p:sp>
      <p:sp>
        <p:nvSpPr>
          <p:cNvPr id="24" name="Rectangle 23">
            <a:extLst>
              <a:ext uri="{FF2B5EF4-FFF2-40B4-BE49-F238E27FC236}">
                <a16:creationId xmlns:a16="http://schemas.microsoft.com/office/drawing/2014/main" id="{105E717D-906F-464B-BFB5-7B5F01DDCC02}"/>
              </a:ext>
            </a:extLst>
          </p:cNvPr>
          <p:cNvSpPr>
            <a:spLocks noRot="1" noMove="1" noResize="1" noEditPoints="1" noAdjustHandles="1" noChangeArrowheads="1" noChangeShapeType="1"/>
          </p:cNvSpPr>
          <p:nvPr>
            <p:custDataLst>
              <p:tags r:id="rId13"/>
            </p:custDataLst>
          </p:nvPr>
        </p:nvSpPr>
        <p:spPr bwMode="auto">
          <a:xfrm>
            <a:off x="3710744" y="3791896"/>
            <a:ext cx="1112400" cy="1110638"/>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800">
                <a:solidFill>
                  <a:srgbClr val="87737B"/>
                </a:solidFill>
                <a:latin typeface="+mn-lt"/>
              </a:rPr>
              <a:t>Insert photo</a:t>
            </a:r>
          </a:p>
          <a:p>
            <a:pPr algn="l">
              <a:spcBef>
                <a:spcPts val="400"/>
              </a:spcBef>
              <a:spcAft>
                <a:spcPts val="400"/>
              </a:spcAft>
              <a:buClr>
                <a:schemeClr val="accent3"/>
              </a:buClr>
              <a:buSzPct val="77000"/>
            </a:pPr>
            <a:r>
              <a:rPr lang="en-GB" sz="800">
                <a:solidFill>
                  <a:srgbClr val="87737B"/>
                </a:solidFill>
                <a:latin typeface="+mn-lt"/>
              </a:rPr>
              <a:t>3.09 cm x 3.09cm</a:t>
            </a:r>
          </a:p>
          <a:p>
            <a:pPr algn="l">
              <a:spcBef>
                <a:spcPts val="400"/>
              </a:spcBef>
              <a:spcAft>
                <a:spcPts val="400"/>
              </a:spcAft>
              <a:buClr>
                <a:schemeClr val="accent3"/>
              </a:buClr>
              <a:buSzPct val="77000"/>
            </a:pPr>
            <a:r>
              <a:rPr lang="en-GB" sz="800">
                <a:solidFill>
                  <a:srgbClr val="87737B"/>
                </a:solidFill>
                <a:latin typeface="+mn-lt"/>
              </a:rPr>
              <a:t>Colour photo in line with brand guidelines</a:t>
            </a:r>
            <a:endParaRPr lang="en-GB" sz="800" dirty="0">
              <a:solidFill>
                <a:srgbClr val="87737B"/>
              </a:solidFill>
              <a:latin typeface="+mn-lt"/>
            </a:endParaRPr>
          </a:p>
        </p:txBody>
      </p:sp>
      <p:sp>
        <p:nvSpPr>
          <p:cNvPr id="25" name="Rectangle 24">
            <a:extLst>
              <a:ext uri="{FF2B5EF4-FFF2-40B4-BE49-F238E27FC236}">
                <a16:creationId xmlns:a16="http://schemas.microsoft.com/office/drawing/2014/main" id="{1D999299-FB7F-45CD-8E6D-FB8E1EE7DEA8}"/>
              </a:ext>
            </a:extLst>
          </p:cNvPr>
          <p:cNvSpPr>
            <a:spLocks noRot="1" noMove="1" noResize="1" noEditPoints="1" noAdjustHandles="1" noChangeArrowheads="1" noChangeShapeType="1"/>
          </p:cNvSpPr>
          <p:nvPr>
            <p:custDataLst>
              <p:tags r:id="rId14"/>
            </p:custDataLst>
          </p:nvPr>
        </p:nvSpPr>
        <p:spPr bwMode="auto">
          <a:xfrm>
            <a:off x="7617249" y="1309062"/>
            <a:ext cx="1112400" cy="1110638"/>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800">
                <a:solidFill>
                  <a:srgbClr val="87737B"/>
                </a:solidFill>
                <a:latin typeface="+mn-lt"/>
              </a:rPr>
              <a:t>Insert photo</a:t>
            </a:r>
          </a:p>
          <a:p>
            <a:pPr algn="l">
              <a:spcBef>
                <a:spcPts val="400"/>
              </a:spcBef>
              <a:spcAft>
                <a:spcPts val="400"/>
              </a:spcAft>
              <a:buClr>
                <a:schemeClr val="accent3"/>
              </a:buClr>
              <a:buSzPct val="77000"/>
            </a:pPr>
            <a:r>
              <a:rPr lang="en-GB" sz="800">
                <a:solidFill>
                  <a:srgbClr val="87737B"/>
                </a:solidFill>
                <a:latin typeface="+mn-lt"/>
              </a:rPr>
              <a:t>3.09 cm x 3.09cm</a:t>
            </a:r>
          </a:p>
          <a:p>
            <a:pPr algn="l">
              <a:spcBef>
                <a:spcPts val="400"/>
              </a:spcBef>
              <a:spcAft>
                <a:spcPts val="400"/>
              </a:spcAft>
              <a:buClr>
                <a:schemeClr val="accent3"/>
              </a:buClr>
              <a:buSzPct val="77000"/>
            </a:pPr>
            <a:r>
              <a:rPr lang="en-GB" sz="800">
                <a:solidFill>
                  <a:srgbClr val="87737B"/>
                </a:solidFill>
                <a:latin typeface="+mn-lt"/>
              </a:rPr>
              <a:t>Colour photo in line with brand guidelines</a:t>
            </a:r>
            <a:endParaRPr lang="en-GB" sz="800" dirty="0">
              <a:solidFill>
                <a:srgbClr val="87737B"/>
              </a:solidFill>
              <a:latin typeface="+mn-lt"/>
            </a:endParaRPr>
          </a:p>
        </p:txBody>
      </p:sp>
      <p:sp>
        <p:nvSpPr>
          <p:cNvPr id="16" name="Rectangle 15">
            <a:extLst>
              <a:ext uri="{FF2B5EF4-FFF2-40B4-BE49-F238E27FC236}">
                <a16:creationId xmlns:a16="http://schemas.microsoft.com/office/drawing/2014/main" id="{43EFBD6F-060E-439A-BF0F-23BCD589C73D}"/>
              </a:ext>
            </a:extLst>
          </p:cNvPr>
          <p:cNvSpPr>
            <a:spLocks noRot="1" noMove="1" noResize="1" noEditPoints="1" noAdjustHandles="1" noChangeArrowheads="1" noChangeShapeType="1"/>
          </p:cNvSpPr>
          <p:nvPr>
            <p:custDataLst>
              <p:tags r:id="rId15"/>
            </p:custDataLst>
          </p:nvPr>
        </p:nvSpPr>
        <p:spPr bwMode="auto">
          <a:xfrm>
            <a:off x="3704336" y="1309062"/>
            <a:ext cx="1112400" cy="1110638"/>
          </a:xfrm>
          <a:prstGeom prst="rect">
            <a:avLst/>
          </a:prstGeom>
          <a:noFill/>
          <a:ln w="3175" cap="flat" cmpd="sng" algn="ctr">
            <a:solidFill>
              <a:schemeClr val="accent3"/>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800">
                <a:solidFill>
                  <a:srgbClr val="87737B"/>
                </a:solidFill>
                <a:latin typeface="+mn-lt"/>
              </a:rPr>
              <a:t>Insert photo</a:t>
            </a:r>
          </a:p>
          <a:p>
            <a:pPr algn="l">
              <a:spcBef>
                <a:spcPts val="400"/>
              </a:spcBef>
              <a:spcAft>
                <a:spcPts val="400"/>
              </a:spcAft>
              <a:buClr>
                <a:schemeClr val="accent3"/>
              </a:buClr>
              <a:buSzPct val="77000"/>
            </a:pPr>
            <a:r>
              <a:rPr lang="en-GB" sz="800">
                <a:solidFill>
                  <a:srgbClr val="87737B"/>
                </a:solidFill>
                <a:latin typeface="+mn-lt"/>
              </a:rPr>
              <a:t>3.09 cm x 3.09cm</a:t>
            </a:r>
          </a:p>
          <a:p>
            <a:pPr algn="l">
              <a:spcBef>
                <a:spcPts val="400"/>
              </a:spcBef>
              <a:spcAft>
                <a:spcPts val="400"/>
              </a:spcAft>
              <a:buClr>
                <a:schemeClr val="accent3"/>
              </a:buClr>
              <a:buSzPct val="77000"/>
            </a:pPr>
            <a:r>
              <a:rPr lang="en-GB" sz="800">
                <a:solidFill>
                  <a:srgbClr val="87737B"/>
                </a:solidFill>
                <a:latin typeface="+mn-lt"/>
              </a:rPr>
              <a:t>Position: 10.31cm horiz, 3.64cm vertical</a:t>
            </a:r>
          </a:p>
          <a:p>
            <a:pPr algn="l">
              <a:spcBef>
                <a:spcPts val="400"/>
              </a:spcBef>
              <a:spcAft>
                <a:spcPts val="400"/>
              </a:spcAft>
              <a:buClr>
                <a:schemeClr val="accent3"/>
              </a:buClr>
              <a:buSzPct val="77000"/>
            </a:pPr>
            <a:r>
              <a:rPr lang="en-GB" sz="800">
                <a:solidFill>
                  <a:srgbClr val="87737B"/>
                </a:solidFill>
                <a:latin typeface="+mn-lt"/>
              </a:rPr>
              <a:t>Colour photo in line with brand guidelines</a:t>
            </a:r>
            <a:endParaRPr lang="en-GB" sz="800" dirty="0">
              <a:solidFill>
                <a:srgbClr val="87737B"/>
              </a:solidFill>
              <a:latin typeface="+mn-lt"/>
            </a:endParaRPr>
          </a:p>
        </p:txBody>
      </p:sp>
    </p:spTree>
    <p:extLst>
      <p:ext uri="{BB962C8B-B14F-4D97-AF65-F5344CB8AC3E}">
        <p14:creationId xmlns:p14="http://schemas.microsoft.com/office/powerpoint/2010/main" val="3346734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FB43FE53-06C3-4D51-97B5-E8970984F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4" imgW="473" imgH="476" progId="TCLayout.ActiveDocument.1">
                  <p:embed/>
                </p:oleObj>
              </mc:Choice>
              <mc:Fallback>
                <p:oleObj name="Diapositive think-cell" r:id="rId24" imgW="473" imgH="476" progId="TCLayout.ActiveDocument.1">
                  <p:embed/>
                  <p:pic>
                    <p:nvPicPr>
                      <p:cNvPr id="14" name="Objet 13" hidden="1">
                        <a:extLst>
                          <a:ext uri="{FF2B5EF4-FFF2-40B4-BE49-F238E27FC236}">
                            <a16:creationId xmlns:a16="http://schemas.microsoft.com/office/drawing/2014/main" id="{FB43FE53-06C3-4D51-97B5-E8970984F45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BC58002-1058-4C85-9C0E-6DC39D75885F}"/>
              </a:ext>
            </a:extLst>
          </p:cNvPr>
          <p:cNvSpPr/>
          <p:nvPr>
            <p:custDataLst>
              <p:tags r:id="rId2"/>
            </p:custDataLst>
          </p:nvPr>
        </p:nvSpPr>
        <p:spPr bwMode="auto">
          <a:xfrm>
            <a:off x="0" y="0"/>
            <a:ext cx="158750" cy="158750"/>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3BCED2C-E227-4FAB-8226-F36302C9B34D}"/>
              </a:ext>
            </a:extLst>
          </p:cNvPr>
          <p:cNvSpPr>
            <a:spLocks noGrp="1"/>
          </p:cNvSpPr>
          <p:nvPr>
            <p:ph type="title"/>
          </p:nvPr>
        </p:nvSpPr>
        <p:spPr/>
        <p:txBody>
          <a:bodyPr/>
          <a:lstStyle/>
          <a:p>
            <a:r>
              <a:rPr lang="en-GB" dirty="0"/>
              <a:t>Six person team with key message (delete box and centre if not needed)</a:t>
            </a:r>
          </a:p>
        </p:txBody>
      </p:sp>
      <p:sp>
        <p:nvSpPr>
          <p:cNvPr id="13" name="Content Placeholder 12">
            <a:extLst>
              <a:ext uri="{FF2B5EF4-FFF2-40B4-BE49-F238E27FC236}">
                <a16:creationId xmlns:a16="http://schemas.microsoft.com/office/drawing/2014/main" id="{50A1B8FC-7F33-4879-83F3-2E413C0431B1}"/>
              </a:ext>
            </a:extLst>
          </p:cNvPr>
          <p:cNvSpPr>
            <a:spLocks noGrp="1"/>
          </p:cNvSpPr>
          <p:nvPr>
            <p:ph idx="1"/>
            <p:custDataLst>
              <p:tags r:id="rId3"/>
            </p:custDataLst>
          </p:nvPr>
        </p:nvSpPr>
        <p:spPr>
          <a:xfrm>
            <a:off x="432001" y="1288278"/>
            <a:ext cx="2988000" cy="2115176"/>
          </a:xfrm>
        </p:spPr>
        <p:txBody>
          <a:bodyPr/>
          <a:lstStyle/>
          <a:p>
            <a:r>
              <a:rPr lang="en-GB" dirty="0">
                <a:latin typeface="+mn-lt"/>
              </a:rPr>
              <a:t>Key message goes here</a:t>
            </a:r>
          </a:p>
          <a:p>
            <a:r>
              <a:rPr lang="en-GB" dirty="0">
                <a:latin typeface="+mn-lt"/>
              </a:rPr>
              <a:t>This can include why this is the ideal team for this particular project etc</a:t>
            </a:r>
          </a:p>
          <a:p>
            <a:r>
              <a:rPr lang="en-GB" dirty="0">
                <a:latin typeface="+mn-lt"/>
              </a:rPr>
              <a:t>Font size 18</a:t>
            </a:r>
          </a:p>
          <a:p>
            <a:endParaRPr lang="en-GB" dirty="0">
              <a:latin typeface="+mn-lt"/>
            </a:endParaRPr>
          </a:p>
        </p:txBody>
      </p:sp>
      <p:sp>
        <p:nvSpPr>
          <p:cNvPr id="5" name="Rectangle 19">
            <a:extLst>
              <a:ext uri="{FF2B5EF4-FFF2-40B4-BE49-F238E27FC236}">
                <a16:creationId xmlns:a16="http://schemas.microsoft.com/office/drawing/2014/main" id="{D1F3F097-1348-4C0E-9A9A-2EE3A8876D01}"/>
              </a:ext>
            </a:extLst>
          </p:cNvPr>
          <p:cNvSpPr>
            <a:spLocks noRot="1" noMove="1" noResize="1" noEditPoints="1" noAdjustHandles="1" noChangeArrowheads="1" noChangeShapeType="1"/>
          </p:cNvSpPr>
          <p:nvPr>
            <p:custDataLst>
              <p:tags r:id="rId4"/>
            </p:custDataLst>
          </p:nvPr>
        </p:nvSpPr>
        <p:spPr bwMode="auto">
          <a:xfrm>
            <a:off x="4738590" y="1288278"/>
            <a:ext cx="2815493" cy="1498824"/>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79388" lvl="1" indent="-179388" algn="l" defTabSz="1125444">
              <a:spcBef>
                <a:spcPts val="840"/>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Font size 9</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Line spacing 2.16 before, 6pt after, single</a:t>
            </a:r>
          </a:p>
          <a:p>
            <a:pPr eaLnBrk="1" hangingPunct="1">
              <a:spcBef>
                <a:spcPts val="400"/>
              </a:spcBef>
              <a:spcAft>
                <a:spcPts val="400"/>
              </a:spcAft>
              <a:buClrTx/>
              <a:buFontTx/>
              <a:buChar char="•"/>
            </a:pPr>
            <a:endParaRPr lang="en-GB" altLang="en-US" sz="900" dirty="0">
              <a:solidFill>
                <a:schemeClr val="accent2"/>
              </a:solidFill>
              <a:latin typeface="+mn-lt"/>
            </a:endParaRPr>
          </a:p>
        </p:txBody>
      </p:sp>
      <p:sp>
        <p:nvSpPr>
          <p:cNvPr id="6" name="Rectangle 19-2">
            <a:extLst>
              <a:ext uri="{FF2B5EF4-FFF2-40B4-BE49-F238E27FC236}">
                <a16:creationId xmlns:a16="http://schemas.microsoft.com/office/drawing/2014/main" id="{1677D02F-25E3-4467-B622-8197741B4F9E}"/>
              </a:ext>
            </a:extLst>
          </p:cNvPr>
          <p:cNvSpPr>
            <a:spLocks noRot="1" noMove="1" noResize="1" noEditPoints="1" noAdjustHandles="1" noChangeArrowheads="1" noChangeShapeType="1"/>
          </p:cNvSpPr>
          <p:nvPr>
            <p:custDataLst>
              <p:tags r:id="rId5"/>
            </p:custDataLst>
          </p:nvPr>
        </p:nvSpPr>
        <p:spPr bwMode="auto">
          <a:xfrm>
            <a:off x="8566016" y="1288278"/>
            <a:ext cx="2815493" cy="1498824"/>
          </a:xfrm>
          <a:prstGeom prst="rect">
            <a:avLst/>
          </a:prstGeom>
          <a:solidFill>
            <a:schemeClr val="bg2"/>
          </a:solidFill>
          <a:ln>
            <a:noFill/>
          </a:ln>
        </p:spPr>
        <p:txBody>
          <a:bodyPr lIns="108000" tIns="108000" rIns="72000" bIns="72000"/>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79388" lvl="1" indent="-179388" algn="l" defTabSz="1125444">
              <a:spcBef>
                <a:spcPts val="840"/>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Font size 9</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Line spacing 2.16 before, 6pt after, single</a:t>
            </a:r>
          </a:p>
          <a:p>
            <a:pPr marL="0" lvl="1" indent="0" algn="l" eaLnBrk="1" hangingPunct="1">
              <a:spcBef>
                <a:spcPts val="400"/>
              </a:spcBef>
              <a:spcAft>
                <a:spcPts val="400"/>
              </a:spcAft>
              <a:buClr>
                <a:schemeClr val="accent3"/>
              </a:buClr>
              <a:buSzPct val="73000"/>
            </a:pPr>
            <a:endParaRPr lang="en-GB" altLang="en-US" sz="900" dirty="0">
              <a:solidFill>
                <a:schemeClr val="accent2"/>
              </a:solidFill>
              <a:latin typeface="+mn-lt"/>
            </a:endParaRPr>
          </a:p>
        </p:txBody>
      </p:sp>
      <p:sp>
        <p:nvSpPr>
          <p:cNvPr id="11" name="Rectangle 19-4">
            <a:extLst>
              <a:ext uri="{FF2B5EF4-FFF2-40B4-BE49-F238E27FC236}">
                <a16:creationId xmlns:a16="http://schemas.microsoft.com/office/drawing/2014/main" id="{35C6B34F-AB3D-44D3-B27B-DEB338833C19}"/>
              </a:ext>
            </a:extLst>
          </p:cNvPr>
          <p:cNvSpPr>
            <a:spLocks noRot="1" noMove="1" noResize="1" noEditPoints="1" noAdjustHandles="1" noChangeArrowheads="1" noChangeShapeType="1"/>
          </p:cNvSpPr>
          <p:nvPr>
            <p:custDataLst>
              <p:tags r:id="rId6"/>
            </p:custDataLst>
          </p:nvPr>
        </p:nvSpPr>
        <p:spPr bwMode="auto">
          <a:xfrm>
            <a:off x="8566016" y="2897700"/>
            <a:ext cx="2815493" cy="1498824"/>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Font size 9</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Line spacing 2.16 before, 6pt after, single</a:t>
            </a:r>
          </a:p>
        </p:txBody>
      </p:sp>
      <p:sp>
        <p:nvSpPr>
          <p:cNvPr id="7" name="Rectangle 19-3">
            <a:extLst>
              <a:ext uri="{FF2B5EF4-FFF2-40B4-BE49-F238E27FC236}">
                <a16:creationId xmlns:a16="http://schemas.microsoft.com/office/drawing/2014/main" id="{8CCBFE10-6B23-4EE5-AA95-AC874F7B5224}"/>
              </a:ext>
            </a:extLst>
          </p:cNvPr>
          <p:cNvSpPr>
            <a:spLocks noRot="1" noMove="1" noResize="1" noEditPoints="1" noAdjustHandles="1" noChangeArrowheads="1" noChangeShapeType="1"/>
          </p:cNvSpPr>
          <p:nvPr>
            <p:custDataLst>
              <p:tags r:id="rId7"/>
            </p:custDataLst>
          </p:nvPr>
        </p:nvSpPr>
        <p:spPr bwMode="auto">
          <a:xfrm>
            <a:off x="4738352" y="2897700"/>
            <a:ext cx="2815493" cy="1498824"/>
          </a:xfrm>
          <a:prstGeom prst="rect">
            <a:avLst/>
          </a:prstGeom>
          <a:solidFill>
            <a:schemeClr val="bg2"/>
          </a:solidFill>
          <a:ln>
            <a:noFill/>
          </a:ln>
        </p:spPr>
        <p:txBody>
          <a:bodyPr lIns="108000" tIns="108000" rIns="72000" bIns="72000"/>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79388" lvl="1" indent="-179388" algn="l" defTabSz="1125444">
              <a:spcBef>
                <a:spcPts val="840"/>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Selected information from CV</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Font size 9</a:t>
            </a:r>
          </a:p>
          <a:p>
            <a:pPr marL="179388" lvl="1" indent="-179388" algn="l" defTabSz="1125444">
              <a:spcBef>
                <a:spcPts val="216"/>
              </a:spcBef>
              <a:spcAft>
                <a:spcPts val="600"/>
              </a:spcAft>
              <a:buClr>
                <a:srgbClr val="C1B5B8"/>
              </a:buClr>
              <a:buSzPct val="77000"/>
              <a:buFont typeface="Wingdings 3" panose="05040102010807070707" pitchFamily="18" charset="2"/>
              <a:buChar char=""/>
              <a:defRPr/>
            </a:pPr>
            <a:r>
              <a:rPr lang="en-GB" altLang="en-US" sz="900" dirty="0">
                <a:solidFill>
                  <a:schemeClr val="accent2"/>
                </a:solidFill>
              </a:rPr>
              <a:t>Line spacing 2.16 before, 6pt after, single</a:t>
            </a:r>
          </a:p>
        </p:txBody>
      </p:sp>
      <p:sp>
        <p:nvSpPr>
          <p:cNvPr id="17" name="Rectangle 19-6">
            <a:extLst>
              <a:ext uri="{FF2B5EF4-FFF2-40B4-BE49-F238E27FC236}">
                <a16:creationId xmlns:a16="http://schemas.microsoft.com/office/drawing/2014/main" id="{41E98F42-2EDD-4FD9-AB2C-8620B82B890B}"/>
              </a:ext>
            </a:extLst>
          </p:cNvPr>
          <p:cNvSpPr>
            <a:spLocks noRot="1" noMove="1" noResize="1" noEditPoints="1" noAdjustHandles="1" noChangeArrowheads="1" noChangeShapeType="1"/>
          </p:cNvSpPr>
          <p:nvPr>
            <p:custDataLst>
              <p:tags r:id="rId8"/>
            </p:custDataLst>
          </p:nvPr>
        </p:nvSpPr>
        <p:spPr bwMode="auto">
          <a:xfrm>
            <a:off x="8566016" y="4507122"/>
            <a:ext cx="2815493" cy="1498824"/>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Font size 9</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Line spacing 2.16 before, 6pt after, single</a:t>
            </a:r>
          </a:p>
        </p:txBody>
      </p:sp>
      <p:sp>
        <p:nvSpPr>
          <p:cNvPr id="21" name="Rectangle 19-5">
            <a:extLst>
              <a:ext uri="{FF2B5EF4-FFF2-40B4-BE49-F238E27FC236}">
                <a16:creationId xmlns:a16="http://schemas.microsoft.com/office/drawing/2014/main" id="{8C4AFBE4-3B88-402F-98C0-187D4B6541A7}"/>
              </a:ext>
            </a:extLst>
          </p:cNvPr>
          <p:cNvSpPr>
            <a:spLocks noRot="1" noMove="1" noResize="1" noEditPoints="1" noAdjustHandles="1" noChangeArrowheads="1" noChangeShapeType="1"/>
          </p:cNvSpPr>
          <p:nvPr>
            <p:custDataLst>
              <p:tags r:id="rId9"/>
            </p:custDataLst>
          </p:nvPr>
        </p:nvSpPr>
        <p:spPr bwMode="auto">
          <a:xfrm>
            <a:off x="4738352" y="4507122"/>
            <a:ext cx="2815493" cy="1498824"/>
          </a:xfrm>
          <a:prstGeom prst="rect">
            <a:avLst/>
          </a:prstGeom>
          <a:solidFill>
            <a:schemeClr val="bg2"/>
          </a:solidFill>
          <a:ln>
            <a:noFill/>
          </a:ln>
        </p:spPr>
        <p:txBody>
          <a:bodyPr lIns="108000" tIns="108000" rIns="72000" bIns="72000"/>
          <a:lstStyle/>
          <a:p>
            <a:pPr marL="0" lvl="1" indent="0" algn="l" eaLnBrk="1" hangingPunct="1">
              <a:spcBef>
                <a:spcPts val="400"/>
              </a:spcBef>
              <a:spcAft>
                <a:spcPts val="400"/>
              </a:spcAft>
              <a:buClr>
                <a:schemeClr val="accent3"/>
              </a:buClr>
              <a:buSzPct val="73000"/>
            </a:pPr>
            <a:r>
              <a:rPr lang="en-GB" altLang="en-US" sz="900" b="1" dirty="0">
                <a:solidFill>
                  <a:schemeClr val="accent2"/>
                </a:solidFill>
                <a:latin typeface="+mn-lt"/>
              </a:rPr>
              <a:t>Role on the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Font size 9</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900" dirty="0">
                <a:solidFill>
                  <a:schemeClr val="accent2"/>
                </a:solidFill>
                <a:latin typeface="+mn-lt"/>
              </a:rPr>
              <a:t>Line spacing 2.16 before, 6pt after, single</a:t>
            </a:r>
          </a:p>
        </p:txBody>
      </p:sp>
      <p:sp>
        <p:nvSpPr>
          <p:cNvPr id="4" name="Rectangle 3">
            <a:extLst>
              <a:ext uri="{FF2B5EF4-FFF2-40B4-BE49-F238E27FC236}">
                <a16:creationId xmlns:a16="http://schemas.microsoft.com/office/drawing/2014/main" id="{53565B37-AE5C-4A20-A315-E39E63E5EA2B}"/>
              </a:ext>
            </a:extLst>
          </p:cNvPr>
          <p:cNvSpPr>
            <a:spLocks noRot="1" noMove="1" noResize="1" noEditPoints="1" noAdjustHandles="1" noChangeArrowheads="1" noChangeShapeType="1"/>
          </p:cNvSpPr>
          <p:nvPr>
            <p:custDataLst>
              <p:tags r:id="rId10"/>
            </p:custDataLst>
          </p:nvPr>
        </p:nvSpPr>
        <p:spPr bwMode="auto">
          <a:xfrm>
            <a:off x="3837709" y="1288278"/>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
        <p:nvSpPr>
          <p:cNvPr id="8" name="Rectangle 16">
            <a:extLst>
              <a:ext uri="{FF2B5EF4-FFF2-40B4-BE49-F238E27FC236}">
                <a16:creationId xmlns:a16="http://schemas.microsoft.com/office/drawing/2014/main" id="{91BB5094-E204-4491-A700-FC1B27BEE908}"/>
              </a:ext>
            </a:extLst>
          </p:cNvPr>
          <p:cNvSpPr>
            <a:spLocks noRot="1" noMove="1" noResize="1" noEditPoints="1" noAdjustHandles="1" noChangeArrowheads="1" noChangeShapeType="1"/>
          </p:cNvSpPr>
          <p:nvPr>
            <p:custDataLst>
              <p:tags r:id="rId11"/>
            </p:custDataLst>
          </p:nvPr>
        </p:nvSpPr>
        <p:spPr bwMode="auto">
          <a:xfrm>
            <a:off x="3838573" y="2196314"/>
            <a:ext cx="900881" cy="59078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a:solidFill>
                  <a:schemeClr val="bg1"/>
                </a:solidFill>
                <a:latin typeface="+mn-lt"/>
              </a:rPr>
              <a:t>Firstname</a:t>
            </a:r>
            <a:br>
              <a:rPr lang="en-GB" altLang="en-US" sz="900">
                <a:solidFill>
                  <a:schemeClr val="bg1"/>
                </a:solidFill>
                <a:latin typeface="+mn-lt"/>
              </a:rPr>
            </a:br>
            <a:r>
              <a:rPr lang="en-GB" altLang="en-US" sz="900">
                <a:solidFill>
                  <a:schemeClr val="bg1"/>
                </a:solidFill>
                <a:latin typeface="+mn-lt"/>
              </a:rPr>
              <a:t>Lastname</a:t>
            </a:r>
            <a:endParaRPr lang="en-GB" altLang="en-US" sz="900" dirty="0">
              <a:solidFill>
                <a:schemeClr val="bg1"/>
              </a:solidFill>
              <a:latin typeface="+mn-lt"/>
            </a:endParaRPr>
          </a:p>
        </p:txBody>
      </p:sp>
      <p:sp>
        <p:nvSpPr>
          <p:cNvPr id="10" name="Rectangle 16-3">
            <a:extLst>
              <a:ext uri="{FF2B5EF4-FFF2-40B4-BE49-F238E27FC236}">
                <a16:creationId xmlns:a16="http://schemas.microsoft.com/office/drawing/2014/main" id="{D78E4447-583B-41C3-89A6-F3656E1DC084}"/>
              </a:ext>
            </a:extLst>
          </p:cNvPr>
          <p:cNvSpPr>
            <a:spLocks noRot="1" noMove="1" noResize="1" noEditPoints="1" noAdjustHandles="1" noChangeArrowheads="1" noChangeShapeType="1"/>
          </p:cNvSpPr>
          <p:nvPr>
            <p:custDataLst>
              <p:tags r:id="rId12"/>
            </p:custDataLst>
          </p:nvPr>
        </p:nvSpPr>
        <p:spPr bwMode="auto">
          <a:xfrm>
            <a:off x="3838573" y="3791724"/>
            <a:ext cx="900881" cy="604800"/>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a:solidFill>
                  <a:schemeClr val="bg1"/>
                </a:solidFill>
                <a:latin typeface="+mn-lt"/>
              </a:rPr>
              <a:t>Firstname</a:t>
            </a:r>
            <a:br>
              <a:rPr lang="en-GB" altLang="en-US" sz="900">
                <a:solidFill>
                  <a:schemeClr val="bg1"/>
                </a:solidFill>
                <a:latin typeface="+mn-lt"/>
              </a:rPr>
            </a:br>
            <a:r>
              <a:rPr lang="en-GB" altLang="en-US" sz="900">
                <a:solidFill>
                  <a:schemeClr val="bg1"/>
                </a:solidFill>
                <a:latin typeface="+mn-lt"/>
              </a:rPr>
              <a:t>Lastname</a:t>
            </a:r>
            <a:endParaRPr lang="en-GB" altLang="en-US" sz="900" dirty="0">
              <a:solidFill>
                <a:schemeClr val="bg1"/>
              </a:solidFill>
              <a:latin typeface="+mn-lt"/>
            </a:endParaRPr>
          </a:p>
        </p:txBody>
      </p:sp>
      <p:sp>
        <p:nvSpPr>
          <p:cNvPr id="9" name="Rectangle 16-2">
            <a:extLst>
              <a:ext uri="{FF2B5EF4-FFF2-40B4-BE49-F238E27FC236}">
                <a16:creationId xmlns:a16="http://schemas.microsoft.com/office/drawing/2014/main" id="{C2DAF271-12F6-4AB5-AF74-18190239D761}"/>
              </a:ext>
            </a:extLst>
          </p:cNvPr>
          <p:cNvSpPr>
            <a:spLocks noRot="1" noMove="1" noResize="1" noEditPoints="1" noAdjustHandles="1" noChangeArrowheads="1" noChangeShapeType="1"/>
          </p:cNvSpPr>
          <p:nvPr>
            <p:custDataLst>
              <p:tags r:id="rId13"/>
            </p:custDataLst>
          </p:nvPr>
        </p:nvSpPr>
        <p:spPr bwMode="auto">
          <a:xfrm>
            <a:off x="7683212" y="2196314"/>
            <a:ext cx="885012" cy="590788"/>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a:solidFill>
                  <a:schemeClr val="bg1"/>
                </a:solidFill>
                <a:latin typeface="+mn-lt"/>
              </a:rPr>
              <a:t>Firstname</a:t>
            </a:r>
            <a:br>
              <a:rPr lang="en-GB" altLang="en-US" sz="900">
                <a:solidFill>
                  <a:schemeClr val="bg1"/>
                </a:solidFill>
                <a:latin typeface="+mn-lt"/>
              </a:rPr>
            </a:br>
            <a:r>
              <a:rPr lang="en-GB" altLang="en-US" sz="900">
                <a:solidFill>
                  <a:schemeClr val="bg1"/>
                </a:solidFill>
                <a:latin typeface="+mn-lt"/>
              </a:rPr>
              <a:t>Lastname</a:t>
            </a:r>
            <a:endParaRPr lang="en-GB" altLang="en-US" sz="900" dirty="0">
              <a:solidFill>
                <a:schemeClr val="bg1"/>
              </a:solidFill>
              <a:latin typeface="+mn-lt"/>
            </a:endParaRPr>
          </a:p>
        </p:txBody>
      </p:sp>
      <p:sp>
        <p:nvSpPr>
          <p:cNvPr id="22" name="Rectangle 16-5">
            <a:extLst>
              <a:ext uri="{FF2B5EF4-FFF2-40B4-BE49-F238E27FC236}">
                <a16:creationId xmlns:a16="http://schemas.microsoft.com/office/drawing/2014/main" id="{8D743296-FF56-48B2-82AB-7950CB3BAD32}"/>
              </a:ext>
            </a:extLst>
          </p:cNvPr>
          <p:cNvSpPr>
            <a:spLocks noRot="1" noMove="1" noResize="1" noEditPoints="1" noAdjustHandles="1" noChangeArrowheads="1" noChangeShapeType="1"/>
          </p:cNvSpPr>
          <p:nvPr>
            <p:custDataLst>
              <p:tags r:id="rId14"/>
            </p:custDataLst>
          </p:nvPr>
        </p:nvSpPr>
        <p:spPr bwMode="auto">
          <a:xfrm>
            <a:off x="3838573" y="5401146"/>
            <a:ext cx="900881" cy="604800"/>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a:solidFill>
                  <a:schemeClr val="bg1"/>
                </a:solidFill>
                <a:latin typeface="+mn-lt"/>
              </a:rPr>
              <a:t>Firstname</a:t>
            </a:r>
            <a:br>
              <a:rPr lang="en-GB" altLang="en-US" sz="900">
                <a:solidFill>
                  <a:schemeClr val="bg1"/>
                </a:solidFill>
                <a:latin typeface="+mn-lt"/>
              </a:rPr>
            </a:br>
            <a:r>
              <a:rPr lang="en-GB" altLang="en-US" sz="900">
                <a:solidFill>
                  <a:schemeClr val="bg1"/>
                </a:solidFill>
                <a:latin typeface="+mn-lt"/>
              </a:rPr>
              <a:t>Lastname</a:t>
            </a:r>
            <a:endParaRPr lang="en-GB" altLang="en-US" sz="900" dirty="0">
              <a:solidFill>
                <a:schemeClr val="bg1"/>
              </a:solidFill>
              <a:latin typeface="+mn-lt"/>
            </a:endParaRPr>
          </a:p>
        </p:txBody>
      </p:sp>
      <p:sp>
        <p:nvSpPr>
          <p:cNvPr id="12" name="Rectangle 11">
            <a:extLst>
              <a:ext uri="{FF2B5EF4-FFF2-40B4-BE49-F238E27FC236}">
                <a16:creationId xmlns:a16="http://schemas.microsoft.com/office/drawing/2014/main" id="{01265545-8251-4575-8356-96F64336B60D}"/>
              </a:ext>
            </a:extLst>
          </p:cNvPr>
          <p:cNvSpPr>
            <a:spLocks noRot="1" noMove="1" noResize="1" noEditPoints="1" noAdjustHandles="1" noChangeArrowheads="1" noChangeShapeType="1"/>
          </p:cNvSpPr>
          <p:nvPr>
            <p:custDataLst>
              <p:tags r:id="rId15"/>
            </p:custDataLst>
          </p:nvPr>
        </p:nvSpPr>
        <p:spPr bwMode="auto">
          <a:xfrm>
            <a:off x="7667343" y="3791724"/>
            <a:ext cx="900881" cy="604800"/>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a:solidFill>
                  <a:schemeClr val="bg1"/>
                </a:solidFill>
                <a:latin typeface="+mn-lt"/>
              </a:rPr>
              <a:t>Firstname</a:t>
            </a:r>
            <a:br>
              <a:rPr lang="en-GB" altLang="en-US" sz="900">
                <a:solidFill>
                  <a:schemeClr val="bg1"/>
                </a:solidFill>
                <a:latin typeface="+mn-lt"/>
              </a:rPr>
            </a:br>
            <a:r>
              <a:rPr lang="en-GB" altLang="en-US" sz="900">
                <a:solidFill>
                  <a:schemeClr val="bg1"/>
                </a:solidFill>
                <a:latin typeface="+mn-lt"/>
              </a:rPr>
              <a:t>Lastname</a:t>
            </a:r>
            <a:endParaRPr lang="en-GB" altLang="en-US" sz="900" dirty="0">
              <a:solidFill>
                <a:schemeClr val="bg1"/>
              </a:solidFill>
              <a:latin typeface="+mn-lt"/>
            </a:endParaRPr>
          </a:p>
        </p:txBody>
      </p:sp>
      <p:sp>
        <p:nvSpPr>
          <p:cNvPr id="19" name="Rectangle 18">
            <a:extLst>
              <a:ext uri="{FF2B5EF4-FFF2-40B4-BE49-F238E27FC236}">
                <a16:creationId xmlns:a16="http://schemas.microsoft.com/office/drawing/2014/main" id="{BB3F4B8B-6B91-48FE-8177-BA094EA6BAEF}"/>
              </a:ext>
            </a:extLst>
          </p:cNvPr>
          <p:cNvSpPr>
            <a:spLocks noRot="1" noMove="1" noResize="1" noEditPoints="1" noAdjustHandles="1" noChangeArrowheads="1" noChangeShapeType="1"/>
          </p:cNvSpPr>
          <p:nvPr>
            <p:custDataLst>
              <p:tags r:id="rId16"/>
            </p:custDataLst>
          </p:nvPr>
        </p:nvSpPr>
        <p:spPr bwMode="auto">
          <a:xfrm>
            <a:off x="7667343" y="5408346"/>
            <a:ext cx="900881" cy="597600"/>
          </a:xfrm>
          <a:prstGeom prst="rect">
            <a:avLst/>
          </a:prstGeom>
          <a:solidFill>
            <a:schemeClr val="tx2"/>
          </a:solidFill>
          <a:ln>
            <a:noFill/>
          </a:ln>
          <a:effectLst/>
        </p:spPr>
        <p:txBody>
          <a:bodyPr wrap="square" lIns="72000" rIns="36000" anchor="t"/>
          <a:lstStyle/>
          <a:p>
            <a:pPr algn="l">
              <a:spcBef>
                <a:spcPts val="400"/>
              </a:spcBef>
              <a:spcAft>
                <a:spcPts val="400"/>
              </a:spcAft>
            </a:pPr>
            <a:r>
              <a:rPr lang="en-GB" altLang="en-US" sz="900" dirty="0" err="1">
                <a:solidFill>
                  <a:schemeClr val="bg1"/>
                </a:solidFill>
                <a:latin typeface="+mn-lt"/>
              </a:rPr>
              <a:t>Firstname</a:t>
            </a:r>
            <a:br>
              <a:rPr lang="en-GB" altLang="en-US" sz="900" dirty="0">
                <a:solidFill>
                  <a:schemeClr val="bg1"/>
                </a:solidFill>
                <a:latin typeface="+mn-lt"/>
              </a:rPr>
            </a:br>
            <a:r>
              <a:rPr lang="en-GB" altLang="en-US" sz="900" dirty="0">
                <a:solidFill>
                  <a:schemeClr val="bg1"/>
                </a:solidFill>
                <a:latin typeface="+mn-lt"/>
              </a:rPr>
              <a:t>Lastname</a:t>
            </a:r>
          </a:p>
        </p:txBody>
      </p:sp>
      <p:sp>
        <p:nvSpPr>
          <p:cNvPr id="30" name="Rectangle 29">
            <a:extLst>
              <a:ext uri="{FF2B5EF4-FFF2-40B4-BE49-F238E27FC236}">
                <a16:creationId xmlns:a16="http://schemas.microsoft.com/office/drawing/2014/main" id="{2DE9570E-7E8F-41A8-BCF4-51A34FAF1358}"/>
              </a:ext>
            </a:extLst>
          </p:cNvPr>
          <p:cNvSpPr>
            <a:spLocks noRot="1" noMove="1" noResize="1" noEditPoints="1" noAdjustHandles="1" noChangeArrowheads="1" noChangeShapeType="1"/>
          </p:cNvSpPr>
          <p:nvPr>
            <p:custDataLst>
              <p:tags r:id="rId17"/>
            </p:custDataLst>
          </p:nvPr>
        </p:nvSpPr>
        <p:spPr bwMode="auto">
          <a:xfrm>
            <a:off x="3831772" y="2897700"/>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
        <p:nvSpPr>
          <p:cNvPr id="31" name="Rectangle 30">
            <a:extLst>
              <a:ext uri="{FF2B5EF4-FFF2-40B4-BE49-F238E27FC236}">
                <a16:creationId xmlns:a16="http://schemas.microsoft.com/office/drawing/2014/main" id="{0BCFB03C-1B32-428B-8E1D-33A4850467C0}"/>
              </a:ext>
            </a:extLst>
          </p:cNvPr>
          <p:cNvSpPr>
            <a:spLocks noRot="1" noMove="1" noResize="1" noEditPoints="1" noAdjustHandles="1" noChangeArrowheads="1" noChangeShapeType="1"/>
          </p:cNvSpPr>
          <p:nvPr>
            <p:custDataLst>
              <p:tags r:id="rId18"/>
            </p:custDataLst>
          </p:nvPr>
        </p:nvSpPr>
        <p:spPr bwMode="auto">
          <a:xfrm>
            <a:off x="7663031" y="2894923"/>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
        <p:nvSpPr>
          <p:cNvPr id="32" name="Rectangle 31">
            <a:extLst>
              <a:ext uri="{FF2B5EF4-FFF2-40B4-BE49-F238E27FC236}">
                <a16:creationId xmlns:a16="http://schemas.microsoft.com/office/drawing/2014/main" id="{9456CA0E-8D93-498A-9517-423E82CAE1D8}"/>
              </a:ext>
            </a:extLst>
          </p:cNvPr>
          <p:cNvSpPr>
            <a:spLocks noRot="1" noMove="1" noResize="1" noEditPoints="1" noAdjustHandles="1" noChangeArrowheads="1" noChangeShapeType="1"/>
          </p:cNvSpPr>
          <p:nvPr>
            <p:custDataLst>
              <p:tags r:id="rId19"/>
            </p:custDataLst>
          </p:nvPr>
        </p:nvSpPr>
        <p:spPr bwMode="auto">
          <a:xfrm>
            <a:off x="3837709" y="4507122"/>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
        <p:nvSpPr>
          <p:cNvPr id="33" name="Rectangle 32">
            <a:extLst>
              <a:ext uri="{FF2B5EF4-FFF2-40B4-BE49-F238E27FC236}">
                <a16:creationId xmlns:a16="http://schemas.microsoft.com/office/drawing/2014/main" id="{8EF543DD-6247-4310-A1EC-71CDA3F2AD11}"/>
              </a:ext>
            </a:extLst>
          </p:cNvPr>
          <p:cNvSpPr>
            <a:spLocks noRot="1" noMove="1" noResize="1" noEditPoints="1" noAdjustHandles="1" noChangeArrowheads="1" noChangeShapeType="1"/>
          </p:cNvSpPr>
          <p:nvPr>
            <p:custDataLst>
              <p:tags r:id="rId20"/>
            </p:custDataLst>
          </p:nvPr>
        </p:nvSpPr>
        <p:spPr bwMode="auto">
          <a:xfrm>
            <a:off x="7665999" y="4509052"/>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
        <p:nvSpPr>
          <p:cNvPr id="34" name="Rectangle 33">
            <a:extLst>
              <a:ext uri="{FF2B5EF4-FFF2-40B4-BE49-F238E27FC236}">
                <a16:creationId xmlns:a16="http://schemas.microsoft.com/office/drawing/2014/main" id="{156672B0-AC99-400E-ADA7-E47BDC48B29B}"/>
              </a:ext>
            </a:extLst>
          </p:cNvPr>
          <p:cNvSpPr>
            <a:spLocks noRot="1" noMove="1" noResize="1" noEditPoints="1" noAdjustHandles="1" noChangeArrowheads="1" noChangeShapeType="1"/>
          </p:cNvSpPr>
          <p:nvPr>
            <p:custDataLst>
              <p:tags r:id="rId21"/>
            </p:custDataLst>
          </p:nvPr>
        </p:nvSpPr>
        <p:spPr bwMode="auto">
          <a:xfrm>
            <a:off x="7683212" y="1297020"/>
            <a:ext cx="900017" cy="899294"/>
          </a:xfrm>
          <a:prstGeom prst="rect">
            <a:avLst/>
          </a:prstGeom>
          <a:noFill/>
          <a:ln w="3175" cap="flat" cmpd="sng" algn="ctr">
            <a:solidFill>
              <a:srgbClr val="D9D9D9"/>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spcBef>
                <a:spcPts val="400"/>
              </a:spcBef>
              <a:spcAft>
                <a:spcPts val="400"/>
              </a:spcAft>
              <a:buClr>
                <a:schemeClr val="accent3"/>
              </a:buClr>
              <a:buSzPct val="77000"/>
            </a:pPr>
            <a:r>
              <a:rPr lang="en-GB" sz="700">
                <a:solidFill>
                  <a:srgbClr val="87737B"/>
                </a:solidFill>
                <a:latin typeface="+mn-lt"/>
              </a:rPr>
              <a:t>Insert photo</a:t>
            </a:r>
          </a:p>
          <a:p>
            <a:pPr algn="l">
              <a:spcBef>
                <a:spcPts val="400"/>
              </a:spcBef>
              <a:spcAft>
                <a:spcPts val="400"/>
              </a:spcAft>
              <a:buClr>
                <a:schemeClr val="accent3"/>
              </a:buClr>
              <a:buSzPct val="77000"/>
            </a:pPr>
            <a:r>
              <a:rPr lang="en-GB" sz="700">
                <a:solidFill>
                  <a:srgbClr val="87737B"/>
                </a:solidFill>
                <a:latin typeface="+mn-lt"/>
              </a:rPr>
              <a:t>2.5cm x 2.5cm</a:t>
            </a:r>
          </a:p>
          <a:p>
            <a:pPr algn="l">
              <a:spcBef>
                <a:spcPts val="400"/>
              </a:spcBef>
              <a:spcAft>
                <a:spcPts val="400"/>
              </a:spcAft>
              <a:buClr>
                <a:schemeClr val="accent3"/>
              </a:buClr>
              <a:buSzPct val="77000"/>
            </a:pPr>
            <a:r>
              <a:rPr lang="en-GB" sz="700">
                <a:solidFill>
                  <a:srgbClr val="87737B"/>
                </a:solidFill>
                <a:latin typeface="+mn-lt"/>
              </a:rPr>
              <a:t>Colour photo in line with brand guidelines</a:t>
            </a:r>
            <a:endParaRPr lang="en-GB" sz="700" dirty="0">
              <a:solidFill>
                <a:srgbClr val="87737B"/>
              </a:solidFill>
              <a:latin typeface="+mn-lt"/>
            </a:endParaRPr>
          </a:p>
        </p:txBody>
      </p:sp>
    </p:spTree>
    <p:extLst>
      <p:ext uri="{BB962C8B-B14F-4D97-AF65-F5344CB8AC3E}">
        <p14:creationId xmlns:p14="http://schemas.microsoft.com/office/powerpoint/2010/main" val="2250789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126F5757-567A-4FCF-9E7E-89607297FE62}"/>
              </a:ext>
            </a:extLst>
          </p:cNvPr>
          <p:cNvGraphicFramePr>
            <a:graphicFrameLocks noChangeAspect="1"/>
          </p:cNvGraphicFramePr>
          <p:nvPr>
            <p:custDataLst>
              <p:tags r:id="rId1"/>
            </p:custDataLst>
            <p:extLst>
              <p:ext uri="{D42A27DB-BD31-4B8C-83A1-F6EECF244321}">
                <p14:modId xmlns:p14="http://schemas.microsoft.com/office/powerpoint/2010/main" val="1594490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395" imgH="396" progId="TCLayout.ActiveDocument.1">
                  <p:embed/>
                </p:oleObj>
              </mc:Choice>
              <mc:Fallback>
                <p:oleObj name="Diapositive think-cell" r:id="rId17" imgW="395" imgH="396" progId="TCLayout.ActiveDocument.1">
                  <p:embed/>
                  <p:pic>
                    <p:nvPicPr>
                      <p:cNvPr id="5" name="Objet 4" hidden="1">
                        <a:extLst>
                          <a:ext uri="{FF2B5EF4-FFF2-40B4-BE49-F238E27FC236}">
                            <a16:creationId xmlns:a16="http://schemas.microsoft.com/office/drawing/2014/main" id="{126F5757-567A-4FCF-9E7E-89607297FE6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25D3361-7AF1-412C-AF5B-4D216096B4BB}"/>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9">
            <a:extLst>
              <a:ext uri="{FF2B5EF4-FFF2-40B4-BE49-F238E27FC236}">
                <a16:creationId xmlns:a16="http://schemas.microsoft.com/office/drawing/2014/main" id="{D26A73AD-E0E8-4751-A870-3BC2DDFE7959}"/>
              </a:ext>
            </a:extLst>
          </p:cNvPr>
          <p:cNvSpPr>
            <a:spLocks noRot="1" noMove="1" noResize="1" noEditPoints="1" noAdjustHandles="1" noChangeArrowheads="1" noChangeShapeType="1"/>
          </p:cNvSpPr>
          <p:nvPr>
            <p:custDataLst>
              <p:tags r:id="rId3"/>
            </p:custDataLst>
          </p:nvPr>
        </p:nvSpPr>
        <p:spPr bwMode="auto">
          <a:xfrm>
            <a:off x="457166" y="2354755"/>
            <a:ext cx="2720716" cy="3608776"/>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Title – experience (Partner)</a:t>
            </a: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a:p>
            <a:pPr marL="0" lvl="1" indent="0" algn="l" eaLnBrk="1" hangingPunct="1">
              <a:spcBef>
                <a:spcPts val="400"/>
              </a:spcBef>
              <a:spcAft>
                <a:spcPts val="400"/>
              </a:spcAft>
              <a:buClr>
                <a:schemeClr val="accent3"/>
              </a:buClr>
              <a:buSzPct val="73000"/>
            </a:pPr>
            <a:endParaRPr lang="en-GB" altLang="en-US" sz="1050" b="1" dirty="0">
              <a:solidFill>
                <a:schemeClr val="accent2"/>
              </a:solidFill>
              <a:latin typeface="+mn-lt"/>
            </a:endParaRP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Expertise</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p:txBody>
      </p:sp>
      <p:sp>
        <p:nvSpPr>
          <p:cNvPr id="19" name="Rectangle 19-2">
            <a:extLst>
              <a:ext uri="{FF2B5EF4-FFF2-40B4-BE49-F238E27FC236}">
                <a16:creationId xmlns:a16="http://schemas.microsoft.com/office/drawing/2014/main" id="{74430740-9926-4238-B369-7CD7AA715C8C}"/>
              </a:ext>
            </a:extLst>
          </p:cNvPr>
          <p:cNvSpPr>
            <a:spLocks noRot="1" noMove="1" noResize="1" noEditPoints="1" noAdjustHandles="1" noChangeArrowheads="1" noChangeShapeType="1"/>
          </p:cNvSpPr>
          <p:nvPr>
            <p:custDataLst>
              <p:tags r:id="rId4"/>
            </p:custDataLst>
          </p:nvPr>
        </p:nvSpPr>
        <p:spPr bwMode="auto">
          <a:xfrm>
            <a:off x="3320090" y="2354755"/>
            <a:ext cx="2720716" cy="3608776"/>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Title – experience (Senior Manager)</a:t>
            </a: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a:p>
            <a:pPr marL="0" lvl="1" indent="0" algn="l" eaLnBrk="1" hangingPunct="1">
              <a:spcBef>
                <a:spcPts val="400"/>
              </a:spcBef>
              <a:spcAft>
                <a:spcPts val="400"/>
              </a:spcAft>
              <a:buClr>
                <a:schemeClr val="accent3"/>
              </a:buClr>
              <a:buSzPct val="73000"/>
            </a:pPr>
            <a:endParaRPr lang="en-GB" altLang="en-US" sz="1050" b="1" dirty="0">
              <a:solidFill>
                <a:schemeClr val="accent2"/>
              </a:solidFill>
              <a:latin typeface="+mn-lt"/>
            </a:endParaRP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Expertise</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p:txBody>
      </p:sp>
      <p:sp>
        <p:nvSpPr>
          <p:cNvPr id="20" name="Rectangle 19-3">
            <a:extLst>
              <a:ext uri="{FF2B5EF4-FFF2-40B4-BE49-F238E27FC236}">
                <a16:creationId xmlns:a16="http://schemas.microsoft.com/office/drawing/2014/main" id="{03BE046F-9C63-4886-AC82-BD1BDC69A8F4}"/>
              </a:ext>
            </a:extLst>
          </p:cNvPr>
          <p:cNvSpPr>
            <a:spLocks noRot="1" noMove="1" noResize="1" noEditPoints="1" noAdjustHandles="1" noChangeArrowheads="1" noChangeShapeType="1"/>
          </p:cNvSpPr>
          <p:nvPr>
            <p:custDataLst>
              <p:tags r:id="rId5"/>
            </p:custDataLst>
          </p:nvPr>
        </p:nvSpPr>
        <p:spPr bwMode="auto">
          <a:xfrm>
            <a:off x="6182577" y="2354755"/>
            <a:ext cx="2720716" cy="3608776"/>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Title – experience (Senior Manager)</a:t>
            </a: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a:p>
            <a:pPr marL="0" lvl="1" indent="0" algn="l" eaLnBrk="1" hangingPunct="1">
              <a:spcBef>
                <a:spcPts val="400"/>
              </a:spcBef>
              <a:spcAft>
                <a:spcPts val="400"/>
              </a:spcAft>
              <a:buClr>
                <a:schemeClr val="accent3"/>
              </a:buClr>
              <a:buSzPct val="73000"/>
            </a:pPr>
            <a:endParaRPr lang="en-GB" altLang="en-US" sz="1050" b="1" dirty="0">
              <a:solidFill>
                <a:schemeClr val="accent2"/>
              </a:solidFill>
              <a:latin typeface="+mn-lt"/>
            </a:endParaRP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Expertise</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p:txBody>
      </p:sp>
      <p:sp>
        <p:nvSpPr>
          <p:cNvPr id="21" name="Rectangle 20">
            <a:extLst>
              <a:ext uri="{FF2B5EF4-FFF2-40B4-BE49-F238E27FC236}">
                <a16:creationId xmlns:a16="http://schemas.microsoft.com/office/drawing/2014/main" id="{0712BDE3-4245-4720-BD0A-137234F4E1DB}"/>
              </a:ext>
            </a:extLst>
          </p:cNvPr>
          <p:cNvSpPr>
            <a:spLocks noRot="1" noMove="1" noResize="1" noEditPoints="1" noAdjustHandles="1" noChangeArrowheads="1" noChangeShapeType="1"/>
          </p:cNvSpPr>
          <p:nvPr>
            <p:custDataLst>
              <p:tags r:id="rId6"/>
            </p:custDataLst>
          </p:nvPr>
        </p:nvSpPr>
        <p:spPr bwMode="auto">
          <a:xfrm>
            <a:off x="9058890" y="2354755"/>
            <a:ext cx="2720716" cy="3608776"/>
          </a:xfrm>
          <a:prstGeom prst="rect">
            <a:avLst/>
          </a:prstGeom>
          <a:solidFill>
            <a:schemeClr val="bg2"/>
          </a:solidFill>
          <a:ln>
            <a:noFill/>
          </a:ln>
        </p:spPr>
        <p:txBody>
          <a:bodyPr lIns="108000" tIns="108000" rIns="72000" bIns="72000"/>
          <a:lstStyle>
            <a:lvl1pPr>
              <a:defRPr sz="1400">
                <a:solidFill>
                  <a:schemeClr val="tx1"/>
                </a:solidFill>
                <a:latin typeface="Arial" charset="0"/>
              </a:defRPr>
            </a:lvl1pPr>
            <a:lvl2pPr marL="379413" indent="-18891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6pPr>
            <a:lvl7pPr marL="29718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7pPr>
            <a:lvl8pPr marL="34290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8pPr>
            <a:lvl9pPr marL="3886200" indent="-228600" algn="ctr" eaLnBrk="0" fontAlgn="base" hangingPunct="0">
              <a:spcBef>
                <a:spcPct val="50000"/>
              </a:spcBef>
              <a:spcAft>
                <a:spcPct val="0"/>
              </a:spcAft>
              <a:buClr>
                <a:schemeClr val="accent1"/>
              </a:buClr>
              <a:buFont typeface="Wingdings" pitchFamily="2" charset="2"/>
              <a:defRPr sz="1400">
                <a:solidFill>
                  <a:schemeClr val="tx1"/>
                </a:solidFill>
                <a:latin typeface="Arial" charset="0"/>
              </a:defRPr>
            </a:lvl9pPr>
          </a:lstStyle>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Title – experience (Senior Manager)</a:t>
            </a: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Role on project</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a:p>
            <a:pPr marL="0" lvl="1" indent="0" algn="l" eaLnBrk="1" hangingPunct="1">
              <a:spcBef>
                <a:spcPts val="400"/>
              </a:spcBef>
              <a:spcAft>
                <a:spcPts val="400"/>
              </a:spcAft>
              <a:buClr>
                <a:schemeClr val="accent3"/>
              </a:buClr>
              <a:buSzPct val="73000"/>
            </a:pPr>
            <a:endParaRPr lang="en-GB" altLang="en-US" sz="1050" b="1" dirty="0">
              <a:solidFill>
                <a:schemeClr val="accent2"/>
              </a:solidFill>
              <a:latin typeface="+mn-lt"/>
            </a:endParaRPr>
          </a:p>
          <a:p>
            <a:pPr marL="0" lvl="1" indent="0" algn="l" eaLnBrk="1" hangingPunct="1">
              <a:spcBef>
                <a:spcPts val="400"/>
              </a:spcBef>
              <a:spcAft>
                <a:spcPts val="400"/>
              </a:spcAft>
              <a:buClr>
                <a:schemeClr val="accent3"/>
              </a:buClr>
              <a:buSzPct val="73000"/>
            </a:pPr>
            <a:r>
              <a:rPr lang="en-GB" altLang="en-US" sz="1050" b="1" dirty="0">
                <a:solidFill>
                  <a:schemeClr val="accent2"/>
                </a:solidFill>
                <a:latin typeface="+mn-lt"/>
              </a:rPr>
              <a:t>Expertise</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Selected information from CV</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Font size 10.5</a:t>
            </a:r>
          </a:p>
          <a:p>
            <a:pPr marL="180000" lvl="1" indent="-180000" algn="l" eaLnBrk="1" hangingPunct="1">
              <a:spcBef>
                <a:spcPts val="840"/>
              </a:spcBef>
              <a:spcAft>
                <a:spcPts val="0"/>
              </a:spcAft>
              <a:buClr>
                <a:srgbClr val="C2C2C2"/>
              </a:buClr>
              <a:buSzPct val="77000"/>
              <a:buFont typeface="Wingdings 3" panose="05040102010807070707" pitchFamily="18" charset="2"/>
              <a:buChar char=""/>
            </a:pPr>
            <a:r>
              <a:rPr lang="en-GB" altLang="en-US" sz="1050" dirty="0">
                <a:solidFill>
                  <a:schemeClr val="accent2"/>
                </a:solidFill>
                <a:latin typeface="+mn-lt"/>
              </a:rPr>
              <a:t>Line spacing 2.16 before, 6pt after, single</a:t>
            </a:r>
          </a:p>
        </p:txBody>
      </p:sp>
      <p:sp>
        <p:nvSpPr>
          <p:cNvPr id="2" name="Titre 1">
            <a:extLst>
              <a:ext uri="{FF2B5EF4-FFF2-40B4-BE49-F238E27FC236}">
                <a16:creationId xmlns:a16="http://schemas.microsoft.com/office/drawing/2014/main" id="{3C42A3CA-3309-4F0A-A821-EF9F841D3218}"/>
              </a:ext>
            </a:extLst>
          </p:cNvPr>
          <p:cNvSpPr>
            <a:spLocks noGrp="1"/>
          </p:cNvSpPr>
          <p:nvPr>
            <p:ph type="title"/>
          </p:nvPr>
        </p:nvSpPr>
        <p:spPr/>
        <p:txBody>
          <a:bodyPr vert="horz"/>
          <a:lstStyle/>
          <a:p>
            <a:r>
              <a:rPr lang="en-GB" dirty="0"/>
              <a:t>Four person team presentation</a:t>
            </a:r>
          </a:p>
        </p:txBody>
      </p:sp>
      <p:sp>
        <p:nvSpPr>
          <p:cNvPr id="12" name="Rectangle 11">
            <a:extLst>
              <a:ext uri="{FF2B5EF4-FFF2-40B4-BE49-F238E27FC236}">
                <a16:creationId xmlns:a16="http://schemas.microsoft.com/office/drawing/2014/main" id="{A30863DA-8D15-43C7-B400-810FD2F80D5E}"/>
              </a:ext>
            </a:extLst>
          </p:cNvPr>
          <p:cNvSpPr>
            <a:spLocks noRot="1" noMove="1" noResize="1" noEditPoints="1" noAdjustHandles="1" noChangeArrowheads="1" noChangeShapeType="1"/>
          </p:cNvSpPr>
          <p:nvPr>
            <p:custDataLst>
              <p:tags r:id="rId7"/>
            </p:custDataLst>
          </p:nvPr>
        </p:nvSpPr>
        <p:spPr bwMode="auto">
          <a:xfrm>
            <a:off x="457165" y="1233395"/>
            <a:ext cx="1568123" cy="1121360"/>
          </a:xfrm>
          <a:prstGeom prst="rect">
            <a:avLst/>
          </a:prstGeom>
          <a:solidFill>
            <a:schemeClr val="tx2"/>
          </a:solidFill>
          <a:ln>
            <a:noFill/>
          </a:ln>
          <a:effectLst/>
        </p:spPr>
        <p:txBody>
          <a:bodyPr wrap="square" lIns="72000" rIns="36000" anchor="t"/>
          <a:lstStyle/>
          <a:p>
            <a:pPr algn="l"/>
            <a:r>
              <a:rPr lang="en-GB" altLang="en-US" sz="1600" b="1" dirty="0">
                <a:solidFill>
                  <a:schemeClr val="bg1"/>
                </a:solidFill>
                <a:latin typeface="+mn-lt"/>
              </a:rPr>
              <a:t>Name</a:t>
            </a:r>
          </a:p>
          <a:p>
            <a:pPr lvl="0" algn="l">
              <a:buClr>
                <a:srgbClr val="B40646"/>
              </a:buClr>
            </a:pPr>
            <a:endParaRPr lang="en-GB" altLang="en-US" sz="800" dirty="0">
              <a:solidFill>
                <a:schemeClr val="bg1"/>
              </a:solidFill>
              <a:latin typeface="+mn-lt"/>
            </a:endParaRPr>
          </a:p>
        </p:txBody>
      </p:sp>
      <p:sp>
        <p:nvSpPr>
          <p:cNvPr id="24" name="ZoneTexte 23">
            <a:extLst>
              <a:ext uri="{FF2B5EF4-FFF2-40B4-BE49-F238E27FC236}">
                <a16:creationId xmlns:a16="http://schemas.microsoft.com/office/drawing/2014/main" id="{7DD99B26-318E-480F-ACA6-7BFB4FDE9ABC}"/>
              </a:ext>
            </a:extLst>
          </p:cNvPr>
          <p:cNvSpPr txBox="1">
            <a:spLocks noRot="1" noMove="1" noResize="1" noEditPoints="1" noAdjustHandles="1" noChangeArrowheads="1" noChangeShapeType="1"/>
          </p:cNvSpPr>
          <p:nvPr>
            <p:custDataLst>
              <p:tags r:id="rId8"/>
            </p:custDataLst>
          </p:nvPr>
        </p:nvSpPr>
        <p:spPr>
          <a:xfrm>
            <a:off x="2025288" y="1233395"/>
            <a:ext cx="1145681" cy="1123200"/>
          </a:xfrm>
          <a:prstGeom prst="rect">
            <a:avLst/>
          </a:prstGeom>
          <a:noFill/>
          <a:ln>
            <a:solidFill>
              <a:srgbClr val="D9D9D9"/>
            </a:solidFill>
            <a:prstDash val="dash"/>
          </a:ln>
        </p:spPr>
        <p:txBody>
          <a:bodyPr wrap="square" rtlCol="0">
            <a:noAutofit/>
          </a:bodyPr>
          <a:lstStyle/>
          <a:p>
            <a:pPr algn="l">
              <a:spcBef>
                <a:spcPts val="400"/>
              </a:spcBef>
              <a:spcAft>
                <a:spcPts val="400"/>
              </a:spcAft>
              <a:buClr>
                <a:schemeClr val="accent3"/>
              </a:buClr>
              <a:buSzPct val="77000"/>
            </a:pPr>
            <a:r>
              <a:rPr lang="en-GB" sz="800" dirty="0">
                <a:solidFill>
                  <a:srgbClr val="87737B"/>
                </a:solidFill>
                <a:latin typeface="+mn-lt"/>
              </a:rPr>
              <a:t>Insert photo</a:t>
            </a:r>
          </a:p>
          <a:p>
            <a:pPr algn="l">
              <a:spcBef>
                <a:spcPts val="400"/>
              </a:spcBef>
              <a:spcAft>
                <a:spcPts val="400"/>
              </a:spcAft>
              <a:buClr>
                <a:schemeClr val="accent3"/>
              </a:buClr>
              <a:buSzPct val="77000"/>
            </a:pPr>
            <a:r>
              <a:rPr lang="en-GB" sz="800" dirty="0">
                <a:solidFill>
                  <a:srgbClr val="87737B"/>
                </a:solidFill>
                <a:latin typeface="+mn-lt"/>
              </a:rPr>
              <a:t>2.5cm x 2.5cm</a:t>
            </a:r>
          </a:p>
          <a:p>
            <a:pPr algn="l">
              <a:spcBef>
                <a:spcPts val="400"/>
              </a:spcBef>
              <a:spcAft>
                <a:spcPts val="400"/>
              </a:spcAft>
              <a:buClr>
                <a:schemeClr val="accent3"/>
              </a:buClr>
              <a:buSzPct val="77000"/>
            </a:pPr>
            <a:r>
              <a:rPr lang="en-GB" sz="800" dirty="0">
                <a:solidFill>
                  <a:srgbClr val="87737B"/>
                </a:solidFill>
                <a:latin typeface="+mn-lt"/>
              </a:rPr>
              <a:t>Colour photo in line with brand guidelines</a:t>
            </a:r>
          </a:p>
        </p:txBody>
      </p:sp>
      <p:sp>
        <p:nvSpPr>
          <p:cNvPr id="28" name="ZoneTexte 27">
            <a:extLst>
              <a:ext uri="{FF2B5EF4-FFF2-40B4-BE49-F238E27FC236}">
                <a16:creationId xmlns:a16="http://schemas.microsoft.com/office/drawing/2014/main" id="{B0AC8F18-3B20-4E87-A2DE-44EBF59C15E1}"/>
              </a:ext>
            </a:extLst>
          </p:cNvPr>
          <p:cNvSpPr txBox="1">
            <a:spLocks noRot="1" noMove="1" noResize="1" noEditPoints="1" noAdjustHandles="1" noChangeArrowheads="1" noChangeShapeType="1"/>
          </p:cNvSpPr>
          <p:nvPr>
            <p:custDataLst>
              <p:tags r:id="rId9"/>
            </p:custDataLst>
          </p:nvPr>
        </p:nvSpPr>
        <p:spPr>
          <a:xfrm>
            <a:off x="4892207" y="1233395"/>
            <a:ext cx="1145681" cy="1123200"/>
          </a:xfrm>
          <a:prstGeom prst="rect">
            <a:avLst/>
          </a:prstGeom>
          <a:noFill/>
          <a:ln>
            <a:solidFill>
              <a:srgbClr val="D9D9D9"/>
            </a:solidFill>
            <a:prstDash val="dash"/>
          </a:ln>
        </p:spPr>
        <p:txBody>
          <a:bodyPr wrap="square" rtlCol="0">
            <a:noAutofit/>
          </a:bodyPr>
          <a:lstStyle/>
          <a:p>
            <a:pPr algn="l">
              <a:spcBef>
                <a:spcPts val="400"/>
              </a:spcBef>
              <a:spcAft>
                <a:spcPts val="400"/>
              </a:spcAft>
              <a:buClr>
                <a:schemeClr val="accent3"/>
              </a:buClr>
              <a:buSzPct val="77000"/>
            </a:pPr>
            <a:r>
              <a:rPr lang="en-GB" sz="800" dirty="0">
                <a:solidFill>
                  <a:srgbClr val="87737B"/>
                </a:solidFill>
                <a:latin typeface="+mn-lt"/>
              </a:rPr>
              <a:t>Insert photo</a:t>
            </a:r>
          </a:p>
          <a:p>
            <a:pPr algn="l">
              <a:spcBef>
                <a:spcPts val="400"/>
              </a:spcBef>
              <a:spcAft>
                <a:spcPts val="400"/>
              </a:spcAft>
              <a:buClr>
                <a:schemeClr val="accent3"/>
              </a:buClr>
              <a:buSzPct val="77000"/>
            </a:pPr>
            <a:r>
              <a:rPr lang="en-GB" sz="800" dirty="0">
                <a:solidFill>
                  <a:srgbClr val="87737B"/>
                </a:solidFill>
                <a:latin typeface="+mn-lt"/>
              </a:rPr>
              <a:t>2.5cm x 2.5cm</a:t>
            </a:r>
          </a:p>
          <a:p>
            <a:pPr algn="l">
              <a:spcBef>
                <a:spcPts val="400"/>
              </a:spcBef>
              <a:spcAft>
                <a:spcPts val="400"/>
              </a:spcAft>
              <a:buClr>
                <a:schemeClr val="accent3"/>
              </a:buClr>
              <a:buSzPct val="77000"/>
            </a:pPr>
            <a:r>
              <a:rPr lang="en-GB" sz="800" dirty="0">
                <a:solidFill>
                  <a:srgbClr val="87737B"/>
                </a:solidFill>
                <a:latin typeface="+mn-lt"/>
              </a:rPr>
              <a:t>Colour photo in line with brand guidelines</a:t>
            </a:r>
          </a:p>
        </p:txBody>
      </p:sp>
      <p:sp>
        <p:nvSpPr>
          <p:cNvPr id="29" name="ZoneTexte 28">
            <a:extLst>
              <a:ext uri="{FF2B5EF4-FFF2-40B4-BE49-F238E27FC236}">
                <a16:creationId xmlns:a16="http://schemas.microsoft.com/office/drawing/2014/main" id="{71A2A378-FDA8-49A3-8771-C34C78F44CC0}"/>
              </a:ext>
            </a:extLst>
          </p:cNvPr>
          <p:cNvSpPr txBox="1">
            <a:spLocks noRot="1" noMove="1" noResize="1" noEditPoints="1" noAdjustHandles="1" noChangeArrowheads="1" noChangeShapeType="1"/>
          </p:cNvSpPr>
          <p:nvPr>
            <p:custDataLst>
              <p:tags r:id="rId10"/>
            </p:custDataLst>
          </p:nvPr>
        </p:nvSpPr>
        <p:spPr>
          <a:xfrm>
            <a:off x="7761166" y="1233395"/>
            <a:ext cx="1145681" cy="1123200"/>
          </a:xfrm>
          <a:prstGeom prst="rect">
            <a:avLst/>
          </a:prstGeom>
          <a:noFill/>
          <a:ln>
            <a:solidFill>
              <a:srgbClr val="D9D9D9"/>
            </a:solidFill>
            <a:prstDash val="dash"/>
          </a:ln>
        </p:spPr>
        <p:txBody>
          <a:bodyPr wrap="square" rtlCol="0">
            <a:noAutofit/>
          </a:bodyPr>
          <a:lstStyle/>
          <a:p>
            <a:pPr algn="l">
              <a:spcBef>
                <a:spcPts val="400"/>
              </a:spcBef>
              <a:spcAft>
                <a:spcPts val="400"/>
              </a:spcAft>
              <a:buClr>
                <a:schemeClr val="accent3"/>
              </a:buClr>
              <a:buSzPct val="77000"/>
            </a:pPr>
            <a:r>
              <a:rPr lang="en-GB" sz="800" dirty="0">
                <a:solidFill>
                  <a:srgbClr val="87737B"/>
                </a:solidFill>
                <a:latin typeface="+mn-lt"/>
              </a:rPr>
              <a:t>Insert photo</a:t>
            </a:r>
          </a:p>
          <a:p>
            <a:pPr algn="l">
              <a:spcBef>
                <a:spcPts val="400"/>
              </a:spcBef>
              <a:spcAft>
                <a:spcPts val="400"/>
              </a:spcAft>
              <a:buClr>
                <a:schemeClr val="accent3"/>
              </a:buClr>
              <a:buSzPct val="77000"/>
            </a:pPr>
            <a:r>
              <a:rPr lang="en-GB" sz="800" dirty="0">
                <a:solidFill>
                  <a:srgbClr val="87737B"/>
                </a:solidFill>
                <a:latin typeface="+mn-lt"/>
              </a:rPr>
              <a:t>2.5cm x 2.5cm</a:t>
            </a:r>
          </a:p>
          <a:p>
            <a:pPr algn="l">
              <a:spcBef>
                <a:spcPts val="400"/>
              </a:spcBef>
              <a:spcAft>
                <a:spcPts val="400"/>
              </a:spcAft>
              <a:buClr>
                <a:schemeClr val="accent3"/>
              </a:buClr>
              <a:buSzPct val="77000"/>
            </a:pPr>
            <a:r>
              <a:rPr lang="en-GB" sz="800" dirty="0">
                <a:solidFill>
                  <a:srgbClr val="87737B"/>
                </a:solidFill>
                <a:latin typeface="+mn-lt"/>
              </a:rPr>
              <a:t>Colour photo in line with brand guidelines</a:t>
            </a:r>
          </a:p>
        </p:txBody>
      </p:sp>
      <p:sp>
        <p:nvSpPr>
          <p:cNvPr id="30" name="ZoneTexte 29">
            <a:extLst>
              <a:ext uri="{FF2B5EF4-FFF2-40B4-BE49-F238E27FC236}">
                <a16:creationId xmlns:a16="http://schemas.microsoft.com/office/drawing/2014/main" id="{5FF14372-9246-41CA-AC9B-5EDAF1D85189}"/>
              </a:ext>
            </a:extLst>
          </p:cNvPr>
          <p:cNvSpPr txBox="1">
            <a:spLocks noRot="1" noMove="1" noResize="1" noEditPoints="1" noAdjustHandles="1" noChangeArrowheads="1" noChangeShapeType="1"/>
          </p:cNvSpPr>
          <p:nvPr>
            <p:custDataLst>
              <p:tags r:id="rId11"/>
            </p:custDataLst>
          </p:nvPr>
        </p:nvSpPr>
        <p:spPr>
          <a:xfrm>
            <a:off x="10620221" y="1233395"/>
            <a:ext cx="1145681" cy="1123200"/>
          </a:xfrm>
          <a:prstGeom prst="rect">
            <a:avLst/>
          </a:prstGeom>
          <a:noFill/>
          <a:ln>
            <a:solidFill>
              <a:srgbClr val="D9D9D9"/>
            </a:solidFill>
            <a:prstDash val="dash"/>
          </a:ln>
        </p:spPr>
        <p:txBody>
          <a:bodyPr wrap="square" rtlCol="0">
            <a:noAutofit/>
          </a:bodyPr>
          <a:lstStyle/>
          <a:p>
            <a:pPr algn="l">
              <a:spcBef>
                <a:spcPts val="400"/>
              </a:spcBef>
              <a:spcAft>
                <a:spcPts val="400"/>
              </a:spcAft>
              <a:buClr>
                <a:schemeClr val="accent3"/>
              </a:buClr>
              <a:buSzPct val="77000"/>
            </a:pPr>
            <a:r>
              <a:rPr lang="en-GB" sz="800" dirty="0">
                <a:solidFill>
                  <a:srgbClr val="87737B"/>
                </a:solidFill>
                <a:latin typeface="+mn-lt"/>
              </a:rPr>
              <a:t>Insert photo</a:t>
            </a:r>
          </a:p>
          <a:p>
            <a:pPr algn="l">
              <a:spcBef>
                <a:spcPts val="400"/>
              </a:spcBef>
              <a:spcAft>
                <a:spcPts val="400"/>
              </a:spcAft>
              <a:buClr>
                <a:schemeClr val="accent3"/>
              </a:buClr>
              <a:buSzPct val="77000"/>
            </a:pPr>
            <a:r>
              <a:rPr lang="en-GB" sz="800" dirty="0">
                <a:solidFill>
                  <a:srgbClr val="87737B"/>
                </a:solidFill>
                <a:latin typeface="+mn-lt"/>
              </a:rPr>
              <a:t>2.5cm x 2.5cm</a:t>
            </a:r>
          </a:p>
          <a:p>
            <a:pPr algn="l">
              <a:spcBef>
                <a:spcPts val="400"/>
              </a:spcBef>
              <a:spcAft>
                <a:spcPts val="400"/>
              </a:spcAft>
              <a:buClr>
                <a:schemeClr val="accent3"/>
              </a:buClr>
              <a:buSzPct val="77000"/>
            </a:pPr>
            <a:r>
              <a:rPr lang="en-GB" sz="800" dirty="0">
                <a:solidFill>
                  <a:srgbClr val="87737B"/>
                </a:solidFill>
                <a:latin typeface="+mn-lt"/>
              </a:rPr>
              <a:t>Colour photo in line with brand guidelines</a:t>
            </a:r>
          </a:p>
        </p:txBody>
      </p:sp>
      <p:sp>
        <p:nvSpPr>
          <p:cNvPr id="31" name="Rectangle 30">
            <a:extLst>
              <a:ext uri="{FF2B5EF4-FFF2-40B4-BE49-F238E27FC236}">
                <a16:creationId xmlns:a16="http://schemas.microsoft.com/office/drawing/2014/main" id="{CBC386E3-45D3-4C01-941B-AEFEFE4562E8}"/>
              </a:ext>
            </a:extLst>
          </p:cNvPr>
          <p:cNvSpPr>
            <a:spLocks noRot="1" noMove="1" noResize="1" noEditPoints="1" noAdjustHandles="1" noChangeArrowheads="1" noChangeShapeType="1"/>
          </p:cNvSpPr>
          <p:nvPr>
            <p:custDataLst>
              <p:tags r:id="rId12"/>
            </p:custDataLst>
          </p:nvPr>
        </p:nvSpPr>
        <p:spPr bwMode="auto">
          <a:xfrm>
            <a:off x="3324647" y="1233395"/>
            <a:ext cx="1568123" cy="1121360"/>
          </a:xfrm>
          <a:prstGeom prst="rect">
            <a:avLst/>
          </a:prstGeom>
          <a:solidFill>
            <a:schemeClr val="tx2"/>
          </a:solidFill>
          <a:ln>
            <a:noFill/>
          </a:ln>
          <a:effectLst/>
        </p:spPr>
        <p:txBody>
          <a:bodyPr wrap="square" lIns="72000" rIns="36000" anchor="t"/>
          <a:lstStyle/>
          <a:p>
            <a:pPr algn="l"/>
            <a:r>
              <a:rPr lang="en-GB" altLang="en-US" sz="1600" b="1" dirty="0">
                <a:solidFill>
                  <a:schemeClr val="bg1"/>
                </a:solidFill>
                <a:latin typeface="+mn-lt"/>
              </a:rPr>
              <a:t>Name</a:t>
            </a:r>
          </a:p>
          <a:p>
            <a:pPr lvl="0" algn="l">
              <a:buClr>
                <a:srgbClr val="B40646"/>
              </a:buClr>
            </a:pPr>
            <a:endParaRPr lang="en-GB" altLang="en-US" sz="800" dirty="0">
              <a:solidFill>
                <a:schemeClr val="bg1"/>
              </a:solidFill>
              <a:latin typeface="+mn-lt"/>
            </a:endParaRPr>
          </a:p>
        </p:txBody>
      </p:sp>
      <p:sp>
        <p:nvSpPr>
          <p:cNvPr id="32" name="Rectangle 31">
            <a:extLst>
              <a:ext uri="{FF2B5EF4-FFF2-40B4-BE49-F238E27FC236}">
                <a16:creationId xmlns:a16="http://schemas.microsoft.com/office/drawing/2014/main" id="{7FDB10A8-A2DB-406B-B06A-0D4BB96FF6E0}"/>
              </a:ext>
            </a:extLst>
          </p:cNvPr>
          <p:cNvSpPr>
            <a:spLocks noRot="1" noMove="1" noResize="1" noEditPoints="1" noAdjustHandles="1" noChangeArrowheads="1" noChangeShapeType="1"/>
          </p:cNvSpPr>
          <p:nvPr>
            <p:custDataLst>
              <p:tags r:id="rId13"/>
            </p:custDataLst>
          </p:nvPr>
        </p:nvSpPr>
        <p:spPr bwMode="auto">
          <a:xfrm>
            <a:off x="6192181" y="1233395"/>
            <a:ext cx="1568123" cy="1121360"/>
          </a:xfrm>
          <a:prstGeom prst="rect">
            <a:avLst/>
          </a:prstGeom>
          <a:solidFill>
            <a:schemeClr val="tx2"/>
          </a:solidFill>
          <a:ln>
            <a:noFill/>
          </a:ln>
          <a:effectLst/>
        </p:spPr>
        <p:txBody>
          <a:bodyPr wrap="square" lIns="72000" rIns="36000" anchor="t"/>
          <a:lstStyle/>
          <a:p>
            <a:pPr algn="l"/>
            <a:r>
              <a:rPr lang="en-GB" altLang="en-US" sz="1600" b="1" dirty="0">
                <a:solidFill>
                  <a:schemeClr val="bg1"/>
                </a:solidFill>
                <a:latin typeface="+mn-lt"/>
              </a:rPr>
              <a:t>Name</a:t>
            </a:r>
          </a:p>
          <a:p>
            <a:pPr lvl="0" algn="l">
              <a:buClr>
                <a:srgbClr val="B40646"/>
              </a:buClr>
            </a:pPr>
            <a:endParaRPr lang="en-GB" altLang="en-US" sz="800" dirty="0">
              <a:solidFill>
                <a:schemeClr val="bg1"/>
              </a:solidFill>
              <a:latin typeface="+mn-lt"/>
            </a:endParaRPr>
          </a:p>
        </p:txBody>
      </p:sp>
      <p:sp>
        <p:nvSpPr>
          <p:cNvPr id="33" name="Rectangle 32">
            <a:extLst>
              <a:ext uri="{FF2B5EF4-FFF2-40B4-BE49-F238E27FC236}">
                <a16:creationId xmlns:a16="http://schemas.microsoft.com/office/drawing/2014/main" id="{B4A28C68-008C-4456-A66A-DFE05B787056}"/>
              </a:ext>
            </a:extLst>
          </p:cNvPr>
          <p:cNvSpPr>
            <a:spLocks noRot="1" noMove="1" noResize="1" noEditPoints="1" noAdjustHandles="1" noChangeArrowheads="1" noChangeShapeType="1"/>
          </p:cNvSpPr>
          <p:nvPr>
            <p:custDataLst>
              <p:tags r:id="rId14"/>
            </p:custDataLst>
          </p:nvPr>
        </p:nvSpPr>
        <p:spPr bwMode="auto">
          <a:xfrm>
            <a:off x="9058890" y="1233395"/>
            <a:ext cx="1568123" cy="1121360"/>
          </a:xfrm>
          <a:prstGeom prst="rect">
            <a:avLst/>
          </a:prstGeom>
          <a:solidFill>
            <a:schemeClr val="tx2"/>
          </a:solidFill>
          <a:ln>
            <a:noFill/>
          </a:ln>
          <a:effectLst/>
        </p:spPr>
        <p:txBody>
          <a:bodyPr wrap="square" lIns="72000" rIns="36000" anchor="t"/>
          <a:lstStyle/>
          <a:p>
            <a:pPr algn="l"/>
            <a:r>
              <a:rPr lang="en-GB" altLang="en-US" sz="1600" b="1" dirty="0">
                <a:solidFill>
                  <a:schemeClr val="bg1"/>
                </a:solidFill>
                <a:latin typeface="+mn-lt"/>
              </a:rPr>
              <a:t>Name</a:t>
            </a:r>
            <a:endParaRPr lang="en-GB" altLang="en-US" sz="800" dirty="0">
              <a:solidFill>
                <a:schemeClr val="bg1"/>
              </a:solidFill>
              <a:latin typeface="+mn-lt"/>
            </a:endParaRPr>
          </a:p>
        </p:txBody>
      </p:sp>
    </p:spTree>
    <p:extLst>
      <p:ext uri="{BB962C8B-B14F-4D97-AF65-F5344CB8AC3E}">
        <p14:creationId xmlns:p14="http://schemas.microsoft.com/office/powerpoint/2010/main" val="16842867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6BEB3AD-FA09-43E0-8852-A4407C8F4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3" name="Objet 2" hidden="1">
                        <a:extLst>
                          <a:ext uri="{FF2B5EF4-FFF2-40B4-BE49-F238E27FC236}">
                            <a16:creationId xmlns:a16="http://schemas.microsoft.com/office/drawing/2014/main" id="{E6BEB3AD-FA09-43E0-8852-A4407C8F45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235F5F-CFE4-4824-96C4-DDADCE4C34F1}"/>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400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p:cNvSpPr>
            <a:spLocks noGrp="1"/>
          </p:cNvSpPr>
          <p:nvPr>
            <p:ph type="title"/>
          </p:nvPr>
        </p:nvSpPr>
        <p:spPr/>
        <p:txBody>
          <a:bodyPr/>
          <a:lstStyle/>
          <a:p>
            <a:r>
              <a:rPr lang="en-GB">
                <a:solidFill>
                  <a:srgbClr val="FFFFFF"/>
                </a:solidFill>
              </a:rPr>
              <a:t>Introduction slides</a:t>
            </a:r>
            <a:endParaRPr lang="en-GB" dirty="0">
              <a:solidFill>
                <a:srgbClr val="FFFFFF"/>
              </a:solidFill>
            </a:endParaRPr>
          </a:p>
        </p:txBody>
      </p:sp>
    </p:spTree>
    <p:extLst>
      <p:ext uri="{BB962C8B-B14F-4D97-AF65-F5344CB8AC3E}">
        <p14:creationId xmlns:p14="http://schemas.microsoft.com/office/powerpoint/2010/main" val="1765938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83E33EDF-D6F3-4A5F-892F-C70D9FAA45D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5" name="Objet 4" hidden="1">
                        <a:extLst>
                          <a:ext uri="{FF2B5EF4-FFF2-40B4-BE49-F238E27FC236}">
                            <a16:creationId xmlns:a16="http://schemas.microsoft.com/office/drawing/2014/main" id="{83E33EDF-D6F3-4A5F-892F-C70D9FAA45DA}"/>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ADCBF0-D766-49A0-B044-891AB39EE909}"/>
              </a:ext>
            </a:extLst>
          </p:cNvPr>
          <p:cNvSpPr/>
          <p:nvPr>
            <p:custDataLst>
              <p:tags r:id="rId2"/>
            </p:custDataLst>
          </p:nvPr>
        </p:nvSpPr>
        <p:spPr>
          <a:xfrm>
            <a:off x="1143000" y="0"/>
            <a:ext cx="158750" cy="158750"/>
          </a:xfrm>
          <a:prstGeom prst="rect">
            <a:avLst/>
          </a:prstGeom>
          <a:solidFill>
            <a:srgbClr val="901237"/>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91E5384E-A09A-418C-91C0-16D5F63612E9}"/>
              </a:ext>
            </a:extLst>
          </p:cNvPr>
          <p:cNvSpPr>
            <a:spLocks noGrp="1"/>
          </p:cNvSpPr>
          <p:nvPr>
            <p:ph type="title"/>
          </p:nvPr>
        </p:nvSpPr>
        <p:spPr/>
        <p:txBody>
          <a:bodyPr/>
          <a:lstStyle/>
          <a:p>
            <a:r>
              <a:rPr lang="en-GB"/>
              <a:t>Objectives</a:t>
            </a:r>
            <a:endParaRPr lang="en-GB" dirty="0"/>
          </a:p>
        </p:txBody>
      </p:sp>
      <p:sp>
        <p:nvSpPr>
          <p:cNvPr id="25" name="Rectangle 24">
            <a:extLst>
              <a:ext uri="{FF2B5EF4-FFF2-40B4-BE49-F238E27FC236}">
                <a16:creationId xmlns:a16="http://schemas.microsoft.com/office/drawing/2014/main" id="{262C9401-5CEC-4D15-8BC3-18CC75F9CE26}"/>
              </a:ext>
            </a:extLst>
          </p:cNvPr>
          <p:cNvSpPr/>
          <p:nvPr/>
        </p:nvSpPr>
        <p:spPr bwMode="auto">
          <a:xfrm>
            <a:off x="5243225" y="1976749"/>
            <a:ext cx="6229047" cy="345470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rgbClr val="FFFFFF"/>
              </a:solidFill>
              <a:effectLst/>
              <a:latin typeface="+mn-lt"/>
            </a:endParaRPr>
          </a:p>
        </p:txBody>
      </p:sp>
      <p:sp>
        <p:nvSpPr>
          <p:cNvPr id="26" name="Rectangle 25">
            <a:extLst>
              <a:ext uri="{FF2B5EF4-FFF2-40B4-BE49-F238E27FC236}">
                <a16:creationId xmlns:a16="http://schemas.microsoft.com/office/drawing/2014/main" id="{B5CD4067-107F-42E0-9D70-306407145C39}"/>
              </a:ext>
            </a:extLst>
          </p:cNvPr>
          <p:cNvSpPr/>
          <p:nvPr/>
        </p:nvSpPr>
        <p:spPr bwMode="auto">
          <a:xfrm>
            <a:off x="5243225" y="1642239"/>
            <a:ext cx="6229047" cy="37392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1600" b="1">
                <a:solidFill>
                  <a:schemeClr val="bg1"/>
                </a:solidFill>
                <a:latin typeface="+mn-lt"/>
              </a:rPr>
              <a:t>Objectives</a:t>
            </a:r>
            <a:endParaRPr lang="en-GB" sz="1600" b="1" dirty="0">
              <a:solidFill>
                <a:schemeClr val="bg1"/>
              </a:solidFill>
              <a:latin typeface="+mn-lt"/>
            </a:endParaRPr>
          </a:p>
        </p:txBody>
      </p:sp>
      <p:graphicFrame>
        <p:nvGraphicFramePr>
          <p:cNvPr id="27" name="Table 26">
            <a:extLst>
              <a:ext uri="{FF2B5EF4-FFF2-40B4-BE49-F238E27FC236}">
                <a16:creationId xmlns:a16="http://schemas.microsoft.com/office/drawing/2014/main" id="{58817FDB-9CFC-42E5-983E-EE91E9C675C6}"/>
              </a:ext>
            </a:extLst>
          </p:cNvPr>
          <p:cNvGraphicFramePr>
            <a:graphicFrameLocks noGrp="1"/>
          </p:cNvGraphicFramePr>
          <p:nvPr>
            <p:extLst>
              <p:ext uri="{D42A27DB-BD31-4B8C-83A1-F6EECF244321}">
                <p14:modId xmlns:p14="http://schemas.microsoft.com/office/powerpoint/2010/main" val="3383169381"/>
              </p:ext>
            </p:extLst>
          </p:nvPr>
        </p:nvGraphicFramePr>
        <p:xfrm>
          <a:off x="5371533" y="2109072"/>
          <a:ext cx="5972430" cy="3187002"/>
        </p:xfrm>
        <a:graphic>
          <a:graphicData uri="http://schemas.openxmlformats.org/drawingml/2006/table">
            <a:tbl>
              <a:tblPr firstRow="1" bandRow="1">
                <a:tableStyleId>{5C22544A-7EE6-4342-B048-85BDC9FD1C3A}</a:tableStyleId>
              </a:tblPr>
              <a:tblGrid>
                <a:gridCol w="460914">
                  <a:extLst>
                    <a:ext uri="{9D8B030D-6E8A-4147-A177-3AD203B41FA5}">
                      <a16:colId xmlns:a16="http://schemas.microsoft.com/office/drawing/2014/main" val="20000"/>
                    </a:ext>
                  </a:extLst>
                </a:gridCol>
                <a:gridCol w="5511516">
                  <a:extLst>
                    <a:ext uri="{9D8B030D-6E8A-4147-A177-3AD203B41FA5}">
                      <a16:colId xmlns:a16="http://schemas.microsoft.com/office/drawing/2014/main" val="20001"/>
                    </a:ext>
                  </a:extLst>
                </a:gridCol>
              </a:tblGrid>
              <a:tr h="763002">
                <a:tc>
                  <a:txBody>
                    <a:bodyPr/>
                    <a:lstStyle/>
                    <a:p>
                      <a:pPr marL="0" algn="ctr" defTabSz="914400" rtl="0" eaLnBrk="1" latinLnBrk="0" hangingPunct="1"/>
                      <a:r>
                        <a:rPr lang="en-GB" sz="1600" b="1" kern="1200">
                          <a:solidFill>
                            <a:schemeClr val="bg1"/>
                          </a:solidFill>
                          <a:latin typeface="+mn-lt"/>
                          <a:ea typeface="+mn-ea"/>
                          <a:cs typeface="+mn-cs"/>
                        </a:rPr>
                        <a:t>1</a:t>
                      </a:r>
                      <a:endParaRPr lang="en-GB" sz="1600" b="1" kern="1200" dirty="0">
                        <a:solidFill>
                          <a:schemeClr val="bg1"/>
                        </a:solidFill>
                        <a:latin typeface="+mn-lt"/>
                        <a:ea typeface="+mn-ea"/>
                        <a:cs typeface="+mn-cs"/>
                      </a:endParaRPr>
                    </a:p>
                  </a:txBody>
                  <a:tcPr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2"/>
                    </a:solidFill>
                  </a:tcPr>
                </a:tc>
                <a:tc>
                  <a:txBody>
                    <a:bodyPr/>
                    <a:lstStyle/>
                    <a:p>
                      <a:pPr marL="0" indent="0" algn="l" defTabSz="914400" rtl="0" eaLnBrk="1" latinLnBrk="0" hangingPunct="1">
                        <a:buNone/>
                      </a:pPr>
                      <a:r>
                        <a:rPr lang="en-GB" sz="1400" b="0" kern="1200" dirty="0">
                          <a:solidFill>
                            <a:schemeClr val="tx1"/>
                          </a:solidFill>
                          <a:latin typeface="+mn-lt"/>
                          <a:ea typeface="+mn-ea"/>
                          <a:cs typeface="+mn-cs"/>
                        </a:rPr>
                        <a:t>Objective description</a:t>
                      </a:r>
                    </a:p>
                  </a:txBody>
                  <a:tcP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08000">
                <a:tc>
                  <a:txBody>
                    <a:bodyPr/>
                    <a:lstStyle/>
                    <a:p>
                      <a:pPr marL="0" algn="ctr" defTabSz="914400" rtl="0" eaLnBrk="1" latinLnBrk="0" hangingPunct="1"/>
                      <a:r>
                        <a:rPr lang="en-GB" sz="1600" b="1" kern="1200">
                          <a:solidFill>
                            <a:schemeClr val="bg1"/>
                          </a:solidFill>
                          <a:latin typeface="+mn-lt"/>
                          <a:ea typeface="+mn-ea"/>
                          <a:cs typeface="+mn-cs"/>
                        </a:rPr>
                        <a:t>2</a:t>
                      </a:r>
                      <a:endParaRPr lang="en-GB" sz="1600" b="1" kern="1200" dirty="0">
                        <a:solidFill>
                          <a:schemeClr val="bg1"/>
                        </a:solidFill>
                        <a:latin typeface="+mn-lt"/>
                        <a:ea typeface="+mn-ea"/>
                        <a:cs typeface="+mn-cs"/>
                      </a:endParaRPr>
                    </a:p>
                  </a:txBody>
                  <a:tcPr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2"/>
                    </a:solidFill>
                  </a:tcPr>
                </a:tc>
                <a:tc>
                  <a:txBody>
                    <a:bodyPr/>
                    <a:lstStyle/>
                    <a:p>
                      <a:pPr marL="0" indent="0" algn="l" defTabSz="914400" rtl="0" eaLnBrk="1" latinLnBrk="0" hangingPunct="1">
                        <a:buNone/>
                      </a:pPr>
                      <a:r>
                        <a:rPr lang="en-GB" sz="1400" b="0" kern="1200">
                          <a:solidFill>
                            <a:schemeClr val="tx1"/>
                          </a:solidFill>
                          <a:latin typeface="+mn-lt"/>
                          <a:ea typeface="+mn-ea"/>
                          <a:cs typeface="+mn-cs"/>
                        </a:rPr>
                        <a:t>Objective description</a:t>
                      </a:r>
                      <a:endParaRPr lang="en-GB" sz="1400" b="0" kern="1200" dirty="0">
                        <a:solidFill>
                          <a:schemeClr val="tx1"/>
                        </a:solidFill>
                        <a:latin typeface="+mn-lt"/>
                        <a:ea typeface="+mn-ea"/>
                        <a:cs typeface="+mn-cs"/>
                      </a:endParaRPr>
                    </a:p>
                  </a:txBody>
                  <a:tcP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08000">
                <a:tc>
                  <a:txBody>
                    <a:bodyPr/>
                    <a:lstStyle/>
                    <a:p>
                      <a:pPr marL="0" algn="ctr" defTabSz="914400" rtl="0" eaLnBrk="1" latinLnBrk="0" hangingPunct="1"/>
                      <a:r>
                        <a:rPr lang="en-GB" sz="1600" b="1" kern="1200">
                          <a:solidFill>
                            <a:schemeClr val="bg1"/>
                          </a:solidFill>
                          <a:latin typeface="+mn-lt"/>
                          <a:ea typeface="+mn-ea"/>
                          <a:cs typeface="+mn-cs"/>
                        </a:rPr>
                        <a:t>3</a:t>
                      </a:r>
                      <a:endParaRPr lang="en-GB" sz="1600" b="1" kern="1200" dirty="0">
                        <a:solidFill>
                          <a:schemeClr val="bg1"/>
                        </a:solidFill>
                        <a:latin typeface="+mn-lt"/>
                        <a:ea typeface="+mn-ea"/>
                        <a:cs typeface="+mn-cs"/>
                      </a:endParaRPr>
                    </a:p>
                  </a:txBody>
                  <a:tcPr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2"/>
                    </a:solidFill>
                  </a:tcPr>
                </a:tc>
                <a:tc>
                  <a:txBody>
                    <a:bodyPr/>
                    <a:lstStyle/>
                    <a:p>
                      <a:pPr marL="0" indent="0" algn="l" defTabSz="914400" rtl="0" eaLnBrk="1" latinLnBrk="0" hangingPunct="1">
                        <a:buNone/>
                      </a:pPr>
                      <a:r>
                        <a:rPr lang="en-GB" sz="1400" b="0" kern="1200">
                          <a:solidFill>
                            <a:schemeClr val="tx1"/>
                          </a:solidFill>
                          <a:latin typeface="+mn-lt"/>
                          <a:ea typeface="+mn-ea"/>
                          <a:cs typeface="+mn-cs"/>
                        </a:rPr>
                        <a:t>Objective description</a:t>
                      </a:r>
                      <a:endParaRPr lang="en-GB" sz="1400" b="0" kern="1200" dirty="0">
                        <a:solidFill>
                          <a:schemeClr val="tx1"/>
                        </a:solidFill>
                        <a:latin typeface="+mn-lt"/>
                        <a:ea typeface="+mn-ea"/>
                        <a:cs typeface="+mn-cs"/>
                      </a:endParaRPr>
                    </a:p>
                  </a:txBody>
                  <a:tcP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08000">
                <a:tc>
                  <a:txBody>
                    <a:bodyPr/>
                    <a:lstStyle/>
                    <a:p>
                      <a:pPr marL="0" algn="ctr" defTabSz="914400" rtl="0" eaLnBrk="1" latinLnBrk="0" hangingPunct="1"/>
                      <a:r>
                        <a:rPr lang="en-GB" sz="1600" b="1" kern="1200">
                          <a:solidFill>
                            <a:schemeClr val="bg1"/>
                          </a:solidFill>
                          <a:latin typeface="+mn-lt"/>
                          <a:ea typeface="+mn-ea"/>
                          <a:cs typeface="+mn-cs"/>
                        </a:rPr>
                        <a:t>4</a:t>
                      </a:r>
                      <a:endParaRPr lang="en-GB" sz="1600" b="1" kern="1200" dirty="0">
                        <a:solidFill>
                          <a:schemeClr val="bg1"/>
                        </a:solidFill>
                        <a:latin typeface="+mn-lt"/>
                        <a:ea typeface="+mn-ea"/>
                        <a:cs typeface="+mn-cs"/>
                      </a:endParaRPr>
                    </a:p>
                  </a:txBody>
                  <a:tcPr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kern="1200" dirty="0">
                          <a:solidFill>
                            <a:schemeClr val="tx1"/>
                          </a:solidFill>
                          <a:latin typeface="+mn-lt"/>
                          <a:ea typeface="+mn-ea"/>
                          <a:cs typeface="+mn-cs"/>
                        </a:rPr>
                        <a:t>Objective description</a:t>
                      </a:r>
                    </a:p>
                    <a:p>
                      <a:pPr marL="0" indent="0" algn="l" defTabSz="914400" rtl="0" eaLnBrk="1" latinLnBrk="0" hangingPunct="1">
                        <a:buNone/>
                      </a:pPr>
                      <a:endParaRPr lang="en-GB" sz="1400" kern="1200" dirty="0">
                        <a:solidFill>
                          <a:schemeClr val="tx1"/>
                        </a:solidFill>
                        <a:latin typeface="+mn-lt"/>
                        <a:ea typeface="+mn-ea"/>
                        <a:cs typeface="+mn-cs"/>
                      </a:endParaRPr>
                    </a:p>
                  </a:txBody>
                  <a:tcP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391097"/>
                  </a:ext>
                </a:extLst>
              </a:tr>
            </a:tbl>
          </a:graphicData>
        </a:graphic>
      </p:graphicFrame>
    </p:spTree>
    <p:extLst>
      <p:ext uri="{BB962C8B-B14F-4D97-AF65-F5344CB8AC3E}">
        <p14:creationId xmlns:p14="http://schemas.microsoft.com/office/powerpoint/2010/main" val="21103287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 50">
            <a:extLst>
              <a:ext uri="{FF2B5EF4-FFF2-40B4-BE49-F238E27FC236}">
                <a16:creationId xmlns:a16="http://schemas.microsoft.com/office/drawing/2014/main" id="{3039D96A-7C9C-4A39-A9D8-7F953D16BB03}"/>
              </a:ext>
            </a:extLst>
          </p:cNvPr>
          <p:cNvGraphicFramePr>
            <a:graphicFrameLocks noChangeAspect="1"/>
          </p:cNvGraphicFramePr>
          <p:nvPr>
            <p:custDataLst>
              <p:tags r:id="rId1"/>
            </p:custDataLst>
            <p:extLst>
              <p:ext uri="{D42A27DB-BD31-4B8C-83A1-F6EECF244321}">
                <p14:modId xmlns:p14="http://schemas.microsoft.com/office/powerpoint/2010/main" val="2324624618"/>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0" progId="TCLayout.ActiveDocument.1">
                  <p:embed/>
                </p:oleObj>
              </mc:Choice>
              <mc:Fallback>
                <p:oleObj name="Diapositive think-cell" r:id="rId5" imgW="473" imgH="470" progId="TCLayout.ActiveDocument.1">
                  <p:embed/>
                  <p:pic>
                    <p:nvPicPr>
                      <p:cNvPr id="51" name="Objet 50">
                        <a:extLst>
                          <a:ext uri="{FF2B5EF4-FFF2-40B4-BE49-F238E27FC236}">
                            <a16:creationId xmlns:a16="http://schemas.microsoft.com/office/drawing/2014/main" id="{3039D96A-7C9C-4A39-A9D8-7F953D16BB03}"/>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FE01FAF8-0C85-4F2B-87FB-FCEFEBA32B36}"/>
              </a:ext>
            </a:extLst>
          </p:cNvPr>
          <p:cNvSpPr/>
          <p:nvPr>
            <p:custDataLst>
              <p:tags r:id="rId2"/>
            </p:custDataLst>
          </p:nvPr>
        </p:nvSpPr>
        <p:spPr>
          <a:xfrm>
            <a:off x="1143000" y="0"/>
            <a:ext cx="158750" cy="158750"/>
          </a:xfrm>
          <a:prstGeom prst="rect">
            <a:avLst/>
          </a:prstGeom>
          <a:solidFill>
            <a:srgbClr val="901237"/>
          </a:solid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Rectangle 11">
            <a:extLst>
              <a:ext uri="{FF2B5EF4-FFF2-40B4-BE49-F238E27FC236}">
                <a16:creationId xmlns:a16="http://schemas.microsoft.com/office/drawing/2014/main" id="{F49B789B-FA57-4631-B1FA-2371A09798FD}"/>
              </a:ext>
            </a:extLst>
          </p:cNvPr>
          <p:cNvSpPr/>
          <p:nvPr/>
        </p:nvSpPr>
        <p:spPr bwMode="auto">
          <a:xfrm>
            <a:off x="1103243" y="1292086"/>
            <a:ext cx="9561444" cy="473102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spcBef>
                <a:spcPts val="400"/>
              </a:spcBef>
              <a:spcAft>
                <a:spcPts val="400"/>
              </a:spcAft>
              <a:buClr>
                <a:schemeClr val="accent3"/>
              </a:buClr>
              <a:buSzPct val="77000"/>
              <a:buFont typeface="Wingdings 3" panose="05040102010807070707" pitchFamily="18" charset="2"/>
              <a:buChar char=""/>
            </a:pPr>
            <a:endParaRPr lang="en-GB" sz="1400" dirty="0">
              <a:solidFill>
                <a:srgbClr val="000000"/>
              </a:solidFill>
              <a:latin typeface="+mn-lt"/>
            </a:endParaRPr>
          </a:p>
        </p:txBody>
      </p:sp>
      <p:sp>
        <p:nvSpPr>
          <p:cNvPr id="2" name="Titre 1">
            <a:extLst>
              <a:ext uri="{FF2B5EF4-FFF2-40B4-BE49-F238E27FC236}">
                <a16:creationId xmlns:a16="http://schemas.microsoft.com/office/drawing/2014/main" id="{9C5F0170-4633-4339-8D51-4BAB2F9F432B}"/>
              </a:ext>
            </a:extLst>
          </p:cNvPr>
          <p:cNvSpPr>
            <a:spLocks noGrp="1"/>
          </p:cNvSpPr>
          <p:nvPr>
            <p:ph type="title"/>
          </p:nvPr>
        </p:nvSpPr>
        <p:spPr/>
        <p:txBody>
          <a:bodyPr/>
          <a:lstStyle/>
          <a:p>
            <a:r>
              <a:rPr lang="en-GB"/>
              <a:t>Main principles / context</a:t>
            </a:r>
            <a:endParaRPr lang="en-GB" dirty="0"/>
          </a:p>
        </p:txBody>
      </p:sp>
      <p:graphicFrame>
        <p:nvGraphicFramePr>
          <p:cNvPr id="13" name="Espace réservé du contenu 4">
            <a:extLst>
              <a:ext uri="{FF2B5EF4-FFF2-40B4-BE49-F238E27FC236}">
                <a16:creationId xmlns:a16="http://schemas.microsoft.com/office/drawing/2014/main" id="{77F57D9B-802D-4898-94E2-A65A4FDF15B6}"/>
              </a:ext>
            </a:extLst>
          </p:cNvPr>
          <p:cNvGraphicFramePr>
            <a:graphicFrameLocks noGrp="1"/>
          </p:cNvGraphicFramePr>
          <p:nvPr>
            <p:ph idx="1"/>
            <p:extLst>
              <p:ext uri="{D42A27DB-BD31-4B8C-83A1-F6EECF244321}">
                <p14:modId xmlns:p14="http://schemas.microsoft.com/office/powerpoint/2010/main" val="2782054117"/>
              </p:ext>
            </p:extLst>
          </p:nvPr>
        </p:nvGraphicFramePr>
        <p:xfrm>
          <a:off x="1316383" y="1460222"/>
          <a:ext cx="9119704" cy="4344228"/>
        </p:xfrm>
        <a:graphic>
          <a:graphicData uri="http://schemas.openxmlformats.org/drawingml/2006/table">
            <a:tbl>
              <a:tblPr firstRow="1" bandRow="1">
                <a:tableStyleId>{5C22544A-7EE6-4342-B048-85BDC9FD1C3A}</a:tableStyleId>
              </a:tblPr>
              <a:tblGrid>
                <a:gridCol w="1647087">
                  <a:extLst>
                    <a:ext uri="{9D8B030D-6E8A-4147-A177-3AD203B41FA5}">
                      <a16:colId xmlns:a16="http://schemas.microsoft.com/office/drawing/2014/main" val="31120656"/>
                    </a:ext>
                  </a:extLst>
                </a:gridCol>
                <a:gridCol w="7472617">
                  <a:extLst>
                    <a:ext uri="{9D8B030D-6E8A-4147-A177-3AD203B41FA5}">
                      <a16:colId xmlns:a16="http://schemas.microsoft.com/office/drawing/2014/main" val="2597389834"/>
                    </a:ext>
                  </a:extLst>
                </a:gridCol>
              </a:tblGrid>
              <a:tr h="1448076">
                <a:tc>
                  <a:txBody>
                    <a:bodyPr/>
                    <a:lstStyle/>
                    <a:p>
                      <a:pPr algn="l"/>
                      <a:r>
                        <a:rPr lang="en-GB" sz="1600" b="1" dirty="0">
                          <a:solidFill>
                            <a:schemeClr val="bg1"/>
                          </a:solidFill>
                          <a:latin typeface="+mn-lt"/>
                        </a:rPr>
                        <a:t>Principle 1</a:t>
                      </a:r>
                    </a:p>
                  </a:txBody>
                  <a:tcPr marL="107586" marR="107586" marT="72000" marB="72000">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lvl="1"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er</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adipiscing</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elit</a:t>
                      </a:r>
                      <a:r>
                        <a:rPr lang="en-GB" sz="1400" b="0" kern="1200" dirty="0">
                          <a:solidFill>
                            <a:schemeClr val="tx1"/>
                          </a:solidFill>
                          <a:latin typeface="+mn-lt"/>
                          <a:ea typeface="+mn-ea"/>
                          <a:cs typeface="+mn-cs"/>
                        </a:rPr>
                        <a:t>. </a:t>
                      </a:r>
                    </a:p>
                    <a:p>
                      <a:pPr marL="180000" lvl="1"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rPr>
                        <a:t>Maecenas </a:t>
                      </a:r>
                      <a:r>
                        <a:rPr lang="en-GB" sz="1400" b="0" kern="1200" dirty="0" err="1">
                          <a:solidFill>
                            <a:schemeClr val="tx1"/>
                          </a:solidFill>
                          <a:latin typeface="+mn-lt"/>
                          <a:ea typeface="+mn-ea"/>
                          <a:cs typeface="+mn-cs"/>
                        </a:rPr>
                        <a:t>porttitor</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gue</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massa</a:t>
                      </a:r>
                      <a:endParaRPr lang="en-GB" sz="1400" b="0" kern="1200" dirty="0">
                        <a:solidFill>
                          <a:schemeClr val="tx1"/>
                        </a:solidFill>
                        <a:latin typeface="+mn-lt"/>
                        <a:ea typeface="+mn-ea"/>
                        <a:cs typeface="+mn-cs"/>
                      </a:endParaRPr>
                    </a:p>
                    <a:p>
                      <a:pPr marL="180000" lvl="1" indent="-180000" algn="l" defTabSz="1125444" rtl="0" eaLnBrk="1" fontAlgn="auto" hangingPunct="1">
                        <a:spcBef>
                          <a:spcPts val="840"/>
                        </a:spcBef>
                        <a:spcAft>
                          <a:spcPts val="0"/>
                        </a:spcAft>
                        <a:buClr>
                          <a:srgbClr val="C2C2C2"/>
                        </a:buClr>
                        <a:buSzPct val="77000"/>
                        <a:buFont typeface="Wingdings 3" panose="05040102010807070707" pitchFamily="18" charset="2"/>
                        <a:buChar char=""/>
                        <a:defRPr/>
                      </a:pPr>
                      <a:r>
                        <a:rPr lang="en-GB" sz="1400" b="0" kern="1200" dirty="0" err="1">
                          <a:solidFill>
                            <a:schemeClr val="tx1"/>
                          </a:solidFill>
                          <a:latin typeface="+mn-lt"/>
                          <a:ea typeface="+mn-ea"/>
                          <a:cs typeface="+mn-cs"/>
                        </a:rPr>
                        <a:t>Fusce</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posuere</a:t>
                      </a:r>
                      <a:r>
                        <a:rPr lang="en-GB" sz="1400" b="0" kern="1200" dirty="0">
                          <a:solidFill>
                            <a:schemeClr val="tx1"/>
                          </a:solidFill>
                          <a:latin typeface="+mn-lt"/>
                          <a:ea typeface="+mn-ea"/>
                          <a:cs typeface="+mn-cs"/>
                        </a:rPr>
                        <a:t>, magna </a:t>
                      </a:r>
                      <a:r>
                        <a:rPr lang="en-GB" sz="1400" b="0" kern="1200" dirty="0" err="1">
                          <a:solidFill>
                            <a:schemeClr val="tx1"/>
                          </a:solidFill>
                          <a:latin typeface="+mn-lt"/>
                          <a:ea typeface="+mn-ea"/>
                          <a:cs typeface="+mn-cs"/>
                        </a:rPr>
                        <a:t>sed</a:t>
                      </a:r>
                      <a:r>
                        <a:rPr lang="en-GB" sz="1400" b="0" kern="1200" dirty="0">
                          <a:solidFill>
                            <a:schemeClr val="tx1"/>
                          </a:solidFill>
                          <a:latin typeface="+mn-lt"/>
                          <a:ea typeface="+mn-ea"/>
                          <a:cs typeface="+mn-cs"/>
                        </a:rPr>
                        <a:t> pulvinar </a:t>
                      </a:r>
                      <a:r>
                        <a:rPr lang="en-GB" sz="1400" b="0" kern="1200" dirty="0" err="1">
                          <a:solidFill>
                            <a:schemeClr val="tx1"/>
                          </a:solidFill>
                          <a:latin typeface="+mn-lt"/>
                          <a:ea typeface="+mn-ea"/>
                          <a:cs typeface="+mn-cs"/>
                        </a:rPr>
                        <a:t>ultricie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puru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lectu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malesuada</a:t>
                      </a:r>
                      <a:r>
                        <a:rPr lang="en-GB" sz="1400" b="0" kern="1200" dirty="0">
                          <a:solidFill>
                            <a:schemeClr val="tx1"/>
                          </a:solidFill>
                          <a:latin typeface="+mn-lt"/>
                          <a:ea typeface="+mn-ea"/>
                          <a:cs typeface="+mn-cs"/>
                        </a:rPr>
                        <a:t> libero,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mmodo</a:t>
                      </a:r>
                      <a:r>
                        <a:rPr lang="en-GB" sz="1400" b="0" kern="1200" dirty="0">
                          <a:solidFill>
                            <a:schemeClr val="tx1"/>
                          </a:solidFill>
                          <a:latin typeface="+mn-lt"/>
                          <a:ea typeface="+mn-ea"/>
                          <a:cs typeface="+mn-cs"/>
                        </a:rPr>
                        <a:t> magna eros </a:t>
                      </a:r>
                      <a:r>
                        <a:rPr lang="en-GB" sz="1400" b="0" kern="1200" dirty="0" err="1">
                          <a:solidFill>
                            <a:schemeClr val="tx1"/>
                          </a:solidFill>
                          <a:latin typeface="+mn-lt"/>
                          <a:ea typeface="+mn-ea"/>
                          <a:cs typeface="+mn-cs"/>
                        </a:rPr>
                        <a:t>qui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urna</a:t>
                      </a:r>
                      <a:endParaRPr lang="en-GB" sz="1400" b="0" kern="1200" dirty="0">
                        <a:solidFill>
                          <a:schemeClr val="tx1"/>
                        </a:solidFill>
                        <a:latin typeface="+mn-lt"/>
                        <a:ea typeface="+mn-ea"/>
                        <a:cs typeface="+mn-cs"/>
                      </a:endParaRPr>
                    </a:p>
                  </a:txBody>
                  <a:tcPr marL="107586" marR="107586" marT="72000" marB="72000">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40861638"/>
                  </a:ext>
                </a:extLst>
              </a:tr>
              <a:tr h="1448076">
                <a:tc>
                  <a:txBody>
                    <a:bodyPr/>
                    <a:lstStyle/>
                    <a:p>
                      <a:pPr algn="l"/>
                      <a:r>
                        <a:rPr lang="en-GB" sz="1600" b="1">
                          <a:solidFill>
                            <a:schemeClr val="bg1"/>
                          </a:solidFill>
                          <a:latin typeface="+mn-lt"/>
                        </a:rPr>
                        <a:t>Principle 2</a:t>
                      </a:r>
                      <a:endParaRPr lang="en-GB" sz="1600" b="1" dirty="0">
                        <a:solidFill>
                          <a:schemeClr val="bg1"/>
                        </a:solidFill>
                        <a:latin typeface="+mn-lt"/>
                      </a:endParaRPr>
                    </a:p>
                  </a:txBody>
                  <a:tcPr marL="107586" marR="107586" marT="72000" marB="7200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rPr>
                        <a:t>Lorem ipsum dolor sit amet, consectetuer adipiscing elit. </a:t>
                      </a:r>
                    </a:p>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rPr>
                        <a:t>Maecenas porttitor congue massa</a:t>
                      </a:r>
                    </a:p>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a:solidFill>
                            <a:schemeClr val="tx1"/>
                          </a:solidFill>
                          <a:latin typeface="+mn-lt"/>
                          <a:ea typeface="+mn-ea"/>
                          <a:cs typeface="+mn-cs"/>
                        </a:rPr>
                        <a:t>Fusce posuere, magna sed pulvinar ultricies, purus lectus malesuada libero, sit amet commodo magna eros quis urna</a:t>
                      </a:r>
                      <a:endParaRPr lang="en-GB" sz="1400" b="0" kern="1200" dirty="0">
                        <a:solidFill>
                          <a:schemeClr val="tx1"/>
                        </a:solidFill>
                        <a:latin typeface="+mn-lt"/>
                        <a:ea typeface="+mn-ea"/>
                        <a:cs typeface="+mn-cs"/>
                      </a:endParaRPr>
                    </a:p>
                  </a:txBody>
                  <a:tcPr marL="107586" marR="107586" marT="72000" marB="7200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90098626"/>
                  </a:ext>
                </a:extLst>
              </a:tr>
              <a:tr h="1448076">
                <a:tc>
                  <a:txBody>
                    <a:bodyPr/>
                    <a:lstStyle/>
                    <a:p>
                      <a:pPr algn="l"/>
                      <a:r>
                        <a:rPr lang="en-GB" sz="1600" b="1">
                          <a:solidFill>
                            <a:schemeClr val="bg1"/>
                          </a:solidFill>
                          <a:latin typeface="+mn-lt"/>
                        </a:rPr>
                        <a:t>Principle 3</a:t>
                      </a:r>
                      <a:endParaRPr lang="en-GB" sz="1600" b="1" dirty="0">
                        <a:solidFill>
                          <a:schemeClr val="bg1"/>
                        </a:solidFill>
                        <a:latin typeface="+mn-lt"/>
                      </a:endParaRPr>
                    </a:p>
                  </a:txBody>
                  <a:tcPr marL="107586" marR="107586" marT="72000" marB="72000">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er</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adipiscing</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elit</a:t>
                      </a:r>
                      <a:r>
                        <a:rPr lang="en-GB" sz="1400" b="0" kern="1200" dirty="0">
                          <a:solidFill>
                            <a:schemeClr val="tx1"/>
                          </a:solidFill>
                          <a:latin typeface="+mn-lt"/>
                          <a:ea typeface="+mn-ea"/>
                          <a:cs typeface="+mn-cs"/>
                        </a:rPr>
                        <a:t>. </a:t>
                      </a:r>
                    </a:p>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dirty="0">
                          <a:solidFill>
                            <a:schemeClr val="tx1"/>
                          </a:solidFill>
                          <a:latin typeface="+mn-lt"/>
                          <a:ea typeface="+mn-ea"/>
                          <a:cs typeface="+mn-cs"/>
                        </a:rPr>
                        <a:t>Maecenas </a:t>
                      </a:r>
                      <a:r>
                        <a:rPr lang="en-GB" sz="1400" b="0" kern="1200" dirty="0" err="1">
                          <a:solidFill>
                            <a:schemeClr val="tx1"/>
                          </a:solidFill>
                          <a:latin typeface="+mn-lt"/>
                          <a:ea typeface="+mn-ea"/>
                          <a:cs typeface="+mn-cs"/>
                        </a:rPr>
                        <a:t>porttitor</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gue</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massa</a:t>
                      </a:r>
                      <a:endParaRPr lang="en-GB" sz="1400" b="0" kern="1200" dirty="0">
                        <a:solidFill>
                          <a:schemeClr val="tx1"/>
                        </a:solidFill>
                        <a:latin typeface="+mn-lt"/>
                        <a:ea typeface="+mn-ea"/>
                        <a:cs typeface="+mn-cs"/>
                      </a:endParaRPr>
                    </a:p>
                    <a:p>
                      <a:pPr marL="180000" lvl="1" indent="-180000" algn="l" defTabSz="1125444" rtl="0" eaLnBrk="1" fontAlgn="auto" latinLnBrk="0" hangingPunct="1">
                        <a:spcBef>
                          <a:spcPts val="840"/>
                        </a:spcBef>
                        <a:spcAft>
                          <a:spcPts val="0"/>
                        </a:spcAft>
                        <a:buClr>
                          <a:srgbClr val="C2C2C2"/>
                        </a:buClr>
                        <a:buSzPct val="77000"/>
                        <a:buFont typeface="Wingdings 3" panose="05040102010807070707" pitchFamily="18" charset="2"/>
                        <a:buChar char=""/>
                        <a:defRPr/>
                      </a:pPr>
                      <a:r>
                        <a:rPr lang="en-GB" sz="1400" b="0" kern="1200" dirty="0" err="1">
                          <a:solidFill>
                            <a:schemeClr val="tx1"/>
                          </a:solidFill>
                          <a:latin typeface="+mn-lt"/>
                          <a:ea typeface="+mn-ea"/>
                          <a:cs typeface="+mn-cs"/>
                        </a:rPr>
                        <a:t>Fusce</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posuere</a:t>
                      </a:r>
                      <a:r>
                        <a:rPr lang="en-GB" sz="1400" b="0" kern="1200" dirty="0">
                          <a:solidFill>
                            <a:schemeClr val="tx1"/>
                          </a:solidFill>
                          <a:latin typeface="+mn-lt"/>
                          <a:ea typeface="+mn-ea"/>
                          <a:cs typeface="+mn-cs"/>
                        </a:rPr>
                        <a:t>, magna </a:t>
                      </a:r>
                      <a:r>
                        <a:rPr lang="en-GB" sz="1400" b="0" kern="1200" dirty="0" err="1">
                          <a:solidFill>
                            <a:schemeClr val="tx1"/>
                          </a:solidFill>
                          <a:latin typeface="+mn-lt"/>
                          <a:ea typeface="+mn-ea"/>
                          <a:cs typeface="+mn-cs"/>
                        </a:rPr>
                        <a:t>sed</a:t>
                      </a:r>
                      <a:r>
                        <a:rPr lang="en-GB" sz="1400" b="0" kern="1200" dirty="0">
                          <a:solidFill>
                            <a:schemeClr val="tx1"/>
                          </a:solidFill>
                          <a:latin typeface="+mn-lt"/>
                          <a:ea typeface="+mn-ea"/>
                          <a:cs typeface="+mn-cs"/>
                        </a:rPr>
                        <a:t> pulvinar </a:t>
                      </a:r>
                      <a:r>
                        <a:rPr lang="en-GB" sz="1400" b="0" kern="1200" dirty="0" err="1">
                          <a:solidFill>
                            <a:schemeClr val="tx1"/>
                          </a:solidFill>
                          <a:latin typeface="+mn-lt"/>
                          <a:ea typeface="+mn-ea"/>
                          <a:cs typeface="+mn-cs"/>
                        </a:rPr>
                        <a:t>ultricie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puru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lectu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malesuada</a:t>
                      </a:r>
                      <a:r>
                        <a:rPr lang="en-GB" sz="1400" b="0" kern="1200" dirty="0">
                          <a:solidFill>
                            <a:schemeClr val="tx1"/>
                          </a:solidFill>
                          <a:latin typeface="+mn-lt"/>
                          <a:ea typeface="+mn-ea"/>
                          <a:cs typeface="+mn-cs"/>
                        </a:rPr>
                        <a:t> libero,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mmodo</a:t>
                      </a:r>
                      <a:r>
                        <a:rPr lang="en-GB" sz="1400" b="0" kern="1200" dirty="0">
                          <a:solidFill>
                            <a:schemeClr val="tx1"/>
                          </a:solidFill>
                          <a:latin typeface="+mn-lt"/>
                          <a:ea typeface="+mn-ea"/>
                          <a:cs typeface="+mn-cs"/>
                        </a:rPr>
                        <a:t> magna eros </a:t>
                      </a:r>
                      <a:r>
                        <a:rPr lang="en-GB" sz="1400" b="0" kern="1200" dirty="0" err="1">
                          <a:solidFill>
                            <a:schemeClr val="tx1"/>
                          </a:solidFill>
                          <a:latin typeface="+mn-lt"/>
                          <a:ea typeface="+mn-ea"/>
                          <a:cs typeface="+mn-cs"/>
                        </a:rPr>
                        <a:t>quis</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urna</a:t>
                      </a:r>
                      <a:endParaRPr lang="en-GB" sz="1400" b="0" kern="1200" dirty="0">
                        <a:solidFill>
                          <a:schemeClr val="tx1"/>
                        </a:solidFill>
                        <a:latin typeface="+mn-lt"/>
                        <a:ea typeface="+mn-ea"/>
                        <a:cs typeface="+mn-cs"/>
                      </a:endParaRPr>
                    </a:p>
                  </a:txBody>
                  <a:tcPr marL="107586" marR="107586" marT="72000" marB="72000">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027870578"/>
                  </a:ext>
                </a:extLst>
              </a:tr>
            </a:tbl>
          </a:graphicData>
        </a:graphic>
      </p:graphicFrame>
    </p:spTree>
    <p:extLst>
      <p:ext uri="{BB962C8B-B14F-4D97-AF65-F5344CB8AC3E}">
        <p14:creationId xmlns:p14="http://schemas.microsoft.com/office/powerpoint/2010/main" val="3544663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7384872-35BD-4251-B531-495DC5A8B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57384872-35BD-4251-B531-495DC5A8BA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63AE6E5-AB11-4AAC-ACAF-C5AEC1F2E3A5}"/>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4000"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p:cNvSpPr>
            <a:spLocks noGrp="1"/>
          </p:cNvSpPr>
          <p:nvPr>
            <p:ph type="title"/>
          </p:nvPr>
        </p:nvSpPr>
        <p:spPr/>
        <p:txBody>
          <a:bodyPr anchor="ctr"/>
          <a:lstStyle/>
          <a:p>
            <a:r>
              <a:rPr lang="en-GB">
                <a:solidFill>
                  <a:srgbClr val="FFFFFF"/>
                </a:solidFill>
              </a:rPr>
              <a:t>Key figures</a:t>
            </a:r>
            <a:endParaRPr lang="en-GB" dirty="0">
              <a:solidFill>
                <a:srgbClr val="FFFFFF"/>
              </a:solidFill>
            </a:endParaRPr>
          </a:p>
        </p:txBody>
      </p:sp>
    </p:spTree>
    <p:extLst>
      <p:ext uri="{BB962C8B-B14F-4D97-AF65-F5344CB8AC3E}">
        <p14:creationId xmlns:p14="http://schemas.microsoft.com/office/powerpoint/2010/main" val="32068178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CAD14372-4B2B-4CD8-8309-DF8EE5F98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12" name="Objet 11" hidden="1">
                        <a:extLst>
                          <a:ext uri="{FF2B5EF4-FFF2-40B4-BE49-F238E27FC236}">
                            <a16:creationId xmlns:a16="http://schemas.microsoft.com/office/drawing/2014/main" id="{CAD14372-4B2B-4CD8-8309-DF8EE5F98B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54BF41-25BE-4365-860C-B2628CB56A14}"/>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4" name="Chart 3"/>
          <p:cNvGraphicFramePr/>
          <p:nvPr/>
        </p:nvGraphicFramePr>
        <p:xfrm>
          <a:off x="3048000" y="1597026"/>
          <a:ext cx="6096000" cy="4064000"/>
        </p:xfrm>
        <a:graphic>
          <a:graphicData uri="http://schemas.openxmlformats.org/drawingml/2006/chart">
            <c:chart xmlns:c="http://schemas.openxmlformats.org/drawingml/2006/chart" xmlns:r="http://schemas.openxmlformats.org/officeDocument/2006/relationships" r:id="rId7"/>
          </a:graphicData>
        </a:graphic>
      </p:graphicFrame>
      <p:sp>
        <p:nvSpPr>
          <p:cNvPr id="5" name="Rectangle 4"/>
          <p:cNvSpPr/>
          <p:nvPr/>
        </p:nvSpPr>
        <p:spPr>
          <a:xfrm>
            <a:off x="859975" y="2149476"/>
            <a:ext cx="4149725" cy="2603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 name="TextBox 5"/>
          <p:cNvSpPr txBox="1"/>
          <p:nvPr/>
        </p:nvSpPr>
        <p:spPr>
          <a:xfrm>
            <a:off x="8194042" y="3165059"/>
            <a:ext cx="2235205" cy="830997"/>
          </a:xfrm>
          <a:prstGeom prst="rect">
            <a:avLst/>
          </a:prstGeom>
          <a:noFill/>
        </p:spPr>
        <p:txBody>
          <a:bodyPr wrap="square" rtlCol="0">
            <a:spAutoFit/>
          </a:bodyPr>
          <a:lstStyle/>
          <a:p>
            <a:r>
              <a:rPr lang="en-GB" sz="4800">
                <a:solidFill>
                  <a:schemeClr val="bg2">
                    <a:lumMod val="50000"/>
                  </a:schemeClr>
                </a:solidFill>
                <a:latin typeface="+mn-lt"/>
              </a:rPr>
              <a:t>60%</a:t>
            </a:r>
            <a:endParaRPr lang="en-GB" sz="4800" dirty="0">
              <a:solidFill>
                <a:schemeClr val="bg2">
                  <a:lumMod val="50000"/>
                </a:schemeClr>
              </a:solidFill>
              <a:latin typeface="+mn-lt"/>
            </a:endParaRPr>
          </a:p>
        </p:txBody>
      </p:sp>
      <p:sp>
        <p:nvSpPr>
          <p:cNvPr id="7" name="TextBox 6"/>
          <p:cNvSpPr txBox="1"/>
          <p:nvPr/>
        </p:nvSpPr>
        <p:spPr>
          <a:xfrm>
            <a:off x="8234680" y="3856218"/>
            <a:ext cx="1823720" cy="276999"/>
          </a:xfrm>
          <a:prstGeom prst="rect">
            <a:avLst/>
          </a:prstGeom>
          <a:noFill/>
        </p:spPr>
        <p:txBody>
          <a:bodyPr wrap="square" rtlCol="0">
            <a:spAutoFit/>
          </a:bodyPr>
          <a:lstStyle/>
          <a:p>
            <a:r>
              <a:rPr lang="en-GB" sz="1200">
                <a:solidFill>
                  <a:schemeClr val="bg2">
                    <a:lumMod val="50000"/>
                  </a:schemeClr>
                </a:solidFill>
                <a:latin typeface="+mn-lt"/>
              </a:rPr>
              <a:t>X x xxx x xxxxxxxx</a:t>
            </a:r>
            <a:endParaRPr lang="en-GB" sz="1200" dirty="0">
              <a:solidFill>
                <a:schemeClr val="bg2">
                  <a:lumMod val="50000"/>
                </a:schemeClr>
              </a:solidFill>
              <a:latin typeface="+mn-lt"/>
            </a:endParaRPr>
          </a:p>
        </p:txBody>
      </p:sp>
      <p:sp>
        <p:nvSpPr>
          <p:cNvPr id="8" name="TextBox 7"/>
          <p:cNvSpPr txBox="1"/>
          <p:nvPr/>
        </p:nvSpPr>
        <p:spPr>
          <a:xfrm>
            <a:off x="1709187" y="3165059"/>
            <a:ext cx="2235205" cy="830997"/>
          </a:xfrm>
          <a:prstGeom prst="rect">
            <a:avLst/>
          </a:prstGeom>
          <a:noFill/>
        </p:spPr>
        <p:txBody>
          <a:bodyPr wrap="square" rtlCol="0">
            <a:spAutoFit/>
          </a:bodyPr>
          <a:lstStyle/>
          <a:p>
            <a:pPr algn="r"/>
            <a:r>
              <a:rPr lang="en-GB" sz="4800">
                <a:solidFill>
                  <a:schemeClr val="bg2">
                    <a:lumMod val="50000"/>
                  </a:schemeClr>
                </a:solidFill>
                <a:latin typeface="+mn-lt"/>
              </a:rPr>
              <a:t>40%</a:t>
            </a:r>
            <a:endParaRPr lang="en-GB" sz="4800" dirty="0">
              <a:solidFill>
                <a:schemeClr val="bg2">
                  <a:lumMod val="50000"/>
                </a:schemeClr>
              </a:solidFill>
              <a:latin typeface="+mn-lt"/>
            </a:endParaRPr>
          </a:p>
        </p:txBody>
      </p:sp>
      <p:sp>
        <p:nvSpPr>
          <p:cNvPr id="9" name="TextBox 8"/>
          <p:cNvSpPr txBox="1"/>
          <p:nvPr/>
        </p:nvSpPr>
        <p:spPr>
          <a:xfrm>
            <a:off x="1346200" y="3856218"/>
            <a:ext cx="2567710" cy="276999"/>
          </a:xfrm>
          <a:prstGeom prst="rect">
            <a:avLst/>
          </a:prstGeom>
          <a:noFill/>
        </p:spPr>
        <p:txBody>
          <a:bodyPr wrap="square" rtlCol="0">
            <a:spAutoFit/>
          </a:bodyPr>
          <a:lstStyle/>
          <a:p>
            <a:pPr algn="r"/>
            <a:r>
              <a:rPr lang="en-GB" sz="1200">
                <a:solidFill>
                  <a:schemeClr val="bg2">
                    <a:lumMod val="50000"/>
                  </a:schemeClr>
                </a:solidFill>
                <a:latin typeface="+mn-lt"/>
              </a:rPr>
              <a:t>X xxxxx x xxxxxxxx</a:t>
            </a:r>
            <a:endParaRPr lang="en-GB" sz="1200" dirty="0">
              <a:solidFill>
                <a:schemeClr val="bg2">
                  <a:lumMod val="50000"/>
                </a:schemeClr>
              </a:solidFill>
              <a:latin typeface="+mn-lt"/>
            </a:endParaRPr>
          </a:p>
        </p:txBody>
      </p:sp>
      <p:sp>
        <p:nvSpPr>
          <p:cNvPr id="10" name="TextBox 9"/>
          <p:cNvSpPr txBox="1"/>
          <p:nvPr/>
        </p:nvSpPr>
        <p:spPr>
          <a:xfrm>
            <a:off x="4973322" y="3165060"/>
            <a:ext cx="2235205" cy="830997"/>
          </a:xfrm>
          <a:prstGeom prst="rect">
            <a:avLst/>
          </a:prstGeom>
          <a:noFill/>
        </p:spPr>
        <p:txBody>
          <a:bodyPr wrap="square" rtlCol="0">
            <a:spAutoFit/>
          </a:bodyPr>
          <a:lstStyle/>
          <a:p>
            <a:pPr algn="ctr"/>
            <a:r>
              <a:rPr lang="en-GB" sz="4800">
                <a:solidFill>
                  <a:schemeClr val="bg2">
                    <a:lumMod val="50000"/>
                  </a:schemeClr>
                </a:solidFill>
                <a:latin typeface="+mn-lt"/>
              </a:rPr>
              <a:t>$45x </a:t>
            </a:r>
            <a:endParaRPr lang="en-GB" sz="4800" dirty="0">
              <a:solidFill>
                <a:schemeClr val="bg2">
                  <a:lumMod val="50000"/>
                </a:schemeClr>
              </a:solidFill>
              <a:latin typeface="+mn-lt"/>
            </a:endParaRPr>
          </a:p>
        </p:txBody>
      </p:sp>
      <p:sp>
        <p:nvSpPr>
          <p:cNvPr id="11" name="TextBox 10"/>
          <p:cNvSpPr txBox="1"/>
          <p:nvPr/>
        </p:nvSpPr>
        <p:spPr>
          <a:xfrm>
            <a:off x="4973322" y="3856218"/>
            <a:ext cx="2235205" cy="276999"/>
          </a:xfrm>
          <a:prstGeom prst="rect">
            <a:avLst/>
          </a:prstGeom>
          <a:noFill/>
        </p:spPr>
        <p:txBody>
          <a:bodyPr wrap="square" rtlCol="0">
            <a:spAutoFit/>
          </a:bodyPr>
          <a:lstStyle/>
          <a:p>
            <a:pPr algn="ctr"/>
            <a:r>
              <a:rPr lang="en-GB" sz="1200">
                <a:solidFill>
                  <a:schemeClr val="bg2">
                    <a:lumMod val="50000"/>
                  </a:schemeClr>
                </a:solidFill>
                <a:latin typeface="+mn-lt"/>
              </a:rPr>
              <a:t>Xxx x xxxx xxx xxxx</a:t>
            </a:r>
            <a:endParaRPr lang="en-GB" sz="1200" dirty="0">
              <a:solidFill>
                <a:schemeClr val="bg2">
                  <a:lumMod val="50000"/>
                </a:schemeClr>
              </a:solidFill>
              <a:latin typeface="+mn-lt"/>
            </a:endParaRPr>
          </a:p>
        </p:txBody>
      </p:sp>
      <p:sp>
        <p:nvSpPr>
          <p:cNvPr id="13" name="Rectangle 12"/>
          <p:cNvSpPr/>
          <p:nvPr/>
        </p:nvSpPr>
        <p:spPr>
          <a:xfrm>
            <a:off x="7167421" y="4781838"/>
            <a:ext cx="4149725" cy="260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grpSp>
        <p:nvGrpSpPr>
          <p:cNvPr id="2" name="Group 4"/>
          <p:cNvGrpSpPr>
            <a:grpSpLocks noChangeAspect="1"/>
          </p:cNvGrpSpPr>
          <p:nvPr/>
        </p:nvGrpSpPr>
        <p:grpSpPr bwMode="auto">
          <a:xfrm>
            <a:off x="5851528" y="2686058"/>
            <a:ext cx="492125" cy="550865"/>
            <a:chOff x="2726" y="1026"/>
            <a:chExt cx="310" cy="347"/>
          </a:xfrm>
        </p:grpSpPr>
        <p:sp>
          <p:nvSpPr>
            <p:cNvPr id="14" name="Freeform 5"/>
            <p:cNvSpPr>
              <a:spLocks/>
            </p:cNvSpPr>
            <p:nvPr/>
          </p:nvSpPr>
          <p:spPr bwMode="auto">
            <a:xfrm>
              <a:off x="2840" y="1207"/>
              <a:ext cx="82" cy="109"/>
            </a:xfrm>
            <a:custGeom>
              <a:avLst/>
              <a:gdLst>
                <a:gd name="T0" fmla="*/ 497 w 497"/>
                <a:gd name="T1" fmla="*/ 79 h 661"/>
                <a:gd name="T2" fmla="*/ 497 w 497"/>
                <a:gd name="T3" fmla="*/ 79 h 661"/>
                <a:gd name="T4" fmla="*/ 271 w 497"/>
                <a:gd name="T5" fmla="*/ 0 h 661"/>
                <a:gd name="T6" fmla="*/ 51 w 497"/>
                <a:gd name="T7" fmla="*/ 160 h 661"/>
                <a:gd name="T8" fmla="*/ 278 w 497"/>
                <a:gd name="T9" fmla="*/ 326 h 661"/>
                <a:gd name="T10" fmla="*/ 487 w 497"/>
                <a:gd name="T11" fmla="*/ 510 h 661"/>
                <a:gd name="T12" fmla="*/ 278 w 497"/>
                <a:gd name="T13" fmla="*/ 661 h 661"/>
                <a:gd name="T14" fmla="*/ 0 w 497"/>
                <a:gd name="T15" fmla="*/ 552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7" h="661">
                  <a:moveTo>
                    <a:pt x="497" y="79"/>
                  </a:moveTo>
                  <a:lnTo>
                    <a:pt x="497" y="79"/>
                  </a:lnTo>
                  <a:cubicBezTo>
                    <a:pt x="432" y="35"/>
                    <a:pt x="345" y="0"/>
                    <a:pt x="271" y="0"/>
                  </a:cubicBezTo>
                  <a:cubicBezTo>
                    <a:pt x="188" y="0"/>
                    <a:pt x="51" y="31"/>
                    <a:pt x="51" y="160"/>
                  </a:cubicBezTo>
                  <a:cubicBezTo>
                    <a:pt x="51" y="288"/>
                    <a:pt x="214" y="309"/>
                    <a:pt x="278" y="326"/>
                  </a:cubicBezTo>
                  <a:cubicBezTo>
                    <a:pt x="342" y="343"/>
                    <a:pt x="487" y="357"/>
                    <a:pt x="487" y="510"/>
                  </a:cubicBezTo>
                  <a:cubicBezTo>
                    <a:pt x="487" y="636"/>
                    <a:pt x="354" y="661"/>
                    <a:pt x="278" y="661"/>
                  </a:cubicBezTo>
                  <a:cubicBezTo>
                    <a:pt x="201" y="661"/>
                    <a:pt x="76" y="614"/>
                    <a:pt x="0" y="552"/>
                  </a:cubicBezTo>
                </a:path>
              </a:pathLst>
            </a:custGeom>
            <a:noFill/>
            <a:ln w="17463"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mn-lt"/>
              </a:endParaRPr>
            </a:p>
          </p:txBody>
        </p:sp>
        <p:sp>
          <p:nvSpPr>
            <p:cNvPr id="15" name="Freeform 6"/>
            <p:cNvSpPr>
              <a:spLocks/>
            </p:cNvSpPr>
            <p:nvPr/>
          </p:nvSpPr>
          <p:spPr bwMode="auto">
            <a:xfrm>
              <a:off x="2885" y="1187"/>
              <a:ext cx="0" cy="154"/>
            </a:xfrm>
            <a:custGeom>
              <a:avLst/>
              <a:gdLst>
                <a:gd name="T0" fmla="*/ 0 h 938"/>
                <a:gd name="T1" fmla="*/ 0 h 938"/>
                <a:gd name="T2" fmla="*/ 938 h 938"/>
              </a:gdLst>
              <a:ahLst/>
              <a:cxnLst>
                <a:cxn ang="0">
                  <a:pos x="0" y="T0"/>
                </a:cxn>
                <a:cxn ang="0">
                  <a:pos x="0" y="T1"/>
                </a:cxn>
                <a:cxn ang="0">
                  <a:pos x="0" y="T2"/>
                </a:cxn>
              </a:cxnLst>
              <a:rect l="0" t="0" r="r" b="b"/>
              <a:pathLst>
                <a:path h="938">
                  <a:moveTo>
                    <a:pt x="0" y="0"/>
                  </a:moveTo>
                  <a:lnTo>
                    <a:pt x="0" y="0"/>
                  </a:lnTo>
                  <a:lnTo>
                    <a:pt x="0" y="938"/>
                  </a:lnTo>
                </a:path>
              </a:pathLst>
            </a:custGeom>
            <a:noFill/>
            <a:ln w="17463"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mn-lt"/>
              </a:endParaRPr>
            </a:p>
          </p:txBody>
        </p:sp>
        <p:sp>
          <p:nvSpPr>
            <p:cNvPr id="16" name="Freeform 7"/>
            <p:cNvSpPr>
              <a:spLocks/>
            </p:cNvSpPr>
            <p:nvPr/>
          </p:nvSpPr>
          <p:spPr bwMode="auto">
            <a:xfrm>
              <a:off x="2844" y="1142"/>
              <a:ext cx="75" cy="11"/>
            </a:xfrm>
            <a:custGeom>
              <a:avLst/>
              <a:gdLst>
                <a:gd name="T0" fmla="*/ 458 w 458"/>
                <a:gd name="T1" fmla="*/ 0 h 66"/>
                <a:gd name="T2" fmla="*/ 458 w 458"/>
                <a:gd name="T3" fmla="*/ 0 h 66"/>
                <a:gd name="T4" fmla="*/ 229 w 458"/>
                <a:gd name="T5" fmla="*/ 66 h 66"/>
                <a:gd name="T6" fmla="*/ 0 w 458"/>
                <a:gd name="T7" fmla="*/ 0 h 66"/>
              </a:gdLst>
              <a:ahLst/>
              <a:cxnLst>
                <a:cxn ang="0">
                  <a:pos x="T0" y="T1"/>
                </a:cxn>
                <a:cxn ang="0">
                  <a:pos x="T2" y="T3"/>
                </a:cxn>
                <a:cxn ang="0">
                  <a:pos x="T4" y="T5"/>
                </a:cxn>
                <a:cxn ang="0">
                  <a:pos x="T6" y="T7"/>
                </a:cxn>
              </a:cxnLst>
              <a:rect l="0" t="0" r="r" b="b"/>
              <a:pathLst>
                <a:path w="458" h="66">
                  <a:moveTo>
                    <a:pt x="458" y="0"/>
                  </a:moveTo>
                  <a:lnTo>
                    <a:pt x="458" y="0"/>
                  </a:lnTo>
                  <a:cubicBezTo>
                    <a:pt x="458" y="0"/>
                    <a:pt x="443" y="66"/>
                    <a:pt x="229" y="66"/>
                  </a:cubicBezTo>
                  <a:cubicBezTo>
                    <a:pt x="14" y="66"/>
                    <a:pt x="0" y="0"/>
                    <a:pt x="0" y="0"/>
                  </a:cubicBezTo>
                </a:path>
              </a:pathLst>
            </a:custGeom>
            <a:noFill/>
            <a:ln w="17463"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mn-lt"/>
              </a:endParaRPr>
            </a:p>
          </p:txBody>
        </p:sp>
        <p:sp>
          <p:nvSpPr>
            <p:cNvPr id="17" name="Freeform 8"/>
            <p:cNvSpPr>
              <a:spLocks/>
            </p:cNvSpPr>
            <p:nvPr/>
          </p:nvSpPr>
          <p:spPr bwMode="auto">
            <a:xfrm>
              <a:off x="2726" y="1026"/>
              <a:ext cx="310" cy="347"/>
            </a:xfrm>
            <a:custGeom>
              <a:avLst/>
              <a:gdLst>
                <a:gd name="T0" fmla="*/ 939 w 1878"/>
                <a:gd name="T1" fmla="*/ 0 h 2109"/>
                <a:gd name="T2" fmla="*/ 939 w 1878"/>
                <a:gd name="T3" fmla="*/ 0 h 2109"/>
                <a:gd name="T4" fmla="*/ 1107 w 1878"/>
                <a:gd name="T5" fmla="*/ 98 h 2109"/>
                <a:gd name="T6" fmla="*/ 1295 w 1878"/>
                <a:gd name="T7" fmla="*/ 154 h 2109"/>
                <a:gd name="T8" fmla="*/ 1452 w 1878"/>
                <a:gd name="T9" fmla="*/ 226 h 2109"/>
                <a:gd name="T10" fmla="*/ 1168 w 1878"/>
                <a:gd name="T11" fmla="*/ 704 h 2109"/>
                <a:gd name="T12" fmla="*/ 1878 w 1878"/>
                <a:gd name="T13" fmla="*/ 1518 h 2109"/>
                <a:gd name="T14" fmla="*/ 939 w 1878"/>
                <a:gd name="T15" fmla="*/ 2109 h 2109"/>
                <a:gd name="T16" fmla="*/ 0 w 1878"/>
                <a:gd name="T17" fmla="*/ 1518 h 2109"/>
                <a:gd name="T18" fmla="*/ 710 w 1878"/>
                <a:gd name="T19" fmla="*/ 704 h 2109"/>
                <a:gd name="T20" fmla="*/ 426 w 1878"/>
                <a:gd name="T21" fmla="*/ 226 h 2109"/>
                <a:gd name="T22" fmla="*/ 582 w 1878"/>
                <a:gd name="T23" fmla="*/ 154 h 2109"/>
                <a:gd name="T24" fmla="*/ 771 w 1878"/>
                <a:gd name="T25" fmla="*/ 98 h 2109"/>
                <a:gd name="T26" fmla="*/ 939 w 1878"/>
                <a:gd name="T27" fmla="*/ 0 h 2109"/>
                <a:gd name="T28" fmla="*/ 939 w 1878"/>
                <a:gd name="T29" fmla="*/ 0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8" h="2109">
                  <a:moveTo>
                    <a:pt x="939" y="0"/>
                  </a:moveTo>
                  <a:lnTo>
                    <a:pt x="939" y="0"/>
                  </a:lnTo>
                  <a:cubicBezTo>
                    <a:pt x="1021" y="0"/>
                    <a:pt x="1063" y="51"/>
                    <a:pt x="1107" y="98"/>
                  </a:cubicBezTo>
                  <a:cubicBezTo>
                    <a:pt x="1161" y="154"/>
                    <a:pt x="1215" y="193"/>
                    <a:pt x="1295" y="154"/>
                  </a:cubicBezTo>
                  <a:cubicBezTo>
                    <a:pt x="1423" y="92"/>
                    <a:pt x="1546" y="136"/>
                    <a:pt x="1452" y="226"/>
                  </a:cubicBezTo>
                  <a:cubicBezTo>
                    <a:pt x="1432" y="245"/>
                    <a:pt x="1168" y="434"/>
                    <a:pt x="1168" y="704"/>
                  </a:cubicBezTo>
                  <a:cubicBezTo>
                    <a:pt x="1453" y="802"/>
                    <a:pt x="1878" y="1127"/>
                    <a:pt x="1878" y="1518"/>
                  </a:cubicBezTo>
                  <a:cubicBezTo>
                    <a:pt x="1878" y="1908"/>
                    <a:pt x="1712" y="2109"/>
                    <a:pt x="939" y="2109"/>
                  </a:cubicBezTo>
                  <a:cubicBezTo>
                    <a:pt x="166" y="2109"/>
                    <a:pt x="0" y="1908"/>
                    <a:pt x="0" y="1518"/>
                  </a:cubicBezTo>
                  <a:cubicBezTo>
                    <a:pt x="0" y="1127"/>
                    <a:pt x="424" y="802"/>
                    <a:pt x="710" y="704"/>
                  </a:cubicBezTo>
                  <a:cubicBezTo>
                    <a:pt x="710" y="434"/>
                    <a:pt x="445" y="245"/>
                    <a:pt x="426" y="226"/>
                  </a:cubicBezTo>
                  <a:cubicBezTo>
                    <a:pt x="332" y="136"/>
                    <a:pt x="455" y="92"/>
                    <a:pt x="582" y="154"/>
                  </a:cubicBezTo>
                  <a:cubicBezTo>
                    <a:pt x="663" y="193"/>
                    <a:pt x="716" y="154"/>
                    <a:pt x="771" y="98"/>
                  </a:cubicBezTo>
                  <a:cubicBezTo>
                    <a:pt x="815" y="51"/>
                    <a:pt x="857" y="0"/>
                    <a:pt x="939" y="0"/>
                  </a:cubicBezTo>
                  <a:lnTo>
                    <a:pt x="939" y="0"/>
                  </a:lnTo>
                  <a:close/>
                </a:path>
              </a:pathLst>
            </a:custGeom>
            <a:noFill/>
            <a:ln w="17463" cap="rnd">
              <a:solidFill>
                <a:schemeClr val="tx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mn-lt"/>
              </a:endParaRPr>
            </a:p>
          </p:txBody>
        </p:sp>
      </p:grpSp>
      <p:sp>
        <p:nvSpPr>
          <p:cNvPr id="19" name="Title 18">
            <a:extLst>
              <a:ext uri="{FF2B5EF4-FFF2-40B4-BE49-F238E27FC236}">
                <a16:creationId xmlns:a16="http://schemas.microsoft.com/office/drawing/2014/main" id="{1D257939-67B4-4B8C-8004-34F277B512F3}"/>
              </a:ext>
            </a:extLst>
          </p:cNvPr>
          <p:cNvSpPr>
            <a:spLocks noGrp="1"/>
          </p:cNvSpPr>
          <p:nvPr>
            <p:ph type="title"/>
          </p:nvPr>
        </p:nvSpPr>
        <p:spPr/>
        <p:txBody>
          <a:bodyPr/>
          <a:lstStyle/>
          <a:p>
            <a:r>
              <a:rPr lang="en-GB"/>
              <a:t>Key figures</a:t>
            </a:r>
            <a:endParaRPr lang="en-GB" dirty="0"/>
          </a:p>
        </p:txBody>
      </p:sp>
      <p:sp>
        <p:nvSpPr>
          <p:cNvPr id="25" name="TextBox 8">
            <a:extLst>
              <a:ext uri="{FF2B5EF4-FFF2-40B4-BE49-F238E27FC236}">
                <a16:creationId xmlns:a16="http://schemas.microsoft.com/office/drawing/2014/main" id="{F9E6A7C0-BEC1-4D1B-AB5C-A4E5362ECF5B}"/>
              </a:ext>
            </a:extLst>
          </p:cNvPr>
          <p:cNvSpPr txBox="1"/>
          <p:nvPr/>
        </p:nvSpPr>
        <p:spPr>
          <a:xfrm>
            <a:off x="1192817" y="5655522"/>
            <a:ext cx="2567710" cy="276999"/>
          </a:xfrm>
          <a:prstGeom prst="rect">
            <a:avLst/>
          </a:prstGeom>
          <a:noFill/>
        </p:spPr>
        <p:txBody>
          <a:bodyPr wrap="square" rtlCol="0">
            <a:spAutoFit/>
          </a:bodyPr>
          <a:lstStyle/>
          <a:p>
            <a:pPr algn="r"/>
            <a:r>
              <a:rPr lang="en-GB" sz="1200">
                <a:latin typeface="+mn-lt"/>
              </a:rPr>
              <a:t>X xxxxx x xxxxxxxx</a:t>
            </a:r>
            <a:endParaRPr lang="en-GB" sz="1200" dirty="0">
              <a:latin typeface="+mn-lt"/>
            </a:endParaRPr>
          </a:p>
        </p:txBody>
      </p:sp>
    </p:spTree>
    <p:extLst>
      <p:ext uri="{BB962C8B-B14F-4D97-AF65-F5344CB8AC3E}">
        <p14:creationId xmlns:p14="http://schemas.microsoft.com/office/powerpoint/2010/main" val="17222703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A5D0B349-55B6-4C68-AF20-56CC5C3898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5" imgW="270" imgH="270" progId="TCLayout.ActiveDocument.1">
                  <p:embed/>
                </p:oleObj>
              </mc:Choice>
              <mc:Fallback>
                <p:oleObj name="Diapositive think-cell" r:id="rId45" imgW="270" imgH="270" progId="TCLayout.ActiveDocument.1">
                  <p:embed/>
                  <p:pic>
                    <p:nvPicPr>
                      <p:cNvPr id="15" name="Objet 14" hidden="1">
                        <a:extLst>
                          <a:ext uri="{FF2B5EF4-FFF2-40B4-BE49-F238E27FC236}">
                            <a16:creationId xmlns:a16="http://schemas.microsoft.com/office/drawing/2014/main" id="{A5D0B349-55B6-4C68-AF20-56CC5C38988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D2D1A7-2787-4F7E-BE4B-7F207BDB47E8}"/>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E01FAC14-A847-4A63-9DE9-9C4122AE3747}"/>
              </a:ext>
            </a:extLst>
          </p:cNvPr>
          <p:cNvSpPr>
            <a:spLocks noGrp="1"/>
          </p:cNvSpPr>
          <p:nvPr>
            <p:ph type="title"/>
          </p:nvPr>
        </p:nvSpPr>
        <p:spPr/>
        <p:txBody>
          <a:bodyPr/>
          <a:lstStyle/>
          <a:p>
            <a:r>
              <a:rPr lang="en-GB"/>
              <a:t>Four key figures</a:t>
            </a:r>
            <a:endParaRPr lang="en-GB" dirty="0"/>
          </a:p>
        </p:txBody>
      </p:sp>
      <p:sp>
        <p:nvSpPr>
          <p:cNvPr id="73" name="TextBox 72"/>
          <p:cNvSpPr txBox="1"/>
          <p:nvPr/>
        </p:nvSpPr>
        <p:spPr>
          <a:xfrm>
            <a:off x="737711" y="4413551"/>
            <a:ext cx="2304000" cy="959237"/>
          </a:xfrm>
          <a:prstGeom prst="rect">
            <a:avLst/>
          </a:prstGeom>
          <a:noFill/>
        </p:spPr>
        <p:txBody>
          <a:bodyPr wrap="square" lIns="180000" tIns="36000" rIns="180000" bIns="36000" rtlCol="0">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 dolor sit amet, consectetur</a:t>
            </a:r>
            <a:endParaRPr kumimoji="0" lang="en-GB" sz="1600" i="0" u="none" strike="noStrike" kern="0" cap="none" spc="0" normalizeH="0" baseline="0" noProof="0" dirty="0">
              <a:ln>
                <a:noFill/>
              </a:ln>
              <a:effectLst/>
              <a:uLnTx/>
              <a:uFillTx/>
              <a:latin typeface="+mn-lt"/>
              <a:ea typeface="+mn-ea"/>
              <a:cs typeface="+mn-cs"/>
            </a:endParaRPr>
          </a:p>
        </p:txBody>
      </p:sp>
      <p:sp>
        <p:nvSpPr>
          <p:cNvPr id="74" name="TextBox 73"/>
          <p:cNvSpPr txBox="1"/>
          <p:nvPr/>
        </p:nvSpPr>
        <p:spPr>
          <a:xfrm>
            <a:off x="3562982" y="4414385"/>
            <a:ext cx="2304000" cy="959237"/>
          </a:xfrm>
          <a:prstGeom prst="rect">
            <a:avLst/>
          </a:prstGeom>
          <a:noFill/>
        </p:spPr>
        <p:txBody>
          <a:bodyPr wrap="square" lIns="180000" tIns="36000" rIns="180000" bIns="36000" rtlCol="0">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 dolor sit amet, consectetur</a:t>
            </a:r>
            <a:endParaRPr kumimoji="0" lang="en-GB" sz="1600" i="0" u="none" strike="noStrike" kern="0" cap="none" spc="0" normalizeH="0" baseline="0" noProof="0" dirty="0">
              <a:ln>
                <a:noFill/>
              </a:ln>
              <a:effectLst/>
              <a:uLnTx/>
              <a:uFillTx/>
              <a:latin typeface="+mn-lt"/>
              <a:ea typeface="+mn-ea"/>
              <a:cs typeface="+mn-cs"/>
            </a:endParaRPr>
          </a:p>
        </p:txBody>
      </p:sp>
      <p:sp>
        <p:nvSpPr>
          <p:cNvPr id="75" name="TextBox 74"/>
          <p:cNvSpPr txBox="1"/>
          <p:nvPr/>
        </p:nvSpPr>
        <p:spPr>
          <a:xfrm>
            <a:off x="6388253" y="4413550"/>
            <a:ext cx="2304000" cy="959237"/>
          </a:xfrm>
          <a:prstGeom prst="rect">
            <a:avLst/>
          </a:prstGeom>
          <a:noFill/>
        </p:spPr>
        <p:txBody>
          <a:bodyPr wrap="square" lIns="180000" tIns="36000" rIns="180000" bIns="36000" rtlCol="0">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 dolor sit amet, consectetur</a:t>
            </a:r>
            <a:endParaRPr kumimoji="0" lang="en-GB" sz="1600" i="0" u="none" strike="noStrike" kern="0" cap="none" spc="0" normalizeH="0" baseline="0" noProof="0" dirty="0">
              <a:ln>
                <a:noFill/>
              </a:ln>
              <a:effectLst/>
              <a:uLnTx/>
              <a:uFillTx/>
              <a:latin typeface="+mn-lt"/>
              <a:ea typeface="+mn-ea"/>
              <a:cs typeface="+mn-cs"/>
            </a:endParaRPr>
          </a:p>
        </p:txBody>
      </p:sp>
      <p:sp>
        <p:nvSpPr>
          <p:cNvPr id="76" name="TextBox 75"/>
          <p:cNvSpPr txBox="1"/>
          <p:nvPr/>
        </p:nvSpPr>
        <p:spPr>
          <a:xfrm>
            <a:off x="9213523" y="4413550"/>
            <a:ext cx="2304000" cy="959237"/>
          </a:xfrm>
          <a:prstGeom prst="rect">
            <a:avLst/>
          </a:prstGeom>
          <a:noFill/>
        </p:spPr>
        <p:txBody>
          <a:bodyPr wrap="square" lIns="180000" tIns="36000" rIns="180000" bIns="36000" rtlCol="0">
            <a:no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i="0" u="none" strike="noStrike" kern="0" cap="none" spc="0" normalizeH="0" baseline="0" noProof="0">
                <a:ln>
                  <a:noFill/>
                </a:ln>
                <a:effectLst/>
                <a:uLnTx/>
                <a:uFillTx/>
                <a:latin typeface="+mn-lt"/>
                <a:ea typeface="+mn-ea"/>
                <a:cs typeface="+mn-cs"/>
              </a:rPr>
              <a:t>Lorem ipsum dolor sit amet, consectetur</a:t>
            </a:r>
            <a:endParaRPr kumimoji="0" lang="en-GB" sz="1600" i="0" u="none" strike="noStrike" kern="0" cap="none" spc="0" normalizeH="0" baseline="0" noProof="0" dirty="0">
              <a:ln>
                <a:noFill/>
              </a:ln>
              <a:effectLst/>
              <a:uLnTx/>
              <a:uFillTx/>
              <a:latin typeface="+mn-lt"/>
              <a:ea typeface="+mn-ea"/>
              <a:cs typeface="+mn-cs"/>
            </a:endParaRPr>
          </a:p>
        </p:txBody>
      </p:sp>
      <p:grpSp>
        <p:nvGrpSpPr>
          <p:cNvPr id="14" name="Group 13">
            <a:extLst>
              <a:ext uri="{FF2B5EF4-FFF2-40B4-BE49-F238E27FC236}">
                <a16:creationId xmlns:a16="http://schemas.microsoft.com/office/drawing/2014/main" id="{6B0FF030-4C6D-471B-B3EC-F0535B367558}"/>
              </a:ext>
            </a:extLst>
          </p:cNvPr>
          <p:cNvGrpSpPr/>
          <p:nvPr/>
        </p:nvGrpSpPr>
        <p:grpSpPr>
          <a:xfrm>
            <a:off x="814389" y="1976958"/>
            <a:ext cx="2150645" cy="2150645"/>
            <a:chOff x="814389" y="1949526"/>
            <a:chExt cx="2150645" cy="2150645"/>
          </a:xfrm>
        </p:grpSpPr>
        <p:sp>
          <p:nvSpPr>
            <p:cNvPr id="4" name="Block Arc 3"/>
            <p:cNvSpPr/>
            <p:nvPr>
              <p:custDataLst>
                <p:tags r:id="rId33"/>
              </p:custDataLst>
            </p:nvPr>
          </p:nvSpPr>
          <p:spPr>
            <a:xfrm>
              <a:off x="814389" y="1949526"/>
              <a:ext cx="2150645" cy="2150645"/>
            </a:xfrm>
            <a:prstGeom prst="blockArc">
              <a:avLst>
                <a:gd name="adj1" fmla="val 0"/>
                <a:gd name="adj2" fmla="val 216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 name="Block Arc 4"/>
            <p:cNvSpPr/>
            <p:nvPr>
              <p:custDataLst>
                <p:tags r:id="rId34"/>
              </p:custDataLst>
            </p:nvPr>
          </p:nvSpPr>
          <p:spPr>
            <a:xfrm>
              <a:off x="814389" y="1949526"/>
              <a:ext cx="2150645" cy="2150645"/>
            </a:xfrm>
            <a:prstGeom prst="blockArc">
              <a:avLst>
                <a:gd name="adj1" fmla="val 2160000"/>
                <a:gd name="adj2" fmla="val 432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 name="Block Arc 5"/>
            <p:cNvSpPr/>
            <p:nvPr>
              <p:custDataLst>
                <p:tags r:id="rId35"/>
              </p:custDataLst>
            </p:nvPr>
          </p:nvSpPr>
          <p:spPr>
            <a:xfrm>
              <a:off x="814389" y="1949526"/>
              <a:ext cx="2150645" cy="2150645"/>
            </a:xfrm>
            <a:prstGeom prst="blockArc">
              <a:avLst>
                <a:gd name="adj1" fmla="val 4320000"/>
                <a:gd name="adj2" fmla="val 648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7" name="Block Arc 6"/>
            <p:cNvSpPr/>
            <p:nvPr>
              <p:custDataLst>
                <p:tags r:id="rId36"/>
              </p:custDataLst>
            </p:nvPr>
          </p:nvSpPr>
          <p:spPr>
            <a:xfrm>
              <a:off x="814389" y="1949526"/>
              <a:ext cx="2150645" cy="2150645"/>
            </a:xfrm>
            <a:prstGeom prst="blockArc">
              <a:avLst>
                <a:gd name="adj1" fmla="val 6480000"/>
                <a:gd name="adj2" fmla="val 864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8" name="Block Arc 7"/>
            <p:cNvSpPr/>
            <p:nvPr>
              <p:custDataLst>
                <p:tags r:id="rId37"/>
              </p:custDataLst>
            </p:nvPr>
          </p:nvSpPr>
          <p:spPr>
            <a:xfrm>
              <a:off x="814389" y="1949526"/>
              <a:ext cx="2150645" cy="2150645"/>
            </a:xfrm>
            <a:prstGeom prst="blockArc">
              <a:avLst>
                <a:gd name="adj1" fmla="val 8640000"/>
                <a:gd name="adj2" fmla="val 1080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9" name="Block Arc 8"/>
            <p:cNvSpPr/>
            <p:nvPr>
              <p:custDataLst>
                <p:tags r:id="rId38"/>
              </p:custDataLst>
            </p:nvPr>
          </p:nvSpPr>
          <p:spPr>
            <a:xfrm>
              <a:off x="814389" y="1949526"/>
              <a:ext cx="2150645" cy="2150645"/>
            </a:xfrm>
            <a:prstGeom prst="blockArc">
              <a:avLst>
                <a:gd name="adj1" fmla="val 10800000"/>
                <a:gd name="adj2" fmla="val 1296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10" name="Block Arc 9"/>
            <p:cNvSpPr/>
            <p:nvPr>
              <p:custDataLst>
                <p:tags r:id="rId39"/>
              </p:custDataLst>
            </p:nvPr>
          </p:nvSpPr>
          <p:spPr>
            <a:xfrm>
              <a:off x="814389" y="1949526"/>
              <a:ext cx="2150645" cy="2150645"/>
            </a:xfrm>
            <a:prstGeom prst="blockArc">
              <a:avLst>
                <a:gd name="adj1" fmla="val 12960000"/>
                <a:gd name="adj2" fmla="val 1512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11" name="Block Arc 10"/>
            <p:cNvSpPr/>
            <p:nvPr>
              <p:custDataLst>
                <p:tags r:id="rId40"/>
              </p:custDataLst>
            </p:nvPr>
          </p:nvSpPr>
          <p:spPr>
            <a:xfrm>
              <a:off x="814389" y="1949526"/>
              <a:ext cx="2150645" cy="2150645"/>
            </a:xfrm>
            <a:prstGeom prst="blockArc">
              <a:avLst>
                <a:gd name="adj1" fmla="val 15120000"/>
                <a:gd name="adj2" fmla="val 1728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12" name="Block Arc 11"/>
            <p:cNvSpPr>
              <a:spLocks noChangeAspect="1"/>
            </p:cNvSpPr>
            <p:nvPr>
              <p:custDataLst>
                <p:tags r:id="rId41"/>
              </p:custDataLst>
            </p:nvPr>
          </p:nvSpPr>
          <p:spPr>
            <a:xfrm>
              <a:off x="814389" y="1949526"/>
              <a:ext cx="2150645" cy="2150645"/>
            </a:xfrm>
            <a:prstGeom prst="blockArc">
              <a:avLst>
                <a:gd name="adj1" fmla="val 17280000"/>
                <a:gd name="adj2" fmla="val 1944000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13" name="Block Arc 12"/>
            <p:cNvSpPr/>
            <p:nvPr>
              <p:custDataLst>
                <p:tags r:id="rId42"/>
              </p:custDataLst>
            </p:nvPr>
          </p:nvSpPr>
          <p:spPr>
            <a:xfrm>
              <a:off x="814389" y="1949526"/>
              <a:ext cx="2150645" cy="2150645"/>
            </a:xfrm>
            <a:prstGeom prst="blockArc">
              <a:avLst>
                <a:gd name="adj1" fmla="val 19440000"/>
                <a:gd name="adj2" fmla="val 0"/>
                <a:gd name="adj3" fmla="val 12500"/>
              </a:avLst>
            </a:prstGeom>
            <a:solidFill>
              <a:schemeClr val="tx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77" name="TextBox 76"/>
            <p:cNvSpPr txBox="1"/>
            <p:nvPr/>
          </p:nvSpPr>
          <p:spPr>
            <a:xfrm>
              <a:off x="1104930" y="2732461"/>
              <a:ext cx="1569563"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chemeClr val="tx2"/>
                  </a:solidFill>
                  <a:effectLst/>
                  <a:uLnTx/>
                  <a:uFillTx/>
                  <a:latin typeface="+mn-lt"/>
                  <a:ea typeface="+mn-ea"/>
                  <a:cs typeface="+mn-cs"/>
                </a:rPr>
                <a:t>70%</a:t>
              </a:r>
              <a:endParaRPr kumimoji="0" lang="en-GB" sz="3200" b="0" i="0" u="none" strike="noStrike" kern="0" cap="none" spc="0" normalizeH="0" baseline="0" noProof="0" dirty="0">
                <a:ln>
                  <a:noFill/>
                </a:ln>
                <a:solidFill>
                  <a:schemeClr val="tx2"/>
                </a:solidFill>
                <a:effectLst/>
                <a:uLnTx/>
                <a:uFillTx/>
                <a:latin typeface="+mn-lt"/>
                <a:ea typeface="+mn-ea"/>
                <a:cs typeface="+mn-cs"/>
              </a:endParaRPr>
            </a:p>
          </p:txBody>
        </p:sp>
      </p:grpSp>
      <p:grpSp>
        <p:nvGrpSpPr>
          <p:cNvPr id="27" name="Group 26">
            <a:extLst>
              <a:ext uri="{FF2B5EF4-FFF2-40B4-BE49-F238E27FC236}">
                <a16:creationId xmlns:a16="http://schemas.microsoft.com/office/drawing/2014/main" id="{B45ACB09-5A61-46F1-AD4D-455098197DF6}"/>
              </a:ext>
            </a:extLst>
          </p:cNvPr>
          <p:cNvGrpSpPr/>
          <p:nvPr/>
        </p:nvGrpSpPr>
        <p:grpSpPr>
          <a:xfrm>
            <a:off x="3639660" y="1976958"/>
            <a:ext cx="2150645" cy="2150645"/>
            <a:chOff x="3597827" y="1949526"/>
            <a:chExt cx="2150645" cy="2150645"/>
          </a:xfrm>
        </p:grpSpPr>
        <p:sp>
          <p:nvSpPr>
            <p:cNvPr id="17" name="Block Arc 16"/>
            <p:cNvSpPr/>
            <p:nvPr>
              <p:custDataLst>
                <p:tags r:id="rId23"/>
              </p:custDataLst>
            </p:nvPr>
          </p:nvSpPr>
          <p:spPr>
            <a:xfrm>
              <a:off x="3597827" y="1949526"/>
              <a:ext cx="2150645" cy="2150645"/>
            </a:xfrm>
            <a:prstGeom prst="blockArc">
              <a:avLst>
                <a:gd name="adj1" fmla="val 0"/>
                <a:gd name="adj2" fmla="val 2160000"/>
                <a:gd name="adj3" fmla="val 12500"/>
              </a:avLst>
            </a:prstGeom>
            <a:solidFill>
              <a:schemeClr val="accent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18" name="Block Arc 17"/>
            <p:cNvSpPr/>
            <p:nvPr>
              <p:custDataLst>
                <p:tags r:id="rId24"/>
              </p:custDataLst>
            </p:nvPr>
          </p:nvSpPr>
          <p:spPr>
            <a:xfrm>
              <a:off x="3597827" y="1949526"/>
              <a:ext cx="2150645" cy="2150645"/>
            </a:xfrm>
            <a:prstGeom prst="blockArc">
              <a:avLst>
                <a:gd name="adj1" fmla="val 2160000"/>
                <a:gd name="adj2" fmla="val 4320000"/>
                <a:gd name="adj3" fmla="val 12500"/>
              </a:avLst>
            </a:prstGeom>
            <a:solidFill>
              <a:schemeClr val="accent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19" name="Block Arc 18"/>
            <p:cNvSpPr/>
            <p:nvPr>
              <p:custDataLst>
                <p:tags r:id="rId25"/>
              </p:custDataLst>
            </p:nvPr>
          </p:nvSpPr>
          <p:spPr>
            <a:xfrm>
              <a:off x="3597827" y="1949526"/>
              <a:ext cx="2150645" cy="2150645"/>
            </a:xfrm>
            <a:prstGeom prst="blockArc">
              <a:avLst>
                <a:gd name="adj1" fmla="val 4320000"/>
                <a:gd name="adj2" fmla="val 648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20" name="Block Arc 19"/>
            <p:cNvSpPr/>
            <p:nvPr>
              <p:custDataLst>
                <p:tags r:id="rId26"/>
              </p:custDataLst>
            </p:nvPr>
          </p:nvSpPr>
          <p:spPr>
            <a:xfrm>
              <a:off x="3597827" y="1949526"/>
              <a:ext cx="2150645" cy="2150645"/>
            </a:xfrm>
            <a:prstGeom prst="blockArc">
              <a:avLst>
                <a:gd name="adj1" fmla="val 6480000"/>
                <a:gd name="adj2" fmla="val 864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21" name="Block Arc 20"/>
            <p:cNvSpPr/>
            <p:nvPr>
              <p:custDataLst>
                <p:tags r:id="rId27"/>
              </p:custDataLst>
            </p:nvPr>
          </p:nvSpPr>
          <p:spPr>
            <a:xfrm>
              <a:off x="3597827" y="1949526"/>
              <a:ext cx="2150645" cy="2150645"/>
            </a:xfrm>
            <a:prstGeom prst="blockArc">
              <a:avLst>
                <a:gd name="adj1" fmla="val 8640000"/>
                <a:gd name="adj2" fmla="val 1080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22" name="Block Arc 21"/>
            <p:cNvSpPr/>
            <p:nvPr>
              <p:custDataLst>
                <p:tags r:id="rId28"/>
              </p:custDataLst>
            </p:nvPr>
          </p:nvSpPr>
          <p:spPr>
            <a:xfrm>
              <a:off x="3597827" y="1949526"/>
              <a:ext cx="2150645" cy="2150645"/>
            </a:xfrm>
            <a:prstGeom prst="blockArc">
              <a:avLst>
                <a:gd name="adj1" fmla="val 10800000"/>
                <a:gd name="adj2" fmla="val 1296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23" name="Block Arc 22"/>
            <p:cNvSpPr/>
            <p:nvPr>
              <p:custDataLst>
                <p:tags r:id="rId29"/>
              </p:custDataLst>
            </p:nvPr>
          </p:nvSpPr>
          <p:spPr>
            <a:xfrm>
              <a:off x="3597827" y="1949526"/>
              <a:ext cx="2150645" cy="2150645"/>
            </a:xfrm>
            <a:prstGeom prst="blockArc">
              <a:avLst>
                <a:gd name="adj1" fmla="val 12960000"/>
                <a:gd name="adj2" fmla="val 1512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24" name="Block Arc 23"/>
            <p:cNvSpPr/>
            <p:nvPr>
              <p:custDataLst>
                <p:tags r:id="rId30"/>
              </p:custDataLst>
            </p:nvPr>
          </p:nvSpPr>
          <p:spPr>
            <a:xfrm>
              <a:off x="3597827" y="1949526"/>
              <a:ext cx="2150645" cy="2150645"/>
            </a:xfrm>
            <a:prstGeom prst="blockArc">
              <a:avLst>
                <a:gd name="adj1" fmla="val 15120000"/>
                <a:gd name="adj2" fmla="val 17280000"/>
                <a:gd name="adj3" fmla="val 12500"/>
              </a:avLst>
            </a:prstGeom>
            <a:solidFill>
              <a:schemeClr val="accent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25" name="Block Arc 24"/>
            <p:cNvSpPr>
              <a:spLocks noChangeAspect="1"/>
            </p:cNvSpPr>
            <p:nvPr>
              <p:custDataLst>
                <p:tags r:id="rId31"/>
              </p:custDataLst>
            </p:nvPr>
          </p:nvSpPr>
          <p:spPr>
            <a:xfrm>
              <a:off x="3597827" y="1949526"/>
              <a:ext cx="2150645" cy="2150645"/>
            </a:xfrm>
            <a:prstGeom prst="blockArc">
              <a:avLst>
                <a:gd name="adj1" fmla="val 17280000"/>
                <a:gd name="adj2" fmla="val 19440000"/>
                <a:gd name="adj3" fmla="val 12500"/>
              </a:avLst>
            </a:prstGeom>
            <a:solidFill>
              <a:schemeClr val="accent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26" name="Block Arc 25"/>
            <p:cNvSpPr/>
            <p:nvPr>
              <p:custDataLst>
                <p:tags r:id="rId32"/>
              </p:custDataLst>
            </p:nvPr>
          </p:nvSpPr>
          <p:spPr>
            <a:xfrm>
              <a:off x="3597827" y="1949526"/>
              <a:ext cx="2150645" cy="2150645"/>
            </a:xfrm>
            <a:prstGeom prst="blockArc">
              <a:avLst>
                <a:gd name="adj1" fmla="val 19440000"/>
                <a:gd name="adj2" fmla="val 0"/>
                <a:gd name="adj3" fmla="val 12500"/>
              </a:avLst>
            </a:prstGeom>
            <a:solidFill>
              <a:schemeClr val="accent2"/>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78" name="TextBox 77"/>
            <p:cNvSpPr txBox="1"/>
            <p:nvPr/>
          </p:nvSpPr>
          <p:spPr>
            <a:xfrm>
              <a:off x="3888368" y="2732461"/>
              <a:ext cx="1569563"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chemeClr val="accent2"/>
                  </a:solidFill>
                  <a:effectLst/>
                  <a:uLnTx/>
                  <a:uFillTx/>
                  <a:latin typeface="+mn-lt"/>
                  <a:ea typeface="+mn-ea"/>
                  <a:cs typeface="+mn-cs"/>
                </a:rPr>
                <a:t>50%</a:t>
              </a:r>
              <a:endParaRPr kumimoji="0" lang="en-GB" sz="3200" b="0" i="0" u="none" strike="noStrike" kern="0" cap="none" spc="0" normalizeH="0" baseline="0" noProof="0" dirty="0">
                <a:ln>
                  <a:noFill/>
                </a:ln>
                <a:solidFill>
                  <a:schemeClr val="accent2"/>
                </a:solidFill>
                <a:effectLst/>
                <a:uLnTx/>
                <a:uFillTx/>
                <a:latin typeface="+mn-lt"/>
                <a:ea typeface="+mn-ea"/>
                <a:cs typeface="+mn-cs"/>
              </a:endParaRPr>
            </a:p>
          </p:txBody>
        </p:sp>
      </p:grpSp>
      <p:grpSp>
        <p:nvGrpSpPr>
          <p:cNvPr id="28" name="Group 27">
            <a:extLst>
              <a:ext uri="{FF2B5EF4-FFF2-40B4-BE49-F238E27FC236}">
                <a16:creationId xmlns:a16="http://schemas.microsoft.com/office/drawing/2014/main" id="{5623ED15-B4AB-4C1D-8CD6-A3FBBA442CD4}"/>
              </a:ext>
            </a:extLst>
          </p:cNvPr>
          <p:cNvGrpSpPr/>
          <p:nvPr/>
        </p:nvGrpSpPr>
        <p:grpSpPr>
          <a:xfrm>
            <a:off x="6464931" y="1976958"/>
            <a:ext cx="2150645" cy="2150645"/>
            <a:chOff x="6521221" y="1949526"/>
            <a:chExt cx="2150645" cy="2150645"/>
          </a:xfrm>
        </p:grpSpPr>
        <p:sp>
          <p:nvSpPr>
            <p:cNvPr id="51" name="Block Arc 50"/>
            <p:cNvSpPr/>
            <p:nvPr>
              <p:custDataLst>
                <p:tags r:id="rId13"/>
              </p:custDataLst>
            </p:nvPr>
          </p:nvSpPr>
          <p:spPr>
            <a:xfrm>
              <a:off x="6521221" y="1949526"/>
              <a:ext cx="2150645" cy="2150645"/>
            </a:xfrm>
            <a:prstGeom prst="blockArc">
              <a:avLst>
                <a:gd name="adj1" fmla="val 0"/>
                <a:gd name="adj2" fmla="val 216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2" name="Block Arc 51"/>
            <p:cNvSpPr/>
            <p:nvPr>
              <p:custDataLst>
                <p:tags r:id="rId14"/>
              </p:custDataLst>
            </p:nvPr>
          </p:nvSpPr>
          <p:spPr>
            <a:xfrm>
              <a:off x="6521221" y="1949526"/>
              <a:ext cx="2150645" cy="2150645"/>
            </a:xfrm>
            <a:prstGeom prst="blockArc">
              <a:avLst>
                <a:gd name="adj1" fmla="val 2160000"/>
                <a:gd name="adj2" fmla="val 432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3" name="Block Arc 52"/>
            <p:cNvSpPr/>
            <p:nvPr>
              <p:custDataLst>
                <p:tags r:id="rId15"/>
              </p:custDataLst>
            </p:nvPr>
          </p:nvSpPr>
          <p:spPr>
            <a:xfrm>
              <a:off x="6521221" y="1949526"/>
              <a:ext cx="2150645" cy="2150645"/>
            </a:xfrm>
            <a:prstGeom prst="blockArc">
              <a:avLst>
                <a:gd name="adj1" fmla="val 4320000"/>
                <a:gd name="adj2" fmla="val 648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4" name="Block Arc 53"/>
            <p:cNvSpPr/>
            <p:nvPr>
              <p:custDataLst>
                <p:tags r:id="rId16"/>
              </p:custDataLst>
            </p:nvPr>
          </p:nvSpPr>
          <p:spPr>
            <a:xfrm>
              <a:off x="6521221" y="1949526"/>
              <a:ext cx="2150645" cy="2150645"/>
            </a:xfrm>
            <a:prstGeom prst="blockArc">
              <a:avLst>
                <a:gd name="adj1" fmla="val 6480000"/>
                <a:gd name="adj2" fmla="val 864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5" name="Block Arc 54"/>
            <p:cNvSpPr/>
            <p:nvPr>
              <p:custDataLst>
                <p:tags r:id="rId17"/>
              </p:custDataLst>
            </p:nvPr>
          </p:nvSpPr>
          <p:spPr>
            <a:xfrm>
              <a:off x="6521221" y="1949526"/>
              <a:ext cx="2150645" cy="2150645"/>
            </a:xfrm>
            <a:prstGeom prst="blockArc">
              <a:avLst>
                <a:gd name="adj1" fmla="val 8640000"/>
                <a:gd name="adj2" fmla="val 1080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56" name="Block Arc 55"/>
            <p:cNvSpPr/>
            <p:nvPr>
              <p:custDataLst>
                <p:tags r:id="rId18"/>
              </p:custDataLst>
            </p:nvPr>
          </p:nvSpPr>
          <p:spPr>
            <a:xfrm>
              <a:off x="6521221" y="1949526"/>
              <a:ext cx="2150645" cy="2150645"/>
            </a:xfrm>
            <a:prstGeom prst="blockArc">
              <a:avLst>
                <a:gd name="adj1" fmla="val 10800000"/>
                <a:gd name="adj2" fmla="val 1296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57" name="Block Arc 56"/>
            <p:cNvSpPr/>
            <p:nvPr>
              <p:custDataLst>
                <p:tags r:id="rId19"/>
              </p:custDataLst>
            </p:nvPr>
          </p:nvSpPr>
          <p:spPr>
            <a:xfrm>
              <a:off x="6521221" y="1949526"/>
              <a:ext cx="2150645" cy="2150645"/>
            </a:xfrm>
            <a:prstGeom prst="blockArc">
              <a:avLst>
                <a:gd name="adj1" fmla="val 12960000"/>
                <a:gd name="adj2" fmla="val 1512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58" name="Block Arc 57"/>
            <p:cNvSpPr/>
            <p:nvPr>
              <p:custDataLst>
                <p:tags r:id="rId20"/>
              </p:custDataLst>
            </p:nvPr>
          </p:nvSpPr>
          <p:spPr>
            <a:xfrm>
              <a:off x="6521221" y="1949526"/>
              <a:ext cx="2150645" cy="2150645"/>
            </a:xfrm>
            <a:prstGeom prst="blockArc">
              <a:avLst>
                <a:gd name="adj1" fmla="val 15120000"/>
                <a:gd name="adj2" fmla="val 1728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59" name="Block Arc 58"/>
            <p:cNvSpPr>
              <a:spLocks noChangeAspect="1"/>
            </p:cNvSpPr>
            <p:nvPr>
              <p:custDataLst>
                <p:tags r:id="rId21"/>
              </p:custDataLst>
            </p:nvPr>
          </p:nvSpPr>
          <p:spPr>
            <a:xfrm>
              <a:off x="6521221" y="1949526"/>
              <a:ext cx="2150645" cy="2150645"/>
            </a:xfrm>
            <a:prstGeom prst="blockArc">
              <a:avLst>
                <a:gd name="adj1" fmla="val 17280000"/>
                <a:gd name="adj2" fmla="val 1944000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0" name="Block Arc 59"/>
            <p:cNvSpPr/>
            <p:nvPr>
              <p:custDataLst>
                <p:tags r:id="rId22"/>
              </p:custDataLst>
            </p:nvPr>
          </p:nvSpPr>
          <p:spPr>
            <a:xfrm>
              <a:off x="6521221" y="1949526"/>
              <a:ext cx="2150645" cy="2150645"/>
            </a:xfrm>
            <a:prstGeom prst="blockArc">
              <a:avLst>
                <a:gd name="adj1" fmla="val 19440000"/>
                <a:gd name="adj2" fmla="val 0"/>
                <a:gd name="adj3" fmla="val 12500"/>
              </a:avLst>
            </a:prstGeom>
            <a:solidFill>
              <a:schemeClr val="accent3"/>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79" name="TextBox 78"/>
            <p:cNvSpPr txBox="1"/>
            <p:nvPr/>
          </p:nvSpPr>
          <p:spPr>
            <a:xfrm>
              <a:off x="6811762" y="2732461"/>
              <a:ext cx="1569563"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chemeClr val="accent3"/>
                  </a:solidFill>
                  <a:effectLst/>
                  <a:uLnTx/>
                  <a:uFillTx/>
                  <a:latin typeface="+mn-lt"/>
                  <a:ea typeface="+mn-ea"/>
                  <a:cs typeface="+mn-cs"/>
                </a:rPr>
                <a:t>90%</a:t>
              </a:r>
              <a:endParaRPr kumimoji="0" lang="en-GB" sz="3200" b="0" i="0" u="none" strike="noStrike" kern="0" cap="none" spc="0" normalizeH="0" baseline="0" noProof="0" dirty="0">
                <a:ln>
                  <a:noFill/>
                </a:ln>
                <a:solidFill>
                  <a:schemeClr val="accent3"/>
                </a:solidFill>
                <a:effectLst/>
                <a:uLnTx/>
                <a:uFillTx/>
                <a:latin typeface="+mn-lt"/>
                <a:ea typeface="+mn-ea"/>
                <a:cs typeface="+mn-cs"/>
              </a:endParaRPr>
            </a:p>
          </p:txBody>
        </p:sp>
      </p:grpSp>
      <p:grpSp>
        <p:nvGrpSpPr>
          <p:cNvPr id="29" name="Group 28">
            <a:extLst>
              <a:ext uri="{FF2B5EF4-FFF2-40B4-BE49-F238E27FC236}">
                <a16:creationId xmlns:a16="http://schemas.microsoft.com/office/drawing/2014/main" id="{1579BF61-F84A-4A37-8248-2047DFD07C1B}"/>
              </a:ext>
            </a:extLst>
          </p:cNvPr>
          <p:cNvGrpSpPr/>
          <p:nvPr/>
        </p:nvGrpSpPr>
        <p:grpSpPr>
          <a:xfrm>
            <a:off x="9290201" y="1976958"/>
            <a:ext cx="2150645" cy="2150645"/>
            <a:chOff x="9290201" y="1949526"/>
            <a:chExt cx="2150645" cy="2150645"/>
          </a:xfrm>
        </p:grpSpPr>
        <p:sp>
          <p:nvSpPr>
            <p:cNvPr id="62" name="Block Arc 61"/>
            <p:cNvSpPr/>
            <p:nvPr>
              <p:custDataLst>
                <p:tags r:id="rId3"/>
              </p:custDataLst>
            </p:nvPr>
          </p:nvSpPr>
          <p:spPr>
            <a:xfrm>
              <a:off x="9290201" y="1949526"/>
              <a:ext cx="2150645" cy="2150645"/>
            </a:xfrm>
            <a:prstGeom prst="blockArc">
              <a:avLst>
                <a:gd name="adj1" fmla="val 0"/>
                <a:gd name="adj2" fmla="val 216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3" name="Block Arc 62"/>
            <p:cNvSpPr/>
            <p:nvPr>
              <p:custDataLst>
                <p:tags r:id="rId4"/>
              </p:custDataLst>
            </p:nvPr>
          </p:nvSpPr>
          <p:spPr>
            <a:xfrm>
              <a:off x="9290201" y="1949526"/>
              <a:ext cx="2150645" cy="2150645"/>
            </a:xfrm>
            <a:prstGeom prst="blockArc">
              <a:avLst>
                <a:gd name="adj1" fmla="val 2160000"/>
                <a:gd name="adj2" fmla="val 432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4" name="Block Arc 63"/>
            <p:cNvSpPr/>
            <p:nvPr>
              <p:custDataLst>
                <p:tags r:id="rId5"/>
              </p:custDataLst>
            </p:nvPr>
          </p:nvSpPr>
          <p:spPr>
            <a:xfrm>
              <a:off x="9290201" y="1949526"/>
              <a:ext cx="2150645" cy="2150645"/>
            </a:xfrm>
            <a:prstGeom prst="blockArc">
              <a:avLst>
                <a:gd name="adj1" fmla="val 4320000"/>
                <a:gd name="adj2" fmla="val 648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5" name="Block Arc 64"/>
            <p:cNvSpPr/>
            <p:nvPr>
              <p:custDataLst>
                <p:tags r:id="rId6"/>
              </p:custDataLst>
            </p:nvPr>
          </p:nvSpPr>
          <p:spPr>
            <a:xfrm>
              <a:off x="9290201" y="1949526"/>
              <a:ext cx="2150645" cy="2150645"/>
            </a:xfrm>
            <a:prstGeom prst="blockArc">
              <a:avLst>
                <a:gd name="adj1" fmla="val 6480000"/>
                <a:gd name="adj2" fmla="val 864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66" name="Block Arc 65"/>
            <p:cNvSpPr/>
            <p:nvPr>
              <p:custDataLst>
                <p:tags r:id="rId7"/>
              </p:custDataLst>
            </p:nvPr>
          </p:nvSpPr>
          <p:spPr>
            <a:xfrm>
              <a:off x="9290201" y="1949526"/>
              <a:ext cx="2150645" cy="2150645"/>
            </a:xfrm>
            <a:prstGeom prst="blockArc">
              <a:avLst>
                <a:gd name="adj1" fmla="val 8640000"/>
                <a:gd name="adj2" fmla="val 1080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67" name="Block Arc 66"/>
            <p:cNvSpPr/>
            <p:nvPr>
              <p:custDataLst>
                <p:tags r:id="rId8"/>
              </p:custDataLst>
            </p:nvPr>
          </p:nvSpPr>
          <p:spPr>
            <a:xfrm>
              <a:off x="9290201" y="1949526"/>
              <a:ext cx="2150645" cy="2150645"/>
            </a:xfrm>
            <a:prstGeom prst="blockArc">
              <a:avLst>
                <a:gd name="adj1" fmla="val 10800000"/>
                <a:gd name="adj2" fmla="val 1296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68" name="Block Arc 67"/>
            <p:cNvSpPr/>
            <p:nvPr>
              <p:custDataLst>
                <p:tags r:id="rId9"/>
              </p:custDataLst>
            </p:nvPr>
          </p:nvSpPr>
          <p:spPr>
            <a:xfrm>
              <a:off x="9290201" y="1949526"/>
              <a:ext cx="2150645" cy="2150645"/>
            </a:xfrm>
            <a:prstGeom prst="blockArc">
              <a:avLst>
                <a:gd name="adj1" fmla="val 12960000"/>
                <a:gd name="adj2" fmla="val 15120000"/>
                <a:gd name="adj3" fmla="val 12500"/>
              </a:avLst>
            </a:prstGeom>
            <a:solidFill>
              <a:srgbClr val="D9D9D9"/>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glow>
                    <a:scrgbClr r="0" g="0" b="0"/>
                  </a:glow>
                </a:effectLst>
                <a:uLnTx/>
                <a:uFillTx/>
                <a:ea typeface="+mn-ea"/>
                <a:cs typeface="+mn-cs"/>
              </a:endParaRPr>
            </a:p>
          </p:txBody>
        </p:sp>
        <p:sp>
          <p:nvSpPr>
            <p:cNvPr id="69" name="Block Arc 68"/>
            <p:cNvSpPr/>
            <p:nvPr>
              <p:custDataLst>
                <p:tags r:id="rId10"/>
              </p:custDataLst>
            </p:nvPr>
          </p:nvSpPr>
          <p:spPr>
            <a:xfrm>
              <a:off x="9290201" y="1949526"/>
              <a:ext cx="2150645" cy="2150645"/>
            </a:xfrm>
            <a:prstGeom prst="blockArc">
              <a:avLst>
                <a:gd name="adj1" fmla="val 15120000"/>
                <a:gd name="adj2" fmla="val 17280000"/>
                <a:gd name="adj3" fmla="val 12500"/>
              </a:avLst>
            </a:prstGeom>
            <a:solidFill>
              <a:schemeClr val="accent5"/>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C2005A"/>
                </a:solidFill>
                <a:effectLst>
                  <a:glow>
                    <a:scrgbClr r="0" g="0" b="0"/>
                  </a:glow>
                </a:effectLst>
                <a:uLnTx/>
                <a:uFillTx/>
                <a:ea typeface="+mn-ea"/>
                <a:cs typeface="+mn-cs"/>
              </a:endParaRPr>
            </a:p>
          </p:txBody>
        </p:sp>
        <p:sp>
          <p:nvSpPr>
            <p:cNvPr id="70" name="Block Arc 69"/>
            <p:cNvSpPr>
              <a:spLocks noChangeAspect="1"/>
            </p:cNvSpPr>
            <p:nvPr>
              <p:custDataLst>
                <p:tags r:id="rId11"/>
              </p:custDataLst>
            </p:nvPr>
          </p:nvSpPr>
          <p:spPr>
            <a:xfrm>
              <a:off x="9290201" y="1949526"/>
              <a:ext cx="2150645" cy="2150645"/>
            </a:xfrm>
            <a:prstGeom prst="blockArc">
              <a:avLst>
                <a:gd name="adj1" fmla="val 17280000"/>
                <a:gd name="adj2" fmla="val 19440000"/>
                <a:gd name="adj3" fmla="val 12500"/>
              </a:avLst>
            </a:prstGeom>
            <a:solidFill>
              <a:schemeClr val="accent5"/>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71" name="Block Arc 70"/>
            <p:cNvSpPr/>
            <p:nvPr>
              <p:custDataLst>
                <p:tags r:id="rId12"/>
              </p:custDataLst>
            </p:nvPr>
          </p:nvSpPr>
          <p:spPr>
            <a:xfrm>
              <a:off x="9290201" y="1949526"/>
              <a:ext cx="2150645" cy="2150645"/>
            </a:xfrm>
            <a:prstGeom prst="blockArc">
              <a:avLst>
                <a:gd name="adj1" fmla="val 19440000"/>
                <a:gd name="adj2" fmla="val 0"/>
                <a:gd name="adj3" fmla="val 12500"/>
              </a:avLst>
            </a:prstGeom>
            <a:solidFill>
              <a:schemeClr val="accent5"/>
            </a:solidFill>
            <a:ln w="317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glow>
                    <a:scrgbClr r="0" g="0" b="0"/>
                  </a:glow>
                </a:effectLst>
                <a:uLnTx/>
                <a:uFillTx/>
                <a:ea typeface="+mn-ea"/>
                <a:cs typeface="+mn-cs"/>
              </a:endParaRPr>
            </a:p>
          </p:txBody>
        </p:sp>
        <p:sp>
          <p:nvSpPr>
            <p:cNvPr id="80" name="TextBox 79"/>
            <p:cNvSpPr txBox="1"/>
            <p:nvPr/>
          </p:nvSpPr>
          <p:spPr>
            <a:xfrm>
              <a:off x="9580742" y="2732461"/>
              <a:ext cx="1569563"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chemeClr val="accent5"/>
                  </a:solidFill>
                  <a:effectLst/>
                  <a:uLnTx/>
                  <a:uFillTx/>
                  <a:latin typeface="+mn-lt"/>
                  <a:ea typeface="+mn-ea"/>
                  <a:cs typeface="+mn-cs"/>
                </a:rPr>
                <a:t>30%</a:t>
              </a:r>
              <a:endParaRPr kumimoji="0" lang="en-GB" sz="3200" b="0" i="0" u="none" strike="noStrike" kern="0" cap="none" spc="0" normalizeH="0" baseline="0" noProof="0" dirty="0">
                <a:ln>
                  <a:noFill/>
                </a:ln>
                <a:solidFill>
                  <a:schemeClr val="accent5"/>
                </a:solidFill>
                <a:effectLst/>
                <a:uLnTx/>
                <a:uFillTx/>
                <a:latin typeface="+mn-lt"/>
                <a:ea typeface="+mn-ea"/>
                <a:cs typeface="+mn-cs"/>
              </a:endParaRPr>
            </a:p>
          </p:txBody>
        </p:sp>
      </p:grpSp>
    </p:spTree>
    <p:extLst>
      <p:ext uri="{BB962C8B-B14F-4D97-AF65-F5344CB8AC3E}">
        <p14:creationId xmlns:p14="http://schemas.microsoft.com/office/powerpoint/2010/main" val="3544034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DCB97FE0-1FE8-4F22-922C-3B71F56A68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15" name="Objet 14" hidden="1">
                        <a:extLst>
                          <a:ext uri="{FF2B5EF4-FFF2-40B4-BE49-F238E27FC236}">
                            <a16:creationId xmlns:a16="http://schemas.microsoft.com/office/drawing/2014/main" id="{DCB97FE0-1FE8-4F22-922C-3B71F56A68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9EBD2CEA-56B0-4B14-8911-9BD09E518AD8}"/>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Title 19">
            <a:extLst>
              <a:ext uri="{FF2B5EF4-FFF2-40B4-BE49-F238E27FC236}">
                <a16:creationId xmlns:a16="http://schemas.microsoft.com/office/drawing/2014/main" id="{AF17A195-BC86-4940-BFAB-F75180F62441}"/>
              </a:ext>
            </a:extLst>
          </p:cNvPr>
          <p:cNvSpPr>
            <a:spLocks noGrp="1"/>
          </p:cNvSpPr>
          <p:nvPr>
            <p:ph type="title"/>
          </p:nvPr>
        </p:nvSpPr>
        <p:spPr/>
        <p:txBody>
          <a:bodyPr/>
          <a:lstStyle/>
          <a:p>
            <a:r>
              <a:rPr lang="en-GB"/>
              <a:t>Key figures – four axis</a:t>
            </a:r>
            <a:endParaRPr lang="en-GB" dirty="0"/>
          </a:p>
        </p:txBody>
      </p:sp>
      <p:graphicFrame>
        <p:nvGraphicFramePr>
          <p:cNvPr id="3" name="Chart 2">
            <a:extLst>
              <a:ext uri="{FF2B5EF4-FFF2-40B4-BE49-F238E27FC236}">
                <a16:creationId xmlns:a16="http://schemas.microsoft.com/office/drawing/2014/main" id="{1660C7AD-49E4-45E7-B19A-1497D2D86D1E}"/>
              </a:ext>
            </a:extLst>
          </p:cNvPr>
          <p:cNvGraphicFramePr/>
          <p:nvPr/>
        </p:nvGraphicFramePr>
        <p:xfrm>
          <a:off x="609600" y="1208632"/>
          <a:ext cx="6296167" cy="4879651"/>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2">
            <a:extLst>
              <a:ext uri="{FF2B5EF4-FFF2-40B4-BE49-F238E27FC236}">
                <a16:creationId xmlns:a16="http://schemas.microsoft.com/office/drawing/2014/main" id="{B9374774-765A-42E8-AD46-B8679BEF6EAE}"/>
              </a:ext>
            </a:extLst>
          </p:cNvPr>
          <p:cNvSpPr txBox="1"/>
          <p:nvPr/>
        </p:nvSpPr>
        <p:spPr>
          <a:xfrm>
            <a:off x="6450496" y="1783348"/>
            <a:ext cx="5321504" cy="338554"/>
          </a:xfrm>
          <a:prstGeom prst="rect">
            <a:avLst/>
          </a:prstGeom>
          <a:noFill/>
        </p:spPr>
        <p:txBody>
          <a:bodyPr wrap="square" rtlCol="0" anchor="ctr">
            <a:spAutoFit/>
          </a:bodyPr>
          <a:lstStyle/>
          <a:p>
            <a:pPr marL="180000" marR="0" lvl="1" indent="-180000" algn="l" defTabSz="1125444" eaLnBrk="1" fontAlgn="auto" hangingPunct="1">
              <a:lnSpc>
                <a:spcPct val="100000"/>
              </a:lnSpc>
              <a:spcBef>
                <a:spcPts val="840"/>
              </a:spcBef>
              <a:spcAft>
                <a:spcPts val="0"/>
              </a:spcAft>
              <a:buClr>
                <a:schemeClr val="accent3"/>
              </a:buClr>
              <a:buSzPct val="77000"/>
              <a:buFont typeface="Wingdings 3" panose="05040102010807070707" pitchFamily="18" charset="2"/>
              <a:buChar char=""/>
              <a:tabLst/>
              <a:defRPr/>
            </a:pPr>
            <a:r>
              <a:rPr lang="en-GB" sz="1600">
                <a:latin typeface="+mn-lt"/>
              </a:rPr>
              <a:t>xxx</a:t>
            </a:r>
            <a:endParaRPr lang="en-GB" sz="1600" dirty="0">
              <a:latin typeface="+mn-lt"/>
            </a:endParaRPr>
          </a:p>
        </p:txBody>
      </p:sp>
      <p:sp>
        <p:nvSpPr>
          <p:cNvPr id="16" name="TextBox 12">
            <a:extLst>
              <a:ext uri="{FF2B5EF4-FFF2-40B4-BE49-F238E27FC236}">
                <a16:creationId xmlns:a16="http://schemas.microsoft.com/office/drawing/2014/main" id="{2BE13F01-6816-4559-8188-EB689242D111}"/>
              </a:ext>
            </a:extLst>
          </p:cNvPr>
          <p:cNvSpPr txBox="1"/>
          <p:nvPr/>
        </p:nvSpPr>
        <p:spPr>
          <a:xfrm>
            <a:off x="6450496" y="2878466"/>
            <a:ext cx="5321504" cy="338554"/>
          </a:xfrm>
          <a:prstGeom prst="rect">
            <a:avLst/>
          </a:prstGeom>
          <a:noFill/>
        </p:spPr>
        <p:txBody>
          <a:bodyPr wrap="square" rtlCol="0" anchor="ctr">
            <a:spAutoFit/>
          </a:bodyPr>
          <a:lstStyle>
            <a:defPPr>
              <a:defRPr lang="en-GB"/>
            </a:defPPr>
            <a:lvl2pPr marL="358775" marR="0" lvl="1" indent="-269875" algn="l" eaLnBrk="1" fontAlgn="auto" hangingPunct="1">
              <a:lnSpc>
                <a:spcPct val="100000"/>
              </a:lnSpc>
              <a:spcBef>
                <a:spcPts val="0"/>
              </a:spcBef>
              <a:spcAft>
                <a:spcPts val="600"/>
              </a:spcAft>
              <a:buClr>
                <a:schemeClr val="accent3"/>
              </a:buClr>
              <a:buSzPct val="72000"/>
              <a:buFont typeface="Wingdings 3" panose="05040102010807070707" pitchFamily="18" charset="2"/>
              <a:buChar char="u"/>
              <a:tabLst/>
              <a:defRPr sz="1600">
                <a:solidFill>
                  <a:schemeClr val="dk1"/>
                </a:solidFill>
                <a:latin typeface="Arial" panose="020B0604020202020204" pitchFamily="34" charset="0"/>
              </a:defRPr>
            </a:lvl2pPr>
          </a:lstStyle>
          <a:p>
            <a:pPr marL="180000" lvl="1" indent="-180000" defTabSz="1125444">
              <a:spcBef>
                <a:spcPts val="840"/>
              </a:spcBef>
              <a:spcAft>
                <a:spcPts val="0"/>
              </a:spcAft>
              <a:buSzPct val="77000"/>
              <a:buFont typeface="Wingdings 3" panose="05040102010807070707" pitchFamily="18" charset="2"/>
              <a:buChar char=""/>
              <a:defRPr/>
            </a:pPr>
            <a:r>
              <a:rPr lang="en-GB">
                <a:solidFill>
                  <a:schemeClr val="tx1"/>
                </a:solidFill>
                <a:latin typeface="+mn-lt"/>
              </a:rPr>
              <a:t>xxx</a:t>
            </a:r>
            <a:endParaRPr lang="en-GB" dirty="0">
              <a:solidFill>
                <a:schemeClr val="tx1"/>
              </a:solidFill>
              <a:latin typeface="+mn-lt"/>
            </a:endParaRPr>
          </a:p>
        </p:txBody>
      </p:sp>
      <p:sp>
        <p:nvSpPr>
          <p:cNvPr id="17" name="TextBox 12">
            <a:extLst>
              <a:ext uri="{FF2B5EF4-FFF2-40B4-BE49-F238E27FC236}">
                <a16:creationId xmlns:a16="http://schemas.microsoft.com/office/drawing/2014/main" id="{B9933746-427B-4799-9E38-0DDDDD552504}"/>
              </a:ext>
            </a:extLst>
          </p:cNvPr>
          <p:cNvSpPr txBox="1"/>
          <p:nvPr/>
        </p:nvSpPr>
        <p:spPr>
          <a:xfrm>
            <a:off x="6450496" y="4051886"/>
            <a:ext cx="5321504" cy="338554"/>
          </a:xfrm>
          <a:prstGeom prst="rect">
            <a:avLst/>
          </a:prstGeom>
          <a:noFill/>
        </p:spPr>
        <p:txBody>
          <a:bodyPr wrap="square" rtlCol="0" anchor="ctr">
            <a:spAutoFit/>
          </a:bodyPr>
          <a:lstStyle>
            <a:defPPr>
              <a:defRPr lang="en-GB"/>
            </a:defPPr>
            <a:lvl2pPr marL="358775" marR="0" lvl="1" indent="-269875" algn="l" eaLnBrk="1" fontAlgn="auto" hangingPunct="1">
              <a:lnSpc>
                <a:spcPct val="100000"/>
              </a:lnSpc>
              <a:spcBef>
                <a:spcPts val="0"/>
              </a:spcBef>
              <a:spcAft>
                <a:spcPts val="600"/>
              </a:spcAft>
              <a:buClr>
                <a:schemeClr val="accent3"/>
              </a:buClr>
              <a:buSzPct val="72000"/>
              <a:buFont typeface="Wingdings 3" panose="05040102010807070707" pitchFamily="18" charset="2"/>
              <a:buChar char="u"/>
              <a:tabLst/>
              <a:defRPr sz="1600">
                <a:solidFill>
                  <a:schemeClr val="dk1"/>
                </a:solidFill>
                <a:latin typeface="Arial" panose="020B0604020202020204" pitchFamily="34" charset="0"/>
              </a:defRPr>
            </a:lvl2pPr>
          </a:lstStyle>
          <a:p>
            <a:pPr marL="180000" lvl="1" indent="-180000" defTabSz="1125444">
              <a:spcBef>
                <a:spcPts val="840"/>
              </a:spcBef>
              <a:spcAft>
                <a:spcPts val="0"/>
              </a:spcAft>
              <a:buSzPct val="77000"/>
              <a:buFont typeface="Wingdings 3" panose="05040102010807070707" pitchFamily="18" charset="2"/>
              <a:buChar char=""/>
              <a:defRPr/>
            </a:pPr>
            <a:r>
              <a:rPr lang="en-GB">
                <a:solidFill>
                  <a:schemeClr val="tx1"/>
                </a:solidFill>
                <a:latin typeface="+mn-lt"/>
              </a:rPr>
              <a:t>xxx</a:t>
            </a:r>
            <a:endParaRPr lang="en-GB" dirty="0">
              <a:solidFill>
                <a:schemeClr val="tx1"/>
              </a:solidFill>
              <a:latin typeface="+mn-lt"/>
            </a:endParaRPr>
          </a:p>
        </p:txBody>
      </p:sp>
      <p:sp>
        <p:nvSpPr>
          <p:cNvPr id="18" name="TextBox 12">
            <a:extLst>
              <a:ext uri="{FF2B5EF4-FFF2-40B4-BE49-F238E27FC236}">
                <a16:creationId xmlns:a16="http://schemas.microsoft.com/office/drawing/2014/main" id="{68D55CEA-84FC-43E7-9205-09A938946614}"/>
              </a:ext>
            </a:extLst>
          </p:cNvPr>
          <p:cNvSpPr txBox="1"/>
          <p:nvPr/>
        </p:nvSpPr>
        <p:spPr>
          <a:xfrm>
            <a:off x="6450496" y="5167898"/>
            <a:ext cx="5321504" cy="338554"/>
          </a:xfrm>
          <a:prstGeom prst="rect">
            <a:avLst/>
          </a:prstGeom>
          <a:noFill/>
        </p:spPr>
        <p:txBody>
          <a:bodyPr wrap="square" rtlCol="0" anchor="ctr">
            <a:spAutoFit/>
          </a:bodyPr>
          <a:lstStyle/>
          <a:p>
            <a:pPr marL="180000" lvl="1" indent="-180000" algn="l" defTabSz="1125444" eaLnBrk="1" fontAlgn="auto" latinLnBrk="0" hangingPunct="1">
              <a:spcBef>
                <a:spcPts val="840"/>
              </a:spcBef>
              <a:spcAft>
                <a:spcPts val="0"/>
              </a:spcAft>
              <a:buClr>
                <a:schemeClr val="accent3"/>
              </a:buClr>
              <a:buSzPct val="77000"/>
              <a:buFont typeface="Wingdings 3" panose="05040102010807070707" pitchFamily="18" charset="2"/>
              <a:buChar char=""/>
              <a:defRPr/>
            </a:pPr>
            <a:r>
              <a:rPr lang="en-GB" sz="1600">
                <a:latin typeface="+mn-lt"/>
              </a:rPr>
              <a:t>xxx</a:t>
            </a:r>
            <a:endParaRPr lang="en-GB" sz="1600" dirty="0">
              <a:latin typeface="+mn-lt"/>
            </a:endParaRPr>
          </a:p>
        </p:txBody>
      </p:sp>
      <p:pic>
        <p:nvPicPr>
          <p:cNvPr id="8" name="Graphique 7">
            <a:extLst>
              <a:ext uri="{FF2B5EF4-FFF2-40B4-BE49-F238E27FC236}">
                <a16:creationId xmlns:a16="http://schemas.microsoft.com/office/drawing/2014/main" id="{417D767E-7E76-4327-8230-A51634ADA8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8728" y="1680433"/>
            <a:ext cx="528205" cy="502227"/>
          </a:xfrm>
          <a:prstGeom prst="rect">
            <a:avLst/>
          </a:prstGeom>
        </p:spPr>
      </p:pic>
      <p:pic>
        <p:nvPicPr>
          <p:cNvPr id="10" name="Graphique 9">
            <a:extLst>
              <a:ext uri="{FF2B5EF4-FFF2-40B4-BE49-F238E27FC236}">
                <a16:creationId xmlns:a16="http://schemas.microsoft.com/office/drawing/2014/main" id="{30391F65-0F47-44FA-8893-F2272E042B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4230" y="2844640"/>
            <a:ext cx="457200" cy="514350"/>
          </a:xfrm>
          <a:prstGeom prst="rect">
            <a:avLst/>
          </a:prstGeom>
        </p:spPr>
      </p:pic>
      <p:pic>
        <p:nvPicPr>
          <p:cNvPr id="74" name="Graphique 73">
            <a:extLst>
              <a:ext uri="{FF2B5EF4-FFF2-40B4-BE49-F238E27FC236}">
                <a16:creationId xmlns:a16="http://schemas.microsoft.com/office/drawing/2014/main" id="{572E3F2A-EA8A-4C93-B54F-27146BD71F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7022" y="5108313"/>
            <a:ext cx="591616" cy="527076"/>
          </a:xfrm>
          <a:prstGeom prst="rect">
            <a:avLst/>
          </a:prstGeom>
        </p:spPr>
      </p:pic>
      <p:pic>
        <p:nvPicPr>
          <p:cNvPr id="83" name="Graphique 82">
            <a:extLst>
              <a:ext uri="{FF2B5EF4-FFF2-40B4-BE49-F238E27FC236}">
                <a16:creationId xmlns:a16="http://schemas.microsoft.com/office/drawing/2014/main" id="{FBD3991B-3FFE-4A86-8826-1F63247AD3E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949" y="3920258"/>
            <a:ext cx="637762" cy="637762"/>
          </a:xfrm>
          <a:prstGeom prst="rect">
            <a:avLst/>
          </a:prstGeom>
        </p:spPr>
      </p:pic>
    </p:spTree>
    <p:custDataLst>
      <p:tags r:id="rId1"/>
    </p:custDataLst>
    <p:extLst>
      <p:ext uri="{BB962C8B-B14F-4D97-AF65-F5344CB8AC3E}">
        <p14:creationId xmlns:p14="http://schemas.microsoft.com/office/powerpoint/2010/main" val="3157715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56DFE8E-EF41-4383-AE13-1BB6BFBD14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5" name="Objet 4" hidden="1">
                        <a:extLst>
                          <a:ext uri="{FF2B5EF4-FFF2-40B4-BE49-F238E27FC236}">
                            <a16:creationId xmlns:a16="http://schemas.microsoft.com/office/drawing/2014/main" id="{956DFE8E-EF41-4383-AE13-1BB6BFBD14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27BB539-3EDA-4041-AFEB-211F66F0C133}"/>
              </a:ext>
            </a:extLst>
          </p:cNvPr>
          <p:cNvSpPr>
            <a:spLocks noGrp="1"/>
          </p:cNvSpPr>
          <p:nvPr>
            <p:ph type="title"/>
          </p:nvPr>
        </p:nvSpPr>
        <p:spPr/>
        <p:txBody>
          <a:bodyPr/>
          <a:lstStyle/>
          <a:p>
            <a:r>
              <a:rPr lang="en-GB">
                <a:solidFill>
                  <a:srgbClr val="FFFFFF"/>
                </a:solidFill>
              </a:rPr>
              <a:t>Analysis</a:t>
            </a:r>
            <a:endParaRPr lang="en-GB" dirty="0">
              <a:solidFill>
                <a:srgbClr val="FFFFFF"/>
              </a:solidFill>
            </a:endParaRPr>
          </a:p>
        </p:txBody>
      </p:sp>
    </p:spTree>
    <p:extLst>
      <p:ext uri="{BB962C8B-B14F-4D97-AF65-F5344CB8AC3E}">
        <p14:creationId xmlns:p14="http://schemas.microsoft.com/office/powerpoint/2010/main" val="13185126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extLst>
              <p:ext uri="{D42A27DB-BD31-4B8C-83A1-F6EECF244321}">
                <p14:modId xmlns:p14="http://schemas.microsoft.com/office/powerpoint/2010/main" val="424052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395" imgH="396" progId="TCLayout.ActiveDocument.1">
                  <p:embed/>
                </p:oleObj>
              </mc:Choice>
              <mc:Fallback>
                <p:oleObj name="Diapositive think-cell" r:id="rId10" imgW="395" imgH="396" progId="TCLayout.ActiveDocument.1">
                  <p:embed/>
                  <p:pic>
                    <p:nvPicPr>
                      <p:cNvPr id="3" name="Objet 2" hidden="1">
                        <a:extLst>
                          <a:ext uri="{FF2B5EF4-FFF2-40B4-BE49-F238E27FC236}">
                            <a16:creationId xmlns:a16="http://schemas.microsoft.com/office/drawing/2014/main" id="{EB1068A5-1B0B-49AA-87DD-DF0537659A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B295B0D0-5383-483C-B9BB-5B22AB343110}"/>
              </a:ext>
            </a:extLst>
          </p:cNvPr>
          <p:cNvGraphicFramePr>
            <a:graphicFrameLocks noGrp="1"/>
          </p:cNvGraphicFramePr>
          <p:nvPr>
            <p:extLst>
              <p:ext uri="{D42A27DB-BD31-4B8C-83A1-F6EECF244321}">
                <p14:modId xmlns:p14="http://schemas.microsoft.com/office/powerpoint/2010/main" val="3715019966"/>
              </p:ext>
            </p:extLst>
          </p:nvPr>
        </p:nvGraphicFramePr>
        <p:xfrm>
          <a:off x="678094" y="1605516"/>
          <a:ext cx="10613206" cy="4558976"/>
        </p:xfrm>
        <a:graphic>
          <a:graphicData uri="http://schemas.openxmlformats.org/drawingml/2006/table">
            <a:tbl>
              <a:tblPr firstRow="1" bandRow="1">
                <a:tableStyleId>{5C22544A-7EE6-4342-B048-85BDC9FD1C3A}</a:tableStyleId>
              </a:tblPr>
              <a:tblGrid>
                <a:gridCol w="5306603">
                  <a:extLst>
                    <a:ext uri="{9D8B030D-6E8A-4147-A177-3AD203B41FA5}">
                      <a16:colId xmlns:a16="http://schemas.microsoft.com/office/drawing/2014/main" val="2812990491"/>
                    </a:ext>
                  </a:extLst>
                </a:gridCol>
                <a:gridCol w="5306603">
                  <a:extLst>
                    <a:ext uri="{9D8B030D-6E8A-4147-A177-3AD203B41FA5}">
                      <a16:colId xmlns:a16="http://schemas.microsoft.com/office/drawing/2014/main" val="398220379"/>
                    </a:ext>
                  </a:extLst>
                </a:gridCol>
              </a:tblGrid>
              <a:tr h="1198074">
                <a:tc rowSpan="4">
                  <a:txBody>
                    <a:bodyPr/>
                    <a:lstStyle/>
                    <a:p>
                      <a:pPr marL="0" lvl="1" indent="0" algn="l" defTabSz="1125444" rtl="0" eaLnBrk="1" fontAlgn="base" hangingPunct="1">
                        <a:spcBef>
                          <a:spcPts val="720"/>
                        </a:spcBef>
                        <a:spcAft>
                          <a:spcPts val="0"/>
                        </a:spcAft>
                        <a:buClr>
                          <a:schemeClr val="accent3"/>
                        </a:buClr>
                        <a:buSzPct val="77000"/>
                        <a:buFont typeface="Wingdings 3" panose="05040102010807070707" pitchFamily="18" charset="2"/>
                        <a:buNone/>
                        <a:defRPr/>
                      </a:pPr>
                      <a:endParaRPr lang="en-GB" sz="1400" b="0" kern="1200" noProof="0" dirty="0">
                        <a:solidFill>
                          <a:schemeClr val="tx1"/>
                        </a:solidFill>
                        <a:latin typeface="+mn-lt"/>
                        <a:ea typeface="+mn-ea"/>
                        <a:cs typeface="+mn-cs"/>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a:solidFill>
                            <a:schemeClr val="tx1"/>
                          </a:solidFill>
                          <a:latin typeface="+mn-lt"/>
                          <a:ea typeface="+mn-ea"/>
                          <a:cs typeface="+mn-cs"/>
                        </a:rPr>
                        <a:t>factor that increases the gap</a:t>
                      </a:r>
                      <a:endParaRPr lang="en-GB" sz="1400" b="0" kern="1200" noProof="0" dirty="0">
                        <a:solidFill>
                          <a:schemeClr val="tx1"/>
                        </a:solidFill>
                        <a:latin typeface="+mn-lt"/>
                        <a:ea typeface="+mn-ea"/>
                        <a:cs typeface="+mn-cs"/>
                      </a:endParaRPr>
                    </a:p>
                  </a:txBody>
                  <a:tcPr marL="50400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3454248"/>
                  </a:ext>
                </a:extLst>
              </a:tr>
              <a:tr h="1077446">
                <a:tc vMerge="1">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sym typeface="Open Sans"/>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a:solidFill>
                            <a:schemeClr val="tx1"/>
                          </a:solidFill>
                          <a:latin typeface="+mn-lt"/>
                          <a:ea typeface="+mn-ea"/>
                          <a:cs typeface="+mn-cs"/>
                        </a:rPr>
                        <a:t>factor that increases the gap</a:t>
                      </a:r>
                      <a:endParaRPr lang="en-GB" sz="1400" b="0" kern="1200" noProof="0" dirty="0">
                        <a:solidFill>
                          <a:schemeClr val="tx1"/>
                        </a:solidFill>
                        <a:latin typeface="+mn-lt"/>
                        <a:ea typeface="+mn-ea"/>
                        <a:cs typeface="+mn-cs"/>
                      </a:endParaRPr>
                    </a:p>
                  </a:txBody>
                  <a:tcPr marL="504000">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6439068"/>
                  </a:ext>
                </a:extLst>
              </a:tr>
              <a:tr h="1141728">
                <a:tc vMerge="1">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sym typeface="Open Sans"/>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a:solidFill>
                            <a:schemeClr val="tx1"/>
                          </a:solidFill>
                          <a:latin typeface="+mn-lt"/>
                          <a:ea typeface="+mn-ea"/>
                          <a:cs typeface="+mn-cs"/>
                        </a:rPr>
                        <a:t>factor that decreases the gap</a:t>
                      </a:r>
                      <a:endParaRPr lang="en-GB" sz="1400" b="0" kern="1200" noProof="0" dirty="0">
                        <a:solidFill>
                          <a:schemeClr val="tx1"/>
                        </a:solidFill>
                        <a:latin typeface="+mn-lt"/>
                        <a:ea typeface="+mn-ea"/>
                        <a:cs typeface="+mn-cs"/>
                      </a:endParaRPr>
                    </a:p>
                  </a:txBody>
                  <a:tcPr marL="504000">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77350318"/>
                  </a:ext>
                </a:extLst>
              </a:tr>
              <a:tr h="1141728">
                <a:tc vMerge="1">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sym typeface="Open Sans"/>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a:solidFill>
                            <a:schemeClr val="tx1"/>
                          </a:solidFill>
                          <a:latin typeface="+mn-lt"/>
                          <a:ea typeface="+mn-ea"/>
                          <a:cs typeface="+mn-cs"/>
                        </a:rPr>
                        <a:t>factor that decreases the gap</a:t>
                      </a:r>
                      <a:endParaRPr lang="en-GB" sz="1400" b="0" kern="1200" noProof="0" dirty="0">
                        <a:solidFill>
                          <a:schemeClr val="tx1"/>
                        </a:solidFill>
                        <a:latin typeface="+mn-lt"/>
                        <a:ea typeface="+mn-ea"/>
                        <a:cs typeface="+mn-cs"/>
                      </a:endParaRPr>
                    </a:p>
                  </a:txBody>
                  <a:tcPr marL="504000">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3557266"/>
                  </a:ext>
                </a:extLst>
              </a:tr>
            </a:tbl>
          </a:graphicData>
        </a:graphic>
      </p:graphicFrame>
      <p:sp>
        <p:nvSpPr>
          <p:cNvPr id="4" name="Rectangle 3" hidden="1">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vert="horz"/>
          <a:lstStyle/>
          <a:p>
            <a:r>
              <a:rPr lang="en-GB">
                <a:latin typeface="+mn-lt"/>
              </a:rPr>
              <a:t>Slide message – synthesis of factors to explain gap</a:t>
            </a:r>
            <a:endParaRPr lang="en-GB" dirty="0">
              <a:latin typeface="+mn-lt"/>
            </a:endParaRPr>
          </a:p>
        </p:txBody>
      </p:sp>
      <p:cxnSp>
        <p:nvCxnSpPr>
          <p:cNvPr id="10" name="Connecteur droit 9">
            <a:extLst>
              <a:ext uri="{FF2B5EF4-FFF2-40B4-BE49-F238E27FC236}">
                <a16:creationId xmlns:a16="http://schemas.microsoft.com/office/drawing/2014/main" id="{776F204A-1512-4A02-BD9C-88EE65BF26C0}"/>
              </a:ext>
            </a:extLst>
          </p:cNvPr>
          <p:cNvCxnSpPr/>
          <p:nvPr>
            <p:custDataLst>
              <p:tags r:id="rId3"/>
            </p:custDataLst>
          </p:nvPr>
        </p:nvCxnSpPr>
        <p:spPr bwMode="auto">
          <a:xfrm>
            <a:off x="2178050" y="3709988"/>
            <a:ext cx="6572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Connecteur droit 10">
            <a:extLst>
              <a:ext uri="{FF2B5EF4-FFF2-40B4-BE49-F238E27FC236}">
                <a16:creationId xmlns:a16="http://schemas.microsoft.com/office/drawing/2014/main" id="{593A6085-1E73-4605-933F-9F67891286D8}"/>
              </a:ext>
            </a:extLst>
          </p:cNvPr>
          <p:cNvCxnSpPr/>
          <p:nvPr>
            <p:custDataLst>
              <p:tags r:id="rId4"/>
            </p:custDataLst>
          </p:nvPr>
        </p:nvCxnSpPr>
        <p:spPr bwMode="auto">
          <a:xfrm>
            <a:off x="3657600" y="2690813"/>
            <a:ext cx="6572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 name="Chart 3">
            <a:extLst>
              <a:ext uri="{FF2B5EF4-FFF2-40B4-BE49-F238E27FC236}">
                <a16:creationId xmlns:a16="http://schemas.microsoft.com/office/drawing/2014/main" id="{E899F463-39A1-4B08-9708-B421C0F4CCC1}"/>
              </a:ext>
            </a:extLst>
          </p:cNvPr>
          <p:cNvGraphicFramePr/>
          <p:nvPr>
            <p:custDataLst>
              <p:tags r:id="rId5"/>
            </p:custDataLst>
            <p:extLst>
              <p:ext uri="{D42A27DB-BD31-4B8C-83A1-F6EECF244321}">
                <p14:modId xmlns:p14="http://schemas.microsoft.com/office/powerpoint/2010/main" val="1705767806"/>
              </p:ext>
            </p:extLst>
          </p:nvPr>
        </p:nvGraphicFramePr>
        <p:xfrm>
          <a:off x="944563" y="2430463"/>
          <a:ext cx="4603750" cy="3398837"/>
        </p:xfrm>
        <a:graphic>
          <a:graphicData uri="http://schemas.openxmlformats.org/drawingml/2006/chart">
            <c:chart xmlns:c="http://schemas.openxmlformats.org/drawingml/2006/chart" xmlns:r="http://schemas.openxmlformats.org/officeDocument/2006/relationships" r:id="rId12"/>
          </a:graphicData>
        </a:graphic>
      </p:graphicFrame>
      <p:sp>
        <p:nvSpPr>
          <p:cNvPr id="15" name="Text Placeholder 2">
            <a:extLst>
              <a:ext uri="{FF2B5EF4-FFF2-40B4-BE49-F238E27FC236}">
                <a16:creationId xmlns:a16="http://schemas.microsoft.com/office/drawing/2014/main" id="{7EE038E5-3E99-4274-B278-C68CCB023D17}"/>
              </a:ext>
            </a:extLst>
          </p:cNvPr>
          <p:cNvSpPr>
            <a:spLocks noGrp="1"/>
          </p:cNvSpPr>
          <p:nvPr>
            <p:custDataLst>
              <p:tags r:id="rId6"/>
            </p:custDataLst>
          </p:nvPr>
        </p:nvSpPr>
        <p:spPr bwMode="auto">
          <a:xfrm>
            <a:off x="4448175" y="5805488"/>
            <a:ext cx="5556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algn="ctr">
              <a:spcBef>
                <a:spcPct val="0"/>
              </a:spcBef>
              <a:spcAft>
                <a:spcPct val="0"/>
              </a:spcAft>
            </a:pPr>
            <a:fld id="{51ED4B76-CE8B-4954-933B-35AB59CEC258}" type="datetime'''S''u''''''''p''''''''''''p''''''''''l''''''''''y'''''''''">
              <a:rPr lang="en-GB" altLang="en-US" sz="1400" smtClean="0">
                <a:latin typeface="+mn-lt"/>
                <a:cs typeface="+mn-cs"/>
              </a:rPr>
              <a:pPr algn="ctr">
                <a:spcBef>
                  <a:spcPct val="0"/>
                </a:spcBef>
                <a:spcAft>
                  <a:spcPct val="0"/>
                </a:spcAft>
              </a:pPr>
              <a:t>Supply</a:t>
            </a:fld>
            <a:endParaRPr lang="en-GB" sz="1400" noProof="0" dirty="0">
              <a:latin typeface="+mn-lt"/>
              <a:cs typeface="+mn-cs"/>
            </a:endParaRPr>
          </a:p>
        </p:txBody>
      </p:sp>
      <p:sp>
        <p:nvSpPr>
          <p:cNvPr id="12" name="Text Placeholder 2">
            <a:extLst>
              <a:ext uri="{FF2B5EF4-FFF2-40B4-BE49-F238E27FC236}">
                <a16:creationId xmlns:a16="http://schemas.microsoft.com/office/drawing/2014/main" id="{3DAE9E81-70DA-464F-8B5B-702C85349DA9}"/>
              </a:ext>
            </a:extLst>
          </p:cNvPr>
          <p:cNvSpPr>
            <a:spLocks noGrp="1"/>
          </p:cNvSpPr>
          <p:nvPr>
            <p:custDataLst>
              <p:tags r:id="rId7"/>
            </p:custDataLst>
          </p:nvPr>
        </p:nvSpPr>
        <p:spPr bwMode="auto">
          <a:xfrm>
            <a:off x="1425575" y="5805488"/>
            <a:ext cx="6826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algn="ctr">
              <a:spcBef>
                <a:spcPct val="0"/>
              </a:spcBef>
              <a:spcAft>
                <a:spcPct val="0"/>
              </a:spcAft>
            </a:pPr>
            <a:fld id="{8D624201-1EA9-4852-BF5B-19256568DB68}" type="datetime'''''''''''''''D''''e''''''m''a''''''''''''''''''nd'">
              <a:rPr lang="en-GB" altLang="en-US" sz="1400" smtClean="0">
                <a:latin typeface="+mn-lt"/>
                <a:cs typeface="+mn-cs"/>
              </a:rPr>
              <a:pPr algn="ctr">
                <a:spcBef>
                  <a:spcPct val="0"/>
                </a:spcBef>
                <a:spcAft>
                  <a:spcPct val="0"/>
                </a:spcAft>
              </a:pPr>
              <a:t>Demand</a:t>
            </a:fld>
            <a:endParaRPr lang="en-GB" sz="1400" noProof="0" dirty="0">
              <a:latin typeface="+mn-lt"/>
              <a:cs typeface="+mn-cs"/>
            </a:endParaRPr>
          </a:p>
        </p:txBody>
      </p:sp>
      <p:cxnSp>
        <p:nvCxnSpPr>
          <p:cNvPr id="29" name="Connecteur droit 28">
            <a:extLst>
              <a:ext uri="{FF2B5EF4-FFF2-40B4-BE49-F238E27FC236}">
                <a16:creationId xmlns:a16="http://schemas.microsoft.com/office/drawing/2014/main" id="{FB4FB2A3-C1B8-416C-A64D-29D116FE7A38}"/>
              </a:ext>
            </a:extLst>
          </p:cNvPr>
          <p:cNvCxnSpPr/>
          <p:nvPr/>
        </p:nvCxnSpPr>
        <p:spPr>
          <a:xfrm>
            <a:off x="801384" y="2266258"/>
            <a:ext cx="4900773"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47746C92-06AC-4307-8785-EE1ACDAC4586}"/>
              </a:ext>
            </a:extLst>
          </p:cNvPr>
          <p:cNvSpPr txBox="1"/>
          <p:nvPr/>
        </p:nvSpPr>
        <p:spPr>
          <a:xfrm>
            <a:off x="1119883" y="1696199"/>
            <a:ext cx="4304872" cy="576293"/>
          </a:xfrm>
          <a:prstGeom prst="rect">
            <a:avLst/>
          </a:prstGeom>
          <a:noFill/>
        </p:spPr>
        <p:txBody>
          <a:bodyPr wrap="square" lIns="72000" tIns="72000" rIns="72000" bIns="72000" rtlCol="0" anchor="ctr">
            <a:spAutoFit/>
          </a:bodyPr>
          <a:lstStyle/>
          <a:p>
            <a:pPr algn="l">
              <a:spcBef>
                <a:spcPts val="0"/>
              </a:spcBef>
            </a:pPr>
            <a:r>
              <a:rPr lang="en-GB" b="1">
                <a:solidFill>
                  <a:schemeClr val="tx2"/>
                </a:solidFill>
              </a:rPr>
              <a:t>Title</a:t>
            </a:r>
          </a:p>
          <a:p>
            <a:pPr algn="l">
              <a:spcBef>
                <a:spcPts val="0"/>
              </a:spcBef>
            </a:pPr>
            <a:r>
              <a:rPr lang="en-GB">
                <a:solidFill>
                  <a:schemeClr val="bg1">
                    <a:lumMod val="50000"/>
                  </a:schemeClr>
                </a:solidFill>
              </a:rPr>
              <a:t>Unit of measure</a:t>
            </a:r>
            <a:endParaRPr lang="en-GB" dirty="0">
              <a:solidFill>
                <a:schemeClr val="bg1">
                  <a:lumMod val="50000"/>
                </a:schemeClr>
              </a:solidFill>
            </a:endParaRPr>
          </a:p>
        </p:txBody>
      </p:sp>
      <p:sp>
        <p:nvSpPr>
          <p:cNvPr id="6" name="source">
            <a:extLst>
              <a:ext uri="{FF2B5EF4-FFF2-40B4-BE49-F238E27FC236}">
                <a16:creationId xmlns:a16="http://schemas.microsoft.com/office/drawing/2014/main" id="{F5FC5013-3CB2-40B7-B46C-325802DFCACA}"/>
              </a:ext>
            </a:extLst>
          </p:cNvPr>
          <p:cNvSpPr txBox="1"/>
          <p:nvPr/>
        </p:nvSpPr>
        <p:spPr>
          <a:xfrm>
            <a:off x="1219200" y="6377940"/>
            <a:ext cx="9753599" cy="411480"/>
          </a:xfrm>
          <a:prstGeom prst="rect">
            <a:avLst/>
          </a:prstGeom>
          <a:noFill/>
        </p:spPr>
        <p:txBody>
          <a:bodyPr vert="horz" wrap="square" lIns="54000" tIns="46800" rIns="54000" bIns="46800" rtlCol="0" anchor="ctr">
            <a:noAutofit/>
          </a:bodyPr>
          <a:lstStyle/>
          <a:p>
            <a:pPr algn="r"/>
            <a:r>
              <a:rPr lang="en-GB" sz="1000" i="1">
                <a:solidFill>
                  <a:schemeClr val="accent2"/>
                </a:solidFill>
                <a:latin typeface="Arial" panose="020B0604020202020204" pitchFamily="34" charset="0"/>
              </a:rPr>
              <a:t>Source : </a:t>
            </a:r>
            <a:endParaRPr lang="en-GB" sz="1000" i="1" dirty="0">
              <a:solidFill>
                <a:schemeClr val="accent2"/>
              </a:solidFill>
              <a:latin typeface="Arial" panose="020B0604020202020204" pitchFamily="34" charset="0"/>
            </a:endParaRPr>
          </a:p>
        </p:txBody>
      </p:sp>
      <p:sp>
        <p:nvSpPr>
          <p:cNvPr id="28" name="Flèche : pentagone 27">
            <a:extLst>
              <a:ext uri="{FF2B5EF4-FFF2-40B4-BE49-F238E27FC236}">
                <a16:creationId xmlns:a16="http://schemas.microsoft.com/office/drawing/2014/main" id="{3B4D6B2D-3C48-42BE-A87E-A8F5E0F07434}"/>
              </a:ext>
            </a:extLst>
          </p:cNvPr>
          <p:cNvSpPr/>
          <p:nvPr/>
        </p:nvSpPr>
        <p:spPr bwMode="auto">
          <a:xfrm rot="5400000">
            <a:off x="3487479" y="3752099"/>
            <a:ext cx="265814" cy="265810"/>
          </a:xfrm>
          <a:prstGeom prst="homePlate">
            <a:avLst/>
          </a:prstGeom>
          <a:solidFill>
            <a:schemeClr val="accent4"/>
          </a:solidFill>
          <a:ln w="19050" cap="flat"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
        <p:nvSpPr>
          <p:cNvPr id="30" name="Flèche : pentagone 29">
            <a:extLst>
              <a:ext uri="{FF2B5EF4-FFF2-40B4-BE49-F238E27FC236}">
                <a16:creationId xmlns:a16="http://schemas.microsoft.com/office/drawing/2014/main" id="{4F025B7F-3A60-4974-9615-B8401E4173B3}"/>
              </a:ext>
            </a:extLst>
          </p:cNvPr>
          <p:cNvSpPr/>
          <p:nvPr/>
        </p:nvSpPr>
        <p:spPr bwMode="auto">
          <a:xfrm rot="16200000">
            <a:off x="3487479" y="2368995"/>
            <a:ext cx="265814" cy="265810"/>
          </a:xfrm>
          <a:prstGeom prst="homePlate">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
        <p:nvSpPr>
          <p:cNvPr id="31" name="Flèche : pentagone 30">
            <a:extLst>
              <a:ext uri="{FF2B5EF4-FFF2-40B4-BE49-F238E27FC236}">
                <a16:creationId xmlns:a16="http://schemas.microsoft.com/office/drawing/2014/main" id="{EA81DD00-4F46-4E56-8A01-F91AAD61969F}"/>
              </a:ext>
            </a:extLst>
          </p:cNvPr>
          <p:cNvSpPr/>
          <p:nvPr/>
        </p:nvSpPr>
        <p:spPr bwMode="auto">
          <a:xfrm rot="16200000">
            <a:off x="6095997" y="1696201"/>
            <a:ext cx="265814" cy="265810"/>
          </a:xfrm>
          <a:prstGeom prst="homePlate">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
        <p:nvSpPr>
          <p:cNvPr id="34" name="Flèche : pentagone 33">
            <a:extLst>
              <a:ext uri="{FF2B5EF4-FFF2-40B4-BE49-F238E27FC236}">
                <a16:creationId xmlns:a16="http://schemas.microsoft.com/office/drawing/2014/main" id="{028C947F-BD4D-4722-B4A5-4E64702D463E}"/>
              </a:ext>
            </a:extLst>
          </p:cNvPr>
          <p:cNvSpPr/>
          <p:nvPr/>
        </p:nvSpPr>
        <p:spPr bwMode="auto">
          <a:xfrm rot="16200000">
            <a:off x="6095997" y="2887048"/>
            <a:ext cx="265814" cy="265810"/>
          </a:xfrm>
          <a:prstGeom prst="homePlate">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
        <p:nvSpPr>
          <p:cNvPr id="35" name="Flèche : pentagone 34">
            <a:extLst>
              <a:ext uri="{FF2B5EF4-FFF2-40B4-BE49-F238E27FC236}">
                <a16:creationId xmlns:a16="http://schemas.microsoft.com/office/drawing/2014/main" id="{13FDE398-5795-40BC-A672-056196FC7F27}"/>
              </a:ext>
            </a:extLst>
          </p:cNvPr>
          <p:cNvSpPr/>
          <p:nvPr/>
        </p:nvSpPr>
        <p:spPr bwMode="auto">
          <a:xfrm rot="5400000">
            <a:off x="6095997" y="3970583"/>
            <a:ext cx="265814" cy="265810"/>
          </a:xfrm>
          <a:prstGeom prst="homePlate">
            <a:avLst/>
          </a:prstGeom>
          <a:solidFill>
            <a:schemeClr val="accent4"/>
          </a:solidFill>
          <a:ln w="19050" cap="flat"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
        <p:nvSpPr>
          <p:cNvPr id="36" name="Flèche : pentagone 35">
            <a:extLst>
              <a:ext uri="{FF2B5EF4-FFF2-40B4-BE49-F238E27FC236}">
                <a16:creationId xmlns:a16="http://schemas.microsoft.com/office/drawing/2014/main" id="{33F1396D-C017-4C8A-BAC6-2998F28517ED}"/>
              </a:ext>
            </a:extLst>
          </p:cNvPr>
          <p:cNvSpPr/>
          <p:nvPr/>
        </p:nvSpPr>
        <p:spPr bwMode="auto">
          <a:xfrm rot="5400000">
            <a:off x="6095997" y="5119579"/>
            <a:ext cx="265814" cy="265810"/>
          </a:xfrm>
          <a:prstGeom prst="homePlate">
            <a:avLst/>
          </a:prstGeom>
          <a:solidFill>
            <a:schemeClr val="accent4"/>
          </a:solidFill>
          <a:ln w="19050" cap="flat" cmpd="sng" algn="ctr">
            <a:noFill/>
            <a:prstDash val="solid"/>
            <a:roun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buClr>
                <a:schemeClr val="accent3"/>
              </a:buClr>
              <a:buSzPct val="77000"/>
            </a:pPr>
            <a:r>
              <a:rPr lang="en-GB" sz="2000" b="1">
                <a:solidFill>
                  <a:schemeClr val="bg1"/>
                </a:solidFill>
              </a:rPr>
              <a:t>-</a:t>
            </a:r>
            <a:endParaRPr lang="en-GB" sz="2000" b="1" dirty="0">
              <a:solidFill>
                <a:schemeClr val="bg1"/>
              </a:solidFill>
            </a:endParaRPr>
          </a:p>
        </p:txBody>
      </p:sp>
    </p:spTree>
    <p:extLst>
      <p:ext uri="{BB962C8B-B14F-4D97-AF65-F5344CB8AC3E}">
        <p14:creationId xmlns:p14="http://schemas.microsoft.com/office/powerpoint/2010/main" val="28868561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9FEF277-114C-4CC6-B3DB-DE3CA61669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3" name="Objet 2" hidden="1">
                        <a:extLst>
                          <a:ext uri="{FF2B5EF4-FFF2-40B4-BE49-F238E27FC236}">
                            <a16:creationId xmlns:a16="http://schemas.microsoft.com/office/drawing/2014/main" id="{29FEF277-114C-4CC6-B3DB-DE3CA61669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GB">
                <a:solidFill>
                  <a:srgbClr val="FFFFFF"/>
                </a:solidFill>
              </a:rPr>
              <a:t>Maps</a:t>
            </a:r>
            <a:endParaRPr lang="en-GB" dirty="0">
              <a:solidFill>
                <a:srgbClr val="FFFFFF"/>
              </a:solidFill>
            </a:endParaRPr>
          </a:p>
        </p:txBody>
      </p:sp>
    </p:spTree>
    <p:extLst>
      <p:ext uri="{BB962C8B-B14F-4D97-AF65-F5344CB8AC3E}">
        <p14:creationId xmlns:p14="http://schemas.microsoft.com/office/powerpoint/2010/main" val="2247250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bwMode="auto">
          <a:xfrm>
            <a:off x="1274147" y="1168402"/>
            <a:ext cx="9527594" cy="4521198"/>
            <a:chOff x="96" y="1152"/>
            <a:chExt cx="5568" cy="2642"/>
          </a:xfrm>
          <a:solidFill>
            <a:schemeClr val="accent3"/>
          </a:solidFill>
        </p:grpSpPr>
        <p:sp>
          <p:nvSpPr>
            <p:cNvPr id="5" name="Freeform 4"/>
            <p:cNvSpPr>
              <a:spLocks/>
            </p:cNvSpPr>
            <p:nvPr/>
          </p:nvSpPr>
          <p:spPr bwMode="auto">
            <a:xfrm>
              <a:off x="4358" y="2676"/>
              <a:ext cx="6" cy="5"/>
            </a:xfrm>
            <a:custGeom>
              <a:avLst/>
              <a:gdLst/>
              <a:ahLst/>
              <a:cxnLst>
                <a:cxn ang="0">
                  <a:pos x="6" y="1"/>
                </a:cxn>
                <a:cxn ang="0">
                  <a:pos x="0" y="2"/>
                </a:cxn>
                <a:cxn ang="0">
                  <a:pos x="0" y="0"/>
                </a:cxn>
                <a:cxn ang="0">
                  <a:pos x="6" y="1"/>
                </a:cxn>
              </a:cxnLst>
              <a:rect l="0" t="0" r="r" b="b"/>
              <a:pathLst>
                <a:path w="6" h="2">
                  <a:moveTo>
                    <a:pt x="6" y="1"/>
                  </a:moveTo>
                  <a:lnTo>
                    <a:pt x="0" y="2"/>
                  </a:lnTo>
                  <a:lnTo>
                    <a:pt x="0" y="0"/>
                  </a:lnTo>
                  <a:lnTo>
                    <a:pt x="6"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 name="Freeform 5"/>
            <p:cNvSpPr>
              <a:spLocks/>
            </p:cNvSpPr>
            <p:nvPr/>
          </p:nvSpPr>
          <p:spPr bwMode="auto">
            <a:xfrm>
              <a:off x="4451" y="2619"/>
              <a:ext cx="175" cy="166"/>
            </a:xfrm>
            <a:custGeom>
              <a:avLst/>
              <a:gdLst/>
              <a:ahLst/>
              <a:cxnLst>
                <a:cxn ang="0">
                  <a:pos x="158" y="62"/>
                </a:cxn>
                <a:cxn ang="0">
                  <a:pos x="144" y="61"/>
                </a:cxn>
                <a:cxn ang="0">
                  <a:pos x="143" y="60"/>
                </a:cxn>
                <a:cxn ang="0">
                  <a:pos x="136" y="84"/>
                </a:cxn>
                <a:cxn ang="0">
                  <a:pos x="138" y="85"/>
                </a:cxn>
                <a:cxn ang="0">
                  <a:pos x="134" y="94"/>
                </a:cxn>
                <a:cxn ang="0">
                  <a:pos x="125" y="98"/>
                </a:cxn>
                <a:cxn ang="0">
                  <a:pos x="118" y="110"/>
                </a:cxn>
                <a:cxn ang="0">
                  <a:pos x="118" y="118"/>
                </a:cxn>
                <a:cxn ang="0">
                  <a:pos x="121" y="118"/>
                </a:cxn>
                <a:cxn ang="0">
                  <a:pos x="116" y="124"/>
                </a:cxn>
                <a:cxn ang="0">
                  <a:pos x="114" y="130"/>
                </a:cxn>
                <a:cxn ang="0">
                  <a:pos x="110" y="143"/>
                </a:cxn>
                <a:cxn ang="0">
                  <a:pos x="89" y="150"/>
                </a:cxn>
                <a:cxn ang="0">
                  <a:pos x="86" y="140"/>
                </a:cxn>
                <a:cxn ang="0">
                  <a:pos x="84" y="138"/>
                </a:cxn>
                <a:cxn ang="0">
                  <a:pos x="73" y="138"/>
                </a:cxn>
                <a:cxn ang="0">
                  <a:pos x="64" y="133"/>
                </a:cxn>
                <a:cxn ang="0">
                  <a:pos x="54" y="138"/>
                </a:cxn>
                <a:cxn ang="0">
                  <a:pos x="46" y="139"/>
                </a:cxn>
                <a:cxn ang="0">
                  <a:pos x="42" y="130"/>
                </a:cxn>
                <a:cxn ang="0">
                  <a:pos x="29" y="132"/>
                </a:cxn>
                <a:cxn ang="0">
                  <a:pos x="30" y="131"/>
                </a:cxn>
                <a:cxn ang="0">
                  <a:pos x="26" y="132"/>
                </a:cxn>
                <a:cxn ang="0">
                  <a:pos x="19" y="130"/>
                </a:cxn>
                <a:cxn ang="0">
                  <a:pos x="16" y="112"/>
                </a:cxn>
                <a:cxn ang="0">
                  <a:pos x="16" y="98"/>
                </a:cxn>
                <a:cxn ang="0">
                  <a:pos x="6" y="90"/>
                </a:cxn>
                <a:cxn ang="0">
                  <a:pos x="7" y="90"/>
                </a:cxn>
                <a:cxn ang="0">
                  <a:pos x="4" y="82"/>
                </a:cxn>
                <a:cxn ang="0">
                  <a:pos x="4" y="77"/>
                </a:cxn>
                <a:cxn ang="0">
                  <a:pos x="0" y="62"/>
                </a:cxn>
                <a:cxn ang="0">
                  <a:pos x="5" y="53"/>
                </a:cxn>
                <a:cxn ang="0">
                  <a:pos x="2" y="54"/>
                </a:cxn>
                <a:cxn ang="0">
                  <a:pos x="11" y="41"/>
                </a:cxn>
                <a:cxn ang="0">
                  <a:pos x="14" y="53"/>
                </a:cxn>
                <a:cxn ang="0">
                  <a:pos x="30" y="62"/>
                </a:cxn>
                <a:cxn ang="0">
                  <a:pos x="50" y="58"/>
                </a:cxn>
                <a:cxn ang="0">
                  <a:pos x="56" y="50"/>
                </a:cxn>
                <a:cxn ang="0">
                  <a:pos x="77" y="55"/>
                </a:cxn>
                <a:cxn ang="0">
                  <a:pos x="90" y="49"/>
                </a:cxn>
                <a:cxn ang="0">
                  <a:pos x="97" y="34"/>
                </a:cxn>
                <a:cxn ang="0">
                  <a:pos x="101" y="25"/>
                </a:cxn>
                <a:cxn ang="0">
                  <a:pos x="104" y="12"/>
                </a:cxn>
                <a:cxn ang="0">
                  <a:pos x="108" y="0"/>
                </a:cxn>
                <a:cxn ang="0">
                  <a:pos x="122" y="1"/>
                </a:cxn>
                <a:cxn ang="0">
                  <a:pos x="136" y="4"/>
                </a:cxn>
                <a:cxn ang="0">
                  <a:pos x="134" y="6"/>
                </a:cxn>
                <a:cxn ang="0">
                  <a:pos x="134" y="7"/>
                </a:cxn>
                <a:cxn ang="0">
                  <a:pos x="138" y="13"/>
                </a:cxn>
                <a:cxn ang="0">
                  <a:pos x="134" y="12"/>
                </a:cxn>
                <a:cxn ang="0">
                  <a:pos x="130" y="13"/>
                </a:cxn>
                <a:cxn ang="0">
                  <a:pos x="132" y="20"/>
                </a:cxn>
                <a:cxn ang="0">
                  <a:pos x="144" y="38"/>
                </a:cxn>
                <a:cxn ang="0">
                  <a:pos x="142" y="44"/>
                </a:cxn>
                <a:cxn ang="0">
                  <a:pos x="150" y="53"/>
                </a:cxn>
                <a:cxn ang="0">
                  <a:pos x="158" y="62"/>
                </a:cxn>
              </a:cxnLst>
              <a:rect l="0" t="0" r="r" b="b"/>
              <a:pathLst>
                <a:path w="158" h="150">
                  <a:moveTo>
                    <a:pt x="158" y="62"/>
                  </a:moveTo>
                  <a:lnTo>
                    <a:pt x="144" y="61"/>
                  </a:lnTo>
                  <a:lnTo>
                    <a:pt x="143" y="60"/>
                  </a:lnTo>
                  <a:lnTo>
                    <a:pt x="136" y="84"/>
                  </a:lnTo>
                  <a:lnTo>
                    <a:pt x="138" y="85"/>
                  </a:lnTo>
                  <a:lnTo>
                    <a:pt x="134" y="94"/>
                  </a:lnTo>
                  <a:lnTo>
                    <a:pt x="125" y="98"/>
                  </a:lnTo>
                  <a:lnTo>
                    <a:pt x="118" y="110"/>
                  </a:lnTo>
                  <a:lnTo>
                    <a:pt x="118" y="118"/>
                  </a:lnTo>
                  <a:lnTo>
                    <a:pt x="121" y="118"/>
                  </a:lnTo>
                  <a:lnTo>
                    <a:pt x="116" y="124"/>
                  </a:lnTo>
                  <a:lnTo>
                    <a:pt x="114" y="130"/>
                  </a:lnTo>
                  <a:lnTo>
                    <a:pt x="110" y="143"/>
                  </a:lnTo>
                  <a:lnTo>
                    <a:pt x="89" y="150"/>
                  </a:lnTo>
                  <a:lnTo>
                    <a:pt x="86" y="140"/>
                  </a:lnTo>
                  <a:lnTo>
                    <a:pt x="84" y="138"/>
                  </a:lnTo>
                  <a:lnTo>
                    <a:pt x="73" y="138"/>
                  </a:lnTo>
                  <a:lnTo>
                    <a:pt x="64" y="133"/>
                  </a:lnTo>
                  <a:lnTo>
                    <a:pt x="54" y="138"/>
                  </a:lnTo>
                  <a:lnTo>
                    <a:pt x="46" y="139"/>
                  </a:lnTo>
                  <a:lnTo>
                    <a:pt x="42" y="130"/>
                  </a:lnTo>
                  <a:lnTo>
                    <a:pt x="29" y="132"/>
                  </a:lnTo>
                  <a:lnTo>
                    <a:pt x="30" y="131"/>
                  </a:lnTo>
                  <a:lnTo>
                    <a:pt x="26" y="132"/>
                  </a:lnTo>
                  <a:lnTo>
                    <a:pt x="19" y="130"/>
                  </a:lnTo>
                  <a:lnTo>
                    <a:pt x="16" y="112"/>
                  </a:lnTo>
                  <a:lnTo>
                    <a:pt x="16" y="98"/>
                  </a:lnTo>
                  <a:lnTo>
                    <a:pt x="6" y="90"/>
                  </a:lnTo>
                  <a:lnTo>
                    <a:pt x="7" y="90"/>
                  </a:lnTo>
                  <a:lnTo>
                    <a:pt x="4" y="82"/>
                  </a:lnTo>
                  <a:lnTo>
                    <a:pt x="4" y="77"/>
                  </a:lnTo>
                  <a:lnTo>
                    <a:pt x="0" y="62"/>
                  </a:lnTo>
                  <a:lnTo>
                    <a:pt x="5" y="53"/>
                  </a:lnTo>
                  <a:lnTo>
                    <a:pt x="2" y="54"/>
                  </a:lnTo>
                  <a:lnTo>
                    <a:pt x="11" y="41"/>
                  </a:lnTo>
                  <a:lnTo>
                    <a:pt x="14" y="53"/>
                  </a:lnTo>
                  <a:lnTo>
                    <a:pt x="30" y="62"/>
                  </a:lnTo>
                  <a:lnTo>
                    <a:pt x="50" y="58"/>
                  </a:lnTo>
                  <a:lnTo>
                    <a:pt x="56" y="50"/>
                  </a:lnTo>
                  <a:lnTo>
                    <a:pt x="77" y="55"/>
                  </a:lnTo>
                  <a:lnTo>
                    <a:pt x="90" y="49"/>
                  </a:lnTo>
                  <a:lnTo>
                    <a:pt x="97" y="34"/>
                  </a:lnTo>
                  <a:lnTo>
                    <a:pt x="101" y="25"/>
                  </a:lnTo>
                  <a:lnTo>
                    <a:pt x="104" y="12"/>
                  </a:lnTo>
                  <a:lnTo>
                    <a:pt x="108" y="0"/>
                  </a:lnTo>
                  <a:lnTo>
                    <a:pt x="122" y="1"/>
                  </a:lnTo>
                  <a:lnTo>
                    <a:pt x="136" y="4"/>
                  </a:lnTo>
                  <a:lnTo>
                    <a:pt x="134" y="6"/>
                  </a:lnTo>
                  <a:lnTo>
                    <a:pt x="134" y="7"/>
                  </a:lnTo>
                  <a:lnTo>
                    <a:pt x="138" y="13"/>
                  </a:lnTo>
                  <a:lnTo>
                    <a:pt x="134" y="12"/>
                  </a:lnTo>
                  <a:lnTo>
                    <a:pt x="130" y="13"/>
                  </a:lnTo>
                  <a:lnTo>
                    <a:pt x="132" y="20"/>
                  </a:lnTo>
                  <a:lnTo>
                    <a:pt x="144" y="38"/>
                  </a:lnTo>
                  <a:lnTo>
                    <a:pt x="142" y="44"/>
                  </a:lnTo>
                  <a:lnTo>
                    <a:pt x="150" y="53"/>
                  </a:lnTo>
                  <a:lnTo>
                    <a:pt x="158" y="6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 name="Freeform 6"/>
            <p:cNvSpPr>
              <a:spLocks/>
            </p:cNvSpPr>
            <p:nvPr/>
          </p:nvSpPr>
          <p:spPr bwMode="auto">
            <a:xfrm>
              <a:off x="4206" y="2594"/>
              <a:ext cx="194" cy="227"/>
            </a:xfrm>
            <a:custGeom>
              <a:avLst/>
              <a:gdLst/>
              <a:ahLst/>
              <a:cxnLst>
                <a:cxn ang="0">
                  <a:pos x="173" y="158"/>
                </a:cxn>
                <a:cxn ang="0">
                  <a:pos x="172" y="160"/>
                </a:cxn>
                <a:cxn ang="0">
                  <a:pos x="170" y="182"/>
                </a:cxn>
                <a:cxn ang="0">
                  <a:pos x="167" y="204"/>
                </a:cxn>
                <a:cxn ang="0">
                  <a:pos x="160" y="198"/>
                </a:cxn>
                <a:cxn ang="0">
                  <a:pos x="159" y="202"/>
                </a:cxn>
                <a:cxn ang="0">
                  <a:pos x="150" y="200"/>
                </a:cxn>
                <a:cxn ang="0">
                  <a:pos x="150" y="204"/>
                </a:cxn>
                <a:cxn ang="0">
                  <a:pos x="135" y="189"/>
                </a:cxn>
                <a:cxn ang="0">
                  <a:pos x="126" y="180"/>
                </a:cxn>
                <a:cxn ang="0">
                  <a:pos x="118" y="172"/>
                </a:cxn>
                <a:cxn ang="0">
                  <a:pos x="110" y="164"/>
                </a:cxn>
                <a:cxn ang="0">
                  <a:pos x="101" y="154"/>
                </a:cxn>
                <a:cxn ang="0">
                  <a:pos x="94" y="140"/>
                </a:cxn>
                <a:cxn ang="0">
                  <a:pos x="87" y="125"/>
                </a:cxn>
                <a:cxn ang="0">
                  <a:pos x="84" y="123"/>
                </a:cxn>
                <a:cxn ang="0">
                  <a:pos x="76" y="110"/>
                </a:cxn>
                <a:cxn ang="0">
                  <a:pos x="68" y="96"/>
                </a:cxn>
                <a:cxn ang="0">
                  <a:pos x="63" y="84"/>
                </a:cxn>
                <a:cxn ang="0">
                  <a:pos x="58" y="72"/>
                </a:cxn>
                <a:cxn ang="0">
                  <a:pos x="45" y="59"/>
                </a:cxn>
                <a:cxn ang="0">
                  <a:pos x="35" y="45"/>
                </a:cxn>
                <a:cxn ang="0">
                  <a:pos x="23" y="33"/>
                </a:cxn>
                <a:cxn ang="0">
                  <a:pos x="11" y="21"/>
                </a:cxn>
                <a:cxn ang="0">
                  <a:pos x="0" y="0"/>
                </a:cxn>
                <a:cxn ang="0">
                  <a:pos x="11" y="2"/>
                </a:cxn>
                <a:cxn ang="0">
                  <a:pos x="23" y="4"/>
                </a:cxn>
                <a:cxn ang="0">
                  <a:pos x="35" y="6"/>
                </a:cxn>
                <a:cxn ang="0">
                  <a:pos x="50" y="23"/>
                </a:cxn>
                <a:cxn ang="0">
                  <a:pos x="51" y="27"/>
                </a:cxn>
                <a:cxn ang="0">
                  <a:pos x="65" y="40"/>
                </a:cxn>
                <a:cxn ang="0">
                  <a:pos x="80" y="52"/>
                </a:cxn>
                <a:cxn ang="0">
                  <a:pos x="92" y="65"/>
                </a:cxn>
                <a:cxn ang="0">
                  <a:pos x="90" y="59"/>
                </a:cxn>
                <a:cxn ang="0">
                  <a:pos x="105" y="70"/>
                </a:cxn>
                <a:cxn ang="0">
                  <a:pos x="113" y="81"/>
                </a:cxn>
                <a:cxn ang="0">
                  <a:pos x="128" y="90"/>
                </a:cxn>
                <a:cxn ang="0">
                  <a:pos x="130" y="92"/>
                </a:cxn>
                <a:cxn ang="0">
                  <a:pos x="140" y="100"/>
                </a:cxn>
                <a:cxn ang="0">
                  <a:pos x="132" y="104"/>
                </a:cxn>
                <a:cxn ang="0">
                  <a:pos x="134" y="107"/>
                </a:cxn>
                <a:cxn ang="0">
                  <a:pos x="132" y="110"/>
                </a:cxn>
                <a:cxn ang="0">
                  <a:pos x="135" y="116"/>
                </a:cxn>
                <a:cxn ang="0">
                  <a:pos x="147" y="118"/>
                </a:cxn>
                <a:cxn ang="0">
                  <a:pos x="150" y="131"/>
                </a:cxn>
                <a:cxn ang="0">
                  <a:pos x="153" y="136"/>
                </a:cxn>
                <a:cxn ang="0">
                  <a:pos x="153" y="143"/>
                </a:cxn>
                <a:cxn ang="0">
                  <a:pos x="166" y="143"/>
                </a:cxn>
                <a:cxn ang="0">
                  <a:pos x="173" y="158"/>
                </a:cxn>
              </a:cxnLst>
              <a:rect l="0" t="0" r="r" b="b"/>
              <a:pathLst>
                <a:path w="173" h="204">
                  <a:moveTo>
                    <a:pt x="173" y="158"/>
                  </a:moveTo>
                  <a:lnTo>
                    <a:pt x="172" y="160"/>
                  </a:lnTo>
                  <a:lnTo>
                    <a:pt x="170" y="182"/>
                  </a:lnTo>
                  <a:lnTo>
                    <a:pt x="167" y="204"/>
                  </a:lnTo>
                  <a:lnTo>
                    <a:pt x="160" y="198"/>
                  </a:lnTo>
                  <a:lnTo>
                    <a:pt x="159" y="202"/>
                  </a:lnTo>
                  <a:lnTo>
                    <a:pt x="150" y="200"/>
                  </a:lnTo>
                  <a:lnTo>
                    <a:pt x="150" y="204"/>
                  </a:lnTo>
                  <a:lnTo>
                    <a:pt x="135" y="189"/>
                  </a:lnTo>
                  <a:lnTo>
                    <a:pt x="126" y="180"/>
                  </a:lnTo>
                  <a:lnTo>
                    <a:pt x="118" y="172"/>
                  </a:lnTo>
                  <a:lnTo>
                    <a:pt x="110" y="164"/>
                  </a:lnTo>
                  <a:lnTo>
                    <a:pt x="101" y="154"/>
                  </a:lnTo>
                  <a:lnTo>
                    <a:pt x="94" y="140"/>
                  </a:lnTo>
                  <a:lnTo>
                    <a:pt x="87" y="125"/>
                  </a:lnTo>
                  <a:lnTo>
                    <a:pt x="84" y="123"/>
                  </a:lnTo>
                  <a:lnTo>
                    <a:pt x="76" y="110"/>
                  </a:lnTo>
                  <a:lnTo>
                    <a:pt x="68" y="96"/>
                  </a:lnTo>
                  <a:lnTo>
                    <a:pt x="63" y="84"/>
                  </a:lnTo>
                  <a:lnTo>
                    <a:pt x="58" y="72"/>
                  </a:lnTo>
                  <a:lnTo>
                    <a:pt x="45" y="59"/>
                  </a:lnTo>
                  <a:lnTo>
                    <a:pt x="35" y="45"/>
                  </a:lnTo>
                  <a:lnTo>
                    <a:pt x="23" y="33"/>
                  </a:lnTo>
                  <a:lnTo>
                    <a:pt x="11" y="21"/>
                  </a:lnTo>
                  <a:lnTo>
                    <a:pt x="0" y="0"/>
                  </a:lnTo>
                  <a:lnTo>
                    <a:pt x="11" y="2"/>
                  </a:lnTo>
                  <a:lnTo>
                    <a:pt x="23" y="4"/>
                  </a:lnTo>
                  <a:lnTo>
                    <a:pt x="35" y="6"/>
                  </a:lnTo>
                  <a:lnTo>
                    <a:pt x="50" y="23"/>
                  </a:lnTo>
                  <a:lnTo>
                    <a:pt x="51" y="27"/>
                  </a:lnTo>
                  <a:lnTo>
                    <a:pt x="65" y="40"/>
                  </a:lnTo>
                  <a:lnTo>
                    <a:pt x="80" y="52"/>
                  </a:lnTo>
                  <a:lnTo>
                    <a:pt x="92" y="65"/>
                  </a:lnTo>
                  <a:lnTo>
                    <a:pt x="90" y="59"/>
                  </a:lnTo>
                  <a:lnTo>
                    <a:pt x="105" y="70"/>
                  </a:lnTo>
                  <a:lnTo>
                    <a:pt x="113" y="81"/>
                  </a:lnTo>
                  <a:lnTo>
                    <a:pt x="128" y="90"/>
                  </a:lnTo>
                  <a:lnTo>
                    <a:pt x="130" y="92"/>
                  </a:lnTo>
                  <a:lnTo>
                    <a:pt x="140" y="100"/>
                  </a:lnTo>
                  <a:lnTo>
                    <a:pt x="132" y="104"/>
                  </a:lnTo>
                  <a:lnTo>
                    <a:pt x="134" y="107"/>
                  </a:lnTo>
                  <a:lnTo>
                    <a:pt x="132" y="110"/>
                  </a:lnTo>
                  <a:lnTo>
                    <a:pt x="135" y="116"/>
                  </a:lnTo>
                  <a:lnTo>
                    <a:pt x="147" y="118"/>
                  </a:lnTo>
                  <a:lnTo>
                    <a:pt x="150" y="131"/>
                  </a:lnTo>
                  <a:lnTo>
                    <a:pt x="153" y="136"/>
                  </a:lnTo>
                  <a:lnTo>
                    <a:pt x="153" y="143"/>
                  </a:lnTo>
                  <a:lnTo>
                    <a:pt x="166" y="143"/>
                  </a:lnTo>
                  <a:lnTo>
                    <a:pt x="173" y="15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 name="Freeform 7"/>
            <p:cNvSpPr>
              <a:spLocks/>
            </p:cNvSpPr>
            <p:nvPr/>
          </p:nvSpPr>
          <p:spPr bwMode="auto">
            <a:xfrm>
              <a:off x="4842" y="2714"/>
              <a:ext cx="173" cy="173"/>
            </a:xfrm>
            <a:custGeom>
              <a:avLst/>
              <a:gdLst/>
              <a:ahLst/>
              <a:cxnLst>
                <a:cxn ang="0">
                  <a:pos x="118" y="132"/>
                </a:cxn>
                <a:cxn ang="0">
                  <a:pos x="122" y="138"/>
                </a:cxn>
                <a:cxn ang="0">
                  <a:pos x="139" y="147"/>
                </a:cxn>
                <a:cxn ang="0">
                  <a:pos x="150" y="142"/>
                </a:cxn>
                <a:cxn ang="0">
                  <a:pos x="152" y="113"/>
                </a:cxn>
                <a:cxn ang="0">
                  <a:pos x="154" y="84"/>
                </a:cxn>
                <a:cxn ang="0">
                  <a:pos x="156" y="54"/>
                </a:cxn>
                <a:cxn ang="0">
                  <a:pos x="145" y="37"/>
                </a:cxn>
                <a:cxn ang="0">
                  <a:pos x="106" y="19"/>
                </a:cxn>
                <a:cxn ang="0">
                  <a:pos x="81" y="36"/>
                </a:cxn>
                <a:cxn ang="0">
                  <a:pos x="58" y="47"/>
                </a:cxn>
                <a:cxn ang="0">
                  <a:pos x="51" y="42"/>
                </a:cxn>
                <a:cxn ang="0">
                  <a:pos x="48" y="13"/>
                </a:cxn>
                <a:cxn ang="0">
                  <a:pos x="31" y="4"/>
                </a:cxn>
                <a:cxn ang="0">
                  <a:pos x="2" y="10"/>
                </a:cxn>
                <a:cxn ang="0">
                  <a:pos x="12" y="23"/>
                </a:cxn>
                <a:cxn ang="0">
                  <a:pos x="31" y="34"/>
                </a:cxn>
                <a:cxn ang="0">
                  <a:pos x="42" y="36"/>
                </a:cxn>
                <a:cxn ang="0">
                  <a:pos x="39" y="39"/>
                </a:cxn>
                <a:cxn ang="0">
                  <a:pos x="20" y="42"/>
                </a:cxn>
                <a:cxn ang="0">
                  <a:pos x="27" y="57"/>
                </a:cxn>
                <a:cxn ang="0">
                  <a:pos x="33" y="65"/>
                </a:cxn>
                <a:cxn ang="0">
                  <a:pos x="40" y="59"/>
                </a:cxn>
                <a:cxn ang="0">
                  <a:pos x="57" y="64"/>
                </a:cxn>
                <a:cxn ang="0">
                  <a:pos x="68" y="73"/>
                </a:cxn>
                <a:cxn ang="0">
                  <a:pos x="92" y="83"/>
                </a:cxn>
                <a:cxn ang="0">
                  <a:pos x="109" y="95"/>
                </a:cxn>
                <a:cxn ang="0">
                  <a:pos x="122" y="119"/>
                </a:cxn>
                <a:cxn ang="0">
                  <a:pos x="122" y="123"/>
                </a:cxn>
                <a:cxn ang="0">
                  <a:pos x="117" y="129"/>
                </a:cxn>
                <a:cxn ang="0">
                  <a:pos x="97" y="144"/>
                </a:cxn>
                <a:cxn ang="0">
                  <a:pos x="118" y="131"/>
                </a:cxn>
              </a:cxnLst>
              <a:rect l="0" t="0" r="r" b="b"/>
              <a:pathLst>
                <a:path w="156" h="157">
                  <a:moveTo>
                    <a:pt x="118" y="131"/>
                  </a:moveTo>
                  <a:lnTo>
                    <a:pt x="118" y="132"/>
                  </a:lnTo>
                  <a:lnTo>
                    <a:pt x="117" y="141"/>
                  </a:lnTo>
                  <a:lnTo>
                    <a:pt x="122" y="138"/>
                  </a:lnTo>
                  <a:lnTo>
                    <a:pt x="135" y="136"/>
                  </a:lnTo>
                  <a:lnTo>
                    <a:pt x="139" y="147"/>
                  </a:lnTo>
                  <a:lnTo>
                    <a:pt x="148" y="157"/>
                  </a:lnTo>
                  <a:lnTo>
                    <a:pt x="150" y="142"/>
                  </a:lnTo>
                  <a:lnTo>
                    <a:pt x="151" y="127"/>
                  </a:lnTo>
                  <a:lnTo>
                    <a:pt x="152" y="113"/>
                  </a:lnTo>
                  <a:lnTo>
                    <a:pt x="153" y="99"/>
                  </a:lnTo>
                  <a:lnTo>
                    <a:pt x="154" y="84"/>
                  </a:lnTo>
                  <a:lnTo>
                    <a:pt x="154" y="69"/>
                  </a:lnTo>
                  <a:lnTo>
                    <a:pt x="156" y="54"/>
                  </a:lnTo>
                  <a:lnTo>
                    <a:pt x="156" y="40"/>
                  </a:lnTo>
                  <a:lnTo>
                    <a:pt x="145" y="37"/>
                  </a:lnTo>
                  <a:lnTo>
                    <a:pt x="126" y="28"/>
                  </a:lnTo>
                  <a:lnTo>
                    <a:pt x="106" y="19"/>
                  </a:lnTo>
                  <a:lnTo>
                    <a:pt x="96" y="28"/>
                  </a:lnTo>
                  <a:lnTo>
                    <a:pt x="81" y="36"/>
                  </a:lnTo>
                  <a:lnTo>
                    <a:pt x="64" y="53"/>
                  </a:lnTo>
                  <a:lnTo>
                    <a:pt x="58" y="47"/>
                  </a:lnTo>
                  <a:lnTo>
                    <a:pt x="52" y="39"/>
                  </a:lnTo>
                  <a:lnTo>
                    <a:pt x="51" y="42"/>
                  </a:lnTo>
                  <a:lnTo>
                    <a:pt x="48" y="23"/>
                  </a:lnTo>
                  <a:lnTo>
                    <a:pt x="48" y="13"/>
                  </a:lnTo>
                  <a:lnTo>
                    <a:pt x="46" y="6"/>
                  </a:lnTo>
                  <a:lnTo>
                    <a:pt x="31" y="4"/>
                  </a:lnTo>
                  <a:lnTo>
                    <a:pt x="16" y="0"/>
                  </a:lnTo>
                  <a:lnTo>
                    <a:pt x="2" y="10"/>
                  </a:lnTo>
                  <a:lnTo>
                    <a:pt x="0" y="19"/>
                  </a:lnTo>
                  <a:lnTo>
                    <a:pt x="12" y="23"/>
                  </a:lnTo>
                  <a:lnTo>
                    <a:pt x="20" y="34"/>
                  </a:lnTo>
                  <a:lnTo>
                    <a:pt x="31" y="34"/>
                  </a:lnTo>
                  <a:lnTo>
                    <a:pt x="43" y="33"/>
                  </a:lnTo>
                  <a:lnTo>
                    <a:pt x="42" y="36"/>
                  </a:lnTo>
                  <a:lnTo>
                    <a:pt x="40" y="39"/>
                  </a:lnTo>
                  <a:lnTo>
                    <a:pt x="39" y="39"/>
                  </a:lnTo>
                  <a:lnTo>
                    <a:pt x="34" y="39"/>
                  </a:lnTo>
                  <a:lnTo>
                    <a:pt x="20" y="42"/>
                  </a:lnTo>
                  <a:lnTo>
                    <a:pt x="14" y="46"/>
                  </a:lnTo>
                  <a:lnTo>
                    <a:pt x="27" y="57"/>
                  </a:lnTo>
                  <a:lnTo>
                    <a:pt x="25" y="64"/>
                  </a:lnTo>
                  <a:lnTo>
                    <a:pt x="33" y="65"/>
                  </a:lnTo>
                  <a:lnTo>
                    <a:pt x="43" y="48"/>
                  </a:lnTo>
                  <a:lnTo>
                    <a:pt x="40" y="59"/>
                  </a:lnTo>
                  <a:lnTo>
                    <a:pt x="54" y="64"/>
                  </a:lnTo>
                  <a:lnTo>
                    <a:pt x="57" y="64"/>
                  </a:lnTo>
                  <a:lnTo>
                    <a:pt x="56" y="70"/>
                  </a:lnTo>
                  <a:lnTo>
                    <a:pt x="68" y="73"/>
                  </a:lnTo>
                  <a:lnTo>
                    <a:pt x="80" y="78"/>
                  </a:lnTo>
                  <a:lnTo>
                    <a:pt x="92" y="83"/>
                  </a:lnTo>
                  <a:lnTo>
                    <a:pt x="103" y="88"/>
                  </a:lnTo>
                  <a:lnTo>
                    <a:pt x="109" y="95"/>
                  </a:lnTo>
                  <a:lnTo>
                    <a:pt x="117" y="115"/>
                  </a:lnTo>
                  <a:lnTo>
                    <a:pt x="122" y="119"/>
                  </a:lnTo>
                  <a:lnTo>
                    <a:pt x="114" y="119"/>
                  </a:lnTo>
                  <a:lnTo>
                    <a:pt x="122" y="123"/>
                  </a:lnTo>
                  <a:lnTo>
                    <a:pt x="115" y="124"/>
                  </a:lnTo>
                  <a:lnTo>
                    <a:pt x="117" y="129"/>
                  </a:lnTo>
                  <a:lnTo>
                    <a:pt x="106" y="127"/>
                  </a:lnTo>
                  <a:lnTo>
                    <a:pt x="97" y="144"/>
                  </a:lnTo>
                  <a:lnTo>
                    <a:pt x="111" y="141"/>
                  </a:lnTo>
                  <a:lnTo>
                    <a:pt x="118" y="13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 name="Freeform 8"/>
            <p:cNvSpPr>
              <a:spLocks/>
            </p:cNvSpPr>
            <p:nvPr/>
          </p:nvSpPr>
          <p:spPr bwMode="auto">
            <a:xfrm>
              <a:off x="4626" y="2672"/>
              <a:ext cx="111" cy="147"/>
            </a:xfrm>
            <a:custGeom>
              <a:avLst/>
              <a:gdLst/>
              <a:ahLst/>
              <a:cxnLst>
                <a:cxn ang="0">
                  <a:pos x="101" y="4"/>
                </a:cxn>
                <a:cxn ang="0">
                  <a:pos x="96" y="0"/>
                </a:cxn>
                <a:cxn ang="0">
                  <a:pos x="82" y="16"/>
                </a:cxn>
                <a:cxn ang="0">
                  <a:pos x="61" y="12"/>
                </a:cxn>
                <a:cxn ang="0">
                  <a:pos x="41" y="8"/>
                </a:cxn>
                <a:cxn ang="0">
                  <a:pos x="31" y="8"/>
                </a:cxn>
                <a:cxn ang="0">
                  <a:pos x="25" y="16"/>
                </a:cxn>
                <a:cxn ang="0">
                  <a:pos x="22" y="16"/>
                </a:cxn>
                <a:cxn ang="0">
                  <a:pos x="15" y="30"/>
                </a:cxn>
                <a:cxn ang="0">
                  <a:pos x="16" y="46"/>
                </a:cxn>
                <a:cxn ang="0">
                  <a:pos x="13" y="43"/>
                </a:cxn>
                <a:cxn ang="0">
                  <a:pos x="7" y="60"/>
                </a:cxn>
                <a:cxn ang="0">
                  <a:pos x="0" y="78"/>
                </a:cxn>
                <a:cxn ang="0">
                  <a:pos x="1" y="94"/>
                </a:cxn>
                <a:cxn ang="0">
                  <a:pos x="9" y="95"/>
                </a:cxn>
                <a:cxn ang="0">
                  <a:pos x="9" y="108"/>
                </a:cxn>
                <a:cxn ang="0">
                  <a:pos x="7" y="121"/>
                </a:cxn>
                <a:cxn ang="0">
                  <a:pos x="9" y="132"/>
                </a:cxn>
                <a:cxn ang="0">
                  <a:pos x="23" y="128"/>
                </a:cxn>
                <a:cxn ang="0">
                  <a:pos x="22" y="107"/>
                </a:cxn>
                <a:cxn ang="0">
                  <a:pos x="22" y="85"/>
                </a:cxn>
                <a:cxn ang="0">
                  <a:pos x="31" y="78"/>
                </a:cxn>
                <a:cxn ang="0">
                  <a:pos x="33" y="89"/>
                </a:cxn>
                <a:cxn ang="0">
                  <a:pos x="34" y="96"/>
                </a:cxn>
                <a:cxn ang="0">
                  <a:pos x="41" y="106"/>
                </a:cxn>
                <a:cxn ang="0">
                  <a:pos x="43" y="116"/>
                </a:cxn>
                <a:cxn ang="0">
                  <a:pos x="48" y="114"/>
                </a:cxn>
                <a:cxn ang="0">
                  <a:pos x="59" y="108"/>
                </a:cxn>
                <a:cxn ang="0">
                  <a:pos x="63" y="106"/>
                </a:cxn>
                <a:cxn ang="0">
                  <a:pos x="53" y="91"/>
                </a:cxn>
                <a:cxn ang="0">
                  <a:pos x="55" y="86"/>
                </a:cxn>
                <a:cxn ang="0">
                  <a:pos x="47" y="74"/>
                </a:cxn>
                <a:cxn ang="0">
                  <a:pos x="40" y="62"/>
                </a:cxn>
                <a:cxn ang="0">
                  <a:pos x="46" y="64"/>
                </a:cxn>
                <a:cxn ang="0">
                  <a:pos x="57" y="54"/>
                </a:cxn>
                <a:cxn ang="0">
                  <a:pos x="69" y="46"/>
                </a:cxn>
                <a:cxn ang="0">
                  <a:pos x="72" y="46"/>
                </a:cxn>
                <a:cxn ang="0">
                  <a:pos x="70" y="40"/>
                </a:cxn>
                <a:cxn ang="0">
                  <a:pos x="64" y="42"/>
                </a:cxn>
                <a:cxn ang="0">
                  <a:pos x="45" y="46"/>
                </a:cxn>
                <a:cxn ang="0">
                  <a:pos x="31" y="54"/>
                </a:cxn>
                <a:cxn ang="0">
                  <a:pos x="19" y="37"/>
                </a:cxn>
                <a:cxn ang="0">
                  <a:pos x="25" y="22"/>
                </a:cxn>
                <a:cxn ang="0">
                  <a:pos x="47" y="23"/>
                </a:cxn>
                <a:cxn ang="0">
                  <a:pos x="70" y="24"/>
                </a:cxn>
                <a:cxn ang="0">
                  <a:pos x="91" y="19"/>
                </a:cxn>
                <a:cxn ang="0">
                  <a:pos x="101" y="4"/>
                </a:cxn>
              </a:cxnLst>
              <a:rect l="0" t="0" r="r" b="b"/>
              <a:pathLst>
                <a:path w="101" h="132">
                  <a:moveTo>
                    <a:pt x="101" y="4"/>
                  </a:moveTo>
                  <a:lnTo>
                    <a:pt x="96" y="0"/>
                  </a:lnTo>
                  <a:lnTo>
                    <a:pt x="82" y="16"/>
                  </a:lnTo>
                  <a:lnTo>
                    <a:pt x="61" y="12"/>
                  </a:lnTo>
                  <a:lnTo>
                    <a:pt x="41" y="8"/>
                  </a:lnTo>
                  <a:lnTo>
                    <a:pt x="31" y="8"/>
                  </a:lnTo>
                  <a:lnTo>
                    <a:pt x="25" y="16"/>
                  </a:lnTo>
                  <a:lnTo>
                    <a:pt x="22" y="16"/>
                  </a:lnTo>
                  <a:lnTo>
                    <a:pt x="15" y="30"/>
                  </a:lnTo>
                  <a:lnTo>
                    <a:pt x="16" y="46"/>
                  </a:lnTo>
                  <a:lnTo>
                    <a:pt x="13" y="43"/>
                  </a:lnTo>
                  <a:lnTo>
                    <a:pt x="7" y="60"/>
                  </a:lnTo>
                  <a:lnTo>
                    <a:pt x="0" y="78"/>
                  </a:lnTo>
                  <a:lnTo>
                    <a:pt x="1" y="94"/>
                  </a:lnTo>
                  <a:lnTo>
                    <a:pt x="9" y="95"/>
                  </a:lnTo>
                  <a:lnTo>
                    <a:pt x="9" y="108"/>
                  </a:lnTo>
                  <a:lnTo>
                    <a:pt x="7" y="121"/>
                  </a:lnTo>
                  <a:lnTo>
                    <a:pt x="9" y="132"/>
                  </a:lnTo>
                  <a:lnTo>
                    <a:pt x="23" y="128"/>
                  </a:lnTo>
                  <a:lnTo>
                    <a:pt x="22" y="107"/>
                  </a:lnTo>
                  <a:lnTo>
                    <a:pt x="22" y="85"/>
                  </a:lnTo>
                  <a:lnTo>
                    <a:pt x="31" y="78"/>
                  </a:lnTo>
                  <a:lnTo>
                    <a:pt x="33" y="89"/>
                  </a:lnTo>
                  <a:lnTo>
                    <a:pt x="34" y="96"/>
                  </a:lnTo>
                  <a:lnTo>
                    <a:pt x="41" y="106"/>
                  </a:lnTo>
                  <a:lnTo>
                    <a:pt x="43" y="116"/>
                  </a:lnTo>
                  <a:lnTo>
                    <a:pt x="48" y="114"/>
                  </a:lnTo>
                  <a:lnTo>
                    <a:pt x="59" y="108"/>
                  </a:lnTo>
                  <a:lnTo>
                    <a:pt x="63" y="106"/>
                  </a:lnTo>
                  <a:lnTo>
                    <a:pt x="53" y="91"/>
                  </a:lnTo>
                  <a:lnTo>
                    <a:pt x="55" y="86"/>
                  </a:lnTo>
                  <a:lnTo>
                    <a:pt x="47" y="74"/>
                  </a:lnTo>
                  <a:lnTo>
                    <a:pt x="40" y="62"/>
                  </a:lnTo>
                  <a:lnTo>
                    <a:pt x="46" y="64"/>
                  </a:lnTo>
                  <a:lnTo>
                    <a:pt x="57" y="54"/>
                  </a:lnTo>
                  <a:lnTo>
                    <a:pt x="69" y="46"/>
                  </a:lnTo>
                  <a:lnTo>
                    <a:pt x="72" y="46"/>
                  </a:lnTo>
                  <a:lnTo>
                    <a:pt x="70" y="40"/>
                  </a:lnTo>
                  <a:lnTo>
                    <a:pt x="64" y="42"/>
                  </a:lnTo>
                  <a:lnTo>
                    <a:pt x="45" y="46"/>
                  </a:lnTo>
                  <a:lnTo>
                    <a:pt x="31" y="54"/>
                  </a:lnTo>
                  <a:lnTo>
                    <a:pt x="19" y="37"/>
                  </a:lnTo>
                  <a:lnTo>
                    <a:pt x="25" y="22"/>
                  </a:lnTo>
                  <a:lnTo>
                    <a:pt x="47" y="23"/>
                  </a:lnTo>
                  <a:lnTo>
                    <a:pt x="70" y="24"/>
                  </a:lnTo>
                  <a:lnTo>
                    <a:pt x="91" y="19"/>
                  </a:lnTo>
                  <a:lnTo>
                    <a:pt x="101"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 name="Freeform 9"/>
            <p:cNvSpPr>
              <a:spLocks/>
            </p:cNvSpPr>
            <p:nvPr/>
          </p:nvSpPr>
          <p:spPr bwMode="auto">
            <a:xfrm>
              <a:off x="4382" y="2825"/>
              <a:ext cx="162" cy="56"/>
            </a:xfrm>
            <a:custGeom>
              <a:avLst/>
              <a:gdLst/>
              <a:ahLst/>
              <a:cxnLst>
                <a:cxn ang="0">
                  <a:pos x="145" y="49"/>
                </a:cxn>
                <a:cxn ang="0">
                  <a:pos x="143" y="47"/>
                </a:cxn>
                <a:cxn ang="0">
                  <a:pos x="144" y="32"/>
                </a:cxn>
                <a:cxn ang="0">
                  <a:pos x="132" y="31"/>
                </a:cxn>
                <a:cxn ang="0">
                  <a:pos x="120" y="29"/>
                </a:cxn>
                <a:cxn ang="0">
                  <a:pos x="116" y="19"/>
                </a:cxn>
                <a:cxn ang="0">
                  <a:pos x="97" y="12"/>
                </a:cxn>
                <a:cxn ang="0">
                  <a:pos x="90" y="7"/>
                </a:cxn>
                <a:cxn ang="0">
                  <a:pos x="83" y="16"/>
                </a:cxn>
                <a:cxn ang="0">
                  <a:pos x="71" y="16"/>
                </a:cxn>
                <a:cxn ang="0">
                  <a:pos x="57" y="16"/>
                </a:cxn>
                <a:cxn ang="0">
                  <a:pos x="51" y="8"/>
                </a:cxn>
                <a:cxn ang="0">
                  <a:pos x="33" y="0"/>
                </a:cxn>
                <a:cxn ang="0">
                  <a:pos x="13" y="0"/>
                </a:cxn>
                <a:cxn ang="0">
                  <a:pos x="5" y="11"/>
                </a:cxn>
                <a:cxn ang="0">
                  <a:pos x="0" y="13"/>
                </a:cxn>
                <a:cxn ang="0">
                  <a:pos x="17" y="18"/>
                </a:cxn>
                <a:cxn ang="0">
                  <a:pos x="17" y="22"/>
                </a:cxn>
                <a:cxn ang="0">
                  <a:pos x="32" y="26"/>
                </a:cxn>
                <a:cxn ang="0">
                  <a:pos x="49" y="30"/>
                </a:cxn>
                <a:cxn ang="0">
                  <a:pos x="63" y="34"/>
                </a:cxn>
                <a:cxn ang="0">
                  <a:pos x="79" y="37"/>
                </a:cxn>
                <a:cxn ang="0">
                  <a:pos x="99" y="40"/>
                </a:cxn>
                <a:cxn ang="0">
                  <a:pos x="119" y="42"/>
                </a:cxn>
                <a:cxn ang="0">
                  <a:pos x="132" y="46"/>
                </a:cxn>
                <a:cxn ang="0">
                  <a:pos x="145" y="49"/>
                </a:cxn>
              </a:cxnLst>
              <a:rect l="0" t="0" r="r" b="b"/>
              <a:pathLst>
                <a:path w="145" h="49">
                  <a:moveTo>
                    <a:pt x="145" y="49"/>
                  </a:moveTo>
                  <a:lnTo>
                    <a:pt x="143" y="47"/>
                  </a:lnTo>
                  <a:lnTo>
                    <a:pt x="144" y="32"/>
                  </a:lnTo>
                  <a:lnTo>
                    <a:pt x="132" y="31"/>
                  </a:lnTo>
                  <a:lnTo>
                    <a:pt x="120" y="29"/>
                  </a:lnTo>
                  <a:lnTo>
                    <a:pt x="116" y="19"/>
                  </a:lnTo>
                  <a:lnTo>
                    <a:pt x="97" y="12"/>
                  </a:lnTo>
                  <a:lnTo>
                    <a:pt x="90" y="7"/>
                  </a:lnTo>
                  <a:lnTo>
                    <a:pt x="83" y="16"/>
                  </a:lnTo>
                  <a:lnTo>
                    <a:pt x="71" y="16"/>
                  </a:lnTo>
                  <a:lnTo>
                    <a:pt x="57" y="16"/>
                  </a:lnTo>
                  <a:lnTo>
                    <a:pt x="51" y="8"/>
                  </a:lnTo>
                  <a:lnTo>
                    <a:pt x="33" y="0"/>
                  </a:lnTo>
                  <a:lnTo>
                    <a:pt x="13" y="0"/>
                  </a:lnTo>
                  <a:lnTo>
                    <a:pt x="5" y="11"/>
                  </a:lnTo>
                  <a:lnTo>
                    <a:pt x="0" y="13"/>
                  </a:lnTo>
                  <a:lnTo>
                    <a:pt x="17" y="18"/>
                  </a:lnTo>
                  <a:lnTo>
                    <a:pt x="17" y="22"/>
                  </a:lnTo>
                  <a:lnTo>
                    <a:pt x="32" y="26"/>
                  </a:lnTo>
                  <a:lnTo>
                    <a:pt x="49" y="30"/>
                  </a:lnTo>
                  <a:lnTo>
                    <a:pt x="63" y="34"/>
                  </a:lnTo>
                  <a:lnTo>
                    <a:pt x="79" y="37"/>
                  </a:lnTo>
                  <a:lnTo>
                    <a:pt x="99" y="40"/>
                  </a:lnTo>
                  <a:lnTo>
                    <a:pt x="119" y="42"/>
                  </a:lnTo>
                  <a:lnTo>
                    <a:pt x="132" y="46"/>
                  </a:lnTo>
                  <a:lnTo>
                    <a:pt x="145" y="4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 name="Freeform 10"/>
            <p:cNvSpPr>
              <a:spLocks/>
            </p:cNvSpPr>
            <p:nvPr/>
          </p:nvSpPr>
          <p:spPr bwMode="auto">
            <a:xfrm>
              <a:off x="4700" y="2874"/>
              <a:ext cx="66" cy="38"/>
            </a:xfrm>
            <a:custGeom>
              <a:avLst/>
              <a:gdLst/>
              <a:ahLst/>
              <a:cxnLst>
                <a:cxn ang="0">
                  <a:pos x="61" y="0"/>
                </a:cxn>
                <a:cxn ang="0">
                  <a:pos x="39" y="1"/>
                </a:cxn>
                <a:cxn ang="0">
                  <a:pos x="23" y="9"/>
                </a:cxn>
                <a:cxn ang="0">
                  <a:pos x="9" y="17"/>
                </a:cxn>
                <a:cxn ang="0">
                  <a:pos x="1" y="30"/>
                </a:cxn>
                <a:cxn ang="0">
                  <a:pos x="0" y="31"/>
                </a:cxn>
                <a:cxn ang="0">
                  <a:pos x="1" y="35"/>
                </a:cxn>
                <a:cxn ang="0">
                  <a:pos x="22" y="24"/>
                </a:cxn>
                <a:cxn ang="0">
                  <a:pos x="41" y="12"/>
                </a:cxn>
                <a:cxn ang="0">
                  <a:pos x="61" y="0"/>
                </a:cxn>
              </a:cxnLst>
              <a:rect l="0" t="0" r="r" b="b"/>
              <a:pathLst>
                <a:path w="61" h="35">
                  <a:moveTo>
                    <a:pt x="61" y="0"/>
                  </a:moveTo>
                  <a:lnTo>
                    <a:pt x="39" y="1"/>
                  </a:lnTo>
                  <a:lnTo>
                    <a:pt x="23" y="9"/>
                  </a:lnTo>
                  <a:lnTo>
                    <a:pt x="9" y="17"/>
                  </a:lnTo>
                  <a:lnTo>
                    <a:pt x="1" y="30"/>
                  </a:lnTo>
                  <a:lnTo>
                    <a:pt x="0" y="31"/>
                  </a:lnTo>
                  <a:lnTo>
                    <a:pt x="1" y="35"/>
                  </a:lnTo>
                  <a:lnTo>
                    <a:pt x="22" y="24"/>
                  </a:lnTo>
                  <a:lnTo>
                    <a:pt x="41" y="12"/>
                  </a:lnTo>
                  <a:lnTo>
                    <a:pt x="6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 name="Freeform 11"/>
            <p:cNvSpPr>
              <a:spLocks/>
            </p:cNvSpPr>
            <p:nvPr/>
          </p:nvSpPr>
          <p:spPr bwMode="auto">
            <a:xfrm>
              <a:off x="4777" y="2663"/>
              <a:ext cx="25" cy="60"/>
            </a:xfrm>
            <a:custGeom>
              <a:avLst/>
              <a:gdLst/>
              <a:ahLst/>
              <a:cxnLst>
                <a:cxn ang="0">
                  <a:pos x="23" y="34"/>
                </a:cxn>
                <a:cxn ang="0">
                  <a:pos x="13" y="22"/>
                </a:cxn>
                <a:cxn ang="0">
                  <a:pos x="20" y="14"/>
                </a:cxn>
                <a:cxn ang="0">
                  <a:pos x="16" y="10"/>
                </a:cxn>
                <a:cxn ang="0">
                  <a:pos x="11" y="15"/>
                </a:cxn>
                <a:cxn ang="0">
                  <a:pos x="5" y="24"/>
                </a:cxn>
                <a:cxn ang="0">
                  <a:pos x="5" y="19"/>
                </a:cxn>
                <a:cxn ang="0">
                  <a:pos x="8" y="7"/>
                </a:cxn>
                <a:cxn ang="0">
                  <a:pos x="8" y="0"/>
                </a:cxn>
                <a:cxn ang="0">
                  <a:pos x="0" y="13"/>
                </a:cxn>
                <a:cxn ang="0">
                  <a:pos x="2" y="25"/>
                </a:cxn>
                <a:cxn ang="0">
                  <a:pos x="4" y="38"/>
                </a:cxn>
                <a:cxn ang="0">
                  <a:pos x="13" y="54"/>
                </a:cxn>
                <a:cxn ang="0">
                  <a:pos x="7" y="32"/>
                </a:cxn>
                <a:cxn ang="0">
                  <a:pos x="23" y="34"/>
                </a:cxn>
              </a:cxnLst>
              <a:rect l="0" t="0" r="r" b="b"/>
              <a:pathLst>
                <a:path w="23" h="54">
                  <a:moveTo>
                    <a:pt x="23" y="34"/>
                  </a:moveTo>
                  <a:lnTo>
                    <a:pt x="13" y="22"/>
                  </a:lnTo>
                  <a:lnTo>
                    <a:pt x="20" y="14"/>
                  </a:lnTo>
                  <a:lnTo>
                    <a:pt x="16" y="10"/>
                  </a:lnTo>
                  <a:lnTo>
                    <a:pt x="11" y="15"/>
                  </a:lnTo>
                  <a:lnTo>
                    <a:pt x="5" y="24"/>
                  </a:lnTo>
                  <a:lnTo>
                    <a:pt x="5" y="19"/>
                  </a:lnTo>
                  <a:lnTo>
                    <a:pt x="8" y="7"/>
                  </a:lnTo>
                  <a:lnTo>
                    <a:pt x="8" y="0"/>
                  </a:lnTo>
                  <a:lnTo>
                    <a:pt x="0" y="13"/>
                  </a:lnTo>
                  <a:lnTo>
                    <a:pt x="2" y="25"/>
                  </a:lnTo>
                  <a:lnTo>
                    <a:pt x="4" y="38"/>
                  </a:lnTo>
                  <a:lnTo>
                    <a:pt x="13" y="54"/>
                  </a:lnTo>
                  <a:lnTo>
                    <a:pt x="7" y="32"/>
                  </a:lnTo>
                  <a:lnTo>
                    <a:pt x="23" y="3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 name="Freeform 12"/>
            <p:cNvSpPr>
              <a:spLocks/>
            </p:cNvSpPr>
            <p:nvPr/>
          </p:nvSpPr>
          <p:spPr bwMode="auto">
            <a:xfrm>
              <a:off x="4784" y="2763"/>
              <a:ext cx="51" cy="18"/>
            </a:xfrm>
            <a:custGeom>
              <a:avLst/>
              <a:gdLst/>
              <a:ahLst/>
              <a:cxnLst>
                <a:cxn ang="0">
                  <a:pos x="47" y="13"/>
                </a:cxn>
                <a:cxn ang="0">
                  <a:pos x="44" y="16"/>
                </a:cxn>
                <a:cxn ang="0">
                  <a:pos x="25" y="8"/>
                </a:cxn>
                <a:cxn ang="0">
                  <a:pos x="12" y="9"/>
                </a:cxn>
                <a:cxn ang="0">
                  <a:pos x="2" y="6"/>
                </a:cxn>
                <a:cxn ang="0">
                  <a:pos x="0" y="9"/>
                </a:cxn>
                <a:cxn ang="0">
                  <a:pos x="1" y="3"/>
                </a:cxn>
                <a:cxn ang="0">
                  <a:pos x="11" y="0"/>
                </a:cxn>
                <a:cxn ang="0">
                  <a:pos x="25" y="1"/>
                </a:cxn>
                <a:cxn ang="0">
                  <a:pos x="38" y="2"/>
                </a:cxn>
                <a:cxn ang="0">
                  <a:pos x="47" y="13"/>
                </a:cxn>
              </a:cxnLst>
              <a:rect l="0" t="0" r="r" b="b"/>
              <a:pathLst>
                <a:path w="47" h="16">
                  <a:moveTo>
                    <a:pt x="47" y="13"/>
                  </a:moveTo>
                  <a:lnTo>
                    <a:pt x="44" y="16"/>
                  </a:lnTo>
                  <a:lnTo>
                    <a:pt x="25" y="8"/>
                  </a:lnTo>
                  <a:lnTo>
                    <a:pt x="12" y="9"/>
                  </a:lnTo>
                  <a:lnTo>
                    <a:pt x="2" y="6"/>
                  </a:lnTo>
                  <a:lnTo>
                    <a:pt x="0" y="9"/>
                  </a:lnTo>
                  <a:lnTo>
                    <a:pt x="1" y="3"/>
                  </a:lnTo>
                  <a:lnTo>
                    <a:pt x="11" y="0"/>
                  </a:lnTo>
                  <a:lnTo>
                    <a:pt x="25" y="1"/>
                  </a:lnTo>
                  <a:lnTo>
                    <a:pt x="38" y="2"/>
                  </a:lnTo>
                  <a:lnTo>
                    <a:pt x="47"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 name="Freeform 13"/>
            <p:cNvSpPr>
              <a:spLocks/>
            </p:cNvSpPr>
            <p:nvPr/>
          </p:nvSpPr>
          <p:spPr bwMode="auto">
            <a:xfrm>
              <a:off x="4635" y="2870"/>
              <a:ext cx="58" cy="11"/>
            </a:xfrm>
            <a:custGeom>
              <a:avLst/>
              <a:gdLst/>
              <a:ahLst/>
              <a:cxnLst>
                <a:cxn ang="0">
                  <a:pos x="51" y="1"/>
                </a:cxn>
                <a:cxn ang="0">
                  <a:pos x="51" y="0"/>
                </a:cxn>
                <a:cxn ang="0">
                  <a:pos x="48" y="0"/>
                </a:cxn>
                <a:cxn ang="0">
                  <a:pos x="43" y="4"/>
                </a:cxn>
                <a:cxn ang="0">
                  <a:pos x="33" y="4"/>
                </a:cxn>
                <a:cxn ang="0">
                  <a:pos x="21" y="2"/>
                </a:cxn>
                <a:cxn ang="0">
                  <a:pos x="8" y="1"/>
                </a:cxn>
                <a:cxn ang="0">
                  <a:pos x="0" y="8"/>
                </a:cxn>
                <a:cxn ang="0">
                  <a:pos x="7" y="10"/>
                </a:cxn>
                <a:cxn ang="0">
                  <a:pos x="22" y="10"/>
                </a:cxn>
                <a:cxn ang="0">
                  <a:pos x="38" y="9"/>
                </a:cxn>
                <a:cxn ang="0">
                  <a:pos x="51" y="1"/>
                </a:cxn>
              </a:cxnLst>
              <a:rect l="0" t="0" r="r" b="b"/>
              <a:pathLst>
                <a:path w="51" h="10">
                  <a:moveTo>
                    <a:pt x="51" y="1"/>
                  </a:moveTo>
                  <a:lnTo>
                    <a:pt x="51" y="0"/>
                  </a:lnTo>
                  <a:lnTo>
                    <a:pt x="48" y="0"/>
                  </a:lnTo>
                  <a:lnTo>
                    <a:pt x="43" y="4"/>
                  </a:lnTo>
                  <a:lnTo>
                    <a:pt x="33" y="4"/>
                  </a:lnTo>
                  <a:lnTo>
                    <a:pt x="21" y="2"/>
                  </a:lnTo>
                  <a:lnTo>
                    <a:pt x="8" y="1"/>
                  </a:lnTo>
                  <a:lnTo>
                    <a:pt x="0" y="8"/>
                  </a:lnTo>
                  <a:lnTo>
                    <a:pt x="7" y="10"/>
                  </a:lnTo>
                  <a:lnTo>
                    <a:pt x="22" y="10"/>
                  </a:lnTo>
                  <a:lnTo>
                    <a:pt x="38" y="9"/>
                  </a:lnTo>
                  <a:lnTo>
                    <a:pt x="5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 name="Freeform 14"/>
            <p:cNvSpPr>
              <a:spLocks/>
            </p:cNvSpPr>
            <p:nvPr/>
          </p:nvSpPr>
          <p:spPr bwMode="auto">
            <a:xfrm>
              <a:off x="4384" y="2736"/>
              <a:ext cx="29" cy="31"/>
            </a:xfrm>
            <a:custGeom>
              <a:avLst/>
              <a:gdLst/>
              <a:ahLst/>
              <a:cxnLst>
                <a:cxn ang="0">
                  <a:pos x="26" y="19"/>
                </a:cxn>
                <a:cxn ang="0">
                  <a:pos x="24" y="27"/>
                </a:cxn>
                <a:cxn ang="0">
                  <a:pos x="11" y="19"/>
                </a:cxn>
                <a:cxn ang="0">
                  <a:pos x="6" y="9"/>
                </a:cxn>
                <a:cxn ang="0">
                  <a:pos x="0" y="7"/>
                </a:cxn>
                <a:cxn ang="0">
                  <a:pos x="7" y="1"/>
                </a:cxn>
                <a:cxn ang="0">
                  <a:pos x="11" y="0"/>
                </a:cxn>
                <a:cxn ang="0">
                  <a:pos x="17" y="14"/>
                </a:cxn>
                <a:cxn ang="0">
                  <a:pos x="26" y="19"/>
                </a:cxn>
              </a:cxnLst>
              <a:rect l="0" t="0" r="r" b="b"/>
              <a:pathLst>
                <a:path w="26" h="27">
                  <a:moveTo>
                    <a:pt x="26" y="19"/>
                  </a:moveTo>
                  <a:lnTo>
                    <a:pt x="24" y="27"/>
                  </a:lnTo>
                  <a:lnTo>
                    <a:pt x="11" y="19"/>
                  </a:lnTo>
                  <a:lnTo>
                    <a:pt x="6" y="9"/>
                  </a:lnTo>
                  <a:lnTo>
                    <a:pt x="0" y="7"/>
                  </a:lnTo>
                  <a:lnTo>
                    <a:pt x="7" y="1"/>
                  </a:lnTo>
                  <a:lnTo>
                    <a:pt x="11" y="0"/>
                  </a:lnTo>
                  <a:lnTo>
                    <a:pt x="17" y="14"/>
                  </a:lnTo>
                  <a:lnTo>
                    <a:pt x="26" y="1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 name="Freeform 15"/>
            <p:cNvSpPr>
              <a:spLocks/>
            </p:cNvSpPr>
            <p:nvPr/>
          </p:nvSpPr>
          <p:spPr bwMode="auto">
            <a:xfrm>
              <a:off x="4582" y="2867"/>
              <a:ext cx="42" cy="18"/>
            </a:xfrm>
            <a:custGeom>
              <a:avLst/>
              <a:gdLst/>
              <a:ahLst/>
              <a:cxnLst>
                <a:cxn ang="0">
                  <a:pos x="38" y="10"/>
                </a:cxn>
                <a:cxn ang="0">
                  <a:pos x="36" y="5"/>
                </a:cxn>
                <a:cxn ang="0">
                  <a:pos x="31" y="6"/>
                </a:cxn>
                <a:cxn ang="0">
                  <a:pos x="16" y="0"/>
                </a:cxn>
                <a:cxn ang="0">
                  <a:pos x="24" y="10"/>
                </a:cxn>
                <a:cxn ang="0">
                  <a:pos x="15" y="9"/>
                </a:cxn>
                <a:cxn ang="0">
                  <a:pos x="3" y="7"/>
                </a:cxn>
                <a:cxn ang="0">
                  <a:pos x="0" y="17"/>
                </a:cxn>
                <a:cxn ang="0">
                  <a:pos x="13" y="15"/>
                </a:cxn>
                <a:cxn ang="0">
                  <a:pos x="26" y="12"/>
                </a:cxn>
                <a:cxn ang="0">
                  <a:pos x="32" y="13"/>
                </a:cxn>
                <a:cxn ang="0">
                  <a:pos x="31" y="12"/>
                </a:cxn>
                <a:cxn ang="0">
                  <a:pos x="38" y="10"/>
                </a:cxn>
              </a:cxnLst>
              <a:rect l="0" t="0" r="r" b="b"/>
              <a:pathLst>
                <a:path w="38" h="17">
                  <a:moveTo>
                    <a:pt x="38" y="10"/>
                  </a:moveTo>
                  <a:lnTo>
                    <a:pt x="36" y="5"/>
                  </a:lnTo>
                  <a:lnTo>
                    <a:pt x="31" y="6"/>
                  </a:lnTo>
                  <a:lnTo>
                    <a:pt x="16" y="0"/>
                  </a:lnTo>
                  <a:lnTo>
                    <a:pt x="24" y="10"/>
                  </a:lnTo>
                  <a:lnTo>
                    <a:pt x="15" y="9"/>
                  </a:lnTo>
                  <a:lnTo>
                    <a:pt x="3" y="7"/>
                  </a:lnTo>
                  <a:lnTo>
                    <a:pt x="0" y="17"/>
                  </a:lnTo>
                  <a:lnTo>
                    <a:pt x="13" y="15"/>
                  </a:lnTo>
                  <a:lnTo>
                    <a:pt x="26" y="12"/>
                  </a:lnTo>
                  <a:lnTo>
                    <a:pt x="32" y="13"/>
                  </a:lnTo>
                  <a:lnTo>
                    <a:pt x="31" y="12"/>
                  </a:lnTo>
                  <a:lnTo>
                    <a:pt x="38"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 name="Freeform 16"/>
            <p:cNvSpPr>
              <a:spLocks/>
            </p:cNvSpPr>
            <p:nvPr/>
          </p:nvSpPr>
          <p:spPr bwMode="auto">
            <a:xfrm>
              <a:off x="4620" y="2894"/>
              <a:ext cx="31" cy="16"/>
            </a:xfrm>
            <a:custGeom>
              <a:avLst/>
              <a:gdLst/>
              <a:ahLst/>
              <a:cxnLst>
                <a:cxn ang="0">
                  <a:pos x="28" y="12"/>
                </a:cxn>
                <a:cxn ang="0">
                  <a:pos x="17" y="15"/>
                </a:cxn>
                <a:cxn ang="0">
                  <a:pos x="4" y="6"/>
                </a:cxn>
                <a:cxn ang="0">
                  <a:pos x="0" y="0"/>
                </a:cxn>
                <a:cxn ang="0">
                  <a:pos x="17" y="0"/>
                </a:cxn>
                <a:cxn ang="0">
                  <a:pos x="28" y="12"/>
                </a:cxn>
              </a:cxnLst>
              <a:rect l="0" t="0" r="r" b="b"/>
              <a:pathLst>
                <a:path w="28" h="15">
                  <a:moveTo>
                    <a:pt x="28" y="12"/>
                  </a:moveTo>
                  <a:lnTo>
                    <a:pt x="17" y="15"/>
                  </a:lnTo>
                  <a:lnTo>
                    <a:pt x="4" y="6"/>
                  </a:lnTo>
                  <a:lnTo>
                    <a:pt x="0" y="0"/>
                  </a:lnTo>
                  <a:lnTo>
                    <a:pt x="17" y="0"/>
                  </a:lnTo>
                  <a:lnTo>
                    <a:pt x="28"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 name="Freeform 17"/>
            <p:cNvSpPr>
              <a:spLocks/>
            </p:cNvSpPr>
            <p:nvPr/>
          </p:nvSpPr>
          <p:spPr bwMode="auto">
            <a:xfrm>
              <a:off x="4751" y="2767"/>
              <a:ext cx="22" cy="14"/>
            </a:xfrm>
            <a:custGeom>
              <a:avLst/>
              <a:gdLst/>
              <a:ahLst/>
              <a:cxnLst>
                <a:cxn ang="0">
                  <a:pos x="19" y="6"/>
                </a:cxn>
                <a:cxn ang="0">
                  <a:pos x="12" y="13"/>
                </a:cxn>
                <a:cxn ang="0">
                  <a:pos x="0" y="5"/>
                </a:cxn>
                <a:cxn ang="0">
                  <a:pos x="6" y="0"/>
                </a:cxn>
                <a:cxn ang="0">
                  <a:pos x="19" y="6"/>
                </a:cxn>
              </a:cxnLst>
              <a:rect l="0" t="0" r="r" b="b"/>
              <a:pathLst>
                <a:path w="19" h="13">
                  <a:moveTo>
                    <a:pt x="19" y="6"/>
                  </a:moveTo>
                  <a:lnTo>
                    <a:pt x="12" y="13"/>
                  </a:lnTo>
                  <a:lnTo>
                    <a:pt x="0" y="5"/>
                  </a:lnTo>
                  <a:lnTo>
                    <a:pt x="6" y="0"/>
                  </a:lnTo>
                  <a:lnTo>
                    <a:pt x="19"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 name="Freeform 18"/>
            <p:cNvSpPr>
              <a:spLocks/>
            </p:cNvSpPr>
            <p:nvPr/>
          </p:nvSpPr>
          <p:spPr bwMode="auto">
            <a:xfrm>
              <a:off x="4544" y="2867"/>
              <a:ext cx="20" cy="12"/>
            </a:xfrm>
            <a:custGeom>
              <a:avLst/>
              <a:gdLst/>
              <a:ahLst/>
              <a:cxnLst>
                <a:cxn ang="0">
                  <a:pos x="18" y="5"/>
                </a:cxn>
                <a:cxn ang="0">
                  <a:pos x="16" y="2"/>
                </a:cxn>
                <a:cxn ang="0">
                  <a:pos x="0" y="0"/>
                </a:cxn>
                <a:cxn ang="0">
                  <a:pos x="8" y="10"/>
                </a:cxn>
                <a:cxn ang="0">
                  <a:pos x="18" y="5"/>
                </a:cxn>
              </a:cxnLst>
              <a:rect l="0" t="0" r="r" b="b"/>
              <a:pathLst>
                <a:path w="18" h="10">
                  <a:moveTo>
                    <a:pt x="18" y="5"/>
                  </a:moveTo>
                  <a:lnTo>
                    <a:pt x="16" y="2"/>
                  </a:lnTo>
                  <a:lnTo>
                    <a:pt x="0" y="0"/>
                  </a:lnTo>
                  <a:lnTo>
                    <a:pt x="8" y="10"/>
                  </a:lnTo>
                  <a:lnTo>
                    <a:pt x="18"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 name="Freeform 19"/>
            <p:cNvSpPr>
              <a:spLocks/>
            </p:cNvSpPr>
            <p:nvPr/>
          </p:nvSpPr>
          <p:spPr bwMode="auto">
            <a:xfrm>
              <a:off x="4242" y="2676"/>
              <a:ext cx="16" cy="18"/>
            </a:xfrm>
            <a:custGeom>
              <a:avLst/>
              <a:gdLst/>
              <a:ahLst/>
              <a:cxnLst>
                <a:cxn ang="0">
                  <a:pos x="14" y="9"/>
                </a:cxn>
                <a:cxn ang="0">
                  <a:pos x="12" y="16"/>
                </a:cxn>
                <a:cxn ang="0">
                  <a:pos x="0" y="1"/>
                </a:cxn>
                <a:cxn ang="0">
                  <a:pos x="4" y="0"/>
                </a:cxn>
                <a:cxn ang="0">
                  <a:pos x="14" y="9"/>
                </a:cxn>
              </a:cxnLst>
              <a:rect l="0" t="0" r="r" b="b"/>
              <a:pathLst>
                <a:path w="14" h="16">
                  <a:moveTo>
                    <a:pt x="14" y="9"/>
                  </a:moveTo>
                  <a:lnTo>
                    <a:pt x="12" y="16"/>
                  </a:lnTo>
                  <a:lnTo>
                    <a:pt x="0" y="1"/>
                  </a:lnTo>
                  <a:lnTo>
                    <a:pt x="4" y="0"/>
                  </a:lnTo>
                  <a:lnTo>
                    <a:pt x="14"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 name="Freeform 20"/>
            <p:cNvSpPr>
              <a:spLocks/>
            </p:cNvSpPr>
            <p:nvPr/>
          </p:nvSpPr>
          <p:spPr bwMode="auto">
            <a:xfrm>
              <a:off x="4569" y="2870"/>
              <a:ext cx="13" cy="13"/>
            </a:xfrm>
            <a:custGeom>
              <a:avLst/>
              <a:gdLst/>
              <a:ahLst/>
              <a:cxnLst>
                <a:cxn ang="0">
                  <a:pos x="12" y="3"/>
                </a:cxn>
                <a:cxn ang="0">
                  <a:pos x="8" y="0"/>
                </a:cxn>
                <a:cxn ang="0">
                  <a:pos x="0" y="9"/>
                </a:cxn>
                <a:cxn ang="0">
                  <a:pos x="6" y="12"/>
                </a:cxn>
                <a:cxn ang="0">
                  <a:pos x="12" y="3"/>
                </a:cxn>
              </a:cxnLst>
              <a:rect l="0" t="0" r="r" b="b"/>
              <a:pathLst>
                <a:path w="12" h="12">
                  <a:moveTo>
                    <a:pt x="12" y="3"/>
                  </a:moveTo>
                  <a:lnTo>
                    <a:pt x="8" y="0"/>
                  </a:lnTo>
                  <a:lnTo>
                    <a:pt x="0" y="9"/>
                  </a:lnTo>
                  <a:lnTo>
                    <a:pt x="6" y="12"/>
                  </a:lnTo>
                  <a:lnTo>
                    <a:pt x="12"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 name="Freeform 21"/>
            <p:cNvSpPr>
              <a:spLocks/>
            </p:cNvSpPr>
            <p:nvPr/>
          </p:nvSpPr>
          <p:spPr bwMode="auto">
            <a:xfrm>
              <a:off x="4426" y="2756"/>
              <a:ext cx="14" cy="14"/>
            </a:xfrm>
            <a:custGeom>
              <a:avLst/>
              <a:gdLst/>
              <a:ahLst/>
              <a:cxnLst>
                <a:cxn ang="0">
                  <a:pos x="11" y="5"/>
                </a:cxn>
                <a:cxn ang="0">
                  <a:pos x="5" y="9"/>
                </a:cxn>
                <a:cxn ang="0">
                  <a:pos x="0" y="11"/>
                </a:cxn>
                <a:cxn ang="0">
                  <a:pos x="0" y="0"/>
                </a:cxn>
                <a:cxn ang="0">
                  <a:pos x="11" y="5"/>
                </a:cxn>
              </a:cxnLst>
              <a:rect l="0" t="0" r="r" b="b"/>
              <a:pathLst>
                <a:path w="11" h="11">
                  <a:moveTo>
                    <a:pt x="11" y="5"/>
                  </a:moveTo>
                  <a:lnTo>
                    <a:pt x="5" y="9"/>
                  </a:lnTo>
                  <a:lnTo>
                    <a:pt x="0" y="11"/>
                  </a:lnTo>
                  <a:lnTo>
                    <a:pt x="0" y="0"/>
                  </a:lnTo>
                  <a:lnTo>
                    <a:pt x="11"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 name="Freeform 22"/>
            <p:cNvSpPr>
              <a:spLocks/>
            </p:cNvSpPr>
            <p:nvPr/>
          </p:nvSpPr>
          <p:spPr bwMode="auto">
            <a:xfrm>
              <a:off x="4689" y="2794"/>
              <a:ext cx="11" cy="25"/>
            </a:xfrm>
            <a:custGeom>
              <a:avLst/>
              <a:gdLst/>
              <a:ahLst/>
              <a:cxnLst>
                <a:cxn ang="0">
                  <a:pos x="9" y="15"/>
                </a:cxn>
                <a:cxn ang="0">
                  <a:pos x="7" y="14"/>
                </a:cxn>
                <a:cxn ang="0">
                  <a:pos x="7" y="5"/>
                </a:cxn>
                <a:cxn ang="0">
                  <a:pos x="7" y="0"/>
                </a:cxn>
                <a:cxn ang="0">
                  <a:pos x="0" y="22"/>
                </a:cxn>
                <a:cxn ang="0">
                  <a:pos x="9" y="15"/>
                </a:cxn>
              </a:cxnLst>
              <a:rect l="0" t="0" r="r" b="b"/>
              <a:pathLst>
                <a:path w="9" h="22">
                  <a:moveTo>
                    <a:pt x="9" y="15"/>
                  </a:moveTo>
                  <a:lnTo>
                    <a:pt x="7" y="14"/>
                  </a:lnTo>
                  <a:lnTo>
                    <a:pt x="7" y="5"/>
                  </a:lnTo>
                  <a:lnTo>
                    <a:pt x="7" y="0"/>
                  </a:lnTo>
                  <a:lnTo>
                    <a:pt x="0" y="22"/>
                  </a:lnTo>
                  <a:lnTo>
                    <a:pt x="9" y="1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 name="Freeform 23"/>
            <p:cNvSpPr>
              <a:spLocks/>
            </p:cNvSpPr>
            <p:nvPr/>
          </p:nvSpPr>
          <p:spPr bwMode="auto">
            <a:xfrm>
              <a:off x="4895" y="2816"/>
              <a:ext cx="7" cy="14"/>
            </a:xfrm>
            <a:custGeom>
              <a:avLst/>
              <a:gdLst/>
              <a:ahLst/>
              <a:cxnLst>
                <a:cxn ang="0">
                  <a:pos x="6" y="10"/>
                </a:cxn>
                <a:cxn ang="0">
                  <a:pos x="6" y="0"/>
                </a:cxn>
                <a:cxn ang="0">
                  <a:pos x="0" y="2"/>
                </a:cxn>
                <a:cxn ang="0">
                  <a:pos x="0" y="13"/>
                </a:cxn>
                <a:cxn ang="0">
                  <a:pos x="6" y="10"/>
                </a:cxn>
              </a:cxnLst>
              <a:rect l="0" t="0" r="r" b="b"/>
              <a:pathLst>
                <a:path w="6" h="13">
                  <a:moveTo>
                    <a:pt x="6" y="10"/>
                  </a:moveTo>
                  <a:lnTo>
                    <a:pt x="6" y="0"/>
                  </a:lnTo>
                  <a:lnTo>
                    <a:pt x="0" y="2"/>
                  </a:lnTo>
                  <a:lnTo>
                    <a:pt x="0" y="13"/>
                  </a:lnTo>
                  <a:lnTo>
                    <a:pt x="6"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 name="Freeform 24"/>
            <p:cNvSpPr>
              <a:spLocks/>
            </p:cNvSpPr>
            <p:nvPr/>
          </p:nvSpPr>
          <p:spPr bwMode="auto">
            <a:xfrm>
              <a:off x="4271" y="2723"/>
              <a:ext cx="9" cy="16"/>
            </a:xfrm>
            <a:custGeom>
              <a:avLst/>
              <a:gdLst/>
              <a:ahLst/>
              <a:cxnLst>
                <a:cxn ang="0">
                  <a:pos x="8" y="13"/>
                </a:cxn>
                <a:cxn ang="0">
                  <a:pos x="2" y="13"/>
                </a:cxn>
                <a:cxn ang="0">
                  <a:pos x="0" y="0"/>
                </a:cxn>
                <a:cxn ang="0">
                  <a:pos x="8" y="13"/>
                </a:cxn>
              </a:cxnLst>
              <a:rect l="0" t="0" r="r" b="b"/>
              <a:pathLst>
                <a:path w="8" h="13">
                  <a:moveTo>
                    <a:pt x="8" y="13"/>
                  </a:moveTo>
                  <a:lnTo>
                    <a:pt x="2" y="13"/>
                  </a:lnTo>
                  <a:lnTo>
                    <a:pt x="0" y="0"/>
                  </a:lnTo>
                  <a:lnTo>
                    <a:pt x="8"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8" name="Freeform 25"/>
            <p:cNvSpPr>
              <a:spLocks/>
            </p:cNvSpPr>
            <p:nvPr/>
          </p:nvSpPr>
          <p:spPr bwMode="auto">
            <a:xfrm>
              <a:off x="4686" y="2799"/>
              <a:ext cx="7" cy="13"/>
            </a:xfrm>
            <a:custGeom>
              <a:avLst/>
              <a:gdLst/>
              <a:ahLst/>
              <a:cxnLst>
                <a:cxn ang="0">
                  <a:pos x="6" y="5"/>
                </a:cxn>
                <a:cxn ang="0">
                  <a:pos x="6" y="0"/>
                </a:cxn>
                <a:cxn ang="0">
                  <a:pos x="3" y="1"/>
                </a:cxn>
                <a:cxn ang="0">
                  <a:pos x="0" y="12"/>
                </a:cxn>
                <a:cxn ang="0">
                  <a:pos x="6" y="5"/>
                </a:cxn>
              </a:cxnLst>
              <a:rect l="0" t="0" r="r" b="b"/>
              <a:pathLst>
                <a:path w="6" h="12">
                  <a:moveTo>
                    <a:pt x="6" y="5"/>
                  </a:moveTo>
                  <a:lnTo>
                    <a:pt x="6" y="0"/>
                  </a:lnTo>
                  <a:lnTo>
                    <a:pt x="3" y="1"/>
                  </a:lnTo>
                  <a:lnTo>
                    <a:pt x="0" y="12"/>
                  </a:lnTo>
                  <a:lnTo>
                    <a:pt x="6"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 name="Freeform 26"/>
            <p:cNvSpPr>
              <a:spLocks/>
            </p:cNvSpPr>
            <p:nvPr/>
          </p:nvSpPr>
          <p:spPr bwMode="auto">
            <a:xfrm>
              <a:off x="4722" y="2739"/>
              <a:ext cx="18" cy="4"/>
            </a:xfrm>
            <a:custGeom>
              <a:avLst/>
              <a:gdLst/>
              <a:ahLst/>
              <a:cxnLst>
                <a:cxn ang="0">
                  <a:pos x="15" y="4"/>
                </a:cxn>
                <a:cxn ang="0">
                  <a:pos x="7" y="0"/>
                </a:cxn>
                <a:cxn ang="0">
                  <a:pos x="0" y="4"/>
                </a:cxn>
                <a:cxn ang="0">
                  <a:pos x="15" y="4"/>
                </a:cxn>
              </a:cxnLst>
              <a:rect l="0" t="0" r="r" b="b"/>
              <a:pathLst>
                <a:path w="15" h="4">
                  <a:moveTo>
                    <a:pt x="15" y="4"/>
                  </a:moveTo>
                  <a:lnTo>
                    <a:pt x="7" y="0"/>
                  </a:lnTo>
                  <a:lnTo>
                    <a:pt x="0" y="4"/>
                  </a:lnTo>
                  <a:lnTo>
                    <a:pt x="15"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 name="Freeform 27"/>
            <p:cNvSpPr>
              <a:spLocks/>
            </p:cNvSpPr>
            <p:nvPr/>
          </p:nvSpPr>
          <p:spPr bwMode="auto">
            <a:xfrm>
              <a:off x="4889" y="2830"/>
              <a:ext cx="6" cy="13"/>
            </a:xfrm>
            <a:custGeom>
              <a:avLst/>
              <a:gdLst/>
              <a:ahLst/>
              <a:cxnLst>
                <a:cxn ang="0">
                  <a:pos x="6" y="6"/>
                </a:cxn>
                <a:cxn ang="0">
                  <a:pos x="1" y="11"/>
                </a:cxn>
                <a:cxn ang="0">
                  <a:pos x="0" y="0"/>
                </a:cxn>
                <a:cxn ang="0">
                  <a:pos x="6" y="6"/>
                </a:cxn>
              </a:cxnLst>
              <a:rect l="0" t="0" r="r" b="b"/>
              <a:pathLst>
                <a:path w="6" h="11">
                  <a:moveTo>
                    <a:pt x="6" y="6"/>
                  </a:moveTo>
                  <a:lnTo>
                    <a:pt x="1" y="11"/>
                  </a:lnTo>
                  <a:lnTo>
                    <a:pt x="0" y="0"/>
                  </a:lnTo>
                  <a:lnTo>
                    <a:pt x="6"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 name="Freeform 28"/>
            <p:cNvSpPr>
              <a:spLocks/>
            </p:cNvSpPr>
            <p:nvPr/>
          </p:nvSpPr>
          <p:spPr bwMode="auto">
            <a:xfrm>
              <a:off x="4513" y="2845"/>
              <a:ext cx="25" cy="2"/>
            </a:xfrm>
            <a:custGeom>
              <a:avLst/>
              <a:gdLst/>
              <a:ahLst/>
              <a:cxnLst>
                <a:cxn ang="0">
                  <a:pos x="22" y="0"/>
                </a:cxn>
                <a:cxn ang="0">
                  <a:pos x="6" y="2"/>
                </a:cxn>
                <a:cxn ang="0">
                  <a:pos x="0" y="0"/>
                </a:cxn>
                <a:cxn ang="0">
                  <a:pos x="22" y="0"/>
                </a:cxn>
              </a:cxnLst>
              <a:rect l="0" t="0" r="r" b="b"/>
              <a:pathLst>
                <a:path w="22" h="2">
                  <a:moveTo>
                    <a:pt x="22" y="0"/>
                  </a:moveTo>
                  <a:lnTo>
                    <a:pt x="6" y="2"/>
                  </a:lnTo>
                  <a:lnTo>
                    <a:pt x="0" y="0"/>
                  </a:lnTo>
                  <a:lnTo>
                    <a:pt x="2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 name="Freeform 29"/>
            <p:cNvSpPr>
              <a:spLocks/>
            </p:cNvSpPr>
            <p:nvPr/>
          </p:nvSpPr>
          <p:spPr bwMode="auto">
            <a:xfrm>
              <a:off x="4540" y="2607"/>
              <a:ext cx="15" cy="16"/>
            </a:xfrm>
            <a:custGeom>
              <a:avLst/>
              <a:gdLst/>
              <a:ahLst/>
              <a:cxnLst>
                <a:cxn ang="0">
                  <a:pos x="9" y="16"/>
                </a:cxn>
                <a:cxn ang="0">
                  <a:pos x="0" y="6"/>
                </a:cxn>
                <a:cxn ang="0">
                  <a:pos x="15" y="0"/>
                </a:cxn>
                <a:cxn ang="0">
                  <a:pos x="15" y="1"/>
                </a:cxn>
                <a:cxn ang="0">
                  <a:pos x="12" y="10"/>
                </a:cxn>
                <a:cxn ang="0">
                  <a:pos x="9" y="16"/>
                </a:cxn>
              </a:cxnLst>
              <a:rect l="0" t="0" r="r" b="b"/>
              <a:pathLst>
                <a:path w="15" h="16">
                  <a:moveTo>
                    <a:pt x="9" y="16"/>
                  </a:moveTo>
                  <a:lnTo>
                    <a:pt x="0" y="6"/>
                  </a:lnTo>
                  <a:lnTo>
                    <a:pt x="15" y="0"/>
                  </a:lnTo>
                  <a:lnTo>
                    <a:pt x="15" y="1"/>
                  </a:lnTo>
                  <a:lnTo>
                    <a:pt x="12" y="10"/>
                  </a:lnTo>
                  <a:lnTo>
                    <a:pt x="9" y="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 name="Freeform 30"/>
            <p:cNvSpPr>
              <a:spLocks/>
            </p:cNvSpPr>
            <p:nvPr/>
          </p:nvSpPr>
          <p:spPr bwMode="auto">
            <a:xfrm>
              <a:off x="4462" y="2567"/>
              <a:ext cx="169" cy="120"/>
            </a:xfrm>
            <a:custGeom>
              <a:avLst/>
              <a:gdLst/>
              <a:ahLst/>
              <a:cxnLst>
                <a:cxn ang="0">
                  <a:pos x="113" y="0"/>
                </a:cxn>
                <a:cxn ang="0">
                  <a:pos x="122" y="7"/>
                </a:cxn>
                <a:cxn ang="0">
                  <a:pos x="122" y="19"/>
                </a:cxn>
                <a:cxn ang="0">
                  <a:pos x="129" y="16"/>
                </a:cxn>
                <a:cxn ang="0">
                  <a:pos x="129" y="21"/>
                </a:cxn>
                <a:cxn ang="0">
                  <a:pos x="132" y="22"/>
                </a:cxn>
                <a:cxn ang="0">
                  <a:pos x="151" y="30"/>
                </a:cxn>
                <a:cxn ang="0">
                  <a:pos x="134" y="35"/>
                </a:cxn>
                <a:cxn ang="0">
                  <a:pos x="139" y="45"/>
                </a:cxn>
                <a:cxn ang="0">
                  <a:pos x="128" y="47"/>
                </a:cxn>
                <a:cxn ang="0">
                  <a:pos x="125" y="51"/>
                </a:cxn>
                <a:cxn ang="0">
                  <a:pos x="111" y="48"/>
                </a:cxn>
                <a:cxn ang="0">
                  <a:pos x="97" y="47"/>
                </a:cxn>
                <a:cxn ang="0">
                  <a:pos x="93" y="59"/>
                </a:cxn>
                <a:cxn ang="0">
                  <a:pos x="90" y="72"/>
                </a:cxn>
                <a:cxn ang="0">
                  <a:pos x="86" y="81"/>
                </a:cxn>
                <a:cxn ang="0">
                  <a:pos x="79" y="96"/>
                </a:cxn>
                <a:cxn ang="0">
                  <a:pos x="66" y="102"/>
                </a:cxn>
                <a:cxn ang="0">
                  <a:pos x="45" y="97"/>
                </a:cxn>
                <a:cxn ang="0">
                  <a:pos x="39" y="105"/>
                </a:cxn>
                <a:cxn ang="0">
                  <a:pos x="19" y="109"/>
                </a:cxn>
                <a:cxn ang="0">
                  <a:pos x="3" y="100"/>
                </a:cxn>
                <a:cxn ang="0">
                  <a:pos x="0" y="88"/>
                </a:cxn>
                <a:cxn ang="0">
                  <a:pos x="1" y="89"/>
                </a:cxn>
                <a:cxn ang="0">
                  <a:pos x="13" y="96"/>
                </a:cxn>
                <a:cxn ang="0">
                  <a:pos x="25" y="100"/>
                </a:cxn>
                <a:cxn ang="0">
                  <a:pos x="23" y="99"/>
                </a:cxn>
                <a:cxn ang="0">
                  <a:pos x="25" y="95"/>
                </a:cxn>
                <a:cxn ang="0">
                  <a:pos x="26" y="87"/>
                </a:cxn>
                <a:cxn ang="0">
                  <a:pos x="26" y="83"/>
                </a:cxn>
                <a:cxn ang="0">
                  <a:pos x="29" y="77"/>
                </a:cxn>
                <a:cxn ang="0">
                  <a:pos x="39" y="73"/>
                </a:cxn>
                <a:cxn ang="0">
                  <a:pos x="50" y="70"/>
                </a:cxn>
                <a:cxn ang="0">
                  <a:pos x="60" y="57"/>
                </a:cxn>
                <a:cxn ang="0">
                  <a:pos x="69" y="42"/>
                </a:cxn>
                <a:cxn ang="0">
                  <a:pos x="78" y="52"/>
                </a:cxn>
                <a:cxn ang="0">
                  <a:pos x="81" y="46"/>
                </a:cxn>
                <a:cxn ang="0">
                  <a:pos x="84" y="37"/>
                </a:cxn>
                <a:cxn ang="0">
                  <a:pos x="87" y="47"/>
                </a:cxn>
                <a:cxn ang="0">
                  <a:pos x="87" y="40"/>
                </a:cxn>
                <a:cxn ang="0">
                  <a:pos x="91" y="35"/>
                </a:cxn>
                <a:cxn ang="0">
                  <a:pos x="90" y="30"/>
                </a:cxn>
                <a:cxn ang="0">
                  <a:pos x="93" y="25"/>
                </a:cxn>
                <a:cxn ang="0">
                  <a:pos x="101" y="13"/>
                </a:cxn>
                <a:cxn ang="0">
                  <a:pos x="108" y="0"/>
                </a:cxn>
                <a:cxn ang="0">
                  <a:pos x="109" y="5"/>
                </a:cxn>
                <a:cxn ang="0">
                  <a:pos x="113" y="0"/>
                </a:cxn>
              </a:cxnLst>
              <a:rect l="0" t="0" r="r" b="b"/>
              <a:pathLst>
                <a:path w="151" h="109">
                  <a:moveTo>
                    <a:pt x="113" y="0"/>
                  </a:moveTo>
                  <a:lnTo>
                    <a:pt x="122" y="7"/>
                  </a:lnTo>
                  <a:lnTo>
                    <a:pt x="122" y="19"/>
                  </a:lnTo>
                  <a:lnTo>
                    <a:pt x="129" y="16"/>
                  </a:lnTo>
                  <a:lnTo>
                    <a:pt x="129" y="21"/>
                  </a:lnTo>
                  <a:lnTo>
                    <a:pt x="132" y="22"/>
                  </a:lnTo>
                  <a:lnTo>
                    <a:pt x="151" y="30"/>
                  </a:lnTo>
                  <a:lnTo>
                    <a:pt x="134" y="35"/>
                  </a:lnTo>
                  <a:lnTo>
                    <a:pt x="139" y="45"/>
                  </a:lnTo>
                  <a:lnTo>
                    <a:pt x="128" y="47"/>
                  </a:lnTo>
                  <a:lnTo>
                    <a:pt x="125" y="51"/>
                  </a:lnTo>
                  <a:lnTo>
                    <a:pt x="111" y="48"/>
                  </a:lnTo>
                  <a:lnTo>
                    <a:pt x="97" y="47"/>
                  </a:lnTo>
                  <a:lnTo>
                    <a:pt x="93" y="59"/>
                  </a:lnTo>
                  <a:lnTo>
                    <a:pt x="90" y="72"/>
                  </a:lnTo>
                  <a:lnTo>
                    <a:pt x="86" y="81"/>
                  </a:lnTo>
                  <a:lnTo>
                    <a:pt x="79" y="96"/>
                  </a:lnTo>
                  <a:lnTo>
                    <a:pt x="66" y="102"/>
                  </a:lnTo>
                  <a:lnTo>
                    <a:pt x="45" y="97"/>
                  </a:lnTo>
                  <a:lnTo>
                    <a:pt x="39" y="105"/>
                  </a:lnTo>
                  <a:lnTo>
                    <a:pt x="19" y="109"/>
                  </a:lnTo>
                  <a:lnTo>
                    <a:pt x="3" y="100"/>
                  </a:lnTo>
                  <a:lnTo>
                    <a:pt x="0" y="88"/>
                  </a:lnTo>
                  <a:lnTo>
                    <a:pt x="1" y="89"/>
                  </a:lnTo>
                  <a:lnTo>
                    <a:pt x="13" y="96"/>
                  </a:lnTo>
                  <a:lnTo>
                    <a:pt x="25" y="100"/>
                  </a:lnTo>
                  <a:lnTo>
                    <a:pt x="23" y="99"/>
                  </a:lnTo>
                  <a:lnTo>
                    <a:pt x="25" y="95"/>
                  </a:lnTo>
                  <a:lnTo>
                    <a:pt x="26" y="87"/>
                  </a:lnTo>
                  <a:lnTo>
                    <a:pt x="26" y="83"/>
                  </a:lnTo>
                  <a:lnTo>
                    <a:pt x="29" y="77"/>
                  </a:lnTo>
                  <a:lnTo>
                    <a:pt x="39" y="73"/>
                  </a:lnTo>
                  <a:lnTo>
                    <a:pt x="50" y="70"/>
                  </a:lnTo>
                  <a:lnTo>
                    <a:pt x="60" y="57"/>
                  </a:lnTo>
                  <a:lnTo>
                    <a:pt x="69" y="42"/>
                  </a:lnTo>
                  <a:lnTo>
                    <a:pt x="78" y="52"/>
                  </a:lnTo>
                  <a:lnTo>
                    <a:pt x="81" y="46"/>
                  </a:lnTo>
                  <a:lnTo>
                    <a:pt x="84" y="37"/>
                  </a:lnTo>
                  <a:lnTo>
                    <a:pt x="87" y="47"/>
                  </a:lnTo>
                  <a:lnTo>
                    <a:pt x="87" y="40"/>
                  </a:lnTo>
                  <a:lnTo>
                    <a:pt x="91" y="35"/>
                  </a:lnTo>
                  <a:lnTo>
                    <a:pt x="90" y="30"/>
                  </a:lnTo>
                  <a:lnTo>
                    <a:pt x="93" y="25"/>
                  </a:lnTo>
                  <a:lnTo>
                    <a:pt x="101" y="13"/>
                  </a:lnTo>
                  <a:lnTo>
                    <a:pt x="108" y="0"/>
                  </a:lnTo>
                  <a:lnTo>
                    <a:pt x="109" y="5"/>
                  </a:lnTo>
                  <a:lnTo>
                    <a:pt x="11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 name="Freeform 31"/>
            <p:cNvSpPr>
              <a:spLocks/>
            </p:cNvSpPr>
            <p:nvPr/>
          </p:nvSpPr>
          <p:spPr bwMode="auto">
            <a:xfrm>
              <a:off x="4293" y="2574"/>
              <a:ext cx="76" cy="102"/>
            </a:xfrm>
            <a:custGeom>
              <a:avLst/>
              <a:gdLst/>
              <a:ahLst/>
              <a:cxnLst>
                <a:cxn ang="0">
                  <a:pos x="59" y="93"/>
                </a:cxn>
                <a:cxn ang="0">
                  <a:pos x="40" y="80"/>
                </a:cxn>
                <a:cxn ang="0">
                  <a:pos x="21" y="66"/>
                </a:cxn>
                <a:cxn ang="0">
                  <a:pos x="12" y="46"/>
                </a:cxn>
                <a:cxn ang="0">
                  <a:pos x="6" y="24"/>
                </a:cxn>
                <a:cxn ang="0">
                  <a:pos x="0" y="3"/>
                </a:cxn>
                <a:cxn ang="0">
                  <a:pos x="1" y="0"/>
                </a:cxn>
                <a:cxn ang="0">
                  <a:pos x="13" y="6"/>
                </a:cxn>
                <a:cxn ang="0">
                  <a:pos x="15" y="14"/>
                </a:cxn>
                <a:cxn ang="0">
                  <a:pos x="25" y="14"/>
                </a:cxn>
                <a:cxn ang="0">
                  <a:pos x="31" y="6"/>
                </a:cxn>
                <a:cxn ang="0">
                  <a:pos x="41" y="16"/>
                </a:cxn>
                <a:cxn ang="0">
                  <a:pos x="52" y="27"/>
                </a:cxn>
                <a:cxn ang="0">
                  <a:pos x="53" y="44"/>
                </a:cxn>
                <a:cxn ang="0">
                  <a:pos x="55" y="60"/>
                </a:cxn>
                <a:cxn ang="0">
                  <a:pos x="63" y="76"/>
                </a:cxn>
                <a:cxn ang="0">
                  <a:pos x="70" y="92"/>
                </a:cxn>
                <a:cxn ang="0">
                  <a:pos x="64" y="89"/>
                </a:cxn>
                <a:cxn ang="0">
                  <a:pos x="59" y="93"/>
                </a:cxn>
              </a:cxnLst>
              <a:rect l="0" t="0" r="r" b="b"/>
              <a:pathLst>
                <a:path w="70" h="93">
                  <a:moveTo>
                    <a:pt x="59" y="93"/>
                  </a:moveTo>
                  <a:lnTo>
                    <a:pt x="40" y="80"/>
                  </a:lnTo>
                  <a:lnTo>
                    <a:pt x="21" y="66"/>
                  </a:lnTo>
                  <a:lnTo>
                    <a:pt x="12" y="46"/>
                  </a:lnTo>
                  <a:lnTo>
                    <a:pt x="6" y="24"/>
                  </a:lnTo>
                  <a:lnTo>
                    <a:pt x="0" y="3"/>
                  </a:lnTo>
                  <a:lnTo>
                    <a:pt x="1" y="0"/>
                  </a:lnTo>
                  <a:lnTo>
                    <a:pt x="13" y="6"/>
                  </a:lnTo>
                  <a:lnTo>
                    <a:pt x="15" y="14"/>
                  </a:lnTo>
                  <a:lnTo>
                    <a:pt x="25" y="14"/>
                  </a:lnTo>
                  <a:lnTo>
                    <a:pt x="31" y="6"/>
                  </a:lnTo>
                  <a:lnTo>
                    <a:pt x="41" y="16"/>
                  </a:lnTo>
                  <a:lnTo>
                    <a:pt x="52" y="27"/>
                  </a:lnTo>
                  <a:lnTo>
                    <a:pt x="53" y="44"/>
                  </a:lnTo>
                  <a:lnTo>
                    <a:pt x="55" y="60"/>
                  </a:lnTo>
                  <a:lnTo>
                    <a:pt x="63" y="76"/>
                  </a:lnTo>
                  <a:lnTo>
                    <a:pt x="70" y="92"/>
                  </a:lnTo>
                  <a:lnTo>
                    <a:pt x="64" y="89"/>
                  </a:lnTo>
                  <a:lnTo>
                    <a:pt x="59" y="9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 name="Freeform 32"/>
            <p:cNvSpPr>
              <a:spLocks/>
            </p:cNvSpPr>
            <p:nvPr/>
          </p:nvSpPr>
          <p:spPr bwMode="auto">
            <a:xfrm>
              <a:off x="5473" y="2714"/>
              <a:ext cx="2" cy="2"/>
            </a:xfrm>
            <a:custGeom>
              <a:avLst/>
              <a:gdLst/>
              <a:ahLst/>
              <a:cxnLst>
                <a:cxn ang="0">
                  <a:pos x="0" y="2"/>
                </a:cxn>
                <a:cxn ang="0">
                  <a:pos x="0" y="0"/>
                </a:cxn>
                <a:cxn ang="0">
                  <a:pos x="0" y="2"/>
                </a:cxn>
              </a:cxnLst>
              <a:rect l="0" t="0" r="r" b="b"/>
              <a:pathLst>
                <a:path h="2">
                  <a:moveTo>
                    <a:pt x="0" y="2"/>
                  </a:moveTo>
                  <a:lnTo>
                    <a:pt x="0" y="0"/>
                  </a:lnTo>
                  <a:lnTo>
                    <a:pt x="0"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 name="Freeform 33"/>
            <p:cNvSpPr>
              <a:spLocks/>
            </p:cNvSpPr>
            <p:nvPr/>
          </p:nvSpPr>
          <p:spPr bwMode="auto">
            <a:xfrm>
              <a:off x="5006" y="2756"/>
              <a:ext cx="171" cy="160"/>
            </a:xfrm>
            <a:custGeom>
              <a:avLst/>
              <a:gdLst/>
              <a:ahLst/>
              <a:cxnLst>
                <a:cxn ang="0">
                  <a:pos x="154" y="137"/>
                </a:cxn>
                <a:cxn ang="0">
                  <a:pos x="148" y="140"/>
                </a:cxn>
                <a:cxn ang="0">
                  <a:pos x="148" y="144"/>
                </a:cxn>
                <a:cxn ang="0">
                  <a:pos x="140" y="141"/>
                </a:cxn>
                <a:cxn ang="0">
                  <a:pos x="124" y="139"/>
                </a:cxn>
                <a:cxn ang="0">
                  <a:pos x="110" y="135"/>
                </a:cxn>
                <a:cxn ang="0">
                  <a:pos x="101" y="126"/>
                </a:cxn>
                <a:cxn ang="0">
                  <a:pos x="93" y="117"/>
                </a:cxn>
                <a:cxn ang="0">
                  <a:pos x="84" y="107"/>
                </a:cxn>
                <a:cxn ang="0">
                  <a:pos x="77" y="96"/>
                </a:cxn>
                <a:cxn ang="0">
                  <a:pos x="57" y="89"/>
                </a:cxn>
                <a:cxn ang="0">
                  <a:pos x="56" y="92"/>
                </a:cxn>
                <a:cxn ang="0">
                  <a:pos x="46" y="89"/>
                </a:cxn>
                <a:cxn ang="0">
                  <a:pos x="47" y="97"/>
                </a:cxn>
                <a:cxn ang="0">
                  <a:pos x="41" y="97"/>
                </a:cxn>
                <a:cxn ang="0">
                  <a:pos x="42" y="101"/>
                </a:cxn>
                <a:cxn ang="0">
                  <a:pos x="21" y="101"/>
                </a:cxn>
                <a:cxn ang="0">
                  <a:pos x="39" y="110"/>
                </a:cxn>
                <a:cxn ang="0">
                  <a:pos x="30" y="117"/>
                </a:cxn>
                <a:cxn ang="0">
                  <a:pos x="16" y="117"/>
                </a:cxn>
                <a:cxn ang="0">
                  <a:pos x="0" y="117"/>
                </a:cxn>
                <a:cxn ang="0">
                  <a:pos x="2" y="102"/>
                </a:cxn>
                <a:cxn ang="0">
                  <a:pos x="3" y="87"/>
                </a:cxn>
                <a:cxn ang="0">
                  <a:pos x="4" y="73"/>
                </a:cxn>
                <a:cxn ang="0">
                  <a:pos x="5" y="59"/>
                </a:cxn>
                <a:cxn ang="0">
                  <a:pos x="6" y="44"/>
                </a:cxn>
                <a:cxn ang="0">
                  <a:pos x="6" y="29"/>
                </a:cxn>
                <a:cxn ang="0">
                  <a:pos x="8" y="14"/>
                </a:cxn>
                <a:cxn ang="0">
                  <a:pos x="8" y="0"/>
                </a:cxn>
                <a:cxn ang="0">
                  <a:pos x="23" y="7"/>
                </a:cxn>
                <a:cxn ang="0">
                  <a:pos x="38" y="13"/>
                </a:cxn>
                <a:cxn ang="0">
                  <a:pos x="53" y="20"/>
                </a:cxn>
                <a:cxn ang="0">
                  <a:pos x="69" y="27"/>
                </a:cxn>
                <a:cxn ang="0">
                  <a:pos x="82" y="44"/>
                </a:cxn>
                <a:cxn ang="0">
                  <a:pos x="83" y="53"/>
                </a:cxn>
                <a:cxn ang="0">
                  <a:pos x="96" y="59"/>
                </a:cxn>
                <a:cxn ang="0">
                  <a:pos x="111" y="65"/>
                </a:cxn>
                <a:cxn ang="0">
                  <a:pos x="112" y="74"/>
                </a:cxn>
                <a:cxn ang="0">
                  <a:pos x="98" y="75"/>
                </a:cxn>
                <a:cxn ang="0">
                  <a:pos x="105" y="91"/>
                </a:cxn>
                <a:cxn ang="0">
                  <a:pos x="116" y="101"/>
                </a:cxn>
                <a:cxn ang="0">
                  <a:pos x="123" y="116"/>
                </a:cxn>
                <a:cxn ang="0">
                  <a:pos x="132" y="117"/>
                </a:cxn>
                <a:cxn ang="0">
                  <a:pos x="131" y="123"/>
                </a:cxn>
                <a:cxn ang="0">
                  <a:pos x="140" y="128"/>
                </a:cxn>
                <a:cxn ang="0">
                  <a:pos x="138" y="132"/>
                </a:cxn>
                <a:cxn ang="0">
                  <a:pos x="154" y="137"/>
                </a:cxn>
              </a:cxnLst>
              <a:rect l="0" t="0" r="r" b="b"/>
              <a:pathLst>
                <a:path w="154" h="144">
                  <a:moveTo>
                    <a:pt x="154" y="137"/>
                  </a:moveTo>
                  <a:lnTo>
                    <a:pt x="148" y="140"/>
                  </a:lnTo>
                  <a:lnTo>
                    <a:pt x="148" y="144"/>
                  </a:lnTo>
                  <a:lnTo>
                    <a:pt x="140" y="141"/>
                  </a:lnTo>
                  <a:lnTo>
                    <a:pt x="124" y="139"/>
                  </a:lnTo>
                  <a:lnTo>
                    <a:pt x="110" y="135"/>
                  </a:lnTo>
                  <a:lnTo>
                    <a:pt x="101" y="126"/>
                  </a:lnTo>
                  <a:lnTo>
                    <a:pt x="93" y="117"/>
                  </a:lnTo>
                  <a:lnTo>
                    <a:pt x="84" y="107"/>
                  </a:lnTo>
                  <a:lnTo>
                    <a:pt x="77" y="96"/>
                  </a:lnTo>
                  <a:lnTo>
                    <a:pt x="57" y="89"/>
                  </a:lnTo>
                  <a:lnTo>
                    <a:pt x="56" y="92"/>
                  </a:lnTo>
                  <a:lnTo>
                    <a:pt x="46" y="89"/>
                  </a:lnTo>
                  <a:lnTo>
                    <a:pt x="47" y="97"/>
                  </a:lnTo>
                  <a:lnTo>
                    <a:pt x="41" y="97"/>
                  </a:lnTo>
                  <a:lnTo>
                    <a:pt x="42" y="101"/>
                  </a:lnTo>
                  <a:lnTo>
                    <a:pt x="21" y="101"/>
                  </a:lnTo>
                  <a:lnTo>
                    <a:pt x="39" y="110"/>
                  </a:lnTo>
                  <a:lnTo>
                    <a:pt x="30" y="117"/>
                  </a:lnTo>
                  <a:lnTo>
                    <a:pt x="16" y="117"/>
                  </a:lnTo>
                  <a:lnTo>
                    <a:pt x="0" y="117"/>
                  </a:lnTo>
                  <a:lnTo>
                    <a:pt x="2" y="102"/>
                  </a:lnTo>
                  <a:lnTo>
                    <a:pt x="3" y="87"/>
                  </a:lnTo>
                  <a:lnTo>
                    <a:pt x="4" y="73"/>
                  </a:lnTo>
                  <a:lnTo>
                    <a:pt x="5" y="59"/>
                  </a:lnTo>
                  <a:lnTo>
                    <a:pt x="6" y="44"/>
                  </a:lnTo>
                  <a:lnTo>
                    <a:pt x="6" y="29"/>
                  </a:lnTo>
                  <a:lnTo>
                    <a:pt x="8" y="14"/>
                  </a:lnTo>
                  <a:lnTo>
                    <a:pt x="8" y="0"/>
                  </a:lnTo>
                  <a:lnTo>
                    <a:pt x="23" y="7"/>
                  </a:lnTo>
                  <a:lnTo>
                    <a:pt x="38" y="13"/>
                  </a:lnTo>
                  <a:lnTo>
                    <a:pt x="53" y="20"/>
                  </a:lnTo>
                  <a:lnTo>
                    <a:pt x="69" y="27"/>
                  </a:lnTo>
                  <a:lnTo>
                    <a:pt x="82" y="44"/>
                  </a:lnTo>
                  <a:lnTo>
                    <a:pt x="83" y="53"/>
                  </a:lnTo>
                  <a:lnTo>
                    <a:pt x="96" y="59"/>
                  </a:lnTo>
                  <a:lnTo>
                    <a:pt x="111" y="65"/>
                  </a:lnTo>
                  <a:lnTo>
                    <a:pt x="112" y="74"/>
                  </a:lnTo>
                  <a:lnTo>
                    <a:pt x="98" y="75"/>
                  </a:lnTo>
                  <a:lnTo>
                    <a:pt x="105" y="91"/>
                  </a:lnTo>
                  <a:lnTo>
                    <a:pt x="116" y="101"/>
                  </a:lnTo>
                  <a:lnTo>
                    <a:pt x="123" y="116"/>
                  </a:lnTo>
                  <a:lnTo>
                    <a:pt x="132" y="117"/>
                  </a:lnTo>
                  <a:lnTo>
                    <a:pt x="131" y="123"/>
                  </a:lnTo>
                  <a:lnTo>
                    <a:pt x="140" y="128"/>
                  </a:lnTo>
                  <a:lnTo>
                    <a:pt x="138" y="132"/>
                  </a:lnTo>
                  <a:lnTo>
                    <a:pt x="154" y="13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 name="Freeform 34"/>
            <p:cNvSpPr>
              <a:spLocks/>
            </p:cNvSpPr>
            <p:nvPr/>
          </p:nvSpPr>
          <p:spPr bwMode="auto">
            <a:xfrm>
              <a:off x="5142" y="2790"/>
              <a:ext cx="73" cy="40"/>
            </a:xfrm>
            <a:custGeom>
              <a:avLst/>
              <a:gdLst/>
              <a:ahLst/>
              <a:cxnLst>
                <a:cxn ang="0">
                  <a:pos x="66" y="1"/>
                </a:cxn>
                <a:cxn ang="0">
                  <a:pos x="61" y="13"/>
                </a:cxn>
                <a:cxn ang="0">
                  <a:pos x="57" y="15"/>
                </a:cxn>
                <a:cxn ang="0">
                  <a:pos x="58" y="21"/>
                </a:cxn>
                <a:cxn ang="0">
                  <a:pos x="48" y="26"/>
                </a:cxn>
                <a:cxn ang="0">
                  <a:pos x="26" y="36"/>
                </a:cxn>
                <a:cxn ang="0">
                  <a:pos x="13" y="32"/>
                </a:cxn>
                <a:cxn ang="0">
                  <a:pos x="3" y="27"/>
                </a:cxn>
                <a:cxn ang="0">
                  <a:pos x="0" y="21"/>
                </a:cxn>
                <a:cxn ang="0">
                  <a:pos x="21" y="23"/>
                </a:cxn>
                <a:cxn ang="0">
                  <a:pos x="27" y="13"/>
                </a:cxn>
                <a:cxn ang="0">
                  <a:pos x="27" y="19"/>
                </a:cxn>
                <a:cxn ang="0">
                  <a:pos x="36" y="23"/>
                </a:cxn>
                <a:cxn ang="0">
                  <a:pos x="51" y="12"/>
                </a:cxn>
                <a:cxn ang="0">
                  <a:pos x="51" y="1"/>
                </a:cxn>
                <a:cxn ang="0">
                  <a:pos x="60" y="0"/>
                </a:cxn>
                <a:cxn ang="0">
                  <a:pos x="66" y="1"/>
                </a:cxn>
              </a:cxnLst>
              <a:rect l="0" t="0" r="r" b="b"/>
              <a:pathLst>
                <a:path w="66" h="36">
                  <a:moveTo>
                    <a:pt x="66" y="1"/>
                  </a:moveTo>
                  <a:lnTo>
                    <a:pt x="61" y="13"/>
                  </a:lnTo>
                  <a:lnTo>
                    <a:pt x="57" y="15"/>
                  </a:lnTo>
                  <a:lnTo>
                    <a:pt x="58" y="21"/>
                  </a:lnTo>
                  <a:lnTo>
                    <a:pt x="48" y="26"/>
                  </a:lnTo>
                  <a:lnTo>
                    <a:pt x="26" y="36"/>
                  </a:lnTo>
                  <a:lnTo>
                    <a:pt x="13" y="32"/>
                  </a:lnTo>
                  <a:lnTo>
                    <a:pt x="3" y="27"/>
                  </a:lnTo>
                  <a:lnTo>
                    <a:pt x="0" y="21"/>
                  </a:lnTo>
                  <a:lnTo>
                    <a:pt x="21" y="23"/>
                  </a:lnTo>
                  <a:lnTo>
                    <a:pt x="27" y="13"/>
                  </a:lnTo>
                  <a:lnTo>
                    <a:pt x="27" y="19"/>
                  </a:lnTo>
                  <a:lnTo>
                    <a:pt x="36" y="23"/>
                  </a:lnTo>
                  <a:lnTo>
                    <a:pt x="51" y="12"/>
                  </a:lnTo>
                  <a:lnTo>
                    <a:pt x="51" y="1"/>
                  </a:lnTo>
                  <a:lnTo>
                    <a:pt x="60" y="0"/>
                  </a:lnTo>
                  <a:lnTo>
                    <a:pt x="66"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 name="Freeform 35"/>
            <p:cNvSpPr>
              <a:spLocks/>
            </p:cNvSpPr>
            <p:nvPr/>
          </p:nvSpPr>
          <p:spPr bwMode="auto">
            <a:xfrm>
              <a:off x="5253" y="2814"/>
              <a:ext cx="20" cy="29"/>
            </a:xfrm>
            <a:custGeom>
              <a:avLst/>
              <a:gdLst/>
              <a:ahLst/>
              <a:cxnLst>
                <a:cxn ang="0">
                  <a:pos x="18" y="24"/>
                </a:cxn>
                <a:cxn ang="0">
                  <a:pos x="14" y="27"/>
                </a:cxn>
                <a:cxn ang="0">
                  <a:pos x="4" y="15"/>
                </a:cxn>
                <a:cxn ang="0">
                  <a:pos x="0" y="0"/>
                </a:cxn>
                <a:cxn ang="0">
                  <a:pos x="10" y="12"/>
                </a:cxn>
                <a:cxn ang="0">
                  <a:pos x="18" y="24"/>
                </a:cxn>
              </a:cxnLst>
              <a:rect l="0" t="0" r="r" b="b"/>
              <a:pathLst>
                <a:path w="18" h="27">
                  <a:moveTo>
                    <a:pt x="18" y="24"/>
                  </a:moveTo>
                  <a:lnTo>
                    <a:pt x="14" y="27"/>
                  </a:lnTo>
                  <a:lnTo>
                    <a:pt x="4" y="15"/>
                  </a:lnTo>
                  <a:lnTo>
                    <a:pt x="0" y="0"/>
                  </a:lnTo>
                  <a:lnTo>
                    <a:pt x="10" y="12"/>
                  </a:lnTo>
                  <a:lnTo>
                    <a:pt x="18"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 name="Freeform 36"/>
            <p:cNvSpPr>
              <a:spLocks/>
            </p:cNvSpPr>
            <p:nvPr/>
          </p:nvSpPr>
          <p:spPr bwMode="auto">
            <a:xfrm>
              <a:off x="5189" y="2759"/>
              <a:ext cx="37" cy="42"/>
            </a:xfrm>
            <a:custGeom>
              <a:avLst/>
              <a:gdLst/>
              <a:ahLst/>
              <a:cxnLst>
                <a:cxn ang="0">
                  <a:pos x="33" y="31"/>
                </a:cxn>
                <a:cxn ang="0">
                  <a:pos x="29" y="37"/>
                </a:cxn>
                <a:cxn ang="0">
                  <a:pos x="18" y="16"/>
                </a:cxn>
                <a:cxn ang="0">
                  <a:pos x="9" y="8"/>
                </a:cxn>
                <a:cxn ang="0">
                  <a:pos x="0" y="1"/>
                </a:cxn>
                <a:cxn ang="0">
                  <a:pos x="0" y="0"/>
                </a:cxn>
                <a:cxn ang="0">
                  <a:pos x="12" y="10"/>
                </a:cxn>
                <a:cxn ang="0">
                  <a:pos x="25" y="19"/>
                </a:cxn>
                <a:cxn ang="0">
                  <a:pos x="33" y="31"/>
                </a:cxn>
              </a:cxnLst>
              <a:rect l="0" t="0" r="r" b="b"/>
              <a:pathLst>
                <a:path w="33" h="37">
                  <a:moveTo>
                    <a:pt x="33" y="31"/>
                  </a:moveTo>
                  <a:lnTo>
                    <a:pt x="29" y="37"/>
                  </a:lnTo>
                  <a:lnTo>
                    <a:pt x="18" y="16"/>
                  </a:lnTo>
                  <a:lnTo>
                    <a:pt x="9" y="8"/>
                  </a:lnTo>
                  <a:lnTo>
                    <a:pt x="0" y="1"/>
                  </a:lnTo>
                  <a:lnTo>
                    <a:pt x="0" y="0"/>
                  </a:lnTo>
                  <a:lnTo>
                    <a:pt x="12" y="10"/>
                  </a:lnTo>
                  <a:lnTo>
                    <a:pt x="25" y="19"/>
                  </a:lnTo>
                  <a:lnTo>
                    <a:pt x="33" y="3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 name="Freeform 37"/>
            <p:cNvSpPr>
              <a:spLocks/>
            </p:cNvSpPr>
            <p:nvPr/>
          </p:nvSpPr>
          <p:spPr bwMode="auto">
            <a:xfrm>
              <a:off x="5180" y="2901"/>
              <a:ext cx="6" cy="6"/>
            </a:xfrm>
            <a:custGeom>
              <a:avLst/>
              <a:gdLst/>
              <a:ahLst/>
              <a:cxnLst>
                <a:cxn ang="0">
                  <a:pos x="6" y="3"/>
                </a:cxn>
                <a:cxn ang="0">
                  <a:pos x="3" y="5"/>
                </a:cxn>
                <a:cxn ang="0">
                  <a:pos x="0" y="0"/>
                </a:cxn>
                <a:cxn ang="0">
                  <a:pos x="6" y="3"/>
                </a:cxn>
              </a:cxnLst>
              <a:rect l="0" t="0" r="r" b="b"/>
              <a:pathLst>
                <a:path w="6" h="5">
                  <a:moveTo>
                    <a:pt x="6" y="3"/>
                  </a:moveTo>
                  <a:lnTo>
                    <a:pt x="3" y="5"/>
                  </a:lnTo>
                  <a:lnTo>
                    <a:pt x="0" y="0"/>
                  </a:lnTo>
                  <a:lnTo>
                    <a:pt x="6"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 name="Freeform 38"/>
            <p:cNvSpPr>
              <a:spLocks/>
            </p:cNvSpPr>
            <p:nvPr/>
          </p:nvSpPr>
          <p:spPr bwMode="auto">
            <a:xfrm>
              <a:off x="4042" y="2176"/>
              <a:ext cx="87" cy="111"/>
            </a:xfrm>
            <a:custGeom>
              <a:avLst/>
              <a:gdLst/>
              <a:ahLst/>
              <a:cxnLst>
                <a:cxn ang="0">
                  <a:pos x="28" y="84"/>
                </a:cxn>
                <a:cxn ang="0">
                  <a:pos x="27" y="85"/>
                </a:cxn>
                <a:cxn ang="0">
                  <a:pos x="24" y="80"/>
                </a:cxn>
                <a:cxn ang="0">
                  <a:pos x="24" y="82"/>
                </a:cxn>
                <a:cxn ang="0">
                  <a:pos x="19" y="68"/>
                </a:cxn>
                <a:cxn ang="0">
                  <a:pos x="14" y="55"/>
                </a:cxn>
                <a:cxn ang="0">
                  <a:pos x="13" y="44"/>
                </a:cxn>
                <a:cxn ang="0">
                  <a:pos x="1" y="34"/>
                </a:cxn>
                <a:cxn ang="0">
                  <a:pos x="6" y="27"/>
                </a:cxn>
                <a:cxn ang="0">
                  <a:pos x="12" y="24"/>
                </a:cxn>
                <a:cxn ang="0">
                  <a:pos x="0" y="13"/>
                </a:cxn>
                <a:cxn ang="0">
                  <a:pos x="0" y="0"/>
                </a:cxn>
                <a:cxn ang="0">
                  <a:pos x="10" y="3"/>
                </a:cxn>
                <a:cxn ang="0">
                  <a:pos x="15" y="9"/>
                </a:cxn>
                <a:cxn ang="0">
                  <a:pos x="19" y="6"/>
                </a:cxn>
                <a:cxn ang="0">
                  <a:pos x="25" y="20"/>
                </a:cxn>
                <a:cxn ang="0">
                  <a:pos x="42" y="22"/>
                </a:cxn>
                <a:cxn ang="0">
                  <a:pos x="58" y="24"/>
                </a:cxn>
                <a:cxn ang="0">
                  <a:pos x="67" y="30"/>
                </a:cxn>
                <a:cxn ang="0">
                  <a:pos x="64" y="37"/>
                </a:cxn>
                <a:cxn ang="0">
                  <a:pos x="52" y="45"/>
                </a:cxn>
                <a:cxn ang="0">
                  <a:pos x="56" y="60"/>
                </a:cxn>
                <a:cxn ang="0">
                  <a:pos x="58" y="63"/>
                </a:cxn>
                <a:cxn ang="0">
                  <a:pos x="66" y="50"/>
                </a:cxn>
                <a:cxn ang="0">
                  <a:pos x="72" y="66"/>
                </a:cxn>
                <a:cxn ang="0">
                  <a:pos x="78" y="81"/>
                </a:cxn>
                <a:cxn ang="0">
                  <a:pos x="79" y="92"/>
                </a:cxn>
                <a:cxn ang="0">
                  <a:pos x="74" y="96"/>
                </a:cxn>
                <a:cxn ang="0">
                  <a:pos x="76" y="100"/>
                </a:cxn>
                <a:cxn ang="0">
                  <a:pos x="67" y="84"/>
                </a:cxn>
                <a:cxn ang="0">
                  <a:pos x="58" y="67"/>
                </a:cxn>
                <a:cxn ang="0">
                  <a:pos x="48" y="66"/>
                </a:cxn>
                <a:cxn ang="0">
                  <a:pos x="43" y="55"/>
                </a:cxn>
                <a:cxn ang="0">
                  <a:pos x="27" y="45"/>
                </a:cxn>
                <a:cxn ang="0">
                  <a:pos x="22" y="46"/>
                </a:cxn>
                <a:cxn ang="0">
                  <a:pos x="39" y="56"/>
                </a:cxn>
                <a:cxn ang="0">
                  <a:pos x="44" y="67"/>
                </a:cxn>
                <a:cxn ang="0">
                  <a:pos x="45" y="70"/>
                </a:cxn>
                <a:cxn ang="0">
                  <a:pos x="42" y="85"/>
                </a:cxn>
                <a:cxn ang="0">
                  <a:pos x="38" y="80"/>
                </a:cxn>
                <a:cxn ang="0">
                  <a:pos x="36" y="80"/>
                </a:cxn>
                <a:cxn ang="0">
                  <a:pos x="32" y="84"/>
                </a:cxn>
                <a:cxn ang="0">
                  <a:pos x="28" y="84"/>
                </a:cxn>
              </a:cxnLst>
              <a:rect l="0" t="0" r="r" b="b"/>
              <a:pathLst>
                <a:path w="79" h="100">
                  <a:moveTo>
                    <a:pt x="28" y="84"/>
                  </a:moveTo>
                  <a:lnTo>
                    <a:pt x="27" y="85"/>
                  </a:lnTo>
                  <a:lnTo>
                    <a:pt x="24" y="80"/>
                  </a:lnTo>
                  <a:lnTo>
                    <a:pt x="24" y="82"/>
                  </a:lnTo>
                  <a:lnTo>
                    <a:pt x="19" y="68"/>
                  </a:lnTo>
                  <a:lnTo>
                    <a:pt x="14" y="55"/>
                  </a:lnTo>
                  <a:lnTo>
                    <a:pt x="13" y="44"/>
                  </a:lnTo>
                  <a:lnTo>
                    <a:pt x="1" y="34"/>
                  </a:lnTo>
                  <a:lnTo>
                    <a:pt x="6" y="27"/>
                  </a:lnTo>
                  <a:lnTo>
                    <a:pt x="12" y="24"/>
                  </a:lnTo>
                  <a:lnTo>
                    <a:pt x="0" y="13"/>
                  </a:lnTo>
                  <a:lnTo>
                    <a:pt x="0" y="0"/>
                  </a:lnTo>
                  <a:lnTo>
                    <a:pt x="10" y="3"/>
                  </a:lnTo>
                  <a:lnTo>
                    <a:pt x="15" y="9"/>
                  </a:lnTo>
                  <a:lnTo>
                    <a:pt x="19" y="6"/>
                  </a:lnTo>
                  <a:lnTo>
                    <a:pt x="25" y="20"/>
                  </a:lnTo>
                  <a:lnTo>
                    <a:pt x="42" y="22"/>
                  </a:lnTo>
                  <a:lnTo>
                    <a:pt x="58" y="24"/>
                  </a:lnTo>
                  <a:lnTo>
                    <a:pt x="67" y="30"/>
                  </a:lnTo>
                  <a:lnTo>
                    <a:pt x="64" y="37"/>
                  </a:lnTo>
                  <a:lnTo>
                    <a:pt x="52" y="45"/>
                  </a:lnTo>
                  <a:lnTo>
                    <a:pt x="56" y="60"/>
                  </a:lnTo>
                  <a:lnTo>
                    <a:pt x="58" y="63"/>
                  </a:lnTo>
                  <a:lnTo>
                    <a:pt x="66" y="50"/>
                  </a:lnTo>
                  <a:lnTo>
                    <a:pt x="72" y="66"/>
                  </a:lnTo>
                  <a:lnTo>
                    <a:pt x="78" y="81"/>
                  </a:lnTo>
                  <a:lnTo>
                    <a:pt x="79" y="92"/>
                  </a:lnTo>
                  <a:lnTo>
                    <a:pt x="74" y="96"/>
                  </a:lnTo>
                  <a:lnTo>
                    <a:pt x="76" y="100"/>
                  </a:lnTo>
                  <a:lnTo>
                    <a:pt x="67" y="84"/>
                  </a:lnTo>
                  <a:lnTo>
                    <a:pt x="58" y="67"/>
                  </a:lnTo>
                  <a:lnTo>
                    <a:pt x="48" y="66"/>
                  </a:lnTo>
                  <a:lnTo>
                    <a:pt x="43" y="55"/>
                  </a:lnTo>
                  <a:lnTo>
                    <a:pt x="27" y="45"/>
                  </a:lnTo>
                  <a:lnTo>
                    <a:pt x="22" y="46"/>
                  </a:lnTo>
                  <a:lnTo>
                    <a:pt x="39" y="56"/>
                  </a:lnTo>
                  <a:lnTo>
                    <a:pt x="44" y="67"/>
                  </a:lnTo>
                  <a:lnTo>
                    <a:pt x="45" y="70"/>
                  </a:lnTo>
                  <a:lnTo>
                    <a:pt x="42" y="85"/>
                  </a:lnTo>
                  <a:lnTo>
                    <a:pt x="38" y="80"/>
                  </a:lnTo>
                  <a:lnTo>
                    <a:pt x="36" y="80"/>
                  </a:lnTo>
                  <a:lnTo>
                    <a:pt x="32" y="84"/>
                  </a:lnTo>
                  <a:lnTo>
                    <a:pt x="28" y="8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 name="Freeform 39"/>
            <p:cNvSpPr>
              <a:spLocks/>
            </p:cNvSpPr>
            <p:nvPr/>
          </p:nvSpPr>
          <p:spPr bwMode="auto">
            <a:xfrm>
              <a:off x="4046" y="2143"/>
              <a:ext cx="56" cy="27"/>
            </a:xfrm>
            <a:custGeom>
              <a:avLst/>
              <a:gdLst/>
              <a:ahLst/>
              <a:cxnLst>
                <a:cxn ang="0">
                  <a:pos x="33" y="2"/>
                </a:cxn>
                <a:cxn ang="0">
                  <a:pos x="11" y="0"/>
                </a:cxn>
                <a:cxn ang="0">
                  <a:pos x="0" y="15"/>
                </a:cxn>
                <a:cxn ang="0">
                  <a:pos x="3" y="22"/>
                </a:cxn>
                <a:cxn ang="0">
                  <a:pos x="22" y="25"/>
                </a:cxn>
                <a:cxn ang="0">
                  <a:pos x="36" y="24"/>
                </a:cxn>
                <a:cxn ang="0">
                  <a:pos x="51" y="22"/>
                </a:cxn>
                <a:cxn ang="0">
                  <a:pos x="45" y="13"/>
                </a:cxn>
                <a:cxn ang="0">
                  <a:pos x="40" y="7"/>
                </a:cxn>
                <a:cxn ang="0">
                  <a:pos x="33" y="2"/>
                </a:cxn>
              </a:cxnLst>
              <a:rect l="0" t="0" r="r" b="b"/>
              <a:pathLst>
                <a:path w="51" h="25">
                  <a:moveTo>
                    <a:pt x="33" y="2"/>
                  </a:moveTo>
                  <a:lnTo>
                    <a:pt x="11" y="0"/>
                  </a:lnTo>
                  <a:lnTo>
                    <a:pt x="0" y="15"/>
                  </a:lnTo>
                  <a:lnTo>
                    <a:pt x="3" y="22"/>
                  </a:lnTo>
                  <a:lnTo>
                    <a:pt x="22" y="25"/>
                  </a:lnTo>
                  <a:lnTo>
                    <a:pt x="36" y="24"/>
                  </a:lnTo>
                  <a:lnTo>
                    <a:pt x="51" y="22"/>
                  </a:lnTo>
                  <a:lnTo>
                    <a:pt x="45" y="13"/>
                  </a:lnTo>
                  <a:lnTo>
                    <a:pt x="40" y="7"/>
                  </a:lnTo>
                  <a:lnTo>
                    <a:pt x="33"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 name="Freeform 40"/>
            <p:cNvSpPr>
              <a:spLocks/>
            </p:cNvSpPr>
            <p:nvPr/>
          </p:nvSpPr>
          <p:spPr bwMode="auto">
            <a:xfrm>
              <a:off x="4320" y="2412"/>
              <a:ext cx="93" cy="84"/>
            </a:xfrm>
            <a:custGeom>
              <a:avLst/>
              <a:gdLst/>
              <a:ahLst/>
              <a:cxnLst>
                <a:cxn ang="0">
                  <a:pos x="59" y="56"/>
                </a:cxn>
                <a:cxn ang="0">
                  <a:pos x="64" y="70"/>
                </a:cxn>
                <a:cxn ang="0">
                  <a:pos x="52" y="68"/>
                </a:cxn>
                <a:cxn ang="0">
                  <a:pos x="48" y="71"/>
                </a:cxn>
                <a:cxn ang="0">
                  <a:pos x="39" y="77"/>
                </a:cxn>
                <a:cxn ang="0">
                  <a:pos x="29" y="74"/>
                </a:cxn>
                <a:cxn ang="0">
                  <a:pos x="24" y="72"/>
                </a:cxn>
                <a:cxn ang="0">
                  <a:pos x="22" y="64"/>
                </a:cxn>
                <a:cxn ang="0">
                  <a:pos x="17" y="68"/>
                </a:cxn>
                <a:cxn ang="0">
                  <a:pos x="14" y="56"/>
                </a:cxn>
                <a:cxn ang="0">
                  <a:pos x="12" y="55"/>
                </a:cxn>
                <a:cxn ang="0">
                  <a:pos x="6" y="41"/>
                </a:cxn>
                <a:cxn ang="0">
                  <a:pos x="0" y="25"/>
                </a:cxn>
                <a:cxn ang="0">
                  <a:pos x="11" y="7"/>
                </a:cxn>
                <a:cxn ang="0">
                  <a:pos x="27" y="7"/>
                </a:cxn>
                <a:cxn ang="0">
                  <a:pos x="44" y="6"/>
                </a:cxn>
                <a:cxn ang="0">
                  <a:pos x="57" y="13"/>
                </a:cxn>
                <a:cxn ang="0">
                  <a:pos x="57" y="8"/>
                </a:cxn>
                <a:cxn ang="0">
                  <a:pos x="63" y="4"/>
                </a:cxn>
                <a:cxn ang="0">
                  <a:pos x="69" y="6"/>
                </a:cxn>
                <a:cxn ang="0">
                  <a:pos x="80" y="0"/>
                </a:cxn>
                <a:cxn ang="0">
                  <a:pos x="81" y="16"/>
                </a:cxn>
                <a:cxn ang="0">
                  <a:pos x="82" y="30"/>
                </a:cxn>
                <a:cxn ang="0">
                  <a:pos x="83" y="44"/>
                </a:cxn>
                <a:cxn ang="0">
                  <a:pos x="68" y="52"/>
                </a:cxn>
                <a:cxn ang="0">
                  <a:pos x="59" y="56"/>
                </a:cxn>
              </a:cxnLst>
              <a:rect l="0" t="0" r="r" b="b"/>
              <a:pathLst>
                <a:path w="83" h="77">
                  <a:moveTo>
                    <a:pt x="59" y="56"/>
                  </a:moveTo>
                  <a:lnTo>
                    <a:pt x="64" y="70"/>
                  </a:lnTo>
                  <a:lnTo>
                    <a:pt x="52" y="68"/>
                  </a:lnTo>
                  <a:lnTo>
                    <a:pt x="48" y="71"/>
                  </a:lnTo>
                  <a:lnTo>
                    <a:pt x="39" y="77"/>
                  </a:lnTo>
                  <a:lnTo>
                    <a:pt x="29" y="74"/>
                  </a:lnTo>
                  <a:lnTo>
                    <a:pt x="24" y="72"/>
                  </a:lnTo>
                  <a:lnTo>
                    <a:pt x="22" y="64"/>
                  </a:lnTo>
                  <a:lnTo>
                    <a:pt x="17" y="68"/>
                  </a:lnTo>
                  <a:lnTo>
                    <a:pt x="14" y="56"/>
                  </a:lnTo>
                  <a:lnTo>
                    <a:pt x="12" y="55"/>
                  </a:lnTo>
                  <a:lnTo>
                    <a:pt x="6" y="41"/>
                  </a:lnTo>
                  <a:lnTo>
                    <a:pt x="0" y="25"/>
                  </a:lnTo>
                  <a:lnTo>
                    <a:pt x="11" y="7"/>
                  </a:lnTo>
                  <a:lnTo>
                    <a:pt x="27" y="7"/>
                  </a:lnTo>
                  <a:lnTo>
                    <a:pt x="44" y="6"/>
                  </a:lnTo>
                  <a:lnTo>
                    <a:pt x="57" y="13"/>
                  </a:lnTo>
                  <a:lnTo>
                    <a:pt x="57" y="8"/>
                  </a:lnTo>
                  <a:lnTo>
                    <a:pt x="63" y="4"/>
                  </a:lnTo>
                  <a:lnTo>
                    <a:pt x="69" y="6"/>
                  </a:lnTo>
                  <a:lnTo>
                    <a:pt x="80" y="0"/>
                  </a:lnTo>
                  <a:lnTo>
                    <a:pt x="81" y="16"/>
                  </a:lnTo>
                  <a:lnTo>
                    <a:pt x="82" y="30"/>
                  </a:lnTo>
                  <a:lnTo>
                    <a:pt x="83" y="44"/>
                  </a:lnTo>
                  <a:lnTo>
                    <a:pt x="68" y="52"/>
                  </a:lnTo>
                  <a:lnTo>
                    <a:pt x="59" y="5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 name="Freeform 41"/>
            <p:cNvSpPr>
              <a:spLocks/>
            </p:cNvSpPr>
            <p:nvPr/>
          </p:nvSpPr>
          <p:spPr bwMode="auto">
            <a:xfrm>
              <a:off x="4493" y="2261"/>
              <a:ext cx="5" cy="2"/>
            </a:xfrm>
            <a:custGeom>
              <a:avLst/>
              <a:gdLst/>
              <a:ahLst/>
              <a:cxnLst>
                <a:cxn ang="0">
                  <a:pos x="4" y="0"/>
                </a:cxn>
                <a:cxn ang="0">
                  <a:pos x="3" y="1"/>
                </a:cxn>
                <a:cxn ang="0">
                  <a:pos x="0" y="1"/>
                </a:cxn>
                <a:cxn ang="0">
                  <a:pos x="4" y="0"/>
                </a:cxn>
              </a:cxnLst>
              <a:rect l="0" t="0" r="r" b="b"/>
              <a:pathLst>
                <a:path w="4" h="1">
                  <a:moveTo>
                    <a:pt x="4" y="0"/>
                  </a:moveTo>
                  <a:lnTo>
                    <a:pt x="3" y="1"/>
                  </a:lnTo>
                  <a:lnTo>
                    <a:pt x="0" y="1"/>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5" name="Freeform 42"/>
            <p:cNvSpPr>
              <a:spLocks/>
            </p:cNvSpPr>
            <p:nvPr/>
          </p:nvSpPr>
          <p:spPr bwMode="auto">
            <a:xfrm>
              <a:off x="4262" y="2259"/>
              <a:ext cx="147" cy="168"/>
            </a:xfrm>
            <a:custGeom>
              <a:avLst/>
              <a:gdLst/>
              <a:ahLst/>
              <a:cxnLst>
                <a:cxn ang="0">
                  <a:pos x="74" y="38"/>
                </a:cxn>
                <a:cxn ang="0">
                  <a:pos x="69" y="34"/>
                </a:cxn>
                <a:cxn ang="0">
                  <a:pos x="60" y="25"/>
                </a:cxn>
                <a:cxn ang="0">
                  <a:pos x="53" y="29"/>
                </a:cxn>
                <a:cxn ang="0">
                  <a:pos x="41" y="19"/>
                </a:cxn>
                <a:cxn ang="0">
                  <a:pos x="38" y="12"/>
                </a:cxn>
                <a:cxn ang="0">
                  <a:pos x="26" y="0"/>
                </a:cxn>
                <a:cxn ang="0">
                  <a:pos x="18" y="0"/>
                </a:cxn>
                <a:cxn ang="0">
                  <a:pos x="21" y="22"/>
                </a:cxn>
                <a:cxn ang="0">
                  <a:pos x="15" y="18"/>
                </a:cxn>
                <a:cxn ang="0">
                  <a:pos x="13" y="14"/>
                </a:cxn>
                <a:cxn ang="0">
                  <a:pos x="6" y="28"/>
                </a:cxn>
                <a:cxn ang="0">
                  <a:pos x="0" y="36"/>
                </a:cxn>
                <a:cxn ang="0">
                  <a:pos x="6" y="38"/>
                </a:cxn>
                <a:cxn ang="0">
                  <a:pos x="7" y="49"/>
                </a:cxn>
                <a:cxn ang="0">
                  <a:pos x="19" y="50"/>
                </a:cxn>
                <a:cxn ang="0">
                  <a:pos x="20" y="68"/>
                </a:cxn>
                <a:cxn ang="0">
                  <a:pos x="21" y="86"/>
                </a:cxn>
                <a:cxn ang="0">
                  <a:pos x="36" y="76"/>
                </a:cxn>
                <a:cxn ang="0">
                  <a:pos x="45" y="79"/>
                </a:cxn>
                <a:cxn ang="0">
                  <a:pos x="53" y="77"/>
                </a:cxn>
                <a:cxn ang="0">
                  <a:pos x="60" y="72"/>
                </a:cxn>
                <a:cxn ang="0">
                  <a:pos x="79" y="88"/>
                </a:cxn>
                <a:cxn ang="0">
                  <a:pos x="81" y="101"/>
                </a:cxn>
                <a:cxn ang="0">
                  <a:pos x="96" y="119"/>
                </a:cxn>
                <a:cxn ang="0">
                  <a:pos x="99" y="134"/>
                </a:cxn>
                <a:cxn ang="0">
                  <a:pos x="95" y="144"/>
                </a:cxn>
                <a:cxn ang="0">
                  <a:pos x="108" y="151"/>
                </a:cxn>
                <a:cxn ang="0">
                  <a:pos x="108" y="146"/>
                </a:cxn>
                <a:cxn ang="0">
                  <a:pos x="114" y="142"/>
                </a:cxn>
                <a:cxn ang="0">
                  <a:pos x="120" y="144"/>
                </a:cxn>
                <a:cxn ang="0">
                  <a:pos x="131" y="138"/>
                </a:cxn>
                <a:cxn ang="0">
                  <a:pos x="128" y="124"/>
                </a:cxn>
                <a:cxn ang="0">
                  <a:pos x="123" y="118"/>
                </a:cxn>
                <a:cxn ang="0">
                  <a:pos x="125" y="114"/>
                </a:cxn>
                <a:cxn ang="0">
                  <a:pos x="110" y="102"/>
                </a:cxn>
                <a:cxn ang="0">
                  <a:pos x="103" y="92"/>
                </a:cxn>
                <a:cxn ang="0">
                  <a:pos x="93" y="80"/>
                </a:cxn>
                <a:cxn ang="0">
                  <a:pos x="84" y="68"/>
                </a:cxn>
                <a:cxn ang="0">
                  <a:pos x="63" y="53"/>
                </a:cxn>
                <a:cxn ang="0">
                  <a:pos x="67" y="48"/>
                </a:cxn>
                <a:cxn ang="0">
                  <a:pos x="75" y="46"/>
                </a:cxn>
                <a:cxn ang="0">
                  <a:pos x="74" y="38"/>
                </a:cxn>
              </a:cxnLst>
              <a:rect l="0" t="0" r="r" b="b"/>
              <a:pathLst>
                <a:path w="131" h="151">
                  <a:moveTo>
                    <a:pt x="74" y="38"/>
                  </a:moveTo>
                  <a:lnTo>
                    <a:pt x="69" y="34"/>
                  </a:lnTo>
                  <a:lnTo>
                    <a:pt x="60" y="25"/>
                  </a:lnTo>
                  <a:lnTo>
                    <a:pt x="53" y="29"/>
                  </a:lnTo>
                  <a:lnTo>
                    <a:pt x="41" y="19"/>
                  </a:lnTo>
                  <a:lnTo>
                    <a:pt x="38" y="12"/>
                  </a:lnTo>
                  <a:lnTo>
                    <a:pt x="26" y="0"/>
                  </a:lnTo>
                  <a:lnTo>
                    <a:pt x="18" y="0"/>
                  </a:lnTo>
                  <a:lnTo>
                    <a:pt x="21" y="22"/>
                  </a:lnTo>
                  <a:lnTo>
                    <a:pt x="15" y="18"/>
                  </a:lnTo>
                  <a:lnTo>
                    <a:pt x="13" y="14"/>
                  </a:lnTo>
                  <a:lnTo>
                    <a:pt x="6" y="28"/>
                  </a:lnTo>
                  <a:lnTo>
                    <a:pt x="0" y="36"/>
                  </a:lnTo>
                  <a:lnTo>
                    <a:pt x="6" y="38"/>
                  </a:lnTo>
                  <a:lnTo>
                    <a:pt x="7" y="49"/>
                  </a:lnTo>
                  <a:lnTo>
                    <a:pt x="19" y="50"/>
                  </a:lnTo>
                  <a:lnTo>
                    <a:pt x="20" y="68"/>
                  </a:lnTo>
                  <a:lnTo>
                    <a:pt x="21" y="86"/>
                  </a:lnTo>
                  <a:lnTo>
                    <a:pt x="36" y="76"/>
                  </a:lnTo>
                  <a:lnTo>
                    <a:pt x="45" y="79"/>
                  </a:lnTo>
                  <a:lnTo>
                    <a:pt x="53" y="77"/>
                  </a:lnTo>
                  <a:lnTo>
                    <a:pt x="60" y="72"/>
                  </a:lnTo>
                  <a:lnTo>
                    <a:pt x="79" y="88"/>
                  </a:lnTo>
                  <a:lnTo>
                    <a:pt x="81" y="101"/>
                  </a:lnTo>
                  <a:lnTo>
                    <a:pt x="96" y="119"/>
                  </a:lnTo>
                  <a:lnTo>
                    <a:pt x="99" y="134"/>
                  </a:lnTo>
                  <a:lnTo>
                    <a:pt x="95" y="144"/>
                  </a:lnTo>
                  <a:lnTo>
                    <a:pt x="108" y="151"/>
                  </a:lnTo>
                  <a:lnTo>
                    <a:pt x="108" y="146"/>
                  </a:lnTo>
                  <a:lnTo>
                    <a:pt x="114" y="142"/>
                  </a:lnTo>
                  <a:lnTo>
                    <a:pt x="120" y="144"/>
                  </a:lnTo>
                  <a:lnTo>
                    <a:pt x="131" y="138"/>
                  </a:lnTo>
                  <a:lnTo>
                    <a:pt x="128" y="124"/>
                  </a:lnTo>
                  <a:lnTo>
                    <a:pt x="123" y="118"/>
                  </a:lnTo>
                  <a:lnTo>
                    <a:pt x="125" y="114"/>
                  </a:lnTo>
                  <a:lnTo>
                    <a:pt x="110" y="102"/>
                  </a:lnTo>
                  <a:lnTo>
                    <a:pt x="103" y="92"/>
                  </a:lnTo>
                  <a:lnTo>
                    <a:pt x="93" y="80"/>
                  </a:lnTo>
                  <a:lnTo>
                    <a:pt x="84" y="68"/>
                  </a:lnTo>
                  <a:lnTo>
                    <a:pt x="63" y="53"/>
                  </a:lnTo>
                  <a:lnTo>
                    <a:pt x="67" y="48"/>
                  </a:lnTo>
                  <a:lnTo>
                    <a:pt x="75" y="46"/>
                  </a:lnTo>
                  <a:lnTo>
                    <a:pt x="74" y="3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6" name="Freeform 43"/>
            <p:cNvSpPr>
              <a:spLocks/>
            </p:cNvSpPr>
            <p:nvPr/>
          </p:nvSpPr>
          <p:spPr bwMode="auto">
            <a:xfrm>
              <a:off x="4124" y="2136"/>
              <a:ext cx="154" cy="367"/>
            </a:xfrm>
            <a:custGeom>
              <a:avLst/>
              <a:gdLst/>
              <a:ahLst/>
              <a:cxnLst>
                <a:cxn ang="0">
                  <a:pos x="76" y="81"/>
                </a:cxn>
                <a:cxn ang="0">
                  <a:pos x="74" y="66"/>
                </a:cxn>
                <a:cxn ang="0">
                  <a:pos x="84" y="45"/>
                </a:cxn>
                <a:cxn ang="0">
                  <a:pos x="78" y="16"/>
                </a:cxn>
                <a:cxn ang="0">
                  <a:pos x="58" y="0"/>
                </a:cxn>
                <a:cxn ang="0">
                  <a:pos x="54" y="14"/>
                </a:cxn>
                <a:cxn ang="0">
                  <a:pos x="55" y="25"/>
                </a:cxn>
                <a:cxn ang="0">
                  <a:pos x="29" y="38"/>
                </a:cxn>
                <a:cxn ang="0">
                  <a:pos x="28" y="61"/>
                </a:cxn>
                <a:cxn ang="0">
                  <a:pos x="11" y="82"/>
                </a:cxn>
                <a:cxn ang="0">
                  <a:pos x="10" y="117"/>
                </a:cxn>
                <a:cxn ang="0">
                  <a:pos x="4" y="117"/>
                </a:cxn>
                <a:cxn ang="0">
                  <a:pos x="0" y="132"/>
                </a:cxn>
                <a:cxn ang="0">
                  <a:pos x="11" y="148"/>
                </a:cxn>
                <a:cxn ang="0">
                  <a:pos x="18" y="156"/>
                </a:cxn>
                <a:cxn ang="0">
                  <a:pos x="26" y="156"/>
                </a:cxn>
                <a:cxn ang="0">
                  <a:pos x="26" y="165"/>
                </a:cxn>
                <a:cxn ang="0">
                  <a:pos x="34" y="165"/>
                </a:cxn>
                <a:cxn ang="0">
                  <a:pos x="44" y="194"/>
                </a:cxn>
                <a:cxn ang="0">
                  <a:pos x="43" y="224"/>
                </a:cxn>
                <a:cxn ang="0">
                  <a:pos x="52" y="225"/>
                </a:cxn>
                <a:cxn ang="0">
                  <a:pos x="58" y="226"/>
                </a:cxn>
                <a:cxn ang="0">
                  <a:pos x="61" y="228"/>
                </a:cxn>
                <a:cxn ang="0">
                  <a:pos x="74" y="213"/>
                </a:cxn>
                <a:cxn ang="0">
                  <a:pos x="83" y="201"/>
                </a:cxn>
                <a:cxn ang="0">
                  <a:pos x="96" y="216"/>
                </a:cxn>
                <a:cxn ang="0">
                  <a:pos x="109" y="266"/>
                </a:cxn>
                <a:cxn ang="0">
                  <a:pos x="115" y="274"/>
                </a:cxn>
                <a:cxn ang="0">
                  <a:pos x="122" y="301"/>
                </a:cxn>
                <a:cxn ang="0">
                  <a:pos x="121" y="330"/>
                </a:cxn>
                <a:cxn ang="0">
                  <a:pos x="131" y="314"/>
                </a:cxn>
                <a:cxn ang="0">
                  <a:pos x="131" y="285"/>
                </a:cxn>
                <a:cxn ang="0">
                  <a:pos x="119" y="259"/>
                </a:cxn>
                <a:cxn ang="0">
                  <a:pos x="110" y="237"/>
                </a:cxn>
                <a:cxn ang="0">
                  <a:pos x="116" y="219"/>
                </a:cxn>
                <a:cxn ang="0">
                  <a:pos x="100" y="199"/>
                </a:cxn>
                <a:cxn ang="0">
                  <a:pos x="91" y="180"/>
                </a:cxn>
                <a:cxn ang="0">
                  <a:pos x="109" y="157"/>
                </a:cxn>
                <a:cxn ang="0">
                  <a:pos x="125" y="146"/>
                </a:cxn>
                <a:cxn ang="0">
                  <a:pos x="138" y="124"/>
                </a:cxn>
                <a:cxn ang="0">
                  <a:pos x="122" y="126"/>
                </a:cxn>
                <a:cxn ang="0">
                  <a:pos x="106" y="112"/>
                </a:cxn>
                <a:cxn ang="0">
                  <a:pos x="97" y="93"/>
                </a:cxn>
                <a:cxn ang="0">
                  <a:pos x="92" y="79"/>
                </a:cxn>
              </a:cxnLst>
              <a:rect l="0" t="0" r="r" b="b"/>
              <a:pathLst>
                <a:path w="138" h="330">
                  <a:moveTo>
                    <a:pt x="92" y="79"/>
                  </a:moveTo>
                  <a:lnTo>
                    <a:pt x="76" y="81"/>
                  </a:lnTo>
                  <a:lnTo>
                    <a:pt x="76" y="73"/>
                  </a:lnTo>
                  <a:lnTo>
                    <a:pt x="74" y="66"/>
                  </a:lnTo>
                  <a:lnTo>
                    <a:pt x="82" y="54"/>
                  </a:lnTo>
                  <a:lnTo>
                    <a:pt x="84" y="45"/>
                  </a:lnTo>
                  <a:lnTo>
                    <a:pt x="80" y="31"/>
                  </a:lnTo>
                  <a:lnTo>
                    <a:pt x="78" y="16"/>
                  </a:lnTo>
                  <a:lnTo>
                    <a:pt x="71" y="13"/>
                  </a:lnTo>
                  <a:lnTo>
                    <a:pt x="58" y="0"/>
                  </a:lnTo>
                  <a:lnTo>
                    <a:pt x="56" y="6"/>
                  </a:lnTo>
                  <a:lnTo>
                    <a:pt x="54" y="14"/>
                  </a:lnTo>
                  <a:lnTo>
                    <a:pt x="53" y="19"/>
                  </a:lnTo>
                  <a:lnTo>
                    <a:pt x="55" y="25"/>
                  </a:lnTo>
                  <a:lnTo>
                    <a:pt x="43" y="22"/>
                  </a:lnTo>
                  <a:lnTo>
                    <a:pt x="29" y="38"/>
                  </a:lnTo>
                  <a:lnTo>
                    <a:pt x="29" y="52"/>
                  </a:lnTo>
                  <a:lnTo>
                    <a:pt x="28" y="61"/>
                  </a:lnTo>
                  <a:lnTo>
                    <a:pt x="20" y="82"/>
                  </a:lnTo>
                  <a:lnTo>
                    <a:pt x="11" y="82"/>
                  </a:lnTo>
                  <a:lnTo>
                    <a:pt x="11" y="98"/>
                  </a:lnTo>
                  <a:lnTo>
                    <a:pt x="10" y="117"/>
                  </a:lnTo>
                  <a:lnTo>
                    <a:pt x="5" y="116"/>
                  </a:lnTo>
                  <a:lnTo>
                    <a:pt x="4" y="117"/>
                  </a:lnTo>
                  <a:lnTo>
                    <a:pt x="5" y="128"/>
                  </a:lnTo>
                  <a:lnTo>
                    <a:pt x="0" y="132"/>
                  </a:lnTo>
                  <a:lnTo>
                    <a:pt x="11" y="147"/>
                  </a:lnTo>
                  <a:lnTo>
                    <a:pt x="11" y="148"/>
                  </a:lnTo>
                  <a:lnTo>
                    <a:pt x="14" y="145"/>
                  </a:lnTo>
                  <a:lnTo>
                    <a:pt x="18" y="156"/>
                  </a:lnTo>
                  <a:lnTo>
                    <a:pt x="19" y="156"/>
                  </a:lnTo>
                  <a:lnTo>
                    <a:pt x="26" y="156"/>
                  </a:lnTo>
                  <a:lnTo>
                    <a:pt x="31" y="163"/>
                  </a:lnTo>
                  <a:lnTo>
                    <a:pt x="26" y="165"/>
                  </a:lnTo>
                  <a:lnTo>
                    <a:pt x="31" y="172"/>
                  </a:lnTo>
                  <a:lnTo>
                    <a:pt x="34" y="165"/>
                  </a:lnTo>
                  <a:lnTo>
                    <a:pt x="40" y="180"/>
                  </a:lnTo>
                  <a:lnTo>
                    <a:pt x="44" y="194"/>
                  </a:lnTo>
                  <a:lnTo>
                    <a:pt x="44" y="208"/>
                  </a:lnTo>
                  <a:lnTo>
                    <a:pt x="43" y="224"/>
                  </a:lnTo>
                  <a:lnTo>
                    <a:pt x="49" y="216"/>
                  </a:lnTo>
                  <a:lnTo>
                    <a:pt x="52" y="225"/>
                  </a:lnTo>
                  <a:lnTo>
                    <a:pt x="54" y="228"/>
                  </a:lnTo>
                  <a:lnTo>
                    <a:pt x="58" y="226"/>
                  </a:lnTo>
                  <a:lnTo>
                    <a:pt x="61" y="225"/>
                  </a:lnTo>
                  <a:lnTo>
                    <a:pt x="61" y="228"/>
                  </a:lnTo>
                  <a:lnTo>
                    <a:pt x="72" y="218"/>
                  </a:lnTo>
                  <a:lnTo>
                    <a:pt x="74" y="213"/>
                  </a:lnTo>
                  <a:lnTo>
                    <a:pt x="78" y="216"/>
                  </a:lnTo>
                  <a:lnTo>
                    <a:pt x="83" y="201"/>
                  </a:lnTo>
                  <a:lnTo>
                    <a:pt x="89" y="210"/>
                  </a:lnTo>
                  <a:lnTo>
                    <a:pt x="96" y="216"/>
                  </a:lnTo>
                  <a:lnTo>
                    <a:pt x="103" y="241"/>
                  </a:lnTo>
                  <a:lnTo>
                    <a:pt x="109" y="266"/>
                  </a:lnTo>
                  <a:lnTo>
                    <a:pt x="110" y="261"/>
                  </a:lnTo>
                  <a:lnTo>
                    <a:pt x="115" y="274"/>
                  </a:lnTo>
                  <a:lnTo>
                    <a:pt x="120" y="288"/>
                  </a:lnTo>
                  <a:lnTo>
                    <a:pt x="122" y="301"/>
                  </a:lnTo>
                  <a:lnTo>
                    <a:pt x="122" y="316"/>
                  </a:lnTo>
                  <a:lnTo>
                    <a:pt x="121" y="330"/>
                  </a:lnTo>
                  <a:lnTo>
                    <a:pt x="125" y="326"/>
                  </a:lnTo>
                  <a:lnTo>
                    <a:pt x="131" y="314"/>
                  </a:lnTo>
                  <a:lnTo>
                    <a:pt x="136" y="303"/>
                  </a:lnTo>
                  <a:lnTo>
                    <a:pt x="131" y="285"/>
                  </a:lnTo>
                  <a:lnTo>
                    <a:pt x="127" y="270"/>
                  </a:lnTo>
                  <a:lnTo>
                    <a:pt x="119" y="259"/>
                  </a:lnTo>
                  <a:lnTo>
                    <a:pt x="110" y="248"/>
                  </a:lnTo>
                  <a:lnTo>
                    <a:pt x="110" y="237"/>
                  </a:lnTo>
                  <a:lnTo>
                    <a:pt x="113" y="230"/>
                  </a:lnTo>
                  <a:lnTo>
                    <a:pt x="116" y="219"/>
                  </a:lnTo>
                  <a:lnTo>
                    <a:pt x="113" y="218"/>
                  </a:lnTo>
                  <a:lnTo>
                    <a:pt x="100" y="199"/>
                  </a:lnTo>
                  <a:lnTo>
                    <a:pt x="86" y="178"/>
                  </a:lnTo>
                  <a:lnTo>
                    <a:pt x="91" y="180"/>
                  </a:lnTo>
                  <a:lnTo>
                    <a:pt x="95" y="159"/>
                  </a:lnTo>
                  <a:lnTo>
                    <a:pt x="109" y="157"/>
                  </a:lnTo>
                  <a:lnTo>
                    <a:pt x="116" y="148"/>
                  </a:lnTo>
                  <a:lnTo>
                    <a:pt x="125" y="146"/>
                  </a:lnTo>
                  <a:lnTo>
                    <a:pt x="131" y="138"/>
                  </a:lnTo>
                  <a:lnTo>
                    <a:pt x="138" y="124"/>
                  </a:lnTo>
                  <a:lnTo>
                    <a:pt x="133" y="122"/>
                  </a:lnTo>
                  <a:lnTo>
                    <a:pt x="122" y="126"/>
                  </a:lnTo>
                  <a:lnTo>
                    <a:pt x="114" y="116"/>
                  </a:lnTo>
                  <a:lnTo>
                    <a:pt x="106" y="112"/>
                  </a:lnTo>
                  <a:lnTo>
                    <a:pt x="108" y="98"/>
                  </a:lnTo>
                  <a:lnTo>
                    <a:pt x="97" y="93"/>
                  </a:lnTo>
                  <a:lnTo>
                    <a:pt x="94" y="81"/>
                  </a:lnTo>
                  <a:lnTo>
                    <a:pt x="92" y="7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7" name="Freeform 44"/>
            <p:cNvSpPr>
              <a:spLocks/>
            </p:cNvSpPr>
            <p:nvPr/>
          </p:nvSpPr>
          <p:spPr bwMode="auto">
            <a:xfrm>
              <a:off x="4620" y="2334"/>
              <a:ext cx="82" cy="120"/>
            </a:xfrm>
            <a:custGeom>
              <a:avLst/>
              <a:gdLst/>
              <a:ahLst/>
              <a:cxnLst>
                <a:cxn ang="0">
                  <a:pos x="15" y="69"/>
                </a:cxn>
                <a:cxn ang="0">
                  <a:pos x="15" y="76"/>
                </a:cxn>
                <a:cxn ang="0">
                  <a:pos x="4" y="58"/>
                </a:cxn>
                <a:cxn ang="0">
                  <a:pos x="0" y="43"/>
                </a:cxn>
                <a:cxn ang="0">
                  <a:pos x="9" y="45"/>
                </a:cxn>
                <a:cxn ang="0">
                  <a:pos x="6" y="27"/>
                </a:cxn>
                <a:cxn ang="0">
                  <a:pos x="5" y="7"/>
                </a:cxn>
                <a:cxn ang="0">
                  <a:pos x="9" y="0"/>
                </a:cxn>
                <a:cxn ang="0">
                  <a:pos x="29" y="5"/>
                </a:cxn>
                <a:cxn ang="0">
                  <a:pos x="31" y="9"/>
                </a:cxn>
                <a:cxn ang="0">
                  <a:pos x="36" y="23"/>
                </a:cxn>
                <a:cxn ang="0">
                  <a:pos x="39" y="34"/>
                </a:cxn>
                <a:cxn ang="0">
                  <a:pos x="35" y="45"/>
                </a:cxn>
                <a:cxn ang="0">
                  <a:pos x="29" y="52"/>
                </a:cxn>
                <a:cxn ang="0">
                  <a:pos x="29" y="65"/>
                </a:cxn>
                <a:cxn ang="0">
                  <a:pos x="39" y="84"/>
                </a:cxn>
                <a:cxn ang="0">
                  <a:pos x="43" y="83"/>
                </a:cxn>
                <a:cxn ang="0">
                  <a:pos x="45" y="81"/>
                </a:cxn>
                <a:cxn ang="0">
                  <a:pos x="53" y="78"/>
                </a:cxn>
                <a:cxn ang="0">
                  <a:pos x="60" y="88"/>
                </a:cxn>
                <a:cxn ang="0">
                  <a:pos x="61" y="84"/>
                </a:cxn>
                <a:cxn ang="0">
                  <a:pos x="69" y="89"/>
                </a:cxn>
                <a:cxn ang="0">
                  <a:pos x="65" y="91"/>
                </a:cxn>
                <a:cxn ang="0">
                  <a:pos x="72" y="100"/>
                </a:cxn>
                <a:cxn ang="0">
                  <a:pos x="76" y="101"/>
                </a:cxn>
                <a:cxn ang="0">
                  <a:pos x="72" y="108"/>
                </a:cxn>
                <a:cxn ang="0">
                  <a:pos x="72" y="103"/>
                </a:cxn>
                <a:cxn ang="0">
                  <a:pos x="61" y="97"/>
                </a:cxn>
                <a:cxn ang="0">
                  <a:pos x="54" y="89"/>
                </a:cxn>
                <a:cxn ang="0">
                  <a:pos x="48" y="87"/>
                </a:cxn>
                <a:cxn ang="0">
                  <a:pos x="51" y="99"/>
                </a:cxn>
                <a:cxn ang="0">
                  <a:pos x="35" y="85"/>
                </a:cxn>
                <a:cxn ang="0">
                  <a:pos x="25" y="90"/>
                </a:cxn>
                <a:cxn ang="0">
                  <a:pos x="18" y="87"/>
                </a:cxn>
                <a:cxn ang="0">
                  <a:pos x="18" y="78"/>
                </a:cxn>
                <a:cxn ang="0">
                  <a:pos x="21" y="71"/>
                </a:cxn>
                <a:cxn ang="0">
                  <a:pos x="15" y="69"/>
                </a:cxn>
              </a:cxnLst>
              <a:rect l="0" t="0" r="r" b="b"/>
              <a:pathLst>
                <a:path w="76" h="108">
                  <a:moveTo>
                    <a:pt x="15" y="69"/>
                  </a:moveTo>
                  <a:lnTo>
                    <a:pt x="15" y="76"/>
                  </a:lnTo>
                  <a:lnTo>
                    <a:pt x="4" y="58"/>
                  </a:lnTo>
                  <a:lnTo>
                    <a:pt x="0" y="43"/>
                  </a:lnTo>
                  <a:lnTo>
                    <a:pt x="9" y="45"/>
                  </a:lnTo>
                  <a:lnTo>
                    <a:pt x="6" y="27"/>
                  </a:lnTo>
                  <a:lnTo>
                    <a:pt x="5" y="7"/>
                  </a:lnTo>
                  <a:lnTo>
                    <a:pt x="9" y="0"/>
                  </a:lnTo>
                  <a:lnTo>
                    <a:pt x="29" y="5"/>
                  </a:lnTo>
                  <a:lnTo>
                    <a:pt x="31" y="9"/>
                  </a:lnTo>
                  <a:lnTo>
                    <a:pt x="36" y="23"/>
                  </a:lnTo>
                  <a:lnTo>
                    <a:pt x="39" y="34"/>
                  </a:lnTo>
                  <a:lnTo>
                    <a:pt x="35" y="45"/>
                  </a:lnTo>
                  <a:lnTo>
                    <a:pt x="29" y="52"/>
                  </a:lnTo>
                  <a:lnTo>
                    <a:pt x="29" y="65"/>
                  </a:lnTo>
                  <a:lnTo>
                    <a:pt x="39" y="84"/>
                  </a:lnTo>
                  <a:lnTo>
                    <a:pt x="43" y="83"/>
                  </a:lnTo>
                  <a:lnTo>
                    <a:pt x="45" y="81"/>
                  </a:lnTo>
                  <a:lnTo>
                    <a:pt x="53" y="78"/>
                  </a:lnTo>
                  <a:lnTo>
                    <a:pt x="60" y="88"/>
                  </a:lnTo>
                  <a:lnTo>
                    <a:pt x="61" y="84"/>
                  </a:lnTo>
                  <a:lnTo>
                    <a:pt x="69" y="89"/>
                  </a:lnTo>
                  <a:lnTo>
                    <a:pt x="65" y="91"/>
                  </a:lnTo>
                  <a:lnTo>
                    <a:pt x="72" y="100"/>
                  </a:lnTo>
                  <a:lnTo>
                    <a:pt x="76" y="101"/>
                  </a:lnTo>
                  <a:lnTo>
                    <a:pt x="72" y="108"/>
                  </a:lnTo>
                  <a:lnTo>
                    <a:pt x="72" y="103"/>
                  </a:lnTo>
                  <a:lnTo>
                    <a:pt x="61" y="97"/>
                  </a:lnTo>
                  <a:lnTo>
                    <a:pt x="54" y="89"/>
                  </a:lnTo>
                  <a:lnTo>
                    <a:pt x="48" y="87"/>
                  </a:lnTo>
                  <a:lnTo>
                    <a:pt x="51" y="99"/>
                  </a:lnTo>
                  <a:lnTo>
                    <a:pt x="35" y="85"/>
                  </a:lnTo>
                  <a:lnTo>
                    <a:pt x="25" y="90"/>
                  </a:lnTo>
                  <a:lnTo>
                    <a:pt x="18" y="87"/>
                  </a:lnTo>
                  <a:lnTo>
                    <a:pt x="18" y="78"/>
                  </a:lnTo>
                  <a:lnTo>
                    <a:pt x="21" y="71"/>
                  </a:lnTo>
                  <a:lnTo>
                    <a:pt x="15" y="6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8" name="Freeform 45"/>
            <p:cNvSpPr>
              <a:spLocks/>
            </p:cNvSpPr>
            <p:nvPr/>
          </p:nvSpPr>
          <p:spPr bwMode="auto">
            <a:xfrm>
              <a:off x="4675" y="2512"/>
              <a:ext cx="80" cy="82"/>
            </a:xfrm>
            <a:custGeom>
              <a:avLst/>
              <a:gdLst/>
              <a:ahLst/>
              <a:cxnLst>
                <a:cxn ang="0">
                  <a:pos x="56" y="73"/>
                </a:cxn>
                <a:cxn ang="0">
                  <a:pos x="54" y="66"/>
                </a:cxn>
                <a:cxn ang="0">
                  <a:pos x="51" y="68"/>
                </a:cxn>
                <a:cxn ang="0">
                  <a:pos x="33" y="58"/>
                </a:cxn>
                <a:cxn ang="0">
                  <a:pos x="36" y="43"/>
                </a:cxn>
                <a:cxn ang="0">
                  <a:pos x="26" y="34"/>
                </a:cxn>
                <a:cxn ang="0">
                  <a:pos x="22" y="38"/>
                </a:cxn>
                <a:cxn ang="0">
                  <a:pos x="19" y="37"/>
                </a:cxn>
                <a:cxn ang="0">
                  <a:pos x="16" y="40"/>
                </a:cxn>
                <a:cxn ang="0">
                  <a:pos x="12" y="35"/>
                </a:cxn>
                <a:cxn ang="0">
                  <a:pos x="4" y="44"/>
                </a:cxn>
                <a:cxn ang="0">
                  <a:pos x="0" y="49"/>
                </a:cxn>
                <a:cxn ang="0">
                  <a:pos x="2" y="36"/>
                </a:cxn>
                <a:cxn ang="0">
                  <a:pos x="14" y="25"/>
                </a:cxn>
                <a:cxn ang="0">
                  <a:pos x="24" y="19"/>
                </a:cxn>
                <a:cxn ang="0">
                  <a:pos x="27" y="29"/>
                </a:cxn>
                <a:cxn ang="0">
                  <a:pos x="34" y="25"/>
                </a:cxn>
                <a:cxn ang="0">
                  <a:pos x="39" y="22"/>
                </a:cxn>
                <a:cxn ang="0">
                  <a:pos x="42" y="13"/>
                </a:cxn>
                <a:cxn ang="0">
                  <a:pos x="49" y="13"/>
                </a:cxn>
                <a:cxn ang="0">
                  <a:pos x="52" y="13"/>
                </a:cxn>
                <a:cxn ang="0">
                  <a:pos x="51" y="0"/>
                </a:cxn>
                <a:cxn ang="0">
                  <a:pos x="63" y="8"/>
                </a:cxn>
                <a:cxn ang="0">
                  <a:pos x="66" y="22"/>
                </a:cxn>
                <a:cxn ang="0">
                  <a:pos x="73" y="43"/>
                </a:cxn>
                <a:cxn ang="0">
                  <a:pos x="69" y="52"/>
                </a:cxn>
                <a:cxn ang="0">
                  <a:pos x="68" y="59"/>
                </a:cxn>
                <a:cxn ang="0">
                  <a:pos x="61" y="44"/>
                </a:cxn>
                <a:cxn ang="0">
                  <a:pos x="56" y="48"/>
                </a:cxn>
                <a:cxn ang="0">
                  <a:pos x="58" y="60"/>
                </a:cxn>
                <a:cxn ang="0">
                  <a:pos x="56" y="73"/>
                </a:cxn>
              </a:cxnLst>
              <a:rect l="0" t="0" r="r" b="b"/>
              <a:pathLst>
                <a:path w="73" h="73">
                  <a:moveTo>
                    <a:pt x="56" y="73"/>
                  </a:moveTo>
                  <a:lnTo>
                    <a:pt x="54" y="66"/>
                  </a:lnTo>
                  <a:lnTo>
                    <a:pt x="51" y="68"/>
                  </a:lnTo>
                  <a:lnTo>
                    <a:pt x="33" y="58"/>
                  </a:lnTo>
                  <a:lnTo>
                    <a:pt x="36" y="43"/>
                  </a:lnTo>
                  <a:lnTo>
                    <a:pt x="26" y="34"/>
                  </a:lnTo>
                  <a:lnTo>
                    <a:pt x="22" y="38"/>
                  </a:lnTo>
                  <a:lnTo>
                    <a:pt x="19" y="37"/>
                  </a:lnTo>
                  <a:lnTo>
                    <a:pt x="16" y="40"/>
                  </a:lnTo>
                  <a:lnTo>
                    <a:pt x="12" y="35"/>
                  </a:lnTo>
                  <a:lnTo>
                    <a:pt x="4" y="44"/>
                  </a:lnTo>
                  <a:lnTo>
                    <a:pt x="0" y="49"/>
                  </a:lnTo>
                  <a:lnTo>
                    <a:pt x="2" y="36"/>
                  </a:lnTo>
                  <a:lnTo>
                    <a:pt x="14" y="25"/>
                  </a:lnTo>
                  <a:lnTo>
                    <a:pt x="24" y="19"/>
                  </a:lnTo>
                  <a:lnTo>
                    <a:pt x="27" y="29"/>
                  </a:lnTo>
                  <a:lnTo>
                    <a:pt x="34" y="25"/>
                  </a:lnTo>
                  <a:lnTo>
                    <a:pt x="39" y="22"/>
                  </a:lnTo>
                  <a:lnTo>
                    <a:pt x="42" y="13"/>
                  </a:lnTo>
                  <a:lnTo>
                    <a:pt x="49" y="13"/>
                  </a:lnTo>
                  <a:lnTo>
                    <a:pt x="52" y="13"/>
                  </a:lnTo>
                  <a:lnTo>
                    <a:pt x="51" y="0"/>
                  </a:lnTo>
                  <a:lnTo>
                    <a:pt x="63" y="8"/>
                  </a:lnTo>
                  <a:lnTo>
                    <a:pt x="66" y="22"/>
                  </a:lnTo>
                  <a:lnTo>
                    <a:pt x="73" y="43"/>
                  </a:lnTo>
                  <a:lnTo>
                    <a:pt x="69" y="52"/>
                  </a:lnTo>
                  <a:lnTo>
                    <a:pt x="68" y="59"/>
                  </a:lnTo>
                  <a:lnTo>
                    <a:pt x="61" y="44"/>
                  </a:lnTo>
                  <a:lnTo>
                    <a:pt x="56" y="48"/>
                  </a:lnTo>
                  <a:lnTo>
                    <a:pt x="58" y="60"/>
                  </a:lnTo>
                  <a:lnTo>
                    <a:pt x="56" y="7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9" name="Freeform 46"/>
            <p:cNvSpPr>
              <a:spLocks/>
            </p:cNvSpPr>
            <p:nvPr/>
          </p:nvSpPr>
          <p:spPr bwMode="auto">
            <a:xfrm>
              <a:off x="4680" y="2490"/>
              <a:ext cx="17" cy="33"/>
            </a:xfrm>
            <a:custGeom>
              <a:avLst/>
              <a:gdLst/>
              <a:ahLst/>
              <a:cxnLst>
                <a:cxn ang="0">
                  <a:pos x="16" y="0"/>
                </a:cxn>
                <a:cxn ang="0">
                  <a:pos x="12" y="22"/>
                </a:cxn>
                <a:cxn ang="0">
                  <a:pos x="12" y="31"/>
                </a:cxn>
                <a:cxn ang="0">
                  <a:pos x="0" y="20"/>
                </a:cxn>
                <a:cxn ang="0">
                  <a:pos x="4" y="15"/>
                </a:cxn>
                <a:cxn ang="0">
                  <a:pos x="6" y="0"/>
                </a:cxn>
                <a:cxn ang="0">
                  <a:pos x="16" y="0"/>
                </a:cxn>
              </a:cxnLst>
              <a:rect l="0" t="0" r="r" b="b"/>
              <a:pathLst>
                <a:path w="16" h="31">
                  <a:moveTo>
                    <a:pt x="16" y="0"/>
                  </a:moveTo>
                  <a:lnTo>
                    <a:pt x="12" y="22"/>
                  </a:lnTo>
                  <a:lnTo>
                    <a:pt x="12" y="31"/>
                  </a:lnTo>
                  <a:lnTo>
                    <a:pt x="0" y="20"/>
                  </a:lnTo>
                  <a:lnTo>
                    <a:pt x="4" y="15"/>
                  </a:lnTo>
                  <a:lnTo>
                    <a:pt x="6" y="0"/>
                  </a:lnTo>
                  <a:lnTo>
                    <a:pt x="1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0" name="Freeform 47"/>
            <p:cNvSpPr>
              <a:spLocks/>
            </p:cNvSpPr>
            <p:nvPr/>
          </p:nvSpPr>
          <p:spPr bwMode="auto">
            <a:xfrm>
              <a:off x="4706" y="2454"/>
              <a:ext cx="29" cy="31"/>
            </a:xfrm>
            <a:custGeom>
              <a:avLst/>
              <a:gdLst/>
              <a:ahLst/>
              <a:cxnLst>
                <a:cxn ang="0">
                  <a:pos x="20" y="27"/>
                </a:cxn>
                <a:cxn ang="0">
                  <a:pos x="12" y="18"/>
                </a:cxn>
                <a:cxn ang="0">
                  <a:pos x="0" y="3"/>
                </a:cxn>
                <a:cxn ang="0">
                  <a:pos x="14" y="0"/>
                </a:cxn>
                <a:cxn ang="0">
                  <a:pos x="20" y="11"/>
                </a:cxn>
                <a:cxn ang="0">
                  <a:pos x="27" y="28"/>
                </a:cxn>
                <a:cxn ang="0">
                  <a:pos x="20" y="27"/>
                </a:cxn>
              </a:cxnLst>
              <a:rect l="0" t="0" r="r" b="b"/>
              <a:pathLst>
                <a:path w="27" h="28">
                  <a:moveTo>
                    <a:pt x="20" y="27"/>
                  </a:moveTo>
                  <a:lnTo>
                    <a:pt x="12" y="18"/>
                  </a:lnTo>
                  <a:lnTo>
                    <a:pt x="0" y="3"/>
                  </a:lnTo>
                  <a:lnTo>
                    <a:pt x="14" y="0"/>
                  </a:lnTo>
                  <a:lnTo>
                    <a:pt x="20" y="11"/>
                  </a:lnTo>
                  <a:lnTo>
                    <a:pt x="27" y="28"/>
                  </a:lnTo>
                  <a:lnTo>
                    <a:pt x="20"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1" name="Freeform 48"/>
            <p:cNvSpPr>
              <a:spLocks/>
            </p:cNvSpPr>
            <p:nvPr/>
          </p:nvSpPr>
          <p:spPr bwMode="auto">
            <a:xfrm>
              <a:off x="4666" y="2470"/>
              <a:ext cx="23" cy="26"/>
            </a:xfrm>
            <a:custGeom>
              <a:avLst/>
              <a:gdLst/>
              <a:ahLst/>
              <a:cxnLst>
                <a:cxn ang="0">
                  <a:pos x="20" y="4"/>
                </a:cxn>
                <a:cxn ang="0">
                  <a:pos x="3" y="0"/>
                </a:cxn>
                <a:cxn ang="0">
                  <a:pos x="0" y="1"/>
                </a:cxn>
                <a:cxn ang="0">
                  <a:pos x="5" y="24"/>
                </a:cxn>
                <a:cxn ang="0">
                  <a:pos x="20" y="9"/>
                </a:cxn>
                <a:cxn ang="0">
                  <a:pos x="21" y="8"/>
                </a:cxn>
                <a:cxn ang="0">
                  <a:pos x="20" y="4"/>
                </a:cxn>
              </a:cxnLst>
              <a:rect l="0" t="0" r="r" b="b"/>
              <a:pathLst>
                <a:path w="21" h="24">
                  <a:moveTo>
                    <a:pt x="20" y="4"/>
                  </a:moveTo>
                  <a:lnTo>
                    <a:pt x="3" y="0"/>
                  </a:lnTo>
                  <a:lnTo>
                    <a:pt x="0" y="1"/>
                  </a:lnTo>
                  <a:lnTo>
                    <a:pt x="5" y="24"/>
                  </a:lnTo>
                  <a:lnTo>
                    <a:pt x="20" y="9"/>
                  </a:lnTo>
                  <a:lnTo>
                    <a:pt x="21" y="8"/>
                  </a:lnTo>
                  <a:lnTo>
                    <a:pt x="20"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2" name="Freeform 49"/>
            <p:cNvSpPr>
              <a:spLocks/>
            </p:cNvSpPr>
            <p:nvPr/>
          </p:nvSpPr>
          <p:spPr bwMode="auto">
            <a:xfrm>
              <a:off x="4589" y="2481"/>
              <a:ext cx="42" cy="55"/>
            </a:xfrm>
            <a:custGeom>
              <a:avLst/>
              <a:gdLst/>
              <a:ahLst/>
              <a:cxnLst>
                <a:cxn ang="0">
                  <a:pos x="37" y="15"/>
                </a:cxn>
                <a:cxn ang="0">
                  <a:pos x="23" y="29"/>
                </a:cxn>
                <a:cxn ang="0">
                  <a:pos x="12" y="40"/>
                </a:cxn>
                <a:cxn ang="0">
                  <a:pos x="0" y="52"/>
                </a:cxn>
                <a:cxn ang="0">
                  <a:pos x="1" y="48"/>
                </a:cxn>
                <a:cxn ang="0">
                  <a:pos x="13" y="34"/>
                </a:cxn>
                <a:cxn ang="0">
                  <a:pos x="24" y="21"/>
                </a:cxn>
                <a:cxn ang="0">
                  <a:pos x="29" y="9"/>
                </a:cxn>
                <a:cxn ang="0">
                  <a:pos x="30" y="9"/>
                </a:cxn>
                <a:cxn ang="0">
                  <a:pos x="31" y="0"/>
                </a:cxn>
                <a:cxn ang="0">
                  <a:pos x="37" y="15"/>
                </a:cxn>
              </a:cxnLst>
              <a:rect l="0" t="0" r="r" b="b"/>
              <a:pathLst>
                <a:path w="37" h="52">
                  <a:moveTo>
                    <a:pt x="37" y="15"/>
                  </a:moveTo>
                  <a:lnTo>
                    <a:pt x="23" y="29"/>
                  </a:lnTo>
                  <a:lnTo>
                    <a:pt x="12" y="40"/>
                  </a:lnTo>
                  <a:lnTo>
                    <a:pt x="0" y="52"/>
                  </a:lnTo>
                  <a:lnTo>
                    <a:pt x="1" y="48"/>
                  </a:lnTo>
                  <a:lnTo>
                    <a:pt x="13" y="34"/>
                  </a:lnTo>
                  <a:lnTo>
                    <a:pt x="24" y="21"/>
                  </a:lnTo>
                  <a:lnTo>
                    <a:pt x="29" y="9"/>
                  </a:lnTo>
                  <a:lnTo>
                    <a:pt x="30" y="9"/>
                  </a:lnTo>
                  <a:lnTo>
                    <a:pt x="31" y="0"/>
                  </a:lnTo>
                  <a:lnTo>
                    <a:pt x="37" y="1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3" name="Freeform 50"/>
            <p:cNvSpPr>
              <a:spLocks/>
            </p:cNvSpPr>
            <p:nvPr/>
          </p:nvSpPr>
          <p:spPr bwMode="auto">
            <a:xfrm>
              <a:off x="4633" y="2436"/>
              <a:ext cx="24" cy="25"/>
            </a:xfrm>
            <a:custGeom>
              <a:avLst/>
              <a:gdLst/>
              <a:ahLst/>
              <a:cxnLst>
                <a:cxn ang="0">
                  <a:pos x="22" y="14"/>
                </a:cxn>
                <a:cxn ang="0">
                  <a:pos x="18" y="20"/>
                </a:cxn>
                <a:cxn ang="0">
                  <a:pos x="10" y="11"/>
                </a:cxn>
                <a:cxn ang="0">
                  <a:pos x="0" y="0"/>
                </a:cxn>
                <a:cxn ang="0">
                  <a:pos x="17" y="2"/>
                </a:cxn>
                <a:cxn ang="0">
                  <a:pos x="22" y="14"/>
                </a:cxn>
              </a:cxnLst>
              <a:rect l="0" t="0" r="r" b="b"/>
              <a:pathLst>
                <a:path w="22" h="20">
                  <a:moveTo>
                    <a:pt x="22" y="14"/>
                  </a:moveTo>
                  <a:lnTo>
                    <a:pt x="18" y="20"/>
                  </a:lnTo>
                  <a:lnTo>
                    <a:pt x="10" y="11"/>
                  </a:lnTo>
                  <a:lnTo>
                    <a:pt x="0" y="0"/>
                  </a:lnTo>
                  <a:lnTo>
                    <a:pt x="17" y="2"/>
                  </a:lnTo>
                  <a:lnTo>
                    <a:pt x="22" y="1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4" name="Freeform 51"/>
            <p:cNvSpPr>
              <a:spLocks/>
            </p:cNvSpPr>
            <p:nvPr/>
          </p:nvSpPr>
          <p:spPr bwMode="auto">
            <a:xfrm>
              <a:off x="4711" y="2476"/>
              <a:ext cx="18" cy="27"/>
            </a:xfrm>
            <a:custGeom>
              <a:avLst/>
              <a:gdLst/>
              <a:ahLst/>
              <a:cxnLst>
                <a:cxn ang="0">
                  <a:pos x="10" y="4"/>
                </a:cxn>
                <a:cxn ang="0">
                  <a:pos x="16" y="21"/>
                </a:cxn>
                <a:cxn ang="0">
                  <a:pos x="12" y="22"/>
                </a:cxn>
                <a:cxn ang="0">
                  <a:pos x="11" y="25"/>
                </a:cxn>
                <a:cxn ang="0">
                  <a:pos x="4" y="10"/>
                </a:cxn>
                <a:cxn ang="0">
                  <a:pos x="0" y="0"/>
                </a:cxn>
                <a:cxn ang="0">
                  <a:pos x="10" y="4"/>
                </a:cxn>
              </a:cxnLst>
              <a:rect l="0" t="0" r="r" b="b"/>
              <a:pathLst>
                <a:path w="16" h="25">
                  <a:moveTo>
                    <a:pt x="10" y="4"/>
                  </a:moveTo>
                  <a:lnTo>
                    <a:pt x="16" y="21"/>
                  </a:lnTo>
                  <a:lnTo>
                    <a:pt x="12" y="22"/>
                  </a:lnTo>
                  <a:lnTo>
                    <a:pt x="11" y="25"/>
                  </a:lnTo>
                  <a:lnTo>
                    <a:pt x="4" y="10"/>
                  </a:lnTo>
                  <a:lnTo>
                    <a:pt x="0" y="0"/>
                  </a:lnTo>
                  <a:lnTo>
                    <a:pt x="10"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5" name="Freeform 52"/>
            <p:cNvSpPr>
              <a:spLocks/>
            </p:cNvSpPr>
            <p:nvPr/>
          </p:nvSpPr>
          <p:spPr bwMode="auto">
            <a:xfrm>
              <a:off x="4689" y="2456"/>
              <a:ext cx="15" cy="16"/>
            </a:xfrm>
            <a:custGeom>
              <a:avLst/>
              <a:gdLst/>
              <a:ahLst/>
              <a:cxnLst>
                <a:cxn ang="0">
                  <a:pos x="14" y="13"/>
                </a:cxn>
                <a:cxn ang="0">
                  <a:pos x="2" y="6"/>
                </a:cxn>
                <a:cxn ang="0">
                  <a:pos x="0" y="7"/>
                </a:cxn>
                <a:cxn ang="0">
                  <a:pos x="1" y="0"/>
                </a:cxn>
                <a:cxn ang="0">
                  <a:pos x="14" y="11"/>
                </a:cxn>
                <a:cxn ang="0">
                  <a:pos x="14" y="13"/>
                </a:cxn>
              </a:cxnLst>
              <a:rect l="0" t="0" r="r" b="b"/>
              <a:pathLst>
                <a:path w="14" h="13">
                  <a:moveTo>
                    <a:pt x="14" y="13"/>
                  </a:moveTo>
                  <a:lnTo>
                    <a:pt x="2" y="6"/>
                  </a:lnTo>
                  <a:lnTo>
                    <a:pt x="0" y="7"/>
                  </a:lnTo>
                  <a:lnTo>
                    <a:pt x="1" y="0"/>
                  </a:lnTo>
                  <a:lnTo>
                    <a:pt x="14" y="11"/>
                  </a:lnTo>
                  <a:lnTo>
                    <a:pt x="14"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6" name="Freeform 53"/>
            <p:cNvSpPr>
              <a:spLocks/>
            </p:cNvSpPr>
            <p:nvPr/>
          </p:nvSpPr>
          <p:spPr bwMode="auto">
            <a:xfrm>
              <a:off x="4704" y="2503"/>
              <a:ext cx="13" cy="7"/>
            </a:xfrm>
            <a:custGeom>
              <a:avLst/>
              <a:gdLst/>
              <a:ahLst/>
              <a:cxnLst>
                <a:cxn ang="0">
                  <a:pos x="12" y="6"/>
                </a:cxn>
                <a:cxn ang="0">
                  <a:pos x="10" y="0"/>
                </a:cxn>
                <a:cxn ang="0">
                  <a:pos x="0" y="6"/>
                </a:cxn>
                <a:cxn ang="0">
                  <a:pos x="12" y="6"/>
                </a:cxn>
              </a:cxnLst>
              <a:rect l="0" t="0" r="r" b="b"/>
              <a:pathLst>
                <a:path w="12" h="6">
                  <a:moveTo>
                    <a:pt x="12" y="6"/>
                  </a:moveTo>
                  <a:lnTo>
                    <a:pt x="10" y="0"/>
                  </a:lnTo>
                  <a:lnTo>
                    <a:pt x="0" y="6"/>
                  </a:lnTo>
                  <a:lnTo>
                    <a:pt x="12"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7" name="Freeform 54"/>
            <p:cNvSpPr>
              <a:spLocks/>
            </p:cNvSpPr>
            <p:nvPr/>
          </p:nvSpPr>
          <p:spPr bwMode="auto">
            <a:xfrm>
              <a:off x="4695" y="2481"/>
              <a:ext cx="11" cy="35"/>
            </a:xfrm>
            <a:custGeom>
              <a:avLst/>
              <a:gdLst/>
              <a:ahLst/>
              <a:cxnLst>
                <a:cxn ang="0">
                  <a:pos x="8" y="0"/>
                </a:cxn>
                <a:cxn ang="0">
                  <a:pos x="8" y="9"/>
                </a:cxn>
                <a:cxn ang="0">
                  <a:pos x="5" y="21"/>
                </a:cxn>
                <a:cxn ang="0">
                  <a:pos x="0" y="33"/>
                </a:cxn>
                <a:cxn ang="0">
                  <a:pos x="5" y="16"/>
                </a:cxn>
                <a:cxn ang="0">
                  <a:pos x="8" y="0"/>
                </a:cxn>
              </a:cxnLst>
              <a:rect l="0" t="0" r="r" b="b"/>
              <a:pathLst>
                <a:path w="8" h="33">
                  <a:moveTo>
                    <a:pt x="8" y="0"/>
                  </a:moveTo>
                  <a:lnTo>
                    <a:pt x="8" y="9"/>
                  </a:lnTo>
                  <a:lnTo>
                    <a:pt x="5" y="21"/>
                  </a:lnTo>
                  <a:lnTo>
                    <a:pt x="0" y="33"/>
                  </a:lnTo>
                  <a:lnTo>
                    <a:pt x="5" y="16"/>
                  </a:lnTo>
                  <a:lnTo>
                    <a:pt x="8"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8" name="Freeform 55"/>
            <p:cNvSpPr>
              <a:spLocks/>
            </p:cNvSpPr>
            <p:nvPr/>
          </p:nvSpPr>
          <p:spPr bwMode="auto">
            <a:xfrm>
              <a:off x="4220" y="2299"/>
              <a:ext cx="153" cy="291"/>
            </a:xfrm>
            <a:custGeom>
              <a:avLst/>
              <a:gdLst/>
              <a:ahLst/>
              <a:cxnLst>
                <a:cxn ang="0">
                  <a:pos x="46" y="187"/>
                </a:cxn>
                <a:cxn ang="0">
                  <a:pos x="53" y="155"/>
                </a:cxn>
                <a:cxn ang="0">
                  <a:pos x="54" y="126"/>
                </a:cxn>
                <a:cxn ang="0">
                  <a:pos x="69" y="137"/>
                </a:cxn>
                <a:cxn ang="0">
                  <a:pos x="96" y="150"/>
                </a:cxn>
                <a:cxn ang="0">
                  <a:pos x="96" y="143"/>
                </a:cxn>
                <a:cxn ang="0">
                  <a:pos x="101" y="109"/>
                </a:cxn>
                <a:cxn ang="0">
                  <a:pos x="134" y="108"/>
                </a:cxn>
                <a:cxn ang="0">
                  <a:pos x="135" y="83"/>
                </a:cxn>
                <a:cxn ang="0">
                  <a:pos x="118" y="52"/>
                </a:cxn>
                <a:cxn ang="0">
                  <a:pos x="92" y="41"/>
                </a:cxn>
                <a:cxn ang="0">
                  <a:pos x="75" y="40"/>
                </a:cxn>
                <a:cxn ang="0">
                  <a:pos x="59" y="32"/>
                </a:cxn>
                <a:cxn ang="0">
                  <a:pos x="46" y="13"/>
                </a:cxn>
                <a:cxn ang="0">
                  <a:pos x="39" y="0"/>
                </a:cxn>
                <a:cxn ang="0">
                  <a:pos x="23" y="11"/>
                </a:cxn>
                <a:cxn ang="0">
                  <a:pos x="5" y="34"/>
                </a:cxn>
                <a:cxn ang="0">
                  <a:pos x="14" y="53"/>
                </a:cxn>
                <a:cxn ang="0">
                  <a:pos x="30" y="73"/>
                </a:cxn>
                <a:cxn ang="0">
                  <a:pos x="24" y="91"/>
                </a:cxn>
                <a:cxn ang="0">
                  <a:pos x="33" y="113"/>
                </a:cxn>
                <a:cxn ang="0">
                  <a:pos x="45" y="139"/>
                </a:cxn>
                <a:cxn ang="0">
                  <a:pos x="45" y="168"/>
                </a:cxn>
                <a:cxn ang="0">
                  <a:pos x="39" y="184"/>
                </a:cxn>
                <a:cxn ang="0">
                  <a:pos x="34" y="218"/>
                </a:cxn>
                <a:cxn ang="0">
                  <a:pos x="45" y="226"/>
                </a:cxn>
                <a:cxn ang="0">
                  <a:pos x="58" y="240"/>
                </a:cxn>
                <a:cxn ang="0">
                  <a:pos x="66" y="248"/>
                </a:cxn>
                <a:cxn ang="0">
                  <a:pos x="80" y="262"/>
                </a:cxn>
                <a:cxn ang="0">
                  <a:pos x="96" y="254"/>
                </a:cxn>
                <a:cxn ang="0">
                  <a:pos x="76" y="241"/>
                </a:cxn>
                <a:cxn ang="0">
                  <a:pos x="64" y="218"/>
                </a:cxn>
                <a:cxn ang="0">
                  <a:pos x="51" y="200"/>
                </a:cxn>
              </a:cxnLst>
              <a:rect l="0" t="0" r="r" b="b"/>
              <a:pathLst>
                <a:path w="138" h="262">
                  <a:moveTo>
                    <a:pt x="51" y="200"/>
                  </a:moveTo>
                  <a:lnTo>
                    <a:pt x="46" y="187"/>
                  </a:lnTo>
                  <a:lnTo>
                    <a:pt x="50" y="170"/>
                  </a:lnTo>
                  <a:lnTo>
                    <a:pt x="53" y="155"/>
                  </a:lnTo>
                  <a:lnTo>
                    <a:pt x="53" y="140"/>
                  </a:lnTo>
                  <a:lnTo>
                    <a:pt x="54" y="126"/>
                  </a:lnTo>
                  <a:lnTo>
                    <a:pt x="68" y="124"/>
                  </a:lnTo>
                  <a:lnTo>
                    <a:pt x="69" y="137"/>
                  </a:lnTo>
                  <a:lnTo>
                    <a:pt x="81" y="139"/>
                  </a:lnTo>
                  <a:lnTo>
                    <a:pt x="96" y="150"/>
                  </a:lnTo>
                  <a:lnTo>
                    <a:pt x="102" y="157"/>
                  </a:lnTo>
                  <a:lnTo>
                    <a:pt x="96" y="143"/>
                  </a:lnTo>
                  <a:lnTo>
                    <a:pt x="90" y="127"/>
                  </a:lnTo>
                  <a:lnTo>
                    <a:pt x="101" y="109"/>
                  </a:lnTo>
                  <a:lnTo>
                    <a:pt x="117" y="109"/>
                  </a:lnTo>
                  <a:lnTo>
                    <a:pt x="134" y="108"/>
                  </a:lnTo>
                  <a:lnTo>
                    <a:pt x="138" y="98"/>
                  </a:lnTo>
                  <a:lnTo>
                    <a:pt x="135" y="83"/>
                  </a:lnTo>
                  <a:lnTo>
                    <a:pt x="120" y="65"/>
                  </a:lnTo>
                  <a:lnTo>
                    <a:pt x="118" y="52"/>
                  </a:lnTo>
                  <a:lnTo>
                    <a:pt x="99" y="36"/>
                  </a:lnTo>
                  <a:lnTo>
                    <a:pt x="92" y="41"/>
                  </a:lnTo>
                  <a:lnTo>
                    <a:pt x="84" y="43"/>
                  </a:lnTo>
                  <a:lnTo>
                    <a:pt x="75" y="40"/>
                  </a:lnTo>
                  <a:lnTo>
                    <a:pt x="60" y="50"/>
                  </a:lnTo>
                  <a:lnTo>
                    <a:pt x="59" y="32"/>
                  </a:lnTo>
                  <a:lnTo>
                    <a:pt x="58" y="14"/>
                  </a:lnTo>
                  <a:lnTo>
                    <a:pt x="46" y="13"/>
                  </a:lnTo>
                  <a:lnTo>
                    <a:pt x="45" y="2"/>
                  </a:lnTo>
                  <a:lnTo>
                    <a:pt x="39" y="0"/>
                  </a:lnTo>
                  <a:lnTo>
                    <a:pt x="30" y="2"/>
                  </a:lnTo>
                  <a:lnTo>
                    <a:pt x="23" y="11"/>
                  </a:lnTo>
                  <a:lnTo>
                    <a:pt x="9" y="13"/>
                  </a:lnTo>
                  <a:lnTo>
                    <a:pt x="5" y="34"/>
                  </a:lnTo>
                  <a:lnTo>
                    <a:pt x="0" y="32"/>
                  </a:lnTo>
                  <a:lnTo>
                    <a:pt x="14" y="53"/>
                  </a:lnTo>
                  <a:lnTo>
                    <a:pt x="27" y="72"/>
                  </a:lnTo>
                  <a:lnTo>
                    <a:pt x="30" y="73"/>
                  </a:lnTo>
                  <a:lnTo>
                    <a:pt x="27" y="84"/>
                  </a:lnTo>
                  <a:lnTo>
                    <a:pt x="24" y="91"/>
                  </a:lnTo>
                  <a:lnTo>
                    <a:pt x="24" y="102"/>
                  </a:lnTo>
                  <a:lnTo>
                    <a:pt x="33" y="113"/>
                  </a:lnTo>
                  <a:lnTo>
                    <a:pt x="41" y="124"/>
                  </a:lnTo>
                  <a:lnTo>
                    <a:pt x="45" y="139"/>
                  </a:lnTo>
                  <a:lnTo>
                    <a:pt x="50" y="157"/>
                  </a:lnTo>
                  <a:lnTo>
                    <a:pt x="45" y="168"/>
                  </a:lnTo>
                  <a:lnTo>
                    <a:pt x="39" y="180"/>
                  </a:lnTo>
                  <a:lnTo>
                    <a:pt x="39" y="184"/>
                  </a:lnTo>
                  <a:lnTo>
                    <a:pt x="36" y="200"/>
                  </a:lnTo>
                  <a:lnTo>
                    <a:pt x="34" y="218"/>
                  </a:lnTo>
                  <a:lnTo>
                    <a:pt x="36" y="216"/>
                  </a:lnTo>
                  <a:lnTo>
                    <a:pt x="45" y="226"/>
                  </a:lnTo>
                  <a:lnTo>
                    <a:pt x="53" y="235"/>
                  </a:lnTo>
                  <a:lnTo>
                    <a:pt x="58" y="240"/>
                  </a:lnTo>
                  <a:lnTo>
                    <a:pt x="65" y="251"/>
                  </a:lnTo>
                  <a:lnTo>
                    <a:pt x="66" y="248"/>
                  </a:lnTo>
                  <a:lnTo>
                    <a:pt x="78" y="254"/>
                  </a:lnTo>
                  <a:lnTo>
                    <a:pt x="80" y="262"/>
                  </a:lnTo>
                  <a:lnTo>
                    <a:pt x="90" y="262"/>
                  </a:lnTo>
                  <a:lnTo>
                    <a:pt x="96" y="254"/>
                  </a:lnTo>
                  <a:lnTo>
                    <a:pt x="88" y="244"/>
                  </a:lnTo>
                  <a:lnTo>
                    <a:pt x="76" y="241"/>
                  </a:lnTo>
                  <a:lnTo>
                    <a:pt x="68" y="232"/>
                  </a:lnTo>
                  <a:lnTo>
                    <a:pt x="64" y="218"/>
                  </a:lnTo>
                  <a:lnTo>
                    <a:pt x="58" y="202"/>
                  </a:lnTo>
                  <a:lnTo>
                    <a:pt x="51" y="20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9" name="Freeform 56"/>
            <p:cNvSpPr>
              <a:spLocks/>
            </p:cNvSpPr>
            <p:nvPr/>
          </p:nvSpPr>
          <p:spPr bwMode="auto">
            <a:xfrm>
              <a:off x="4293" y="2241"/>
              <a:ext cx="153" cy="291"/>
            </a:xfrm>
            <a:custGeom>
              <a:avLst/>
              <a:gdLst/>
              <a:ahLst/>
              <a:cxnLst>
                <a:cxn ang="0">
                  <a:pos x="43" y="50"/>
                </a:cxn>
                <a:cxn ang="0">
                  <a:pos x="27" y="45"/>
                </a:cxn>
                <a:cxn ang="0">
                  <a:pos x="12" y="28"/>
                </a:cxn>
                <a:cxn ang="0">
                  <a:pos x="4" y="11"/>
                </a:cxn>
                <a:cxn ang="0">
                  <a:pos x="15" y="11"/>
                </a:cxn>
                <a:cxn ang="0">
                  <a:pos x="25" y="12"/>
                </a:cxn>
                <a:cxn ang="0">
                  <a:pos x="34" y="11"/>
                </a:cxn>
                <a:cxn ang="0">
                  <a:pos x="49" y="2"/>
                </a:cxn>
                <a:cxn ang="0">
                  <a:pos x="71" y="20"/>
                </a:cxn>
                <a:cxn ang="0">
                  <a:pos x="93" y="30"/>
                </a:cxn>
                <a:cxn ang="0">
                  <a:pos x="76" y="42"/>
                </a:cxn>
                <a:cxn ang="0">
                  <a:pos x="70" y="59"/>
                </a:cxn>
                <a:cxn ang="0">
                  <a:pos x="76" y="90"/>
                </a:cxn>
                <a:cxn ang="0">
                  <a:pos x="89" y="110"/>
                </a:cxn>
                <a:cxn ang="0">
                  <a:pos x="113" y="130"/>
                </a:cxn>
                <a:cxn ang="0">
                  <a:pos x="131" y="166"/>
                </a:cxn>
                <a:cxn ang="0">
                  <a:pos x="137" y="196"/>
                </a:cxn>
                <a:cxn ang="0">
                  <a:pos x="135" y="210"/>
                </a:cxn>
                <a:cxn ang="0">
                  <a:pos x="112" y="230"/>
                </a:cxn>
                <a:cxn ang="0">
                  <a:pos x="101" y="232"/>
                </a:cxn>
                <a:cxn ang="0">
                  <a:pos x="99" y="239"/>
                </a:cxn>
                <a:cxn ang="0">
                  <a:pos x="93" y="246"/>
                </a:cxn>
                <a:cxn ang="0">
                  <a:pos x="72" y="262"/>
                </a:cxn>
                <a:cxn ang="0">
                  <a:pos x="64" y="231"/>
                </a:cxn>
                <a:cxn ang="0">
                  <a:pos x="77" y="222"/>
                </a:cxn>
                <a:cxn ang="0">
                  <a:pos x="84" y="210"/>
                </a:cxn>
                <a:cxn ang="0">
                  <a:pos x="108" y="198"/>
                </a:cxn>
                <a:cxn ang="0">
                  <a:pos x="106" y="170"/>
                </a:cxn>
                <a:cxn ang="0">
                  <a:pos x="102" y="140"/>
                </a:cxn>
                <a:cxn ang="0">
                  <a:pos x="99" y="130"/>
                </a:cxn>
                <a:cxn ang="0">
                  <a:pos x="77" y="108"/>
                </a:cxn>
                <a:cxn ang="0">
                  <a:pos x="58" y="84"/>
                </a:cxn>
                <a:cxn ang="0">
                  <a:pos x="41" y="64"/>
                </a:cxn>
                <a:cxn ang="0">
                  <a:pos x="48" y="54"/>
                </a:cxn>
              </a:cxnLst>
              <a:rect l="0" t="0" r="r" b="b"/>
              <a:pathLst>
                <a:path w="138" h="262">
                  <a:moveTo>
                    <a:pt x="48" y="54"/>
                  </a:moveTo>
                  <a:lnTo>
                    <a:pt x="43" y="50"/>
                  </a:lnTo>
                  <a:lnTo>
                    <a:pt x="34" y="41"/>
                  </a:lnTo>
                  <a:lnTo>
                    <a:pt x="27" y="45"/>
                  </a:lnTo>
                  <a:lnTo>
                    <a:pt x="15" y="35"/>
                  </a:lnTo>
                  <a:lnTo>
                    <a:pt x="12" y="28"/>
                  </a:lnTo>
                  <a:lnTo>
                    <a:pt x="0" y="16"/>
                  </a:lnTo>
                  <a:lnTo>
                    <a:pt x="4" y="11"/>
                  </a:lnTo>
                  <a:lnTo>
                    <a:pt x="12" y="14"/>
                  </a:lnTo>
                  <a:lnTo>
                    <a:pt x="15" y="11"/>
                  </a:lnTo>
                  <a:lnTo>
                    <a:pt x="22" y="11"/>
                  </a:lnTo>
                  <a:lnTo>
                    <a:pt x="25" y="12"/>
                  </a:lnTo>
                  <a:lnTo>
                    <a:pt x="28" y="11"/>
                  </a:lnTo>
                  <a:lnTo>
                    <a:pt x="34" y="11"/>
                  </a:lnTo>
                  <a:lnTo>
                    <a:pt x="42" y="0"/>
                  </a:lnTo>
                  <a:lnTo>
                    <a:pt x="49" y="2"/>
                  </a:lnTo>
                  <a:lnTo>
                    <a:pt x="69" y="8"/>
                  </a:lnTo>
                  <a:lnTo>
                    <a:pt x="71" y="20"/>
                  </a:lnTo>
                  <a:lnTo>
                    <a:pt x="77" y="24"/>
                  </a:lnTo>
                  <a:lnTo>
                    <a:pt x="93" y="30"/>
                  </a:lnTo>
                  <a:lnTo>
                    <a:pt x="84" y="38"/>
                  </a:lnTo>
                  <a:lnTo>
                    <a:pt x="76" y="42"/>
                  </a:lnTo>
                  <a:lnTo>
                    <a:pt x="76" y="44"/>
                  </a:lnTo>
                  <a:lnTo>
                    <a:pt x="70" y="59"/>
                  </a:lnTo>
                  <a:lnTo>
                    <a:pt x="64" y="75"/>
                  </a:lnTo>
                  <a:lnTo>
                    <a:pt x="76" y="90"/>
                  </a:lnTo>
                  <a:lnTo>
                    <a:pt x="79" y="100"/>
                  </a:lnTo>
                  <a:lnTo>
                    <a:pt x="89" y="110"/>
                  </a:lnTo>
                  <a:lnTo>
                    <a:pt x="100" y="119"/>
                  </a:lnTo>
                  <a:lnTo>
                    <a:pt x="113" y="130"/>
                  </a:lnTo>
                  <a:lnTo>
                    <a:pt x="124" y="142"/>
                  </a:lnTo>
                  <a:lnTo>
                    <a:pt x="131" y="166"/>
                  </a:lnTo>
                  <a:lnTo>
                    <a:pt x="138" y="190"/>
                  </a:lnTo>
                  <a:lnTo>
                    <a:pt x="137" y="196"/>
                  </a:lnTo>
                  <a:lnTo>
                    <a:pt x="137" y="203"/>
                  </a:lnTo>
                  <a:lnTo>
                    <a:pt x="135" y="210"/>
                  </a:lnTo>
                  <a:lnTo>
                    <a:pt x="124" y="220"/>
                  </a:lnTo>
                  <a:lnTo>
                    <a:pt x="112" y="230"/>
                  </a:lnTo>
                  <a:lnTo>
                    <a:pt x="101" y="227"/>
                  </a:lnTo>
                  <a:lnTo>
                    <a:pt x="101" y="232"/>
                  </a:lnTo>
                  <a:lnTo>
                    <a:pt x="101" y="237"/>
                  </a:lnTo>
                  <a:lnTo>
                    <a:pt x="99" y="239"/>
                  </a:lnTo>
                  <a:lnTo>
                    <a:pt x="99" y="246"/>
                  </a:lnTo>
                  <a:lnTo>
                    <a:pt x="93" y="246"/>
                  </a:lnTo>
                  <a:lnTo>
                    <a:pt x="81" y="260"/>
                  </a:lnTo>
                  <a:lnTo>
                    <a:pt x="72" y="262"/>
                  </a:lnTo>
                  <a:lnTo>
                    <a:pt x="75" y="240"/>
                  </a:lnTo>
                  <a:lnTo>
                    <a:pt x="64" y="231"/>
                  </a:lnTo>
                  <a:lnTo>
                    <a:pt x="73" y="225"/>
                  </a:lnTo>
                  <a:lnTo>
                    <a:pt x="77" y="222"/>
                  </a:lnTo>
                  <a:lnTo>
                    <a:pt x="89" y="224"/>
                  </a:lnTo>
                  <a:lnTo>
                    <a:pt x="84" y="210"/>
                  </a:lnTo>
                  <a:lnTo>
                    <a:pt x="93" y="206"/>
                  </a:lnTo>
                  <a:lnTo>
                    <a:pt x="108" y="198"/>
                  </a:lnTo>
                  <a:lnTo>
                    <a:pt x="107" y="184"/>
                  </a:lnTo>
                  <a:lnTo>
                    <a:pt x="106" y="170"/>
                  </a:lnTo>
                  <a:lnTo>
                    <a:pt x="105" y="154"/>
                  </a:lnTo>
                  <a:lnTo>
                    <a:pt x="102" y="140"/>
                  </a:lnTo>
                  <a:lnTo>
                    <a:pt x="97" y="134"/>
                  </a:lnTo>
                  <a:lnTo>
                    <a:pt x="99" y="130"/>
                  </a:lnTo>
                  <a:lnTo>
                    <a:pt x="84" y="118"/>
                  </a:lnTo>
                  <a:lnTo>
                    <a:pt x="77" y="108"/>
                  </a:lnTo>
                  <a:lnTo>
                    <a:pt x="67" y="96"/>
                  </a:lnTo>
                  <a:lnTo>
                    <a:pt x="58" y="84"/>
                  </a:lnTo>
                  <a:lnTo>
                    <a:pt x="37" y="69"/>
                  </a:lnTo>
                  <a:lnTo>
                    <a:pt x="41" y="64"/>
                  </a:lnTo>
                  <a:lnTo>
                    <a:pt x="49" y="62"/>
                  </a:lnTo>
                  <a:lnTo>
                    <a:pt x="48" y="5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0" name="Freeform 57"/>
            <p:cNvSpPr>
              <a:spLocks/>
            </p:cNvSpPr>
            <p:nvPr/>
          </p:nvSpPr>
          <p:spPr bwMode="auto">
            <a:xfrm>
              <a:off x="3402" y="2183"/>
              <a:ext cx="13" cy="33"/>
            </a:xfrm>
            <a:custGeom>
              <a:avLst/>
              <a:gdLst/>
              <a:ahLst/>
              <a:cxnLst>
                <a:cxn ang="0">
                  <a:pos x="7" y="27"/>
                </a:cxn>
                <a:cxn ang="0">
                  <a:pos x="5" y="29"/>
                </a:cxn>
                <a:cxn ang="0">
                  <a:pos x="0" y="25"/>
                </a:cxn>
                <a:cxn ang="0">
                  <a:pos x="0" y="8"/>
                </a:cxn>
                <a:cxn ang="0">
                  <a:pos x="6" y="0"/>
                </a:cxn>
                <a:cxn ang="0">
                  <a:pos x="11" y="15"/>
                </a:cxn>
                <a:cxn ang="0">
                  <a:pos x="7" y="27"/>
                </a:cxn>
              </a:cxnLst>
              <a:rect l="0" t="0" r="r" b="b"/>
              <a:pathLst>
                <a:path w="11" h="29">
                  <a:moveTo>
                    <a:pt x="7" y="27"/>
                  </a:moveTo>
                  <a:lnTo>
                    <a:pt x="5" y="29"/>
                  </a:lnTo>
                  <a:lnTo>
                    <a:pt x="0" y="25"/>
                  </a:lnTo>
                  <a:lnTo>
                    <a:pt x="0" y="8"/>
                  </a:lnTo>
                  <a:lnTo>
                    <a:pt x="6" y="0"/>
                  </a:lnTo>
                  <a:lnTo>
                    <a:pt x="11" y="15"/>
                  </a:lnTo>
                  <a:lnTo>
                    <a:pt x="7"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1" name="Freeform 58"/>
            <p:cNvSpPr>
              <a:spLocks/>
            </p:cNvSpPr>
            <p:nvPr/>
          </p:nvSpPr>
          <p:spPr bwMode="auto">
            <a:xfrm>
              <a:off x="3253" y="1914"/>
              <a:ext cx="356" cy="289"/>
            </a:xfrm>
            <a:custGeom>
              <a:avLst/>
              <a:gdLst/>
              <a:ahLst/>
              <a:cxnLst>
                <a:cxn ang="0">
                  <a:pos x="36" y="106"/>
                </a:cxn>
                <a:cxn ang="0">
                  <a:pos x="40" y="79"/>
                </a:cxn>
                <a:cxn ang="0">
                  <a:pos x="29" y="66"/>
                </a:cxn>
                <a:cxn ang="0">
                  <a:pos x="5" y="33"/>
                </a:cxn>
                <a:cxn ang="0">
                  <a:pos x="0" y="5"/>
                </a:cxn>
                <a:cxn ang="0">
                  <a:pos x="7" y="1"/>
                </a:cxn>
                <a:cxn ang="0">
                  <a:pos x="28" y="15"/>
                </a:cxn>
                <a:cxn ang="0">
                  <a:pos x="54" y="0"/>
                </a:cxn>
                <a:cxn ang="0">
                  <a:pos x="58" y="13"/>
                </a:cxn>
                <a:cxn ang="0">
                  <a:pos x="79" y="39"/>
                </a:cxn>
                <a:cxn ang="0">
                  <a:pos x="111" y="51"/>
                </a:cxn>
                <a:cxn ang="0">
                  <a:pos x="138" y="53"/>
                </a:cxn>
                <a:cxn ang="0">
                  <a:pos x="151" y="48"/>
                </a:cxn>
                <a:cxn ang="0">
                  <a:pos x="154" y="42"/>
                </a:cxn>
                <a:cxn ang="0">
                  <a:pos x="181" y="29"/>
                </a:cxn>
                <a:cxn ang="0">
                  <a:pos x="220" y="36"/>
                </a:cxn>
                <a:cxn ang="0">
                  <a:pos x="246" y="53"/>
                </a:cxn>
                <a:cxn ang="0">
                  <a:pos x="265" y="73"/>
                </a:cxn>
                <a:cxn ang="0">
                  <a:pos x="261" y="96"/>
                </a:cxn>
                <a:cxn ang="0">
                  <a:pos x="267" y="111"/>
                </a:cxn>
                <a:cxn ang="0">
                  <a:pos x="269" y="129"/>
                </a:cxn>
                <a:cxn ang="0">
                  <a:pos x="287" y="149"/>
                </a:cxn>
                <a:cxn ang="0">
                  <a:pos x="279" y="177"/>
                </a:cxn>
                <a:cxn ang="0">
                  <a:pos x="300" y="201"/>
                </a:cxn>
                <a:cxn ang="0">
                  <a:pos x="317" y="225"/>
                </a:cxn>
                <a:cxn ang="0">
                  <a:pos x="322" y="234"/>
                </a:cxn>
                <a:cxn ang="0">
                  <a:pos x="303" y="246"/>
                </a:cxn>
                <a:cxn ang="0">
                  <a:pos x="285" y="258"/>
                </a:cxn>
                <a:cxn ang="0">
                  <a:pos x="251" y="252"/>
                </a:cxn>
                <a:cxn ang="0">
                  <a:pos x="228" y="238"/>
                </a:cxn>
                <a:cxn ang="0">
                  <a:pos x="209" y="231"/>
                </a:cxn>
                <a:cxn ang="0">
                  <a:pos x="172" y="231"/>
                </a:cxn>
                <a:cxn ang="0">
                  <a:pos x="144" y="213"/>
                </a:cxn>
                <a:cxn ang="0">
                  <a:pos x="125" y="190"/>
                </a:cxn>
                <a:cxn ang="0">
                  <a:pos x="105" y="172"/>
                </a:cxn>
                <a:cxn ang="0">
                  <a:pos x="97" y="166"/>
                </a:cxn>
                <a:cxn ang="0">
                  <a:pos x="90" y="174"/>
                </a:cxn>
                <a:cxn ang="0">
                  <a:pos x="81" y="156"/>
                </a:cxn>
                <a:cxn ang="0">
                  <a:pos x="76" y="142"/>
                </a:cxn>
                <a:cxn ang="0">
                  <a:pos x="57" y="126"/>
                </a:cxn>
              </a:cxnLst>
              <a:rect l="0" t="0" r="r" b="b"/>
              <a:pathLst>
                <a:path w="322" h="261">
                  <a:moveTo>
                    <a:pt x="45" y="118"/>
                  </a:moveTo>
                  <a:lnTo>
                    <a:pt x="36" y="106"/>
                  </a:lnTo>
                  <a:lnTo>
                    <a:pt x="35" y="96"/>
                  </a:lnTo>
                  <a:lnTo>
                    <a:pt x="40" y="79"/>
                  </a:lnTo>
                  <a:lnTo>
                    <a:pt x="40" y="71"/>
                  </a:lnTo>
                  <a:lnTo>
                    <a:pt x="29" y="66"/>
                  </a:lnTo>
                  <a:lnTo>
                    <a:pt x="15" y="46"/>
                  </a:lnTo>
                  <a:lnTo>
                    <a:pt x="5" y="33"/>
                  </a:lnTo>
                  <a:lnTo>
                    <a:pt x="1" y="15"/>
                  </a:lnTo>
                  <a:lnTo>
                    <a:pt x="0" y="5"/>
                  </a:lnTo>
                  <a:lnTo>
                    <a:pt x="6" y="0"/>
                  </a:lnTo>
                  <a:lnTo>
                    <a:pt x="7" y="1"/>
                  </a:lnTo>
                  <a:lnTo>
                    <a:pt x="10" y="5"/>
                  </a:lnTo>
                  <a:lnTo>
                    <a:pt x="28" y="15"/>
                  </a:lnTo>
                  <a:lnTo>
                    <a:pt x="40" y="10"/>
                  </a:lnTo>
                  <a:lnTo>
                    <a:pt x="54" y="0"/>
                  </a:lnTo>
                  <a:lnTo>
                    <a:pt x="59" y="10"/>
                  </a:lnTo>
                  <a:lnTo>
                    <a:pt x="58" y="13"/>
                  </a:lnTo>
                  <a:lnTo>
                    <a:pt x="71" y="23"/>
                  </a:lnTo>
                  <a:lnTo>
                    <a:pt x="79" y="39"/>
                  </a:lnTo>
                  <a:lnTo>
                    <a:pt x="96" y="46"/>
                  </a:lnTo>
                  <a:lnTo>
                    <a:pt x="111" y="51"/>
                  </a:lnTo>
                  <a:lnTo>
                    <a:pt x="125" y="55"/>
                  </a:lnTo>
                  <a:lnTo>
                    <a:pt x="138" y="53"/>
                  </a:lnTo>
                  <a:lnTo>
                    <a:pt x="149" y="51"/>
                  </a:lnTo>
                  <a:lnTo>
                    <a:pt x="151" y="48"/>
                  </a:lnTo>
                  <a:lnTo>
                    <a:pt x="149" y="42"/>
                  </a:lnTo>
                  <a:lnTo>
                    <a:pt x="154" y="42"/>
                  </a:lnTo>
                  <a:lnTo>
                    <a:pt x="165" y="31"/>
                  </a:lnTo>
                  <a:lnTo>
                    <a:pt x="181" y="29"/>
                  </a:lnTo>
                  <a:lnTo>
                    <a:pt x="196" y="28"/>
                  </a:lnTo>
                  <a:lnTo>
                    <a:pt x="220" y="36"/>
                  </a:lnTo>
                  <a:lnTo>
                    <a:pt x="233" y="45"/>
                  </a:lnTo>
                  <a:lnTo>
                    <a:pt x="246" y="53"/>
                  </a:lnTo>
                  <a:lnTo>
                    <a:pt x="259" y="55"/>
                  </a:lnTo>
                  <a:lnTo>
                    <a:pt x="265" y="73"/>
                  </a:lnTo>
                  <a:lnTo>
                    <a:pt x="262" y="94"/>
                  </a:lnTo>
                  <a:lnTo>
                    <a:pt x="261" y="96"/>
                  </a:lnTo>
                  <a:lnTo>
                    <a:pt x="261" y="106"/>
                  </a:lnTo>
                  <a:lnTo>
                    <a:pt x="267" y="111"/>
                  </a:lnTo>
                  <a:lnTo>
                    <a:pt x="265" y="114"/>
                  </a:lnTo>
                  <a:lnTo>
                    <a:pt x="269" y="129"/>
                  </a:lnTo>
                  <a:lnTo>
                    <a:pt x="271" y="144"/>
                  </a:lnTo>
                  <a:lnTo>
                    <a:pt x="287" y="149"/>
                  </a:lnTo>
                  <a:lnTo>
                    <a:pt x="289" y="156"/>
                  </a:lnTo>
                  <a:lnTo>
                    <a:pt x="279" y="177"/>
                  </a:lnTo>
                  <a:lnTo>
                    <a:pt x="289" y="189"/>
                  </a:lnTo>
                  <a:lnTo>
                    <a:pt x="300" y="201"/>
                  </a:lnTo>
                  <a:lnTo>
                    <a:pt x="312" y="207"/>
                  </a:lnTo>
                  <a:lnTo>
                    <a:pt x="317" y="225"/>
                  </a:lnTo>
                  <a:lnTo>
                    <a:pt x="322" y="227"/>
                  </a:lnTo>
                  <a:lnTo>
                    <a:pt x="322" y="234"/>
                  </a:lnTo>
                  <a:lnTo>
                    <a:pt x="309" y="240"/>
                  </a:lnTo>
                  <a:lnTo>
                    <a:pt x="303" y="246"/>
                  </a:lnTo>
                  <a:lnTo>
                    <a:pt x="301" y="261"/>
                  </a:lnTo>
                  <a:lnTo>
                    <a:pt x="285" y="258"/>
                  </a:lnTo>
                  <a:lnTo>
                    <a:pt x="268" y="255"/>
                  </a:lnTo>
                  <a:lnTo>
                    <a:pt x="251" y="252"/>
                  </a:lnTo>
                  <a:lnTo>
                    <a:pt x="234" y="250"/>
                  </a:lnTo>
                  <a:lnTo>
                    <a:pt x="228" y="238"/>
                  </a:lnTo>
                  <a:lnTo>
                    <a:pt x="221" y="226"/>
                  </a:lnTo>
                  <a:lnTo>
                    <a:pt x="209" y="231"/>
                  </a:lnTo>
                  <a:lnTo>
                    <a:pt x="196" y="235"/>
                  </a:lnTo>
                  <a:lnTo>
                    <a:pt x="172" y="231"/>
                  </a:lnTo>
                  <a:lnTo>
                    <a:pt x="159" y="221"/>
                  </a:lnTo>
                  <a:lnTo>
                    <a:pt x="144" y="213"/>
                  </a:lnTo>
                  <a:lnTo>
                    <a:pt x="132" y="201"/>
                  </a:lnTo>
                  <a:lnTo>
                    <a:pt x="125" y="190"/>
                  </a:lnTo>
                  <a:lnTo>
                    <a:pt x="111" y="171"/>
                  </a:lnTo>
                  <a:lnTo>
                    <a:pt x="105" y="172"/>
                  </a:lnTo>
                  <a:lnTo>
                    <a:pt x="97" y="167"/>
                  </a:lnTo>
                  <a:lnTo>
                    <a:pt x="97" y="166"/>
                  </a:lnTo>
                  <a:lnTo>
                    <a:pt x="93" y="174"/>
                  </a:lnTo>
                  <a:lnTo>
                    <a:pt x="90" y="174"/>
                  </a:lnTo>
                  <a:lnTo>
                    <a:pt x="85" y="168"/>
                  </a:lnTo>
                  <a:lnTo>
                    <a:pt x="81" y="156"/>
                  </a:lnTo>
                  <a:lnTo>
                    <a:pt x="75" y="156"/>
                  </a:lnTo>
                  <a:lnTo>
                    <a:pt x="76" y="142"/>
                  </a:lnTo>
                  <a:lnTo>
                    <a:pt x="70" y="135"/>
                  </a:lnTo>
                  <a:lnTo>
                    <a:pt x="57" y="126"/>
                  </a:lnTo>
                  <a:lnTo>
                    <a:pt x="45" y="1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2" name="Freeform 59"/>
            <p:cNvSpPr>
              <a:spLocks/>
            </p:cNvSpPr>
            <p:nvPr/>
          </p:nvSpPr>
          <p:spPr bwMode="auto">
            <a:xfrm>
              <a:off x="3180" y="1961"/>
              <a:ext cx="173" cy="162"/>
            </a:xfrm>
            <a:custGeom>
              <a:avLst/>
              <a:gdLst/>
              <a:ahLst/>
              <a:cxnLst>
                <a:cxn ang="0">
                  <a:pos x="101" y="63"/>
                </a:cxn>
                <a:cxn ang="0">
                  <a:pos x="100" y="53"/>
                </a:cxn>
                <a:cxn ang="0">
                  <a:pos x="105" y="36"/>
                </a:cxn>
                <a:cxn ang="0">
                  <a:pos x="105" y="28"/>
                </a:cxn>
                <a:cxn ang="0">
                  <a:pos x="94" y="23"/>
                </a:cxn>
                <a:cxn ang="0">
                  <a:pos x="80" y="3"/>
                </a:cxn>
                <a:cxn ang="0">
                  <a:pos x="71" y="4"/>
                </a:cxn>
                <a:cxn ang="0">
                  <a:pos x="68" y="0"/>
                </a:cxn>
                <a:cxn ang="0">
                  <a:pos x="47" y="0"/>
                </a:cxn>
                <a:cxn ang="0">
                  <a:pos x="44" y="4"/>
                </a:cxn>
                <a:cxn ang="0">
                  <a:pos x="30" y="17"/>
                </a:cxn>
                <a:cxn ang="0">
                  <a:pos x="30" y="34"/>
                </a:cxn>
                <a:cxn ang="0">
                  <a:pos x="30" y="52"/>
                </a:cxn>
                <a:cxn ang="0">
                  <a:pos x="15" y="62"/>
                </a:cxn>
                <a:cxn ang="0">
                  <a:pos x="0" y="70"/>
                </a:cxn>
                <a:cxn ang="0">
                  <a:pos x="10" y="92"/>
                </a:cxn>
                <a:cxn ang="0">
                  <a:pos x="24" y="98"/>
                </a:cxn>
                <a:cxn ang="0">
                  <a:pos x="40" y="105"/>
                </a:cxn>
                <a:cxn ang="0">
                  <a:pos x="54" y="111"/>
                </a:cxn>
                <a:cxn ang="0">
                  <a:pos x="69" y="118"/>
                </a:cxn>
                <a:cxn ang="0">
                  <a:pos x="83" y="131"/>
                </a:cxn>
                <a:cxn ang="0">
                  <a:pos x="99" y="146"/>
                </a:cxn>
                <a:cxn ang="0">
                  <a:pos x="126" y="147"/>
                </a:cxn>
                <a:cxn ang="0">
                  <a:pos x="134" y="132"/>
                </a:cxn>
                <a:cxn ang="0">
                  <a:pos x="147" y="131"/>
                </a:cxn>
                <a:cxn ang="0">
                  <a:pos x="155" y="131"/>
                </a:cxn>
                <a:cxn ang="0">
                  <a:pos x="150" y="125"/>
                </a:cxn>
                <a:cxn ang="0">
                  <a:pos x="146" y="113"/>
                </a:cxn>
                <a:cxn ang="0">
                  <a:pos x="140" y="113"/>
                </a:cxn>
                <a:cxn ang="0">
                  <a:pos x="141" y="99"/>
                </a:cxn>
                <a:cxn ang="0">
                  <a:pos x="135" y="92"/>
                </a:cxn>
                <a:cxn ang="0">
                  <a:pos x="122" y="83"/>
                </a:cxn>
                <a:cxn ang="0">
                  <a:pos x="110" y="75"/>
                </a:cxn>
                <a:cxn ang="0">
                  <a:pos x="101" y="63"/>
                </a:cxn>
              </a:cxnLst>
              <a:rect l="0" t="0" r="r" b="b"/>
              <a:pathLst>
                <a:path w="155" h="147">
                  <a:moveTo>
                    <a:pt x="101" y="63"/>
                  </a:moveTo>
                  <a:lnTo>
                    <a:pt x="100" y="53"/>
                  </a:lnTo>
                  <a:lnTo>
                    <a:pt x="105" y="36"/>
                  </a:lnTo>
                  <a:lnTo>
                    <a:pt x="105" y="28"/>
                  </a:lnTo>
                  <a:lnTo>
                    <a:pt x="94" y="23"/>
                  </a:lnTo>
                  <a:lnTo>
                    <a:pt x="80" y="3"/>
                  </a:lnTo>
                  <a:lnTo>
                    <a:pt x="71" y="4"/>
                  </a:lnTo>
                  <a:lnTo>
                    <a:pt x="68" y="0"/>
                  </a:lnTo>
                  <a:lnTo>
                    <a:pt x="47" y="0"/>
                  </a:lnTo>
                  <a:lnTo>
                    <a:pt x="44" y="4"/>
                  </a:lnTo>
                  <a:lnTo>
                    <a:pt x="30" y="17"/>
                  </a:lnTo>
                  <a:lnTo>
                    <a:pt x="30" y="34"/>
                  </a:lnTo>
                  <a:lnTo>
                    <a:pt x="30" y="52"/>
                  </a:lnTo>
                  <a:lnTo>
                    <a:pt x="15" y="62"/>
                  </a:lnTo>
                  <a:lnTo>
                    <a:pt x="0" y="70"/>
                  </a:lnTo>
                  <a:lnTo>
                    <a:pt x="10" y="92"/>
                  </a:lnTo>
                  <a:lnTo>
                    <a:pt x="24" y="98"/>
                  </a:lnTo>
                  <a:lnTo>
                    <a:pt x="40" y="105"/>
                  </a:lnTo>
                  <a:lnTo>
                    <a:pt x="54" y="111"/>
                  </a:lnTo>
                  <a:lnTo>
                    <a:pt x="69" y="118"/>
                  </a:lnTo>
                  <a:lnTo>
                    <a:pt x="83" y="131"/>
                  </a:lnTo>
                  <a:lnTo>
                    <a:pt x="99" y="146"/>
                  </a:lnTo>
                  <a:lnTo>
                    <a:pt x="126" y="147"/>
                  </a:lnTo>
                  <a:lnTo>
                    <a:pt x="134" y="132"/>
                  </a:lnTo>
                  <a:lnTo>
                    <a:pt x="147" y="131"/>
                  </a:lnTo>
                  <a:lnTo>
                    <a:pt x="155" y="131"/>
                  </a:lnTo>
                  <a:lnTo>
                    <a:pt x="150" y="125"/>
                  </a:lnTo>
                  <a:lnTo>
                    <a:pt x="146" y="113"/>
                  </a:lnTo>
                  <a:lnTo>
                    <a:pt x="140" y="113"/>
                  </a:lnTo>
                  <a:lnTo>
                    <a:pt x="141" y="99"/>
                  </a:lnTo>
                  <a:lnTo>
                    <a:pt x="135" y="92"/>
                  </a:lnTo>
                  <a:lnTo>
                    <a:pt x="122" y="83"/>
                  </a:lnTo>
                  <a:lnTo>
                    <a:pt x="110" y="75"/>
                  </a:lnTo>
                  <a:lnTo>
                    <a:pt x="101" y="6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3" name="Freeform 60"/>
            <p:cNvSpPr>
              <a:spLocks/>
            </p:cNvSpPr>
            <p:nvPr/>
          </p:nvSpPr>
          <p:spPr bwMode="auto">
            <a:xfrm>
              <a:off x="3320" y="2107"/>
              <a:ext cx="33" cy="29"/>
            </a:xfrm>
            <a:custGeom>
              <a:avLst/>
              <a:gdLst/>
              <a:ahLst/>
              <a:cxnLst>
                <a:cxn ang="0">
                  <a:pos x="24" y="7"/>
                </a:cxn>
                <a:cxn ang="0">
                  <a:pos x="20" y="9"/>
                </a:cxn>
                <a:cxn ang="0">
                  <a:pos x="21" y="12"/>
                </a:cxn>
                <a:cxn ang="0">
                  <a:pos x="30" y="27"/>
                </a:cxn>
                <a:cxn ang="0">
                  <a:pos x="17" y="23"/>
                </a:cxn>
                <a:cxn ang="0">
                  <a:pos x="15" y="18"/>
                </a:cxn>
                <a:cxn ang="0">
                  <a:pos x="0" y="16"/>
                </a:cxn>
                <a:cxn ang="0">
                  <a:pos x="8" y="1"/>
                </a:cxn>
                <a:cxn ang="0">
                  <a:pos x="21" y="0"/>
                </a:cxn>
                <a:cxn ang="0">
                  <a:pos x="24" y="7"/>
                </a:cxn>
              </a:cxnLst>
              <a:rect l="0" t="0" r="r" b="b"/>
              <a:pathLst>
                <a:path w="30" h="27">
                  <a:moveTo>
                    <a:pt x="24" y="7"/>
                  </a:moveTo>
                  <a:lnTo>
                    <a:pt x="20" y="9"/>
                  </a:lnTo>
                  <a:lnTo>
                    <a:pt x="21" y="12"/>
                  </a:lnTo>
                  <a:lnTo>
                    <a:pt x="30" y="27"/>
                  </a:lnTo>
                  <a:lnTo>
                    <a:pt x="17" y="23"/>
                  </a:lnTo>
                  <a:lnTo>
                    <a:pt x="15" y="18"/>
                  </a:lnTo>
                  <a:lnTo>
                    <a:pt x="0" y="16"/>
                  </a:lnTo>
                  <a:lnTo>
                    <a:pt x="8" y="1"/>
                  </a:lnTo>
                  <a:lnTo>
                    <a:pt x="21" y="0"/>
                  </a:lnTo>
                  <a:lnTo>
                    <a:pt x="24"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4" name="Freeform 61"/>
            <p:cNvSpPr>
              <a:spLocks/>
            </p:cNvSpPr>
            <p:nvPr/>
          </p:nvSpPr>
          <p:spPr bwMode="auto">
            <a:xfrm>
              <a:off x="3893" y="2096"/>
              <a:ext cx="142" cy="80"/>
            </a:xfrm>
            <a:custGeom>
              <a:avLst/>
              <a:gdLst/>
              <a:ahLst/>
              <a:cxnLst>
                <a:cxn ang="0">
                  <a:pos x="73" y="56"/>
                </a:cxn>
                <a:cxn ang="0">
                  <a:pos x="54" y="54"/>
                </a:cxn>
                <a:cxn ang="0">
                  <a:pos x="39" y="50"/>
                </a:cxn>
                <a:cxn ang="0">
                  <a:pos x="19" y="41"/>
                </a:cxn>
                <a:cxn ang="0">
                  <a:pos x="0" y="30"/>
                </a:cxn>
                <a:cxn ang="0">
                  <a:pos x="0" y="19"/>
                </a:cxn>
                <a:cxn ang="0">
                  <a:pos x="9" y="5"/>
                </a:cxn>
                <a:cxn ang="0">
                  <a:pos x="10" y="6"/>
                </a:cxn>
                <a:cxn ang="0">
                  <a:pos x="16" y="0"/>
                </a:cxn>
                <a:cxn ang="0">
                  <a:pos x="29" y="8"/>
                </a:cxn>
                <a:cxn ang="0">
                  <a:pos x="49" y="23"/>
                </a:cxn>
                <a:cxn ang="0">
                  <a:pos x="55" y="20"/>
                </a:cxn>
                <a:cxn ang="0">
                  <a:pos x="60" y="26"/>
                </a:cxn>
                <a:cxn ang="0">
                  <a:pos x="75" y="32"/>
                </a:cxn>
                <a:cxn ang="0">
                  <a:pos x="77" y="36"/>
                </a:cxn>
                <a:cxn ang="0">
                  <a:pos x="93" y="43"/>
                </a:cxn>
                <a:cxn ang="0">
                  <a:pos x="107" y="44"/>
                </a:cxn>
                <a:cxn ang="0">
                  <a:pos x="125" y="47"/>
                </a:cxn>
                <a:cxn ang="0">
                  <a:pos x="130" y="72"/>
                </a:cxn>
                <a:cxn ang="0">
                  <a:pos x="113" y="71"/>
                </a:cxn>
                <a:cxn ang="0">
                  <a:pos x="93" y="68"/>
                </a:cxn>
                <a:cxn ang="0">
                  <a:pos x="82" y="65"/>
                </a:cxn>
                <a:cxn ang="0">
                  <a:pos x="73" y="56"/>
                </a:cxn>
              </a:cxnLst>
              <a:rect l="0" t="0" r="r" b="b"/>
              <a:pathLst>
                <a:path w="130" h="72">
                  <a:moveTo>
                    <a:pt x="73" y="56"/>
                  </a:moveTo>
                  <a:lnTo>
                    <a:pt x="54" y="54"/>
                  </a:lnTo>
                  <a:lnTo>
                    <a:pt x="39" y="50"/>
                  </a:lnTo>
                  <a:lnTo>
                    <a:pt x="19" y="41"/>
                  </a:lnTo>
                  <a:lnTo>
                    <a:pt x="0" y="30"/>
                  </a:lnTo>
                  <a:lnTo>
                    <a:pt x="0" y="19"/>
                  </a:lnTo>
                  <a:lnTo>
                    <a:pt x="9" y="5"/>
                  </a:lnTo>
                  <a:lnTo>
                    <a:pt x="10" y="6"/>
                  </a:lnTo>
                  <a:lnTo>
                    <a:pt x="16" y="0"/>
                  </a:lnTo>
                  <a:lnTo>
                    <a:pt x="29" y="8"/>
                  </a:lnTo>
                  <a:lnTo>
                    <a:pt x="49" y="23"/>
                  </a:lnTo>
                  <a:lnTo>
                    <a:pt x="55" y="20"/>
                  </a:lnTo>
                  <a:lnTo>
                    <a:pt x="60" y="26"/>
                  </a:lnTo>
                  <a:lnTo>
                    <a:pt x="75" y="32"/>
                  </a:lnTo>
                  <a:lnTo>
                    <a:pt x="77" y="36"/>
                  </a:lnTo>
                  <a:lnTo>
                    <a:pt x="93" y="43"/>
                  </a:lnTo>
                  <a:lnTo>
                    <a:pt x="107" y="44"/>
                  </a:lnTo>
                  <a:lnTo>
                    <a:pt x="125" y="47"/>
                  </a:lnTo>
                  <a:lnTo>
                    <a:pt x="130" y="72"/>
                  </a:lnTo>
                  <a:lnTo>
                    <a:pt x="113" y="71"/>
                  </a:lnTo>
                  <a:lnTo>
                    <a:pt x="93" y="68"/>
                  </a:lnTo>
                  <a:lnTo>
                    <a:pt x="82" y="65"/>
                  </a:lnTo>
                  <a:lnTo>
                    <a:pt x="73" y="5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5" name="Freeform 62"/>
            <p:cNvSpPr>
              <a:spLocks/>
            </p:cNvSpPr>
            <p:nvPr/>
          </p:nvSpPr>
          <p:spPr bwMode="auto">
            <a:xfrm>
              <a:off x="3562" y="1967"/>
              <a:ext cx="260" cy="263"/>
            </a:xfrm>
            <a:custGeom>
              <a:avLst/>
              <a:gdLst/>
              <a:ahLst/>
              <a:cxnLst>
                <a:cxn ang="0">
                  <a:pos x="102" y="217"/>
                </a:cxn>
                <a:cxn ang="0">
                  <a:pos x="116" y="233"/>
                </a:cxn>
                <a:cxn ang="0">
                  <a:pos x="135" y="234"/>
                </a:cxn>
                <a:cxn ang="0">
                  <a:pos x="148" y="229"/>
                </a:cxn>
                <a:cxn ang="0">
                  <a:pos x="169" y="227"/>
                </a:cxn>
                <a:cxn ang="0">
                  <a:pos x="156" y="203"/>
                </a:cxn>
                <a:cxn ang="0">
                  <a:pos x="140" y="185"/>
                </a:cxn>
                <a:cxn ang="0">
                  <a:pos x="154" y="165"/>
                </a:cxn>
                <a:cxn ang="0">
                  <a:pos x="180" y="149"/>
                </a:cxn>
                <a:cxn ang="0">
                  <a:pos x="196" y="120"/>
                </a:cxn>
                <a:cxn ang="0">
                  <a:pos x="200" y="95"/>
                </a:cxn>
                <a:cxn ang="0">
                  <a:pos x="204" y="82"/>
                </a:cxn>
                <a:cxn ang="0">
                  <a:pos x="190" y="71"/>
                </a:cxn>
                <a:cxn ang="0">
                  <a:pos x="187" y="57"/>
                </a:cxn>
                <a:cxn ang="0">
                  <a:pos x="180" y="42"/>
                </a:cxn>
                <a:cxn ang="0">
                  <a:pos x="219" y="40"/>
                </a:cxn>
                <a:cxn ang="0">
                  <a:pos x="213" y="22"/>
                </a:cxn>
                <a:cxn ang="0">
                  <a:pos x="195" y="5"/>
                </a:cxn>
                <a:cxn ang="0">
                  <a:pos x="159" y="4"/>
                </a:cxn>
                <a:cxn ang="0">
                  <a:pos x="134" y="19"/>
                </a:cxn>
                <a:cxn ang="0">
                  <a:pos x="138" y="47"/>
                </a:cxn>
                <a:cxn ang="0">
                  <a:pos x="122" y="57"/>
                </a:cxn>
                <a:cxn ang="0">
                  <a:pos x="118" y="77"/>
                </a:cxn>
                <a:cxn ang="0">
                  <a:pos x="103" y="96"/>
                </a:cxn>
                <a:cxn ang="0">
                  <a:pos x="84" y="107"/>
                </a:cxn>
                <a:cxn ang="0">
                  <a:pos x="81" y="129"/>
                </a:cxn>
                <a:cxn ang="0">
                  <a:pos x="49" y="136"/>
                </a:cxn>
                <a:cxn ang="0">
                  <a:pos x="13" y="132"/>
                </a:cxn>
                <a:cxn ang="0">
                  <a:pos x="10" y="141"/>
                </a:cxn>
                <a:cxn ang="0">
                  <a:pos x="33" y="159"/>
                </a:cxn>
                <a:cxn ang="0">
                  <a:pos x="43" y="179"/>
                </a:cxn>
                <a:cxn ang="0">
                  <a:pos x="30" y="192"/>
                </a:cxn>
                <a:cxn ang="0">
                  <a:pos x="22" y="213"/>
                </a:cxn>
                <a:cxn ang="0">
                  <a:pos x="51" y="211"/>
                </a:cxn>
                <a:cxn ang="0">
                  <a:pos x="80" y="209"/>
                </a:cxn>
              </a:cxnLst>
              <a:rect l="0" t="0" r="r" b="b"/>
              <a:pathLst>
                <a:path w="234" h="238">
                  <a:moveTo>
                    <a:pt x="96" y="208"/>
                  </a:moveTo>
                  <a:lnTo>
                    <a:pt x="102" y="217"/>
                  </a:lnTo>
                  <a:lnTo>
                    <a:pt x="108" y="220"/>
                  </a:lnTo>
                  <a:lnTo>
                    <a:pt x="116" y="233"/>
                  </a:lnTo>
                  <a:lnTo>
                    <a:pt x="128" y="238"/>
                  </a:lnTo>
                  <a:lnTo>
                    <a:pt x="135" y="234"/>
                  </a:lnTo>
                  <a:lnTo>
                    <a:pt x="135" y="228"/>
                  </a:lnTo>
                  <a:lnTo>
                    <a:pt x="148" y="229"/>
                  </a:lnTo>
                  <a:lnTo>
                    <a:pt x="163" y="227"/>
                  </a:lnTo>
                  <a:lnTo>
                    <a:pt x="169" y="227"/>
                  </a:lnTo>
                  <a:lnTo>
                    <a:pt x="162" y="204"/>
                  </a:lnTo>
                  <a:lnTo>
                    <a:pt x="156" y="203"/>
                  </a:lnTo>
                  <a:lnTo>
                    <a:pt x="152" y="191"/>
                  </a:lnTo>
                  <a:lnTo>
                    <a:pt x="140" y="185"/>
                  </a:lnTo>
                  <a:lnTo>
                    <a:pt x="148" y="163"/>
                  </a:lnTo>
                  <a:lnTo>
                    <a:pt x="154" y="165"/>
                  </a:lnTo>
                  <a:lnTo>
                    <a:pt x="170" y="165"/>
                  </a:lnTo>
                  <a:lnTo>
                    <a:pt x="180" y="149"/>
                  </a:lnTo>
                  <a:lnTo>
                    <a:pt x="189" y="133"/>
                  </a:lnTo>
                  <a:lnTo>
                    <a:pt x="196" y="120"/>
                  </a:lnTo>
                  <a:lnTo>
                    <a:pt x="204" y="108"/>
                  </a:lnTo>
                  <a:lnTo>
                    <a:pt x="200" y="95"/>
                  </a:lnTo>
                  <a:lnTo>
                    <a:pt x="211" y="88"/>
                  </a:lnTo>
                  <a:lnTo>
                    <a:pt x="204" y="82"/>
                  </a:lnTo>
                  <a:lnTo>
                    <a:pt x="198" y="76"/>
                  </a:lnTo>
                  <a:lnTo>
                    <a:pt x="190" y="71"/>
                  </a:lnTo>
                  <a:lnTo>
                    <a:pt x="187" y="61"/>
                  </a:lnTo>
                  <a:lnTo>
                    <a:pt x="187" y="57"/>
                  </a:lnTo>
                  <a:lnTo>
                    <a:pt x="180" y="48"/>
                  </a:lnTo>
                  <a:lnTo>
                    <a:pt x="180" y="42"/>
                  </a:lnTo>
                  <a:lnTo>
                    <a:pt x="202" y="46"/>
                  </a:lnTo>
                  <a:lnTo>
                    <a:pt x="219" y="40"/>
                  </a:lnTo>
                  <a:lnTo>
                    <a:pt x="234" y="28"/>
                  </a:lnTo>
                  <a:lnTo>
                    <a:pt x="213" y="22"/>
                  </a:lnTo>
                  <a:lnTo>
                    <a:pt x="202" y="17"/>
                  </a:lnTo>
                  <a:lnTo>
                    <a:pt x="195" y="5"/>
                  </a:lnTo>
                  <a:lnTo>
                    <a:pt x="177" y="0"/>
                  </a:lnTo>
                  <a:lnTo>
                    <a:pt x="159" y="4"/>
                  </a:lnTo>
                  <a:lnTo>
                    <a:pt x="141" y="9"/>
                  </a:lnTo>
                  <a:lnTo>
                    <a:pt x="134" y="19"/>
                  </a:lnTo>
                  <a:lnTo>
                    <a:pt x="142" y="34"/>
                  </a:lnTo>
                  <a:lnTo>
                    <a:pt x="138" y="47"/>
                  </a:lnTo>
                  <a:lnTo>
                    <a:pt x="135" y="55"/>
                  </a:lnTo>
                  <a:lnTo>
                    <a:pt x="122" y="57"/>
                  </a:lnTo>
                  <a:lnTo>
                    <a:pt x="130" y="66"/>
                  </a:lnTo>
                  <a:lnTo>
                    <a:pt x="118" y="77"/>
                  </a:lnTo>
                  <a:lnTo>
                    <a:pt x="117" y="96"/>
                  </a:lnTo>
                  <a:lnTo>
                    <a:pt x="103" y="96"/>
                  </a:lnTo>
                  <a:lnTo>
                    <a:pt x="98" y="101"/>
                  </a:lnTo>
                  <a:lnTo>
                    <a:pt x="84" y="107"/>
                  </a:lnTo>
                  <a:lnTo>
                    <a:pt x="81" y="121"/>
                  </a:lnTo>
                  <a:lnTo>
                    <a:pt x="81" y="129"/>
                  </a:lnTo>
                  <a:lnTo>
                    <a:pt x="66" y="132"/>
                  </a:lnTo>
                  <a:lnTo>
                    <a:pt x="49" y="136"/>
                  </a:lnTo>
                  <a:lnTo>
                    <a:pt x="25" y="137"/>
                  </a:lnTo>
                  <a:lnTo>
                    <a:pt x="13" y="132"/>
                  </a:lnTo>
                  <a:lnTo>
                    <a:pt x="0" y="129"/>
                  </a:lnTo>
                  <a:lnTo>
                    <a:pt x="10" y="141"/>
                  </a:lnTo>
                  <a:lnTo>
                    <a:pt x="21" y="153"/>
                  </a:lnTo>
                  <a:lnTo>
                    <a:pt x="33" y="159"/>
                  </a:lnTo>
                  <a:lnTo>
                    <a:pt x="38" y="177"/>
                  </a:lnTo>
                  <a:lnTo>
                    <a:pt x="43" y="179"/>
                  </a:lnTo>
                  <a:lnTo>
                    <a:pt x="43" y="186"/>
                  </a:lnTo>
                  <a:lnTo>
                    <a:pt x="30" y="192"/>
                  </a:lnTo>
                  <a:lnTo>
                    <a:pt x="24" y="198"/>
                  </a:lnTo>
                  <a:lnTo>
                    <a:pt x="22" y="213"/>
                  </a:lnTo>
                  <a:lnTo>
                    <a:pt x="37" y="211"/>
                  </a:lnTo>
                  <a:lnTo>
                    <a:pt x="51" y="211"/>
                  </a:lnTo>
                  <a:lnTo>
                    <a:pt x="63" y="210"/>
                  </a:lnTo>
                  <a:lnTo>
                    <a:pt x="80" y="209"/>
                  </a:lnTo>
                  <a:lnTo>
                    <a:pt x="96" y="20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6" name="Freeform 63"/>
            <p:cNvSpPr>
              <a:spLocks/>
            </p:cNvSpPr>
            <p:nvPr/>
          </p:nvSpPr>
          <p:spPr bwMode="auto">
            <a:xfrm>
              <a:off x="2951" y="2074"/>
              <a:ext cx="196" cy="196"/>
            </a:xfrm>
            <a:custGeom>
              <a:avLst/>
              <a:gdLst/>
              <a:ahLst/>
              <a:cxnLst>
                <a:cxn ang="0">
                  <a:pos x="139" y="66"/>
                </a:cxn>
                <a:cxn ang="0">
                  <a:pos x="130" y="49"/>
                </a:cxn>
                <a:cxn ang="0">
                  <a:pos x="119" y="33"/>
                </a:cxn>
                <a:cxn ang="0">
                  <a:pos x="116" y="34"/>
                </a:cxn>
                <a:cxn ang="0">
                  <a:pos x="122" y="48"/>
                </a:cxn>
                <a:cxn ang="0">
                  <a:pos x="130" y="61"/>
                </a:cxn>
                <a:cxn ang="0">
                  <a:pos x="137" y="75"/>
                </a:cxn>
                <a:cxn ang="0">
                  <a:pos x="143" y="88"/>
                </a:cxn>
                <a:cxn ang="0">
                  <a:pos x="150" y="100"/>
                </a:cxn>
                <a:cxn ang="0">
                  <a:pos x="157" y="113"/>
                </a:cxn>
                <a:cxn ang="0">
                  <a:pos x="166" y="125"/>
                </a:cxn>
                <a:cxn ang="0">
                  <a:pos x="175" y="138"/>
                </a:cxn>
                <a:cxn ang="0">
                  <a:pos x="173" y="139"/>
                </a:cxn>
                <a:cxn ang="0">
                  <a:pos x="174" y="154"/>
                </a:cxn>
                <a:cxn ang="0">
                  <a:pos x="168" y="160"/>
                </a:cxn>
                <a:cxn ang="0">
                  <a:pos x="164" y="159"/>
                </a:cxn>
                <a:cxn ang="0">
                  <a:pos x="161" y="168"/>
                </a:cxn>
                <a:cxn ang="0">
                  <a:pos x="152" y="171"/>
                </a:cxn>
                <a:cxn ang="0">
                  <a:pos x="149" y="178"/>
                </a:cxn>
                <a:cxn ang="0">
                  <a:pos x="130" y="177"/>
                </a:cxn>
                <a:cxn ang="0">
                  <a:pos x="110" y="174"/>
                </a:cxn>
                <a:cxn ang="0">
                  <a:pos x="109" y="169"/>
                </a:cxn>
                <a:cxn ang="0">
                  <a:pos x="108" y="174"/>
                </a:cxn>
                <a:cxn ang="0">
                  <a:pos x="96" y="174"/>
                </a:cxn>
                <a:cxn ang="0">
                  <a:pos x="83" y="174"/>
                </a:cxn>
                <a:cxn ang="0">
                  <a:pos x="71" y="174"/>
                </a:cxn>
                <a:cxn ang="0">
                  <a:pos x="59" y="174"/>
                </a:cxn>
                <a:cxn ang="0">
                  <a:pos x="47" y="174"/>
                </a:cxn>
                <a:cxn ang="0">
                  <a:pos x="35" y="174"/>
                </a:cxn>
                <a:cxn ang="0">
                  <a:pos x="23" y="174"/>
                </a:cxn>
                <a:cxn ang="0">
                  <a:pos x="11" y="174"/>
                </a:cxn>
                <a:cxn ang="0">
                  <a:pos x="10" y="157"/>
                </a:cxn>
                <a:cxn ang="0">
                  <a:pos x="8" y="141"/>
                </a:cxn>
                <a:cxn ang="0">
                  <a:pos x="7" y="124"/>
                </a:cxn>
                <a:cxn ang="0">
                  <a:pos x="6" y="107"/>
                </a:cxn>
                <a:cxn ang="0">
                  <a:pos x="5" y="90"/>
                </a:cxn>
                <a:cxn ang="0">
                  <a:pos x="4" y="73"/>
                </a:cxn>
                <a:cxn ang="0">
                  <a:pos x="2" y="57"/>
                </a:cxn>
                <a:cxn ang="0">
                  <a:pos x="1" y="39"/>
                </a:cxn>
                <a:cxn ang="0">
                  <a:pos x="1" y="25"/>
                </a:cxn>
                <a:cxn ang="0">
                  <a:pos x="0" y="12"/>
                </a:cxn>
                <a:cxn ang="0">
                  <a:pos x="2" y="0"/>
                </a:cxn>
                <a:cxn ang="0">
                  <a:pos x="13" y="1"/>
                </a:cxn>
                <a:cxn ang="0">
                  <a:pos x="36" y="7"/>
                </a:cxn>
                <a:cxn ang="0">
                  <a:pos x="60" y="15"/>
                </a:cxn>
                <a:cxn ang="0">
                  <a:pos x="80" y="7"/>
                </a:cxn>
                <a:cxn ang="0">
                  <a:pos x="91" y="1"/>
                </a:cxn>
                <a:cxn ang="0">
                  <a:pos x="86" y="5"/>
                </a:cxn>
                <a:cxn ang="0">
                  <a:pos x="94" y="3"/>
                </a:cxn>
                <a:cxn ang="0">
                  <a:pos x="107" y="6"/>
                </a:cxn>
                <a:cxn ang="0">
                  <a:pos x="112" y="10"/>
                </a:cxn>
                <a:cxn ang="0">
                  <a:pos x="119" y="11"/>
                </a:cxn>
                <a:cxn ang="0">
                  <a:pos x="140" y="6"/>
                </a:cxn>
                <a:cxn ang="0">
                  <a:pos x="148" y="23"/>
                </a:cxn>
                <a:cxn ang="0">
                  <a:pos x="155" y="40"/>
                </a:cxn>
                <a:cxn ang="0">
                  <a:pos x="151" y="54"/>
                </a:cxn>
                <a:cxn ang="0">
                  <a:pos x="148" y="69"/>
                </a:cxn>
                <a:cxn ang="0">
                  <a:pos x="139" y="66"/>
                </a:cxn>
              </a:cxnLst>
              <a:rect l="0" t="0" r="r" b="b"/>
              <a:pathLst>
                <a:path w="175" h="178">
                  <a:moveTo>
                    <a:pt x="139" y="66"/>
                  </a:moveTo>
                  <a:lnTo>
                    <a:pt x="130" y="49"/>
                  </a:lnTo>
                  <a:lnTo>
                    <a:pt x="119" y="33"/>
                  </a:lnTo>
                  <a:lnTo>
                    <a:pt x="116" y="34"/>
                  </a:lnTo>
                  <a:lnTo>
                    <a:pt x="122" y="48"/>
                  </a:lnTo>
                  <a:lnTo>
                    <a:pt x="130" y="61"/>
                  </a:lnTo>
                  <a:lnTo>
                    <a:pt x="137" y="75"/>
                  </a:lnTo>
                  <a:lnTo>
                    <a:pt x="143" y="88"/>
                  </a:lnTo>
                  <a:lnTo>
                    <a:pt x="150" y="100"/>
                  </a:lnTo>
                  <a:lnTo>
                    <a:pt x="157" y="113"/>
                  </a:lnTo>
                  <a:lnTo>
                    <a:pt x="166" y="125"/>
                  </a:lnTo>
                  <a:lnTo>
                    <a:pt x="175" y="138"/>
                  </a:lnTo>
                  <a:lnTo>
                    <a:pt x="173" y="139"/>
                  </a:lnTo>
                  <a:lnTo>
                    <a:pt x="174" y="154"/>
                  </a:lnTo>
                  <a:lnTo>
                    <a:pt x="168" y="160"/>
                  </a:lnTo>
                  <a:lnTo>
                    <a:pt x="164" y="159"/>
                  </a:lnTo>
                  <a:lnTo>
                    <a:pt x="161" y="168"/>
                  </a:lnTo>
                  <a:lnTo>
                    <a:pt x="152" y="171"/>
                  </a:lnTo>
                  <a:lnTo>
                    <a:pt x="149" y="178"/>
                  </a:lnTo>
                  <a:lnTo>
                    <a:pt x="130" y="177"/>
                  </a:lnTo>
                  <a:lnTo>
                    <a:pt x="110" y="174"/>
                  </a:lnTo>
                  <a:lnTo>
                    <a:pt x="109" y="169"/>
                  </a:lnTo>
                  <a:lnTo>
                    <a:pt x="108" y="174"/>
                  </a:lnTo>
                  <a:lnTo>
                    <a:pt x="96" y="174"/>
                  </a:lnTo>
                  <a:lnTo>
                    <a:pt x="83" y="174"/>
                  </a:lnTo>
                  <a:lnTo>
                    <a:pt x="71" y="174"/>
                  </a:lnTo>
                  <a:lnTo>
                    <a:pt x="59" y="174"/>
                  </a:lnTo>
                  <a:lnTo>
                    <a:pt x="47" y="174"/>
                  </a:lnTo>
                  <a:lnTo>
                    <a:pt x="35" y="174"/>
                  </a:lnTo>
                  <a:lnTo>
                    <a:pt x="23" y="174"/>
                  </a:lnTo>
                  <a:lnTo>
                    <a:pt x="11" y="174"/>
                  </a:lnTo>
                  <a:lnTo>
                    <a:pt x="10" y="157"/>
                  </a:lnTo>
                  <a:lnTo>
                    <a:pt x="8" y="141"/>
                  </a:lnTo>
                  <a:lnTo>
                    <a:pt x="7" y="124"/>
                  </a:lnTo>
                  <a:lnTo>
                    <a:pt x="6" y="107"/>
                  </a:lnTo>
                  <a:lnTo>
                    <a:pt x="5" y="90"/>
                  </a:lnTo>
                  <a:lnTo>
                    <a:pt x="4" y="73"/>
                  </a:lnTo>
                  <a:lnTo>
                    <a:pt x="2" y="57"/>
                  </a:lnTo>
                  <a:lnTo>
                    <a:pt x="1" y="39"/>
                  </a:lnTo>
                  <a:lnTo>
                    <a:pt x="1" y="25"/>
                  </a:lnTo>
                  <a:lnTo>
                    <a:pt x="0" y="12"/>
                  </a:lnTo>
                  <a:lnTo>
                    <a:pt x="2" y="0"/>
                  </a:lnTo>
                  <a:lnTo>
                    <a:pt x="13" y="1"/>
                  </a:lnTo>
                  <a:lnTo>
                    <a:pt x="36" y="7"/>
                  </a:lnTo>
                  <a:lnTo>
                    <a:pt x="60" y="15"/>
                  </a:lnTo>
                  <a:lnTo>
                    <a:pt x="80" y="7"/>
                  </a:lnTo>
                  <a:lnTo>
                    <a:pt x="91" y="1"/>
                  </a:lnTo>
                  <a:lnTo>
                    <a:pt x="86" y="5"/>
                  </a:lnTo>
                  <a:lnTo>
                    <a:pt x="94" y="3"/>
                  </a:lnTo>
                  <a:lnTo>
                    <a:pt x="107" y="6"/>
                  </a:lnTo>
                  <a:lnTo>
                    <a:pt x="112" y="10"/>
                  </a:lnTo>
                  <a:lnTo>
                    <a:pt x="119" y="11"/>
                  </a:lnTo>
                  <a:lnTo>
                    <a:pt x="140" y="6"/>
                  </a:lnTo>
                  <a:lnTo>
                    <a:pt x="148" y="23"/>
                  </a:lnTo>
                  <a:lnTo>
                    <a:pt x="155" y="40"/>
                  </a:lnTo>
                  <a:lnTo>
                    <a:pt x="151" y="54"/>
                  </a:lnTo>
                  <a:lnTo>
                    <a:pt x="148" y="69"/>
                  </a:lnTo>
                  <a:lnTo>
                    <a:pt x="139" y="6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7" name="Freeform 64"/>
            <p:cNvSpPr>
              <a:spLocks/>
            </p:cNvSpPr>
            <p:nvPr/>
          </p:nvSpPr>
          <p:spPr bwMode="auto">
            <a:xfrm>
              <a:off x="3704" y="1996"/>
              <a:ext cx="482" cy="547"/>
            </a:xfrm>
            <a:custGeom>
              <a:avLst/>
              <a:gdLst/>
              <a:ahLst/>
              <a:cxnLst>
                <a:cxn ang="0">
                  <a:pos x="74" y="18"/>
                </a:cxn>
                <a:cxn ang="0">
                  <a:pos x="59" y="29"/>
                </a:cxn>
                <a:cxn ang="0">
                  <a:pos x="70" y="48"/>
                </a:cxn>
                <a:cxn ang="0">
                  <a:pos x="72" y="67"/>
                </a:cxn>
                <a:cxn ang="0">
                  <a:pos x="61" y="105"/>
                </a:cxn>
                <a:cxn ang="0">
                  <a:pos x="26" y="137"/>
                </a:cxn>
                <a:cxn ang="0">
                  <a:pos x="24" y="163"/>
                </a:cxn>
                <a:cxn ang="0">
                  <a:pos x="41" y="199"/>
                </a:cxn>
                <a:cxn ang="0">
                  <a:pos x="7" y="200"/>
                </a:cxn>
                <a:cxn ang="0">
                  <a:pos x="0" y="211"/>
                </a:cxn>
                <a:cxn ang="0">
                  <a:pos x="17" y="227"/>
                </a:cxn>
                <a:cxn ang="0">
                  <a:pos x="23" y="235"/>
                </a:cxn>
                <a:cxn ang="0">
                  <a:pos x="42" y="264"/>
                </a:cxn>
                <a:cxn ang="0">
                  <a:pos x="66" y="237"/>
                </a:cxn>
                <a:cxn ang="0">
                  <a:pos x="71" y="246"/>
                </a:cxn>
                <a:cxn ang="0">
                  <a:pos x="77" y="260"/>
                </a:cxn>
                <a:cxn ang="0">
                  <a:pos x="83" y="295"/>
                </a:cxn>
                <a:cxn ang="0">
                  <a:pos x="95" y="339"/>
                </a:cxn>
                <a:cxn ang="0">
                  <a:pos x="113" y="381"/>
                </a:cxn>
                <a:cxn ang="0">
                  <a:pos x="136" y="432"/>
                </a:cxn>
                <a:cxn ang="0">
                  <a:pos x="155" y="473"/>
                </a:cxn>
                <a:cxn ang="0">
                  <a:pos x="179" y="482"/>
                </a:cxn>
                <a:cxn ang="0">
                  <a:pos x="192" y="464"/>
                </a:cxn>
                <a:cxn ang="0">
                  <a:pos x="204" y="438"/>
                </a:cxn>
                <a:cxn ang="0">
                  <a:pos x="208" y="396"/>
                </a:cxn>
                <a:cxn ang="0">
                  <a:pos x="211" y="353"/>
                </a:cxn>
                <a:cxn ang="0">
                  <a:pos x="221" y="343"/>
                </a:cxn>
                <a:cxn ang="0">
                  <a:pos x="251" y="312"/>
                </a:cxn>
                <a:cxn ang="0">
                  <a:pos x="288" y="277"/>
                </a:cxn>
                <a:cxn ang="0">
                  <a:pos x="312" y="241"/>
                </a:cxn>
                <a:cxn ang="0">
                  <a:pos x="324" y="247"/>
                </a:cxn>
                <a:cxn ang="0">
                  <a:pos x="323" y="229"/>
                </a:cxn>
                <a:cxn ang="0">
                  <a:pos x="305" y="195"/>
                </a:cxn>
                <a:cxn ang="0">
                  <a:pos x="304" y="174"/>
                </a:cxn>
                <a:cxn ang="0">
                  <a:pos x="319" y="170"/>
                </a:cxn>
                <a:cxn ang="0">
                  <a:pos x="346" y="183"/>
                </a:cxn>
                <a:cxn ang="0">
                  <a:pos x="368" y="198"/>
                </a:cxn>
                <a:cxn ang="0">
                  <a:pos x="362" y="224"/>
                </a:cxn>
                <a:cxn ang="0">
                  <a:pos x="382" y="242"/>
                </a:cxn>
                <a:cxn ang="0">
                  <a:pos x="389" y="223"/>
                </a:cxn>
                <a:cxn ang="0">
                  <a:pos x="406" y="186"/>
                </a:cxn>
                <a:cxn ang="0">
                  <a:pos x="421" y="147"/>
                </a:cxn>
                <a:cxn ang="0">
                  <a:pos x="432" y="139"/>
                </a:cxn>
                <a:cxn ang="0">
                  <a:pos x="418" y="116"/>
                </a:cxn>
                <a:cxn ang="0">
                  <a:pos x="407" y="109"/>
                </a:cxn>
                <a:cxn ang="0">
                  <a:pos x="374" y="122"/>
                </a:cxn>
                <a:cxn ang="0">
                  <a:pos x="348" y="138"/>
                </a:cxn>
                <a:cxn ang="0">
                  <a:pos x="344" y="155"/>
                </a:cxn>
                <a:cxn ang="0">
                  <a:pos x="308" y="146"/>
                </a:cxn>
                <a:cxn ang="0">
                  <a:pos x="299" y="162"/>
                </a:cxn>
                <a:cxn ang="0">
                  <a:pos x="251" y="155"/>
                </a:cxn>
                <a:cxn ang="0">
                  <a:pos x="208" y="140"/>
                </a:cxn>
                <a:cxn ang="0">
                  <a:pos x="169" y="109"/>
                </a:cxn>
                <a:cxn ang="0">
                  <a:pos x="144" y="74"/>
                </a:cxn>
                <a:cxn ang="0">
                  <a:pos x="139" y="54"/>
                </a:cxn>
                <a:cxn ang="0">
                  <a:pos x="132" y="26"/>
                </a:cxn>
                <a:cxn ang="0">
                  <a:pos x="127" y="19"/>
                </a:cxn>
                <a:cxn ang="0">
                  <a:pos x="122" y="6"/>
                </a:cxn>
                <a:cxn ang="0">
                  <a:pos x="106" y="0"/>
                </a:cxn>
              </a:cxnLst>
              <a:rect l="0" t="0" r="r" b="b"/>
              <a:pathLst>
                <a:path w="434" h="491">
                  <a:moveTo>
                    <a:pt x="106" y="0"/>
                  </a:moveTo>
                  <a:lnTo>
                    <a:pt x="91" y="12"/>
                  </a:lnTo>
                  <a:lnTo>
                    <a:pt x="74" y="18"/>
                  </a:lnTo>
                  <a:lnTo>
                    <a:pt x="52" y="14"/>
                  </a:lnTo>
                  <a:lnTo>
                    <a:pt x="52" y="20"/>
                  </a:lnTo>
                  <a:lnTo>
                    <a:pt x="59" y="29"/>
                  </a:lnTo>
                  <a:lnTo>
                    <a:pt x="59" y="33"/>
                  </a:lnTo>
                  <a:lnTo>
                    <a:pt x="62" y="43"/>
                  </a:lnTo>
                  <a:lnTo>
                    <a:pt x="70" y="48"/>
                  </a:lnTo>
                  <a:lnTo>
                    <a:pt x="76" y="54"/>
                  </a:lnTo>
                  <a:lnTo>
                    <a:pt x="83" y="60"/>
                  </a:lnTo>
                  <a:lnTo>
                    <a:pt x="72" y="67"/>
                  </a:lnTo>
                  <a:lnTo>
                    <a:pt x="76" y="80"/>
                  </a:lnTo>
                  <a:lnTo>
                    <a:pt x="68" y="92"/>
                  </a:lnTo>
                  <a:lnTo>
                    <a:pt x="61" y="105"/>
                  </a:lnTo>
                  <a:lnTo>
                    <a:pt x="52" y="121"/>
                  </a:lnTo>
                  <a:lnTo>
                    <a:pt x="42" y="137"/>
                  </a:lnTo>
                  <a:lnTo>
                    <a:pt x="26" y="137"/>
                  </a:lnTo>
                  <a:lnTo>
                    <a:pt x="20" y="135"/>
                  </a:lnTo>
                  <a:lnTo>
                    <a:pt x="12" y="157"/>
                  </a:lnTo>
                  <a:lnTo>
                    <a:pt x="24" y="163"/>
                  </a:lnTo>
                  <a:lnTo>
                    <a:pt x="28" y="175"/>
                  </a:lnTo>
                  <a:lnTo>
                    <a:pt x="34" y="176"/>
                  </a:lnTo>
                  <a:lnTo>
                    <a:pt x="41" y="199"/>
                  </a:lnTo>
                  <a:lnTo>
                    <a:pt x="35" y="199"/>
                  </a:lnTo>
                  <a:lnTo>
                    <a:pt x="20" y="201"/>
                  </a:lnTo>
                  <a:lnTo>
                    <a:pt x="7" y="200"/>
                  </a:lnTo>
                  <a:lnTo>
                    <a:pt x="7" y="206"/>
                  </a:lnTo>
                  <a:lnTo>
                    <a:pt x="0" y="210"/>
                  </a:lnTo>
                  <a:lnTo>
                    <a:pt x="0" y="211"/>
                  </a:lnTo>
                  <a:lnTo>
                    <a:pt x="6" y="209"/>
                  </a:lnTo>
                  <a:lnTo>
                    <a:pt x="4" y="213"/>
                  </a:lnTo>
                  <a:lnTo>
                    <a:pt x="17" y="227"/>
                  </a:lnTo>
                  <a:lnTo>
                    <a:pt x="35" y="224"/>
                  </a:lnTo>
                  <a:lnTo>
                    <a:pt x="34" y="228"/>
                  </a:lnTo>
                  <a:lnTo>
                    <a:pt x="23" y="235"/>
                  </a:lnTo>
                  <a:lnTo>
                    <a:pt x="14" y="234"/>
                  </a:lnTo>
                  <a:lnTo>
                    <a:pt x="29" y="248"/>
                  </a:lnTo>
                  <a:lnTo>
                    <a:pt x="42" y="264"/>
                  </a:lnTo>
                  <a:lnTo>
                    <a:pt x="64" y="258"/>
                  </a:lnTo>
                  <a:lnTo>
                    <a:pt x="65" y="246"/>
                  </a:lnTo>
                  <a:lnTo>
                    <a:pt x="66" y="237"/>
                  </a:lnTo>
                  <a:lnTo>
                    <a:pt x="74" y="237"/>
                  </a:lnTo>
                  <a:lnTo>
                    <a:pt x="72" y="242"/>
                  </a:lnTo>
                  <a:lnTo>
                    <a:pt x="71" y="246"/>
                  </a:lnTo>
                  <a:lnTo>
                    <a:pt x="79" y="246"/>
                  </a:lnTo>
                  <a:lnTo>
                    <a:pt x="74" y="252"/>
                  </a:lnTo>
                  <a:lnTo>
                    <a:pt x="77" y="260"/>
                  </a:lnTo>
                  <a:lnTo>
                    <a:pt x="77" y="272"/>
                  </a:lnTo>
                  <a:lnTo>
                    <a:pt x="82" y="290"/>
                  </a:lnTo>
                  <a:lnTo>
                    <a:pt x="83" y="295"/>
                  </a:lnTo>
                  <a:lnTo>
                    <a:pt x="84" y="300"/>
                  </a:lnTo>
                  <a:lnTo>
                    <a:pt x="89" y="321"/>
                  </a:lnTo>
                  <a:lnTo>
                    <a:pt x="95" y="339"/>
                  </a:lnTo>
                  <a:lnTo>
                    <a:pt x="101" y="356"/>
                  </a:lnTo>
                  <a:lnTo>
                    <a:pt x="104" y="361"/>
                  </a:lnTo>
                  <a:lnTo>
                    <a:pt x="113" y="381"/>
                  </a:lnTo>
                  <a:lnTo>
                    <a:pt x="121" y="402"/>
                  </a:lnTo>
                  <a:lnTo>
                    <a:pt x="128" y="416"/>
                  </a:lnTo>
                  <a:lnTo>
                    <a:pt x="136" y="432"/>
                  </a:lnTo>
                  <a:lnTo>
                    <a:pt x="143" y="446"/>
                  </a:lnTo>
                  <a:lnTo>
                    <a:pt x="148" y="458"/>
                  </a:lnTo>
                  <a:lnTo>
                    <a:pt x="155" y="473"/>
                  </a:lnTo>
                  <a:lnTo>
                    <a:pt x="161" y="486"/>
                  </a:lnTo>
                  <a:lnTo>
                    <a:pt x="170" y="491"/>
                  </a:lnTo>
                  <a:lnTo>
                    <a:pt x="179" y="482"/>
                  </a:lnTo>
                  <a:lnTo>
                    <a:pt x="188" y="473"/>
                  </a:lnTo>
                  <a:lnTo>
                    <a:pt x="198" y="471"/>
                  </a:lnTo>
                  <a:lnTo>
                    <a:pt x="192" y="464"/>
                  </a:lnTo>
                  <a:lnTo>
                    <a:pt x="200" y="451"/>
                  </a:lnTo>
                  <a:lnTo>
                    <a:pt x="205" y="451"/>
                  </a:lnTo>
                  <a:lnTo>
                    <a:pt x="204" y="438"/>
                  </a:lnTo>
                  <a:lnTo>
                    <a:pt x="202" y="425"/>
                  </a:lnTo>
                  <a:lnTo>
                    <a:pt x="205" y="410"/>
                  </a:lnTo>
                  <a:lnTo>
                    <a:pt x="208" y="396"/>
                  </a:lnTo>
                  <a:lnTo>
                    <a:pt x="204" y="379"/>
                  </a:lnTo>
                  <a:lnTo>
                    <a:pt x="203" y="359"/>
                  </a:lnTo>
                  <a:lnTo>
                    <a:pt x="211" y="353"/>
                  </a:lnTo>
                  <a:lnTo>
                    <a:pt x="214" y="351"/>
                  </a:lnTo>
                  <a:lnTo>
                    <a:pt x="217" y="350"/>
                  </a:lnTo>
                  <a:lnTo>
                    <a:pt x="221" y="343"/>
                  </a:lnTo>
                  <a:lnTo>
                    <a:pt x="234" y="338"/>
                  </a:lnTo>
                  <a:lnTo>
                    <a:pt x="236" y="327"/>
                  </a:lnTo>
                  <a:lnTo>
                    <a:pt x="251" y="312"/>
                  </a:lnTo>
                  <a:lnTo>
                    <a:pt x="266" y="296"/>
                  </a:lnTo>
                  <a:lnTo>
                    <a:pt x="278" y="283"/>
                  </a:lnTo>
                  <a:lnTo>
                    <a:pt x="288" y="277"/>
                  </a:lnTo>
                  <a:lnTo>
                    <a:pt x="296" y="264"/>
                  </a:lnTo>
                  <a:lnTo>
                    <a:pt x="298" y="251"/>
                  </a:lnTo>
                  <a:lnTo>
                    <a:pt x="312" y="241"/>
                  </a:lnTo>
                  <a:lnTo>
                    <a:pt x="316" y="248"/>
                  </a:lnTo>
                  <a:lnTo>
                    <a:pt x="320" y="248"/>
                  </a:lnTo>
                  <a:lnTo>
                    <a:pt x="324" y="247"/>
                  </a:lnTo>
                  <a:lnTo>
                    <a:pt x="328" y="248"/>
                  </a:lnTo>
                  <a:lnTo>
                    <a:pt x="328" y="243"/>
                  </a:lnTo>
                  <a:lnTo>
                    <a:pt x="323" y="229"/>
                  </a:lnTo>
                  <a:lnTo>
                    <a:pt x="318" y="216"/>
                  </a:lnTo>
                  <a:lnTo>
                    <a:pt x="317" y="205"/>
                  </a:lnTo>
                  <a:lnTo>
                    <a:pt x="305" y="195"/>
                  </a:lnTo>
                  <a:lnTo>
                    <a:pt x="310" y="188"/>
                  </a:lnTo>
                  <a:lnTo>
                    <a:pt x="316" y="185"/>
                  </a:lnTo>
                  <a:lnTo>
                    <a:pt x="304" y="174"/>
                  </a:lnTo>
                  <a:lnTo>
                    <a:pt x="304" y="161"/>
                  </a:lnTo>
                  <a:lnTo>
                    <a:pt x="314" y="164"/>
                  </a:lnTo>
                  <a:lnTo>
                    <a:pt x="319" y="170"/>
                  </a:lnTo>
                  <a:lnTo>
                    <a:pt x="323" y="167"/>
                  </a:lnTo>
                  <a:lnTo>
                    <a:pt x="329" y="181"/>
                  </a:lnTo>
                  <a:lnTo>
                    <a:pt x="346" y="183"/>
                  </a:lnTo>
                  <a:lnTo>
                    <a:pt x="362" y="185"/>
                  </a:lnTo>
                  <a:lnTo>
                    <a:pt x="371" y="191"/>
                  </a:lnTo>
                  <a:lnTo>
                    <a:pt x="368" y="198"/>
                  </a:lnTo>
                  <a:lnTo>
                    <a:pt x="356" y="206"/>
                  </a:lnTo>
                  <a:lnTo>
                    <a:pt x="360" y="221"/>
                  </a:lnTo>
                  <a:lnTo>
                    <a:pt x="362" y="224"/>
                  </a:lnTo>
                  <a:lnTo>
                    <a:pt x="370" y="211"/>
                  </a:lnTo>
                  <a:lnTo>
                    <a:pt x="376" y="227"/>
                  </a:lnTo>
                  <a:lnTo>
                    <a:pt x="382" y="242"/>
                  </a:lnTo>
                  <a:lnTo>
                    <a:pt x="383" y="241"/>
                  </a:lnTo>
                  <a:lnTo>
                    <a:pt x="388" y="242"/>
                  </a:lnTo>
                  <a:lnTo>
                    <a:pt x="389" y="223"/>
                  </a:lnTo>
                  <a:lnTo>
                    <a:pt x="389" y="207"/>
                  </a:lnTo>
                  <a:lnTo>
                    <a:pt x="398" y="207"/>
                  </a:lnTo>
                  <a:lnTo>
                    <a:pt x="406" y="186"/>
                  </a:lnTo>
                  <a:lnTo>
                    <a:pt x="407" y="177"/>
                  </a:lnTo>
                  <a:lnTo>
                    <a:pt x="407" y="163"/>
                  </a:lnTo>
                  <a:lnTo>
                    <a:pt x="421" y="147"/>
                  </a:lnTo>
                  <a:lnTo>
                    <a:pt x="433" y="150"/>
                  </a:lnTo>
                  <a:lnTo>
                    <a:pt x="431" y="144"/>
                  </a:lnTo>
                  <a:lnTo>
                    <a:pt x="432" y="139"/>
                  </a:lnTo>
                  <a:lnTo>
                    <a:pt x="434" y="131"/>
                  </a:lnTo>
                  <a:lnTo>
                    <a:pt x="418" y="125"/>
                  </a:lnTo>
                  <a:lnTo>
                    <a:pt x="418" y="116"/>
                  </a:lnTo>
                  <a:lnTo>
                    <a:pt x="412" y="115"/>
                  </a:lnTo>
                  <a:lnTo>
                    <a:pt x="413" y="111"/>
                  </a:lnTo>
                  <a:lnTo>
                    <a:pt x="407" y="109"/>
                  </a:lnTo>
                  <a:lnTo>
                    <a:pt x="398" y="114"/>
                  </a:lnTo>
                  <a:lnTo>
                    <a:pt x="385" y="113"/>
                  </a:lnTo>
                  <a:lnTo>
                    <a:pt x="374" y="122"/>
                  </a:lnTo>
                  <a:lnTo>
                    <a:pt x="362" y="133"/>
                  </a:lnTo>
                  <a:lnTo>
                    <a:pt x="349" y="138"/>
                  </a:lnTo>
                  <a:lnTo>
                    <a:pt x="348" y="138"/>
                  </a:lnTo>
                  <a:lnTo>
                    <a:pt x="353" y="144"/>
                  </a:lnTo>
                  <a:lnTo>
                    <a:pt x="359" y="153"/>
                  </a:lnTo>
                  <a:lnTo>
                    <a:pt x="344" y="155"/>
                  </a:lnTo>
                  <a:lnTo>
                    <a:pt x="330" y="156"/>
                  </a:lnTo>
                  <a:lnTo>
                    <a:pt x="311" y="153"/>
                  </a:lnTo>
                  <a:lnTo>
                    <a:pt x="308" y="146"/>
                  </a:lnTo>
                  <a:lnTo>
                    <a:pt x="301" y="132"/>
                  </a:lnTo>
                  <a:lnTo>
                    <a:pt x="294" y="137"/>
                  </a:lnTo>
                  <a:lnTo>
                    <a:pt x="299" y="162"/>
                  </a:lnTo>
                  <a:lnTo>
                    <a:pt x="282" y="161"/>
                  </a:lnTo>
                  <a:lnTo>
                    <a:pt x="262" y="158"/>
                  </a:lnTo>
                  <a:lnTo>
                    <a:pt x="251" y="155"/>
                  </a:lnTo>
                  <a:lnTo>
                    <a:pt x="242" y="146"/>
                  </a:lnTo>
                  <a:lnTo>
                    <a:pt x="223" y="144"/>
                  </a:lnTo>
                  <a:lnTo>
                    <a:pt x="208" y="140"/>
                  </a:lnTo>
                  <a:lnTo>
                    <a:pt x="188" y="131"/>
                  </a:lnTo>
                  <a:lnTo>
                    <a:pt x="169" y="120"/>
                  </a:lnTo>
                  <a:lnTo>
                    <a:pt x="169" y="109"/>
                  </a:lnTo>
                  <a:lnTo>
                    <a:pt x="178" y="95"/>
                  </a:lnTo>
                  <a:lnTo>
                    <a:pt x="163" y="85"/>
                  </a:lnTo>
                  <a:lnTo>
                    <a:pt x="144" y="74"/>
                  </a:lnTo>
                  <a:lnTo>
                    <a:pt x="137" y="72"/>
                  </a:lnTo>
                  <a:lnTo>
                    <a:pt x="130" y="53"/>
                  </a:lnTo>
                  <a:lnTo>
                    <a:pt x="139" y="54"/>
                  </a:lnTo>
                  <a:lnTo>
                    <a:pt x="142" y="47"/>
                  </a:lnTo>
                  <a:lnTo>
                    <a:pt x="132" y="33"/>
                  </a:lnTo>
                  <a:lnTo>
                    <a:pt x="132" y="26"/>
                  </a:lnTo>
                  <a:lnTo>
                    <a:pt x="131" y="25"/>
                  </a:lnTo>
                  <a:lnTo>
                    <a:pt x="131" y="21"/>
                  </a:lnTo>
                  <a:lnTo>
                    <a:pt x="127" y="19"/>
                  </a:lnTo>
                  <a:lnTo>
                    <a:pt x="125" y="15"/>
                  </a:lnTo>
                  <a:lnTo>
                    <a:pt x="124" y="11"/>
                  </a:lnTo>
                  <a:lnTo>
                    <a:pt x="122" y="6"/>
                  </a:lnTo>
                  <a:lnTo>
                    <a:pt x="118" y="5"/>
                  </a:lnTo>
                  <a:lnTo>
                    <a:pt x="110" y="1"/>
                  </a:lnTo>
                  <a:lnTo>
                    <a:pt x="10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8" name="Freeform 65"/>
            <p:cNvSpPr>
              <a:spLocks/>
            </p:cNvSpPr>
            <p:nvPr/>
          </p:nvSpPr>
          <p:spPr bwMode="auto">
            <a:xfrm>
              <a:off x="3107" y="2041"/>
              <a:ext cx="22" cy="75"/>
            </a:xfrm>
            <a:custGeom>
              <a:avLst/>
              <a:gdLst/>
              <a:ahLst/>
              <a:cxnLst>
                <a:cxn ang="0">
                  <a:pos x="15" y="69"/>
                </a:cxn>
                <a:cxn ang="0">
                  <a:pos x="8" y="52"/>
                </a:cxn>
                <a:cxn ang="0">
                  <a:pos x="0" y="35"/>
                </a:cxn>
                <a:cxn ang="0">
                  <a:pos x="6" y="20"/>
                </a:cxn>
                <a:cxn ang="0">
                  <a:pos x="11" y="4"/>
                </a:cxn>
                <a:cxn ang="0">
                  <a:pos x="18" y="0"/>
                </a:cxn>
                <a:cxn ang="0">
                  <a:pos x="20" y="10"/>
                </a:cxn>
                <a:cxn ang="0">
                  <a:pos x="18" y="24"/>
                </a:cxn>
                <a:cxn ang="0">
                  <a:pos x="17" y="39"/>
                </a:cxn>
                <a:cxn ang="0">
                  <a:pos x="17" y="53"/>
                </a:cxn>
                <a:cxn ang="0">
                  <a:pos x="15" y="68"/>
                </a:cxn>
                <a:cxn ang="0">
                  <a:pos x="15" y="69"/>
                </a:cxn>
              </a:cxnLst>
              <a:rect l="0" t="0" r="r" b="b"/>
              <a:pathLst>
                <a:path w="20" h="69">
                  <a:moveTo>
                    <a:pt x="15" y="69"/>
                  </a:moveTo>
                  <a:lnTo>
                    <a:pt x="8" y="52"/>
                  </a:lnTo>
                  <a:lnTo>
                    <a:pt x="0" y="35"/>
                  </a:lnTo>
                  <a:lnTo>
                    <a:pt x="6" y="20"/>
                  </a:lnTo>
                  <a:lnTo>
                    <a:pt x="11" y="4"/>
                  </a:lnTo>
                  <a:lnTo>
                    <a:pt x="18" y="0"/>
                  </a:lnTo>
                  <a:lnTo>
                    <a:pt x="20" y="10"/>
                  </a:lnTo>
                  <a:lnTo>
                    <a:pt x="18" y="24"/>
                  </a:lnTo>
                  <a:lnTo>
                    <a:pt x="17" y="39"/>
                  </a:lnTo>
                  <a:lnTo>
                    <a:pt x="17" y="53"/>
                  </a:lnTo>
                  <a:lnTo>
                    <a:pt x="15" y="68"/>
                  </a:lnTo>
                  <a:lnTo>
                    <a:pt x="15" y="6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9" name="Freeform 66"/>
            <p:cNvSpPr>
              <a:spLocks/>
            </p:cNvSpPr>
            <p:nvPr/>
          </p:nvSpPr>
          <p:spPr bwMode="auto">
            <a:xfrm>
              <a:off x="3122" y="2039"/>
              <a:ext cx="69" cy="84"/>
            </a:xfrm>
            <a:custGeom>
              <a:avLst/>
              <a:gdLst/>
              <a:ahLst/>
              <a:cxnLst>
                <a:cxn ang="0">
                  <a:pos x="24" y="19"/>
                </a:cxn>
                <a:cxn ang="0">
                  <a:pos x="5" y="12"/>
                </a:cxn>
                <a:cxn ang="0">
                  <a:pos x="3" y="26"/>
                </a:cxn>
                <a:cxn ang="0">
                  <a:pos x="2" y="41"/>
                </a:cxn>
                <a:cxn ang="0">
                  <a:pos x="2" y="55"/>
                </a:cxn>
                <a:cxn ang="0">
                  <a:pos x="0" y="70"/>
                </a:cxn>
                <a:cxn ang="0">
                  <a:pos x="1" y="72"/>
                </a:cxn>
                <a:cxn ang="0">
                  <a:pos x="18" y="76"/>
                </a:cxn>
                <a:cxn ang="0">
                  <a:pos x="27" y="64"/>
                </a:cxn>
                <a:cxn ang="0">
                  <a:pos x="38" y="61"/>
                </a:cxn>
                <a:cxn ang="0">
                  <a:pos x="45" y="53"/>
                </a:cxn>
                <a:cxn ang="0">
                  <a:pos x="27" y="35"/>
                </a:cxn>
                <a:cxn ang="0">
                  <a:pos x="44" y="28"/>
                </a:cxn>
                <a:cxn ang="0">
                  <a:pos x="61" y="22"/>
                </a:cxn>
                <a:cxn ang="0">
                  <a:pos x="51" y="0"/>
                </a:cxn>
                <a:cxn ang="0">
                  <a:pos x="37" y="10"/>
                </a:cxn>
                <a:cxn ang="0">
                  <a:pos x="24" y="19"/>
                </a:cxn>
              </a:cxnLst>
              <a:rect l="0" t="0" r="r" b="b"/>
              <a:pathLst>
                <a:path w="61" h="76">
                  <a:moveTo>
                    <a:pt x="24" y="19"/>
                  </a:moveTo>
                  <a:lnTo>
                    <a:pt x="5" y="12"/>
                  </a:lnTo>
                  <a:lnTo>
                    <a:pt x="3" y="26"/>
                  </a:lnTo>
                  <a:lnTo>
                    <a:pt x="2" y="41"/>
                  </a:lnTo>
                  <a:lnTo>
                    <a:pt x="2" y="55"/>
                  </a:lnTo>
                  <a:lnTo>
                    <a:pt x="0" y="70"/>
                  </a:lnTo>
                  <a:lnTo>
                    <a:pt x="1" y="72"/>
                  </a:lnTo>
                  <a:lnTo>
                    <a:pt x="18" y="76"/>
                  </a:lnTo>
                  <a:lnTo>
                    <a:pt x="27" y="64"/>
                  </a:lnTo>
                  <a:lnTo>
                    <a:pt x="38" y="61"/>
                  </a:lnTo>
                  <a:lnTo>
                    <a:pt x="45" y="53"/>
                  </a:lnTo>
                  <a:lnTo>
                    <a:pt x="27" y="35"/>
                  </a:lnTo>
                  <a:lnTo>
                    <a:pt x="44" y="28"/>
                  </a:lnTo>
                  <a:lnTo>
                    <a:pt x="61" y="22"/>
                  </a:lnTo>
                  <a:lnTo>
                    <a:pt x="51" y="0"/>
                  </a:lnTo>
                  <a:lnTo>
                    <a:pt x="37" y="10"/>
                  </a:lnTo>
                  <a:lnTo>
                    <a:pt x="24" y="1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0" name="Freeform 67"/>
            <p:cNvSpPr>
              <a:spLocks/>
            </p:cNvSpPr>
            <p:nvPr/>
          </p:nvSpPr>
          <p:spPr bwMode="auto">
            <a:xfrm>
              <a:off x="3431" y="2207"/>
              <a:ext cx="131" cy="167"/>
            </a:xfrm>
            <a:custGeom>
              <a:avLst/>
              <a:gdLst/>
              <a:ahLst/>
              <a:cxnLst>
                <a:cxn ang="0">
                  <a:pos x="119" y="46"/>
                </a:cxn>
                <a:cxn ang="0">
                  <a:pos x="107" y="35"/>
                </a:cxn>
                <a:cxn ang="0">
                  <a:pos x="95" y="25"/>
                </a:cxn>
                <a:cxn ang="0">
                  <a:pos x="82" y="19"/>
                </a:cxn>
                <a:cxn ang="0">
                  <a:pos x="68" y="13"/>
                </a:cxn>
                <a:cxn ang="0">
                  <a:pos x="61" y="0"/>
                </a:cxn>
                <a:cxn ang="0">
                  <a:pos x="56" y="4"/>
                </a:cxn>
                <a:cxn ang="0">
                  <a:pos x="54" y="0"/>
                </a:cxn>
                <a:cxn ang="0">
                  <a:pos x="56" y="17"/>
                </a:cxn>
                <a:cxn ang="0">
                  <a:pos x="49" y="19"/>
                </a:cxn>
                <a:cxn ang="0">
                  <a:pos x="46" y="41"/>
                </a:cxn>
                <a:cxn ang="0">
                  <a:pos x="54" y="54"/>
                </a:cxn>
                <a:cxn ang="0">
                  <a:pos x="50" y="72"/>
                </a:cxn>
                <a:cxn ang="0">
                  <a:pos x="47" y="90"/>
                </a:cxn>
                <a:cxn ang="0">
                  <a:pos x="36" y="94"/>
                </a:cxn>
                <a:cxn ang="0">
                  <a:pos x="24" y="99"/>
                </a:cxn>
                <a:cxn ang="0">
                  <a:pos x="13" y="103"/>
                </a:cxn>
                <a:cxn ang="0">
                  <a:pos x="2" y="108"/>
                </a:cxn>
                <a:cxn ang="0">
                  <a:pos x="0" y="115"/>
                </a:cxn>
                <a:cxn ang="0">
                  <a:pos x="11" y="133"/>
                </a:cxn>
                <a:cxn ang="0">
                  <a:pos x="22" y="150"/>
                </a:cxn>
                <a:cxn ang="0">
                  <a:pos x="35" y="148"/>
                </a:cxn>
                <a:cxn ang="0">
                  <a:pos x="47" y="144"/>
                </a:cxn>
                <a:cxn ang="0">
                  <a:pos x="55" y="137"/>
                </a:cxn>
                <a:cxn ang="0">
                  <a:pos x="60" y="127"/>
                </a:cxn>
                <a:cxn ang="0">
                  <a:pos x="74" y="124"/>
                </a:cxn>
                <a:cxn ang="0">
                  <a:pos x="80" y="111"/>
                </a:cxn>
                <a:cxn ang="0">
                  <a:pos x="92" y="105"/>
                </a:cxn>
                <a:cxn ang="0">
                  <a:pos x="91" y="85"/>
                </a:cxn>
                <a:cxn ang="0">
                  <a:pos x="97" y="81"/>
                </a:cxn>
                <a:cxn ang="0">
                  <a:pos x="101" y="81"/>
                </a:cxn>
                <a:cxn ang="0">
                  <a:pos x="110" y="64"/>
                </a:cxn>
                <a:cxn ang="0">
                  <a:pos x="119" y="46"/>
                </a:cxn>
              </a:cxnLst>
              <a:rect l="0" t="0" r="r" b="b"/>
              <a:pathLst>
                <a:path w="119" h="150">
                  <a:moveTo>
                    <a:pt x="119" y="46"/>
                  </a:moveTo>
                  <a:lnTo>
                    <a:pt x="107" y="35"/>
                  </a:lnTo>
                  <a:lnTo>
                    <a:pt x="95" y="25"/>
                  </a:lnTo>
                  <a:lnTo>
                    <a:pt x="82" y="19"/>
                  </a:lnTo>
                  <a:lnTo>
                    <a:pt x="68" y="13"/>
                  </a:lnTo>
                  <a:lnTo>
                    <a:pt x="61" y="0"/>
                  </a:lnTo>
                  <a:lnTo>
                    <a:pt x="56" y="4"/>
                  </a:lnTo>
                  <a:lnTo>
                    <a:pt x="54" y="0"/>
                  </a:lnTo>
                  <a:lnTo>
                    <a:pt x="56" y="17"/>
                  </a:lnTo>
                  <a:lnTo>
                    <a:pt x="49" y="19"/>
                  </a:lnTo>
                  <a:lnTo>
                    <a:pt x="46" y="41"/>
                  </a:lnTo>
                  <a:lnTo>
                    <a:pt x="54" y="54"/>
                  </a:lnTo>
                  <a:lnTo>
                    <a:pt x="50" y="72"/>
                  </a:lnTo>
                  <a:lnTo>
                    <a:pt x="47" y="90"/>
                  </a:lnTo>
                  <a:lnTo>
                    <a:pt x="36" y="94"/>
                  </a:lnTo>
                  <a:lnTo>
                    <a:pt x="24" y="99"/>
                  </a:lnTo>
                  <a:lnTo>
                    <a:pt x="13" y="103"/>
                  </a:lnTo>
                  <a:lnTo>
                    <a:pt x="2" y="108"/>
                  </a:lnTo>
                  <a:lnTo>
                    <a:pt x="0" y="115"/>
                  </a:lnTo>
                  <a:lnTo>
                    <a:pt x="11" y="133"/>
                  </a:lnTo>
                  <a:lnTo>
                    <a:pt x="22" y="150"/>
                  </a:lnTo>
                  <a:lnTo>
                    <a:pt x="35" y="148"/>
                  </a:lnTo>
                  <a:lnTo>
                    <a:pt x="47" y="144"/>
                  </a:lnTo>
                  <a:lnTo>
                    <a:pt x="55" y="137"/>
                  </a:lnTo>
                  <a:lnTo>
                    <a:pt x="60" y="127"/>
                  </a:lnTo>
                  <a:lnTo>
                    <a:pt x="74" y="124"/>
                  </a:lnTo>
                  <a:lnTo>
                    <a:pt x="80" y="111"/>
                  </a:lnTo>
                  <a:lnTo>
                    <a:pt x="92" y="105"/>
                  </a:lnTo>
                  <a:lnTo>
                    <a:pt x="91" y="85"/>
                  </a:lnTo>
                  <a:lnTo>
                    <a:pt x="97" y="81"/>
                  </a:lnTo>
                  <a:lnTo>
                    <a:pt x="101" y="81"/>
                  </a:lnTo>
                  <a:lnTo>
                    <a:pt x="110" y="64"/>
                  </a:lnTo>
                  <a:lnTo>
                    <a:pt x="119" y="4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1" name="Freeform 68"/>
            <p:cNvSpPr>
              <a:spLocks/>
            </p:cNvSpPr>
            <p:nvPr/>
          </p:nvSpPr>
          <p:spPr bwMode="auto">
            <a:xfrm>
              <a:off x="3489" y="2181"/>
              <a:ext cx="6" cy="11"/>
            </a:xfrm>
            <a:custGeom>
              <a:avLst/>
              <a:gdLst/>
              <a:ahLst/>
              <a:cxnLst>
                <a:cxn ang="0">
                  <a:pos x="5" y="0"/>
                </a:cxn>
                <a:cxn ang="0">
                  <a:pos x="0" y="8"/>
                </a:cxn>
                <a:cxn ang="0">
                  <a:pos x="5" y="10"/>
                </a:cxn>
                <a:cxn ang="0">
                  <a:pos x="5" y="0"/>
                </a:cxn>
              </a:cxnLst>
              <a:rect l="0" t="0" r="r" b="b"/>
              <a:pathLst>
                <a:path w="5" h="10">
                  <a:moveTo>
                    <a:pt x="5" y="0"/>
                  </a:moveTo>
                  <a:lnTo>
                    <a:pt x="0" y="8"/>
                  </a:lnTo>
                  <a:lnTo>
                    <a:pt x="5" y="10"/>
                  </a:lnTo>
                  <a:lnTo>
                    <a:pt x="5"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2" name="Freeform 69"/>
            <p:cNvSpPr>
              <a:spLocks/>
            </p:cNvSpPr>
            <p:nvPr/>
          </p:nvSpPr>
          <p:spPr bwMode="auto">
            <a:xfrm>
              <a:off x="3120" y="2063"/>
              <a:ext cx="371" cy="331"/>
            </a:xfrm>
            <a:custGeom>
              <a:avLst/>
              <a:gdLst/>
              <a:ahLst/>
              <a:cxnLst>
                <a:cxn ang="0">
                  <a:pos x="76" y="178"/>
                </a:cxn>
                <a:cxn ang="0">
                  <a:pos x="65" y="151"/>
                </a:cxn>
                <a:cxn ang="0">
                  <a:pos x="45" y="134"/>
                </a:cxn>
                <a:cxn ang="0">
                  <a:pos x="21" y="94"/>
                </a:cxn>
                <a:cxn ang="0">
                  <a:pos x="0" y="72"/>
                </a:cxn>
                <a:cxn ang="0">
                  <a:pos x="21" y="54"/>
                </a:cxn>
                <a:cxn ang="0">
                  <a:pos x="41" y="39"/>
                </a:cxn>
                <a:cxn ang="0">
                  <a:pos x="30" y="13"/>
                </a:cxn>
                <a:cxn ang="0">
                  <a:pos x="64" y="0"/>
                </a:cxn>
                <a:cxn ang="0">
                  <a:pos x="94" y="13"/>
                </a:cxn>
                <a:cxn ang="0">
                  <a:pos x="123" y="26"/>
                </a:cxn>
                <a:cxn ang="0">
                  <a:pos x="153" y="54"/>
                </a:cxn>
                <a:cxn ang="0">
                  <a:pos x="195" y="57"/>
                </a:cxn>
                <a:cxn ang="0">
                  <a:pos x="210" y="66"/>
                </a:cxn>
                <a:cxn ang="0">
                  <a:pos x="226" y="85"/>
                </a:cxn>
                <a:cxn ang="0">
                  <a:pos x="242" y="109"/>
                </a:cxn>
                <a:cxn ang="0">
                  <a:pos x="255" y="134"/>
                </a:cxn>
                <a:cxn ang="0">
                  <a:pos x="262" y="136"/>
                </a:cxn>
                <a:cxn ang="0">
                  <a:pos x="264" y="141"/>
                </a:cxn>
                <a:cxn ang="0">
                  <a:pos x="266" y="146"/>
                </a:cxn>
                <a:cxn ang="0">
                  <a:pos x="276" y="165"/>
                </a:cxn>
                <a:cxn ang="0">
                  <a:pos x="323" y="174"/>
                </a:cxn>
                <a:cxn ang="0">
                  <a:pos x="334" y="183"/>
                </a:cxn>
                <a:cxn ang="0">
                  <a:pos x="327" y="219"/>
                </a:cxn>
                <a:cxn ang="0">
                  <a:pos x="304" y="228"/>
                </a:cxn>
                <a:cxn ang="0">
                  <a:pos x="282" y="237"/>
                </a:cxn>
                <a:cxn ang="0">
                  <a:pos x="257" y="243"/>
                </a:cxn>
                <a:cxn ang="0">
                  <a:pos x="232" y="250"/>
                </a:cxn>
                <a:cxn ang="0">
                  <a:pos x="215" y="273"/>
                </a:cxn>
                <a:cxn ang="0">
                  <a:pos x="197" y="297"/>
                </a:cxn>
                <a:cxn ang="0">
                  <a:pos x="182" y="272"/>
                </a:cxn>
                <a:cxn ang="0">
                  <a:pos x="149" y="264"/>
                </a:cxn>
                <a:cxn ang="0">
                  <a:pos x="141" y="284"/>
                </a:cxn>
                <a:cxn ang="0">
                  <a:pos x="125" y="258"/>
                </a:cxn>
                <a:cxn ang="0">
                  <a:pos x="100" y="218"/>
                </a:cxn>
              </a:cxnLst>
              <a:rect l="0" t="0" r="r" b="b"/>
              <a:pathLst>
                <a:path w="334" h="297">
                  <a:moveTo>
                    <a:pt x="82" y="202"/>
                  </a:moveTo>
                  <a:lnTo>
                    <a:pt x="76" y="178"/>
                  </a:lnTo>
                  <a:lnTo>
                    <a:pt x="70" y="165"/>
                  </a:lnTo>
                  <a:lnTo>
                    <a:pt x="65" y="151"/>
                  </a:lnTo>
                  <a:lnTo>
                    <a:pt x="54" y="142"/>
                  </a:lnTo>
                  <a:lnTo>
                    <a:pt x="45" y="134"/>
                  </a:lnTo>
                  <a:lnTo>
                    <a:pt x="36" y="115"/>
                  </a:lnTo>
                  <a:lnTo>
                    <a:pt x="21" y="94"/>
                  </a:lnTo>
                  <a:lnTo>
                    <a:pt x="5" y="73"/>
                  </a:lnTo>
                  <a:lnTo>
                    <a:pt x="0" y="72"/>
                  </a:lnTo>
                  <a:lnTo>
                    <a:pt x="4" y="50"/>
                  </a:lnTo>
                  <a:lnTo>
                    <a:pt x="21" y="54"/>
                  </a:lnTo>
                  <a:lnTo>
                    <a:pt x="30" y="42"/>
                  </a:lnTo>
                  <a:lnTo>
                    <a:pt x="41" y="39"/>
                  </a:lnTo>
                  <a:lnTo>
                    <a:pt x="48" y="31"/>
                  </a:lnTo>
                  <a:lnTo>
                    <a:pt x="30" y="13"/>
                  </a:lnTo>
                  <a:lnTo>
                    <a:pt x="47" y="6"/>
                  </a:lnTo>
                  <a:lnTo>
                    <a:pt x="64" y="0"/>
                  </a:lnTo>
                  <a:lnTo>
                    <a:pt x="78" y="6"/>
                  </a:lnTo>
                  <a:lnTo>
                    <a:pt x="94" y="13"/>
                  </a:lnTo>
                  <a:lnTo>
                    <a:pt x="108" y="19"/>
                  </a:lnTo>
                  <a:lnTo>
                    <a:pt x="123" y="26"/>
                  </a:lnTo>
                  <a:lnTo>
                    <a:pt x="137" y="39"/>
                  </a:lnTo>
                  <a:lnTo>
                    <a:pt x="153" y="54"/>
                  </a:lnTo>
                  <a:lnTo>
                    <a:pt x="180" y="55"/>
                  </a:lnTo>
                  <a:lnTo>
                    <a:pt x="195" y="57"/>
                  </a:lnTo>
                  <a:lnTo>
                    <a:pt x="197" y="62"/>
                  </a:lnTo>
                  <a:lnTo>
                    <a:pt x="210" y="66"/>
                  </a:lnTo>
                  <a:lnTo>
                    <a:pt x="219" y="79"/>
                  </a:lnTo>
                  <a:lnTo>
                    <a:pt x="226" y="85"/>
                  </a:lnTo>
                  <a:lnTo>
                    <a:pt x="240" y="99"/>
                  </a:lnTo>
                  <a:lnTo>
                    <a:pt x="242" y="109"/>
                  </a:lnTo>
                  <a:lnTo>
                    <a:pt x="249" y="121"/>
                  </a:lnTo>
                  <a:lnTo>
                    <a:pt x="255" y="134"/>
                  </a:lnTo>
                  <a:lnTo>
                    <a:pt x="260" y="138"/>
                  </a:lnTo>
                  <a:lnTo>
                    <a:pt x="262" y="136"/>
                  </a:lnTo>
                  <a:lnTo>
                    <a:pt x="264" y="136"/>
                  </a:lnTo>
                  <a:lnTo>
                    <a:pt x="264" y="141"/>
                  </a:lnTo>
                  <a:lnTo>
                    <a:pt x="266" y="142"/>
                  </a:lnTo>
                  <a:lnTo>
                    <a:pt x="266" y="146"/>
                  </a:lnTo>
                  <a:lnTo>
                    <a:pt x="270" y="150"/>
                  </a:lnTo>
                  <a:lnTo>
                    <a:pt x="276" y="165"/>
                  </a:lnTo>
                  <a:lnTo>
                    <a:pt x="299" y="170"/>
                  </a:lnTo>
                  <a:lnTo>
                    <a:pt x="323" y="174"/>
                  </a:lnTo>
                  <a:lnTo>
                    <a:pt x="326" y="170"/>
                  </a:lnTo>
                  <a:lnTo>
                    <a:pt x="334" y="183"/>
                  </a:lnTo>
                  <a:lnTo>
                    <a:pt x="330" y="201"/>
                  </a:lnTo>
                  <a:lnTo>
                    <a:pt x="327" y="219"/>
                  </a:lnTo>
                  <a:lnTo>
                    <a:pt x="316" y="223"/>
                  </a:lnTo>
                  <a:lnTo>
                    <a:pt x="304" y="228"/>
                  </a:lnTo>
                  <a:lnTo>
                    <a:pt x="293" y="232"/>
                  </a:lnTo>
                  <a:lnTo>
                    <a:pt x="282" y="237"/>
                  </a:lnTo>
                  <a:lnTo>
                    <a:pt x="269" y="240"/>
                  </a:lnTo>
                  <a:lnTo>
                    <a:pt x="257" y="243"/>
                  </a:lnTo>
                  <a:lnTo>
                    <a:pt x="244" y="247"/>
                  </a:lnTo>
                  <a:lnTo>
                    <a:pt x="232" y="250"/>
                  </a:lnTo>
                  <a:lnTo>
                    <a:pt x="224" y="262"/>
                  </a:lnTo>
                  <a:lnTo>
                    <a:pt x="215" y="273"/>
                  </a:lnTo>
                  <a:lnTo>
                    <a:pt x="206" y="285"/>
                  </a:lnTo>
                  <a:lnTo>
                    <a:pt x="197" y="297"/>
                  </a:lnTo>
                  <a:lnTo>
                    <a:pt x="196" y="279"/>
                  </a:lnTo>
                  <a:lnTo>
                    <a:pt x="182" y="272"/>
                  </a:lnTo>
                  <a:lnTo>
                    <a:pt x="166" y="266"/>
                  </a:lnTo>
                  <a:lnTo>
                    <a:pt x="149" y="264"/>
                  </a:lnTo>
                  <a:lnTo>
                    <a:pt x="146" y="278"/>
                  </a:lnTo>
                  <a:lnTo>
                    <a:pt x="141" y="284"/>
                  </a:lnTo>
                  <a:lnTo>
                    <a:pt x="132" y="271"/>
                  </a:lnTo>
                  <a:lnTo>
                    <a:pt x="125" y="258"/>
                  </a:lnTo>
                  <a:lnTo>
                    <a:pt x="112" y="238"/>
                  </a:lnTo>
                  <a:lnTo>
                    <a:pt x="100" y="218"/>
                  </a:lnTo>
                  <a:lnTo>
                    <a:pt x="82" y="20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3" name="Freeform 70"/>
            <p:cNvSpPr>
              <a:spLocks/>
            </p:cNvSpPr>
            <p:nvPr/>
          </p:nvSpPr>
          <p:spPr bwMode="auto">
            <a:xfrm>
              <a:off x="3415" y="2190"/>
              <a:ext cx="85" cy="66"/>
            </a:xfrm>
            <a:custGeom>
              <a:avLst/>
              <a:gdLst/>
              <a:ahLst/>
              <a:cxnLst>
                <a:cxn ang="0">
                  <a:pos x="0" y="32"/>
                </a:cxn>
                <a:cxn ang="0">
                  <a:pos x="4" y="36"/>
                </a:cxn>
                <a:cxn ang="0">
                  <a:pos x="10" y="51"/>
                </a:cxn>
                <a:cxn ang="0">
                  <a:pos x="33" y="56"/>
                </a:cxn>
                <a:cxn ang="0">
                  <a:pos x="57" y="60"/>
                </a:cxn>
                <a:cxn ang="0">
                  <a:pos x="60" y="56"/>
                </a:cxn>
                <a:cxn ang="0">
                  <a:pos x="63" y="34"/>
                </a:cxn>
                <a:cxn ang="0">
                  <a:pos x="70" y="32"/>
                </a:cxn>
                <a:cxn ang="0">
                  <a:pos x="68" y="15"/>
                </a:cxn>
                <a:cxn ang="0">
                  <a:pos x="70" y="19"/>
                </a:cxn>
                <a:cxn ang="0">
                  <a:pos x="75" y="15"/>
                </a:cxn>
                <a:cxn ang="0">
                  <a:pos x="72" y="2"/>
                </a:cxn>
                <a:cxn ang="0">
                  <a:pos x="67" y="0"/>
                </a:cxn>
                <a:cxn ang="0">
                  <a:pos x="54" y="15"/>
                </a:cxn>
                <a:cxn ang="0">
                  <a:pos x="38" y="31"/>
                </a:cxn>
                <a:cxn ang="0">
                  <a:pos x="14" y="32"/>
                </a:cxn>
                <a:cxn ang="0">
                  <a:pos x="4" y="31"/>
                </a:cxn>
                <a:cxn ang="0">
                  <a:pos x="0" y="28"/>
                </a:cxn>
                <a:cxn ang="0">
                  <a:pos x="0" y="32"/>
                </a:cxn>
              </a:cxnLst>
              <a:rect l="0" t="0" r="r" b="b"/>
              <a:pathLst>
                <a:path w="75" h="60">
                  <a:moveTo>
                    <a:pt x="0" y="32"/>
                  </a:moveTo>
                  <a:lnTo>
                    <a:pt x="4" y="36"/>
                  </a:lnTo>
                  <a:lnTo>
                    <a:pt x="10" y="51"/>
                  </a:lnTo>
                  <a:lnTo>
                    <a:pt x="33" y="56"/>
                  </a:lnTo>
                  <a:lnTo>
                    <a:pt x="57" y="60"/>
                  </a:lnTo>
                  <a:lnTo>
                    <a:pt x="60" y="56"/>
                  </a:lnTo>
                  <a:lnTo>
                    <a:pt x="63" y="34"/>
                  </a:lnTo>
                  <a:lnTo>
                    <a:pt x="70" y="32"/>
                  </a:lnTo>
                  <a:lnTo>
                    <a:pt x="68" y="15"/>
                  </a:lnTo>
                  <a:lnTo>
                    <a:pt x="70" y="19"/>
                  </a:lnTo>
                  <a:lnTo>
                    <a:pt x="75" y="15"/>
                  </a:lnTo>
                  <a:lnTo>
                    <a:pt x="72" y="2"/>
                  </a:lnTo>
                  <a:lnTo>
                    <a:pt x="67" y="0"/>
                  </a:lnTo>
                  <a:lnTo>
                    <a:pt x="54" y="15"/>
                  </a:lnTo>
                  <a:lnTo>
                    <a:pt x="38" y="31"/>
                  </a:lnTo>
                  <a:lnTo>
                    <a:pt x="14" y="32"/>
                  </a:lnTo>
                  <a:lnTo>
                    <a:pt x="4" y="31"/>
                  </a:lnTo>
                  <a:lnTo>
                    <a:pt x="0" y="28"/>
                  </a:lnTo>
                  <a:lnTo>
                    <a:pt x="0" y="3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4" name="Freeform 71"/>
            <p:cNvSpPr>
              <a:spLocks/>
            </p:cNvSpPr>
            <p:nvPr/>
          </p:nvSpPr>
          <p:spPr bwMode="auto">
            <a:xfrm>
              <a:off x="3275" y="2327"/>
              <a:ext cx="180" cy="125"/>
            </a:xfrm>
            <a:custGeom>
              <a:avLst/>
              <a:gdLst/>
              <a:ahLst/>
              <a:cxnLst>
                <a:cxn ang="0">
                  <a:pos x="5" y="41"/>
                </a:cxn>
                <a:cxn ang="0">
                  <a:pos x="0" y="47"/>
                </a:cxn>
                <a:cxn ang="0">
                  <a:pos x="0" y="69"/>
                </a:cxn>
                <a:cxn ang="0">
                  <a:pos x="7" y="90"/>
                </a:cxn>
                <a:cxn ang="0">
                  <a:pos x="14" y="113"/>
                </a:cxn>
                <a:cxn ang="0">
                  <a:pos x="33" y="112"/>
                </a:cxn>
                <a:cxn ang="0">
                  <a:pos x="54" y="100"/>
                </a:cxn>
                <a:cxn ang="0">
                  <a:pos x="69" y="95"/>
                </a:cxn>
                <a:cxn ang="0">
                  <a:pos x="86" y="89"/>
                </a:cxn>
                <a:cxn ang="0">
                  <a:pos x="98" y="84"/>
                </a:cxn>
                <a:cxn ang="0">
                  <a:pos x="110" y="78"/>
                </a:cxn>
                <a:cxn ang="0">
                  <a:pos x="122" y="72"/>
                </a:cxn>
                <a:cxn ang="0">
                  <a:pos x="134" y="67"/>
                </a:cxn>
                <a:cxn ang="0">
                  <a:pos x="146" y="61"/>
                </a:cxn>
                <a:cxn ang="0">
                  <a:pos x="147" y="54"/>
                </a:cxn>
                <a:cxn ang="0">
                  <a:pos x="161" y="42"/>
                </a:cxn>
                <a:cxn ang="0">
                  <a:pos x="150" y="25"/>
                </a:cxn>
                <a:cxn ang="0">
                  <a:pos x="139" y="7"/>
                </a:cxn>
                <a:cxn ang="0">
                  <a:pos x="141" y="0"/>
                </a:cxn>
                <a:cxn ang="0">
                  <a:pos x="128" y="3"/>
                </a:cxn>
                <a:cxn ang="0">
                  <a:pos x="116" y="6"/>
                </a:cxn>
                <a:cxn ang="0">
                  <a:pos x="103" y="10"/>
                </a:cxn>
                <a:cxn ang="0">
                  <a:pos x="91" y="13"/>
                </a:cxn>
                <a:cxn ang="0">
                  <a:pos x="83" y="25"/>
                </a:cxn>
                <a:cxn ang="0">
                  <a:pos x="74" y="36"/>
                </a:cxn>
                <a:cxn ang="0">
                  <a:pos x="65" y="48"/>
                </a:cxn>
                <a:cxn ang="0">
                  <a:pos x="56" y="60"/>
                </a:cxn>
                <a:cxn ang="0">
                  <a:pos x="55" y="42"/>
                </a:cxn>
                <a:cxn ang="0">
                  <a:pos x="41" y="35"/>
                </a:cxn>
                <a:cxn ang="0">
                  <a:pos x="25" y="29"/>
                </a:cxn>
                <a:cxn ang="0">
                  <a:pos x="8" y="27"/>
                </a:cxn>
                <a:cxn ang="0">
                  <a:pos x="5" y="41"/>
                </a:cxn>
              </a:cxnLst>
              <a:rect l="0" t="0" r="r" b="b"/>
              <a:pathLst>
                <a:path w="161" h="113">
                  <a:moveTo>
                    <a:pt x="5" y="41"/>
                  </a:moveTo>
                  <a:lnTo>
                    <a:pt x="0" y="47"/>
                  </a:lnTo>
                  <a:lnTo>
                    <a:pt x="0" y="69"/>
                  </a:lnTo>
                  <a:lnTo>
                    <a:pt x="7" y="90"/>
                  </a:lnTo>
                  <a:lnTo>
                    <a:pt x="14" y="113"/>
                  </a:lnTo>
                  <a:lnTo>
                    <a:pt x="33" y="112"/>
                  </a:lnTo>
                  <a:lnTo>
                    <a:pt x="54" y="100"/>
                  </a:lnTo>
                  <a:lnTo>
                    <a:pt x="69" y="95"/>
                  </a:lnTo>
                  <a:lnTo>
                    <a:pt x="86" y="89"/>
                  </a:lnTo>
                  <a:lnTo>
                    <a:pt x="98" y="84"/>
                  </a:lnTo>
                  <a:lnTo>
                    <a:pt x="110" y="78"/>
                  </a:lnTo>
                  <a:lnTo>
                    <a:pt x="122" y="72"/>
                  </a:lnTo>
                  <a:lnTo>
                    <a:pt x="134" y="67"/>
                  </a:lnTo>
                  <a:lnTo>
                    <a:pt x="146" y="61"/>
                  </a:lnTo>
                  <a:lnTo>
                    <a:pt x="147" y="54"/>
                  </a:lnTo>
                  <a:lnTo>
                    <a:pt x="161" y="42"/>
                  </a:lnTo>
                  <a:lnTo>
                    <a:pt x="150" y="25"/>
                  </a:lnTo>
                  <a:lnTo>
                    <a:pt x="139" y="7"/>
                  </a:lnTo>
                  <a:lnTo>
                    <a:pt x="141" y="0"/>
                  </a:lnTo>
                  <a:lnTo>
                    <a:pt x="128" y="3"/>
                  </a:lnTo>
                  <a:lnTo>
                    <a:pt x="116" y="6"/>
                  </a:lnTo>
                  <a:lnTo>
                    <a:pt x="103" y="10"/>
                  </a:lnTo>
                  <a:lnTo>
                    <a:pt x="91" y="13"/>
                  </a:lnTo>
                  <a:lnTo>
                    <a:pt x="83" y="25"/>
                  </a:lnTo>
                  <a:lnTo>
                    <a:pt x="74" y="36"/>
                  </a:lnTo>
                  <a:lnTo>
                    <a:pt x="65" y="48"/>
                  </a:lnTo>
                  <a:lnTo>
                    <a:pt x="56" y="60"/>
                  </a:lnTo>
                  <a:lnTo>
                    <a:pt x="55" y="42"/>
                  </a:lnTo>
                  <a:lnTo>
                    <a:pt x="41" y="35"/>
                  </a:lnTo>
                  <a:lnTo>
                    <a:pt x="25" y="29"/>
                  </a:lnTo>
                  <a:lnTo>
                    <a:pt x="8" y="27"/>
                  </a:lnTo>
                  <a:lnTo>
                    <a:pt x="5" y="4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5" name="Freeform 72"/>
            <p:cNvSpPr>
              <a:spLocks/>
            </p:cNvSpPr>
            <p:nvPr/>
          </p:nvSpPr>
          <p:spPr bwMode="auto">
            <a:xfrm>
              <a:off x="3933" y="2510"/>
              <a:ext cx="38" cy="77"/>
            </a:xfrm>
            <a:custGeom>
              <a:avLst/>
              <a:gdLst/>
              <a:ahLst/>
              <a:cxnLst>
                <a:cxn ang="0">
                  <a:pos x="9" y="2"/>
                </a:cxn>
                <a:cxn ang="0">
                  <a:pos x="15" y="12"/>
                </a:cxn>
                <a:cxn ang="0">
                  <a:pos x="22" y="22"/>
                </a:cxn>
                <a:cxn ang="0">
                  <a:pos x="29" y="37"/>
                </a:cxn>
                <a:cxn ang="0">
                  <a:pos x="35" y="50"/>
                </a:cxn>
                <a:cxn ang="0">
                  <a:pos x="27" y="64"/>
                </a:cxn>
                <a:cxn ang="0">
                  <a:pos x="11" y="69"/>
                </a:cxn>
                <a:cxn ang="0">
                  <a:pos x="3" y="45"/>
                </a:cxn>
                <a:cxn ang="0">
                  <a:pos x="0" y="28"/>
                </a:cxn>
                <a:cxn ang="0">
                  <a:pos x="1" y="30"/>
                </a:cxn>
                <a:cxn ang="0">
                  <a:pos x="4" y="18"/>
                </a:cxn>
                <a:cxn ang="0">
                  <a:pos x="6" y="4"/>
                </a:cxn>
                <a:cxn ang="0">
                  <a:pos x="6" y="3"/>
                </a:cxn>
                <a:cxn ang="0">
                  <a:pos x="3" y="0"/>
                </a:cxn>
                <a:cxn ang="0">
                  <a:pos x="9" y="2"/>
                </a:cxn>
              </a:cxnLst>
              <a:rect l="0" t="0" r="r" b="b"/>
              <a:pathLst>
                <a:path w="35" h="69">
                  <a:moveTo>
                    <a:pt x="9" y="2"/>
                  </a:moveTo>
                  <a:lnTo>
                    <a:pt x="15" y="12"/>
                  </a:lnTo>
                  <a:lnTo>
                    <a:pt x="22" y="22"/>
                  </a:lnTo>
                  <a:lnTo>
                    <a:pt x="29" y="37"/>
                  </a:lnTo>
                  <a:lnTo>
                    <a:pt x="35" y="50"/>
                  </a:lnTo>
                  <a:lnTo>
                    <a:pt x="27" y="64"/>
                  </a:lnTo>
                  <a:lnTo>
                    <a:pt x="11" y="69"/>
                  </a:lnTo>
                  <a:lnTo>
                    <a:pt x="3" y="45"/>
                  </a:lnTo>
                  <a:lnTo>
                    <a:pt x="0" y="28"/>
                  </a:lnTo>
                  <a:lnTo>
                    <a:pt x="1" y="30"/>
                  </a:lnTo>
                  <a:lnTo>
                    <a:pt x="4" y="18"/>
                  </a:lnTo>
                  <a:lnTo>
                    <a:pt x="6" y="4"/>
                  </a:lnTo>
                  <a:lnTo>
                    <a:pt x="6" y="3"/>
                  </a:lnTo>
                  <a:lnTo>
                    <a:pt x="3" y="0"/>
                  </a:lnTo>
                  <a:lnTo>
                    <a:pt x="9"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6" name="Freeform 73"/>
            <p:cNvSpPr>
              <a:spLocks/>
            </p:cNvSpPr>
            <p:nvPr/>
          </p:nvSpPr>
          <p:spPr bwMode="auto">
            <a:xfrm>
              <a:off x="3040" y="2727"/>
              <a:ext cx="36" cy="32"/>
            </a:xfrm>
            <a:custGeom>
              <a:avLst/>
              <a:gdLst/>
              <a:ahLst/>
              <a:cxnLst>
                <a:cxn ang="0">
                  <a:pos x="11" y="6"/>
                </a:cxn>
                <a:cxn ang="0">
                  <a:pos x="5" y="18"/>
                </a:cxn>
                <a:cxn ang="0">
                  <a:pos x="0" y="29"/>
                </a:cxn>
                <a:cxn ang="0">
                  <a:pos x="2" y="29"/>
                </a:cxn>
                <a:cxn ang="0">
                  <a:pos x="3" y="29"/>
                </a:cxn>
                <a:cxn ang="0">
                  <a:pos x="16" y="29"/>
                </a:cxn>
                <a:cxn ang="0">
                  <a:pos x="18" y="23"/>
                </a:cxn>
                <a:cxn ang="0">
                  <a:pos x="27" y="24"/>
                </a:cxn>
                <a:cxn ang="0">
                  <a:pos x="32" y="22"/>
                </a:cxn>
                <a:cxn ang="0">
                  <a:pos x="26" y="0"/>
                </a:cxn>
                <a:cxn ang="0">
                  <a:pos x="16" y="6"/>
                </a:cxn>
                <a:cxn ang="0">
                  <a:pos x="11" y="6"/>
                </a:cxn>
              </a:cxnLst>
              <a:rect l="0" t="0" r="r" b="b"/>
              <a:pathLst>
                <a:path w="32" h="29">
                  <a:moveTo>
                    <a:pt x="11" y="6"/>
                  </a:moveTo>
                  <a:lnTo>
                    <a:pt x="5" y="18"/>
                  </a:lnTo>
                  <a:lnTo>
                    <a:pt x="0" y="29"/>
                  </a:lnTo>
                  <a:lnTo>
                    <a:pt x="2" y="29"/>
                  </a:lnTo>
                  <a:lnTo>
                    <a:pt x="3" y="29"/>
                  </a:lnTo>
                  <a:lnTo>
                    <a:pt x="16" y="29"/>
                  </a:lnTo>
                  <a:lnTo>
                    <a:pt x="18" y="23"/>
                  </a:lnTo>
                  <a:lnTo>
                    <a:pt x="27" y="24"/>
                  </a:lnTo>
                  <a:lnTo>
                    <a:pt x="32" y="22"/>
                  </a:lnTo>
                  <a:lnTo>
                    <a:pt x="26" y="0"/>
                  </a:lnTo>
                  <a:lnTo>
                    <a:pt x="16" y="6"/>
                  </a:lnTo>
                  <a:lnTo>
                    <a:pt x="11"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7" name="Freeform 74"/>
            <p:cNvSpPr>
              <a:spLocks/>
            </p:cNvSpPr>
            <p:nvPr/>
          </p:nvSpPr>
          <p:spPr bwMode="auto">
            <a:xfrm>
              <a:off x="3827" y="2667"/>
              <a:ext cx="2" cy="3"/>
            </a:xfrm>
            <a:custGeom>
              <a:avLst/>
              <a:gdLst/>
              <a:ahLst/>
              <a:cxnLst>
                <a:cxn ang="0">
                  <a:pos x="2" y="1"/>
                </a:cxn>
                <a:cxn ang="0">
                  <a:pos x="0" y="1"/>
                </a:cxn>
                <a:cxn ang="0">
                  <a:pos x="2" y="0"/>
                </a:cxn>
                <a:cxn ang="0">
                  <a:pos x="2" y="1"/>
                </a:cxn>
              </a:cxnLst>
              <a:rect l="0" t="0" r="r" b="b"/>
              <a:pathLst>
                <a:path w="2" h="1">
                  <a:moveTo>
                    <a:pt x="2" y="1"/>
                  </a:moveTo>
                  <a:lnTo>
                    <a:pt x="0" y="1"/>
                  </a:lnTo>
                  <a:lnTo>
                    <a:pt x="2" y="0"/>
                  </a:lnTo>
                  <a:lnTo>
                    <a:pt x="2"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8" name="Freeform 75"/>
            <p:cNvSpPr>
              <a:spLocks/>
            </p:cNvSpPr>
            <p:nvPr/>
          </p:nvSpPr>
          <p:spPr bwMode="auto">
            <a:xfrm>
              <a:off x="3833" y="2712"/>
              <a:ext cx="2" cy="2"/>
            </a:xfrm>
            <a:custGeom>
              <a:avLst/>
              <a:gdLst/>
              <a:ahLst/>
              <a:cxnLst>
                <a:cxn ang="0">
                  <a:pos x="0" y="0"/>
                </a:cxn>
                <a:cxn ang="0">
                  <a:pos x="1" y="1"/>
                </a:cxn>
                <a:cxn ang="0">
                  <a:pos x="0" y="2"/>
                </a:cxn>
                <a:cxn ang="0">
                  <a:pos x="0" y="0"/>
                </a:cxn>
              </a:cxnLst>
              <a:rect l="0" t="0" r="r" b="b"/>
              <a:pathLst>
                <a:path w="1" h="2">
                  <a:moveTo>
                    <a:pt x="0" y="0"/>
                  </a:moveTo>
                  <a:lnTo>
                    <a:pt x="1" y="1"/>
                  </a:lnTo>
                  <a:lnTo>
                    <a:pt x="0" y="2"/>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9" name="Freeform 76"/>
            <p:cNvSpPr>
              <a:spLocks/>
            </p:cNvSpPr>
            <p:nvPr/>
          </p:nvSpPr>
          <p:spPr bwMode="auto">
            <a:xfrm>
              <a:off x="3829" y="2703"/>
              <a:ext cx="2" cy="2"/>
            </a:xfrm>
            <a:custGeom>
              <a:avLst/>
              <a:gdLst/>
              <a:ahLst/>
              <a:cxnLst>
                <a:cxn ang="0">
                  <a:pos x="1" y="0"/>
                </a:cxn>
                <a:cxn ang="0">
                  <a:pos x="1" y="1"/>
                </a:cxn>
                <a:cxn ang="0">
                  <a:pos x="0" y="0"/>
                </a:cxn>
                <a:cxn ang="0">
                  <a:pos x="1" y="0"/>
                </a:cxn>
              </a:cxnLst>
              <a:rect l="0" t="0" r="r" b="b"/>
              <a:pathLst>
                <a:path w="1" h="1">
                  <a:moveTo>
                    <a:pt x="1" y="0"/>
                  </a:moveTo>
                  <a:lnTo>
                    <a:pt x="1" y="1"/>
                  </a:lnTo>
                  <a:lnTo>
                    <a:pt x="0"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0" name="Freeform 77"/>
            <p:cNvSpPr>
              <a:spLocks/>
            </p:cNvSpPr>
            <p:nvPr/>
          </p:nvSpPr>
          <p:spPr bwMode="auto">
            <a:xfrm>
              <a:off x="3822" y="2719"/>
              <a:ext cx="2" cy="2"/>
            </a:xfrm>
            <a:custGeom>
              <a:avLst/>
              <a:gdLst/>
              <a:ahLst/>
              <a:cxnLst>
                <a:cxn ang="0">
                  <a:pos x="1" y="0"/>
                </a:cxn>
                <a:cxn ang="0">
                  <a:pos x="0" y="1"/>
                </a:cxn>
                <a:cxn ang="0">
                  <a:pos x="0" y="0"/>
                </a:cxn>
                <a:cxn ang="0">
                  <a:pos x="1" y="0"/>
                </a:cxn>
              </a:cxnLst>
              <a:rect l="0" t="0" r="r" b="b"/>
              <a:pathLst>
                <a:path w="1" h="1">
                  <a:moveTo>
                    <a:pt x="1" y="0"/>
                  </a:moveTo>
                  <a:lnTo>
                    <a:pt x="0" y="1"/>
                  </a:lnTo>
                  <a:lnTo>
                    <a:pt x="0"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1" name="Freeform 78"/>
            <p:cNvSpPr>
              <a:spLocks/>
            </p:cNvSpPr>
            <p:nvPr/>
          </p:nvSpPr>
          <p:spPr bwMode="auto">
            <a:xfrm>
              <a:off x="3822" y="2721"/>
              <a:ext cx="2" cy="2"/>
            </a:xfrm>
            <a:custGeom>
              <a:avLst/>
              <a:gdLst/>
              <a:ahLst/>
              <a:cxnLst>
                <a:cxn ang="0">
                  <a:pos x="1" y="2"/>
                </a:cxn>
                <a:cxn ang="0">
                  <a:pos x="1" y="0"/>
                </a:cxn>
                <a:cxn ang="0">
                  <a:pos x="0" y="2"/>
                </a:cxn>
                <a:cxn ang="0">
                  <a:pos x="1" y="2"/>
                </a:cxn>
              </a:cxnLst>
              <a:rect l="0" t="0" r="r" b="b"/>
              <a:pathLst>
                <a:path w="1" h="2">
                  <a:moveTo>
                    <a:pt x="1" y="2"/>
                  </a:moveTo>
                  <a:lnTo>
                    <a:pt x="1" y="0"/>
                  </a:lnTo>
                  <a:lnTo>
                    <a:pt x="0" y="2"/>
                  </a:lnTo>
                  <a:lnTo>
                    <a:pt x="1"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2" name="Freeform 79"/>
            <p:cNvSpPr>
              <a:spLocks/>
            </p:cNvSpPr>
            <p:nvPr/>
          </p:nvSpPr>
          <p:spPr bwMode="auto">
            <a:xfrm>
              <a:off x="3822" y="2592"/>
              <a:ext cx="2" cy="2"/>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3" name="Freeform 80"/>
            <p:cNvSpPr>
              <a:spLocks/>
            </p:cNvSpPr>
            <p:nvPr/>
          </p:nvSpPr>
          <p:spPr bwMode="auto">
            <a:xfrm>
              <a:off x="3827" y="2719"/>
              <a:ext cx="2" cy="2"/>
            </a:xfrm>
            <a:custGeom>
              <a:avLst/>
              <a:gdLst/>
              <a:ahLst/>
              <a:cxnLst>
                <a:cxn ang="0">
                  <a:pos x="0" y="1"/>
                </a:cxn>
                <a:cxn ang="0">
                  <a:pos x="0" y="0"/>
                </a:cxn>
                <a:cxn ang="0">
                  <a:pos x="0" y="1"/>
                </a:cxn>
              </a:cxnLst>
              <a:rect l="0" t="0" r="r" b="b"/>
              <a:pathLst>
                <a:path h="1">
                  <a:moveTo>
                    <a:pt x="0" y="1"/>
                  </a:moveTo>
                  <a:lnTo>
                    <a:pt x="0" y="0"/>
                  </a:lnTo>
                  <a:lnTo>
                    <a:pt x="0"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4" name="Freeform 81"/>
            <p:cNvSpPr>
              <a:spLocks/>
            </p:cNvSpPr>
            <p:nvPr/>
          </p:nvSpPr>
          <p:spPr bwMode="auto">
            <a:xfrm>
              <a:off x="3833" y="2663"/>
              <a:ext cx="2" cy="2"/>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5" name="Freeform 82"/>
            <p:cNvSpPr>
              <a:spLocks/>
            </p:cNvSpPr>
            <p:nvPr/>
          </p:nvSpPr>
          <p:spPr bwMode="auto">
            <a:xfrm>
              <a:off x="3820" y="2565"/>
              <a:ext cx="2" cy="2"/>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6" name="Freeform 83"/>
            <p:cNvSpPr>
              <a:spLocks/>
            </p:cNvSpPr>
            <p:nvPr/>
          </p:nvSpPr>
          <p:spPr bwMode="auto">
            <a:xfrm>
              <a:off x="3827" y="2670"/>
              <a:ext cx="2" cy="2"/>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7" name="Freeform 84"/>
            <p:cNvSpPr>
              <a:spLocks/>
            </p:cNvSpPr>
            <p:nvPr/>
          </p:nvSpPr>
          <p:spPr bwMode="auto">
            <a:xfrm>
              <a:off x="3829" y="2659"/>
              <a:ext cx="2" cy="2"/>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8" name="Freeform 85"/>
            <p:cNvSpPr>
              <a:spLocks/>
            </p:cNvSpPr>
            <p:nvPr/>
          </p:nvSpPr>
          <p:spPr bwMode="auto">
            <a:xfrm>
              <a:off x="3827" y="2592"/>
              <a:ext cx="2" cy="2"/>
            </a:xfrm>
            <a:custGeom>
              <a:avLst/>
              <a:gdLst/>
              <a:ahLst/>
              <a:cxnLst>
                <a:cxn ang="0">
                  <a:pos x="0" y="0"/>
                </a:cxn>
                <a:cxn ang="0">
                  <a:pos x="0" y="1"/>
                </a:cxn>
                <a:cxn ang="0">
                  <a:pos x="0" y="0"/>
                </a:cxn>
              </a:cxnLst>
              <a:rect l="0" t="0" r="r" b="b"/>
              <a:pathLst>
                <a:path h="1">
                  <a:moveTo>
                    <a:pt x="0" y="0"/>
                  </a:moveTo>
                  <a:lnTo>
                    <a:pt x="0" y="1"/>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9" name="Freeform 86"/>
            <p:cNvSpPr>
              <a:spLocks/>
            </p:cNvSpPr>
            <p:nvPr/>
          </p:nvSpPr>
          <p:spPr bwMode="auto">
            <a:xfrm>
              <a:off x="3818" y="2572"/>
              <a:ext cx="2" cy="2"/>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0" name="Freeform 87"/>
            <p:cNvSpPr>
              <a:spLocks/>
            </p:cNvSpPr>
            <p:nvPr/>
          </p:nvSpPr>
          <p:spPr bwMode="auto">
            <a:xfrm>
              <a:off x="3813" y="2650"/>
              <a:ext cx="2" cy="2"/>
            </a:xfrm>
            <a:custGeom>
              <a:avLst/>
              <a:gdLst/>
              <a:ahLst/>
              <a:cxnLst>
                <a:cxn ang="0">
                  <a:pos x="2" y="1"/>
                </a:cxn>
                <a:cxn ang="0">
                  <a:pos x="2" y="0"/>
                </a:cxn>
                <a:cxn ang="0">
                  <a:pos x="0" y="0"/>
                </a:cxn>
                <a:cxn ang="0">
                  <a:pos x="2" y="1"/>
                </a:cxn>
              </a:cxnLst>
              <a:rect l="0" t="0" r="r" b="b"/>
              <a:pathLst>
                <a:path w="2" h="1">
                  <a:moveTo>
                    <a:pt x="2" y="1"/>
                  </a:moveTo>
                  <a:lnTo>
                    <a:pt x="2" y="0"/>
                  </a:lnTo>
                  <a:lnTo>
                    <a:pt x="0" y="0"/>
                  </a:lnTo>
                  <a:lnTo>
                    <a:pt x="2"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1" name="Freeform 88"/>
            <p:cNvSpPr>
              <a:spLocks/>
            </p:cNvSpPr>
            <p:nvPr/>
          </p:nvSpPr>
          <p:spPr bwMode="auto">
            <a:xfrm>
              <a:off x="3815" y="2563"/>
              <a:ext cx="3" cy="2"/>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2" name="Freeform 89"/>
            <p:cNvSpPr>
              <a:spLocks/>
            </p:cNvSpPr>
            <p:nvPr/>
          </p:nvSpPr>
          <p:spPr bwMode="auto">
            <a:xfrm>
              <a:off x="3827" y="2645"/>
              <a:ext cx="2" cy="2"/>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3" name="Freeform 90"/>
            <p:cNvSpPr>
              <a:spLocks/>
            </p:cNvSpPr>
            <p:nvPr/>
          </p:nvSpPr>
          <p:spPr bwMode="auto">
            <a:xfrm>
              <a:off x="3829" y="2694"/>
              <a:ext cx="2" cy="2"/>
            </a:xfrm>
            <a:custGeom>
              <a:avLst/>
              <a:gdLst/>
              <a:ahLst/>
              <a:cxnLst>
                <a:cxn ang="0">
                  <a:pos x="1" y="0"/>
                </a:cxn>
                <a:cxn ang="0">
                  <a:pos x="1" y="1"/>
                </a:cxn>
                <a:cxn ang="0">
                  <a:pos x="0" y="1"/>
                </a:cxn>
                <a:cxn ang="0">
                  <a:pos x="1" y="0"/>
                </a:cxn>
              </a:cxnLst>
              <a:rect l="0" t="0" r="r" b="b"/>
              <a:pathLst>
                <a:path w="1" h="1">
                  <a:moveTo>
                    <a:pt x="1" y="0"/>
                  </a:moveTo>
                  <a:lnTo>
                    <a:pt x="1" y="1"/>
                  </a:lnTo>
                  <a:lnTo>
                    <a:pt x="0" y="1"/>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4" name="Freeform 91"/>
            <p:cNvSpPr>
              <a:spLocks/>
            </p:cNvSpPr>
            <p:nvPr/>
          </p:nvSpPr>
          <p:spPr bwMode="auto">
            <a:xfrm>
              <a:off x="3815" y="2567"/>
              <a:ext cx="3" cy="3"/>
            </a:xfrm>
            <a:custGeom>
              <a:avLst/>
              <a:gdLst/>
              <a:ahLst/>
              <a:cxnLst>
                <a:cxn ang="0">
                  <a:pos x="1" y="0"/>
                </a:cxn>
                <a:cxn ang="0">
                  <a:pos x="1" y="1"/>
                </a:cxn>
                <a:cxn ang="0">
                  <a:pos x="0" y="3"/>
                </a:cxn>
                <a:cxn ang="0">
                  <a:pos x="1" y="0"/>
                </a:cxn>
              </a:cxnLst>
              <a:rect l="0" t="0" r="r" b="b"/>
              <a:pathLst>
                <a:path w="1" h="3">
                  <a:moveTo>
                    <a:pt x="1" y="0"/>
                  </a:moveTo>
                  <a:lnTo>
                    <a:pt x="1" y="1"/>
                  </a:lnTo>
                  <a:lnTo>
                    <a:pt x="0" y="3"/>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5" name="Freeform 92"/>
            <p:cNvSpPr>
              <a:spLocks/>
            </p:cNvSpPr>
            <p:nvPr/>
          </p:nvSpPr>
          <p:spPr bwMode="auto">
            <a:xfrm>
              <a:off x="3827" y="2654"/>
              <a:ext cx="2" cy="2"/>
            </a:xfrm>
            <a:custGeom>
              <a:avLst/>
              <a:gdLst/>
              <a:ahLst/>
              <a:cxnLst>
                <a:cxn ang="0">
                  <a:pos x="2" y="0"/>
                </a:cxn>
                <a:cxn ang="0">
                  <a:pos x="2" y="2"/>
                </a:cxn>
                <a:cxn ang="0">
                  <a:pos x="0" y="0"/>
                </a:cxn>
                <a:cxn ang="0">
                  <a:pos x="2" y="0"/>
                </a:cxn>
              </a:cxnLst>
              <a:rect l="0" t="0" r="r" b="b"/>
              <a:pathLst>
                <a:path w="2" h="2">
                  <a:moveTo>
                    <a:pt x="2" y="0"/>
                  </a:moveTo>
                  <a:lnTo>
                    <a:pt x="2" y="2"/>
                  </a:lnTo>
                  <a:lnTo>
                    <a:pt x="0" y="0"/>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6" name="Freeform 93"/>
            <p:cNvSpPr>
              <a:spLocks/>
            </p:cNvSpPr>
            <p:nvPr/>
          </p:nvSpPr>
          <p:spPr bwMode="auto">
            <a:xfrm>
              <a:off x="3827" y="2614"/>
              <a:ext cx="2" cy="2"/>
            </a:xfrm>
            <a:custGeom>
              <a:avLst/>
              <a:gdLst/>
              <a:ahLst/>
              <a:cxnLst>
                <a:cxn ang="0">
                  <a:pos x="0" y="0"/>
                </a:cxn>
                <a:cxn ang="0">
                  <a:pos x="0" y="1"/>
                </a:cxn>
                <a:cxn ang="0">
                  <a:pos x="0" y="0"/>
                </a:cxn>
              </a:cxnLst>
              <a:rect l="0" t="0" r="r" b="b"/>
              <a:pathLst>
                <a:path h="1">
                  <a:moveTo>
                    <a:pt x="0" y="0"/>
                  </a:moveTo>
                  <a:lnTo>
                    <a:pt x="0" y="1"/>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7" name="Freeform 94"/>
            <p:cNvSpPr>
              <a:spLocks/>
            </p:cNvSpPr>
            <p:nvPr/>
          </p:nvSpPr>
          <p:spPr bwMode="auto">
            <a:xfrm>
              <a:off x="3342" y="2892"/>
              <a:ext cx="7" cy="2"/>
            </a:xfrm>
            <a:custGeom>
              <a:avLst/>
              <a:gdLst/>
              <a:ahLst/>
              <a:cxnLst>
                <a:cxn ang="0">
                  <a:pos x="6" y="0"/>
                </a:cxn>
                <a:cxn ang="0">
                  <a:pos x="4" y="0"/>
                </a:cxn>
                <a:cxn ang="0">
                  <a:pos x="0" y="1"/>
                </a:cxn>
                <a:cxn ang="0">
                  <a:pos x="6" y="0"/>
                </a:cxn>
              </a:cxnLst>
              <a:rect l="0" t="0" r="r" b="b"/>
              <a:pathLst>
                <a:path w="6" h="1">
                  <a:moveTo>
                    <a:pt x="6" y="0"/>
                  </a:moveTo>
                  <a:lnTo>
                    <a:pt x="4" y="0"/>
                  </a:lnTo>
                  <a:lnTo>
                    <a:pt x="0" y="1"/>
                  </a:lnTo>
                  <a:lnTo>
                    <a:pt x="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8" name="Freeform 95"/>
            <p:cNvSpPr>
              <a:spLocks/>
            </p:cNvSpPr>
            <p:nvPr/>
          </p:nvSpPr>
          <p:spPr bwMode="auto">
            <a:xfrm>
              <a:off x="3395" y="2183"/>
              <a:ext cx="3" cy="4"/>
            </a:xfrm>
            <a:custGeom>
              <a:avLst/>
              <a:gdLst/>
              <a:ahLst/>
              <a:cxnLst>
                <a:cxn ang="0">
                  <a:pos x="0" y="0"/>
                </a:cxn>
                <a:cxn ang="0">
                  <a:pos x="0" y="3"/>
                </a:cxn>
                <a:cxn ang="0">
                  <a:pos x="1" y="1"/>
                </a:cxn>
                <a:cxn ang="0">
                  <a:pos x="0" y="0"/>
                </a:cxn>
              </a:cxnLst>
              <a:rect l="0" t="0" r="r" b="b"/>
              <a:pathLst>
                <a:path w="1" h="3">
                  <a:moveTo>
                    <a:pt x="0" y="0"/>
                  </a:moveTo>
                  <a:lnTo>
                    <a:pt x="0" y="3"/>
                  </a:lnTo>
                  <a:lnTo>
                    <a:pt x="1" y="1"/>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9" name="Freeform 96"/>
            <p:cNvSpPr>
              <a:spLocks/>
            </p:cNvSpPr>
            <p:nvPr/>
          </p:nvSpPr>
          <p:spPr bwMode="auto">
            <a:xfrm>
              <a:off x="2769" y="2236"/>
              <a:ext cx="180" cy="318"/>
            </a:xfrm>
            <a:custGeom>
              <a:avLst/>
              <a:gdLst/>
              <a:ahLst/>
              <a:cxnLst>
                <a:cxn ang="0">
                  <a:pos x="160" y="72"/>
                </a:cxn>
                <a:cxn ang="0">
                  <a:pos x="145" y="63"/>
                </a:cxn>
                <a:cxn ang="0">
                  <a:pos x="129" y="54"/>
                </a:cxn>
                <a:cxn ang="0">
                  <a:pos x="112" y="45"/>
                </a:cxn>
                <a:cxn ang="0">
                  <a:pos x="97" y="36"/>
                </a:cxn>
                <a:cxn ang="0">
                  <a:pos x="81" y="27"/>
                </a:cxn>
                <a:cxn ang="0">
                  <a:pos x="66" y="18"/>
                </a:cxn>
                <a:cxn ang="0">
                  <a:pos x="50" y="9"/>
                </a:cxn>
                <a:cxn ang="0">
                  <a:pos x="34" y="0"/>
                </a:cxn>
                <a:cxn ang="0">
                  <a:pos x="19" y="9"/>
                </a:cxn>
                <a:cxn ang="0">
                  <a:pos x="20" y="22"/>
                </a:cxn>
                <a:cxn ang="0">
                  <a:pos x="22" y="36"/>
                </a:cxn>
                <a:cxn ang="0">
                  <a:pos x="36" y="56"/>
                </a:cxn>
                <a:cxn ang="0">
                  <a:pos x="32" y="64"/>
                </a:cxn>
                <a:cxn ang="0">
                  <a:pos x="31" y="78"/>
                </a:cxn>
                <a:cxn ang="0">
                  <a:pos x="30" y="91"/>
                </a:cxn>
                <a:cxn ang="0">
                  <a:pos x="30" y="105"/>
                </a:cxn>
                <a:cxn ang="0">
                  <a:pos x="28" y="118"/>
                </a:cxn>
                <a:cxn ang="0">
                  <a:pos x="21" y="129"/>
                </a:cxn>
                <a:cxn ang="0">
                  <a:pos x="14" y="140"/>
                </a:cxn>
                <a:cxn ang="0">
                  <a:pos x="7" y="151"/>
                </a:cxn>
                <a:cxn ang="0">
                  <a:pos x="0" y="162"/>
                </a:cxn>
                <a:cxn ang="0">
                  <a:pos x="1" y="176"/>
                </a:cxn>
                <a:cxn ang="0">
                  <a:pos x="8" y="187"/>
                </a:cxn>
                <a:cxn ang="0">
                  <a:pos x="14" y="187"/>
                </a:cxn>
                <a:cxn ang="0">
                  <a:pos x="21" y="205"/>
                </a:cxn>
                <a:cxn ang="0">
                  <a:pos x="24" y="225"/>
                </a:cxn>
                <a:cxn ang="0">
                  <a:pos x="34" y="243"/>
                </a:cxn>
                <a:cxn ang="0">
                  <a:pos x="15" y="243"/>
                </a:cxn>
                <a:cxn ang="0">
                  <a:pos x="8" y="247"/>
                </a:cxn>
                <a:cxn ang="0">
                  <a:pos x="21" y="264"/>
                </a:cxn>
                <a:cxn ang="0">
                  <a:pos x="31" y="286"/>
                </a:cxn>
                <a:cxn ang="0">
                  <a:pos x="46" y="282"/>
                </a:cxn>
                <a:cxn ang="0">
                  <a:pos x="49" y="284"/>
                </a:cxn>
                <a:cxn ang="0">
                  <a:pos x="58" y="283"/>
                </a:cxn>
                <a:cxn ang="0">
                  <a:pos x="80" y="278"/>
                </a:cxn>
                <a:cxn ang="0">
                  <a:pos x="87" y="268"/>
                </a:cxn>
                <a:cxn ang="0">
                  <a:pos x="85" y="264"/>
                </a:cxn>
                <a:cxn ang="0">
                  <a:pos x="108" y="259"/>
                </a:cxn>
                <a:cxn ang="0">
                  <a:pos x="120" y="244"/>
                </a:cxn>
                <a:cxn ang="0">
                  <a:pos x="132" y="230"/>
                </a:cxn>
                <a:cxn ang="0">
                  <a:pos x="147" y="226"/>
                </a:cxn>
                <a:cxn ang="0">
                  <a:pos x="146" y="216"/>
                </a:cxn>
                <a:cxn ang="0">
                  <a:pos x="142" y="206"/>
                </a:cxn>
                <a:cxn ang="0">
                  <a:pos x="136" y="193"/>
                </a:cxn>
                <a:cxn ang="0">
                  <a:pos x="130" y="192"/>
                </a:cxn>
                <a:cxn ang="0">
                  <a:pos x="135" y="178"/>
                </a:cxn>
                <a:cxn ang="0">
                  <a:pos x="138" y="170"/>
                </a:cxn>
                <a:cxn ang="0">
                  <a:pos x="139" y="165"/>
                </a:cxn>
                <a:cxn ang="0">
                  <a:pos x="139" y="159"/>
                </a:cxn>
                <a:cxn ang="0">
                  <a:pos x="147" y="145"/>
                </a:cxn>
                <a:cxn ang="0">
                  <a:pos x="152" y="140"/>
                </a:cxn>
                <a:cxn ang="0">
                  <a:pos x="163" y="140"/>
                </a:cxn>
                <a:cxn ang="0">
                  <a:pos x="162" y="123"/>
                </a:cxn>
                <a:cxn ang="0">
                  <a:pos x="162" y="106"/>
                </a:cxn>
                <a:cxn ang="0">
                  <a:pos x="160" y="88"/>
                </a:cxn>
                <a:cxn ang="0">
                  <a:pos x="160" y="72"/>
                </a:cxn>
              </a:cxnLst>
              <a:rect l="0" t="0" r="r" b="b"/>
              <a:pathLst>
                <a:path w="163" h="286">
                  <a:moveTo>
                    <a:pt x="160" y="72"/>
                  </a:moveTo>
                  <a:lnTo>
                    <a:pt x="145" y="63"/>
                  </a:lnTo>
                  <a:lnTo>
                    <a:pt x="129" y="54"/>
                  </a:lnTo>
                  <a:lnTo>
                    <a:pt x="112" y="45"/>
                  </a:lnTo>
                  <a:lnTo>
                    <a:pt x="97" y="36"/>
                  </a:lnTo>
                  <a:lnTo>
                    <a:pt x="81" y="27"/>
                  </a:lnTo>
                  <a:lnTo>
                    <a:pt x="66" y="18"/>
                  </a:lnTo>
                  <a:lnTo>
                    <a:pt x="50" y="9"/>
                  </a:lnTo>
                  <a:lnTo>
                    <a:pt x="34" y="0"/>
                  </a:lnTo>
                  <a:lnTo>
                    <a:pt x="19" y="9"/>
                  </a:lnTo>
                  <a:lnTo>
                    <a:pt x="20" y="22"/>
                  </a:lnTo>
                  <a:lnTo>
                    <a:pt x="22" y="36"/>
                  </a:lnTo>
                  <a:lnTo>
                    <a:pt x="36" y="56"/>
                  </a:lnTo>
                  <a:lnTo>
                    <a:pt x="32" y="64"/>
                  </a:lnTo>
                  <a:lnTo>
                    <a:pt x="31" y="78"/>
                  </a:lnTo>
                  <a:lnTo>
                    <a:pt x="30" y="91"/>
                  </a:lnTo>
                  <a:lnTo>
                    <a:pt x="30" y="105"/>
                  </a:lnTo>
                  <a:lnTo>
                    <a:pt x="28" y="118"/>
                  </a:lnTo>
                  <a:lnTo>
                    <a:pt x="21" y="129"/>
                  </a:lnTo>
                  <a:lnTo>
                    <a:pt x="14" y="140"/>
                  </a:lnTo>
                  <a:lnTo>
                    <a:pt x="7" y="151"/>
                  </a:lnTo>
                  <a:lnTo>
                    <a:pt x="0" y="162"/>
                  </a:lnTo>
                  <a:lnTo>
                    <a:pt x="1" y="176"/>
                  </a:lnTo>
                  <a:lnTo>
                    <a:pt x="8" y="187"/>
                  </a:lnTo>
                  <a:lnTo>
                    <a:pt x="14" y="187"/>
                  </a:lnTo>
                  <a:lnTo>
                    <a:pt x="21" y="205"/>
                  </a:lnTo>
                  <a:lnTo>
                    <a:pt x="24" y="225"/>
                  </a:lnTo>
                  <a:lnTo>
                    <a:pt x="34" y="243"/>
                  </a:lnTo>
                  <a:lnTo>
                    <a:pt x="15" y="243"/>
                  </a:lnTo>
                  <a:lnTo>
                    <a:pt x="8" y="247"/>
                  </a:lnTo>
                  <a:lnTo>
                    <a:pt x="21" y="264"/>
                  </a:lnTo>
                  <a:lnTo>
                    <a:pt x="31" y="286"/>
                  </a:lnTo>
                  <a:lnTo>
                    <a:pt x="46" y="282"/>
                  </a:lnTo>
                  <a:lnTo>
                    <a:pt x="49" y="284"/>
                  </a:lnTo>
                  <a:lnTo>
                    <a:pt x="58" y="283"/>
                  </a:lnTo>
                  <a:lnTo>
                    <a:pt x="80" y="278"/>
                  </a:lnTo>
                  <a:lnTo>
                    <a:pt x="87" y="268"/>
                  </a:lnTo>
                  <a:lnTo>
                    <a:pt x="85" y="264"/>
                  </a:lnTo>
                  <a:lnTo>
                    <a:pt x="108" y="259"/>
                  </a:lnTo>
                  <a:lnTo>
                    <a:pt x="120" y="244"/>
                  </a:lnTo>
                  <a:lnTo>
                    <a:pt x="132" y="230"/>
                  </a:lnTo>
                  <a:lnTo>
                    <a:pt x="147" y="226"/>
                  </a:lnTo>
                  <a:lnTo>
                    <a:pt x="146" y="216"/>
                  </a:lnTo>
                  <a:lnTo>
                    <a:pt x="142" y="206"/>
                  </a:lnTo>
                  <a:lnTo>
                    <a:pt x="136" y="193"/>
                  </a:lnTo>
                  <a:lnTo>
                    <a:pt x="130" y="192"/>
                  </a:lnTo>
                  <a:lnTo>
                    <a:pt x="135" y="178"/>
                  </a:lnTo>
                  <a:lnTo>
                    <a:pt x="138" y="170"/>
                  </a:lnTo>
                  <a:lnTo>
                    <a:pt x="139" y="165"/>
                  </a:lnTo>
                  <a:lnTo>
                    <a:pt x="139" y="159"/>
                  </a:lnTo>
                  <a:lnTo>
                    <a:pt x="147" y="145"/>
                  </a:lnTo>
                  <a:lnTo>
                    <a:pt x="152" y="140"/>
                  </a:lnTo>
                  <a:lnTo>
                    <a:pt x="163" y="140"/>
                  </a:lnTo>
                  <a:lnTo>
                    <a:pt x="162" y="123"/>
                  </a:lnTo>
                  <a:lnTo>
                    <a:pt x="162" y="106"/>
                  </a:lnTo>
                  <a:lnTo>
                    <a:pt x="160" y="88"/>
                  </a:lnTo>
                  <a:lnTo>
                    <a:pt x="160" y="7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0" name="Freeform 97"/>
            <p:cNvSpPr>
              <a:spLocks/>
            </p:cNvSpPr>
            <p:nvPr/>
          </p:nvSpPr>
          <p:spPr bwMode="auto">
            <a:xfrm>
              <a:off x="3264" y="2454"/>
              <a:ext cx="25" cy="31"/>
            </a:xfrm>
            <a:custGeom>
              <a:avLst/>
              <a:gdLst/>
              <a:ahLst/>
              <a:cxnLst>
                <a:cxn ang="0">
                  <a:pos x="0" y="28"/>
                </a:cxn>
                <a:cxn ang="0">
                  <a:pos x="18" y="28"/>
                </a:cxn>
                <a:cxn ang="0">
                  <a:pos x="22" y="20"/>
                </a:cxn>
                <a:cxn ang="0">
                  <a:pos x="16" y="0"/>
                </a:cxn>
                <a:cxn ang="0">
                  <a:pos x="10" y="2"/>
                </a:cxn>
                <a:cxn ang="0">
                  <a:pos x="0" y="28"/>
                </a:cxn>
              </a:cxnLst>
              <a:rect l="0" t="0" r="r" b="b"/>
              <a:pathLst>
                <a:path w="22" h="28">
                  <a:moveTo>
                    <a:pt x="0" y="28"/>
                  </a:moveTo>
                  <a:lnTo>
                    <a:pt x="18" y="28"/>
                  </a:lnTo>
                  <a:lnTo>
                    <a:pt x="22" y="20"/>
                  </a:lnTo>
                  <a:lnTo>
                    <a:pt x="16" y="0"/>
                  </a:lnTo>
                  <a:lnTo>
                    <a:pt x="10" y="2"/>
                  </a:lnTo>
                  <a:lnTo>
                    <a:pt x="0" y="2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1" name="Freeform 98"/>
            <p:cNvSpPr>
              <a:spLocks/>
            </p:cNvSpPr>
            <p:nvPr/>
          </p:nvSpPr>
          <p:spPr bwMode="auto">
            <a:xfrm>
              <a:off x="3167" y="2347"/>
              <a:ext cx="115" cy="114"/>
            </a:xfrm>
            <a:custGeom>
              <a:avLst/>
              <a:gdLst/>
              <a:ahLst/>
              <a:cxnLst>
                <a:cxn ang="0">
                  <a:pos x="0" y="78"/>
                </a:cxn>
                <a:cxn ang="0">
                  <a:pos x="2" y="65"/>
                </a:cxn>
                <a:cxn ang="0">
                  <a:pos x="4" y="40"/>
                </a:cxn>
                <a:cxn ang="0">
                  <a:pos x="10" y="17"/>
                </a:cxn>
                <a:cxn ang="0">
                  <a:pos x="20" y="10"/>
                </a:cxn>
                <a:cxn ang="0">
                  <a:pos x="29" y="3"/>
                </a:cxn>
                <a:cxn ang="0">
                  <a:pos x="32" y="0"/>
                </a:cxn>
                <a:cxn ang="0">
                  <a:pos x="36" y="12"/>
                </a:cxn>
                <a:cxn ang="0">
                  <a:pos x="41" y="25"/>
                </a:cxn>
                <a:cxn ang="0">
                  <a:pos x="46" y="39"/>
                </a:cxn>
                <a:cxn ang="0">
                  <a:pos x="52" y="52"/>
                </a:cxn>
                <a:cxn ang="0">
                  <a:pos x="52" y="47"/>
                </a:cxn>
                <a:cxn ang="0">
                  <a:pos x="57" y="49"/>
                </a:cxn>
                <a:cxn ang="0">
                  <a:pos x="70" y="59"/>
                </a:cxn>
                <a:cxn ang="0">
                  <a:pos x="87" y="76"/>
                </a:cxn>
                <a:cxn ang="0">
                  <a:pos x="104" y="93"/>
                </a:cxn>
                <a:cxn ang="0">
                  <a:pos x="105" y="96"/>
                </a:cxn>
                <a:cxn ang="0">
                  <a:pos x="104" y="97"/>
                </a:cxn>
                <a:cxn ang="0">
                  <a:pos x="98" y="99"/>
                </a:cxn>
                <a:cxn ang="0">
                  <a:pos x="90" y="102"/>
                </a:cxn>
                <a:cxn ang="0">
                  <a:pos x="89" y="99"/>
                </a:cxn>
                <a:cxn ang="0">
                  <a:pos x="75" y="94"/>
                </a:cxn>
                <a:cxn ang="0">
                  <a:pos x="65" y="83"/>
                </a:cxn>
                <a:cxn ang="0">
                  <a:pos x="60" y="77"/>
                </a:cxn>
                <a:cxn ang="0">
                  <a:pos x="51" y="72"/>
                </a:cxn>
                <a:cxn ang="0">
                  <a:pos x="42" y="70"/>
                </a:cxn>
                <a:cxn ang="0">
                  <a:pos x="33" y="71"/>
                </a:cxn>
                <a:cxn ang="0">
                  <a:pos x="24" y="63"/>
                </a:cxn>
                <a:cxn ang="0">
                  <a:pos x="22" y="77"/>
                </a:cxn>
                <a:cxn ang="0">
                  <a:pos x="15" y="71"/>
                </a:cxn>
                <a:cxn ang="0">
                  <a:pos x="8" y="79"/>
                </a:cxn>
                <a:cxn ang="0">
                  <a:pos x="0" y="78"/>
                </a:cxn>
              </a:cxnLst>
              <a:rect l="0" t="0" r="r" b="b"/>
              <a:pathLst>
                <a:path w="105" h="102">
                  <a:moveTo>
                    <a:pt x="0" y="78"/>
                  </a:moveTo>
                  <a:lnTo>
                    <a:pt x="2" y="65"/>
                  </a:lnTo>
                  <a:lnTo>
                    <a:pt x="4" y="40"/>
                  </a:lnTo>
                  <a:lnTo>
                    <a:pt x="10" y="17"/>
                  </a:lnTo>
                  <a:lnTo>
                    <a:pt x="20" y="10"/>
                  </a:lnTo>
                  <a:lnTo>
                    <a:pt x="29" y="3"/>
                  </a:lnTo>
                  <a:lnTo>
                    <a:pt x="32" y="0"/>
                  </a:lnTo>
                  <a:lnTo>
                    <a:pt x="36" y="12"/>
                  </a:lnTo>
                  <a:lnTo>
                    <a:pt x="41" y="25"/>
                  </a:lnTo>
                  <a:lnTo>
                    <a:pt x="46" y="39"/>
                  </a:lnTo>
                  <a:lnTo>
                    <a:pt x="52" y="52"/>
                  </a:lnTo>
                  <a:lnTo>
                    <a:pt x="52" y="47"/>
                  </a:lnTo>
                  <a:lnTo>
                    <a:pt x="57" y="49"/>
                  </a:lnTo>
                  <a:lnTo>
                    <a:pt x="70" y="59"/>
                  </a:lnTo>
                  <a:lnTo>
                    <a:pt x="87" y="76"/>
                  </a:lnTo>
                  <a:lnTo>
                    <a:pt x="104" y="93"/>
                  </a:lnTo>
                  <a:lnTo>
                    <a:pt x="105" y="96"/>
                  </a:lnTo>
                  <a:lnTo>
                    <a:pt x="104" y="97"/>
                  </a:lnTo>
                  <a:lnTo>
                    <a:pt x="98" y="99"/>
                  </a:lnTo>
                  <a:lnTo>
                    <a:pt x="90" y="102"/>
                  </a:lnTo>
                  <a:lnTo>
                    <a:pt x="89" y="99"/>
                  </a:lnTo>
                  <a:lnTo>
                    <a:pt x="75" y="94"/>
                  </a:lnTo>
                  <a:lnTo>
                    <a:pt x="65" y="83"/>
                  </a:lnTo>
                  <a:lnTo>
                    <a:pt x="60" y="77"/>
                  </a:lnTo>
                  <a:lnTo>
                    <a:pt x="51" y="72"/>
                  </a:lnTo>
                  <a:lnTo>
                    <a:pt x="42" y="70"/>
                  </a:lnTo>
                  <a:lnTo>
                    <a:pt x="33" y="71"/>
                  </a:lnTo>
                  <a:lnTo>
                    <a:pt x="24" y="63"/>
                  </a:lnTo>
                  <a:lnTo>
                    <a:pt x="22" y="77"/>
                  </a:lnTo>
                  <a:lnTo>
                    <a:pt x="15" y="71"/>
                  </a:lnTo>
                  <a:lnTo>
                    <a:pt x="8" y="79"/>
                  </a:lnTo>
                  <a:lnTo>
                    <a:pt x="0" y="7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2" name="Freeform 99"/>
            <p:cNvSpPr>
              <a:spLocks/>
            </p:cNvSpPr>
            <p:nvPr/>
          </p:nvSpPr>
          <p:spPr bwMode="auto">
            <a:xfrm>
              <a:off x="3111" y="2416"/>
              <a:ext cx="262" cy="220"/>
            </a:xfrm>
            <a:custGeom>
              <a:avLst/>
              <a:gdLst/>
              <a:ahLst/>
              <a:cxnLst>
                <a:cxn ang="0">
                  <a:pos x="80" y="193"/>
                </a:cxn>
                <a:cxn ang="0">
                  <a:pos x="61" y="180"/>
                </a:cxn>
                <a:cxn ang="0">
                  <a:pos x="48" y="177"/>
                </a:cxn>
                <a:cxn ang="0">
                  <a:pos x="43" y="163"/>
                </a:cxn>
                <a:cxn ang="0">
                  <a:pos x="34" y="159"/>
                </a:cxn>
                <a:cxn ang="0">
                  <a:pos x="28" y="147"/>
                </a:cxn>
                <a:cxn ang="0">
                  <a:pos x="22" y="135"/>
                </a:cxn>
                <a:cxn ang="0">
                  <a:pos x="6" y="121"/>
                </a:cxn>
                <a:cxn ang="0">
                  <a:pos x="0" y="116"/>
                </a:cxn>
                <a:cxn ang="0">
                  <a:pos x="6" y="109"/>
                </a:cxn>
                <a:cxn ang="0">
                  <a:pos x="18" y="106"/>
                </a:cxn>
                <a:cxn ang="0">
                  <a:pos x="19" y="86"/>
                </a:cxn>
                <a:cxn ang="0">
                  <a:pos x="22" y="67"/>
                </a:cxn>
                <a:cxn ang="0">
                  <a:pos x="30" y="64"/>
                </a:cxn>
                <a:cxn ang="0">
                  <a:pos x="34" y="45"/>
                </a:cxn>
                <a:cxn ang="0">
                  <a:pos x="50" y="15"/>
                </a:cxn>
                <a:cxn ang="0">
                  <a:pos x="58" y="16"/>
                </a:cxn>
                <a:cxn ang="0">
                  <a:pos x="65" y="8"/>
                </a:cxn>
                <a:cxn ang="0">
                  <a:pos x="72" y="14"/>
                </a:cxn>
                <a:cxn ang="0">
                  <a:pos x="74" y="0"/>
                </a:cxn>
                <a:cxn ang="0">
                  <a:pos x="83" y="8"/>
                </a:cxn>
                <a:cxn ang="0">
                  <a:pos x="92" y="7"/>
                </a:cxn>
                <a:cxn ang="0">
                  <a:pos x="101" y="9"/>
                </a:cxn>
                <a:cxn ang="0">
                  <a:pos x="110" y="14"/>
                </a:cxn>
                <a:cxn ang="0">
                  <a:pos x="115" y="20"/>
                </a:cxn>
                <a:cxn ang="0">
                  <a:pos x="125" y="31"/>
                </a:cxn>
                <a:cxn ang="0">
                  <a:pos x="139" y="36"/>
                </a:cxn>
                <a:cxn ang="0">
                  <a:pos x="140" y="39"/>
                </a:cxn>
                <a:cxn ang="0">
                  <a:pos x="148" y="36"/>
                </a:cxn>
                <a:cxn ang="0">
                  <a:pos x="138" y="62"/>
                </a:cxn>
                <a:cxn ang="0">
                  <a:pos x="156" y="62"/>
                </a:cxn>
                <a:cxn ang="0">
                  <a:pos x="154" y="73"/>
                </a:cxn>
                <a:cxn ang="0">
                  <a:pos x="163" y="85"/>
                </a:cxn>
                <a:cxn ang="0">
                  <a:pos x="174" y="98"/>
                </a:cxn>
                <a:cxn ang="0">
                  <a:pos x="186" y="103"/>
                </a:cxn>
                <a:cxn ang="0">
                  <a:pos x="198" y="108"/>
                </a:cxn>
                <a:cxn ang="0">
                  <a:pos x="210" y="112"/>
                </a:cxn>
                <a:cxn ang="0">
                  <a:pos x="221" y="116"/>
                </a:cxn>
                <a:cxn ang="0">
                  <a:pos x="236" y="116"/>
                </a:cxn>
                <a:cxn ang="0">
                  <a:pos x="226" y="130"/>
                </a:cxn>
                <a:cxn ang="0">
                  <a:pos x="214" y="144"/>
                </a:cxn>
                <a:cxn ang="0">
                  <a:pos x="202" y="158"/>
                </a:cxn>
                <a:cxn ang="0">
                  <a:pos x="191" y="172"/>
                </a:cxn>
                <a:cxn ang="0">
                  <a:pos x="178" y="174"/>
                </a:cxn>
                <a:cxn ang="0">
                  <a:pos x="166" y="175"/>
                </a:cxn>
                <a:cxn ang="0">
                  <a:pos x="150" y="184"/>
                </a:cxn>
                <a:cxn ang="0">
                  <a:pos x="143" y="189"/>
                </a:cxn>
                <a:cxn ang="0">
                  <a:pos x="126" y="186"/>
                </a:cxn>
                <a:cxn ang="0">
                  <a:pos x="110" y="190"/>
                </a:cxn>
                <a:cxn ang="0">
                  <a:pos x="102" y="198"/>
                </a:cxn>
                <a:cxn ang="0">
                  <a:pos x="80" y="193"/>
                </a:cxn>
              </a:cxnLst>
              <a:rect l="0" t="0" r="r" b="b"/>
              <a:pathLst>
                <a:path w="236" h="198">
                  <a:moveTo>
                    <a:pt x="80" y="193"/>
                  </a:moveTo>
                  <a:lnTo>
                    <a:pt x="61" y="180"/>
                  </a:lnTo>
                  <a:lnTo>
                    <a:pt x="48" y="177"/>
                  </a:lnTo>
                  <a:lnTo>
                    <a:pt x="43" y="163"/>
                  </a:lnTo>
                  <a:lnTo>
                    <a:pt x="34" y="159"/>
                  </a:lnTo>
                  <a:lnTo>
                    <a:pt x="28" y="147"/>
                  </a:lnTo>
                  <a:lnTo>
                    <a:pt x="22" y="135"/>
                  </a:lnTo>
                  <a:lnTo>
                    <a:pt x="6" y="121"/>
                  </a:lnTo>
                  <a:lnTo>
                    <a:pt x="0" y="116"/>
                  </a:lnTo>
                  <a:lnTo>
                    <a:pt x="6" y="109"/>
                  </a:lnTo>
                  <a:lnTo>
                    <a:pt x="18" y="106"/>
                  </a:lnTo>
                  <a:lnTo>
                    <a:pt x="19" y="86"/>
                  </a:lnTo>
                  <a:lnTo>
                    <a:pt x="22" y="67"/>
                  </a:lnTo>
                  <a:lnTo>
                    <a:pt x="30" y="64"/>
                  </a:lnTo>
                  <a:lnTo>
                    <a:pt x="34" y="45"/>
                  </a:lnTo>
                  <a:lnTo>
                    <a:pt x="50" y="15"/>
                  </a:lnTo>
                  <a:lnTo>
                    <a:pt x="58" y="16"/>
                  </a:lnTo>
                  <a:lnTo>
                    <a:pt x="65" y="8"/>
                  </a:lnTo>
                  <a:lnTo>
                    <a:pt x="72" y="14"/>
                  </a:lnTo>
                  <a:lnTo>
                    <a:pt x="74" y="0"/>
                  </a:lnTo>
                  <a:lnTo>
                    <a:pt x="83" y="8"/>
                  </a:lnTo>
                  <a:lnTo>
                    <a:pt x="92" y="7"/>
                  </a:lnTo>
                  <a:lnTo>
                    <a:pt x="101" y="9"/>
                  </a:lnTo>
                  <a:lnTo>
                    <a:pt x="110" y="14"/>
                  </a:lnTo>
                  <a:lnTo>
                    <a:pt x="115" y="20"/>
                  </a:lnTo>
                  <a:lnTo>
                    <a:pt x="125" y="31"/>
                  </a:lnTo>
                  <a:lnTo>
                    <a:pt x="139" y="36"/>
                  </a:lnTo>
                  <a:lnTo>
                    <a:pt x="140" y="39"/>
                  </a:lnTo>
                  <a:lnTo>
                    <a:pt x="148" y="36"/>
                  </a:lnTo>
                  <a:lnTo>
                    <a:pt x="138" y="62"/>
                  </a:lnTo>
                  <a:lnTo>
                    <a:pt x="156" y="62"/>
                  </a:lnTo>
                  <a:lnTo>
                    <a:pt x="154" y="73"/>
                  </a:lnTo>
                  <a:lnTo>
                    <a:pt x="163" y="85"/>
                  </a:lnTo>
                  <a:lnTo>
                    <a:pt x="174" y="98"/>
                  </a:lnTo>
                  <a:lnTo>
                    <a:pt x="186" y="103"/>
                  </a:lnTo>
                  <a:lnTo>
                    <a:pt x="198" y="108"/>
                  </a:lnTo>
                  <a:lnTo>
                    <a:pt x="210" y="112"/>
                  </a:lnTo>
                  <a:lnTo>
                    <a:pt x="221" y="116"/>
                  </a:lnTo>
                  <a:lnTo>
                    <a:pt x="236" y="116"/>
                  </a:lnTo>
                  <a:lnTo>
                    <a:pt x="226" y="130"/>
                  </a:lnTo>
                  <a:lnTo>
                    <a:pt x="214" y="144"/>
                  </a:lnTo>
                  <a:lnTo>
                    <a:pt x="202" y="158"/>
                  </a:lnTo>
                  <a:lnTo>
                    <a:pt x="191" y="172"/>
                  </a:lnTo>
                  <a:lnTo>
                    <a:pt x="178" y="174"/>
                  </a:lnTo>
                  <a:lnTo>
                    <a:pt x="166" y="175"/>
                  </a:lnTo>
                  <a:lnTo>
                    <a:pt x="150" y="184"/>
                  </a:lnTo>
                  <a:lnTo>
                    <a:pt x="143" y="189"/>
                  </a:lnTo>
                  <a:lnTo>
                    <a:pt x="126" y="186"/>
                  </a:lnTo>
                  <a:lnTo>
                    <a:pt x="110" y="190"/>
                  </a:lnTo>
                  <a:lnTo>
                    <a:pt x="102" y="198"/>
                  </a:lnTo>
                  <a:lnTo>
                    <a:pt x="80" y="19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3" name="Freeform 100"/>
            <p:cNvSpPr>
              <a:spLocks/>
            </p:cNvSpPr>
            <p:nvPr/>
          </p:nvSpPr>
          <p:spPr bwMode="auto">
            <a:xfrm>
              <a:off x="3253" y="2467"/>
              <a:ext cx="176" cy="272"/>
            </a:xfrm>
            <a:custGeom>
              <a:avLst/>
              <a:gdLst/>
              <a:ahLst/>
              <a:cxnLst>
                <a:cxn ang="0">
                  <a:pos x="154" y="34"/>
                </a:cxn>
                <a:cxn ang="0">
                  <a:pos x="149" y="54"/>
                </a:cxn>
                <a:cxn ang="0">
                  <a:pos x="138" y="76"/>
                </a:cxn>
                <a:cxn ang="0">
                  <a:pos x="128" y="96"/>
                </a:cxn>
                <a:cxn ang="0">
                  <a:pos x="117" y="118"/>
                </a:cxn>
                <a:cxn ang="0">
                  <a:pos x="106" y="139"/>
                </a:cxn>
                <a:cxn ang="0">
                  <a:pos x="96" y="150"/>
                </a:cxn>
                <a:cxn ang="0">
                  <a:pos x="87" y="160"/>
                </a:cxn>
                <a:cxn ang="0">
                  <a:pos x="77" y="169"/>
                </a:cxn>
                <a:cxn ang="0">
                  <a:pos x="69" y="179"/>
                </a:cxn>
                <a:cxn ang="0">
                  <a:pos x="57" y="190"/>
                </a:cxn>
                <a:cxn ang="0">
                  <a:pos x="46" y="201"/>
                </a:cxn>
                <a:cxn ang="0">
                  <a:pos x="35" y="211"/>
                </a:cxn>
                <a:cxn ang="0">
                  <a:pos x="24" y="222"/>
                </a:cxn>
                <a:cxn ang="0">
                  <a:pos x="16" y="234"/>
                </a:cxn>
                <a:cxn ang="0">
                  <a:pos x="9" y="245"/>
                </a:cxn>
                <a:cxn ang="0">
                  <a:pos x="0" y="231"/>
                </a:cxn>
                <a:cxn ang="0">
                  <a:pos x="0" y="214"/>
                </a:cxn>
                <a:cxn ang="0">
                  <a:pos x="0" y="197"/>
                </a:cxn>
                <a:cxn ang="0">
                  <a:pos x="0" y="180"/>
                </a:cxn>
                <a:cxn ang="0">
                  <a:pos x="0" y="165"/>
                </a:cxn>
                <a:cxn ang="0">
                  <a:pos x="8" y="154"/>
                </a:cxn>
                <a:cxn ang="0">
                  <a:pos x="15" y="144"/>
                </a:cxn>
                <a:cxn ang="0">
                  <a:pos x="22" y="139"/>
                </a:cxn>
                <a:cxn ang="0">
                  <a:pos x="38" y="130"/>
                </a:cxn>
                <a:cxn ang="0">
                  <a:pos x="50" y="129"/>
                </a:cxn>
                <a:cxn ang="0">
                  <a:pos x="63" y="127"/>
                </a:cxn>
                <a:cxn ang="0">
                  <a:pos x="74" y="113"/>
                </a:cxn>
                <a:cxn ang="0">
                  <a:pos x="86" y="99"/>
                </a:cxn>
                <a:cxn ang="0">
                  <a:pos x="98" y="85"/>
                </a:cxn>
                <a:cxn ang="0">
                  <a:pos x="108" y="71"/>
                </a:cxn>
                <a:cxn ang="0">
                  <a:pos x="93" y="71"/>
                </a:cxn>
                <a:cxn ang="0">
                  <a:pos x="82" y="67"/>
                </a:cxn>
                <a:cxn ang="0">
                  <a:pos x="70" y="63"/>
                </a:cxn>
                <a:cxn ang="0">
                  <a:pos x="58" y="58"/>
                </a:cxn>
                <a:cxn ang="0">
                  <a:pos x="46" y="53"/>
                </a:cxn>
                <a:cxn ang="0">
                  <a:pos x="35" y="40"/>
                </a:cxn>
                <a:cxn ang="0">
                  <a:pos x="26" y="28"/>
                </a:cxn>
                <a:cxn ang="0">
                  <a:pos x="28" y="17"/>
                </a:cxn>
                <a:cxn ang="0">
                  <a:pos x="32" y="9"/>
                </a:cxn>
                <a:cxn ang="0">
                  <a:pos x="42" y="18"/>
                </a:cxn>
                <a:cxn ang="0">
                  <a:pos x="52" y="28"/>
                </a:cxn>
                <a:cxn ang="0">
                  <a:pos x="71" y="21"/>
                </a:cxn>
                <a:cxn ang="0">
                  <a:pos x="87" y="22"/>
                </a:cxn>
                <a:cxn ang="0">
                  <a:pos x="101" y="15"/>
                </a:cxn>
                <a:cxn ang="0">
                  <a:pos x="123" y="10"/>
                </a:cxn>
                <a:cxn ang="0">
                  <a:pos x="146" y="5"/>
                </a:cxn>
                <a:cxn ang="0">
                  <a:pos x="153" y="0"/>
                </a:cxn>
                <a:cxn ang="0">
                  <a:pos x="158" y="5"/>
                </a:cxn>
                <a:cxn ang="0">
                  <a:pos x="156" y="28"/>
                </a:cxn>
                <a:cxn ang="0">
                  <a:pos x="159" y="28"/>
                </a:cxn>
                <a:cxn ang="0">
                  <a:pos x="154" y="34"/>
                </a:cxn>
              </a:cxnLst>
              <a:rect l="0" t="0" r="r" b="b"/>
              <a:pathLst>
                <a:path w="159" h="245">
                  <a:moveTo>
                    <a:pt x="154" y="34"/>
                  </a:moveTo>
                  <a:lnTo>
                    <a:pt x="149" y="54"/>
                  </a:lnTo>
                  <a:lnTo>
                    <a:pt x="138" y="76"/>
                  </a:lnTo>
                  <a:lnTo>
                    <a:pt x="128" y="96"/>
                  </a:lnTo>
                  <a:lnTo>
                    <a:pt x="117" y="118"/>
                  </a:lnTo>
                  <a:lnTo>
                    <a:pt x="106" y="139"/>
                  </a:lnTo>
                  <a:lnTo>
                    <a:pt x="96" y="150"/>
                  </a:lnTo>
                  <a:lnTo>
                    <a:pt x="87" y="160"/>
                  </a:lnTo>
                  <a:lnTo>
                    <a:pt x="77" y="169"/>
                  </a:lnTo>
                  <a:lnTo>
                    <a:pt x="69" y="179"/>
                  </a:lnTo>
                  <a:lnTo>
                    <a:pt x="57" y="190"/>
                  </a:lnTo>
                  <a:lnTo>
                    <a:pt x="46" y="201"/>
                  </a:lnTo>
                  <a:lnTo>
                    <a:pt x="35" y="211"/>
                  </a:lnTo>
                  <a:lnTo>
                    <a:pt x="24" y="222"/>
                  </a:lnTo>
                  <a:lnTo>
                    <a:pt x="16" y="234"/>
                  </a:lnTo>
                  <a:lnTo>
                    <a:pt x="9" y="245"/>
                  </a:lnTo>
                  <a:lnTo>
                    <a:pt x="0" y="231"/>
                  </a:lnTo>
                  <a:lnTo>
                    <a:pt x="0" y="214"/>
                  </a:lnTo>
                  <a:lnTo>
                    <a:pt x="0" y="197"/>
                  </a:lnTo>
                  <a:lnTo>
                    <a:pt x="0" y="180"/>
                  </a:lnTo>
                  <a:lnTo>
                    <a:pt x="0" y="165"/>
                  </a:lnTo>
                  <a:lnTo>
                    <a:pt x="8" y="154"/>
                  </a:lnTo>
                  <a:lnTo>
                    <a:pt x="15" y="144"/>
                  </a:lnTo>
                  <a:lnTo>
                    <a:pt x="22" y="139"/>
                  </a:lnTo>
                  <a:lnTo>
                    <a:pt x="38" y="130"/>
                  </a:lnTo>
                  <a:lnTo>
                    <a:pt x="50" y="129"/>
                  </a:lnTo>
                  <a:lnTo>
                    <a:pt x="63" y="127"/>
                  </a:lnTo>
                  <a:lnTo>
                    <a:pt x="74" y="113"/>
                  </a:lnTo>
                  <a:lnTo>
                    <a:pt x="86" y="99"/>
                  </a:lnTo>
                  <a:lnTo>
                    <a:pt x="98" y="85"/>
                  </a:lnTo>
                  <a:lnTo>
                    <a:pt x="108" y="71"/>
                  </a:lnTo>
                  <a:lnTo>
                    <a:pt x="93" y="71"/>
                  </a:lnTo>
                  <a:lnTo>
                    <a:pt x="82" y="67"/>
                  </a:lnTo>
                  <a:lnTo>
                    <a:pt x="70" y="63"/>
                  </a:lnTo>
                  <a:lnTo>
                    <a:pt x="58" y="58"/>
                  </a:lnTo>
                  <a:lnTo>
                    <a:pt x="46" y="53"/>
                  </a:lnTo>
                  <a:lnTo>
                    <a:pt x="35" y="40"/>
                  </a:lnTo>
                  <a:lnTo>
                    <a:pt x="26" y="28"/>
                  </a:lnTo>
                  <a:lnTo>
                    <a:pt x="28" y="17"/>
                  </a:lnTo>
                  <a:lnTo>
                    <a:pt x="32" y="9"/>
                  </a:lnTo>
                  <a:lnTo>
                    <a:pt x="42" y="18"/>
                  </a:lnTo>
                  <a:lnTo>
                    <a:pt x="52" y="28"/>
                  </a:lnTo>
                  <a:lnTo>
                    <a:pt x="71" y="21"/>
                  </a:lnTo>
                  <a:lnTo>
                    <a:pt x="87" y="22"/>
                  </a:lnTo>
                  <a:lnTo>
                    <a:pt x="101" y="15"/>
                  </a:lnTo>
                  <a:lnTo>
                    <a:pt x="123" y="10"/>
                  </a:lnTo>
                  <a:lnTo>
                    <a:pt x="146" y="5"/>
                  </a:lnTo>
                  <a:lnTo>
                    <a:pt x="153" y="0"/>
                  </a:lnTo>
                  <a:lnTo>
                    <a:pt x="158" y="5"/>
                  </a:lnTo>
                  <a:lnTo>
                    <a:pt x="156" y="28"/>
                  </a:lnTo>
                  <a:lnTo>
                    <a:pt x="159" y="28"/>
                  </a:lnTo>
                  <a:lnTo>
                    <a:pt x="154" y="3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4" name="Freeform 101"/>
            <p:cNvSpPr>
              <a:spLocks/>
            </p:cNvSpPr>
            <p:nvPr/>
          </p:nvSpPr>
          <p:spPr bwMode="auto">
            <a:xfrm>
              <a:off x="2913" y="2243"/>
              <a:ext cx="287" cy="393"/>
            </a:xfrm>
            <a:custGeom>
              <a:avLst/>
              <a:gdLst/>
              <a:ahLst/>
              <a:cxnLst>
                <a:cxn ang="0">
                  <a:pos x="30" y="56"/>
                </a:cxn>
                <a:cxn ang="0">
                  <a:pos x="45" y="38"/>
                </a:cxn>
                <a:cxn ang="0">
                  <a:pos x="57" y="20"/>
                </a:cxn>
                <a:cxn ang="0">
                  <a:pos x="81" y="20"/>
                </a:cxn>
                <a:cxn ang="0">
                  <a:pos x="105" y="20"/>
                </a:cxn>
                <a:cxn ang="0">
                  <a:pos x="130" y="20"/>
                </a:cxn>
                <a:cxn ang="0">
                  <a:pos x="143" y="15"/>
                </a:cxn>
                <a:cxn ang="0">
                  <a:pos x="164" y="23"/>
                </a:cxn>
                <a:cxn ang="0">
                  <a:pos x="186" y="17"/>
                </a:cxn>
                <a:cxn ang="0">
                  <a:pos x="198" y="5"/>
                </a:cxn>
                <a:cxn ang="0">
                  <a:pos x="208" y="0"/>
                </a:cxn>
                <a:cxn ang="0">
                  <a:pos x="228" y="23"/>
                </a:cxn>
                <a:cxn ang="0">
                  <a:pos x="238" y="57"/>
                </a:cxn>
                <a:cxn ang="0">
                  <a:pos x="257" y="95"/>
                </a:cxn>
                <a:cxn ang="0">
                  <a:pos x="238" y="109"/>
                </a:cxn>
                <a:cxn ang="0">
                  <a:pos x="230" y="157"/>
                </a:cxn>
                <a:cxn ang="0">
                  <a:pos x="212" y="200"/>
                </a:cxn>
                <a:cxn ang="0">
                  <a:pos x="200" y="222"/>
                </a:cxn>
                <a:cxn ang="0">
                  <a:pos x="196" y="261"/>
                </a:cxn>
                <a:cxn ang="0">
                  <a:pos x="178" y="271"/>
                </a:cxn>
                <a:cxn ang="0">
                  <a:pos x="200" y="290"/>
                </a:cxn>
                <a:cxn ang="0">
                  <a:pos x="212" y="314"/>
                </a:cxn>
                <a:cxn ang="0">
                  <a:pos x="226" y="332"/>
                </a:cxn>
                <a:cxn ang="0">
                  <a:pos x="201" y="332"/>
                </a:cxn>
                <a:cxn ang="0">
                  <a:pos x="188" y="348"/>
                </a:cxn>
                <a:cxn ang="0">
                  <a:pos x="162" y="350"/>
                </a:cxn>
                <a:cxn ang="0">
                  <a:pos x="147" y="349"/>
                </a:cxn>
                <a:cxn ang="0">
                  <a:pos x="134" y="342"/>
                </a:cxn>
                <a:cxn ang="0">
                  <a:pos x="117" y="336"/>
                </a:cxn>
                <a:cxn ang="0">
                  <a:pos x="95" y="329"/>
                </a:cxn>
                <a:cxn ang="0">
                  <a:pos x="89" y="319"/>
                </a:cxn>
                <a:cxn ang="0">
                  <a:pos x="74" y="297"/>
                </a:cxn>
                <a:cxn ang="0">
                  <a:pos x="57" y="277"/>
                </a:cxn>
                <a:cxn ang="0">
                  <a:pos x="39" y="261"/>
                </a:cxn>
                <a:cxn ang="0">
                  <a:pos x="30" y="241"/>
                </a:cxn>
                <a:cxn ang="0">
                  <a:pos x="17" y="219"/>
                </a:cxn>
                <a:cxn ang="0">
                  <a:pos x="12" y="199"/>
                </a:cxn>
                <a:cxn ang="0">
                  <a:pos x="0" y="185"/>
                </a:cxn>
                <a:cxn ang="0">
                  <a:pos x="8" y="163"/>
                </a:cxn>
                <a:cxn ang="0">
                  <a:pos x="9" y="152"/>
                </a:cxn>
                <a:cxn ang="0">
                  <a:pos x="22" y="133"/>
                </a:cxn>
                <a:cxn ang="0">
                  <a:pos x="32" y="116"/>
                </a:cxn>
                <a:cxn ang="0">
                  <a:pos x="30" y="81"/>
                </a:cxn>
              </a:cxnLst>
              <a:rect l="0" t="0" r="r" b="b"/>
              <a:pathLst>
                <a:path w="257" h="353">
                  <a:moveTo>
                    <a:pt x="30" y="65"/>
                  </a:moveTo>
                  <a:lnTo>
                    <a:pt x="30" y="56"/>
                  </a:lnTo>
                  <a:lnTo>
                    <a:pt x="46" y="56"/>
                  </a:lnTo>
                  <a:lnTo>
                    <a:pt x="45" y="38"/>
                  </a:lnTo>
                  <a:lnTo>
                    <a:pt x="45" y="20"/>
                  </a:lnTo>
                  <a:lnTo>
                    <a:pt x="57" y="20"/>
                  </a:lnTo>
                  <a:lnTo>
                    <a:pt x="69" y="20"/>
                  </a:lnTo>
                  <a:lnTo>
                    <a:pt x="81" y="20"/>
                  </a:lnTo>
                  <a:lnTo>
                    <a:pt x="93" y="20"/>
                  </a:lnTo>
                  <a:lnTo>
                    <a:pt x="105" y="20"/>
                  </a:lnTo>
                  <a:lnTo>
                    <a:pt x="117" y="20"/>
                  </a:lnTo>
                  <a:lnTo>
                    <a:pt x="130" y="20"/>
                  </a:lnTo>
                  <a:lnTo>
                    <a:pt x="142" y="20"/>
                  </a:lnTo>
                  <a:lnTo>
                    <a:pt x="143" y="15"/>
                  </a:lnTo>
                  <a:lnTo>
                    <a:pt x="144" y="20"/>
                  </a:lnTo>
                  <a:lnTo>
                    <a:pt x="164" y="23"/>
                  </a:lnTo>
                  <a:lnTo>
                    <a:pt x="183" y="24"/>
                  </a:lnTo>
                  <a:lnTo>
                    <a:pt x="186" y="17"/>
                  </a:lnTo>
                  <a:lnTo>
                    <a:pt x="195" y="14"/>
                  </a:lnTo>
                  <a:lnTo>
                    <a:pt x="198" y="5"/>
                  </a:lnTo>
                  <a:lnTo>
                    <a:pt x="202" y="6"/>
                  </a:lnTo>
                  <a:lnTo>
                    <a:pt x="208" y="0"/>
                  </a:lnTo>
                  <a:lnTo>
                    <a:pt x="219" y="11"/>
                  </a:lnTo>
                  <a:lnTo>
                    <a:pt x="228" y="23"/>
                  </a:lnTo>
                  <a:lnTo>
                    <a:pt x="234" y="36"/>
                  </a:lnTo>
                  <a:lnTo>
                    <a:pt x="238" y="57"/>
                  </a:lnTo>
                  <a:lnTo>
                    <a:pt x="243" y="78"/>
                  </a:lnTo>
                  <a:lnTo>
                    <a:pt x="257" y="95"/>
                  </a:lnTo>
                  <a:lnTo>
                    <a:pt x="248" y="102"/>
                  </a:lnTo>
                  <a:lnTo>
                    <a:pt x="238" y="109"/>
                  </a:lnTo>
                  <a:lnTo>
                    <a:pt x="232" y="132"/>
                  </a:lnTo>
                  <a:lnTo>
                    <a:pt x="230" y="157"/>
                  </a:lnTo>
                  <a:lnTo>
                    <a:pt x="228" y="170"/>
                  </a:lnTo>
                  <a:lnTo>
                    <a:pt x="212" y="200"/>
                  </a:lnTo>
                  <a:lnTo>
                    <a:pt x="208" y="219"/>
                  </a:lnTo>
                  <a:lnTo>
                    <a:pt x="200" y="222"/>
                  </a:lnTo>
                  <a:lnTo>
                    <a:pt x="197" y="241"/>
                  </a:lnTo>
                  <a:lnTo>
                    <a:pt x="196" y="261"/>
                  </a:lnTo>
                  <a:lnTo>
                    <a:pt x="184" y="264"/>
                  </a:lnTo>
                  <a:lnTo>
                    <a:pt x="178" y="271"/>
                  </a:lnTo>
                  <a:lnTo>
                    <a:pt x="184" y="276"/>
                  </a:lnTo>
                  <a:lnTo>
                    <a:pt x="200" y="290"/>
                  </a:lnTo>
                  <a:lnTo>
                    <a:pt x="206" y="302"/>
                  </a:lnTo>
                  <a:lnTo>
                    <a:pt x="212" y="314"/>
                  </a:lnTo>
                  <a:lnTo>
                    <a:pt x="221" y="318"/>
                  </a:lnTo>
                  <a:lnTo>
                    <a:pt x="226" y="332"/>
                  </a:lnTo>
                  <a:lnTo>
                    <a:pt x="213" y="332"/>
                  </a:lnTo>
                  <a:lnTo>
                    <a:pt x="201" y="332"/>
                  </a:lnTo>
                  <a:lnTo>
                    <a:pt x="195" y="339"/>
                  </a:lnTo>
                  <a:lnTo>
                    <a:pt x="188" y="348"/>
                  </a:lnTo>
                  <a:lnTo>
                    <a:pt x="170" y="348"/>
                  </a:lnTo>
                  <a:lnTo>
                    <a:pt x="162" y="350"/>
                  </a:lnTo>
                  <a:lnTo>
                    <a:pt x="159" y="348"/>
                  </a:lnTo>
                  <a:lnTo>
                    <a:pt x="147" y="349"/>
                  </a:lnTo>
                  <a:lnTo>
                    <a:pt x="146" y="353"/>
                  </a:lnTo>
                  <a:lnTo>
                    <a:pt x="134" y="342"/>
                  </a:lnTo>
                  <a:lnTo>
                    <a:pt x="123" y="331"/>
                  </a:lnTo>
                  <a:lnTo>
                    <a:pt x="117" y="336"/>
                  </a:lnTo>
                  <a:lnTo>
                    <a:pt x="107" y="337"/>
                  </a:lnTo>
                  <a:lnTo>
                    <a:pt x="95" y="329"/>
                  </a:lnTo>
                  <a:lnTo>
                    <a:pt x="92" y="325"/>
                  </a:lnTo>
                  <a:lnTo>
                    <a:pt x="89" y="319"/>
                  </a:lnTo>
                  <a:lnTo>
                    <a:pt x="80" y="307"/>
                  </a:lnTo>
                  <a:lnTo>
                    <a:pt x="74" y="297"/>
                  </a:lnTo>
                  <a:lnTo>
                    <a:pt x="59" y="284"/>
                  </a:lnTo>
                  <a:lnTo>
                    <a:pt x="57" y="277"/>
                  </a:lnTo>
                  <a:lnTo>
                    <a:pt x="42" y="266"/>
                  </a:lnTo>
                  <a:lnTo>
                    <a:pt x="39" y="261"/>
                  </a:lnTo>
                  <a:lnTo>
                    <a:pt x="28" y="259"/>
                  </a:lnTo>
                  <a:lnTo>
                    <a:pt x="30" y="241"/>
                  </a:lnTo>
                  <a:lnTo>
                    <a:pt x="23" y="230"/>
                  </a:lnTo>
                  <a:lnTo>
                    <a:pt x="17" y="219"/>
                  </a:lnTo>
                  <a:lnTo>
                    <a:pt x="16" y="209"/>
                  </a:lnTo>
                  <a:lnTo>
                    <a:pt x="12" y="199"/>
                  </a:lnTo>
                  <a:lnTo>
                    <a:pt x="6" y="186"/>
                  </a:lnTo>
                  <a:lnTo>
                    <a:pt x="0" y="185"/>
                  </a:lnTo>
                  <a:lnTo>
                    <a:pt x="5" y="171"/>
                  </a:lnTo>
                  <a:lnTo>
                    <a:pt x="8" y="163"/>
                  </a:lnTo>
                  <a:lnTo>
                    <a:pt x="9" y="158"/>
                  </a:lnTo>
                  <a:lnTo>
                    <a:pt x="9" y="152"/>
                  </a:lnTo>
                  <a:lnTo>
                    <a:pt x="17" y="138"/>
                  </a:lnTo>
                  <a:lnTo>
                    <a:pt x="22" y="133"/>
                  </a:lnTo>
                  <a:lnTo>
                    <a:pt x="33" y="133"/>
                  </a:lnTo>
                  <a:lnTo>
                    <a:pt x="32" y="116"/>
                  </a:lnTo>
                  <a:lnTo>
                    <a:pt x="32" y="99"/>
                  </a:lnTo>
                  <a:lnTo>
                    <a:pt x="30" y="81"/>
                  </a:lnTo>
                  <a:lnTo>
                    <a:pt x="30" y="6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5" name="Freeform 102"/>
            <p:cNvSpPr>
              <a:spLocks/>
            </p:cNvSpPr>
            <p:nvPr/>
          </p:nvSpPr>
          <p:spPr bwMode="auto">
            <a:xfrm>
              <a:off x="3042" y="2752"/>
              <a:ext cx="31" cy="42"/>
            </a:xfrm>
            <a:custGeom>
              <a:avLst/>
              <a:gdLst/>
              <a:ahLst/>
              <a:cxnLst>
                <a:cxn ang="0">
                  <a:pos x="25" y="10"/>
                </a:cxn>
                <a:cxn ang="0">
                  <a:pos x="25" y="1"/>
                </a:cxn>
                <a:cxn ang="0">
                  <a:pos x="16" y="0"/>
                </a:cxn>
                <a:cxn ang="0">
                  <a:pos x="14" y="6"/>
                </a:cxn>
                <a:cxn ang="0">
                  <a:pos x="1" y="6"/>
                </a:cxn>
                <a:cxn ang="0">
                  <a:pos x="0" y="7"/>
                </a:cxn>
                <a:cxn ang="0">
                  <a:pos x="1" y="8"/>
                </a:cxn>
                <a:cxn ang="0">
                  <a:pos x="3" y="23"/>
                </a:cxn>
                <a:cxn ang="0">
                  <a:pos x="7" y="38"/>
                </a:cxn>
                <a:cxn ang="0">
                  <a:pos x="10" y="38"/>
                </a:cxn>
                <a:cxn ang="0">
                  <a:pos x="19" y="26"/>
                </a:cxn>
                <a:cxn ang="0">
                  <a:pos x="28" y="16"/>
                </a:cxn>
                <a:cxn ang="0">
                  <a:pos x="25" y="10"/>
                </a:cxn>
              </a:cxnLst>
              <a:rect l="0" t="0" r="r" b="b"/>
              <a:pathLst>
                <a:path w="28" h="38">
                  <a:moveTo>
                    <a:pt x="25" y="10"/>
                  </a:moveTo>
                  <a:lnTo>
                    <a:pt x="25" y="1"/>
                  </a:lnTo>
                  <a:lnTo>
                    <a:pt x="16" y="0"/>
                  </a:lnTo>
                  <a:lnTo>
                    <a:pt x="14" y="6"/>
                  </a:lnTo>
                  <a:lnTo>
                    <a:pt x="1" y="6"/>
                  </a:lnTo>
                  <a:lnTo>
                    <a:pt x="0" y="7"/>
                  </a:lnTo>
                  <a:lnTo>
                    <a:pt x="1" y="8"/>
                  </a:lnTo>
                  <a:lnTo>
                    <a:pt x="3" y="23"/>
                  </a:lnTo>
                  <a:lnTo>
                    <a:pt x="7" y="38"/>
                  </a:lnTo>
                  <a:lnTo>
                    <a:pt x="10" y="38"/>
                  </a:lnTo>
                  <a:lnTo>
                    <a:pt x="19" y="26"/>
                  </a:lnTo>
                  <a:lnTo>
                    <a:pt x="28" y="16"/>
                  </a:lnTo>
                  <a:lnTo>
                    <a:pt x="25"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6" name="Freeform 103"/>
            <p:cNvSpPr>
              <a:spLocks/>
            </p:cNvSpPr>
            <p:nvPr/>
          </p:nvSpPr>
          <p:spPr bwMode="auto">
            <a:xfrm>
              <a:off x="2729" y="2634"/>
              <a:ext cx="131" cy="171"/>
            </a:xfrm>
            <a:custGeom>
              <a:avLst/>
              <a:gdLst/>
              <a:ahLst/>
              <a:cxnLst>
                <a:cxn ang="0">
                  <a:pos x="20" y="108"/>
                </a:cxn>
                <a:cxn ang="0">
                  <a:pos x="6" y="109"/>
                </a:cxn>
                <a:cxn ang="0">
                  <a:pos x="7" y="115"/>
                </a:cxn>
                <a:cxn ang="0">
                  <a:pos x="8" y="120"/>
                </a:cxn>
                <a:cxn ang="0">
                  <a:pos x="12" y="127"/>
                </a:cxn>
                <a:cxn ang="0">
                  <a:pos x="8" y="131"/>
                </a:cxn>
                <a:cxn ang="0">
                  <a:pos x="4" y="129"/>
                </a:cxn>
                <a:cxn ang="0">
                  <a:pos x="0" y="136"/>
                </a:cxn>
                <a:cxn ang="0">
                  <a:pos x="13" y="155"/>
                </a:cxn>
                <a:cxn ang="0">
                  <a:pos x="24" y="145"/>
                </a:cxn>
                <a:cxn ang="0">
                  <a:pos x="30" y="148"/>
                </a:cxn>
                <a:cxn ang="0">
                  <a:pos x="38" y="151"/>
                </a:cxn>
                <a:cxn ang="0">
                  <a:pos x="42" y="145"/>
                </a:cxn>
                <a:cxn ang="0">
                  <a:pos x="51" y="144"/>
                </a:cxn>
                <a:cxn ang="0">
                  <a:pos x="54" y="153"/>
                </a:cxn>
                <a:cxn ang="0">
                  <a:pos x="66" y="141"/>
                </a:cxn>
                <a:cxn ang="0">
                  <a:pos x="78" y="129"/>
                </a:cxn>
                <a:cxn ang="0">
                  <a:pos x="80" y="115"/>
                </a:cxn>
                <a:cxn ang="0">
                  <a:pos x="81" y="101"/>
                </a:cxn>
                <a:cxn ang="0">
                  <a:pos x="93" y="87"/>
                </a:cxn>
                <a:cxn ang="0">
                  <a:pos x="104" y="72"/>
                </a:cxn>
                <a:cxn ang="0">
                  <a:pos x="106" y="59"/>
                </a:cxn>
                <a:cxn ang="0">
                  <a:pos x="109" y="45"/>
                </a:cxn>
                <a:cxn ang="0">
                  <a:pos x="111" y="31"/>
                </a:cxn>
                <a:cxn ang="0">
                  <a:pos x="114" y="18"/>
                </a:cxn>
                <a:cxn ang="0">
                  <a:pos x="117" y="3"/>
                </a:cxn>
                <a:cxn ang="0">
                  <a:pos x="105" y="1"/>
                </a:cxn>
                <a:cxn ang="0">
                  <a:pos x="93" y="0"/>
                </a:cxn>
                <a:cxn ang="0">
                  <a:pos x="85" y="6"/>
                </a:cxn>
                <a:cxn ang="0">
                  <a:pos x="79" y="25"/>
                </a:cxn>
                <a:cxn ang="0">
                  <a:pos x="76" y="34"/>
                </a:cxn>
                <a:cxn ang="0">
                  <a:pos x="62" y="30"/>
                </a:cxn>
                <a:cxn ang="0">
                  <a:pos x="49" y="27"/>
                </a:cxn>
                <a:cxn ang="0">
                  <a:pos x="33" y="27"/>
                </a:cxn>
                <a:cxn ang="0">
                  <a:pos x="32" y="43"/>
                </a:cxn>
                <a:cxn ang="0">
                  <a:pos x="49" y="42"/>
                </a:cxn>
                <a:cxn ang="0">
                  <a:pos x="50" y="54"/>
                </a:cxn>
                <a:cxn ang="0">
                  <a:pos x="43" y="64"/>
                </a:cxn>
                <a:cxn ang="0">
                  <a:pos x="52" y="79"/>
                </a:cxn>
                <a:cxn ang="0">
                  <a:pos x="48" y="105"/>
                </a:cxn>
                <a:cxn ang="0">
                  <a:pos x="43" y="109"/>
                </a:cxn>
                <a:cxn ang="0">
                  <a:pos x="40" y="105"/>
                </a:cxn>
                <a:cxn ang="0">
                  <a:pos x="31" y="108"/>
                </a:cxn>
                <a:cxn ang="0">
                  <a:pos x="21" y="97"/>
                </a:cxn>
                <a:cxn ang="0">
                  <a:pos x="20" y="108"/>
                </a:cxn>
              </a:cxnLst>
              <a:rect l="0" t="0" r="r" b="b"/>
              <a:pathLst>
                <a:path w="117" h="155">
                  <a:moveTo>
                    <a:pt x="20" y="108"/>
                  </a:moveTo>
                  <a:lnTo>
                    <a:pt x="6" y="109"/>
                  </a:lnTo>
                  <a:lnTo>
                    <a:pt x="7" y="115"/>
                  </a:lnTo>
                  <a:lnTo>
                    <a:pt x="8" y="120"/>
                  </a:lnTo>
                  <a:lnTo>
                    <a:pt x="12" y="127"/>
                  </a:lnTo>
                  <a:lnTo>
                    <a:pt x="8" y="131"/>
                  </a:lnTo>
                  <a:lnTo>
                    <a:pt x="4" y="129"/>
                  </a:lnTo>
                  <a:lnTo>
                    <a:pt x="0" y="136"/>
                  </a:lnTo>
                  <a:lnTo>
                    <a:pt x="13" y="155"/>
                  </a:lnTo>
                  <a:lnTo>
                    <a:pt x="24" y="145"/>
                  </a:lnTo>
                  <a:lnTo>
                    <a:pt x="30" y="148"/>
                  </a:lnTo>
                  <a:lnTo>
                    <a:pt x="38" y="151"/>
                  </a:lnTo>
                  <a:lnTo>
                    <a:pt x="42" y="145"/>
                  </a:lnTo>
                  <a:lnTo>
                    <a:pt x="51" y="144"/>
                  </a:lnTo>
                  <a:lnTo>
                    <a:pt x="54" y="153"/>
                  </a:lnTo>
                  <a:lnTo>
                    <a:pt x="66" y="141"/>
                  </a:lnTo>
                  <a:lnTo>
                    <a:pt x="78" y="129"/>
                  </a:lnTo>
                  <a:lnTo>
                    <a:pt x="80" y="115"/>
                  </a:lnTo>
                  <a:lnTo>
                    <a:pt x="81" y="101"/>
                  </a:lnTo>
                  <a:lnTo>
                    <a:pt x="93" y="87"/>
                  </a:lnTo>
                  <a:lnTo>
                    <a:pt x="104" y="72"/>
                  </a:lnTo>
                  <a:lnTo>
                    <a:pt x="106" y="59"/>
                  </a:lnTo>
                  <a:lnTo>
                    <a:pt x="109" y="45"/>
                  </a:lnTo>
                  <a:lnTo>
                    <a:pt x="111" y="31"/>
                  </a:lnTo>
                  <a:lnTo>
                    <a:pt x="114" y="18"/>
                  </a:lnTo>
                  <a:lnTo>
                    <a:pt x="117" y="3"/>
                  </a:lnTo>
                  <a:lnTo>
                    <a:pt x="105" y="1"/>
                  </a:lnTo>
                  <a:lnTo>
                    <a:pt x="93" y="0"/>
                  </a:lnTo>
                  <a:lnTo>
                    <a:pt x="85" y="6"/>
                  </a:lnTo>
                  <a:lnTo>
                    <a:pt x="79" y="25"/>
                  </a:lnTo>
                  <a:lnTo>
                    <a:pt x="76" y="34"/>
                  </a:lnTo>
                  <a:lnTo>
                    <a:pt x="62" y="30"/>
                  </a:lnTo>
                  <a:lnTo>
                    <a:pt x="49" y="27"/>
                  </a:lnTo>
                  <a:lnTo>
                    <a:pt x="33" y="27"/>
                  </a:lnTo>
                  <a:lnTo>
                    <a:pt x="32" y="43"/>
                  </a:lnTo>
                  <a:lnTo>
                    <a:pt x="49" y="42"/>
                  </a:lnTo>
                  <a:lnTo>
                    <a:pt x="50" y="54"/>
                  </a:lnTo>
                  <a:lnTo>
                    <a:pt x="43" y="64"/>
                  </a:lnTo>
                  <a:lnTo>
                    <a:pt x="52" y="79"/>
                  </a:lnTo>
                  <a:lnTo>
                    <a:pt x="48" y="105"/>
                  </a:lnTo>
                  <a:lnTo>
                    <a:pt x="43" y="109"/>
                  </a:lnTo>
                  <a:lnTo>
                    <a:pt x="40" y="105"/>
                  </a:lnTo>
                  <a:lnTo>
                    <a:pt x="31" y="108"/>
                  </a:lnTo>
                  <a:lnTo>
                    <a:pt x="21" y="97"/>
                  </a:lnTo>
                  <a:lnTo>
                    <a:pt x="20" y="10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7" name="Freeform 104"/>
            <p:cNvSpPr>
              <a:spLocks/>
            </p:cNvSpPr>
            <p:nvPr/>
          </p:nvSpPr>
          <p:spPr bwMode="auto">
            <a:xfrm>
              <a:off x="3129" y="2614"/>
              <a:ext cx="140" cy="185"/>
            </a:xfrm>
            <a:custGeom>
              <a:avLst/>
              <a:gdLst/>
              <a:ahLst/>
              <a:cxnLst>
                <a:cxn ang="0">
                  <a:pos x="58" y="137"/>
                </a:cxn>
                <a:cxn ang="0">
                  <a:pos x="44" y="127"/>
                </a:cxn>
                <a:cxn ang="0">
                  <a:pos x="30" y="119"/>
                </a:cxn>
                <a:cxn ang="0">
                  <a:pos x="15" y="109"/>
                </a:cxn>
                <a:cxn ang="0">
                  <a:pos x="0" y="101"/>
                </a:cxn>
                <a:cxn ang="0">
                  <a:pos x="0" y="82"/>
                </a:cxn>
                <a:cxn ang="0">
                  <a:pos x="10" y="64"/>
                </a:cxn>
                <a:cxn ang="0">
                  <a:pos x="18" y="49"/>
                </a:cxn>
                <a:cxn ang="0">
                  <a:pos x="13" y="35"/>
                </a:cxn>
                <a:cxn ang="0">
                  <a:pos x="8" y="22"/>
                </a:cxn>
                <a:cxn ang="0">
                  <a:pos x="1" y="7"/>
                </a:cxn>
                <a:cxn ang="0">
                  <a:pos x="7" y="0"/>
                </a:cxn>
                <a:cxn ang="0">
                  <a:pos x="19" y="0"/>
                </a:cxn>
                <a:cxn ang="0">
                  <a:pos x="32" y="0"/>
                </a:cxn>
                <a:cxn ang="0">
                  <a:pos x="45" y="3"/>
                </a:cxn>
                <a:cxn ang="0">
                  <a:pos x="64" y="16"/>
                </a:cxn>
                <a:cxn ang="0">
                  <a:pos x="86" y="21"/>
                </a:cxn>
                <a:cxn ang="0">
                  <a:pos x="94" y="13"/>
                </a:cxn>
                <a:cxn ang="0">
                  <a:pos x="110" y="9"/>
                </a:cxn>
                <a:cxn ang="0">
                  <a:pos x="127" y="12"/>
                </a:cxn>
                <a:cxn ang="0">
                  <a:pos x="120" y="22"/>
                </a:cxn>
                <a:cxn ang="0">
                  <a:pos x="112" y="33"/>
                </a:cxn>
                <a:cxn ang="0">
                  <a:pos x="112" y="48"/>
                </a:cxn>
                <a:cxn ang="0">
                  <a:pos x="112" y="65"/>
                </a:cxn>
                <a:cxn ang="0">
                  <a:pos x="112" y="82"/>
                </a:cxn>
                <a:cxn ang="0">
                  <a:pos x="112" y="99"/>
                </a:cxn>
                <a:cxn ang="0">
                  <a:pos x="121" y="113"/>
                </a:cxn>
                <a:cxn ang="0">
                  <a:pos x="112" y="118"/>
                </a:cxn>
                <a:cxn ang="0">
                  <a:pos x="106" y="129"/>
                </a:cxn>
                <a:cxn ang="0">
                  <a:pos x="99" y="136"/>
                </a:cxn>
                <a:cxn ang="0">
                  <a:pos x="92" y="150"/>
                </a:cxn>
                <a:cxn ang="0">
                  <a:pos x="85" y="166"/>
                </a:cxn>
                <a:cxn ang="0">
                  <a:pos x="84" y="167"/>
                </a:cxn>
                <a:cxn ang="0">
                  <a:pos x="72" y="155"/>
                </a:cxn>
                <a:cxn ang="0">
                  <a:pos x="60" y="143"/>
                </a:cxn>
                <a:cxn ang="0">
                  <a:pos x="58" y="137"/>
                </a:cxn>
              </a:cxnLst>
              <a:rect l="0" t="0" r="r" b="b"/>
              <a:pathLst>
                <a:path w="127" h="167">
                  <a:moveTo>
                    <a:pt x="58" y="137"/>
                  </a:moveTo>
                  <a:lnTo>
                    <a:pt x="44" y="127"/>
                  </a:lnTo>
                  <a:lnTo>
                    <a:pt x="30" y="119"/>
                  </a:lnTo>
                  <a:lnTo>
                    <a:pt x="15" y="109"/>
                  </a:lnTo>
                  <a:lnTo>
                    <a:pt x="0" y="101"/>
                  </a:lnTo>
                  <a:lnTo>
                    <a:pt x="0" y="82"/>
                  </a:lnTo>
                  <a:lnTo>
                    <a:pt x="10" y="64"/>
                  </a:lnTo>
                  <a:lnTo>
                    <a:pt x="18" y="49"/>
                  </a:lnTo>
                  <a:lnTo>
                    <a:pt x="13" y="35"/>
                  </a:lnTo>
                  <a:lnTo>
                    <a:pt x="8" y="22"/>
                  </a:lnTo>
                  <a:lnTo>
                    <a:pt x="1" y="7"/>
                  </a:lnTo>
                  <a:lnTo>
                    <a:pt x="7" y="0"/>
                  </a:lnTo>
                  <a:lnTo>
                    <a:pt x="19" y="0"/>
                  </a:lnTo>
                  <a:lnTo>
                    <a:pt x="32" y="0"/>
                  </a:lnTo>
                  <a:lnTo>
                    <a:pt x="45" y="3"/>
                  </a:lnTo>
                  <a:lnTo>
                    <a:pt x="64" y="16"/>
                  </a:lnTo>
                  <a:lnTo>
                    <a:pt x="86" y="21"/>
                  </a:lnTo>
                  <a:lnTo>
                    <a:pt x="94" y="13"/>
                  </a:lnTo>
                  <a:lnTo>
                    <a:pt x="110" y="9"/>
                  </a:lnTo>
                  <a:lnTo>
                    <a:pt x="127" y="12"/>
                  </a:lnTo>
                  <a:lnTo>
                    <a:pt x="120" y="22"/>
                  </a:lnTo>
                  <a:lnTo>
                    <a:pt x="112" y="33"/>
                  </a:lnTo>
                  <a:lnTo>
                    <a:pt x="112" y="48"/>
                  </a:lnTo>
                  <a:lnTo>
                    <a:pt x="112" y="65"/>
                  </a:lnTo>
                  <a:lnTo>
                    <a:pt x="112" y="82"/>
                  </a:lnTo>
                  <a:lnTo>
                    <a:pt x="112" y="99"/>
                  </a:lnTo>
                  <a:lnTo>
                    <a:pt x="121" y="113"/>
                  </a:lnTo>
                  <a:lnTo>
                    <a:pt x="112" y="118"/>
                  </a:lnTo>
                  <a:lnTo>
                    <a:pt x="106" y="129"/>
                  </a:lnTo>
                  <a:lnTo>
                    <a:pt x="99" y="136"/>
                  </a:lnTo>
                  <a:lnTo>
                    <a:pt x="92" y="150"/>
                  </a:lnTo>
                  <a:lnTo>
                    <a:pt x="85" y="166"/>
                  </a:lnTo>
                  <a:lnTo>
                    <a:pt x="84" y="167"/>
                  </a:lnTo>
                  <a:lnTo>
                    <a:pt x="72" y="155"/>
                  </a:lnTo>
                  <a:lnTo>
                    <a:pt x="60" y="143"/>
                  </a:lnTo>
                  <a:lnTo>
                    <a:pt x="58" y="13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8" name="Freeform 105"/>
            <p:cNvSpPr>
              <a:spLocks/>
            </p:cNvSpPr>
            <p:nvPr/>
          </p:nvSpPr>
          <p:spPr bwMode="auto">
            <a:xfrm>
              <a:off x="5573" y="2643"/>
              <a:ext cx="2" cy="2"/>
            </a:xfrm>
            <a:custGeom>
              <a:avLst/>
              <a:gdLst/>
              <a:ahLst/>
              <a:cxnLst>
                <a:cxn ang="0">
                  <a:pos x="3" y="0"/>
                </a:cxn>
                <a:cxn ang="0">
                  <a:pos x="2" y="1"/>
                </a:cxn>
                <a:cxn ang="0">
                  <a:pos x="0" y="1"/>
                </a:cxn>
                <a:cxn ang="0">
                  <a:pos x="2" y="0"/>
                </a:cxn>
                <a:cxn ang="0">
                  <a:pos x="3" y="0"/>
                </a:cxn>
              </a:cxnLst>
              <a:rect l="0" t="0" r="r" b="b"/>
              <a:pathLst>
                <a:path w="3" h="1">
                  <a:moveTo>
                    <a:pt x="3" y="0"/>
                  </a:moveTo>
                  <a:lnTo>
                    <a:pt x="2" y="1"/>
                  </a:lnTo>
                  <a:lnTo>
                    <a:pt x="0" y="1"/>
                  </a:lnTo>
                  <a:lnTo>
                    <a:pt x="2" y="0"/>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9" name="Freeform 106"/>
            <p:cNvSpPr>
              <a:spLocks/>
            </p:cNvSpPr>
            <p:nvPr/>
          </p:nvSpPr>
          <p:spPr bwMode="auto">
            <a:xfrm>
              <a:off x="5577" y="2667"/>
              <a:ext cx="3" cy="3"/>
            </a:xfrm>
            <a:custGeom>
              <a:avLst/>
              <a:gdLst/>
              <a:ahLst/>
              <a:cxnLst>
                <a:cxn ang="0">
                  <a:pos x="2" y="4"/>
                </a:cxn>
                <a:cxn ang="0">
                  <a:pos x="1" y="4"/>
                </a:cxn>
                <a:cxn ang="0">
                  <a:pos x="2" y="4"/>
                </a:cxn>
                <a:cxn ang="0">
                  <a:pos x="2" y="3"/>
                </a:cxn>
                <a:cxn ang="0">
                  <a:pos x="0" y="0"/>
                </a:cxn>
                <a:cxn ang="0">
                  <a:pos x="1" y="0"/>
                </a:cxn>
                <a:cxn ang="0">
                  <a:pos x="2" y="3"/>
                </a:cxn>
                <a:cxn ang="0">
                  <a:pos x="2" y="4"/>
                </a:cxn>
              </a:cxnLst>
              <a:rect l="0" t="0" r="r" b="b"/>
              <a:pathLst>
                <a:path w="2" h="4">
                  <a:moveTo>
                    <a:pt x="2" y="4"/>
                  </a:moveTo>
                  <a:lnTo>
                    <a:pt x="1" y="4"/>
                  </a:lnTo>
                  <a:lnTo>
                    <a:pt x="2" y="4"/>
                  </a:lnTo>
                  <a:lnTo>
                    <a:pt x="2" y="3"/>
                  </a:lnTo>
                  <a:lnTo>
                    <a:pt x="0" y="0"/>
                  </a:lnTo>
                  <a:lnTo>
                    <a:pt x="1" y="0"/>
                  </a:lnTo>
                  <a:lnTo>
                    <a:pt x="2" y="3"/>
                  </a:lnTo>
                  <a:lnTo>
                    <a:pt x="2"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0" name="Freeform 107"/>
            <p:cNvSpPr>
              <a:spLocks/>
            </p:cNvSpPr>
            <p:nvPr/>
          </p:nvSpPr>
          <p:spPr bwMode="auto">
            <a:xfrm>
              <a:off x="5584" y="2667"/>
              <a:ext cx="2" cy="3"/>
            </a:xfrm>
            <a:custGeom>
              <a:avLst/>
              <a:gdLst/>
              <a:ahLst/>
              <a:cxnLst>
                <a:cxn ang="0">
                  <a:pos x="1" y="0"/>
                </a:cxn>
                <a:cxn ang="0">
                  <a:pos x="0" y="0"/>
                </a:cxn>
                <a:cxn ang="0">
                  <a:pos x="1" y="0"/>
                </a:cxn>
              </a:cxnLst>
              <a:rect l="0" t="0" r="r" b="b"/>
              <a:pathLst>
                <a:path w="1">
                  <a:moveTo>
                    <a:pt x="1" y="0"/>
                  </a:moveTo>
                  <a:lnTo>
                    <a:pt x="0"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1" name="Freeform 108"/>
            <p:cNvSpPr>
              <a:spLocks/>
            </p:cNvSpPr>
            <p:nvPr/>
          </p:nvSpPr>
          <p:spPr bwMode="auto">
            <a:xfrm>
              <a:off x="5580" y="2674"/>
              <a:ext cx="2" cy="2"/>
            </a:xfrm>
            <a:custGeom>
              <a:avLst/>
              <a:gdLst/>
              <a:ahLst/>
              <a:cxnLst>
                <a:cxn ang="0">
                  <a:pos x="0" y="1"/>
                </a:cxn>
                <a:cxn ang="0">
                  <a:pos x="0" y="0"/>
                </a:cxn>
                <a:cxn ang="0">
                  <a:pos x="0" y="1"/>
                </a:cxn>
              </a:cxnLst>
              <a:rect l="0" t="0" r="r" b="b"/>
              <a:pathLst>
                <a:path h="1">
                  <a:moveTo>
                    <a:pt x="0" y="1"/>
                  </a:moveTo>
                  <a:lnTo>
                    <a:pt x="0" y="0"/>
                  </a:lnTo>
                  <a:lnTo>
                    <a:pt x="0"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2" name="Freeform 109"/>
            <p:cNvSpPr>
              <a:spLocks/>
            </p:cNvSpPr>
            <p:nvPr/>
          </p:nvSpPr>
          <p:spPr bwMode="auto">
            <a:xfrm>
              <a:off x="2580" y="2430"/>
              <a:ext cx="209" cy="189"/>
            </a:xfrm>
            <a:custGeom>
              <a:avLst/>
              <a:gdLst/>
              <a:ahLst/>
              <a:cxnLst>
                <a:cxn ang="0">
                  <a:pos x="124" y="121"/>
                </a:cxn>
                <a:cxn ang="0">
                  <a:pos x="112" y="125"/>
                </a:cxn>
                <a:cxn ang="0">
                  <a:pos x="105" y="135"/>
                </a:cxn>
                <a:cxn ang="0">
                  <a:pos x="99" y="146"/>
                </a:cxn>
                <a:cxn ang="0">
                  <a:pos x="94" y="161"/>
                </a:cxn>
                <a:cxn ang="0">
                  <a:pos x="88" y="159"/>
                </a:cxn>
                <a:cxn ang="0">
                  <a:pos x="89" y="165"/>
                </a:cxn>
                <a:cxn ang="0">
                  <a:pos x="73" y="165"/>
                </a:cxn>
                <a:cxn ang="0">
                  <a:pos x="71" y="164"/>
                </a:cxn>
                <a:cxn ang="0">
                  <a:pos x="69" y="164"/>
                </a:cxn>
                <a:cxn ang="0">
                  <a:pos x="66" y="167"/>
                </a:cxn>
                <a:cxn ang="0">
                  <a:pos x="64" y="162"/>
                </a:cxn>
                <a:cxn ang="0">
                  <a:pos x="64" y="169"/>
                </a:cxn>
                <a:cxn ang="0">
                  <a:pos x="64" y="165"/>
                </a:cxn>
                <a:cxn ang="0">
                  <a:pos x="61" y="167"/>
                </a:cxn>
                <a:cxn ang="0">
                  <a:pos x="57" y="167"/>
                </a:cxn>
                <a:cxn ang="0">
                  <a:pos x="49" y="168"/>
                </a:cxn>
                <a:cxn ang="0">
                  <a:pos x="43" y="151"/>
                </a:cxn>
                <a:cxn ang="0">
                  <a:pos x="45" y="150"/>
                </a:cxn>
                <a:cxn ang="0">
                  <a:pos x="41" y="146"/>
                </a:cxn>
                <a:cxn ang="0">
                  <a:pos x="42" y="146"/>
                </a:cxn>
                <a:cxn ang="0">
                  <a:pos x="39" y="143"/>
                </a:cxn>
                <a:cxn ang="0">
                  <a:pos x="22" y="132"/>
                </a:cxn>
                <a:cxn ang="0">
                  <a:pos x="13" y="131"/>
                </a:cxn>
                <a:cxn ang="0">
                  <a:pos x="16" y="128"/>
                </a:cxn>
                <a:cxn ang="0">
                  <a:pos x="0" y="133"/>
                </a:cxn>
                <a:cxn ang="0">
                  <a:pos x="1" y="108"/>
                </a:cxn>
                <a:cxn ang="0">
                  <a:pos x="3" y="84"/>
                </a:cxn>
                <a:cxn ang="0">
                  <a:pos x="15" y="63"/>
                </a:cxn>
                <a:cxn ang="0">
                  <a:pos x="16" y="48"/>
                </a:cxn>
                <a:cxn ang="0">
                  <a:pos x="13" y="38"/>
                </a:cxn>
                <a:cxn ang="0">
                  <a:pos x="13" y="37"/>
                </a:cxn>
                <a:cxn ang="0">
                  <a:pos x="15" y="30"/>
                </a:cxn>
                <a:cxn ang="0">
                  <a:pos x="19" y="18"/>
                </a:cxn>
                <a:cxn ang="0">
                  <a:pos x="23" y="5"/>
                </a:cxn>
                <a:cxn ang="0">
                  <a:pos x="37" y="0"/>
                </a:cxn>
                <a:cxn ang="0">
                  <a:pos x="53" y="1"/>
                </a:cxn>
                <a:cxn ang="0">
                  <a:pos x="64" y="12"/>
                </a:cxn>
                <a:cxn ang="0">
                  <a:pos x="81" y="7"/>
                </a:cxn>
                <a:cxn ang="0">
                  <a:pos x="93" y="12"/>
                </a:cxn>
                <a:cxn ang="0">
                  <a:pos x="103" y="17"/>
                </a:cxn>
                <a:cxn ang="0">
                  <a:pos x="121" y="8"/>
                </a:cxn>
                <a:cxn ang="0">
                  <a:pos x="138" y="9"/>
                </a:cxn>
                <a:cxn ang="0">
                  <a:pos x="154" y="11"/>
                </a:cxn>
                <a:cxn ang="0">
                  <a:pos x="172" y="1"/>
                </a:cxn>
                <a:cxn ang="0">
                  <a:pos x="179" y="12"/>
                </a:cxn>
                <a:cxn ang="0">
                  <a:pos x="181" y="25"/>
                </a:cxn>
                <a:cxn ang="0">
                  <a:pos x="189" y="32"/>
                </a:cxn>
                <a:cxn ang="0">
                  <a:pos x="184" y="42"/>
                </a:cxn>
                <a:cxn ang="0">
                  <a:pos x="173" y="53"/>
                </a:cxn>
                <a:cxn ang="0">
                  <a:pos x="167" y="65"/>
                </a:cxn>
                <a:cxn ang="0">
                  <a:pos x="162" y="78"/>
                </a:cxn>
                <a:cxn ang="0">
                  <a:pos x="156" y="92"/>
                </a:cxn>
                <a:cxn ang="0">
                  <a:pos x="150" y="102"/>
                </a:cxn>
                <a:cxn ang="0">
                  <a:pos x="144" y="117"/>
                </a:cxn>
                <a:cxn ang="0">
                  <a:pos x="135" y="132"/>
                </a:cxn>
                <a:cxn ang="0">
                  <a:pos x="124" y="121"/>
                </a:cxn>
              </a:cxnLst>
              <a:rect l="0" t="0" r="r" b="b"/>
              <a:pathLst>
                <a:path w="189" h="169">
                  <a:moveTo>
                    <a:pt x="124" y="121"/>
                  </a:moveTo>
                  <a:lnTo>
                    <a:pt x="112" y="125"/>
                  </a:lnTo>
                  <a:lnTo>
                    <a:pt x="105" y="135"/>
                  </a:lnTo>
                  <a:lnTo>
                    <a:pt x="99" y="146"/>
                  </a:lnTo>
                  <a:lnTo>
                    <a:pt x="94" y="161"/>
                  </a:lnTo>
                  <a:lnTo>
                    <a:pt x="88" y="159"/>
                  </a:lnTo>
                  <a:lnTo>
                    <a:pt x="89" y="165"/>
                  </a:lnTo>
                  <a:lnTo>
                    <a:pt x="73" y="165"/>
                  </a:lnTo>
                  <a:lnTo>
                    <a:pt x="71" y="164"/>
                  </a:lnTo>
                  <a:lnTo>
                    <a:pt x="69" y="164"/>
                  </a:lnTo>
                  <a:lnTo>
                    <a:pt x="66" y="167"/>
                  </a:lnTo>
                  <a:lnTo>
                    <a:pt x="64" y="162"/>
                  </a:lnTo>
                  <a:lnTo>
                    <a:pt x="64" y="169"/>
                  </a:lnTo>
                  <a:lnTo>
                    <a:pt x="64" y="165"/>
                  </a:lnTo>
                  <a:lnTo>
                    <a:pt x="61" y="167"/>
                  </a:lnTo>
                  <a:lnTo>
                    <a:pt x="57" y="167"/>
                  </a:lnTo>
                  <a:lnTo>
                    <a:pt x="49" y="168"/>
                  </a:lnTo>
                  <a:lnTo>
                    <a:pt x="43" y="151"/>
                  </a:lnTo>
                  <a:lnTo>
                    <a:pt x="45" y="150"/>
                  </a:lnTo>
                  <a:lnTo>
                    <a:pt x="41" y="146"/>
                  </a:lnTo>
                  <a:lnTo>
                    <a:pt x="42" y="146"/>
                  </a:lnTo>
                  <a:lnTo>
                    <a:pt x="39" y="143"/>
                  </a:lnTo>
                  <a:lnTo>
                    <a:pt x="22" y="132"/>
                  </a:lnTo>
                  <a:lnTo>
                    <a:pt x="13" y="131"/>
                  </a:lnTo>
                  <a:lnTo>
                    <a:pt x="16" y="128"/>
                  </a:lnTo>
                  <a:lnTo>
                    <a:pt x="0" y="133"/>
                  </a:lnTo>
                  <a:lnTo>
                    <a:pt x="1" y="108"/>
                  </a:lnTo>
                  <a:lnTo>
                    <a:pt x="3" y="84"/>
                  </a:lnTo>
                  <a:lnTo>
                    <a:pt x="15" y="63"/>
                  </a:lnTo>
                  <a:lnTo>
                    <a:pt x="16" y="48"/>
                  </a:lnTo>
                  <a:lnTo>
                    <a:pt x="13" y="38"/>
                  </a:lnTo>
                  <a:lnTo>
                    <a:pt x="13" y="37"/>
                  </a:lnTo>
                  <a:lnTo>
                    <a:pt x="15" y="30"/>
                  </a:lnTo>
                  <a:lnTo>
                    <a:pt x="19" y="18"/>
                  </a:lnTo>
                  <a:lnTo>
                    <a:pt x="23" y="5"/>
                  </a:lnTo>
                  <a:lnTo>
                    <a:pt x="37" y="0"/>
                  </a:lnTo>
                  <a:lnTo>
                    <a:pt x="53" y="1"/>
                  </a:lnTo>
                  <a:lnTo>
                    <a:pt x="64" y="12"/>
                  </a:lnTo>
                  <a:lnTo>
                    <a:pt x="81" y="7"/>
                  </a:lnTo>
                  <a:lnTo>
                    <a:pt x="93" y="12"/>
                  </a:lnTo>
                  <a:lnTo>
                    <a:pt x="103" y="17"/>
                  </a:lnTo>
                  <a:lnTo>
                    <a:pt x="121" y="8"/>
                  </a:lnTo>
                  <a:lnTo>
                    <a:pt x="138" y="9"/>
                  </a:lnTo>
                  <a:lnTo>
                    <a:pt x="154" y="11"/>
                  </a:lnTo>
                  <a:lnTo>
                    <a:pt x="172" y="1"/>
                  </a:lnTo>
                  <a:lnTo>
                    <a:pt x="179" y="12"/>
                  </a:lnTo>
                  <a:lnTo>
                    <a:pt x="181" y="25"/>
                  </a:lnTo>
                  <a:lnTo>
                    <a:pt x="189" y="32"/>
                  </a:lnTo>
                  <a:lnTo>
                    <a:pt x="184" y="42"/>
                  </a:lnTo>
                  <a:lnTo>
                    <a:pt x="173" y="53"/>
                  </a:lnTo>
                  <a:lnTo>
                    <a:pt x="167" y="65"/>
                  </a:lnTo>
                  <a:lnTo>
                    <a:pt x="162" y="78"/>
                  </a:lnTo>
                  <a:lnTo>
                    <a:pt x="156" y="92"/>
                  </a:lnTo>
                  <a:lnTo>
                    <a:pt x="150" y="102"/>
                  </a:lnTo>
                  <a:lnTo>
                    <a:pt x="144" y="117"/>
                  </a:lnTo>
                  <a:lnTo>
                    <a:pt x="135" y="132"/>
                  </a:lnTo>
                  <a:lnTo>
                    <a:pt x="124" y="12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3" name="Freeform 110"/>
            <p:cNvSpPr>
              <a:spLocks/>
            </p:cNvSpPr>
            <p:nvPr/>
          </p:nvSpPr>
          <p:spPr bwMode="auto">
            <a:xfrm>
              <a:off x="2547" y="2459"/>
              <a:ext cx="49" cy="122"/>
            </a:xfrm>
            <a:custGeom>
              <a:avLst/>
              <a:gdLst/>
              <a:ahLst/>
              <a:cxnLst>
                <a:cxn ang="0">
                  <a:pos x="3" y="24"/>
                </a:cxn>
                <a:cxn ang="0">
                  <a:pos x="1" y="24"/>
                </a:cxn>
                <a:cxn ang="0">
                  <a:pos x="0" y="32"/>
                </a:cxn>
                <a:cxn ang="0">
                  <a:pos x="9" y="42"/>
                </a:cxn>
                <a:cxn ang="0">
                  <a:pos x="11" y="56"/>
                </a:cxn>
                <a:cxn ang="0">
                  <a:pos x="11" y="70"/>
                </a:cxn>
                <a:cxn ang="0">
                  <a:pos x="12" y="84"/>
                </a:cxn>
                <a:cxn ang="0">
                  <a:pos x="12" y="97"/>
                </a:cxn>
                <a:cxn ang="0">
                  <a:pos x="13" y="110"/>
                </a:cxn>
                <a:cxn ang="0">
                  <a:pos x="30" y="108"/>
                </a:cxn>
                <a:cxn ang="0">
                  <a:pos x="31" y="83"/>
                </a:cxn>
                <a:cxn ang="0">
                  <a:pos x="33" y="59"/>
                </a:cxn>
                <a:cxn ang="0">
                  <a:pos x="45" y="38"/>
                </a:cxn>
                <a:cxn ang="0">
                  <a:pos x="46" y="23"/>
                </a:cxn>
                <a:cxn ang="0">
                  <a:pos x="43" y="13"/>
                </a:cxn>
                <a:cxn ang="0">
                  <a:pos x="43" y="12"/>
                </a:cxn>
                <a:cxn ang="0">
                  <a:pos x="30" y="0"/>
                </a:cxn>
                <a:cxn ang="0">
                  <a:pos x="25" y="6"/>
                </a:cxn>
                <a:cxn ang="0">
                  <a:pos x="25" y="8"/>
                </a:cxn>
                <a:cxn ang="0">
                  <a:pos x="24" y="11"/>
                </a:cxn>
                <a:cxn ang="0">
                  <a:pos x="12" y="18"/>
                </a:cxn>
                <a:cxn ang="0">
                  <a:pos x="3" y="24"/>
                </a:cxn>
              </a:cxnLst>
              <a:rect l="0" t="0" r="r" b="b"/>
              <a:pathLst>
                <a:path w="46" h="110">
                  <a:moveTo>
                    <a:pt x="3" y="24"/>
                  </a:moveTo>
                  <a:lnTo>
                    <a:pt x="1" y="24"/>
                  </a:lnTo>
                  <a:lnTo>
                    <a:pt x="0" y="32"/>
                  </a:lnTo>
                  <a:lnTo>
                    <a:pt x="9" y="42"/>
                  </a:lnTo>
                  <a:lnTo>
                    <a:pt x="11" y="56"/>
                  </a:lnTo>
                  <a:lnTo>
                    <a:pt x="11" y="70"/>
                  </a:lnTo>
                  <a:lnTo>
                    <a:pt x="12" y="84"/>
                  </a:lnTo>
                  <a:lnTo>
                    <a:pt x="12" y="97"/>
                  </a:lnTo>
                  <a:lnTo>
                    <a:pt x="13" y="110"/>
                  </a:lnTo>
                  <a:lnTo>
                    <a:pt x="30" y="108"/>
                  </a:lnTo>
                  <a:lnTo>
                    <a:pt x="31" y="83"/>
                  </a:lnTo>
                  <a:lnTo>
                    <a:pt x="33" y="59"/>
                  </a:lnTo>
                  <a:lnTo>
                    <a:pt x="45" y="38"/>
                  </a:lnTo>
                  <a:lnTo>
                    <a:pt x="46" y="23"/>
                  </a:lnTo>
                  <a:lnTo>
                    <a:pt x="43" y="13"/>
                  </a:lnTo>
                  <a:lnTo>
                    <a:pt x="43" y="12"/>
                  </a:lnTo>
                  <a:lnTo>
                    <a:pt x="30" y="0"/>
                  </a:lnTo>
                  <a:lnTo>
                    <a:pt x="25" y="6"/>
                  </a:lnTo>
                  <a:lnTo>
                    <a:pt x="25" y="8"/>
                  </a:lnTo>
                  <a:lnTo>
                    <a:pt x="24" y="11"/>
                  </a:lnTo>
                  <a:lnTo>
                    <a:pt x="12" y="18"/>
                  </a:lnTo>
                  <a:lnTo>
                    <a:pt x="3"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4" name="Freeform 111"/>
            <p:cNvSpPr>
              <a:spLocks/>
            </p:cNvSpPr>
            <p:nvPr/>
          </p:nvSpPr>
          <p:spPr bwMode="auto">
            <a:xfrm>
              <a:off x="2436" y="2403"/>
              <a:ext cx="137" cy="113"/>
            </a:xfrm>
            <a:custGeom>
              <a:avLst/>
              <a:gdLst/>
              <a:ahLst/>
              <a:cxnLst>
                <a:cxn ang="0">
                  <a:pos x="102" y="73"/>
                </a:cxn>
                <a:cxn ang="0">
                  <a:pos x="97" y="73"/>
                </a:cxn>
                <a:cxn ang="0">
                  <a:pos x="84" y="71"/>
                </a:cxn>
                <a:cxn ang="0">
                  <a:pos x="79" y="72"/>
                </a:cxn>
                <a:cxn ang="0">
                  <a:pos x="61" y="73"/>
                </a:cxn>
                <a:cxn ang="0">
                  <a:pos x="42" y="73"/>
                </a:cxn>
                <a:cxn ang="0">
                  <a:pos x="43" y="87"/>
                </a:cxn>
                <a:cxn ang="0">
                  <a:pos x="44" y="101"/>
                </a:cxn>
                <a:cxn ang="0">
                  <a:pos x="30" y="92"/>
                </a:cxn>
                <a:cxn ang="0">
                  <a:pos x="15" y="97"/>
                </a:cxn>
                <a:cxn ang="0">
                  <a:pos x="6" y="86"/>
                </a:cxn>
                <a:cxn ang="0">
                  <a:pos x="0" y="84"/>
                </a:cxn>
                <a:cxn ang="0">
                  <a:pos x="3" y="60"/>
                </a:cxn>
                <a:cxn ang="0">
                  <a:pos x="8" y="56"/>
                </a:cxn>
                <a:cxn ang="0">
                  <a:pos x="16" y="48"/>
                </a:cxn>
                <a:cxn ang="0">
                  <a:pos x="20" y="41"/>
                </a:cxn>
                <a:cxn ang="0">
                  <a:pos x="22" y="30"/>
                </a:cxn>
                <a:cxn ang="0">
                  <a:pos x="32" y="35"/>
                </a:cxn>
                <a:cxn ang="0">
                  <a:pos x="34" y="27"/>
                </a:cxn>
                <a:cxn ang="0">
                  <a:pos x="38" y="26"/>
                </a:cxn>
                <a:cxn ang="0">
                  <a:pos x="44" y="17"/>
                </a:cxn>
                <a:cxn ang="0">
                  <a:pos x="54" y="17"/>
                </a:cxn>
                <a:cxn ang="0">
                  <a:pos x="55" y="9"/>
                </a:cxn>
                <a:cxn ang="0">
                  <a:pos x="75" y="0"/>
                </a:cxn>
                <a:cxn ang="0">
                  <a:pos x="90" y="2"/>
                </a:cxn>
                <a:cxn ang="0">
                  <a:pos x="92" y="17"/>
                </a:cxn>
                <a:cxn ang="0">
                  <a:pos x="104" y="30"/>
                </a:cxn>
                <a:cxn ang="0">
                  <a:pos x="102" y="31"/>
                </a:cxn>
                <a:cxn ang="0">
                  <a:pos x="102" y="37"/>
                </a:cxn>
                <a:cxn ang="0">
                  <a:pos x="111" y="44"/>
                </a:cxn>
                <a:cxn ang="0">
                  <a:pos x="117" y="43"/>
                </a:cxn>
                <a:cxn ang="0">
                  <a:pos x="121" y="48"/>
                </a:cxn>
                <a:cxn ang="0">
                  <a:pos x="124" y="57"/>
                </a:cxn>
                <a:cxn ang="0">
                  <a:pos x="123" y="60"/>
                </a:cxn>
                <a:cxn ang="0">
                  <a:pos x="111" y="67"/>
                </a:cxn>
                <a:cxn ang="0">
                  <a:pos x="102" y="73"/>
                </a:cxn>
              </a:cxnLst>
              <a:rect l="0" t="0" r="r" b="b"/>
              <a:pathLst>
                <a:path w="124" h="101">
                  <a:moveTo>
                    <a:pt x="102" y="73"/>
                  </a:moveTo>
                  <a:lnTo>
                    <a:pt x="97" y="73"/>
                  </a:lnTo>
                  <a:lnTo>
                    <a:pt x="84" y="71"/>
                  </a:lnTo>
                  <a:lnTo>
                    <a:pt x="79" y="72"/>
                  </a:lnTo>
                  <a:lnTo>
                    <a:pt x="61" y="73"/>
                  </a:lnTo>
                  <a:lnTo>
                    <a:pt x="42" y="73"/>
                  </a:lnTo>
                  <a:lnTo>
                    <a:pt x="43" y="87"/>
                  </a:lnTo>
                  <a:lnTo>
                    <a:pt x="44" y="101"/>
                  </a:lnTo>
                  <a:lnTo>
                    <a:pt x="30" y="92"/>
                  </a:lnTo>
                  <a:lnTo>
                    <a:pt x="15" y="97"/>
                  </a:lnTo>
                  <a:lnTo>
                    <a:pt x="6" y="86"/>
                  </a:lnTo>
                  <a:lnTo>
                    <a:pt x="0" y="84"/>
                  </a:lnTo>
                  <a:lnTo>
                    <a:pt x="3" y="60"/>
                  </a:lnTo>
                  <a:lnTo>
                    <a:pt x="8" y="56"/>
                  </a:lnTo>
                  <a:lnTo>
                    <a:pt x="16" y="48"/>
                  </a:lnTo>
                  <a:lnTo>
                    <a:pt x="20" y="41"/>
                  </a:lnTo>
                  <a:lnTo>
                    <a:pt x="22" y="30"/>
                  </a:lnTo>
                  <a:lnTo>
                    <a:pt x="32" y="35"/>
                  </a:lnTo>
                  <a:lnTo>
                    <a:pt x="34" y="27"/>
                  </a:lnTo>
                  <a:lnTo>
                    <a:pt x="38" y="26"/>
                  </a:lnTo>
                  <a:lnTo>
                    <a:pt x="44" y="17"/>
                  </a:lnTo>
                  <a:lnTo>
                    <a:pt x="54" y="17"/>
                  </a:lnTo>
                  <a:lnTo>
                    <a:pt x="55" y="9"/>
                  </a:lnTo>
                  <a:lnTo>
                    <a:pt x="75" y="0"/>
                  </a:lnTo>
                  <a:lnTo>
                    <a:pt x="90" y="2"/>
                  </a:lnTo>
                  <a:lnTo>
                    <a:pt x="92" y="17"/>
                  </a:lnTo>
                  <a:lnTo>
                    <a:pt x="104" y="30"/>
                  </a:lnTo>
                  <a:lnTo>
                    <a:pt x="102" y="31"/>
                  </a:lnTo>
                  <a:lnTo>
                    <a:pt x="102" y="37"/>
                  </a:lnTo>
                  <a:lnTo>
                    <a:pt x="111" y="44"/>
                  </a:lnTo>
                  <a:lnTo>
                    <a:pt x="117" y="43"/>
                  </a:lnTo>
                  <a:lnTo>
                    <a:pt x="121" y="48"/>
                  </a:lnTo>
                  <a:lnTo>
                    <a:pt x="124" y="57"/>
                  </a:lnTo>
                  <a:lnTo>
                    <a:pt x="123" y="60"/>
                  </a:lnTo>
                  <a:lnTo>
                    <a:pt x="111" y="67"/>
                  </a:lnTo>
                  <a:lnTo>
                    <a:pt x="102" y="7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5" name="Freeform 112"/>
            <p:cNvSpPr>
              <a:spLocks/>
            </p:cNvSpPr>
            <p:nvPr/>
          </p:nvSpPr>
          <p:spPr bwMode="auto">
            <a:xfrm>
              <a:off x="2682" y="2443"/>
              <a:ext cx="134" cy="227"/>
            </a:xfrm>
            <a:custGeom>
              <a:avLst/>
              <a:gdLst/>
              <a:ahLst/>
              <a:cxnLst>
                <a:cxn ang="0">
                  <a:pos x="112" y="56"/>
                </a:cxn>
                <a:cxn ang="0">
                  <a:pos x="93" y="56"/>
                </a:cxn>
                <a:cxn ang="0">
                  <a:pos x="86" y="60"/>
                </a:cxn>
                <a:cxn ang="0">
                  <a:pos x="99" y="77"/>
                </a:cxn>
                <a:cxn ang="0">
                  <a:pos x="109" y="99"/>
                </a:cxn>
                <a:cxn ang="0">
                  <a:pos x="102" y="114"/>
                </a:cxn>
                <a:cxn ang="0">
                  <a:pos x="93" y="128"/>
                </a:cxn>
                <a:cxn ang="0">
                  <a:pos x="99" y="153"/>
                </a:cxn>
                <a:cxn ang="0">
                  <a:pos x="108" y="167"/>
                </a:cxn>
                <a:cxn ang="0">
                  <a:pos x="116" y="179"/>
                </a:cxn>
                <a:cxn ang="0">
                  <a:pos x="121" y="195"/>
                </a:cxn>
                <a:cxn ang="0">
                  <a:pos x="118" y="204"/>
                </a:cxn>
                <a:cxn ang="0">
                  <a:pos x="104" y="200"/>
                </a:cxn>
                <a:cxn ang="0">
                  <a:pos x="91" y="197"/>
                </a:cxn>
                <a:cxn ang="0">
                  <a:pos x="75" y="197"/>
                </a:cxn>
                <a:cxn ang="0">
                  <a:pos x="60" y="197"/>
                </a:cxn>
                <a:cxn ang="0">
                  <a:pos x="44" y="197"/>
                </a:cxn>
                <a:cxn ang="0">
                  <a:pos x="32" y="194"/>
                </a:cxn>
                <a:cxn ang="0">
                  <a:pos x="20" y="193"/>
                </a:cxn>
                <a:cxn ang="0">
                  <a:pos x="20" y="174"/>
                </a:cxn>
                <a:cxn ang="0">
                  <a:pos x="18" y="165"/>
                </a:cxn>
                <a:cxn ang="0">
                  <a:pos x="16" y="163"/>
                </a:cxn>
                <a:cxn ang="0">
                  <a:pos x="7" y="162"/>
                </a:cxn>
                <a:cxn ang="0">
                  <a:pos x="2" y="151"/>
                </a:cxn>
                <a:cxn ang="0">
                  <a:pos x="0" y="152"/>
                </a:cxn>
                <a:cxn ang="0">
                  <a:pos x="1" y="149"/>
                </a:cxn>
                <a:cxn ang="0">
                  <a:pos x="6" y="134"/>
                </a:cxn>
                <a:cxn ang="0">
                  <a:pos x="12" y="123"/>
                </a:cxn>
                <a:cxn ang="0">
                  <a:pos x="19" y="113"/>
                </a:cxn>
                <a:cxn ang="0">
                  <a:pos x="31" y="109"/>
                </a:cxn>
                <a:cxn ang="0">
                  <a:pos x="42" y="120"/>
                </a:cxn>
                <a:cxn ang="0">
                  <a:pos x="51" y="105"/>
                </a:cxn>
                <a:cxn ang="0">
                  <a:pos x="57" y="90"/>
                </a:cxn>
                <a:cxn ang="0">
                  <a:pos x="63" y="80"/>
                </a:cxn>
                <a:cxn ang="0">
                  <a:pos x="69" y="66"/>
                </a:cxn>
                <a:cxn ang="0">
                  <a:pos x="74" y="53"/>
                </a:cxn>
                <a:cxn ang="0">
                  <a:pos x="80" y="41"/>
                </a:cxn>
                <a:cxn ang="0">
                  <a:pos x="91" y="30"/>
                </a:cxn>
                <a:cxn ang="0">
                  <a:pos x="96" y="20"/>
                </a:cxn>
                <a:cxn ang="0">
                  <a:pos x="88" y="13"/>
                </a:cxn>
                <a:cxn ang="0">
                  <a:pos x="86" y="0"/>
                </a:cxn>
                <a:cxn ang="0">
                  <a:pos x="92" y="0"/>
                </a:cxn>
                <a:cxn ang="0">
                  <a:pos x="99" y="18"/>
                </a:cxn>
                <a:cxn ang="0">
                  <a:pos x="102" y="38"/>
                </a:cxn>
                <a:cxn ang="0">
                  <a:pos x="112" y="56"/>
                </a:cxn>
              </a:cxnLst>
              <a:rect l="0" t="0" r="r" b="b"/>
              <a:pathLst>
                <a:path w="121" h="204">
                  <a:moveTo>
                    <a:pt x="112" y="56"/>
                  </a:moveTo>
                  <a:lnTo>
                    <a:pt x="93" y="56"/>
                  </a:lnTo>
                  <a:lnTo>
                    <a:pt x="86" y="60"/>
                  </a:lnTo>
                  <a:lnTo>
                    <a:pt x="99" y="77"/>
                  </a:lnTo>
                  <a:lnTo>
                    <a:pt x="109" y="99"/>
                  </a:lnTo>
                  <a:lnTo>
                    <a:pt x="102" y="114"/>
                  </a:lnTo>
                  <a:lnTo>
                    <a:pt x="93" y="128"/>
                  </a:lnTo>
                  <a:lnTo>
                    <a:pt x="99" y="153"/>
                  </a:lnTo>
                  <a:lnTo>
                    <a:pt x="108" y="167"/>
                  </a:lnTo>
                  <a:lnTo>
                    <a:pt x="116" y="179"/>
                  </a:lnTo>
                  <a:lnTo>
                    <a:pt x="121" y="195"/>
                  </a:lnTo>
                  <a:lnTo>
                    <a:pt x="118" y="204"/>
                  </a:lnTo>
                  <a:lnTo>
                    <a:pt x="104" y="200"/>
                  </a:lnTo>
                  <a:lnTo>
                    <a:pt x="91" y="197"/>
                  </a:lnTo>
                  <a:lnTo>
                    <a:pt x="75" y="197"/>
                  </a:lnTo>
                  <a:lnTo>
                    <a:pt x="60" y="197"/>
                  </a:lnTo>
                  <a:lnTo>
                    <a:pt x="44" y="197"/>
                  </a:lnTo>
                  <a:lnTo>
                    <a:pt x="32" y="194"/>
                  </a:lnTo>
                  <a:lnTo>
                    <a:pt x="20" y="193"/>
                  </a:lnTo>
                  <a:lnTo>
                    <a:pt x="20" y="174"/>
                  </a:lnTo>
                  <a:lnTo>
                    <a:pt x="18" y="165"/>
                  </a:lnTo>
                  <a:lnTo>
                    <a:pt x="16" y="163"/>
                  </a:lnTo>
                  <a:lnTo>
                    <a:pt x="7" y="162"/>
                  </a:lnTo>
                  <a:lnTo>
                    <a:pt x="2" y="151"/>
                  </a:lnTo>
                  <a:lnTo>
                    <a:pt x="0" y="152"/>
                  </a:lnTo>
                  <a:lnTo>
                    <a:pt x="1" y="149"/>
                  </a:lnTo>
                  <a:lnTo>
                    <a:pt x="6" y="134"/>
                  </a:lnTo>
                  <a:lnTo>
                    <a:pt x="12" y="123"/>
                  </a:lnTo>
                  <a:lnTo>
                    <a:pt x="19" y="113"/>
                  </a:lnTo>
                  <a:lnTo>
                    <a:pt x="31" y="109"/>
                  </a:lnTo>
                  <a:lnTo>
                    <a:pt x="42" y="120"/>
                  </a:lnTo>
                  <a:lnTo>
                    <a:pt x="51" y="105"/>
                  </a:lnTo>
                  <a:lnTo>
                    <a:pt x="57" y="90"/>
                  </a:lnTo>
                  <a:lnTo>
                    <a:pt x="63" y="80"/>
                  </a:lnTo>
                  <a:lnTo>
                    <a:pt x="69" y="66"/>
                  </a:lnTo>
                  <a:lnTo>
                    <a:pt x="74" y="53"/>
                  </a:lnTo>
                  <a:lnTo>
                    <a:pt x="80" y="41"/>
                  </a:lnTo>
                  <a:lnTo>
                    <a:pt x="91" y="30"/>
                  </a:lnTo>
                  <a:lnTo>
                    <a:pt x="96" y="20"/>
                  </a:lnTo>
                  <a:lnTo>
                    <a:pt x="88" y="13"/>
                  </a:lnTo>
                  <a:lnTo>
                    <a:pt x="86" y="0"/>
                  </a:lnTo>
                  <a:lnTo>
                    <a:pt x="92" y="0"/>
                  </a:lnTo>
                  <a:lnTo>
                    <a:pt x="99" y="18"/>
                  </a:lnTo>
                  <a:lnTo>
                    <a:pt x="102" y="38"/>
                  </a:lnTo>
                  <a:lnTo>
                    <a:pt x="112" y="5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6" name="Freeform 113"/>
            <p:cNvSpPr>
              <a:spLocks/>
            </p:cNvSpPr>
            <p:nvPr/>
          </p:nvSpPr>
          <p:spPr bwMode="auto">
            <a:xfrm>
              <a:off x="2787" y="2487"/>
              <a:ext cx="229" cy="174"/>
            </a:xfrm>
            <a:custGeom>
              <a:avLst/>
              <a:gdLst/>
              <a:ahLst/>
              <a:cxnLst>
                <a:cxn ang="0">
                  <a:pos x="72" y="42"/>
                </a:cxn>
                <a:cxn ang="0">
                  <a:pos x="70" y="38"/>
                </a:cxn>
                <a:cxn ang="0">
                  <a:pos x="93" y="33"/>
                </a:cxn>
                <a:cxn ang="0">
                  <a:pos x="105" y="18"/>
                </a:cxn>
                <a:cxn ang="0">
                  <a:pos x="117" y="4"/>
                </a:cxn>
                <a:cxn ang="0">
                  <a:pos x="132" y="0"/>
                </a:cxn>
                <a:cxn ang="0">
                  <a:pos x="138" y="11"/>
                </a:cxn>
                <a:cxn ang="0">
                  <a:pos x="145" y="22"/>
                </a:cxn>
                <a:cxn ang="0">
                  <a:pos x="143" y="40"/>
                </a:cxn>
                <a:cxn ang="0">
                  <a:pos x="154" y="42"/>
                </a:cxn>
                <a:cxn ang="0">
                  <a:pos x="157" y="47"/>
                </a:cxn>
                <a:cxn ang="0">
                  <a:pos x="172" y="58"/>
                </a:cxn>
                <a:cxn ang="0">
                  <a:pos x="174" y="65"/>
                </a:cxn>
                <a:cxn ang="0">
                  <a:pos x="189" y="78"/>
                </a:cxn>
                <a:cxn ang="0">
                  <a:pos x="195" y="88"/>
                </a:cxn>
                <a:cxn ang="0">
                  <a:pos x="204" y="100"/>
                </a:cxn>
                <a:cxn ang="0">
                  <a:pos x="207" y="106"/>
                </a:cxn>
                <a:cxn ang="0">
                  <a:pos x="198" y="104"/>
                </a:cxn>
                <a:cxn ang="0">
                  <a:pos x="185" y="102"/>
                </a:cxn>
                <a:cxn ang="0">
                  <a:pos x="173" y="101"/>
                </a:cxn>
                <a:cxn ang="0">
                  <a:pos x="167" y="106"/>
                </a:cxn>
                <a:cxn ang="0">
                  <a:pos x="155" y="106"/>
                </a:cxn>
                <a:cxn ang="0">
                  <a:pos x="139" y="112"/>
                </a:cxn>
                <a:cxn ang="0">
                  <a:pos x="132" y="111"/>
                </a:cxn>
                <a:cxn ang="0">
                  <a:pos x="125" y="122"/>
                </a:cxn>
                <a:cxn ang="0">
                  <a:pos x="111" y="118"/>
                </a:cxn>
                <a:cxn ang="0">
                  <a:pos x="95" y="113"/>
                </a:cxn>
                <a:cxn ang="0">
                  <a:pos x="78" y="104"/>
                </a:cxn>
                <a:cxn ang="0">
                  <a:pos x="66" y="120"/>
                </a:cxn>
                <a:cxn ang="0">
                  <a:pos x="66" y="134"/>
                </a:cxn>
                <a:cxn ang="0">
                  <a:pos x="54" y="132"/>
                </a:cxn>
                <a:cxn ang="0">
                  <a:pos x="42" y="131"/>
                </a:cxn>
                <a:cxn ang="0">
                  <a:pos x="34" y="137"/>
                </a:cxn>
                <a:cxn ang="0">
                  <a:pos x="28" y="156"/>
                </a:cxn>
                <a:cxn ang="0">
                  <a:pos x="23" y="140"/>
                </a:cxn>
                <a:cxn ang="0">
                  <a:pos x="15" y="128"/>
                </a:cxn>
                <a:cxn ang="0">
                  <a:pos x="6" y="114"/>
                </a:cxn>
                <a:cxn ang="0">
                  <a:pos x="0" y="89"/>
                </a:cxn>
                <a:cxn ang="0">
                  <a:pos x="9" y="75"/>
                </a:cxn>
                <a:cxn ang="0">
                  <a:pos x="16" y="60"/>
                </a:cxn>
                <a:cxn ang="0">
                  <a:pos x="31" y="56"/>
                </a:cxn>
                <a:cxn ang="0">
                  <a:pos x="34" y="58"/>
                </a:cxn>
                <a:cxn ang="0">
                  <a:pos x="43" y="57"/>
                </a:cxn>
                <a:cxn ang="0">
                  <a:pos x="65" y="52"/>
                </a:cxn>
                <a:cxn ang="0">
                  <a:pos x="72" y="42"/>
                </a:cxn>
              </a:cxnLst>
              <a:rect l="0" t="0" r="r" b="b"/>
              <a:pathLst>
                <a:path w="207" h="156">
                  <a:moveTo>
                    <a:pt x="72" y="42"/>
                  </a:moveTo>
                  <a:lnTo>
                    <a:pt x="70" y="38"/>
                  </a:lnTo>
                  <a:lnTo>
                    <a:pt x="93" y="33"/>
                  </a:lnTo>
                  <a:lnTo>
                    <a:pt x="105" y="18"/>
                  </a:lnTo>
                  <a:lnTo>
                    <a:pt x="117" y="4"/>
                  </a:lnTo>
                  <a:lnTo>
                    <a:pt x="132" y="0"/>
                  </a:lnTo>
                  <a:lnTo>
                    <a:pt x="138" y="11"/>
                  </a:lnTo>
                  <a:lnTo>
                    <a:pt x="145" y="22"/>
                  </a:lnTo>
                  <a:lnTo>
                    <a:pt x="143" y="40"/>
                  </a:lnTo>
                  <a:lnTo>
                    <a:pt x="154" y="42"/>
                  </a:lnTo>
                  <a:lnTo>
                    <a:pt x="157" y="47"/>
                  </a:lnTo>
                  <a:lnTo>
                    <a:pt x="172" y="58"/>
                  </a:lnTo>
                  <a:lnTo>
                    <a:pt x="174" y="65"/>
                  </a:lnTo>
                  <a:lnTo>
                    <a:pt x="189" y="78"/>
                  </a:lnTo>
                  <a:lnTo>
                    <a:pt x="195" y="88"/>
                  </a:lnTo>
                  <a:lnTo>
                    <a:pt x="204" y="100"/>
                  </a:lnTo>
                  <a:lnTo>
                    <a:pt x="207" y="106"/>
                  </a:lnTo>
                  <a:lnTo>
                    <a:pt x="198" y="104"/>
                  </a:lnTo>
                  <a:lnTo>
                    <a:pt x="185" y="102"/>
                  </a:lnTo>
                  <a:lnTo>
                    <a:pt x="173" y="101"/>
                  </a:lnTo>
                  <a:lnTo>
                    <a:pt x="167" y="106"/>
                  </a:lnTo>
                  <a:lnTo>
                    <a:pt x="155" y="106"/>
                  </a:lnTo>
                  <a:lnTo>
                    <a:pt x="139" y="112"/>
                  </a:lnTo>
                  <a:lnTo>
                    <a:pt x="132" y="111"/>
                  </a:lnTo>
                  <a:lnTo>
                    <a:pt x="125" y="122"/>
                  </a:lnTo>
                  <a:lnTo>
                    <a:pt x="111" y="118"/>
                  </a:lnTo>
                  <a:lnTo>
                    <a:pt x="95" y="113"/>
                  </a:lnTo>
                  <a:lnTo>
                    <a:pt x="78" y="104"/>
                  </a:lnTo>
                  <a:lnTo>
                    <a:pt x="66" y="120"/>
                  </a:lnTo>
                  <a:lnTo>
                    <a:pt x="66" y="134"/>
                  </a:lnTo>
                  <a:lnTo>
                    <a:pt x="54" y="132"/>
                  </a:lnTo>
                  <a:lnTo>
                    <a:pt x="42" y="131"/>
                  </a:lnTo>
                  <a:lnTo>
                    <a:pt x="34" y="137"/>
                  </a:lnTo>
                  <a:lnTo>
                    <a:pt x="28" y="156"/>
                  </a:lnTo>
                  <a:lnTo>
                    <a:pt x="23" y="140"/>
                  </a:lnTo>
                  <a:lnTo>
                    <a:pt x="15" y="128"/>
                  </a:lnTo>
                  <a:lnTo>
                    <a:pt x="6" y="114"/>
                  </a:lnTo>
                  <a:lnTo>
                    <a:pt x="0" y="89"/>
                  </a:lnTo>
                  <a:lnTo>
                    <a:pt x="9" y="75"/>
                  </a:lnTo>
                  <a:lnTo>
                    <a:pt x="16" y="60"/>
                  </a:lnTo>
                  <a:lnTo>
                    <a:pt x="31" y="56"/>
                  </a:lnTo>
                  <a:lnTo>
                    <a:pt x="34" y="58"/>
                  </a:lnTo>
                  <a:lnTo>
                    <a:pt x="43" y="57"/>
                  </a:lnTo>
                  <a:lnTo>
                    <a:pt x="65" y="52"/>
                  </a:lnTo>
                  <a:lnTo>
                    <a:pt x="72" y="4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7" name="Freeform 114"/>
            <p:cNvSpPr>
              <a:spLocks/>
            </p:cNvSpPr>
            <p:nvPr/>
          </p:nvSpPr>
          <p:spPr bwMode="auto">
            <a:xfrm>
              <a:off x="2238" y="2430"/>
              <a:ext cx="51" cy="13"/>
            </a:xfrm>
            <a:custGeom>
              <a:avLst/>
              <a:gdLst/>
              <a:ahLst/>
              <a:cxnLst>
                <a:cxn ang="0">
                  <a:pos x="2" y="5"/>
                </a:cxn>
                <a:cxn ang="0">
                  <a:pos x="0" y="12"/>
                </a:cxn>
                <a:cxn ang="0">
                  <a:pos x="13" y="8"/>
                </a:cxn>
                <a:cxn ang="0">
                  <a:pos x="25" y="3"/>
                </a:cxn>
                <a:cxn ang="0">
                  <a:pos x="46" y="8"/>
                </a:cxn>
                <a:cxn ang="0">
                  <a:pos x="42" y="3"/>
                </a:cxn>
                <a:cxn ang="0">
                  <a:pos x="23" y="0"/>
                </a:cxn>
                <a:cxn ang="0">
                  <a:pos x="20" y="3"/>
                </a:cxn>
                <a:cxn ang="0">
                  <a:pos x="4" y="3"/>
                </a:cxn>
                <a:cxn ang="0">
                  <a:pos x="4" y="5"/>
                </a:cxn>
                <a:cxn ang="0">
                  <a:pos x="18" y="5"/>
                </a:cxn>
                <a:cxn ang="0">
                  <a:pos x="10" y="8"/>
                </a:cxn>
                <a:cxn ang="0">
                  <a:pos x="2" y="5"/>
                </a:cxn>
              </a:cxnLst>
              <a:rect l="0" t="0" r="r" b="b"/>
              <a:pathLst>
                <a:path w="46" h="12">
                  <a:moveTo>
                    <a:pt x="2" y="5"/>
                  </a:moveTo>
                  <a:lnTo>
                    <a:pt x="0" y="12"/>
                  </a:lnTo>
                  <a:lnTo>
                    <a:pt x="13" y="8"/>
                  </a:lnTo>
                  <a:lnTo>
                    <a:pt x="25" y="3"/>
                  </a:lnTo>
                  <a:lnTo>
                    <a:pt x="46" y="8"/>
                  </a:lnTo>
                  <a:lnTo>
                    <a:pt x="42" y="3"/>
                  </a:lnTo>
                  <a:lnTo>
                    <a:pt x="23" y="0"/>
                  </a:lnTo>
                  <a:lnTo>
                    <a:pt x="20" y="3"/>
                  </a:lnTo>
                  <a:lnTo>
                    <a:pt x="4" y="3"/>
                  </a:lnTo>
                  <a:lnTo>
                    <a:pt x="4" y="5"/>
                  </a:lnTo>
                  <a:lnTo>
                    <a:pt x="18" y="5"/>
                  </a:lnTo>
                  <a:lnTo>
                    <a:pt x="10" y="8"/>
                  </a:lnTo>
                  <a:lnTo>
                    <a:pt x="2"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8" name="Freeform 115"/>
            <p:cNvSpPr>
              <a:spLocks/>
            </p:cNvSpPr>
            <p:nvPr/>
          </p:nvSpPr>
          <p:spPr bwMode="auto">
            <a:xfrm>
              <a:off x="2476" y="2483"/>
              <a:ext cx="77" cy="127"/>
            </a:xfrm>
            <a:custGeom>
              <a:avLst/>
              <a:gdLst/>
              <a:ahLst/>
              <a:cxnLst>
                <a:cxn ang="0">
                  <a:pos x="61" y="97"/>
                </a:cxn>
                <a:cxn ang="0">
                  <a:pos x="50" y="100"/>
                </a:cxn>
                <a:cxn ang="0">
                  <a:pos x="38" y="105"/>
                </a:cxn>
                <a:cxn ang="0">
                  <a:pos x="27" y="110"/>
                </a:cxn>
                <a:cxn ang="0">
                  <a:pos x="16" y="114"/>
                </a:cxn>
                <a:cxn ang="0">
                  <a:pos x="1" y="109"/>
                </a:cxn>
                <a:cxn ang="0">
                  <a:pos x="6" y="105"/>
                </a:cxn>
                <a:cxn ang="0">
                  <a:pos x="3" y="91"/>
                </a:cxn>
                <a:cxn ang="0">
                  <a:pos x="0" y="78"/>
                </a:cxn>
                <a:cxn ang="0">
                  <a:pos x="6" y="66"/>
                </a:cxn>
                <a:cxn ang="0">
                  <a:pos x="10" y="52"/>
                </a:cxn>
                <a:cxn ang="0">
                  <a:pos x="8" y="30"/>
                </a:cxn>
                <a:cxn ang="0">
                  <a:pos x="7" y="16"/>
                </a:cxn>
                <a:cxn ang="0">
                  <a:pos x="6" y="2"/>
                </a:cxn>
                <a:cxn ang="0">
                  <a:pos x="25" y="2"/>
                </a:cxn>
                <a:cxn ang="0">
                  <a:pos x="43" y="1"/>
                </a:cxn>
                <a:cxn ang="0">
                  <a:pos x="48" y="0"/>
                </a:cxn>
                <a:cxn ang="0">
                  <a:pos x="50" y="6"/>
                </a:cxn>
                <a:cxn ang="0">
                  <a:pos x="56" y="21"/>
                </a:cxn>
                <a:cxn ang="0">
                  <a:pos x="56" y="30"/>
                </a:cxn>
                <a:cxn ang="0">
                  <a:pos x="57" y="42"/>
                </a:cxn>
                <a:cxn ang="0">
                  <a:pos x="60" y="54"/>
                </a:cxn>
                <a:cxn ang="0">
                  <a:pos x="61" y="68"/>
                </a:cxn>
                <a:cxn ang="0">
                  <a:pos x="61" y="81"/>
                </a:cxn>
                <a:cxn ang="0">
                  <a:pos x="69" y="91"/>
                </a:cxn>
                <a:cxn ang="0">
                  <a:pos x="61" y="97"/>
                </a:cxn>
                <a:cxn ang="0">
                  <a:pos x="55" y="92"/>
                </a:cxn>
                <a:cxn ang="0">
                  <a:pos x="61" y="97"/>
                </a:cxn>
              </a:cxnLst>
              <a:rect l="0" t="0" r="r" b="b"/>
              <a:pathLst>
                <a:path w="69" h="114">
                  <a:moveTo>
                    <a:pt x="61" y="97"/>
                  </a:moveTo>
                  <a:lnTo>
                    <a:pt x="50" y="100"/>
                  </a:lnTo>
                  <a:lnTo>
                    <a:pt x="38" y="105"/>
                  </a:lnTo>
                  <a:lnTo>
                    <a:pt x="27" y="110"/>
                  </a:lnTo>
                  <a:lnTo>
                    <a:pt x="16" y="114"/>
                  </a:lnTo>
                  <a:lnTo>
                    <a:pt x="1" y="109"/>
                  </a:lnTo>
                  <a:lnTo>
                    <a:pt x="6" y="105"/>
                  </a:lnTo>
                  <a:lnTo>
                    <a:pt x="3" y="91"/>
                  </a:lnTo>
                  <a:lnTo>
                    <a:pt x="0" y="78"/>
                  </a:lnTo>
                  <a:lnTo>
                    <a:pt x="6" y="66"/>
                  </a:lnTo>
                  <a:lnTo>
                    <a:pt x="10" y="52"/>
                  </a:lnTo>
                  <a:lnTo>
                    <a:pt x="8" y="30"/>
                  </a:lnTo>
                  <a:lnTo>
                    <a:pt x="7" y="16"/>
                  </a:lnTo>
                  <a:lnTo>
                    <a:pt x="6" y="2"/>
                  </a:lnTo>
                  <a:lnTo>
                    <a:pt x="25" y="2"/>
                  </a:lnTo>
                  <a:lnTo>
                    <a:pt x="43" y="1"/>
                  </a:lnTo>
                  <a:lnTo>
                    <a:pt x="48" y="0"/>
                  </a:lnTo>
                  <a:lnTo>
                    <a:pt x="50" y="6"/>
                  </a:lnTo>
                  <a:lnTo>
                    <a:pt x="56" y="21"/>
                  </a:lnTo>
                  <a:lnTo>
                    <a:pt x="56" y="30"/>
                  </a:lnTo>
                  <a:lnTo>
                    <a:pt x="57" y="42"/>
                  </a:lnTo>
                  <a:lnTo>
                    <a:pt x="60" y="54"/>
                  </a:lnTo>
                  <a:lnTo>
                    <a:pt x="61" y="68"/>
                  </a:lnTo>
                  <a:lnTo>
                    <a:pt x="61" y="81"/>
                  </a:lnTo>
                  <a:lnTo>
                    <a:pt x="69" y="91"/>
                  </a:lnTo>
                  <a:lnTo>
                    <a:pt x="61" y="97"/>
                  </a:lnTo>
                  <a:lnTo>
                    <a:pt x="55" y="92"/>
                  </a:lnTo>
                  <a:lnTo>
                    <a:pt x="61" y="9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9" name="Freeform 116"/>
            <p:cNvSpPr>
              <a:spLocks/>
            </p:cNvSpPr>
            <p:nvPr/>
          </p:nvSpPr>
          <p:spPr bwMode="auto">
            <a:xfrm>
              <a:off x="2267" y="2452"/>
              <a:ext cx="129" cy="109"/>
            </a:xfrm>
            <a:custGeom>
              <a:avLst/>
              <a:gdLst/>
              <a:ahLst/>
              <a:cxnLst>
                <a:cxn ang="0">
                  <a:pos x="105" y="23"/>
                </a:cxn>
                <a:cxn ang="0">
                  <a:pos x="102" y="29"/>
                </a:cxn>
                <a:cxn ang="0">
                  <a:pos x="105" y="29"/>
                </a:cxn>
                <a:cxn ang="0">
                  <a:pos x="112" y="46"/>
                </a:cxn>
                <a:cxn ang="0">
                  <a:pos x="111" y="59"/>
                </a:cxn>
                <a:cxn ang="0">
                  <a:pos x="113" y="62"/>
                </a:cxn>
                <a:cxn ang="0">
                  <a:pos x="114" y="66"/>
                </a:cxn>
                <a:cxn ang="0">
                  <a:pos x="116" y="72"/>
                </a:cxn>
                <a:cxn ang="0">
                  <a:pos x="116" y="77"/>
                </a:cxn>
                <a:cxn ang="0">
                  <a:pos x="108" y="78"/>
                </a:cxn>
                <a:cxn ang="0">
                  <a:pos x="111" y="85"/>
                </a:cxn>
                <a:cxn ang="0">
                  <a:pos x="106" y="91"/>
                </a:cxn>
                <a:cxn ang="0">
                  <a:pos x="105" y="92"/>
                </a:cxn>
                <a:cxn ang="0">
                  <a:pos x="100" y="92"/>
                </a:cxn>
                <a:cxn ang="0">
                  <a:pos x="93" y="97"/>
                </a:cxn>
                <a:cxn ang="0">
                  <a:pos x="89" y="94"/>
                </a:cxn>
                <a:cxn ang="0">
                  <a:pos x="84" y="76"/>
                </a:cxn>
                <a:cxn ang="0">
                  <a:pos x="76" y="76"/>
                </a:cxn>
                <a:cxn ang="0">
                  <a:pos x="70" y="77"/>
                </a:cxn>
                <a:cxn ang="0">
                  <a:pos x="71" y="65"/>
                </a:cxn>
                <a:cxn ang="0">
                  <a:pos x="62" y="48"/>
                </a:cxn>
                <a:cxn ang="0">
                  <a:pos x="40" y="54"/>
                </a:cxn>
                <a:cxn ang="0">
                  <a:pos x="28" y="66"/>
                </a:cxn>
                <a:cxn ang="0">
                  <a:pos x="27" y="60"/>
                </a:cxn>
                <a:cxn ang="0">
                  <a:pos x="23" y="55"/>
                </a:cxn>
                <a:cxn ang="0">
                  <a:pos x="21" y="52"/>
                </a:cxn>
                <a:cxn ang="0">
                  <a:pos x="16" y="47"/>
                </a:cxn>
                <a:cxn ang="0">
                  <a:pos x="8" y="37"/>
                </a:cxn>
                <a:cxn ang="0">
                  <a:pos x="8" y="34"/>
                </a:cxn>
                <a:cxn ang="0">
                  <a:pos x="6" y="35"/>
                </a:cxn>
                <a:cxn ang="0">
                  <a:pos x="5" y="30"/>
                </a:cxn>
                <a:cxn ang="0">
                  <a:pos x="0" y="32"/>
                </a:cxn>
                <a:cxn ang="0">
                  <a:pos x="2" y="31"/>
                </a:cxn>
                <a:cxn ang="0">
                  <a:pos x="5" y="24"/>
                </a:cxn>
                <a:cxn ang="0">
                  <a:pos x="20" y="18"/>
                </a:cxn>
                <a:cxn ang="0">
                  <a:pos x="20" y="8"/>
                </a:cxn>
                <a:cxn ang="0">
                  <a:pos x="22" y="0"/>
                </a:cxn>
                <a:cxn ang="0">
                  <a:pos x="36" y="4"/>
                </a:cxn>
                <a:cxn ang="0">
                  <a:pos x="59" y="5"/>
                </a:cxn>
                <a:cxn ang="0">
                  <a:pos x="57" y="10"/>
                </a:cxn>
                <a:cxn ang="0">
                  <a:pos x="66" y="10"/>
                </a:cxn>
                <a:cxn ang="0">
                  <a:pos x="71" y="12"/>
                </a:cxn>
                <a:cxn ang="0">
                  <a:pos x="81" y="11"/>
                </a:cxn>
                <a:cxn ang="0">
                  <a:pos x="92" y="7"/>
                </a:cxn>
                <a:cxn ang="0">
                  <a:pos x="94" y="4"/>
                </a:cxn>
                <a:cxn ang="0">
                  <a:pos x="99" y="18"/>
                </a:cxn>
                <a:cxn ang="0">
                  <a:pos x="105" y="23"/>
                </a:cxn>
              </a:cxnLst>
              <a:rect l="0" t="0" r="r" b="b"/>
              <a:pathLst>
                <a:path w="116" h="97">
                  <a:moveTo>
                    <a:pt x="105" y="23"/>
                  </a:moveTo>
                  <a:lnTo>
                    <a:pt x="102" y="29"/>
                  </a:lnTo>
                  <a:lnTo>
                    <a:pt x="105" y="29"/>
                  </a:lnTo>
                  <a:lnTo>
                    <a:pt x="112" y="46"/>
                  </a:lnTo>
                  <a:lnTo>
                    <a:pt x="111" y="59"/>
                  </a:lnTo>
                  <a:lnTo>
                    <a:pt x="113" y="62"/>
                  </a:lnTo>
                  <a:lnTo>
                    <a:pt x="114" y="66"/>
                  </a:lnTo>
                  <a:lnTo>
                    <a:pt x="116" y="72"/>
                  </a:lnTo>
                  <a:lnTo>
                    <a:pt x="116" y="77"/>
                  </a:lnTo>
                  <a:lnTo>
                    <a:pt x="108" y="78"/>
                  </a:lnTo>
                  <a:lnTo>
                    <a:pt x="111" y="85"/>
                  </a:lnTo>
                  <a:lnTo>
                    <a:pt x="106" y="91"/>
                  </a:lnTo>
                  <a:lnTo>
                    <a:pt x="105" y="92"/>
                  </a:lnTo>
                  <a:lnTo>
                    <a:pt x="100" y="92"/>
                  </a:lnTo>
                  <a:lnTo>
                    <a:pt x="93" y="97"/>
                  </a:lnTo>
                  <a:lnTo>
                    <a:pt x="89" y="94"/>
                  </a:lnTo>
                  <a:lnTo>
                    <a:pt x="84" y="76"/>
                  </a:lnTo>
                  <a:lnTo>
                    <a:pt x="76" y="76"/>
                  </a:lnTo>
                  <a:lnTo>
                    <a:pt x="70" y="77"/>
                  </a:lnTo>
                  <a:lnTo>
                    <a:pt x="71" y="65"/>
                  </a:lnTo>
                  <a:lnTo>
                    <a:pt x="62" y="48"/>
                  </a:lnTo>
                  <a:lnTo>
                    <a:pt x="40" y="54"/>
                  </a:lnTo>
                  <a:lnTo>
                    <a:pt x="28" y="66"/>
                  </a:lnTo>
                  <a:lnTo>
                    <a:pt x="27" y="60"/>
                  </a:lnTo>
                  <a:lnTo>
                    <a:pt x="23" y="55"/>
                  </a:lnTo>
                  <a:lnTo>
                    <a:pt x="21" y="52"/>
                  </a:lnTo>
                  <a:lnTo>
                    <a:pt x="16" y="47"/>
                  </a:lnTo>
                  <a:lnTo>
                    <a:pt x="8" y="37"/>
                  </a:lnTo>
                  <a:lnTo>
                    <a:pt x="8" y="34"/>
                  </a:lnTo>
                  <a:lnTo>
                    <a:pt x="6" y="35"/>
                  </a:lnTo>
                  <a:lnTo>
                    <a:pt x="5" y="30"/>
                  </a:lnTo>
                  <a:lnTo>
                    <a:pt x="0" y="32"/>
                  </a:lnTo>
                  <a:lnTo>
                    <a:pt x="2" y="31"/>
                  </a:lnTo>
                  <a:lnTo>
                    <a:pt x="5" y="24"/>
                  </a:lnTo>
                  <a:lnTo>
                    <a:pt x="20" y="18"/>
                  </a:lnTo>
                  <a:lnTo>
                    <a:pt x="20" y="8"/>
                  </a:lnTo>
                  <a:lnTo>
                    <a:pt x="22" y="0"/>
                  </a:lnTo>
                  <a:lnTo>
                    <a:pt x="36" y="4"/>
                  </a:lnTo>
                  <a:lnTo>
                    <a:pt x="59" y="5"/>
                  </a:lnTo>
                  <a:lnTo>
                    <a:pt x="57" y="10"/>
                  </a:lnTo>
                  <a:lnTo>
                    <a:pt x="66" y="10"/>
                  </a:lnTo>
                  <a:lnTo>
                    <a:pt x="71" y="12"/>
                  </a:lnTo>
                  <a:lnTo>
                    <a:pt x="81" y="11"/>
                  </a:lnTo>
                  <a:lnTo>
                    <a:pt x="92" y="7"/>
                  </a:lnTo>
                  <a:lnTo>
                    <a:pt x="94" y="4"/>
                  </a:lnTo>
                  <a:lnTo>
                    <a:pt x="99" y="18"/>
                  </a:lnTo>
                  <a:lnTo>
                    <a:pt x="105" y="2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0" name="Freeform 117"/>
            <p:cNvSpPr>
              <a:spLocks/>
            </p:cNvSpPr>
            <p:nvPr/>
          </p:nvSpPr>
          <p:spPr bwMode="auto">
            <a:xfrm>
              <a:off x="2240" y="2452"/>
              <a:ext cx="51" cy="35"/>
            </a:xfrm>
            <a:custGeom>
              <a:avLst/>
              <a:gdLst/>
              <a:ahLst/>
              <a:cxnLst>
                <a:cxn ang="0">
                  <a:pos x="24" y="19"/>
                </a:cxn>
                <a:cxn ang="0">
                  <a:pos x="22" y="24"/>
                </a:cxn>
                <a:cxn ang="0">
                  <a:pos x="24" y="29"/>
                </a:cxn>
                <a:cxn ang="0">
                  <a:pos x="27" y="31"/>
                </a:cxn>
                <a:cxn ang="0">
                  <a:pos x="30" y="24"/>
                </a:cxn>
                <a:cxn ang="0">
                  <a:pos x="45" y="18"/>
                </a:cxn>
                <a:cxn ang="0">
                  <a:pos x="45" y="8"/>
                </a:cxn>
                <a:cxn ang="0">
                  <a:pos x="47" y="0"/>
                </a:cxn>
                <a:cxn ang="0">
                  <a:pos x="34" y="1"/>
                </a:cxn>
                <a:cxn ang="0">
                  <a:pos x="21" y="2"/>
                </a:cxn>
                <a:cxn ang="0">
                  <a:pos x="0" y="7"/>
                </a:cxn>
                <a:cxn ang="0">
                  <a:pos x="7" y="7"/>
                </a:cxn>
                <a:cxn ang="0">
                  <a:pos x="5" y="11"/>
                </a:cxn>
                <a:cxn ang="0">
                  <a:pos x="13" y="12"/>
                </a:cxn>
                <a:cxn ang="0">
                  <a:pos x="12" y="14"/>
                </a:cxn>
                <a:cxn ang="0">
                  <a:pos x="23" y="14"/>
                </a:cxn>
                <a:cxn ang="0">
                  <a:pos x="27" y="17"/>
                </a:cxn>
                <a:cxn ang="0">
                  <a:pos x="18" y="18"/>
                </a:cxn>
                <a:cxn ang="0">
                  <a:pos x="24" y="19"/>
                </a:cxn>
              </a:cxnLst>
              <a:rect l="0" t="0" r="r" b="b"/>
              <a:pathLst>
                <a:path w="47" h="31">
                  <a:moveTo>
                    <a:pt x="24" y="19"/>
                  </a:moveTo>
                  <a:lnTo>
                    <a:pt x="22" y="24"/>
                  </a:lnTo>
                  <a:lnTo>
                    <a:pt x="24" y="29"/>
                  </a:lnTo>
                  <a:lnTo>
                    <a:pt x="27" y="31"/>
                  </a:lnTo>
                  <a:lnTo>
                    <a:pt x="30" y="24"/>
                  </a:lnTo>
                  <a:lnTo>
                    <a:pt x="45" y="18"/>
                  </a:lnTo>
                  <a:lnTo>
                    <a:pt x="45" y="8"/>
                  </a:lnTo>
                  <a:lnTo>
                    <a:pt x="47" y="0"/>
                  </a:lnTo>
                  <a:lnTo>
                    <a:pt x="34" y="1"/>
                  </a:lnTo>
                  <a:lnTo>
                    <a:pt x="21" y="2"/>
                  </a:lnTo>
                  <a:lnTo>
                    <a:pt x="0" y="7"/>
                  </a:lnTo>
                  <a:lnTo>
                    <a:pt x="7" y="7"/>
                  </a:lnTo>
                  <a:lnTo>
                    <a:pt x="5" y="11"/>
                  </a:lnTo>
                  <a:lnTo>
                    <a:pt x="13" y="12"/>
                  </a:lnTo>
                  <a:lnTo>
                    <a:pt x="12" y="14"/>
                  </a:lnTo>
                  <a:lnTo>
                    <a:pt x="23" y="14"/>
                  </a:lnTo>
                  <a:lnTo>
                    <a:pt x="27" y="17"/>
                  </a:lnTo>
                  <a:lnTo>
                    <a:pt x="18" y="18"/>
                  </a:lnTo>
                  <a:lnTo>
                    <a:pt x="24" y="1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1" name="Freeform 118"/>
            <p:cNvSpPr>
              <a:spLocks/>
            </p:cNvSpPr>
            <p:nvPr/>
          </p:nvSpPr>
          <p:spPr bwMode="auto">
            <a:xfrm>
              <a:off x="2382" y="2492"/>
              <a:ext cx="105" cy="127"/>
            </a:xfrm>
            <a:custGeom>
              <a:avLst/>
              <a:gdLst/>
              <a:ahLst/>
              <a:cxnLst>
                <a:cxn ang="0">
                  <a:pos x="53" y="7"/>
                </a:cxn>
                <a:cxn ang="0">
                  <a:pos x="47" y="5"/>
                </a:cxn>
                <a:cxn ang="0">
                  <a:pos x="36" y="7"/>
                </a:cxn>
                <a:cxn ang="0">
                  <a:pos x="33" y="0"/>
                </a:cxn>
                <a:cxn ang="0">
                  <a:pos x="27" y="4"/>
                </a:cxn>
                <a:cxn ang="0">
                  <a:pos x="20" y="8"/>
                </a:cxn>
                <a:cxn ang="0">
                  <a:pos x="11" y="6"/>
                </a:cxn>
                <a:cxn ang="0">
                  <a:pos x="7" y="10"/>
                </a:cxn>
                <a:cxn ang="0">
                  <a:pos x="6" y="23"/>
                </a:cxn>
                <a:cxn ang="0">
                  <a:pos x="8" y="26"/>
                </a:cxn>
                <a:cxn ang="0">
                  <a:pos x="9" y="30"/>
                </a:cxn>
                <a:cxn ang="0">
                  <a:pos x="11" y="36"/>
                </a:cxn>
                <a:cxn ang="0">
                  <a:pos x="11" y="41"/>
                </a:cxn>
                <a:cxn ang="0">
                  <a:pos x="3" y="42"/>
                </a:cxn>
                <a:cxn ang="0">
                  <a:pos x="6" y="49"/>
                </a:cxn>
                <a:cxn ang="0">
                  <a:pos x="1" y="55"/>
                </a:cxn>
                <a:cxn ang="0">
                  <a:pos x="0" y="56"/>
                </a:cxn>
                <a:cxn ang="0">
                  <a:pos x="0" y="72"/>
                </a:cxn>
                <a:cxn ang="0">
                  <a:pos x="0" y="76"/>
                </a:cxn>
                <a:cxn ang="0">
                  <a:pos x="9" y="84"/>
                </a:cxn>
                <a:cxn ang="0">
                  <a:pos x="17" y="92"/>
                </a:cxn>
                <a:cxn ang="0">
                  <a:pos x="14" y="114"/>
                </a:cxn>
                <a:cxn ang="0">
                  <a:pos x="35" y="107"/>
                </a:cxn>
                <a:cxn ang="0">
                  <a:pos x="54" y="100"/>
                </a:cxn>
                <a:cxn ang="0">
                  <a:pos x="49" y="100"/>
                </a:cxn>
                <a:cxn ang="0">
                  <a:pos x="69" y="98"/>
                </a:cxn>
                <a:cxn ang="0">
                  <a:pos x="60" y="98"/>
                </a:cxn>
                <a:cxn ang="0">
                  <a:pos x="72" y="97"/>
                </a:cxn>
                <a:cxn ang="0">
                  <a:pos x="81" y="98"/>
                </a:cxn>
                <a:cxn ang="0">
                  <a:pos x="84" y="101"/>
                </a:cxn>
                <a:cxn ang="0">
                  <a:pos x="89" y="97"/>
                </a:cxn>
                <a:cxn ang="0">
                  <a:pos x="86" y="83"/>
                </a:cxn>
                <a:cxn ang="0">
                  <a:pos x="83" y="70"/>
                </a:cxn>
                <a:cxn ang="0">
                  <a:pos x="89" y="58"/>
                </a:cxn>
                <a:cxn ang="0">
                  <a:pos x="93" y="44"/>
                </a:cxn>
                <a:cxn ang="0">
                  <a:pos x="91" y="22"/>
                </a:cxn>
                <a:cxn ang="0">
                  <a:pos x="77" y="13"/>
                </a:cxn>
                <a:cxn ang="0">
                  <a:pos x="62" y="18"/>
                </a:cxn>
                <a:cxn ang="0">
                  <a:pos x="53" y="7"/>
                </a:cxn>
              </a:cxnLst>
              <a:rect l="0" t="0" r="r" b="b"/>
              <a:pathLst>
                <a:path w="93" h="114">
                  <a:moveTo>
                    <a:pt x="53" y="7"/>
                  </a:moveTo>
                  <a:lnTo>
                    <a:pt x="47" y="5"/>
                  </a:lnTo>
                  <a:lnTo>
                    <a:pt x="36" y="7"/>
                  </a:lnTo>
                  <a:lnTo>
                    <a:pt x="33" y="0"/>
                  </a:lnTo>
                  <a:lnTo>
                    <a:pt x="27" y="4"/>
                  </a:lnTo>
                  <a:lnTo>
                    <a:pt x="20" y="8"/>
                  </a:lnTo>
                  <a:lnTo>
                    <a:pt x="11" y="6"/>
                  </a:lnTo>
                  <a:lnTo>
                    <a:pt x="7" y="10"/>
                  </a:lnTo>
                  <a:lnTo>
                    <a:pt x="6" y="23"/>
                  </a:lnTo>
                  <a:lnTo>
                    <a:pt x="8" y="26"/>
                  </a:lnTo>
                  <a:lnTo>
                    <a:pt x="9" y="30"/>
                  </a:lnTo>
                  <a:lnTo>
                    <a:pt x="11" y="36"/>
                  </a:lnTo>
                  <a:lnTo>
                    <a:pt x="11" y="41"/>
                  </a:lnTo>
                  <a:lnTo>
                    <a:pt x="3" y="42"/>
                  </a:lnTo>
                  <a:lnTo>
                    <a:pt x="6" y="49"/>
                  </a:lnTo>
                  <a:lnTo>
                    <a:pt x="1" y="55"/>
                  </a:lnTo>
                  <a:lnTo>
                    <a:pt x="0" y="56"/>
                  </a:lnTo>
                  <a:lnTo>
                    <a:pt x="0" y="72"/>
                  </a:lnTo>
                  <a:lnTo>
                    <a:pt x="0" y="76"/>
                  </a:lnTo>
                  <a:lnTo>
                    <a:pt x="9" y="84"/>
                  </a:lnTo>
                  <a:lnTo>
                    <a:pt x="17" y="92"/>
                  </a:lnTo>
                  <a:lnTo>
                    <a:pt x="14" y="114"/>
                  </a:lnTo>
                  <a:lnTo>
                    <a:pt x="35" y="107"/>
                  </a:lnTo>
                  <a:lnTo>
                    <a:pt x="54" y="100"/>
                  </a:lnTo>
                  <a:lnTo>
                    <a:pt x="49" y="100"/>
                  </a:lnTo>
                  <a:lnTo>
                    <a:pt x="69" y="98"/>
                  </a:lnTo>
                  <a:lnTo>
                    <a:pt x="60" y="98"/>
                  </a:lnTo>
                  <a:lnTo>
                    <a:pt x="72" y="97"/>
                  </a:lnTo>
                  <a:lnTo>
                    <a:pt x="81" y="98"/>
                  </a:lnTo>
                  <a:lnTo>
                    <a:pt x="84" y="101"/>
                  </a:lnTo>
                  <a:lnTo>
                    <a:pt x="89" y="97"/>
                  </a:lnTo>
                  <a:lnTo>
                    <a:pt x="86" y="83"/>
                  </a:lnTo>
                  <a:lnTo>
                    <a:pt x="83" y="70"/>
                  </a:lnTo>
                  <a:lnTo>
                    <a:pt x="89" y="58"/>
                  </a:lnTo>
                  <a:lnTo>
                    <a:pt x="93" y="44"/>
                  </a:lnTo>
                  <a:lnTo>
                    <a:pt x="91" y="22"/>
                  </a:lnTo>
                  <a:lnTo>
                    <a:pt x="77" y="13"/>
                  </a:lnTo>
                  <a:lnTo>
                    <a:pt x="62" y="18"/>
                  </a:lnTo>
                  <a:lnTo>
                    <a:pt x="53"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2" name="Freeform 119"/>
            <p:cNvSpPr>
              <a:spLocks/>
            </p:cNvSpPr>
            <p:nvPr/>
          </p:nvSpPr>
          <p:spPr bwMode="auto">
            <a:xfrm>
              <a:off x="2298" y="2505"/>
              <a:ext cx="53" cy="62"/>
            </a:xfrm>
            <a:custGeom>
              <a:avLst/>
              <a:gdLst/>
              <a:ahLst/>
              <a:cxnLst>
                <a:cxn ang="0">
                  <a:pos x="48" y="28"/>
                </a:cxn>
                <a:cxn ang="0">
                  <a:pos x="41" y="38"/>
                </a:cxn>
                <a:cxn ang="0">
                  <a:pos x="34" y="49"/>
                </a:cxn>
                <a:cxn ang="0">
                  <a:pos x="29" y="55"/>
                </a:cxn>
                <a:cxn ang="0">
                  <a:pos x="12" y="47"/>
                </a:cxn>
                <a:cxn ang="0">
                  <a:pos x="16" y="44"/>
                </a:cxn>
                <a:cxn ang="0">
                  <a:pos x="12" y="42"/>
                </a:cxn>
                <a:cxn ang="0">
                  <a:pos x="1" y="30"/>
                </a:cxn>
                <a:cxn ang="0">
                  <a:pos x="6" y="26"/>
                </a:cxn>
                <a:cxn ang="0">
                  <a:pos x="1" y="24"/>
                </a:cxn>
                <a:cxn ang="0">
                  <a:pos x="5" y="22"/>
                </a:cxn>
                <a:cxn ang="0">
                  <a:pos x="0" y="18"/>
                </a:cxn>
                <a:cxn ang="0">
                  <a:pos x="12" y="6"/>
                </a:cxn>
                <a:cxn ang="0">
                  <a:pos x="34" y="0"/>
                </a:cxn>
                <a:cxn ang="0">
                  <a:pos x="43" y="17"/>
                </a:cxn>
                <a:cxn ang="0">
                  <a:pos x="42" y="29"/>
                </a:cxn>
                <a:cxn ang="0">
                  <a:pos x="48" y="28"/>
                </a:cxn>
              </a:cxnLst>
              <a:rect l="0" t="0" r="r" b="b"/>
              <a:pathLst>
                <a:path w="48" h="55">
                  <a:moveTo>
                    <a:pt x="48" y="28"/>
                  </a:moveTo>
                  <a:lnTo>
                    <a:pt x="41" y="38"/>
                  </a:lnTo>
                  <a:lnTo>
                    <a:pt x="34" y="49"/>
                  </a:lnTo>
                  <a:lnTo>
                    <a:pt x="29" y="55"/>
                  </a:lnTo>
                  <a:lnTo>
                    <a:pt x="12" y="47"/>
                  </a:lnTo>
                  <a:lnTo>
                    <a:pt x="16" y="44"/>
                  </a:lnTo>
                  <a:lnTo>
                    <a:pt x="12" y="42"/>
                  </a:lnTo>
                  <a:lnTo>
                    <a:pt x="1" y="30"/>
                  </a:lnTo>
                  <a:lnTo>
                    <a:pt x="6" y="26"/>
                  </a:lnTo>
                  <a:lnTo>
                    <a:pt x="1" y="24"/>
                  </a:lnTo>
                  <a:lnTo>
                    <a:pt x="5" y="22"/>
                  </a:lnTo>
                  <a:lnTo>
                    <a:pt x="0" y="18"/>
                  </a:lnTo>
                  <a:lnTo>
                    <a:pt x="12" y="6"/>
                  </a:lnTo>
                  <a:lnTo>
                    <a:pt x="34" y="0"/>
                  </a:lnTo>
                  <a:lnTo>
                    <a:pt x="43" y="17"/>
                  </a:lnTo>
                  <a:lnTo>
                    <a:pt x="42" y="29"/>
                  </a:lnTo>
                  <a:lnTo>
                    <a:pt x="48" y="2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3" name="Freeform 120"/>
            <p:cNvSpPr>
              <a:spLocks/>
            </p:cNvSpPr>
            <p:nvPr/>
          </p:nvSpPr>
          <p:spPr bwMode="auto">
            <a:xfrm>
              <a:off x="2529" y="2483"/>
              <a:ext cx="31" cy="100"/>
            </a:xfrm>
            <a:custGeom>
              <a:avLst/>
              <a:gdLst/>
              <a:ahLst/>
              <a:cxnLst>
                <a:cxn ang="0">
                  <a:pos x="13" y="2"/>
                </a:cxn>
                <a:cxn ang="0">
                  <a:pos x="0" y="0"/>
                </a:cxn>
                <a:cxn ang="0">
                  <a:pos x="2" y="6"/>
                </a:cxn>
                <a:cxn ang="0">
                  <a:pos x="8" y="21"/>
                </a:cxn>
                <a:cxn ang="0">
                  <a:pos x="8" y="30"/>
                </a:cxn>
                <a:cxn ang="0">
                  <a:pos x="9" y="42"/>
                </a:cxn>
                <a:cxn ang="0">
                  <a:pos x="12" y="54"/>
                </a:cxn>
                <a:cxn ang="0">
                  <a:pos x="13" y="68"/>
                </a:cxn>
                <a:cxn ang="0">
                  <a:pos x="13" y="81"/>
                </a:cxn>
                <a:cxn ang="0">
                  <a:pos x="21" y="91"/>
                </a:cxn>
                <a:cxn ang="0">
                  <a:pos x="28" y="88"/>
                </a:cxn>
                <a:cxn ang="0">
                  <a:pos x="27" y="75"/>
                </a:cxn>
                <a:cxn ang="0">
                  <a:pos x="27" y="62"/>
                </a:cxn>
                <a:cxn ang="0">
                  <a:pos x="26" y="48"/>
                </a:cxn>
                <a:cxn ang="0">
                  <a:pos x="26" y="34"/>
                </a:cxn>
                <a:cxn ang="0">
                  <a:pos x="24" y="20"/>
                </a:cxn>
                <a:cxn ang="0">
                  <a:pos x="15" y="10"/>
                </a:cxn>
                <a:cxn ang="0">
                  <a:pos x="16" y="2"/>
                </a:cxn>
                <a:cxn ang="0">
                  <a:pos x="13" y="2"/>
                </a:cxn>
              </a:cxnLst>
              <a:rect l="0" t="0" r="r" b="b"/>
              <a:pathLst>
                <a:path w="28" h="91">
                  <a:moveTo>
                    <a:pt x="13" y="2"/>
                  </a:moveTo>
                  <a:lnTo>
                    <a:pt x="0" y="0"/>
                  </a:lnTo>
                  <a:lnTo>
                    <a:pt x="2" y="6"/>
                  </a:lnTo>
                  <a:lnTo>
                    <a:pt x="8" y="21"/>
                  </a:lnTo>
                  <a:lnTo>
                    <a:pt x="8" y="30"/>
                  </a:lnTo>
                  <a:lnTo>
                    <a:pt x="9" y="42"/>
                  </a:lnTo>
                  <a:lnTo>
                    <a:pt x="12" y="54"/>
                  </a:lnTo>
                  <a:lnTo>
                    <a:pt x="13" y="68"/>
                  </a:lnTo>
                  <a:lnTo>
                    <a:pt x="13" y="81"/>
                  </a:lnTo>
                  <a:lnTo>
                    <a:pt x="21" y="91"/>
                  </a:lnTo>
                  <a:lnTo>
                    <a:pt x="28" y="88"/>
                  </a:lnTo>
                  <a:lnTo>
                    <a:pt x="27" y="75"/>
                  </a:lnTo>
                  <a:lnTo>
                    <a:pt x="27" y="62"/>
                  </a:lnTo>
                  <a:lnTo>
                    <a:pt x="26" y="48"/>
                  </a:lnTo>
                  <a:lnTo>
                    <a:pt x="26" y="34"/>
                  </a:lnTo>
                  <a:lnTo>
                    <a:pt x="24" y="20"/>
                  </a:lnTo>
                  <a:lnTo>
                    <a:pt x="15" y="10"/>
                  </a:lnTo>
                  <a:lnTo>
                    <a:pt x="16" y="2"/>
                  </a:lnTo>
                  <a:lnTo>
                    <a:pt x="13"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4" name="Freeform 121"/>
            <p:cNvSpPr>
              <a:spLocks/>
            </p:cNvSpPr>
            <p:nvPr/>
          </p:nvSpPr>
          <p:spPr bwMode="auto">
            <a:xfrm>
              <a:off x="2382" y="1970"/>
              <a:ext cx="356" cy="353"/>
            </a:xfrm>
            <a:custGeom>
              <a:avLst/>
              <a:gdLst/>
              <a:ahLst/>
              <a:cxnLst>
                <a:cxn ang="0">
                  <a:pos x="0" y="165"/>
                </a:cxn>
                <a:cxn ang="0">
                  <a:pos x="15" y="182"/>
                </a:cxn>
                <a:cxn ang="0">
                  <a:pos x="44" y="202"/>
                </a:cxn>
                <a:cxn ang="0">
                  <a:pos x="71" y="222"/>
                </a:cxn>
                <a:cxn ang="0">
                  <a:pos x="93" y="240"/>
                </a:cxn>
                <a:cxn ang="0">
                  <a:pos x="116" y="256"/>
                </a:cxn>
                <a:cxn ang="0">
                  <a:pos x="140" y="274"/>
                </a:cxn>
                <a:cxn ang="0">
                  <a:pos x="151" y="289"/>
                </a:cxn>
                <a:cxn ang="0">
                  <a:pos x="181" y="304"/>
                </a:cxn>
                <a:cxn ang="0">
                  <a:pos x="199" y="318"/>
                </a:cxn>
                <a:cxn ang="0">
                  <a:pos x="224" y="313"/>
                </a:cxn>
                <a:cxn ang="0">
                  <a:pos x="249" y="288"/>
                </a:cxn>
                <a:cxn ang="0">
                  <a:pos x="284" y="264"/>
                </a:cxn>
                <a:cxn ang="0">
                  <a:pos x="319" y="240"/>
                </a:cxn>
                <a:cxn ang="0">
                  <a:pos x="294" y="223"/>
                </a:cxn>
                <a:cxn ang="0">
                  <a:pos x="278" y="193"/>
                </a:cxn>
                <a:cxn ang="0">
                  <a:pos x="284" y="165"/>
                </a:cxn>
                <a:cxn ang="0">
                  <a:pos x="277" y="123"/>
                </a:cxn>
                <a:cxn ang="0">
                  <a:pos x="275" y="103"/>
                </a:cxn>
                <a:cxn ang="0">
                  <a:pos x="258" y="73"/>
                </a:cxn>
                <a:cxn ang="0">
                  <a:pos x="253" y="42"/>
                </a:cxn>
                <a:cxn ang="0">
                  <a:pos x="258" y="4"/>
                </a:cxn>
                <a:cxn ang="0">
                  <a:pos x="237" y="0"/>
                </a:cxn>
                <a:cxn ang="0">
                  <a:pos x="209" y="2"/>
                </a:cxn>
                <a:cxn ang="0">
                  <a:pos x="175" y="2"/>
                </a:cxn>
                <a:cxn ang="0">
                  <a:pos x="137" y="14"/>
                </a:cxn>
                <a:cxn ang="0">
                  <a:pos x="114" y="25"/>
                </a:cxn>
                <a:cxn ang="0">
                  <a:pos x="104" y="36"/>
                </a:cxn>
                <a:cxn ang="0">
                  <a:pos x="108" y="62"/>
                </a:cxn>
                <a:cxn ang="0">
                  <a:pos x="114" y="84"/>
                </a:cxn>
                <a:cxn ang="0">
                  <a:pos x="78" y="92"/>
                </a:cxn>
                <a:cxn ang="0">
                  <a:pos x="67" y="111"/>
                </a:cxn>
                <a:cxn ang="0">
                  <a:pos x="42" y="124"/>
                </a:cxn>
                <a:cxn ang="0">
                  <a:pos x="17" y="138"/>
                </a:cxn>
              </a:cxnLst>
              <a:rect l="0" t="0" r="r" b="b"/>
              <a:pathLst>
                <a:path w="319" h="318">
                  <a:moveTo>
                    <a:pt x="3" y="144"/>
                  </a:moveTo>
                  <a:lnTo>
                    <a:pt x="0" y="165"/>
                  </a:lnTo>
                  <a:lnTo>
                    <a:pt x="0" y="172"/>
                  </a:lnTo>
                  <a:lnTo>
                    <a:pt x="15" y="182"/>
                  </a:lnTo>
                  <a:lnTo>
                    <a:pt x="30" y="193"/>
                  </a:lnTo>
                  <a:lnTo>
                    <a:pt x="44" y="202"/>
                  </a:lnTo>
                  <a:lnTo>
                    <a:pt x="59" y="213"/>
                  </a:lnTo>
                  <a:lnTo>
                    <a:pt x="71" y="222"/>
                  </a:lnTo>
                  <a:lnTo>
                    <a:pt x="81" y="230"/>
                  </a:lnTo>
                  <a:lnTo>
                    <a:pt x="93" y="240"/>
                  </a:lnTo>
                  <a:lnTo>
                    <a:pt x="105" y="248"/>
                  </a:lnTo>
                  <a:lnTo>
                    <a:pt x="116" y="256"/>
                  </a:lnTo>
                  <a:lnTo>
                    <a:pt x="128" y="266"/>
                  </a:lnTo>
                  <a:lnTo>
                    <a:pt x="140" y="274"/>
                  </a:lnTo>
                  <a:lnTo>
                    <a:pt x="151" y="283"/>
                  </a:lnTo>
                  <a:lnTo>
                    <a:pt x="151" y="289"/>
                  </a:lnTo>
                  <a:lnTo>
                    <a:pt x="159" y="295"/>
                  </a:lnTo>
                  <a:lnTo>
                    <a:pt x="181" y="304"/>
                  </a:lnTo>
                  <a:lnTo>
                    <a:pt x="182" y="318"/>
                  </a:lnTo>
                  <a:lnTo>
                    <a:pt x="199" y="318"/>
                  </a:lnTo>
                  <a:lnTo>
                    <a:pt x="212" y="315"/>
                  </a:lnTo>
                  <a:lnTo>
                    <a:pt x="224" y="313"/>
                  </a:lnTo>
                  <a:lnTo>
                    <a:pt x="236" y="300"/>
                  </a:lnTo>
                  <a:lnTo>
                    <a:pt x="249" y="288"/>
                  </a:lnTo>
                  <a:lnTo>
                    <a:pt x="266" y="276"/>
                  </a:lnTo>
                  <a:lnTo>
                    <a:pt x="284" y="264"/>
                  </a:lnTo>
                  <a:lnTo>
                    <a:pt x="301" y="252"/>
                  </a:lnTo>
                  <a:lnTo>
                    <a:pt x="319" y="240"/>
                  </a:lnTo>
                  <a:lnTo>
                    <a:pt x="312" y="225"/>
                  </a:lnTo>
                  <a:lnTo>
                    <a:pt x="294" y="223"/>
                  </a:lnTo>
                  <a:lnTo>
                    <a:pt x="288" y="207"/>
                  </a:lnTo>
                  <a:lnTo>
                    <a:pt x="278" y="193"/>
                  </a:lnTo>
                  <a:lnTo>
                    <a:pt x="285" y="186"/>
                  </a:lnTo>
                  <a:lnTo>
                    <a:pt x="284" y="165"/>
                  </a:lnTo>
                  <a:lnTo>
                    <a:pt x="284" y="145"/>
                  </a:lnTo>
                  <a:lnTo>
                    <a:pt x="277" y="123"/>
                  </a:lnTo>
                  <a:lnTo>
                    <a:pt x="278" y="120"/>
                  </a:lnTo>
                  <a:lnTo>
                    <a:pt x="275" y="103"/>
                  </a:lnTo>
                  <a:lnTo>
                    <a:pt x="270" y="86"/>
                  </a:lnTo>
                  <a:lnTo>
                    <a:pt x="258" y="73"/>
                  </a:lnTo>
                  <a:lnTo>
                    <a:pt x="246" y="55"/>
                  </a:lnTo>
                  <a:lnTo>
                    <a:pt x="253" y="42"/>
                  </a:lnTo>
                  <a:lnTo>
                    <a:pt x="259" y="28"/>
                  </a:lnTo>
                  <a:lnTo>
                    <a:pt x="258" y="4"/>
                  </a:lnTo>
                  <a:lnTo>
                    <a:pt x="261" y="0"/>
                  </a:lnTo>
                  <a:lnTo>
                    <a:pt x="237" y="0"/>
                  </a:lnTo>
                  <a:lnTo>
                    <a:pt x="225" y="0"/>
                  </a:lnTo>
                  <a:lnTo>
                    <a:pt x="209" y="2"/>
                  </a:lnTo>
                  <a:lnTo>
                    <a:pt x="192" y="2"/>
                  </a:lnTo>
                  <a:lnTo>
                    <a:pt x="175" y="2"/>
                  </a:lnTo>
                  <a:lnTo>
                    <a:pt x="156" y="8"/>
                  </a:lnTo>
                  <a:lnTo>
                    <a:pt x="137" y="14"/>
                  </a:lnTo>
                  <a:lnTo>
                    <a:pt x="128" y="18"/>
                  </a:lnTo>
                  <a:lnTo>
                    <a:pt x="114" y="25"/>
                  </a:lnTo>
                  <a:lnTo>
                    <a:pt x="101" y="32"/>
                  </a:lnTo>
                  <a:lnTo>
                    <a:pt x="104" y="36"/>
                  </a:lnTo>
                  <a:lnTo>
                    <a:pt x="105" y="49"/>
                  </a:lnTo>
                  <a:lnTo>
                    <a:pt x="108" y="62"/>
                  </a:lnTo>
                  <a:lnTo>
                    <a:pt x="117" y="79"/>
                  </a:lnTo>
                  <a:lnTo>
                    <a:pt x="114" y="84"/>
                  </a:lnTo>
                  <a:lnTo>
                    <a:pt x="98" y="85"/>
                  </a:lnTo>
                  <a:lnTo>
                    <a:pt x="78" y="92"/>
                  </a:lnTo>
                  <a:lnTo>
                    <a:pt x="78" y="103"/>
                  </a:lnTo>
                  <a:lnTo>
                    <a:pt x="67" y="111"/>
                  </a:lnTo>
                  <a:lnTo>
                    <a:pt x="56" y="118"/>
                  </a:lnTo>
                  <a:lnTo>
                    <a:pt x="42" y="124"/>
                  </a:lnTo>
                  <a:lnTo>
                    <a:pt x="29" y="130"/>
                  </a:lnTo>
                  <a:lnTo>
                    <a:pt x="17" y="138"/>
                  </a:lnTo>
                  <a:lnTo>
                    <a:pt x="3" y="14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5" name="Freeform 122"/>
            <p:cNvSpPr>
              <a:spLocks/>
            </p:cNvSpPr>
            <p:nvPr/>
          </p:nvSpPr>
          <p:spPr bwMode="auto">
            <a:xfrm>
              <a:off x="2289" y="2130"/>
              <a:ext cx="11" cy="11"/>
            </a:xfrm>
            <a:custGeom>
              <a:avLst/>
              <a:gdLst/>
              <a:ahLst/>
              <a:cxnLst>
                <a:cxn ang="0">
                  <a:pos x="9" y="0"/>
                </a:cxn>
                <a:cxn ang="0">
                  <a:pos x="8" y="7"/>
                </a:cxn>
                <a:cxn ang="0">
                  <a:pos x="0" y="9"/>
                </a:cxn>
                <a:cxn ang="0">
                  <a:pos x="9" y="0"/>
                </a:cxn>
              </a:cxnLst>
              <a:rect l="0" t="0" r="r" b="b"/>
              <a:pathLst>
                <a:path w="9" h="9">
                  <a:moveTo>
                    <a:pt x="9" y="0"/>
                  </a:moveTo>
                  <a:lnTo>
                    <a:pt x="8" y="7"/>
                  </a:lnTo>
                  <a:lnTo>
                    <a:pt x="0" y="9"/>
                  </a:lnTo>
                  <a:lnTo>
                    <a:pt x="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6" name="Freeform 123"/>
            <p:cNvSpPr>
              <a:spLocks/>
            </p:cNvSpPr>
            <p:nvPr/>
          </p:nvSpPr>
          <p:spPr bwMode="auto">
            <a:xfrm>
              <a:off x="2247" y="2136"/>
              <a:ext cx="9" cy="9"/>
            </a:xfrm>
            <a:custGeom>
              <a:avLst/>
              <a:gdLst/>
              <a:ahLst/>
              <a:cxnLst>
                <a:cxn ang="0">
                  <a:pos x="8" y="0"/>
                </a:cxn>
                <a:cxn ang="0">
                  <a:pos x="0" y="7"/>
                </a:cxn>
                <a:cxn ang="0">
                  <a:pos x="0" y="1"/>
                </a:cxn>
                <a:cxn ang="0">
                  <a:pos x="8" y="0"/>
                </a:cxn>
              </a:cxnLst>
              <a:rect l="0" t="0" r="r" b="b"/>
              <a:pathLst>
                <a:path w="8" h="7">
                  <a:moveTo>
                    <a:pt x="8" y="0"/>
                  </a:moveTo>
                  <a:lnTo>
                    <a:pt x="0" y="7"/>
                  </a:lnTo>
                  <a:lnTo>
                    <a:pt x="0" y="1"/>
                  </a:lnTo>
                  <a:lnTo>
                    <a:pt x="8"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7" name="Freeform 124"/>
            <p:cNvSpPr>
              <a:spLocks/>
            </p:cNvSpPr>
            <p:nvPr/>
          </p:nvSpPr>
          <p:spPr bwMode="auto">
            <a:xfrm>
              <a:off x="2262" y="2147"/>
              <a:ext cx="7" cy="3"/>
            </a:xfrm>
            <a:custGeom>
              <a:avLst/>
              <a:gdLst/>
              <a:ahLst/>
              <a:cxnLst>
                <a:cxn ang="0">
                  <a:pos x="6" y="0"/>
                </a:cxn>
                <a:cxn ang="0">
                  <a:pos x="5" y="4"/>
                </a:cxn>
                <a:cxn ang="0">
                  <a:pos x="0" y="0"/>
                </a:cxn>
                <a:cxn ang="0">
                  <a:pos x="6" y="0"/>
                </a:cxn>
              </a:cxnLst>
              <a:rect l="0" t="0" r="r" b="b"/>
              <a:pathLst>
                <a:path w="6" h="4">
                  <a:moveTo>
                    <a:pt x="6" y="0"/>
                  </a:moveTo>
                  <a:lnTo>
                    <a:pt x="5" y="4"/>
                  </a:lnTo>
                  <a:lnTo>
                    <a:pt x="0" y="0"/>
                  </a:lnTo>
                  <a:lnTo>
                    <a:pt x="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8" name="Freeform 125"/>
            <p:cNvSpPr>
              <a:spLocks/>
            </p:cNvSpPr>
            <p:nvPr/>
          </p:nvSpPr>
          <p:spPr bwMode="auto">
            <a:xfrm>
              <a:off x="2300" y="2121"/>
              <a:ext cx="7" cy="2"/>
            </a:xfrm>
            <a:custGeom>
              <a:avLst/>
              <a:gdLst/>
              <a:ahLst/>
              <a:cxnLst>
                <a:cxn ang="0">
                  <a:pos x="4" y="3"/>
                </a:cxn>
                <a:cxn ang="0">
                  <a:pos x="6" y="0"/>
                </a:cxn>
                <a:cxn ang="0">
                  <a:pos x="0" y="3"/>
                </a:cxn>
                <a:cxn ang="0">
                  <a:pos x="4" y="3"/>
                </a:cxn>
              </a:cxnLst>
              <a:rect l="0" t="0" r="r" b="b"/>
              <a:pathLst>
                <a:path w="6" h="3">
                  <a:moveTo>
                    <a:pt x="4" y="3"/>
                  </a:moveTo>
                  <a:lnTo>
                    <a:pt x="6" y="0"/>
                  </a:lnTo>
                  <a:lnTo>
                    <a:pt x="0" y="3"/>
                  </a:lnTo>
                  <a:lnTo>
                    <a:pt x="4"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9" name="Freeform 126"/>
            <p:cNvSpPr>
              <a:spLocks/>
            </p:cNvSpPr>
            <p:nvPr/>
          </p:nvSpPr>
          <p:spPr bwMode="auto">
            <a:xfrm>
              <a:off x="2109" y="2374"/>
              <a:ext cx="4" cy="2"/>
            </a:xfrm>
            <a:custGeom>
              <a:avLst/>
              <a:gdLst/>
              <a:ahLst/>
              <a:cxnLst>
                <a:cxn ang="0">
                  <a:pos x="3" y="1"/>
                </a:cxn>
                <a:cxn ang="0">
                  <a:pos x="1" y="1"/>
                </a:cxn>
                <a:cxn ang="0">
                  <a:pos x="0" y="0"/>
                </a:cxn>
                <a:cxn ang="0">
                  <a:pos x="3" y="1"/>
                </a:cxn>
              </a:cxnLst>
              <a:rect l="0" t="0" r="r" b="b"/>
              <a:pathLst>
                <a:path w="3" h="1">
                  <a:moveTo>
                    <a:pt x="3" y="1"/>
                  </a:moveTo>
                  <a:lnTo>
                    <a:pt x="1" y="1"/>
                  </a:lnTo>
                  <a:lnTo>
                    <a:pt x="0" y="0"/>
                  </a:lnTo>
                  <a:lnTo>
                    <a:pt x="3"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0" name="Rectangle 127"/>
            <p:cNvSpPr>
              <a:spLocks noChangeArrowheads="1"/>
            </p:cNvSpPr>
            <p:nvPr/>
          </p:nvSpPr>
          <p:spPr bwMode="auto">
            <a:xfrm>
              <a:off x="2442" y="1983"/>
              <a:ext cx="0" cy="2"/>
            </a:xfrm>
            <a:prstGeom prst="rect">
              <a:avLst/>
            </a:prstGeom>
            <a:grpFill/>
            <a:ln w="3175">
              <a:solidFill>
                <a:srgbClr val="FFFFFF"/>
              </a:solidFill>
              <a:miter lim="800000"/>
              <a:headEnd/>
              <a:tailEnd/>
            </a:ln>
            <a:effectLst/>
          </p:spPr>
          <p:txBody>
            <a:bodyPr/>
            <a:lstStyle/>
            <a:p>
              <a:pPr>
                <a:lnSpc>
                  <a:spcPct val="90000"/>
                </a:lnSpc>
                <a:buClr>
                  <a:srgbClr val="B40646"/>
                </a:buClr>
                <a:defRPr/>
              </a:pPr>
              <a:endParaRPr lang="en-GB" dirty="0">
                <a:solidFill>
                  <a:srgbClr val="000000"/>
                </a:solidFill>
              </a:endParaRPr>
            </a:p>
          </p:txBody>
        </p:sp>
        <p:sp>
          <p:nvSpPr>
            <p:cNvPr id="131" name="Freeform 128"/>
            <p:cNvSpPr>
              <a:spLocks/>
            </p:cNvSpPr>
            <p:nvPr/>
          </p:nvSpPr>
          <p:spPr bwMode="auto">
            <a:xfrm>
              <a:off x="2691" y="2043"/>
              <a:ext cx="273" cy="273"/>
            </a:xfrm>
            <a:custGeom>
              <a:avLst/>
              <a:gdLst/>
              <a:ahLst/>
              <a:cxnLst>
                <a:cxn ang="0">
                  <a:pos x="230" y="245"/>
                </a:cxn>
                <a:cxn ang="0">
                  <a:pos x="230" y="236"/>
                </a:cxn>
                <a:cxn ang="0">
                  <a:pos x="246" y="236"/>
                </a:cxn>
                <a:cxn ang="0">
                  <a:pos x="245" y="218"/>
                </a:cxn>
                <a:cxn ang="0">
                  <a:pos x="245" y="200"/>
                </a:cxn>
                <a:cxn ang="0">
                  <a:pos x="244" y="183"/>
                </a:cxn>
                <a:cxn ang="0">
                  <a:pos x="242" y="167"/>
                </a:cxn>
                <a:cxn ang="0">
                  <a:pos x="241" y="150"/>
                </a:cxn>
                <a:cxn ang="0">
                  <a:pos x="240" y="133"/>
                </a:cxn>
                <a:cxn ang="0">
                  <a:pos x="239" y="116"/>
                </a:cxn>
                <a:cxn ang="0">
                  <a:pos x="238" y="99"/>
                </a:cxn>
                <a:cxn ang="0">
                  <a:pos x="236" y="83"/>
                </a:cxn>
                <a:cxn ang="0">
                  <a:pos x="235" y="65"/>
                </a:cxn>
                <a:cxn ang="0">
                  <a:pos x="235" y="51"/>
                </a:cxn>
                <a:cxn ang="0">
                  <a:pos x="234" y="38"/>
                </a:cxn>
                <a:cxn ang="0">
                  <a:pos x="236" y="26"/>
                </a:cxn>
                <a:cxn ang="0">
                  <a:pos x="228" y="20"/>
                </a:cxn>
                <a:cxn ang="0">
                  <a:pos x="205" y="14"/>
                </a:cxn>
                <a:cxn ang="0">
                  <a:pos x="202" y="8"/>
                </a:cxn>
                <a:cxn ang="0">
                  <a:pos x="182" y="3"/>
                </a:cxn>
                <a:cxn ang="0">
                  <a:pos x="170" y="11"/>
                </a:cxn>
                <a:cxn ang="0">
                  <a:pos x="160" y="18"/>
                </a:cxn>
                <a:cxn ang="0">
                  <a:pos x="161" y="42"/>
                </a:cxn>
                <a:cxn ang="0">
                  <a:pos x="145" y="51"/>
                </a:cxn>
                <a:cxn ang="0">
                  <a:pos x="127" y="43"/>
                </a:cxn>
                <a:cxn ang="0">
                  <a:pos x="110" y="35"/>
                </a:cxn>
                <a:cxn ang="0">
                  <a:pos x="92" y="30"/>
                </a:cxn>
                <a:cxn ang="0">
                  <a:pos x="85" y="13"/>
                </a:cxn>
                <a:cxn ang="0">
                  <a:pos x="68" y="9"/>
                </a:cxn>
                <a:cxn ang="0">
                  <a:pos x="52" y="5"/>
                </a:cxn>
                <a:cxn ang="0">
                  <a:pos x="30" y="0"/>
                </a:cxn>
                <a:cxn ang="0">
                  <a:pos x="29" y="14"/>
                </a:cxn>
                <a:cxn ang="0">
                  <a:pos x="19" y="23"/>
                </a:cxn>
                <a:cxn ang="0">
                  <a:pos x="10" y="31"/>
                </a:cxn>
                <a:cxn ang="0">
                  <a:pos x="10" y="45"/>
                </a:cxn>
                <a:cxn ang="0">
                  <a:pos x="1" y="53"/>
                </a:cxn>
                <a:cxn ang="0">
                  <a:pos x="0" y="56"/>
                </a:cxn>
                <a:cxn ang="0">
                  <a:pos x="7" y="78"/>
                </a:cxn>
                <a:cxn ang="0">
                  <a:pos x="7" y="98"/>
                </a:cxn>
                <a:cxn ang="0">
                  <a:pos x="8" y="119"/>
                </a:cxn>
                <a:cxn ang="0">
                  <a:pos x="1" y="126"/>
                </a:cxn>
                <a:cxn ang="0">
                  <a:pos x="11" y="140"/>
                </a:cxn>
                <a:cxn ang="0">
                  <a:pos x="17" y="156"/>
                </a:cxn>
                <a:cxn ang="0">
                  <a:pos x="35" y="158"/>
                </a:cxn>
                <a:cxn ang="0">
                  <a:pos x="42" y="173"/>
                </a:cxn>
                <a:cxn ang="0">
                  <a:pos x="64" y="179"/>
                </a:cxn>
                <a:cxn ang="0">
                  <a:pos x="77" y="189"/>
                </a:cxn>
                <a:cxn ang="0">
                  <a:pos x="88" y="182"/>
                </a:cxn>
                <a:cxn ang="0">
                  <a:pos x="104" y="173"/>
                </a:cxn>
                <a:cxn ang="0">
                  <a:pos x="120" y="182"/>
                </a:cxn>
                <a:cxn ang="0">
                  <a:pos x="136" y="191"/>
                </a:cxn>
                <a:cxn ang="0">
                  <a:pos x="151" y="200"/>
                </a:cxn>
                <a:cxn ang="0">
                  <a:pos x="167" y="209"/>
                </a:cxn>
                <a:cxn ang="0">
                  <a:pos x="182" y="218"/>
                </a:cxn>
                <a:cxn ang="0">
                  <a:pos x="199" y="227"/>
                </a:cxn>
                <a:cxn ang="0">
                  <a:pos x="215" y="236"/>
                </a:cxn>
                <a:cxn ang="0">
                  <a:pos x="230" y="245"/>
                </a:cxn>
              </a:cxnLst>
              <a:rect l="0" t="0" r="r" b="b"/>
              <a:pathLst>
                <a:path w="246" h="245">
                  <a:moveTo>
                    <a:pt x="230" y="245"/>
                  </a:moveTo>
                  <a:lnTo>
                    <a:pt x="230" y="236"/>
                  </a:lnTo>
                  <a:lnTo>
                    <a:pt x="246" y="236"/>
                  </a:lnTo>
                  <a:lnTo>
                    <a:pt x="245" y="218"/>
                  </a:lnTo>
                  <a:lnTo>
                    <a:pt x="245" y="200"/>
                  </a:lnTo>
                  <a:lnTo>
                    <a:pt x="244" y="183"/>
                  </a:lnTo>
                  <a:lnTo>
                    <a:pt x="242" y="167"/>
                  </a:lnTo>
                  <a:lnTo>
                    <a:pt x="241" y="150"/>
                  </a:lnTo>
                  <a:lnTo>
                    <a:pt x="240" y="133"/>
                  </a:lnTo>
                  <a:lnTo>
                    <a:pt x="239" y="116"/>
                  </a:lnTo>
                  <a:lnTo>
                    <a:pt x="238" y="99"/>
                  </a:lnTo>
                  <a:lnTo>
                    <a:pt x="236" y="83"/>
                  </a:lnTo>
                  <a:lnTo>
                    <a:pt x="235" y="65"/>
                  </a:lnTo>
                  <a:lnTo>
                    <a:pt x="235" y="51"/>
                  </a:lnTo>
                  <a:lnTo>
                    <a:pt x="234" y="38"/>
                  </a:lnTo>
                  <a:lnTo>
                    <a:pt x="236" y="26"/>
                  </a:lnTo>
                  <a:lnTo>
                    <a:pt x="228" y="20"/>
                  </a:lnTo>
                  <a:lnTo>
                    <a:pt x="205" y="14"/>
                  </a:lnTo>
                  <a:lnTo>
                    <a:pt x="202" y="8"/>
                  </a:lnTo>
                  <a:lnTo>
                    <a:pt x="182" y="3"/>
                  </a:lnTo>
                  <a:lnTo>
                    <a:pt x="170" y="11"/>
                  </a:lnTo>
                  <a:lnTo>
                    <a:pt x="160" y="18"/>
                  </a:lnTo>
                  <a:lnTo>
                    <a:pt x="161" y="42"/>
                  </a:lnTo>
                  <a:lnTo>
                    <a:pt x="145" y="51"/>
                  </a:lnTo>
                  <a:lnTo>
                    <a:pt x="127" y="43"/>
                  </a:lnTo>
                  <a:lnTo>
                    <a:pt x="110" y="35"/>
                  </a:lnTo>
                  <a:lnTo>
                    <a:pt x="92" y="30"/>
                  </a:lnTo>
                  <a:lnTo>
                    <a:pt x="85" y="13"/>
                  </a:lnTo>
                  <a:lnTo>
                    <a:pt x="68" y="9"/>
                  </a:lnTo>
                  <a:lnTo>
                    <a:pt x="52" y="5"/>
                  </a:lnTo>
                  <a:lnTo>
                    <a:pt x="30" y="0"/>
                  </a:lnTo>
                  <a:lnTo>
                    <a:pt x="29" y="14"/>
                  </a:lnTo>
                  <a:lnTo>
                    <a:pt x="19" y="23"/>
                  </a:lnTo>
                  <a:lnTo>
                    <a:pt x="10" y="31"/>
                  </a:lnTo>
                  <a:lnTo>
                    <a:pt x="10" y="45"/>
                  </a:lnTo>
                  <a:lnTo>
                    <a:pt x="1" y="53"/>
                  </a:lnTo>
                  <a:lnTo>
                    <a:pt x="0" y="56"/>
                  </a:lnTo>
                  <a:lnTo>
                    <a:pt x="7" y="78"/>
                  </a:lnTo>
                  <a:lnTo>
                    <a:pt x="7" y="98"/>
                  </a:lnTo>
                  <a:lnTo>
                    <a:pt x="8" y="119"/>
                  </a:lnTo>
                  <a:lnTo>
                    <a:pt x="1" y="126"/>
                  </a:lnTo>
                  <a:lnTo>
                    <a:pt x="11" y="140"/>
                  </a:lnTo>
                  <a:lnTo>
                    <a:pt x="17" y="156"/>
                  </a:lnTo>
                  <a:lnTo>
                    <a:pt x="35" y="158"/>
                  </a:lnTo>
                  <a:lnTo>
                    <a:pt x="42" y="173"/>
                  </a:lnTo>
                  <a:lnTo>
                    <a:pt x="64" y="179"/>
                  </a:lnTo>
                  <a:lnTo>
                    <a:pt x="77" y="189"/>
                  </a:lnTo>
                  <a:lnTo>
                    <a:pt x="88" y="182"/>
                  </a:lnTo>
                  <a:lnTo>
                    <a:pt x="104" y="173"/>
                  </a:lnTo>
                  <a:lnTo>
                    <a:pt x="120" y="182"/>
                  </a:lnTo>
                  <a:lnTo>
                    <a:pt x="136" y="191"/>
                  </a:lnTo>
                  <a:lnTo>
                    <a:pt x="151" y="200"/>
                  </a:lnTo>
                  <a:lnTo>
                    <a:pt x="167" y="209"/>
                  </a:lnTo>
                  <a:lnTo>
                    <a:pt x="182" y="218"/>
                  </a:lnTo>
                  <a:lnTo>
                    <a:pt x="199" y="227"/>
                  </a:lnTo>
                  <a:lnTo>
                    <a:pt x="215" y="236"/>
                  </a:lnTo>
                  <a:lnTo>
                    <a:pt x="230" y="24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2" name="Freeform 129"/>
            <p:cNvSpPr>
              <a:spLocks/>
            </p:cNvSpPr>
            <p:nvPr/>
          </p:nvSpPr>
          <p:spPr bwMode="auto">
            <a:xfrm>
              <a:off x="2318" y="2207"/>
              <a:ext cx="286" cy="296"/>
            </a:xfrm>
            <a:custGeom>
              <a:avLst/>
              <a:gdLst/>
              <a:ahLst/>
              <a:cxnLst>
                <a:cxn ang="0">
                  <a:pos x="56" y="250"/>
                </a:cxn>
                <a:cxn ang="0">
                  <a:pos x="66" y="267"/>
                </a:cxn>
                <a:cxn ang="0">
                  <a:pos x="79" y="265"/>
                </a:cxn>
                <a:cxn ang="0">
                  <a:pos x="92" y="257"/>
                </a:cxn>
                <a:cxn ang="0">
                  <a:pos x="106" y="262"/>
                </a:cxn>
                <a:cxn ang="0">
                  <a:pos x="114" y="234"/>
                </a:cxn>
                <a:cxn ang="0">
                  <a:pos x="126" y="219"/>
                </a:cxn>
                <a:cxn ang="0">
                  <a:pos x="138" y="213"/>
                </a:cxn>
                <a:cxn ang="0">
                  <a:pos x="144" y="204"/>
                </a:cxn>
                <a:cxn ang="0">
                  <a:pos x="160" y="195"/>
                </a:cxn>
                <a:cxn ang="0">
                  <a:pos x="181" y="178"/>
                </a:cxn>
                <a:cxn ang="0">
                  <a:pos x="198" y="180"/>
                </a:cxn>
                <a:cxn ang="0">
                  <a:pos x="230" y="174"/>
                </a:cxn>
                <a:cxn ang="0">
                  <a:pos x="256" y="157"/>
                </a:cxn>
                <a:cxn ang="0">
                  <a:pos x="257" y="131"/>
                </a:cxn>
                <a:cxn ang="0">
                  <a:pos x="258" y="105"/>
                </a:cxn>
                <a:cxn ang="0">
                  <a:pos x="240" y="91"/>
                </a:cxn>
                <a:cxn ang="0">
                  <a:pos x="210" y="76"/>
                </a:cxn>
                <a:cxn ang="0">
                  <a:pos x="199" y="61"/>
                </a:cxn>
                <a:cxn ang="0">
                  <a:pos x="175" y="43"/>
                </a:cxn>
                <a:cxn ang="0">
                  <a:pos x="152" y="27"/>
                </a:cxn>
                <a:cxn ang="0">
                  <a:pos x="130" y="9"/>
                </a:cxn>
                <a:cxn ang="0">
                  <a:pos x="104" y="0"/>
                </a:cxn>
                <a:cxn ang="0">
                  <a:pos x="92" y="19"/>
                </a:cxn>
                <a:cxn ang="0">
                  <a:pos x="96" y="58"/>
                </a:cxn>
                <a:cxn ang="0">
                  <a:pos x="100" y="95"/>
                </a:cxn>
                <a:cxn ang="0">
                  <a:pos x="102" y="133"/>
                </a:cxn>
                <a:cxn ang="0">
                  <a:pos x="108" y="156"/>
                </a:cxn>
                <a:cxn ang="0">
                  <a:pos x="91" y="171"/>
                </a:cxn>
                <a:cxn ang="0">
                  <a:pos x="61" y="171"/>
                </a:cxn>
                <a:cxn ang="0">
                  <a:pos x="44" y="169"/>
                </a:cxn>
                <a:cxn ang="0">
                  <a:pos x="19" y="175"/>
                </a:cxn>
                <a:cxn ang="0">
                  <a:pos x="2" y="185"/>
                </a:cxn>
                <a:cxn ang="0">
                  <a:pos x="4" y="202"/>
                </a:cxn>
                <a:cxn ang="0">
                  <a:pos x="13" y="226"/>
                </a:cxn>
                <a:cxn ang="0">
                  <a:pos x="20" y="231"/>
                </a:cxn>
                <a:cxn ang="0">
                  <a:pos x="35" y="232"/>
                </a:cxn>
                <a:cxn ang="0">
                  <a:pos x="48" y="225"/>
                </a:cxn>
                <a:cxn ang="0">
                  <a:pos x="59" y="244"/>
                </a:cxn>
              </a:cxnLst>
              <a:rect l="0" t="0" r="r" b="b"/>
              <a:pathLst>
                <a:path w="258" h="267">
                  <a:moveTo>
                    <a:pt x="59" y="244"/>
                  </a:moveTo>
                  <a:lnTo>
                    <a:pt x="56" y="250"/>
                  </a:lnTo>
                  <a:lnTo>
                    <a:pt x="59" y="250"/>
                  </a:lnTo>
                  <a:lnTo>
                    <a:pt x="66" y="267"/>
                  </a:lnTo>
                  <a:lnTo>
                    <a:pt x="70" y="263"/>
                  </a:lnTo>
                  <a:lnTo>
                    <a:pt x="79" y="265"/>
                  </a:lnTo>
                  <a:lnTo>
                    <a:pt x="86" y="261"/>
                  </a:lnTo>
                  <a:lnTo>
                    <a:pt x="92" y="257"/>
                  </a:lnTo>
                  <a:lnTo>
                    <a:pt x="95" y="264"/>
                  </a:lnTo>
                  <a:lnTo>
                    <a:pt x="106" y="262"/>
                  </a:lnTo>
                  <a:lnTo>
                    <a:pt x="109" y="238"/>
                  </a:lnTo>
                  <a:lnTo>
                    <a:pt x="114" y="234"/>
                  </a:lnTo>
                  <a:lnTo>
                    <a:pt x="122" y="226"/>
                  </a:lnTo>
                  <a:lnTo>
                    <a:pt x="126" y="219"/>
                  </a:lnTo>
                  <a:lnTo>
                    <a:pt x="128" y="208"/>
                  </a:lnTo>
                  <a:lnTo>
                    <a:pt x="138" y="213"/>
                  </a:lnTo>
                  <a:lnTo>
                    <a:pt x="140" y="205"/>
                  </a:lnTo>
                  <a:lnTo>
                    <a:pt x="144" y="204"/>
                  </a:lnTo>
                  <a:lnTo>
                    <a:pt x="150" y="195"/>
                  </a:lnTo>
                  <a:lnTo>
                    <a:pt x="160" y="195"/>
                  </a:lnTo>
                  <a:lnTo>
                    <a:pt x="161" y="187"/>
                  </a:lnTo>
                  <a:lnTo>
                    <a:pt x="181" y="178"/>
                  </a:lnTo>
                  <a:lnTo>
                    <a:pt x="196" y="180"/>
                  </a:lnTo>
                  <a:lnTo>
                    <a:pt x="198" y="180"/>
                  </a:lnTo>
                  <a:lnTo>
                    <a:pt x="212" y="174"/>
                  </a:lnTo>
                  <a:lnTo>
                    <a:pt x="230" y="174"/>
                  </a:lnTo>
                  <a:lnTo>
                    <a:pt x="247" y="173"/>
                  </a:lnTo>
                  <a:lnTo>
                    <a:pt x="256" y="157"/>
                  </a:lnTo>
                  <a:lnTo>
                    <a:pt x="257" y="144"/>
                  </a:lnTo>
                  <a:lnTo>
                    <a:pt x="257" y="131"/>
                  </a:lnTo>
                  <a:lnTo>
                    <a:pt x="258" y="118"/>
                  </a:lnTo>
                  <a:lnTo>
                    <a:pt x="258" y="105"/>
                  </a:lnTo>
                  <a:lnTo>
                    <a:pt x="241" y="105"/>
                  </a:lnTo>
                  <a:lnTo>
                    <a:pt x="240" y="91"/>
                  </a:lnTo>
                  <a:lnTo>
                    <a:pt x="218" y="82"/>
                  </a:lnTo>
                  <a:lnTo>
                    <a:pt x="210" y="76"/>
                  </a:lnTo>
                  <a:lnTo>
                    <a:pt x="210" y="70"/>
                  </a:lnTo>
                  <a:lnTo>
                    <a:pt x="199" y="61"/>
                  </a:lnTo>
                  <a:lnTo>
                    <a:pt x="187" y="53"/>
                  </a:lnTo>
                  <a:lnTo>
                    <a:pt x="175" y="43"/>
                  </a:lnTo>
                  <a:lnTo>
                    <a:pt x="164" y="35"/>
                  </a:lnTo>
                  <a:lnTo>
                    <a:pt x="152" y="27"/>
                  </a:lnTo>
                  <a:lnTo>
                    <a:pt x="140" y="17"/>
                  </a:lnTo>
                  <a:lnTo>
                    <a:pt x="130" y="9"/>
                  </a:lnTo>
                  <a:lnTo>
                    <a:pt x="118" y="0"/>
                  </a:lnTo>
                  <a:lnTo>
                    <a:pt x="104" y="0"/>
                  </a:lnTo>
                  <a:lnTo>
                    <a:pt x="90" y="0"/>
                  </a:lnTo>
                  <a:lnTo>
                    <a:pt x="92" y="19"/>
                  </a:lnTo>
                  <a:lnTo>
                    <a:pt x="94" y="39"/>
                  </a:lnTo>
                  <a:lnTo>
                    <a:pt x="96" y="58"/>
                  </a:lnTo>
                  <a:lnTo>
                    <a:pt x="97" y="76"/>
                  </a:lnTo>
                  <a:lnTo>
                    <a:pt x="100" y="95"/>
                  </a:lnTo>
                  <a:lnTo>
                    <a:pt x="101" y="114"/>
                  </a:lnTo>
                  <a:lnTo>
                    <a:pt x="102" y="133"/>
                  </a:lnTo>
                  <a:lnTo>
                    <a:pt x="104" y="153"/>
                  </a:lnTo>
                  <a:lnTo>
                    <a:pt x="108" y="156"/>
                  </a:lnTo>
                  <a:lnTo>
                    <a:pt x="106" y="171"/>
                  </a:lnTo>
                  <a:lnTo>
                    <a:pt x="91" y="171"/>
                  </a:lnTo>
                  <a:lnTo>
                    <a:pt x="76" y="171"/>
                  </a:lnTo>
                  <a:lnTo>
                    <a:pt x="61" y="171"/>
                  </a:lnTo>
                  <a:lnTo>
                    <a:pt x="46" y="171"/>
                  </a:lnTo>
                  <a:lnTo>
                    <a:pt x="44" y="169"/>
                  </a:lnTo>
                  <a:lnTo>
                    <a:pt x="22" y="174"/>
                  </a:lnTo>
                  <a:lnTo>
                    <a:pt x="19" y="175"/>
                  </a:lnTo>
                  <a:lnTo>
                    <a:pt x="10" y="169"/>
                  </a:lnTo>
                  <a:lnTo>
                    <a:pt x="2" y="185"/>
                  </a:lnTo>
                  <a:lnTo>
                    <a:pt x="0" y="184"/>
                  </a:lnTo>
                  <a:lnTo>
                    <a:pt x="4" y="202"/>
                  </a:lnTo>
                  <a:lnTo>
                    <a:pt x="8" y="209"/>
                  </a:lnTo>
                  <a:lnTo>
                    <a:pt x="13" y="226"/>
                  </a:lnTo>
                  <a:lnTo>
                    <a:pt x="11" y="231"/>
                  </a:lnTo>
                  <a:lnTo>
                    <a:pt x="20" y="231"/>
                  </a:lnTo>
                  <a:lnTo>
                    <a:pt x="25" y="233"/>
                  </a:lnTo>
                  <a:lnTo>
                    <a:pt x="35" y="232"/>
                  </a:lnTo>
                  <a:lnTo>
                    <a:pt x="46" y="228"/>
                  </a:lnTo>
                  <a:lnTo>
                    <a:pt x="48" y="225"/>
                  </a:lnTo>
                  <a:lnTo>
                    <a:pt x="53" y="239"/>
                  </a:lnTo>
                  <a:lnTo>
                    <a:pt x="59" y="24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3" name="Freeform 130"/>
            <p:cNvSpPr>
              <a:spLocks/>
            </p:cNvSpPr>
            <p:nvPr/>
          </p:nvSpPr>
          <p:spPr bwMode="auto">
            <a:xfrm>
              <a:off x="2769" y="1987"/>
              <a:ext cx="4" cy="3"/>
            </a:xfrm>
            <a:custGeom>
              <a:avLst/>
              <a:gdLst/>
              <a:ahLst/>
              <a:cxnLst>
                <a:cxn ang="0">
                  <a:pos x="3" y="2"/>
                </a:cxn>
                <a:cxn ang="0">
                  <a:pos x="2" y="3"/>
                </a:cxn>
                <a:cxn ang="0">
                  <a:pos x="0" y="0"/>
                </a:cxn>
                <a:cxn ang="0">
                  <a:pos x="3" y="2"/>
                </a:cxn>
              </a:cxnLst>
              <a:rect l="0" t="0" r="r" b="b"/>
              <a:pathLst>
                <a:path w="3" h="3">
                  <a:moveTo>
                    <a:pt x="3" y="2"/>
                  </a:moveTo>
                  <a:lnTo>
                    <a:pt x="2" y="3"/>
                  </a:lnTo>
                  <a:lnTo>
                    <a:pt x="0" y="0"/>
                  </a:lnTo>
                  <a:lnTo>
                    <a:pt x="3"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4" name="Freeform 131"/>
            <p:cNvSpPr>
              <a:spLocks/>
            </p:cNvSpPr>
            <p:nvPr/>
          </p:nvSpPr>
          <p:spPr bwMode="auto">
            <a:xfrm>
              <a:off x="2236" y="2161"/>
              <a:ext cx="213" cy="251"/>
            </a:xfrm>
            <a:custGeom>
              <a:avLst/>
              <a:gdLst/>
              <a:ahLst/>
              <a:cxnLst>
                <a:cxn ang="0">
                  <a:pos x="9" y="195"/>
                </a:cxn>
                <a:cxn ang="0">
                  <a:pos x="6" y="202"/>
                </a:cxn>
                <a:cxn ang="0">
                  <a:pos x="11" y="180"/>
                </a:cxn>
                <a:cxn ang="0">
                  <a:pos x="14" y="159"/>
                </a:cxn>
                <a:cxn ang="0">
                  <a:pos x="9" y="142"/>
                </a:cxn>
                <a:cxn ang="0">
                  <a:pos x="11" y="123"/>
                </a:cxn>
                <a:cxn ang="0">
                  <a:pos x="1" y="112"/>
                </a:cxn>
                <a:cxn ang="0">
                  <a:pos x="0" y="117"/>
                </a:cxn>
                <a:cxn ang="0">
                  <a:pos x="2" y="107"/>
                </a:cxn>
                <a:cxn ang="0">
                  <a:pos x="17" y="107"/>
                </a:cxn>
                <a:cxn ang="0">
                  <a:pos x="32" y="107"/>
                </a:cxn>
                <a:cxn ang="0">
                  <a:pos x="48" y="107"/>
                </a:cxn>
                <a:cxn ang="0">
                  <a:pos x="63" y="107"/>
                </a:cxn>
                <a:cxn ang="0">
                  <a:pos x="63" y="92"/>
                </a:cxn>
                <a:cxn ang="0">
                  <a:pos x="63" y="77"/>
                </a:cxn>
                <a:cxn ang="0">
                  <a:pos x="79" y="69"/>
                </a:cxn>
                <a:cxn ang="0">
                  <a:pos x="80" y="46"/>
                </a:cxn>
                <a:cxn ang="0">
                  <a:pos x="80" y="23"/>
                </a:cxn>
                <a:cxn ang="0">
                  <a:pos x="93" y="23"/>
                </a:cxn>
                <a:cxn ang="0">
                  <a:pos x="107" y="23"/>
                </a:cxn>
                <a:cxn ang="0">
                  <a:pos x="119" y="23"/>
                </a:cxn>
                <a:cxn ang="0">
                  <a:pos x="132" y="23"/>
                </a:cxn>
                <a:cxn ang="0">
                  <a:pos x="132" y="0"/>
                </a:cxn>
                <a:cxn ang="0">
                  <a:pos x="147" y="10"/>
                </a:cxn>
                <a:cxn ang="0">
                  <a:pos x="162" y="21"/>
                </a:cxn>
                <a:cxn ang="0">
                  <a:pos x="176" y="30"/>
                </a:cxn>
                <a:cxn ang="0">
                  <a:pos x="191" y="41"/>
                </a:cxn>
                <a:cxn ang="0">
                  <a:pos x="177" y="41"/>
                </a:cxn>
                <a:cxn ang="0">
                  <a:pos x="163" y="41"/>
                </a:cxn>
                <a:cxn ang="0">
                  <a:pos x="165" y="60"/>
                </a:cxn>
                <a:cxn ang="0">
                  <a:pos x="167" y="80"/>
                </a:cxn>
                <a:cxn ang="0">
                  <a:pos x="169" y="99"/>
                </a:cxn>
                <a:cxn ang="0">
                  <a:pos x="170" y="117"/>
                </a:cxn>
                <a:cxn ang="0">
                  <a:pos x="173" y="136"/>
                </a:cxn>
                <a:cxn ang="0">
                  <a:pos x="174" y="155"/>
                </a:cxn>
                <a:cxn ang="0">
                  <a:pos x="175" y="174"/>
                </a:cxn>
                <a:cxn ang="0">
                  <a:pos x="177" y="194"/>
                </a:cxn>
                <a:cxn ang="0">
                  <a:pos x="181" y="197"/>
                </a:cxn>
                <a:cxn ang="0">
                  <a:pos x="179" y="212"/>
                </a:cxn>
                <a:cxn ang="0">
                  <a:pos x="164" y="212"/>
                </a:cxn>
                <a:cxn ang="0">
                  <a:pos x="149" y="212"/>
                </a:cxn>
                <a:cxn ang="0">
                  <a:pos x="134" y="212"/>
                </a:cxn>
                <a:cxn ang="0">
                  <a:pos x="119" y="212"/>
                </a:cxn>
                <a:cxn ang="0">
                  <a:pos x="117" y="210"/>
                </a:cxn>
                <a:cxn ang="0">
                  <a:pos x="95" y="215"/>
                </a:cxn>
                <a:cxn ang="0">
                  <a:pos x="92" y="216"/>
                </a:cxn>
                <a:cxn ang="0">
                  <a:pos x="83" y="210"/>
                </a:cxn>
                <a:cxn ang="0">
                  <a:pos x="75" y="226"/>
                </a:cxn>
                <a:cxn ang="0">
                  <a:pos x="73" y="225"/>
                </a:cxn>
                <a:cxn ang="0">
                  <a:pos x="61" y="213"/>
                </a:cxn>
                <a:cxn ang="0">
                  <a:pos x="49" y="200"/>
                </a:cxn>
                <a:cxn ang="0">
                  <a:pos x="35" y="191"/>
                </a:cxn>
                <a:cxn ang="0">
                  <a:pos x="23" y="192"/>
                </a:cxn>
                <a:cxn ang="0">
                  <a:pos x="9" y="195"/>
                </a:cxn>
              </a:cxnLst>
              <a:rect l="0" t="0" r="r" b="b"/>
              <a:pathLst>
                <a:path w="191" h="226">
                  <a:moveTo>
                    <a:pt x="9" y="195"/>
                  </a:moveTo>
                  <a:lnTo>
                    <a:pt x="6" y="202"/>
                  </a:lnTo>
                  <a:lnTo>
                    <a:pt x="11" y="180"/>
                  </a:lnTo>
                  <a:lnTo>
                    <a:pt x="14" y="159"/>
                  </a:lnTo>
                  <a:lnTo>
                    <a:pt x="9" y="142"/>
                  </a:lnTo>
                  <a:lnTo>
                    <a:pt x="11" y="123"/>
                  </a:lnTo>
                  <a:lnTo>
                    <a:pt x="1" y="112"/>
                  </a:lnTo>
                  <a:lnTo>
                    <a:pt x="0" y="117"/>
                  </a:lnTo>
                  <a:lnTo>
                    <a:pt x="2" y="107"/>
                  </a:lnTo>
                  <a:lnTo>
                    <a:pt x="17" y="107"/>
                  </a:lnTo>
                  <a:lnTo>
                    <a:pt x="32" y="107"/>
                  </a:lnTo>
                  <a:lnTo>
                    <a:pt x="48" y="107"/>
                  </a:lnTo>
                  <a:lnTo>
                    <a:pt x="63" y="107"/>
                  </a:lnTo>
                  <a:lnTo>
                    <a:pt x="63" y="92"/>
                  </a:lnTo>
                  <a:lnTo>
                    <a:pt x="63" y="77"/>
                  </a:lnTo>
                  <a:lnTo>
                    <a:pt x="79" y="69"/>
                  </a:lnTo>
                  <a:lnTo>
                    <a:pt x="80" y="46"/>
                  </a:lnTo>
                  <a:lnTo>
                    <a:pt x="80" y="23"/>
                  </a:lnTo>
                  <a:lnTo>
                    <a:pt x="93" y="23"/>
                  </a:lnTo>
                  <a:lnTo>
                    <a:pt x="107" y="23"/>
                  </a:lnTo>
                  <a:lnTo>
                    <a:pt x="119" y="23"/>
                  </a:lnTo>
                  <a:lnTo>
                    <a:pt x="132" y="23"/>
                  </a:lnTo>
                  <a:lnTo>
                    <a:pt x="132" y="0"/>
                  </a:lnTo>
                  <a:lnTo>
                    <a:pt x="147" y="10"/>
                  </a:lnTo>
                  <a:lnTo>
                    <a:pt x="162" y="21"/>
                  </a:lnTo>
                  <a:lnTo>
                    <a:pt x="176" y="30"/>
                  </a:lnTo>
                  <a:lnTo>
                    <a:pt x="191" y="41"/>
                  </a:lnTo>
                  <a:lnTo>
                    <a:pt x="177" y="41"/>
                  </a:lnTo>
                  <a:lnTo>
                    <a:pt x="163" y="41"/>
                  </a:lnTo>
                  <a:lnTo>
                    <a:pt x="165" y="60"/>
                  </a:lnTo>
                  <a:lnTo>
                    <a:pt x="167" y="80"/>
                  </a:lnTo>
                  <a:lnTo>
                    <a:pt x="169" y="99"/>
                  </a:lnTo>
                  <a:lnTo>
                    <a:pt x="170" y="117"/>
                  </a:lnTo>
                  <a:lnTo>
                    <a:pt x="173" y="136"/>
                  </a:lnTo>
                  <a:lnTo>
                    <a:pt x="174" y="155"/>
                  </a:lnTo>
                  <a:lnTo>
                    <a:pt x="175" y="174"/>
                  </a:lnTo>
                  <a:lnTo>
                    <a:pt x="177" y="194"/>
                  </a:lnTo>
                  <a:lnTo>
                    <a:pt x="181" y="197"/>
                  </a:lnTo>
                  <a:lnTo>
                    <a:pt x="179" y="212"/>
                  </a:lnTo>
                  <a:lnTo>
                    <a:pt x="164" y="212"/>
                  </a:lnTo>
                  <a:lnTo>
                    <a:pt x="149" y="212"/>
                  </a:lnTo>
                  <a:lnTo>
                    <a:pt x="134" y="212"/>
                  </a:lnTo>
                  <a:lnTo>
                    <a:pt x="119" y="212"/>
                  </a:lnTo>
                  <a:lnTo>
                    <a:pt x="117" y="210"/>
                  </a:lnTo>
                  <a:lnTo>
                    <a:pt x="95" y="215"/>
                  </a:lnTo>
                  <a:lnTo>
                    <a:pt x="92" y="216"/>
                  </a:lnTo>
                  <a:lnTo>
                    <a:pt x="83" y="210"/>
                  </a:lnTo>
                  <a:lnTo>
                    <a:pt x="75" y="226"/>
                  </a:lnTo>
                  <a:lnTo>
                    <a:pt x="73" y="225"/>
                  </a:lnTo>
                  <a:lnTo>
                    <a:pt x="61" y="213"/>
                  </a:lnTo>
                  <a:lnTo>
                    <a:pt x="49" y="200"/>
                  </a:lnTo>
                  <a:lnTo>
                    <a:pt x="35" y="191"/>
                  </a:lnTo>
                  <a:lnTo>
                    <a:pt x="23" y="192"/>
                  </a:lnTo>
                  <a:lnTo>
                    <a:pt x="9" y="19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5" name="Freeform 132"/>
            <p:cNvSpPr>
              <a:spLocks/>
            </p:cNvSpPr>
            <p:nvPr/>
          </p:nvSpPr>
          <p:spPr bwMode="auto">
            <a:xfrm>
              <a:off x="2307" y="1990"/>
              <a:ext cx="206" cy="164"/>
            </a:xfrm>
            <a:custGeom>
              <a:avLst/>
              <a:gdLst/>
              <a:ahLst/>
              <a:cxnLst>
                <a:cxn ang="0">
                  <a:pos x="96" y="36"/>
                </a:cxn>
                <a:cxn ang="0">
                  <a:pos x="82" y="45"/>
                </a:cxn>
                <a:cxn ang="0">
                  <a:pos x="69" y="54"/>
                </a:cxn>
                <a:cxn ang="0">
                  <a:pos x="60" y="68"/>
                </a:cxn>
                <a:cxn ang="0">
                  <a:pos x="53" y="81"/>
                </a:cxn>
                <a:cxn ang="0">
                  <a:pos x="56" y="98"/>
                </a:cxn>
                <a:cxn ang="0">
                  <a:pos x="48" y="110"/>
                </a:cxn>
                <a:cxn ang="0">
                  <a:pos x="41" y="123"/>
                </a:cxn>
                <a:cxn ang="0">
                  <a:pos x="29" y="132"/>
                </a:cxn>
                <a:cxn ang="0">
                  <a:pos x="17" y="140"/>
                </a:cxn>
                <a:cxn ang="0">
                  <a:pos x="0" y="147"/>
                </a:cxn>
                <a:cxn ang="0">
                  <a:pos x="17" y="147"/>
                </a:cxn>
                <a:cxn ang="0">
                  <a:pos x="35" y="147"/>
                </a:cxn>
                <a:cxn ang="0">
                  <a:pos x="52" y="147"/>
                </a:cxn>
                <a:cxn ang="0">
                  <a:pos x="69" y="147"/>
                </a:cxn>
                <a:cxn ang="0">
                  <a:pos x="72" y="126"/>
                </a:cxn>
                <a:cxn ang="0">
                  <a:pos x="86" y="120"/>
                </a:cxn>
                <a:cxn ang="0">
                  <a:pos x="98" y="112"/>
                </a:cxn>
                <a:cxn ang="0">
                  <a:pos x="111" y="106"/>
                </a:cxn>
                <a:cxn ang="0">
                  <a:pos x="125" y="100"/>
                </a:cxn>
                <a:cxn ang="0">
                  <a:pos x="136" y="93"/>
                </a:cxn>
                <a:cxn ang="0">
                  <a:pos x="147" y="85"/>
                </a:cxn>
                <a:cxn ang="0">
                  <a:pos x="147" y="74"/>
                </a:cxn>
                <a:cxn ang="0">
                  <a:pos x="167" y="67"/>
                </a:cxn>
                <a:cxn ang="0">
                  <a:pos x="183" y="66"/>
                </a:cxn>
                <a:cxn ang="0">
                  <a:pos x="186" y="61"/>
                </a:cxn>
                <a:cxn ang="0">
                  <a:pos x="177" y="44"/>
                </a:cxn>
                <a:cxn ang="0">
                  <a:pos x="174" y="31"/>
                </a:cxn>
                <a:cxn ang="0">
                  <a:pos x="173" y="18"/>
                </a:cxn>
                <a:cxn ang="0">
                  <a:pos x="170" y="14"/>
                </a:cxn>
                <a:cxn ang="0">
                  <a:pos x="159" y="10"/>
                </a:cxn>
                <a:cxn ang="0">
                  <a:pos x="154" y="12"/>
                </a:cxn>
                <a:cxn ang="0">
                  <a:pos x="129" y="9"/>
                </a:cxn>
                <a:cxn ang="0">
                  <a:pos x="120" y="0"/>
                </a:cxn>
                <a:cxn ang="0">
                  <a:pos x="112" y="7"/>
                </a:cxn>
                <a:cxn ang="0">
                  <a:pos x="105" y="21"/>
                </a:cxn>
                <a:cxn ang="0">
                  <a:pos x="96" y="36"/>
                </a:cxn>
              </a:cxnLst>
              <a:rect l="0" t="0" r="r" b="b"/>
              <a:pathLst>
                <a:path w="186" h="147">
                  <a:moveTo>
                    <a:pt x="96" y="36"/>
                  </a:moveTo>
                  <a:lnTo>
                    <a:pt x="82" y="45"/>
                  </a:lnTo>
                  <a:lnTo>
                    <a:pt x="69" y="54"/>
                  </a:lnTo>
                  <a:lnTo>
                    <a:pt x="60" y="68"/>
                  </a:lnTo>
                  <a:lnTo>
                    <a:pt x="53" y="81"/>
                  </a:lnTo>
                  <a:lnTo>
                    <a:pt x="56" y="98"/>
                  </a:lnTo>
                  <a:lnTo>
                    <a:pt x="48" y="110"/>
                  </a:lnTo>
                  <a:lnTo>
                    <a:pt x="41" y="123"/>
                  </a:lnTo>
                  <a:lnTo>
                    <a:pt x="29" y="132"/>
                  </a:lnTo>
                  <a:lnTo>
                    <a:pt x="17" y="140"/>
                  </a:lnTo>
                  <a:lnTo>
                    <a:pt x="0" y="147"/>
                  </a:lnTo>
                  <a:lnTo>
                    <a:pt x="17" y="147"/>
                  </a:lnTo>
                  <a:lnTo>
                    <a:pt x="35" y="147"/>
                  </a:lnTo>
                  <a:lnTo>
                    <a:pt x="52" y="147"/>
                  </a:lnTo>
                  <a:lnTo>
                    <a:pt x="69" y="147"/>
                  </a:lnTo>
                  <a:lnTo>
                    <a:pt x="72" y="126"/>
                  </a:lnTo>
                  <a:lnTo>
                    <a:pt x="86" y="120"/>
                  </a:lnTo>
                  <a:lnTo>
                    <a:pt x="98" y="112"/>
                  </a:lnTo>
                  <a:lnTo>
                    <a:pt x="111" y="106"/>
                  </a:lnTo>
                  <a:lnTo>
                    <a:pt x="125" y="100"/>
                  </a:lnTo>
                  <a:lnTo>
                    <a:pt x="136" y="93"/>
                  </a:lnTo>
                  <a:lnTo>
                    <a:pt x="147" y="85"/>
                  </a:lnTo>
                  <a:lnTo>
                    <a:pt x="147" y="74"/>
                  </a:lnTo>
                  <a:lnTo>
                    <a:pt x="167" y="67"/>
                  </a:lnTo>
                  <a:lnTo>
                    <a:pt x="183" y="66"/>
                  </a:lnTo>
                  <a:lnTo>
                    <a:pt x="186" y="61"/>
                  </a:lnTo>
                  <a:lnTo>
                    <a:pt x="177" y="44"/>
                  </a:lnTo>
                  <a:lnTo>
                    <a:pt x="174" y="31"/>
                  </a:lnTo>
                  <a:lnTo>
                    <a:pt x="173" y="18"/>
                  </a:lnTo>
                  <a:lnTo>
                    <a:pt x="170" y="14"/>
                  </a:lnTo>
                  <a:lnTo>
                    <a:pt x="159" y="10"/>
                  </a:lnTo>
                  <a:lnTo>
                    <a:pt x="154" y="12"/>
                  </a:lnTo>
                  <a:lnTo>
                    <a:pt x="129" y="9"/>
                  </a:lnTo>
                  <a:lnTo>
                    <a:pt x="120" y="0"/>
                  </a:lnTo>
                  <a:lnTo>
                    <a:pt x="112" y="7"/>
                  </a:lnTo>
                  <a:lnTo>
                    <a:pt x="105" y="21"/>
                  </a:lnTo>
                  <a:lnTo>
                    <a:pt x="96" y="3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6" name="Freeform 133"/>
            <p:cNvSpPr>
              <a:spLocks/>
            </p:cNvSpPr>
            <p:nvPr/>
          </p:nvSpPr>
          <p:spPr bwMode="auto">
            <a:xfrm>
              <a:off x="2536" y="2236"/>
              <a:ext cx="273" cy="236"/>
            </a:xfrm>
            <a:custGeom>
              <a:avLst/>
              <a:gdLst/>
              <a:ahLst/>
              <a:cxnLst>
                <a:cxn ang="0">
                  <a:pos x="27" y="194"/>
                </a:cxn>
                <a:cxn ang="0">
                  <a:pos x="21" y="195"/>
                </a:cxn>
                <a:cxn ang="0">
                  <a:pos x="12" y="188"/>
                </a:cxn>
                <a:cxn ang="0">
                  <a:pos x="12" y="182"/>
                </a:cxn>
                <a:cxn ang="0">
                  <a:pos x="14" y="181"/>
                </a:cxn>
                <a:cxn ang="0">
                  <a:pos x="2" y="168"/>
                </a:cxn>
                <a:cxn ang="0">
                  <a:pos x="0" y="153"/>
                </a:cxn>
                <a:cxn ang="0">
                  <a:pos x="2" y="153"/>
                </a:cxn>
                <a:cxn ang="0">
                  <a:pos x="16" y="147"/>
                </a:cxn>
                <a:cxn ang="0">
                  <a:pos x="34" y="147"/>
                </a:cxn>
                <a:cxn ang="0">
                  <a:pos x="51" y="146"/>
                </a:cxn>
                <a:cxn ang="0">
                  <a:pos x="60" y="130"/>
                </a:cxn>
                <a:cxn ang="0">
                  <a:pos x="61" y="117"/>
                </a:cxn>
                <a:cxn ang="0">
                  <a:pos x="61" y="104"/>
                </a:cxn>
                <a:cxn ang="0">
                  <a:pos x="62" y="91"/>
                </a:cxn>
                <a:cxn ang="0">
                  <a:pos x="62" y="78"/>
                </a:cxn>
                <a:cxn ang="0">
                  <a:pos x="75" y="75"/>
                </a:cxn>
                <a:cxn ang="0">
                  <a:pos x="87" y="73"/>
                </a:cxn>
                <a:cxn ang="0">
                  <a:pos x="99" y="60"/>
                </a:cxn>
                <a:cxn ang="0">
                  <a:pos x="112" y="48"/>
                </a:cxn>
                <a:cxn ang="0">
                  <a:pos x="129" y="36"/>
                </a:cxn>
                <a:cxn ang="0">
                  <a:pos x="147" y="24"/>
                </a:cxn>
                <a:cxn ang="0">
                  <a:pos x="164" y="12"/>
                </a:cxn>
                <a:cxn ang="0">
                  <a:pos x="182" y="0"/>
                </a:cxn>
                <a:cxn ang="0">
                  <a:pos x="204" y="6"/>
                </a:cxn>
                <a:cxn ang="0">
                  <a:pos x="217" y="16"/>
                </a:cxn>
                <a:cxn ang="0">
                  <a:pos x="228" y="9"/>
                </a:cxn>
                <a:cxn ang="0">
                  <a:pos x="229" y="9"/>
                </a:cxn>
                <a:cxn ang="0">
                  <a:pos x="230" y="22"/>
                </a:cxn>
                <a:cxn ang="0">
                  <a:pos x="232" y="36"/>
                </a:cxn>
                <a:cxn ang="0">
                  <a:pos x="246" y="56"/>
                </a:cxn>
                <a:cxn ang="0">
                  <a:pos x="242" y="64"/>
                </a:cxn>
                <a:cxn ang="0">
                  <a:pos x="241" y="78"/>
                </a:cxn>
                <a:cxn ang="0">
                  <a:pos x="240" y="91"/>
                </a:cxn>
                <a:cxn ang="0">
                  <a:pos x="240" y="105"/>
                </a:cxn>
                <a:cxn ang="0">
                  <a:pos x="238" y="118"/>
                </a:cxn>
                <a:cxn ang="0">
                  <a:pos x="231" y="129"/>
                </a:cxn>
                <a:cxn ang="0">
                  <a:pos x="224" y="140"/>
                </a:cxn>
                <a:cxn ang="0">
                  <a:pos x="217" y="151"/>
                </a:cxn>
                <a:cxn ang="0">
                  <a:pos x="210" y="162"/>
                </a:cxn>
                <a:cxn ang="0">
                  <a:pos x="211" y="176"/>
                </a:cxn>
                <a:cxn ang="0">
                  <a:pos x="193" y="186"/>
                </a:cxn>
                <a:cxn ang="0">
                  <a:pos x="177" y="184"/>
                </a:cxn>
                <a:cxn ang="0">
                  <a:pos x="160" y="183"/>
                </a:cxn>
                <a:cxn ang="0">
                  <a:pos x="142" y="192"/>
                </a:cxn>
                <a:cxn ang="0">
                  <a:pos x="132" y="187"/>
                </a:cxn>
                <a:cxn ang="0">
                  <a:pos x="120" y="182"/>
                </a:cxn>
                <a:cxn ang="0">
                  <a:pos x="103" y="187"/>
                </a:cxn>
                <a:cxn ang="0">
                  <a:pos x="92" y="176"/>
                </a:cxn>
                <a:cxn ang="0">
                  <a:pos x="76" y="175"/>
                </a:cxn>
                <a:cxn ang="0">
                  <a:pos x="62" y="180"/>
                </a:cxn>
                <a:cxn ang="0">
                  <a:pos x="58" y="193"/>
                </a:cxn>
                <a:cxn ang="0">
                  <a:pos x="54" y="205"/>
                </a:cxn>
                <a:cxn ang="0">
                  <a:pos x="52" y="212"/>
                </a:cxn>
                <a:cxn ang="0">
                  <a:pos x="39" y="200"/>
                </a:cxn>
                <a:cxn ang="0">
                  <a:pos x="34" y="206"/>
                </a:cxn>
                <a:cxn ang="0">
                  <a:pos x="34" y="208"/>
                </a:cxn>
                <a:cxn ang="0">
                  <a:pos x="31" y="199"/>
                </a:cxn>
                <a:cxn ang="0">
                  <a:pos x="27" y="194"/>
                </a:cxn>
              </a:cxnLst>
              <a:rect l="0" t="0" r="r" b="b"/>
              <a:pathLst>
                <a:path w="246" h="212">
                  <a:moveTo>
                    <a:pt x="27" y="194"/>
                  </a:moveTo>
                  <a:lnTo>
                    <a:pt x="21" y="195"/>
                  </a:lnTo>
                  <a:lnTo>
                    <a:pt x="12" y="188"/>
                  </a:lnTo>
                  <a:lnTo>
                    <a:pt x="12" y="182"/>
                  </a:lnTo>
                  <a:lnTo>
                    <a:pt x="14" y="181"/>
                  </a:lnTo>
                  <a:lnTo>
                    <a:pt x="2" y="168"/>
                  </a:lnTo>
                  <a:lnTo>
                    <a:pt x="0" y="153"/>
                  </a:lnTo>
                  <a:lnTo>
                    <a:pt x="2" y="153"/>
                  </a:lnTo>
                  <a:lnTo>
                    <a:pt x="16" y="147"/>
                  </a:lnTo>
                  <a:lnTo>
                    <a:pt x="34" y="147"/>
                  </a:lnTo>
                  <a:lnTo>
                    <a:pt x="51" y="146"/>
                  </a:lnTo>
                  <a:lnTo>
                    <a:pt x="60" y="130"/>
                  </a:lnTo>
                  <a:lnTo>
                    <a:pt x="61" y="117"/>
                  </a:lnTo>
                  <a:lnTo>
                    <a:pt x="61" y="104"/>
                  </a:lnTo>
                  <a:lnTo>
                    <a:pt x="62" y="91"/>
                  </a:lnTo>
                  <a:lnTo>
                    <a:pt x="62" y="78"/>
                  </a:lnTo>
                  <a:lnTo>
                    <a:pt x="75" y="75"/>
                  </a:lnTo>
                  <a:lnTo>
                    <a:pt x="87" y="73"/>
                  </a:lnTo>
                  <a:lnTo>
                    <a:pt x="99" y="60"/>
                  </a:lnTo>
                  <a:lnTo>
                    <a:pt x="112" y="48"/>
                  </a:lnTo>
                  <a:lnTo>
                    <a:pt x="129" y="36"/>
                  </a:lnTo>
                  <a:lnTo>
                    <a:pt x="147" y="24"/>
                  </a:lnTo>
                  <a:lnTo>
                    <a:pt x="164" y="12"/>
                  </a:lnTo>
                  <a:lnTo>
                    <a:pt x="182" y="0"/>
                  </a:lnTo>
                  <a:lnTo>
                    <a:pt x="204" y="6"/>
                  </a:lnTo>
                  <a:lnTo>
                    <a:pt x="217" y="16"/>
                  </a:lnTo>
                  <a:lnTo>
                    <a:pt x="228" y="9"/>
                  </a:lnTo>
                  <a:lnTo>
                    <a:pt x="229" y="9"/>
                  </a:lnTo>
                  <a:lnTo>
                    <a:pt x="230" y="22"/>
                  </a:lnTo>
                  <a:lnTo>
                    <a:pt x="232" y="36"/>
                  </a:lnTo>
                  <a:lnTo>
                    <a:pt x="246" y="56"/>
                  </a:lnTo>
                  <a:lnTo>
                    <a:pt x="242" y="64"/>
                  </a:lnTo>
                  <a:lnTo>
                    <a:pt x="241" y="78"/>
                  </a:lnTo>
                  <a:lnTo>
                    <a:pt x="240" y="91"/>
                  </a:lnTo>
                  <a:lnTo>
                    <a:pt x="240" y="105"/>
                  </a:lnTo>
                  <a:lnTo>
                    <a:pt x="238" y="118"/>
                  </a:lnTo>
                  <a:lnTo>
                    <a:pt x="231" y="129"/>
                  </a:lnTo>
                  <a:lnTo>
                    <a:pt x="224" y="140"/>
                  </a:lnTo>
                  <a:lnTo>
                    <a:pt x="217" y="151"/>
                  </a:lnTo>
                  <a:lnTo>
                    <a:pt x="210" y="162"/>
                  </a:lnTo>
                  <a:lnTo>
                    <a:pt x="211" y="176"/>
                  </a:lnTo>
                  <a:lnTo>
                    <a:pt x="193" y="186"/>
                  </a:lnTo>
                  <a:lnTo>
                    <a:pt x="177" y="184"/>
                  </a:lnTo>
                  <a:lnTo>
                    <a:pt x="160" y="183"/>
                  </a:lnTo>
                  <a:lnTo>
                    <a:pt x="142" y="192"/>
                  </a:lnTo>
                  <a:lnTo>
                    <a:pt x="132" y="187"/>
                  </a:lnTo>
                  <a:lnTo>
                    <a:pt x="120" y="182"/>
                  </a:lnTo>
                  <a:lnTo>
                    <a:pt x="103" y="187"/>
                  </a:lnTo>
                  <a:lnTo>
                    <a:pt x="92" y="176"/>
                  </a:lnTo>
                  <a:lnTo>
                    <a:pt x="76" y="175"/>
                  </a:lnTo>
                  <a:lnTo>
                    <a:pt x="62" y="180"/>
                  </a:lnTo>
                  <a:lnTo>
                    <a:pt x="58" y="193"/>
                  </a:lnTo>
                  <a:lnTo>
                    <a:pt x="54" y="205"/>
                  </a:lnTo>
                  <a:lnTo>
                    <a:pt x="52" y="212"/>
                  </a:lnTo>
                  <a:lnTo>
                    <a:pt x="39" y="200"/>
                  </a:lnTo>
                  <a:lnTo>
                    <a:pt x="34" y="206"/>
                  </a:lnTo>
                  <a:lnTo>
                    <a:pt x="34" y="208"/>
                  </a:lnTo>
                  <a:lnTo>
                    <a:pt x="31" y="199"/>
                  </a:lnTo>
                  <a:lnTo>
                    <a:pt x="27" y="19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7" name="Freeform 134"/>
            <p:cNvSpPr>
              <a:spLocks/>
            </p:cNvSpPr>
            <p:nvPr/>
          </p:nvSpPr>
          <p:spPr bwMode="auto">
            <a:xfrm>
              <a:off x="2227" y="2374"/>
              <a:ext cx="106" cy="87"/>
            </a:xfrm>
            <a:custGeom>
              <a:avLst/>
              <a:gdLst/>
              <a:ahLst/>
              <a:cxnLst>
                <a:cxn ang="0">
                  <a:pos x="18" y="4"/>
                </a:cxn>
                <a:cxn ang="0">
                  <a:pos x="15" y="11"/>
                </a:cxn>
                <a:cxn ang="0">
                  <a:pos x="8" y="23"/>
                </a:cxn>
                <a:cxn ang="0">
                  <a:pos x="0" y="35"/>
                </a:cxn>
                <a:cxn ang="0">
                  <a:pos x="10" y="48"/>
                </a:cxn>
                <a:cxn ang="0">
                  <a:pos x="15" y="45"/>
                </a:cxn>
                <a:cxn ang="0">
                  <a:pos x="11" y="48"/>
                </a:cxn>
                <a:cxn ang="0">
                  <a:pos x="14" y="49"/>
                </a:cxn>
                <a:cxn ang="0">
                  <a:pos x="14" y="55"/>
                </a:cxn>
                <a:cxn ang="0">
                  <a:pos x="30" y="55"/>
                </a:cxn>
                <a:cxn ang="0">
                  <a:pos x="33" y="52"/>
                </a:cxn>
                <a:cxn ang="0">
                  <a:pos x="52" y="55"/>
                </a:cxn>
                <a:cxn ang="0">
                  <a:pos x="56" y="60"/>
                </a:cxn>
                <a:cxn ang="0">
                  <a:pos x="35" y="55"/>
                </a:cxn>
                <a:cxn ang="0">
                  <a:pos x="23" y="60"/>
                </a:cxn>
                <a:cxn ang="0">
                  <a:pos x="10" y="64"/>
                </a:cxn>
                <a:cxn ang="0">
                  <a:pos x="12" y="72"/>
                </a:cxn>
                <a:cxn ang="0">
                  <a:pos x="23" y="71"/>
                </a:cxn>
                <a:cxn ang="0">
                  <a:pos x="29" y="69"/>
                </a:cxn>
                <a:cxn ang="0">
                  <a:pos x="29" y="71"/>
                </a:cxn>
                <a:cxn ang="0">
                  <a:pos x="15" y="72"/>
                </a:cxn>
                <a:cxn ang="0">
                  <a:pos x="11" y="78"/>
                </a:cxn>
                <a:cxn ang="0">
                  <a:pos x="32" y="73"/>
                </a:cxn>
                <a:cxn ang="0">
                  <a:pos x="45" y="72"/>
                </a:cxn>
                <a:cxn ang="0">
                  <a:pos x="58" y="71"/>
                </a:cxn>
                <a:cxn ang="0">
                  <a:pos x="72" y="75"/>
                </a:cxn>
                <a:cxn ang="0">
                  <a:pos x="95" y="76"/>
                </a:cxn>
                <a:cxn ang="0">
                  <a:pos x="90" y="59"/>
                </a:cxn>
                <a:cxn ang="0">
                  <a:pos x="86" y="52"/>
                </a:cxn>
                <a:cxn ang="0">
                  <a:pos x="82" y="34"/>
                </a:cxn>
                <a:cxn ang="0">
                  <a:pos x="70" y="22"/>
                </a:cxn>
                <a:cxn ang="0">
                  <a:pos x="58" y="9"/>
                </a:cxn>
                <a:cxn ang="0">
                  <a:pos x="44" y="0"/>
                </a:cxn>
                <a:cxn ang="0">
                  <a:pos x="32" y="1"/>
                </a:cxn>
                <a:cxn ang="0">
                  <a:pos x="18" y="4"/>
                </a:cxn>
              </a:cxnLst>
              <a:rect l="0" t="0" r="r" b="b"/>
              <a:pathLst>
                <a:path w="95" h="78">
                  <a:moveTo>
                    <a:pt x="18" y="4"/>
                  </a:moveTo>
                  <a:lnTo>
                    <a:pt x="15" y="11"/>
                  </a:lnTo>
                  <a:lnTo>
                    <a:pt x="8" y="23"/>
                  </a:lnTo>
                  <a:lnTo>
                    <a:pt x="0" y="35"/>
                  </a:lnTo>
                  <a:lnTo>
                    <a:pt x="10" y="48"/>
                  </a:lnTo>
                  <a:lnTo>
                    <a:pt x="15" y="45"/>
                  </a:lnTo>
                  <a:lnTo>
                    <a:pt x="11" y="48"/>
                  </a:lnTo>
                  <a:lnTo>
                    <a:pt x="14" y="49"/>
                  </a:lnTo>
                  <a:lnTo>
                    <a:pt x="14" y="55"/>
                  </a:lnTo>
                  <a:lnTo>
                    <a:pt x="30" y="55"/>
                  </a:lnTo>
                  <a:lnTo>
                    <a:pt x="33" y="52"/>
                  </a:lnTo>
                  <a:lnTo>
                    <a:pt x="52" y="55"/>
                  </a:lnTo>
                  <a:lnTo>
                    <a:pt x="56" y="60"/>
                  </a:lnTo>
                  <a:lnTo>
                    <a:pt x="35" y="55"/>
                  </a:lnTo>
                  <a:lnTo>
                    <a:pt x="23" y="60"/>
                  </a:lnTo>
                  <a:lnTo>
                    <a:pt x="10" y="64"/>
                  </a:lnTo>
                  <a:lnTo>
                    <a:pt x="12" y="72"/>
                  </a:lnTo>
                  <a:lnTo>
                    <a:pt x="23" y="71"/>
                  </a:lnTo>
                  <a:lnTo>
                    <a:pt x="29" y="69"/>
                  </a:lnTo>
                  <a:lnTo>
                    <a:pt x="29" y="71"/>
                  </a:lnTo>
                  <a:lnTo>
                    <a:pt x="15" y="72"/>
                  </a:lnTo>
                  <a:lnTo>
                    <a:pt x="11" y="78"/>
                  </a:lnTo>
                  <a:lnTo>
                    <a:pt x="32" y="73"/>
                  </a:lnTo>
                  <a:lnTo>
                    <a:pt x="45" y="72"/>
                  </a:lnTo>
                  <a:lnTo>
                    <a:pt x="58" y="71"/>
                  </a:lnTo>
                  <a:lnTo>
                    <a:pt x="72" y="75"/>
                  </a:lnTo>
                  <a:lnTo>
                    <a:pt x="95" y="76"/>
                  </a:lnTo>
                  <a:lnTo>
                    <a:pt x="90" y="59"/>
                  </a:lnTo>
                  <a:lnTo>
                    <a:pt x="86" y="52"/>
                  </a:lnTo>
                  <a:lnTo>
                    <a:pt x="82" y="34"/>
                  </a:lnTo>
                  <a:lnTo>
                    <a:pt x="70" y="22"/>
                  </a:lnTo>
                  <a:lnTo>
                    <a:pt x="58" y="9"/>
                  </a:lnTo>
                  <a:lnTo>
                    <a:pt x="44" y="0"/>
                  </a:lnTo>
                  <a:lnTo>
                    <a:pt x="32" y="1"/>
                  </a:lnTo>
                  <a:lnTo>
                    <a:pt x="18"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8" name="Freeform 135"/>
            <p:cNvSpPr>
              <a:spLocks/>
            </p:cNvSpPr>
            <p:nvPr/>
          </p:nvSpPr>
          <p:spPr bwMode="auto">
            <a:xfrm>
              <a:off x="2656" y="1963"/>
              <a:ext cx="68" cy="140"/>
            </a:xfrm>
            <a:custGeom>
              <a:avLst/>
              <a:gdLst/>
              <a:ahLst/>
              <a:cxnLst>
                <a:cxn ang="0">
                  <a:pos x="41" y="118"/>
                </a:cxn>
                <a:cxn ang="0">
                  <a:pos x="32" y="126"/>
                </a:cxn>
                <a:cxn ang="0">
                  <a:pos x="29" y="109"/>
                </a:cxn>
                <a:cxn ang="0">
                  <a:pos x="24" y="92"/>
                </a:cxn>
                <a:cxn ang="0">
                  <a:pos x="12" y="79"/>
                </a:cxn>
                <a:cxn ang="0">
                  <a:pos x="0" y="61"/>
                </a:cxn>
                <a:cxn ang="0">
                  <a:pos x="7" y="48"/>
                </a:cxn>
                <a:cxn ang="0">
                  <a:pos x="13" y="34"/>
                </a:cxn>
                <a:cxn ang="0">
                  <a:pos x="12" y="10"/>
                </a:cxn>
                <a:cxn ang="0">
                  <a:pos x="15" y="6"/>
                </a:cxn>
                <a:cxn ang="0">
                  <a:pos x="32" y="0"/>
                </a:cxn>
                <a:cxn ang="0">
                  <a:pos x="38" y="3"/>
                </a:cxn>
                <a:cxn ang="0">
                  <a:pos x="42" y="9"/>
                </a:cxn>
                <a:cxn ang="0">
                  <a:pos x="51" y="3"/>
                </a:cxn>
                <a:cxn ang="0">
                  <a:pos x="44" y="22"/>
                </a:cxn>
                <a:cxn ang="0">
                  <a:pos x="54" y="36"/>
                </a:cxn>
                <a:cxn ang="0">
                  <a:pos x="45" y="46"/>
                </a:cxn>
                <a:cxn ang="0">
                  <a:pos x="38" y="57"/>
                </a:cxn>
                <a:cxn ang="0">
                  <a:pos x="51" y="66"/>
                </a:cxn>
                <a:cxn ang="0">
                  <a:pos x="61" y="73"/>
                </a:cxn>
                <a:cxn ang="0">
                  <a:pos x="60" y="87"/>
                </a:cxn>
                <a:cxn ang="0">
                  <a:pos x="50" y="96"/>
                </a:cxn>
                <a:cxn ang="0">
                  <a:pos x="41" y="104"/>
                </a:cxn>
                <a:cxn ang="0">
                  <a:pos x="41" y="118"/>
                </a:cxn>
              </a:cxnLst>
              <a:rect l="0" t="0" r="r" b="b"/>
              <a:pathLst>
                <a:path w="61" h="126">
                  <a:moveTo>
                    <a:pt x="41" y="118"/>
                  </a:moveTo>
                  <a:lnTo>
                    <a:pt x="32" y="126"/>
                  </a:lnTo>
                  <a:lnTo>
                    <a:pt x="29" y="109"/>
                  </a:lnTo>
                  <a:lnTo>
                    <a:pt x="24" y="92"/>
                  </a:lnTo>
                  <a:lnTo>
                    <a:pt x="12" y="79"/>
                  </a:lnTo>
                  <a:lnTo>
                    <a:pt x="0" y="61"/>
                  </a:lnTo>
                  <a:lnTo>
                    <a:pt x="7" y="48"/>
                  </a:lnTo>
                  <a:lnTo>
                    <a:pt x="13" y="34"/>
                  </a:lnTo>
                  <a:lnTo>
                    <a:pt x="12" y="10"/>
                  </a:lnTo>
                  <a:lnTo>
                    <a:pt x="15" y="6"/>
                  </a:lnTo>
                  <a:lnTo>
                    <a:pt x="32" y="0"/>
                  </a:lnTo>
                  <a:lnTo>
                    <a:pt x="38" y="3"/>
                  </a:lnTo>
                  <a:lnTo>
                    <a:pt x="42" y="9"/>
                  </a:lnTo>
                  <a:lnTo>
                    <a:pt x="51" y="3"/>
                  </a:lnTo>
                  <a:lnTo>
                    <a:pt x="44" y="22"/>
                  </a:lnTo>
                  <a:lnTo>
                    <a:pt x="54" y="36"/>
                  </a:lnTo>
                  <a:lnTo>
                    <a:pt x="45" y="46"/>
                  </a:lnTo>
                  <a:lnTo>
                    <a:pt x="38" y="57"/>
                  </a:lnTo>
                  <a:lnTo>
                    <a:pt x="51" y="66"/>
                  </a:lnTo>
                  <a:lnTo>
                    <a:pt x="61" y="73"/>
                  </a:lnTo>
                  <a:lnTo>
                    <a:pt x="60" y="87"/>
                  </a:lnTo>
                  <a:lnTo>
                    <a:pt x="50" y="96"/>
                  </a:lnTo>
                  <a:lnTo>
                    <a:pt x="41" y="104"/>
                  </a:lnTo>
                  <a:lnTo>
                    <a:pt x="41" y="1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9" name="Freeform 136"/>
            <p:cNvSpPr>
              <a:spLocks/>
            </p:cNvSpPr>
            <p:nvPr/>
          </p:nvSpPr>
          <p:spPr bwMode="auto">
            <a:xfrm>
              <a:off x="2329" y="2536"/>
              <a:ext cx="73" cy="83"/>
            </a:xfrm>
            <a:custGeom>
              <a:avLst/>
              <a:gdLst/>
              <a:ahLst/>
              <a:cxnLst>
                <a:cxn ang="0">
                  <a:pos x="62" y="74"/>
                </a:cxn>
                <a:cxn ang="0">
                  <a:pos x="45" y="63"/>
                </a:cxn>
                <a:cxn ang="0">
                  <a:pos x="29" y="54"/>
                </a:cxn>
                <a:cxn ang="0">
                  <a:pos x="14" y="40"/>
                </a:cxn>
                <a:cxn ang="0">
                  <a:pos x="0" y="27"/>
                </a:cxn>
                <a:cxn ang="0">
                  <a:pos x="5" y="21"/>
                </a:cxn>
                <a:cxn ang="0">
                  <a:pos x="12" y="10"/>
                </a:cxn>
                <a:cxn ang="0">
                  <a:pos x="19" y="0"/>
                </a:cxn>
                <a:cxn ang="0">
                  <a:pos x="27" y="0"/>
                </a:cxn>
                <a:cxn ang="0">
                  <a:pos x="32" y="18"/>
                </a:cxn>
                <a:cxn ang="0">
                  <a:pos x="36" y="21"/>
                </a:cxn>
                <a:cxn ang="0">
                  <a:pos x="43" y="16"/>
                </a:cxn>
                <a:cxn ang="0">
                  <a:pos x="48" y="16"/>
                </a:cxn>
                <a:cxn ang="0">
                  <a:pos x="48" y="32"/>
                </a:cxn>
                <a:cxn ang="0">
                  <a:pos x="48" y="36"/>
                </a:cxn>
                <a:cxn ang="0">
                  <a:pos x="57" y="44"/>
                </a:cxn>
                <a:cxn ang="0">
                  <a:pos x="65" y="52"/>
                </a:cxn>
                <a:cxn ang="0">
                  <a:pos x="62" y="74"/>
                </a:cxn>
              </a:cxnLst>
              <a:rect l="0" t="0" r="r" b="b"/>
              <a:pathLst>
                <a:path w="65" h="74">
                  <a:moveTo>
                    <a:pt x="62" y="74"/>
                  </a:moveTo>
                  <a:lnTo>
                    <a:pt x="45" y="63"/>
                  </a:lnTo>
                  <a:lnTo>
                    <a:pt x="29" y="54"/>
                  </a:lnTo>
                  <a:lnTo>
                    <a:pt x="14" y="40"/>
                  </a:lnTo>
                  <a:lnTo>
                    <a:pt x="0" y="27"/>
                  </a:lnTo>
                  <a:lnTo>
                    <a:pt x="5" y="21"/>
                  </a:lnTo>
                  <a:lnTo>
                    <a:pt x="12" y="10"/>
                  </a:lnTo>
                  <a:lnTo>
                    <a:pt x="19" y="0"/>
                  </a:lnTo>
                  <a:lnTo>
                    <a:pt x="27" y="0"/>
                  </a:lnTo>
                  <a:lnTo>
                    <a:pt x="32" y="18"/>
                  </a:lnTo>
                  <a:lnTo>
                    <a:pt x="36" y="21"/>
                  </a:lnTo>
                  <a:lnTo>
                    <a:pt x="43" y="16"/>
                  </a:lnTo>
                  <a:lnTo>
                    <a:pt x="48" y="16"/>
                  </a:lnTo>
                  <a:lnTo>
                    <a:pt x="48" y="32"/>
                  </a:lnTo>
                  <a:lnTo>
                    <a:pt x="48" y="36"/>
                  </a:lnTo>
                  <a:lnTo>
                    <a:pt x="57" y="44"/>
                  </a:lnTo>
                  <a:lnTo>
                    <a:pt x="65" y="52"/>
                  </a:lnTo>
                  <a:lnTo>
                    <a:pt x="62" y="7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0" name="Freeform 137"/>
            <p:cNvSpPr>
              <a:spLocks/>
            </p:cNvSpPr>
            <p:nvPr/>
          </p:nvSpPr>
          <p:spPr bwMode="auto">
            <a:xfrm>
              <a:off x="1076" y="2514"/>
              <a:ext cx="55" cy="47"/>
            </a:xfrm>
            <a:custGeom>
              <a:avLst/>
              <a:gdLst/>
              <a:ahLst/>
              <a:cxnLst>
                <a:cxn ang="0">
                  <a:pos x="0" y="28"/>
                </a:cxn>
                <a:cxn ang="0">
                  <a:pos x="1" y="14"/>
                </a:cxn>
                <a:cxn ang="0">
                  <a:pos x="0" y="2"/>
                </a:cxn>
                <a:cxn ang="0">
                  <a:pos x="6" y="0"/>
                </a:cxn>
                <a:cxn ang="0">
                  <a:pos x="10" y="8"/>
                </a:cxn>
                <a:cxn ang="0">
                  <a:pos x="18" y="10"/>
                </a:cxn>
                <a:cxn ang="0">
                  <a:pos x="22" y="15"/>
                </a:cxn>
                <a:cxn ang="0">
                  <a:pos x="44" y="6"/>
                </a:cxn>
                <a:cxn ang="0">
                  <a:pos x="46" y="9"/>
                </a:cxn>
                <a:cxn ang="0">
                  <a:pos x="50" y="14"/>
                </a:cxn>
                <a:cxn ang="0">
                  <a:pos x="38" y="24"/>
                </a:cxn>
                <a:cxn ang="0">
                  <a:pos x="45" y="36"/>
                </a:cxn>
                <a:cxn ang="0">
                  <a:pos x="31" y="42"/>
                </a:cxn>
                <a:cxn ang="0">
                  <a:pos x="28" y="32"/>
                </a:cxn>
                <a:cxn ang="0">
                  <a:pos x="26" y="35"/>
                </a:cxn>
                <a:cxn ang="0">
                  <a:pos x="19" y="28"/>
                </a:cxn>
                <a:cxn ang="0">
                  <a:pos x="3" y="23"/>
                </a:cxn>
                <a:cxn ang="0">
                  <a:pos x="0" y="28"/>
                </a:cxn>
              </a:cxnLst>
              <a:rect l="0" t="0" r="r" b="b"/>
              <a:pathLst>
                <a:path w="50" h="42">
                  <a:moveTo>
                    <a:pt x="0" y="28"/>
                  </a:moveTo>
                  <a:lnTo>
                    <a:pt x="1" y="14"/>
                  </a:lnTo>
                  <a:lnTo>
                    <a:pt x="0" y="2"/>
                  </a:lnTo>
                  <a:lnTo>
                    <a:pt x="6" y="0"/>
                  </a:lnTo>
                  <a:lnTo>
                    <a:pt x="10" y="8"/>
                  </a:lnTo>
                  <a:lnTo>
                    <a:pt x="18" y="10"/>
                  </a:lnTo>
                  <a:lnTo>
                    <a:pt x="22" y="15"/>
                  </a:lnTo>
                  <a:lnTo>
                    <a:pt x="44" y="6"/>
                  </a:lnTo>
                  <a:lnTo>
                    <a:pt x="46" y="9"/>
                  </a:lnTo>
                  <a:lnTo>
                    <a:pt x="50" y="14"/>
                  </a:lnTo>
                  <a:lnTo>
                    <a:pt x="38" y="24"/>
                  </a:lnTo>
                  <a:lnTo>
                    <a:pt x="45" y="36"/>
                  </a:lnTo>
                  <a:lnTo>
                    <a:pt x="31" y="42"/>
                  </a:lnTo>
                  <a:lnTo>
                    <a:pt x="28" y="32"/>
                  </a:lnTo>
                  <a:lnTo>
                    <a:pt x="26" y="35"/>
                  </a:lnTo>
                  <a:lnTo>
                    <a:pt x="19" y="28"/>
                  </a:lnTo>
                  <a:lnTo>
                    <a:pt x="3" y="23"/>
                  </a:lnTo>
                  <a:lnTo>
                    <a:pt x="0" y="2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1" name="Freeform 138"/>
            <p:cNvSpPr>
              <a:spLocks/>
            </p:cNvSpPr>
            <p:nvPr/>
          </p:nvSpPr>
          <p:spPr bwMode="auto">
            <a:xfrm>
              <a:off x="1067" y="2243"/>
              <a:ext cx="182" cy="64"/>
            </a:xfrm>
            <a:custGeom>
              <a:avLst/>
              <a:gdLst/>
              <a:ahLst/>
              <a:cxnLst>
                <a:cxn ang="0">
                  <a:pos x="116" y="23"/>
                </a:cxn>
                <a:cxn ang="0">
                  <a:pos x="116" y="24"/>
                </a:cxn>
                <a:cxn ang="0">
                  <a:pos x="100" y="17"/>
                </a:cxn>
                <a:cxn ang="0">
                  <a:pos x="83" y="8"/>
                </a:cxn>
                <a:cxn ang="0">
                  <a:pos x="71" y="3"/>
                </a:cxn>
                <a:cxn ang="0">
                  <a:pos x="60" y="0"/>
                </a:cxn>
                <a:cxn ang="0">
                  <a:pos x="54" y="0"/>
                </a:cxn>
                <a:cxn ang="0">
                  <a:pos x="35" y="3"/>
                </a:cxn>
                <a:cxn ang="0">
                  <a:pos x="17" y="7"/>
                </a:cxn>
                <a:cxn ang="0">
                  <a:pos x="9" y="18"/>
                </a:cxn>
                <a:cxn ang="0">
                  <a:pos x="0" y="23"/>
                </a:cxn>
                <a:cxn ang="0">
                  <a:pos x="6" y="21"/>
                </a:cxn>
                <a:cxn ang="0">
                  <a:pos x="20" y="15"/>
                </a:cxn>
                <a:cxn ang="0">
                  <a:pos x="32" y="9"/>
                </a:cxn>
                <a:cxn ang="0">
                  <a:pos x="52" y="9"/>
                </a:cxn>
                <a:cxn ang="0">
                  <a:pos x="45" y="12"/>
                </a:cxn>
                <a:cxn ang="0">
                  <a:pos x="58" y="17"/>
                </a:cxn>
                <a:cxn ang="0">
                  <a:pos x="66" y="19"/>
                </a:cxn>
                <a:cxn ang="0">
                  <a:pos x="71" y="21"/>
                </a:cxn>
                <a:cxn ang="0">
                  <a:pos x="93" y="26"/>
                </a:cxn>
                <a:cxn ang="0">
                  <a:pos x="98" y="37"/>
                </a:cxn>
                <a:cxn ang="0">
                  <a:pos x="117" y="47"/>
                </a:cxn>
                <a:cxn ang="0">
                  <a:pos x="107" y="57"/>
                </a:cxn>
                <a:cxn ang="0">
                  <a:pos x="123" y="57"/>
                </a:cxn>
                <a:cxn ang="0">
                  <a:pos x="138" y="56"/>
                </a:cxn>
                <a:cxn ang="0">
                  <a:pos x="150" y="55"/>
                </a:cxn>
                <a:cxn ang="0">
                  <a:pos x="164" y="53"/>
                </a:cxn>
                <a:cxn ang="0">
                  <a:pos x="152" y="47"/>
                </a:cxn>
                <a:cxn ang="0">
                  <a:pos x="141" y="41"/>
                </a:cxn>
                <a:cxn ang="0">
                  <a:pos x="140" y="36"/>
                </a:cxn>
                <a:cxn ang="0">
                  <a:pos x="129" y="31"/>
                </a:cxn>
                <a:cxn ang="0">
                  <a:pos x="117" y="27"/>
                </a:cxn>
                <a:cxn ang="0">
                  <a:pos x="116" y="23"/>
                </a:cxn>
              </a:cxnLst>
              <a:rect l="0" t="0" r="r" b="b"/>
              <a:pathLst>
                <a:path w="164" h="57">
                  <a:moveTo>
                    <a:pt x="116" y="23"/>
                  </a:moveTo>
                  <a:lnTo>
                    <a:pt x="116" y="24"/>
                  </a:lnTo>
                  <a:lnTo>
                    <a:pt x="100" y="17"/>
                  </a:lnTo>
                  <a:lnTo>
                    <a:pt x="83" y="8"/>
                  </a:lnTo>
                  <a:lnTo>
                    <a:pt x="71" y="3"/>
                  </a:lnTo>
                  <a:lnTo>
                    <a:pt x="60" y="0"/>
                  </a:lnTo>
                  <a:lnTo>
                    <a:pt x="54" y="0"/>
                  </a:lnTo>
                  <a:lnTo>
                    <a:pt x="35" y="3"/>
                  </a:lnTo>
                  <a:lnTo>
                    <a:pt x="17" y="7"/>
                  </a:lnTo>
                  <a:lnTo>
                    <a:pt x="9" y="18"/>
                  </a:lnTo>
                  <a:lnTo>
                    <a:pt x="0" y="23"/>
                  </a:lnTo>
                  <a:lnTo>
                    <a:pt x="6" y="21"/>
                  </a:lnTo>
                  <a:lnTo>
                    <a:pt x="20" y="15"/>
                  </a:lnTo>
                  <a:lnTo>
                    <a:pt x="32" y="9"/>
                  </a:lnTo>
                  <a:lnTo>
                    <a:pt x="52" y="9"/>
                  </a:lnTo>
                  <a:lnTo>
                    <a:pt x="45" y="12"/>
                  </a:lnTo>
                  <a:lnTo>
                    <a:pt x="58" y="17"/>
                  </a:lnTo>
                  <a:lnTo>
                    <a:pt x="66" y="19"/>
                  </a:lnTo>
                  <a:lnTo>
                    <a:pt x="71" y="21"/>
                  </a:lnTo>
                  <a:lnTo>
                    <a:pt x="93" y="26"/>
                  </a:lnTo>
                  <a:lnTo>
                    <a:pt x="98" y="37"/>
                  </a:lnTo>
                  <a:lnTo>
                    <a:pt x="117" y="47"/>
                  </a:lnTo>
                  <a:lnTo>
                    <a:pt x="107" y="57"/>
                  </a:lnTo>
                  <a:lnTo>
                    <a:pt x="123" y="57"/>
                  </a:lnTo>
                  <a:lnTo>
                    <a:pt x="138" y="56"/>
                  </a:lnTo>
                  <a:lnTo>
                    <a:pt x="150" y="55"/>
                  </a:lnTo>
                  <a:lnTo>
                    <a:pt x="164" y="53"/>
                  </a:lnTo>
                  <a:lnTo>
                    <a:pt x="152" y="47"/>
                  </a:lnTo>
                  <a:lnTo>
                    <a:pt x="141" y="41"/>
                  </a:lnTo>
                  <a:lnTo>
                    <a:pt x="140" y="36"/>
                  </a:lnTo>
                  <a:lnTo>
                    <a:pt x="129" y="31"/>
                  </a:lnTo>
                  <a:lnTo>
                    <a:pt x="117" y="27"/>
                  </a:lnTo>
                  <a:lnTo>
                    <a:pt x="116" y="2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2" name="Freeform 139"/>
            <p:cNvSpPr>
              <a:spLocks/>
            </p:cNvSpPr>
            <p:nvPr/>
          </p:nvSpPr>
          <p:spPr bwMode="auto">
            <a:xfrm>
              <a:off x="1096" y="2267"/>
              <a:ext cx="11" cy="9"/>
            </a:xfrm>
            <a:custGeom>
              <a:avLst/>
              <a:gdLst/>
              <a:ahLst/>
              <a:cxnLst>
                <a:cxn ang="0">
                  <a:pos x="0" y="9"/>
                </a:cxn>
                <a:cxn ang="0">
                  <a:pos x="8" y="7"/>
                </a:cxn>
                <a:cxn ang="0">
                  <a:pos x="2" y="0"/>
                </a:cxn>
                <a:cxn ang="0">
                  <a:pos x="0" y="9"/>
                </a:cxn>
              </a:cxnLst>
              <a:rect l="0" t="0" r="r" b="b"/>
              <a:pathLst>
                <a:path w="8" h="9">
                  <a:moveTo>
                    <a:pt x="0" y="9"/>
                  </a:moveTo>
                  <a:lnTo>
                    <a:pt x="8" y="7"/>
                  </a:lnTo>
                  <a:lnTo>
                    <a:pt x="2" y="0"/>
                  </a:lnTo>
                  <a:lnTo>
                    <a:pt x="0"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3" name="Freeform 140"/>
            <p:cNvSpPr>
              <a:spLocks/>
            </p:cNvSpPr>
            <p:nvPr/>
          </p:nvSpPr>
          <p:spPr bwMode="auto">
            <a:xfrm>
              <a:off x="1120" y="2319"/>
              <a:ext cx="7" cy="2"/>
            </a:xfrm>
            <a:custGeom>
              <a:avLst/>
              <a:gdLst/>
              <a:ahLst/>
              <a:cxnLst>
                <a:cxn ang="0">
                  <a:pos x="5" y="1"/>
                </a:cxn>
                <a:cxn ang="0">
                  <a:pos x="5" y="0"/>
                </a:cxn>
                <a:cxn ang="0">
                  <a:pos x="4" y="0"/>
                </a:cxn>
                <a:cxn ang="0">
                  <a:pos x="3" y="0"/>
                </a:cxn>
                <a:cxn ang="0">
                  <a:pos x="2" y="0"/>
                </a:cxn>
                <a:cxn ang="0">
                  <a:pos x="3" y="0"/>
                </a:cxn>
                <a:cxn ang="0">
                  <a:pos x="3" y="1"/>
                </a:cxn>
                <a:cxn ang="0">
                  <a:pos x="2" y="1"/>
                </a:cxn>
                <a:cxn ang="0">
                  <a:pos x="0" y="1"/>
                </a:cxn>
                <a:cxn ang="0">
                  <a:pos x="0" y="0"/>
                </a:cxn>
                <a:cxn ang="0">
                  <a:pos x="0" y="1"/>
                </a:cxn>
                <a:cxn ang="0">
                  <a:pos x="0" y="2"/>
                </a:cxn>
                <a:cxn ang="0">
                  <a:pos x="0" y="1"/>
                </a:cxn>
                <a:cxn ang="0">
                  <a:pos x="2" y="1"/>
                </a:cxn>
                <a:cxn ang="0">
                  <a:pos x="2" y="2"/>
                </a:cxn>
                <a:cxn ang="0">
                  <a:pos x="3" y="2"/>
                </a:cxn>
                <a:cxn ang="0">
                  <a:pos x="3" y="1"/>
                </a:cxn>
                <a:cxn ang="0">
                  <a:pos x="4" y="1"/>
                </a:cxn>
                <a:cxn ang="0">
                  <a:pos x="5" y="1"/>
                </a:cxn>
              </a:cxnLst>
              <a:rect l="0" t="0" r="r" b="b"/>
              <a:pathLst>
                <a:path w="5" h="2">
                  <a:moveTo>
                    <a:pt x="5" y="1"/>
                  </a:moveTo>
                  <a:lnTo>
                    <a:pt x="5" y="0"/>
                  </a:lnTo>
                  <a:lnTo>
                    <a:pt x="4" y="0"/>
                  </a:lnTo>
                  <a:lnTo>
                    <a:pt x="3" y="0"/>
                  </a:lnTo>
                  <a:lnTo>
                    <a:pt x="2" y="0"/>
                  </a:lnTo>
                  <a:lnTo>
                    <a:pt x="3" y="0"/>
                  </a:lnTo>
                  <a:lnTo>
                    <a:pt x="3" y="1"/>
                  </a:lnTo>
                  <a:lnTo>
                    <a:pt x="2" y="1"/>
                  </a:lnTo>
                  <a:lnTo>
                    <a:pt x="0" y="1"/>
                  </a:lnTo>
                  <a:lnTo>
                    <a:pt x="0" y="0"/>
                  </a:lnTo>
                  <a:lnTo>
                    <a:pt x="0" y="1"/>
                  </a:lnTo>
                  <a:lnTo>
                    <a:pt x="0" y="2"/>
                  </a:lnTo>
                  <a:lnTo>
                    <a:pt x="0" y="1"/>
                  </a:lnTo>
                  <a:lnTo>
                    <a:pt x="2" y="1"/>
                  </a:lnTo>
                  <a:lnTo>
                    <a:pt x="2" y="2"/>
                  </a:lnTo>
                  <a:lnTo>
                    <a:pt x="3" y="2"/>
                  </a:lnTo>
                  <a:lnTo>
                    <a:pt x="3" y="1"/>
                  </a:lnTo>
                  <a:lnTo>
                    <a:pt x="4" y="1"/>
                  </a:lnTo>
                  <a:lnTo>
                    <a:pt x="5"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4" name="Freeform 141"/>
            <p:cNvSpPr>
              <a:spLocks/>
            </p:cNvSpPr>
            <p:nvPr/>
          </p:nvSpPr>
          <p:spPr bwMode="auto">
            <a:xfrm>
              <a:off x="1147" y="2310"/>
              <a:ext cx="2" cy="2"/>
            </a:xfrm>
            <a:custGeom>
              <a:avLst/>
              <a:gdLst/>
              <a:ahLst/>
              <a:cxnLst>
                <a:cxn ang="0">
                  <a:pos x="3" y="0"/>
                </a:cxn>
                <a:cxn ang="0">
                  <a:pos x="2" y="1"/>
                </a:cxn>
                <a:cxn ang="0">
                  <a:pos x="0" y="1"/>
                </a:cxn>
                <a:cxn ang="0">
                  <a:pos x="2" y="1"/>
                </a:cxn>
                <a:cxn ang="0">
                  <a:pos x="3" y="1"/>
                </a:cxn>
                <a:cxn ang="0">
                  <a:pos x="3" y="0"/>
                </a:cxn>
              </a:cxnLst>
              <a:rect l="0" t="0" r="r" b="b"/>
              <a:pathLst>
                <a:path w="3" h="1">
                  <a:moveTo>
                    <a:pt x="3" y="0"/>
                  </a:moveTo>
                  <a:lnTo>
                    <a:pt x="2" y="1"/>
                  </a:lnTo>
                  <a:lnTo>
                    <a:pt x="0" y="1"/>
                  </a:lnTo>
                  <a:lnTo>
                    <a:pt x="2" y="1"/>
                  </a:lnTo>
                  <a:lnTo>
                    <a:pt x="3" y="1"/>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5" name="Freeform 142"/>
            <p:cNvSpPr>
              <a:spLocks/>
            </p:cNvSpPr>
            <p:nvPr/>
          </p:nvSpPr>
          <p:spPr bwMode="auto">
            <a:xfrm>
              <a:off x="1142" y="2312"/>
              <a:ext cx="5" cy="2"/>
            </a:xfrm>
            <a:custGeom>
              <a:avLst/>
              <a:gdLst/>
              <a:ahLst/>
              <a:cxnLst>
                <a:cxn ang="0">
                  <a:pos x="2" y="0"/>
                </a:cxn>
                <a:cxn ang="0">
                  <a:pos x="1" y="0"/>
                </a:cxn>
                <a:cxn ang="0">
                  <a:pos x="0" y="0"/>
                </a:cxn>
                <a:cxn ang="0">
                  <a:pos x="0" y="1"/>
                </a:cxn>
                <a:cxn ang="0">
                  <a:pos x="1" y="1"/>
                </a:cxn>
                <a:cxn ang="0">
                  <a:pos x="1" y="0"/>
                </a:cxn>
                <a:cxn ang="0">
                  <a:pos x="2" y="0"/>
                </a:cxn>
              </a:cxnLst>
              <a:rect l="0" t="0" r="r" b="b"/>
              <a:pathLst>
                <a:path w="2" h="1">
                  <a:moveTo>
                    <a:pt x="2" y="0"/>
                  </a:moveTo>
                  <a:lnTo>
                    <a:pt x="1" y="0"/>
                  </a:lnTo>
                  <a:lnTo>
                    <a:pt x="0" y="0"/>
                  </a:lnTo>
                  <a:lnTo>
                    <a:pt x="0" y="1"/>
                  </a:lnTo>
                  <a:lnTo>
                    <a:pt x="1" y="1"/>
                  </a:lnTo>
                  <a:lnTo>
                    <a:pt x="1" y="0"/>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6" name="Freeform 143"/>
            <p:cNvSpPr>
              <a:spLocks/>
            </p:cNvSpPr>
            <p:nvPr/>
          </p:nvSpPr>
          <p:spPr bwMode="auto">
            <a:xfrm>
              <a:off x="1409" y="2336"/>
              <a:ext cx="2" cy="3"/>
            </a:xfrm>
            <a:custGeom>
              <a:avLst/>
              <a:gdLst/>
              <a:ahLst/>
              <a:cxnLst>
                <a:cxn ang="0">
                  <a:pos x="2" y="0"/>
                </a:cxn>
                <a:cxn ang="0">
                  <a:pos x="1" y="0"/>
                </a:cxn>
                <a:cxn ang="0">
                  <a:pos x="0" y="0"/>
                </a:cxn>
                <a:cxn ang="0">
                  <a:pos x="0" y="1"/>
                </a:cxn>
                <a:cxn ang="0">
                  <a:pos x="1" y="1"/>
                </a:cxn>
                <a:cxn ang="0">
                  <a:pos x="1" y="0"/>
                </a:cxn>
                <a:cxn ang="0">
                  <a:pos x="2" y="0"/>
                </a:cxn>
              </a:cxnLst>
              <a:rect l="0" t="0" r="r" b="b"/>
              <a:pathLst>
                <a:path w="2" h="1">
                  <a:moveTo>
                    <a:pt x="2" y="0"/>
                  </a:moveTo>
                  <a:lnTo>
                    <a:pt x="1" y="0"/>
                  </a:lnTo>
                  <a:lnTo>
                    <a:pt x="0" y="0"/>
                  </a:lnTo>
                  <a:lnTo>
                    <a:pt x="0" y="1"/>
                  </a:lnTo>
                  <a:lnTo>
                    <a:pt x="1" y="1"/>
                  </a:lnTo>
                  <a:lnTo>
                    <a:pt x="1" y="0"/>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7" name="Freeform 144"/>
            <p:cNvSpPr>
              <a:spLocks/>
            </p:cNvSpPr>
            <p:nvPr/>
          </p:nvSpPr>
          <p:spPr bwMode="auto">
            <a:xfrm>
              <a:off x="1414" y="2330"/>
              <a:ext cx="2" cy="2"/>
            </a:xfrm>
            <a:custGeom>
              <a:avLst/>
              <a:gdLst/>
              <a:ahLst/>
              <a:cxnLst>
                <a:cxn ang="0">
                  <a:pos x="3" y="1"/>
                </a:cxn>
                <a:cxn ang="0">
                  <a:pos x="2" y="1"/>
                </a:cxn>
                <a:cxn ang="0">
                  <a:pos x="2" y="0"/>
                </a:cxn>
                <a:cxn ang="0">
                  <a:pos x="0" y="0"/>
                </a:cxn>
                <a:cxn ang="0">
                  <a:pos x="0" y="1"/>
                </a:cxn>
                <a:cxn ang="0">
                  <a:pos x="0" y="0"/>
                </a:cxn>
                <a:cxn ang="0">
                  <a:pos x="0" y="1"/>
                </a:cxn>
                <a:cxn ang="0">
                  <a:pos x="2" y="1"/>
                </a:cxn>
                <a:cxn ang="0">
                  <a:pos x="3" y="1"/>
                </a:cxn>
              </a:cxnLst>
              <a:rect l="0" t="0" r="r" b="b"/>
              <a:pathLst>
                <a:path w="3" h="1">
                  <a:moveTo>
                    <a:pt x="3" y="1"/>
                  </a:moveTo>
                  <a:lnTo>
                    <a:pt x="2" y="1"/>
                  </a:lnTo>
                  <a:lnTo>
                    <a:pt x="2" y="0"/>
                  </a:lnTo>
                  <a:lnTo>
                    <a:pt x="0" y="0"/>
                  </a:lnTo>
                  <a:lnTo>
                    <a:pt x="0" y="1"/>
                  </a:lnTo>
                  <a:lnTo>
                    <a:pt x="0" y="0"/>
                  </a:lnTo>
                  <a:lnTo>
                    <a:pt x="0" y="1"/>
                  </a:lnTo>
                  <a:lnTo>
                    <a:pt x="2" y="1"/>
                  </a:lnTo>
                  <a:lnTo>
                    <a:pt x="3"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8" name="Freeform 145"/>
            <p:cNvSpPr>
              <a:spLocks/>
            </p:cNvSpPr>
            <p:nvPr/>
          </p:nvSpPr>
          <p:spPr bwMode="auto">
            <a:xfrm>
              <a:off x="1414" y="2336"/>
              <a:ext cx="2" cy="3"/>
            </a:xfrm>
            <a:custGeom>
              <a:avLst/>
              <a:gdLst/>
              <a:ahLst/>
              <a:cxnLst>
                <a:cxn ang="0">
                  <a:pos x="3" y="0"/>
                </a:cxn>
                <a:cxn ang="0">
                  <a:pos x="1" y="0"/>
                </a:cxn>
                <a:cxn ang="0">
                  <a:pos x="1" y="1"/>
                </a:cxn>
                <a:cxn ang="0">
                  <a:pos x="0" y="1"/>
                </a:cxn>
                <a:cxn ang="0">
                  <a:pos x="1" y="1"/>
                </a:cxn>
                <a:cxn ang="0">
                  <a:pos x="1" y="0"/>
                </a:cxn>
                <a:cxn ang="0">
                  <a:pos x="3" y="0"/>
                </a:cxn>
              </a:cxnLst>
              <a:rect l="0" t="0" r="r" b="b"/>
              <a:pathLst>
                <a:path w="3" h="1">
                  <a:moveTo>
                    <a:pt x="3" y="0"/>
                  </a:moveTo>
                  <a:lnTo>
                    <a:pt x="1" y="0"/>
                  </a:lnTo>
                  <a:lnTo>
                    <a:pt x="1" y="1"/>
                  </a:lnTo>
                  <a:lnTo>
                    <a:pt x="0" y="1"/>
                  </a:lnTo>
                  <a:lnTo>
                    <a:pt x="1" y="1"/>
                  </a:lnTo>
                  <a:lnTo>
                    <a:pt x="1" y="0"/>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9" name="Freeform 146"/>
            <p:cNvSpPr>
              <a:spLocks/>
            </p:cNvSpPr>
            <p:nvPr/>
          </p:nvSpPr>
          <p:spPr bwMode="auto">
            <a:xfrm>
              <a:off x="1409" y="2339"/>
              <a:ext cx="2" cy="2"/>
            </a:xfrm>
            <a:custGeom>
              <a:avLst/>
              <a:gdLst/>
              <a:ahLst/>
              <a:cxnLst>
                <a:cxn ang="0">
                  <a:pos x="1" y="0"/>
                </a:cxn>
                <a:cxn ang="0">
                  <a:pos x="0" y="0"/>
                </a:cxn>
                <a:cxn ang="0">
                  <a:pos x="0" y="1"/>
                </a:cxn>
                <a:cxn ang="0">
                  <a:pos x="0" y="0"/>
                </a:cxn>
                <a:cxn ang="0">
                  <a:pos x="1" y="0"/>
                </a:cxn>
              </a:cxnLst>
              <a:rect l="0" t="0" r="r" b="b"/>
              <a:pathLst>
                <a:path w="1" h="1">
                  <a:moveTo>
                    <a:pt x="1" y="0"/>
                  </a:moveTo>
                  <a:lnTo>
                    <a:pt x="0" y="0"/>
                  </a:lnTo>
                  <a:lnTo>
                    <a:pt x="0" y="1"/>
                  </a:lnTo>
                  <a:lnTo>
                    <a:pt x="0"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0" name="Freeform 147"/>
            <p:cNvSpPr>
              <a:spLocks/>
            </p:cNvSpPr>
            <p:nvPr/>
          </p:nvSpPr>
          <p:spPr bwMode="auto">
            <a:xfrm>
              <a:off x="1282" y="2310"/>
              <a:ext cx="65" cy="44"/>
            </a:xfrm>
            <a:custGeom>
              <a:avLst/>
              <a:gdLst/>
              <a:ahLst/>
              <a:cxnLst>
                <a:cxn ang="0">
                  <a:pos x="5" y="2"/>
                </a:cxn>
                <a:cxn ang="0">
                  <a:pos x="2" y="15"/>
                </a:cxn>
                <a:cxn ang="0">
                  <a:pos x="0" y="21"/>
                </a:cxn>
                <a:cxn ang="0">
                  <a:pos x="1" y="32"/>
                </a:cxn>
                <a:cxn ang="0">
                  <a:pos x="6" y="40"/>
                </a:cxn>
                <a:cxn ang="0">
                  <a:pos x="13" y="30"/>
                </a:cxn>
                <a:cxn ang="0">
                  <a:pos x="20" y="26"/>
                </a:cxn>
                <a:cxn ang="0">
                  <a:pos x="29" y="27"/>
                </a:cxn>
                <a:cxn ang="0">
                  <a:pos x="49" y="28"/>
                </a:cxn>
                <a:cxn ang="0">
                  <a:pos x="56" y="21"/>
                </a:cxn>
                <a:cxn ang="0">
                  <a:pos x="38" y="13"/>
                </a:cxn>
                <a:cxn ang="0">
                  <a:pos x="42" y="9"/>
                </a:cxn>
                <a:cxn ang="0">
                  <a:pos x="33" y="6"/>
                </a:cxn>
                <a:cxn ang="0">
                  <a:pos x="12" y="0"/>
                </a:cxn>
                <a:cxn ang="0">
                  <a:pos x="5" y="2"/>
                </a:cxn>
              </a:cxnLst>
              <a:rect l="0" t="0" r="r" b="b"/>
              <a:pathLst>
                <a:path w="56" h="40">
                  <a:moveTo>
                    <a:pt x="5" y="2"/>
                  </a:moveTo>
                  <a:lnTo>
                    <a:pt x="2" y="15"/>
                  </a:lnTo>
                  <a:lnTo>
                    <a:pt x="0" y="21"/>
                  </a:lnTo>
                  <a:lnTo>
                    <a:pt x="1" y="32"/>
                  </a:lnTo>
                  <a:lnTo>
                    <a:pt x="6" y="40"/>
                  </a:lnTo>
                  <a:lnTo>
                    <a:pt x="13" y="30"/>
                  </a:lnTo>
                  <a:lnTo>
                    <a:pt x="20" y="26"/>
                  </a:lnTo>
                  <a:lnTo>
                    <a:pt x="29" y="27"/>
                  </a:lnTo>
                  <a:lnTo>
                    <a:pt x="49" y="28"/>
                  </a:lnTo>
                  <a:lnTo>
                    <a:pt x="56" y="21"/>
                  </a:lnTo>
                  <a:lnTo>
                    <a:pt x="38" y="13"/>
                  </a:lnTo>
                  <a:lnTo>
                    <a:pt x="42" y="9"/>
                  </a:lnTo>
                  <a:lnTo>
                    <a:pt x="33" y="6"/>
                  </a:lnTo>
                  <a:lnTo>
                    <a:pt x="12" y="0"/>
                  </a:lnTo>
                  <a:lnTo>
                    <a:pt x="5"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1" name="Freeform 148"/>
            <p:cNvSpPr>
              <a:spLocks/>
            </p:cNvSpPr>
            <p:nvPr/>
          </p:nvSpPr>
          <p:spPr bwMode="auto">
            <a:xfrm>
              <a:off x="1238" y="2310"/>
              <a:ext cx="51" cy="35"/>
            </a:xfrm>
            <a:custGeom>
              <a:avLst/>
              <a:gdLst/>
              <a:ahLst/>
              <a:cxnLst>
                <a:cxn ang="0">
                  <a:pos x="46" y="2"/>
                </a:cxn>
                <a:cxn ang="0">
                  <a:pos x="43" y="15"/>
                </a:cxn>
                <a:cxn ang="0">
                  <a:pos x="41" y="21"/>
                </a:cxn>
                <a:cxn ang="0">
                  <a:pos x="42" y="32"/>
                </a:cxn>
                <a:cxn ang="0">
                  <a:pos x="26" y="31"/>
                </a:cxn>
                <a:cxn ang="0">
                  <a:pos x="10" y="31"/>
                </a:cxn>
                <a:cxn ang="0">
                  <a:pos x="0" y="25"/>
                </a:cxn>
                <a:cxn ang="0">
                  <a:pos x="8" y="22"/>
                </a:cxn>
                <a:cxn ang="0">
                  <a:pos x="22" y="22"/>
                </a:cxn>
                <a:cxn ang="0">
                  <a:pos x="34" y="24"/>
                </a:cxn>
                <a:cxn ang="0">
                  <a:pos x="29" y="9"/>
                </a:cxn>
                <a:cxn ang="0">
                  <a:pos x="23" y="3"/>
                </a:cxn>
                <a:cxn ang="0">
                  <a:pos x="20" y="0"/>
                </a:cxn>
                <a:cxn ang="0">
                  <a:pos x="36" y="1"/>
                </a:cxn>
                <a:cxn ang="0">
                  <a:pos x="46" y="2"/>
                </a:cxn>
              </a:cxnLst>
              <a:rect l="0" t="0" r="r" b="b"/>
              <a:pathLst>
                <a:path w="46" h="32">
                  <a:moveTo>
                    <a:pt x="46" y="2"/>
                  </a:moveTo>
                  <a:lnTo>
                    <a:pt x="43" y="15"/>
                  </a:lnTo>
                  <a:lnTo>
                    <a:pt x="41" y="21"/>
                  </a:lnTo>
                  <a:lnTo>
                    <a:pt x="42" y="32"/>
                  </a:lnTo>
                  <a:lnTo>
                    <a:pt x="26" y="31"/>
                  </a:lnTo>
                  <a:lnTo>
                    <a:pt x="10" y="31"/>
                  </a:lnTo>
                  <a:lnTo>
                    <a:pt x="0" y="25"/>
                  </a:lnTo>
                  <a:lnTo>
                    <a:pt x="8" y="22"/>
                  </a:lnTo>
                  <a:lnTo>
                    <a:pt x="22" y="22"/>
                  </a:lnTo>
                  <a:lnTo>
                    <a:pt x="34" y="24"/>
                  </a:lnTo>
                  <a:lnTo>
                    <a:pt x="29" y="9"/>
                  </a:lnTo>
                  <a:lnTo>
                    <a:pt x="23" y="3"/>
                  </a:lnTo>
                  <a:lnTo>
                    <a:pt x="20" y="0"/>
                  </a:lnTo>
                  <a:lnTo>
                    <a:pt x="36" y="1"/>
                  </a:lnTo>
                  <a:lnTo>
                    <a:pt x="46"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2" name="Freeform 149"/>
            <p:cNvSpPr>
              <a:spLocks/>
            </p:cNvSpPr>
            <p:nvPr/>
          </p:nvSpPr>
          <p:spPr bwMode="auto">
            <a:xfrm>
              <a:off x="1282" y="2270"/>
              <a:ext cx="5" cy="2"/>
            </a:xfrm>
            <a:custGeom>
              <a:avLst/>
              <a:gdLst/>
              <a:ahLst/>
              <a:cxnLst>
                <a:cxn ang="0">
                  <a:pos x="2" y="1"/>
                </a:cxn>
                <a:cxn ang="0">
                  <a:pos x="0" y="1"/>
                </a:cxn>
                <a:cxn ang="0">
                  <a:pos x="0" y="0"/>
                </a:cxn>
                <a:cxn ang="0">
                  <a:pos x="3" y="1"/>
                </a:cxn>
                <a:cxn ang="0">
                  <a:pos x="2" y="1"/>
                </a:cxn>
              </a:cxnLst>
              <a:rect l="0" t="0" r="r" b="b"/>
              <a:pathLst>
                <a:path w="3" h="1">
                  <a:moveTo>
                    <a:pt x="2" y="1"/>
                  </a:moveTo>
                  <a:lnTo>
                    <a:pt x="0" y="1"/>
                  </a:lnTo>
                  <a:lnTo>
                    <a:pt x="0" y="0"/>
                  </a:lnTo>
                  <a:lnTo>
                    <a:pt x="3" y="1"/>
                  </a:lnTo>
                  <a:lnTo>
                    <a:pt x="2"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3" name="Freeform 150"/>
            <p:cNvSpPr>
              <a:spLocks/>
            </p:cNvSpPr>
            <p:nvPr/>
          </p:nvSpPr>
          <p:spPr bwMode="auto">
            <a:xfrm>
              <a:off x="1291" y="2270"/>
              <a:ext cx="5" cy="2"/>
            </a:xfrm>
            <a:custGeom>
              <a:avLst/>
              <a:gdLst/>
              <a:ahLst/>
              <a:cxnLst>
                <a:cxn ang="0">
                  <a:pos x="4" y="1"/>
                </a:cxn>
                <a:cxn ang="0">
                  <a:pos x="0" y="0"/>
                </a:cxn>
                <a:cxn ang="0">
                  <a:pos x="4" y="1"/>
                </a:cxn>
              </a:cxnLst>
              <a:rect l="0" t="0" r="r" b="b"/>
              <a:pathLst>
                <a:path w="4" h="1">
                  <a:moveTo>
                    <a:pt x="4" y="1"/>
                  </a:moveTo>
                  <a:lnTo>
                    <a:pt x="0" y="0"/>
                  </a:lnTo>
                  <a:lnTo>
                    <a:pt x="4"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4" name="Freeform 151"/>
            <p:cNvSpPr>
              <a:spLocks/>
            </p:cNvSpPr>
            <p:nvPr/>
          </p:nvSpPr>
          <p:spPr bwMode="auto">
            <a:xfrm>
              <a:off x="1465" y="2425"/>
              <a:ext cx="2" cy="7"/>
            </a:xfrm>
            <a:custGeom>
              <a:avLst/>
              <a:gdLst/>
              <a:ahLst/>
              <a:cxnLst>
                <a:cxn ang="0">
                  <a:pos x="1" y="6"/>
                </a:cxn>
                <a:cxn ang="0">
                  <a:pos x="0" y="2"/>
                </a:cxn>
                <a:cxn ang="0">
                  <a:pos x="2" y="0"/>
                </a:cxn>
                <a:cxn ang="0">
                  <a:pos x="1" y="6"/>
                </a:cxn>
              </a:cxnLst>
              <a:rect l="0" t="0" r="r" b="b"/>
              <a:pathLst>
                <a:path w="2" h="6">
                  <a:moveTo>
                    <a:pt x="1" y="6"/>
                  </a:moveTo>
                  <a:lnTo>
                    <a:pt x="0" y="2"/>
                  </a:lnTo>
                  <a:lnTo>
                    <a:pt x="2" y="0"/>
                  </a:lnTo>
                  <a:lnTo>
                    <a:pt x="1"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5" name="Freeform 152"/>
            <p:cNvSpPr>
              <a:spLocks/>
            </p:cNvSpPr>
            <p:nvPr/>
          </p:nvSpPr>
          <p:spPr bwMode="auto">
            <a:xfrm>
              <a:off x="1025" y="2483"/>
              <a:ext cx="58" cy="62"/>
            </a:xfrm>
            <a:custGeom>
              <a:avLst/>
              <a:gdLst/>
              <a:ahLst/>
              <a:cxnLst>
                <a:cxn ang="0">
                  <a:pos x="12" y="27"/>
                </a:cxn>
                <a:cxn ang="0">
                  <a:pos x="0" y="13"/>
                </a:cxn>
                <a:cxn ang="0">
                  <a:pos x="2" y="5"/>
                </a:cxn>
                <a:cxn ang="0">
                  <a:pos x="2" y="2"/>
                </a:cxn>
                <a:cxn ang="0">
                  <a:pos x="5" y="0"/>
                </a:cxn>
                <a:cxn ang="0">
                  <a:pos x="26" y="5"/>
                </a:cxn>
                <a:cxn ang="0">
                  <a:pos x="36" y="3"/>
                </a:cxn>
                <a:cxn ang="0">
                  <a:pos x="44" y="15"/>
                </a:cxn>
                <a:cxn ang="0">
                  <a:pos x="52" y="27"/>
                </a:cxn>
                <a:cxn ang="0">
                  <a:pos x="46" y="29"/>
                </a:cxn>
                <a:cxn ang="0">
                  <a:pos x="47" y="41"/>
                </a:cxn>
                <a:cxn ang="0">
                  <a:pos x="46" y="55"/>
                </a:cxn>
                <a:cxn ang="0">
                  <a:pos x="37" y="43"/>
                </a:cxn>
                <a:cxn ang="0">
                  <a:pos x="37" y="48"/>
                </a:cxn>
                <a:cxn ang="0">
                  <a:pos x="35" y="42"/>
                </a:cxn>
                <a:cxn ang="0">
                  <a:pos x="30" y="32"/>
                </a:cxn>
                <a:cxn ang="0">
                  <a:pos x="19" y="24"/>
                </a:cxn>
                <a:cxn ang="0">
                  <a:pos x="10" y="15"/>
                </a:cxn>
                <a:cxn ang="0">
                  <a:pos x="13" y="24"/>
                </a:cxn>
                <a:cxn ang="0">
                  <a:pos x="12" y="27"/>
                </a:cxn>
              </a:cxnLst>
              <a:rect l="0" t="0" r="r" b="b"/>
              <a:pathLst>
                <a:path w="52" h="55">
                  <a:moveTo>
                    <a:pt x="12" y="27"/>
                  </a:moveTo>
                  <a:lnTo>
                    <a:pt x="0" y="13"/>
                  </a:lnTo>
                  <a:lnTo>
                    <a:pt x="2" y="5"/>
                  </a:lnTo>
                  <a:lnTo>
                    <a:pt x="2" y="2"/>
                  </a:lnTo>
                  <a:lnTo>
                    <a:pt x="5" y="0"/>
                  </a:lnTo>
                  <a:lnTo>
                    <a:pt x="26" y="5"/>
                  </a:lnTo>
                  <a:lnTo>
                    <a:pt x="36" y="3"/>
                  </a:lnTo>
                  <a:lnTo>
                    <a:pt x="44" y="15"/>
                  </a:lnTo>
                  <a:lnTo>
                    <a:pt x="52" y="27"/>
                  </a:lnTo>
                  <a:lnTo>
                    <a:pt x="46" y="29"/>
                  </a:lnTo>
                  <a:lnTo>
                    <a:pt x="47" y="41"/>
                  </a:lnTo>
                  <a:lnTo>
                    <a:pt x="46" y="55"/>
                  </a:lnTo>
                  <a:lnTo>
                    <a:pt x="37" y="43"/>
                  </a:lnTo>
                  <a:lnTo>
                    <a:pt x="37" y="48"/>
                  </a:lnTo>
                  <a:lnTo>
                    <a:pt x="35" y="42"/>
                  </a:lnTo>
                  <a:lnTo>
                    <a:pt x="30" y="32"/>
                  </a:lnTo>
                  <a:lnTo>
                    <a:pt x="19" y="24"/>
                  </a:lnTo>
                  <a:lnTo>
                    <a:pt x="10" y="15"/>
                  </a:lnTo>
                  <a:lnTo>
                    <a:pt x="13" y="24"/>
                  </a:lnTo>
                  <a:lnTo>
                    <a:pt x="12"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6" name="Freeform 153"/>
            <p:cNvSpPr>
              <a:spLocks/>
            </p:cNvSpPr>
            <p:nvPr/>
          </p:nvSpPr>
          <p:spPr bwMode="auto">
            <a:xfrm>
              <a:off x="1489" y="2441"/>
              <a:ext cx="5" cy="2"/>
            </a:xfrm>
            <a:custGeom>
              <a:avLst/>
              <a:gdLst/>
              <a:ahLst/>
              <a:cxnLst>
                <a:cxn ang="0">
                  <a:pos x="3" y="4"/>
                </a:cxn>
                <a:cxn ang="0">
                  <a:pos x="1" y="4"/>
                </a:cxn>
                <a:cxn ang="0">
                  <a:pos x="0" y="0"/>
                </a:cxn>
                <a:cxn ang="0">
                  <a:pos x="3" y="3"/>
                </a:cxn>
                <a:cxn ang="0">
                  <a:pos x="3" y="4"/>
                </a:cxn>
              </a:cxnLst>
              <a:rect l="0" t="0" r="r" b="b"/>
              <a:pathLst>
                <a:path w="3" h="4">
                  <a:moveTo>
                    <a:pt x="3" y="4"/>
                  </a:moveTo>
                  <a:lnTo>
                    <a:pt x="1" y="4"/>
                  </a:lnTo>
                  <a:lnTo>
                    <a:pt x="0" y="0"/>
                  </a:lnTo>
                  <a:lnTo>
                    <a:pt x="3" y="3"/>
                  </a:lnTo>
                  <a:lnTo>
                    <a:pt x="3"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7" name="Freeform 154"/>
            <p:cNvSpPr>
              <a:spLocks/>
            </p:cNvSpPr>
            <p:nvPr/>
          </p:nvSpPr>
          <p:spPr bwMode="auto">
            <a:xfrm>
              <a:off x="1460" y="2394"/>
              <a:ext cx="2" cy="9"/>
            </a:xfrm>
            <a:custGeom>
              <a:avLst/>
              <a:gdLst/>
              <a:ahLst/>
              <a:cxnLst>
                <a:cxn ang="0">
                  <a:pos x="4" y="5"/>
                </a:cxn>
                <a:cxn ang="0">
                  <a:pos x="1" y="8"/>
                </a:cxn>
                <a:cxn ang="0">
                  <a:pos x="0" y="0"/>
                </a:cxn>
                <a:cxn ang="0">
                  <a:pos x="3" y="0"/>
                </a:cxn>
                <a:cxn ang="0">
                  <a:pos x="4" y="5"/>
                </a:cxn>
              </a:cxnLst>
              <a:rect l="0" t="0" r="r" b="b"/>
              <a:pathLst>
                <a:path w="4" h="8">
                  <a:moveTo>
                    <a:pt x="4" y="5"/>
                  </a:moveTo>
                  <a:lnTo>
                    <a:pt x="1" y="8"/>
                  </a:lnTo>
                  <a:lnTo>
                    <a:pt x="0" y="0"/>
                  </a:lnTo>
                  <a:lnTo>
                    <a:pt x="3" y="0"/>
                  </a:lnTo>
                  <a:lnTo>
                    <a:pt x="4"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8" name="Freeform 155"/>
            <p:cNvSpPr>
              <a:spLocks/>
            </p:cNvSpPr>
            <p:nvPr/>
          </p:nvSpPr>
          <p:spPr bwMode="auto">
            <a:xfrm>
              <a:off x="956" y="2416"/>
              <a:ext cx="40" cy="27"/>
            </a:xfrm>
            <a:custGeom>
              <a:avLst/>
              <a:gdLst/>
              <a:ahLst/>
              <a:cxnLst>
                <a:cxn ang="0">
                  <a:pos x="35" y="18"/>
                </a:cxn>
                <a:cxn ang="0">
                  <a:pos x="31" y="23"/>
                </a:cxn>
                <a:cxn ang="0">
                  <a:pos x="23" y="20"/>
                </a:cxn>
                <a:cxn ang="0">
                  <a:pos x="12" y="17"/>
                </a:cxn>
                <a:cxn ang="0">
                  <a:pos x="0" y="12"/>
                </a:cxn>
                <a:cxn ang="0">
                  <a:pos x="13" y="0"/>
                </a:cxn>
                <a:cxn ang="0">
                  <a:pos x="23" y="7"/>
                </a:cxn>
                <a:cxn ang="0">
                  <a:pos x="36" y="9"/>
                </a:cxn>
                <a:cxn ang="0">
                  <a:pos x="35" y="18"/>
                </a:cxn>
              </a:cxnLst>
              <a:rect l="0" t="0" r="r" b="b"/>
              <a:pathLst>
                <a:path w="36" h="23">
                  <a:moveTo>
                    <a:pt x="35" y="18"/>
                  </a:moveTo>
                  <a:lnTo>
                    <a:pt x="31" y="23"/>
                  </a:lnTo>
                  <a:lnTo>
                    <a:pt x="23" y="20"/>
                  </a:lnTo>
                  <a:lnTo>
                    <a:pt x="12" y="17"/>
                  </a:lnTo>
                  <a:lnTo>
                    <a:pt x="0" y="12"/>
                  </a:lnTo>
                  <a:lnTo>
                    <a:pt x="13" y="0"/>
                  </a:lnTo>
                  <a:lnTo>
                    <a:pt x="23" y="7"/>
                  </a:lnTo>
                  <a:lnTo>
                    <a:pt x="36" y="9"/>
                  </a:lnTo>
                  <a:lnTo>
                    <a:pt x="35"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9" name="Freeform 156"/>
            <p:cNvSpPr>
              <a:spLocks/>
            </p:cNvSpPr>
            <p:nvPr/>
          </p:nvSpPr>
          <p:spPr bwMode="auto">
            <a:xfrm>
              <a:off x="971" y="2387"/>
              <a:ext cx="109" cy="60"/>
            </a:xfrm>
            <a:custGeom>
              <a:avLst/>
              <a:gdLst/>
              <a:ahLst/>
              <a:cxnLst>
                <a:cxn ang="0">
                  <a:pos x="53" y="36"/>
                </a:cxn>
                <a:cxn ang="0">
                  <a:pos x="47" y="38"/>
                </a:cxn>
                <a:cxn ang="0">
                  <a:pos x="40" y="42"/>
                </a:cxn>
                <a:cxn ang="0">
                  <a:pos x="34" y="53"/>
                </a:cxn>
                <a:cxn ang="0">
                  <a:pos x="30" y="53"/>
                </a:cxn>
                <a:cxn ang="0">
                  <a:pos x="28" y="46"/>
                </a:cxn>
                <a:cxn ang="0">
                  <a:pos x="22" y="45"/>
                </a:cxn>
                <a:cxn ang="0">
                  <a:pos x="23" y="36"/>
                </a:cxn>
                <a:cxn ang="0">
                  <a:pos x="10" y="34"/>
                </a:cxn>
                <a:cxn ang="0">
                  <a:pos x="0" y="27"/>
                </a:cxn>
                <a:cxn ang="0">
                  <a:pos x="10" y="12"/>
                </a:cxn>
                <a:cxn ang="0">
                  <a:pos x="20" y="4"/>
                </a:cxn>
                <a:cxn ang="0">
                  <a:pos x="22" y="4"/>
                </a:cxn>
                <a:cxn ang="0">
                  <a:pos x="37" y="2"/>
                </a:cxn>
                <a:cxn ang="0">
                  <a:pos x="53" y="0"/>
                </a:cxn>
                <a:cxn ang="0">
                  <a:pos x="65" y="2"/>
                </a:cxn>
                <a:cxn ang="0">
                  <a:pos x="78" y="2"/>
                </a:cxn>
                <a:cxn ang="0">
                  <a:pos x="88" y="9"/>
                </a:cxn>
                <a:cxn ang="0">
                  <a:pos x="85" y="8"/>
                </a:cxn>
                <a:cxn ang="0">
                  <a:pos x="86" y="11"/>
                </a:cxn>
                <a:cxn ang="0">
                  <a:pos x="92" y="11"/>
                </a:cxn>
                <a:cxn ang="0">
                  <a:pos x="98" y="17"/>
                </a:cxn>
                <a:cxn ang="0">
                  <a:pos x="85" y="18"/>
                </a:cxn>
                <a:cxn ang="0">
                  <a:pos x="72" y="21"/>
                </a:cxn>
                <a:cxn ang="0">
                  <a:pos x="53" y="36"/>
                </a:cxn>
              </a:cxnLst>
              <a:rect l="0" t="0" r="r" b="b"/>
              <a:pathLst>
                <a:path w="98" h="53">
                  <a:moveTo>
                    <a:pt x="53" y="36"/>
                  </a:moveTo>
                  <a:lnTo>
                    <a:pt x="47" y="38"/>
                  </a:lnTo>
                  <a:lnTo>
                    <a:pt x="40" y="42"/>
                  </a:lnTo>
                  <a:lnTo>
                    <a:pt x="34" y="53"/>
                  </a:lnTo>
                  <a:lnTo>
                    <a:pt x="30" y="53"/>
                  </a:lnTo>
                  <a:lnTo>
                    <a:pt x="28" y="46"/>
                  </a:lnTo>
                  <a:lnTo>
                    <a:pt x="22" y="45"/>
                  </a:lnTo>
                  <a:lnTo>
                    <a:pt x="23" y="36"/>
                  </a:lnTo>
                  <a:lnTo>
                    <a:pt x="10" y="34"/>
                  </a:lnTo>
                  <a:lnTo>
                    <a:pt x="0" y="27"/>
                  </a:lnTo>
                  <a:lnTo>
                    <a:pt x="10" y="12"/>
                  </a:lnTo>
                  <a:lnTo>
                    <a:pt x="20" y="4"/>
                  </a:lnTo>
                  <a:lnTo>
                    <a:pt x="22" y="4"/>
                  </a:lnTo>
                  <a:lnTo>
                    <a:pt x="37" y="2"/>
                  </a:lnTo>
                  <a:lnTo>
                    <a:pt x="53" y="0"/>
                  </a:lnTo>
                  <a:lnTo>
                    <a:pt x="65" y="2"/>
                  </a:lnTo>
                  <a:lnTo>
                    <a:pt x="78" y="2"/>
                  </a:lnTo>
                  <a:lnTo>
                    <a:pt x="88" y="9"/>
                  </a:lnTo>
                  <a:lnTo>
                    <a:pt x="85" y="8"/>
                  </a:lnTo>
                  <a:lnTo>
                    <a:pt x="86" y="11"/>
                  </a:lnTo>
                  <a:lnTo>
                    <a:pt x="92" y="11"/>
                  </a:lnTo>
                  <a:lnTo>
                    <a:pt x="98" y="17"/>
                  </a:lnTo>
                  <a:lnTo>
                    <a:pt x="85" y="18"/>
                  </a:lnTo>
                  <a:lnTo>
                    <a:pt x="72" y="21"/>
                  </a:lnTo>
                  <a:lnTo>
                    <a:pt x="53" y="3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0" name="Freeform 157"/>
            <p:cNvSpPr>
              <a:spLocks/>
            </p:cNvSpPr>
            <p:nvPr/>
          </p:nvSpPr>
          <p:spPr bwMode="auto">
            <a:xfrm>
              <a:off x="1462" y="2410"/>
              <a:ext cx="7" cy="6"/>
            </a:xfrm>
            <a:custGeom>
              <a:avLst/>
              <a:gdLst/>
              <a:ahLst/>
              <a:cxnLst>
                <a:cxn ang="0">
                  <a:pos x="6" y="6"/>
                </a:cxn>
                <a:cxn ang="0">
                  <a:pos x="0" y="0"/>
                </a:cxn>
                <a:cxn ang="0">
                  <a:pos x="7" y="6"/>
                </a:cxn>
                <a:cxn ang="0">
                  <a:pos x="6" y="6"/>
                </a:cxn>
              </a:cxnLst>
              <a:rect l="0" t="0" r="r" b="b"/>
              <a:pathLst>
                <a:path w="7" h="6">
                  <a:moveTo>
                    <a:pt x="6" y="6"/>
                  </a:moveTo>
                  <a:lnTo>
                    <a:pt x="0" y="0"/>
                  </a:lnTo>
                  <a:lnTo>
                    <a:pt x="7" y="6"/>
                  </a:lnTo>
                  <a:lnTo>
                    <a:pt x="6"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1" name="Freeform 158"/>
            <p:cNvSpPr>
              <a:spLocks/>
            </p:cNvSpPr>
            <p:nvPr/>
          </p:nvSpPr>
          <p:spPr bwMode="auto">
            <a:xfrm>
              <a:off x="998" y="2407"/>
              <a:ext cx="82" cy="83"/>
            </a:xfrm>
            <a:custGeom>
              <a:avLst/>
              <a:gdLst/>
              <a:ahLst/>
              <a:cxnLst>
                <a:cxn ang="0">
                  <a:pos x="29" y="19"/>
                </a:cxn>
                <a:cxn ang="0">
                  <a:pos x="23" y="21"/>
                </a:cxn>
                <a:cxn ang="0">
                  <a:pos x="16" y="25"/>
                </a:cxn>
                <a:cxn ang="0">
                  <a:pos x="10" y="36"/>
                </a:cxn>
                <a:cxn ang="0">
                  <a:pos x="6" y="36"/>
                </a:cxn>
                <a:cxn ang="0">
                  <a:pos x="0" y="37"/>
                </a:cxn>
                <a:cxn ang="0">
                  <a:pos x="14" y="54"/>
                </a:cxn>
                <a:cxn ang="0">
                  <a:pos x="29" y="70"/>
                </a:cxn>
                <a:cxn ang="0">
                  <a:pos x="50" y="75"/>
                </a:cxn>
                <a:cxn ang="0">
                  <a:pos x="60" y="73"/>
                </a:cxn>
                <a:cxn ang="0">
                  <a:pos x="60" y="61"/>
                </a:cxn>
                <a:cxn ang="0">
                  <a:pos x="61" y="52"/>
                </a:cxn>
                <a:cxn ang="0">
                  <a:pos x="64" y="41"/>
                </a:cxn>
                <a:cxn ang="0">
                  <a:pos x="65" y="45"/>
                </a:cxn>
                <a:cxn ang="0">
                  <a:pos x="67" y="31"/>
                </a:cxn>
                <a:cxn ang="0">
                  <a:pos x="70" y="17"/>
                </a:cxn>
                <a:cxn ang="0">
                  <a:pos x="70" y="3"/>
                </a:cxn>
                <a:cxn ang="0">
                  <a:pos x="74" y="0"/>
                </a:cxn>
                <a:cxn ang="0">
                  <a:pos x="61" y="1"/>
                </a:cxn>
                <a:cxn ang="0">
                  <a:pos x="48" y="4"/>
                </a:cxn>
                <a:cxn ang="0">
                  <a:pos x="29" y="19"/>
                </a:cxn>
              </a:cxnLst>
              <a:rect l="0" t="0" r="r" b="b"/>
              <a:pathLst>
                <a:path w="74" h="75">
                  <a:moveTo>
                    <a:pt x="29" y="19"/>
                  </a:moveTo>
                  <a:lnTo>
                    <a:pt x="23" y="21"/>
                  </a:lnTo>
                  <a:lnTo>
                    <a:pt x="16" y="25"/>
                  </a:lnTo>
                  <a:lnTo>
                    <a:pt x="10" y="36"/>
                  </a:lnTo>
                  <a:lnTo>
                    <a:pt x="6" y="36"/>
                  </a:lnTo>
                  <a:lnTo>
                    <a:pt x="0" y="37"/>
                  </a:lnTo>
                  <a:lnTo>
                    <a:pt x="14" y="54"/>
                  </a:lnTo>
                  <a:lnTo>
                    <a:pt x="29" y="70"/>
                  </a:lnTo>
                  <a:lnTo>
                    <a:pt x="50" y="75"/>
                  </a:lnTo>
                  <a:lnTo>
                    <a:pt x="60" y="73"/>
                  </a:lnTo>
                  <a:lnTo>
                    <a:pt x="60" y="61"/>
                  </a:lnTo>
                  <a:lnTo>
                    <a:pt x="61" y="52"/>
                  </a:lnTo>
                  <a:lnTo>
                    <a:pt x="64" y="41"/>
                  </a:lnTo>
                  <a:lnTo>
                    <a:pt x="65" y="45"/>
                  </a:lnTo>
                  <a:lnTo>
                    <a:pt x="67" y="31"/>
                  </a:lnTo>
                  <a:lnTo>
                    <a:pt x="70" y="17"/>
                  </a:lnTo>
                  <a:lnTo>
                    <a:pt x="70" y="3"/>
                  </a:lnTo>
                  <a:lnTo>
                    <a:pt x="74" y="0"/>
                  </a:lnTo>
                  <a:lnTo>
                    <a:pt x="61" y="1"/>
                  </a:lnTo>
                  <a:lnTo>
                    <a:pt x="48" y="4"/>
                  </a:lnTo>
                  <a:lnTo>
                    <a:pt x="29" y="1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2" name="Freeform 159"/>
            <p:cNvSpPr>
              <a:spLocks/>
            </p:cNvSpPr>
            <p:nvPr/>
          </p:nvSpPr>
          <p:spPr bwMode="auto">
            <a:xfrm>
              <a:off x="1460" y="2439"/>
              <a:ext cx="2" cy="4"/>
            </a:xfrm>
            <a:custGeom>
              <a:avLst/>
              <a:gdLst/>
              <a:ahLst/>
              <a:cxnLst>
                <a:cxn ang="0">
                  <a:pos x="2" y="4"/>
                </a:cxn>
                <a:cxn ang="0">
                  <a:pos x="2" y="0"/>
                </a:cxn>
                <a:cxn ang="0">
                  <a:pos x="0" y="2"/>
                </a:cxn>
                <a:cxn ang="0">
                  <a:pos x="2" y="4"/>
                </a:cxn>
              </a:cxnLst>
              <a:rect l="0" t="0" r="r" b="b"/>
              <a:pathLst>
                <a:path w="2" h="4">
                  <a:moveTo>
                    <a:pt x="2" y="4"/>
                  </a:moveTo>
                  <a:lnTo>
                    <a:pt x="2" y="0"/>
                  </a:lnTo>
                  <a:lnTo>
                    <a:pt x="0" y="2"/>
                  </a:lnTo>
                  <a:lnTo>
                    <a:pt x="2"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3" name="Freeform 160"/>
            <p:cNvSpPr>
              <a:spLocks/>
            </p:cNvSpPr>
            <p:nvPr/>
          </p:nvSpPr>
          <p:spPr bwMode="auto">
            <a:xfrm>
              <a:off x="1442" y="2363"/>
              <a:ext cx="3" cy="2"/>
            </a:xfrm>
            <a:custGeom>
              <a:avLst/>
              <a:gdLst/>
              <a:ahLst/>
              <a:cxnLst>
                <a:cxn ang="0">
                  <a:pos x="1" y="1"/>
                </a:cxn>
                <a:cxn ang="0">
                  <a:pos x="0" y="0"/>
                </a:cxn>
                <a:cxn ang="0">
                  <a:pos x="1" y="1"/>
                </a:cxn>
              </a:cxnLst>
              <a:rect l="0" t="0" r="r" b="b"/>
              <a:pathLst>
                <a:path w="1" h="1">
                  <a:moveTo>
                    <a:pt x="1" y="1"/>
                  </a:moveTo>
                  <a:lnTo>
                    <a:pt x="0" y="0"/>
                  </a:lnTo>
                  <a:lnTo>
                    <a:pt x="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4" name="Freeform 161"/>
            <p:cNvSpPr>
              <a:spLocks/>
            </p:cNvSpPr>
            <p:nvPr/>
          </p:nvSpPr>
          <p:spPr bwMode="auto">
            <a:xfrm>
              <a:off x="1438" y="2359"/>
              <a:ext cx="4" cy="2"/>
            </a:xfrm>
            <a:custGeom>
              <a:avLst/>
              <a:gdLst/>
              <a:ahLst/>
              <a:cxnLst>
                <a:cxn ang="0">
                  <a:pos x="4" y="2"/>
                </a:cxn>
                <a:cxn ang="0">
                  <a:pos x="0" y="0"/>
                </a:cxn>
                <a:cxn ang="0">
                  <a:pos x="4" y="2"/>
                </a:cxn>
              </a:cxnLst>
              <a:rect l="0" t="0" r="r" b="b"/>
              <a:pathLst>
                <a:path w="4" h="2">
                  <a:moveTo>
                    <a:pt x="4" y="2"/>
                  </a:moveTo>
                  <a:lnTo>
                    <a:pt x="0" y="0"/>
                  </a:lnTo>
                  <a:lnTo>
                    <a:pt x="4"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5" name="Freeform 162"/>
            <p:cNvSpPr>
              <a:spLocks/>
            </p:cNvSpPr>
            <p:nvPr/>
          </p:nvSpPr>
          <p:spPr bwMode="auto">
            <a:xfrm>
              <a:off x="1456" y="2381"/>
              <a:ext cx="4" cy="4"/>
            </a:xfrm>
            <a:custGeom>
              <a:avLst/>
              <a:gdLst/>
              <a:ahLst/>
              <a:cxnLst>
                <a:cxn ang="0">
                  <a:pos x="2" y="0"/>
                </a:cxn>
                <a:cxn ang="0">
                  <a:pos x="3" y="1"/>
                </a:cxn>
                <a:cxn ang="0">
                  <a:pos x="0" y="5"/>
                </a:cxn>
                <a:cxn ang="0">
                  <a:pos x="2" y="0"/>
                </a:cxn>
              </a:cxnLst>
              <a:rect l="0" t="0" r="r" b="b"/>
              <a:pathLst>
                <a:path w="3" h="5">
                  <a:moveTo>
                    <a:pt x="2" y="0"/>
                  </a:moveTo>
                  <a:lnTo>
                    <a:pt x="3" y="1"/>
                  </a:lnTo>
                  <a:lnTo>
                    <a:pt x="0" y="5"/>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6" name="Freeform 163"/>
            <p:cNvSpPr>
              <a:spLocks/>
            </p:cNvSpPr>
            <p:nvPr/>
          </p:nvSpPr>
          <p:spPr bwMode="auto">
            <a:xfrm>
              <a:off x="1434" y="2341"/>
              <a:ext cx="4" cy="2"/>
            </a:xfrm>
            <a:custGeom>
              <a:avLst/>
              <a:gdLst/>
              <a:ahLst/>
              <a:cxnLst>
                <a:cxn ang="0">
                  <a:pos x="4" y="1"/>
                </a:cxn>
                <a:cxn ang="0">
                  <a:pos x="4" y="0"/>
                </a:cxn>
                <a:cxn ang="0">
                  <a:pos x="4" y="1"/>
                </a:cxn>
                <a:cxn ang="0">
                  <a:pos x="3" y="1"/>
                </a:cxn>
                <a:cxn ang="0">
                  <a:pos x="2" y="1"/>
                </a:cxn>
                <a:cxn ang="0">
                  <a:pos x="2" y="3"/>
                </a:cxn>
                <a:cxn ang="0">
                  <a:pos x="0" y="3"/>
                </a:cxn>
                <a:cxn ang="0">
                  <a:pos x="2" y="3"/>
                </a:cxn>
                <a:cxn ang="0">
                  <a:pos x="3" y="3"/>
                </a:cxn>
                <a:cxn ang="0">
                  <a:pos x="3" y="1"/>
                </a:cxn>
                <a:cxn ang="0">
                  <a:pos x="4" y="1"/>
                </a:cxn>
              </a:cxnLst>
              <a:rect l="0" t="0" r="r" b="b"/>
              <a:pathLst>
                <a:path w="4" h="3">
                  <a:moveTo>
                    <a:pt x="4" y="1"/>
                  </a:moveTo>
                  <a:lnTo>
                    <a:pt x="4" y="0"/>
                  </a:lnTo>
                  <a:lnTo>
                    <a:pt x="4" y="1"/>
                  </a:lnTo>
                  <a:lnTo>
                    <a:pt x="3" y="1"/>
                  </a:lnTo>
                  <a:lnTo>
                    <a:pt x="2" y="1"/>
                  </a:lnTo>
                  <a:lnTo>
                    <a:pt x="2" y="3"/>
                  </a:lnTo>
                  <a:lnTo>
                    <a:pt x="0" y="3"/>
                  </a:lnTo>
                  <a:lnTo>
                    <a:pt x="2" y="3"/>
                  </a:lnTo>
                  <a:lnTo>
                    <a:pt x="3" y="3"/>
                  </a:lnTo>
                  <a:lnTo>
                    <a:pt x="3" y="1"/>
                  </a:lnTo>
                  <a:lnTo>
                    <a:pt x="4"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7" name="Freeform 164"/>
            <p:cNvSpPr>
              <a:spLocks/>
            </p:cNvSpPr>
            <p:nvPr/>
          </p:nvSpPr>
          <p:spPr bwMode="auto">
            <a:xfrm>
              <a:off x="1456" y="2363"/>
              <a:ext cx="4" cy="2"/>
            </a:xfrm>
            <a:custGeom>
              <a:avLst/>
              <a:gdLst/>
              <a:ahLst/>
              <a:cxnLst>
                <a:cxn ang="0">
                  <a:pos x="1" y="0"/>
                </a:cxn>
                <a:cxn ang="0">
                  <a:pos x="0" y="1"/>
                </a:cxn>
                <a:cxn ang="0">
                  <a:pos x="0" y="2"/>
                </a:cxn>
                <a:cxn ang="0">
                  <a:pos x="3" y="2"/>
                </a:cxn>
                <a:cxn ang="0">
                  <a:pos x="1" y="0"/>
                </a:cxn>
              </a:cxnLst>
              <a:rect l="0" t="0" r="r" b="b"/>
              <a:pathLst>
                <a:path w="3" h="2">
                  <a:moveTo>
                    <a:pt x="1" y="0"/>
                  </a:moveTo>
                  <a:lnTo>
                    <a:pt x="0" y="1"/>
                  </a:lnTo>
                  <a:lnTo>
                    <a:pt x="0" y="2"/>
                  </a:lnTo>
                  <a:lnTo>
                    <a:pt x="3" y="2"/>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8" name="Freeform 165"/>
            <p:cNvSpPr>
              <a:spLocks/>
            </p:cNvSpPr>
            <p:nvPr/>
          </p:nvSpPr>
          <p:spPr bwMode="auto">
            <a:xfrm>
              <a:off x="1456" y="2352"/>
              <a:ext cx="2" cy="2"/>
            </a:xfrm>
            <a:custGeom>
              <a:avLst/>
              <a:gdLst/>
              <a:ahLst/>
              <a:cxnLst>
                <a:cxn ang="0">
                  <a:pos x="1" y="2"/>
                </a:cxn>
                <a:cxn ang="0">
                  <a:pos x="0" y="1"/>
                </a:cxn>
                <a:cxn ang="0">
                  <a:pos x="0" y="0"/>
                </a:cxn>
                <a:cxn ang="0">
                  <a:pos x="1" y="1"/>
                </a:cxn>
                <a:cxn ang="0">
                  <a:pos x="1" y="2"/>
                </a:cxn>
              </a:cxnLst>
              <a:rect l="0" t="0" r="r" b="b"/>
              <a:pathLst>
                <a:path w="1" h="2">
                  <a:moveTo>
                    <a:pt x="1" y="2"/>
                  </a:moveTo>
                  <a:lnTo>
                    <a:pt x="0" y="1"/>
                  </a:lnTo>
                  <a:lnTo>
                    <a:pt x="0" y="0"/>
                  </a:lnTo>
                  <a:lnTo>
                    <a:pt x="1" y="1"/>
                  </a:lnTo>
                  <a:lnTo>
                    <a:pt x="1"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9" name="Freeform 166"/>
            <p:cNvSpPr>
              <a:spLocks/>
            </p:cNvSpPr>
            <p:nvPr/>
          </p:nvSpPr>
          <p:spPr bwMode="auto">
            <a:xfrm>
              <a:off x="976" y="2336"/>
              <a:ext cx="24" cy="51"/>
            </a:xfrm>
            <a:custGeom>
              <a:avLst/>
              <a:gdLst/>
              <a:ahLst/>
              <a:cxnLst>
                <a:cxn ang="0">
                  <a:pos x="13" y="38"/>
                </a:cxn>
                <a:cxn ang="0">
                  <a:pos x="5" y="46"/>
                </a:cxn>
                <a:cxn ang="0">
                  <a:pos x="0" y="46"/>
                </a:cxn>
                <a:cxn ang="0">
                  <a:pos x="2" y="30"/>
                </a:cxn>
                <a:cxn ang="0">
                  <a:pos x="6" y="12"/>
                </a:cxn>
                <a:cxn ang="0">
                  <a:pos x="20" y="0"/>
                </a:cxn>
                <a:cxn ang="0">
                  <a:pos x="21" y="3"/>
                </a:cxn>
                <a:cxn ang="0">
                  <a:pos x="17" y="20"/>
                </a:cxn>
                <a:cxn ang="0">
                  <a:pos x="13" y="38"/>
                </a:cxn>
              </a:cxnLst>
              <a:rect l="0" t="0" r="r" b="b"/>
              <a:pathLst>
                <a:path w="21" h="46">
                  <a:moveTo>
                    <a:pt x="13" y="38"/>
                  </a:moveTo>
                  <a:lnTo>
                    <a:pt x="5" y="46"/>
                  </a:lnTo>
                  <a:lnTo>
                    <a:pt x="0" y="46"/>
                  </a:lnTo>
                  <a:lnTo>
                    <a:pt x="2" y="30"/>
                  </a:lnTo>
                  <a:lnTo>
                    <a:pt x="6" y="12"/>
                  </a:lnTo>
                  <a:lnTo>
                    <a:pt x="20" y="0"/>
                  </a:lnTo>
                  <a:lnTo>
                    <a:pt x="21" y="3"/>
                  </a:lnTo>
                  <a:lnTo>
                    <a:pt x="17" y="20"/>
                  </a:lnTo>
                  <a:lnTo>
                    <a:pt x="13" y="3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0" name="Freeform 167"/>
            <p:cNvSpPr>
              <a:spLocks/>
            </p:cNvSpPr>
            <p:nvPr/>
          </p:nvSpPr>
          <p:spPr bwMode="auto">
            <a:xfrm>
              <a:off x="920" y="2350"/>
              <a:ext cx="74" cy="80"/>
            </a:xfrm>
            <a:custGeom>
              <a:avLst/>
              <a:gdLst/>
              <a:ahLst/>
              <a:cxnLst>
                <a:cxn ang="0">
                  <a:pos x="6" y="64"/>
                </a:cxn>
                <a:cxn ang="0">
                  <a:pos x="0" y="58"/>
                </a:cxn>
                <a:cxn ang="0">
                  <a:pos x="3" y="46"/>
                </a:cxn>
                <a:cxn ang="0">
                  <a:pos x="11" y="32"/>
                </a:cxn>
                <a:cxn ang="0">
                  <a:pos x="33" y="28"/>
                </a:cxn>
                <a:cxn ang="0">
                  <a:pos x="21" y="12"/>
                </a:cxn>
                <a:cxn ang="0">
                  <a:pos x="26" y="10"/>
                </a:cxn>
                <a:cxn ang="0">
                  <a:pos x="27" y="0"/>
                </a:cxn>
                <a:cxn ang="0">
                  <a:pos x="42" y="0"/>
                </a:cxn>
                <a:cxn ang="0">
                  <a:pos x="57" y="0"/>
                </a:cxn>
                <a:cxn ang="0">
                  <a:pos x="53" y="18"/>
                </a:cxn>
                <a:cxn ang="0">
                  <a:pos x="51" y="34"/>
                </a:cxn>
                <a:cxn ang="0">
                  <a:pos x="56" y="34"/>
                </a:cxn>
                <a:cxn ang="0">
                  <a:pos x="62" y="36"/>
                </a:cxn>
                <a:cxn ang="0">
                  <a:pos x="66" y="38"/>
                </a:cxn>
                <a:cxn ang="0">
                  <a:pos x="56" y="46"/>
                </a:cxn>
                <a:cxn ang="0">
                  <a:pos x="46" y="61"/>
                </a:cxn>
                <a:cxn ang="0">
                  <a:pos x="33" y="73"/>
                </a:cxn>
                <a:cxn ang="0">
                  <a:pos x="20" y="69"/>
                </a:cxn>
                <a:cxn ang="0">
                  <a:pos x="6" y="64"/>
                </a:cxn>
              </a:cxnLst>
              <a:rect l="0" t="0" r="r" b="b"/>
              <a:pathLst>
                <a:path w="66" h="73">
                  <a:moveTo>
                    <a:pt x="6" y="64"/>
                  </a:moveTo>
                  <a:lnTo>
                    <a:pt x="0" y="58"/>
                  </a:lnTo>
                  <a:lnTo>
                    <a:pt x="3" y="46"/>
                  </a:lnTo>
                  <a:lnTo>
                    <a:pt x="11" y="32"/>
                  </a:lnTo>
                  <a:lnTo>
                    <a:pt x="33" y="28"/>
                  </a:lnTo>
                  <a:lnTo>
                    <a:pt x="21" y="12"/>
                  </a:lnTo>
                  <a:lnTo>
                    <a:pt x="26" y="10"/>
                  </a:lnTo>
                  <a:lnTo>
                    <a:pt x="27" y="0"/>
                  </a:lnTo>
                  <a:lnTo>
                    <a:pt x="42" y="0"/>
                  </a:lnTo>
                  <a:lnTo>
                    <a:pt x="57" y="0"/>
                  </a:lnTo>
                  <a:lnTo>
                    <a:pt x="53" y="18"/>
                  </a:lnTo>
                  <a:lnTo>
                    <a:pt x="51" y="34"/>
                  </a:lnTo>
                  <a:lnTo>
                    <a:pt x="56" y="34"/>
                  </a:lnTo>
                  <a:lnTo>
                    <a:pt x="62" y="36"/>
                  </a:lnTo>
                  <a:lnTo>
                    <a:pt x="66" y="38"/>
                  </a:lnTo>
                  <a:lnTo>
                    <a:pt x="56" y="46"/>
                  </a:lnTo>
                  <a:lnTo>
                    <a:pt x="46" y="61"/>
                  </a:lnTo>
                  <a:lnTo>
                    <a:pt x="33" y="73"/>
                  </a:lnTo>
                  <a:lnTo>
                    <a:pt x="20" y="69"/>
                  </a:lnTo>
                  <a:lnTo>
                    <a:pt x="6" y="6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1" name="Freeform 168"/>
            <p:cNvSpPr>
              <a:spLocks/>
            </p:cNvSpPr>
            <p:nvPr/>
          </p:nvSpPr>
          <p:spPr bwMode="auto">
            <a:xfrm>
              <a:off x="1171" y="2336"/>
              <a:ext cx="36" cy="14"/>
            </a:xfrm>
            <a:custGeom>
              <a:avLst/>
              <a:gdLst/>
              <a:ahLst/>
              <a:cxnLst>
                <a:cxn ang="0">
                  <a:pos x="12" y="0"/>
                </a:cxn>
                <a:cxn ang="0">
                  <a:pos x="0" y="4"/>
                </a:cxn>
                <a:cxn ang="0">
                  <a:pos x="18" y="13"/>
                </a:cxn>
                <a:cxn ang="0">
                  <a:pos x="32" y="10"/>
                </a:cxn>
                <a:cxn ang="0">
                  <a:pos x="12" y="0"/>
                </a:cxn>
              </a:cxnLst>
              <a:rect l="0" t="0" r="r" b="b"/>
              <a:pathLst>
                <a:path w="32" h="13">
                  <a:moveTo>
                    <a:pt x="12" y="0"/>
                  </a:moveTo>
                  <a:lnTo>
                    <a:pt x="0" y="4"/>
                  </a:lnTo>
                  <a:lnTo>
                    <a:pt x="18" y="13"/>
                  </a:lnTo>
                  <a:lnTo>
                    <a:pt x="32" y="10"/>
                  </a:lnTo>
                  <a:lnTo>
                    <a:pt x="1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2" name="Freeform 169"/>
            <p:cNvSpPr>
              <a:spLocks/>
            </p:cNvSpPr>
            <p:nvPr/>
          </p:nvSpPr>
          <p:spPr bwMode="auto">
            <a:xfrm>
              <a:off x="1365" y="2336"/>
              <a:ext cx="29" cy="11"/>
            </a:xfrm>
            <a:custGeom>
              <a:avLst/>
              <a:gdLst/>
              <a:ahLst/>
              <a:cxnLst>
                <a:cxn ang="0">
                  <a:pos x="25" y="4"/>
                </a:cxn>
                <a:cxn ang="0">
                  <a:pos x="23" y="6"/>
                </a:cxn>
                <a:cxn ang="0">
                  <a:pos x="7" y="9"/>
                </a:cxn>
                <a:cxn ang="0">
                  <a:pos x="0" y="7"/>
                </a:cxn>
                <a:cxn ang="0">
                  <a:pos x="2" y="0"/>
                </a:cxn>
                <a:cxn ang="0">
                  <a:pos x="25" y="4"/>
                </a:cxn>
              </a:cxnLst>
              <a:rect l="0" t="0" r="r" b="b"/>
              <a:pathLst>
                <a:path w="25" h="9">
                  <a:moveTo>
                    <a:pt x="25" y="4"/>
                  </a:moveTo>
                  <a:lnTo>
                    <a:pt x="23" y="6"/>
                  </a:lnTo>
                  <a:lnTo>
                    <a:pt x="7" y="9"/>
                  </a:lnTo>
                  <a:lnTo>
                    <a:pt x="0" y="7"/>
                  </a:lnTo>
                  <a:lnTo>
                    <a:pt x="2" y="0"/>
                  </a:lnTo>
                  <a:lnTo>
                    <a:pt x="25"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3" name="Freeform 170"/>
            <p:cNvSpPr>
              <a:spLocks/>
            </p:cNvSpPr>
            <p:nvPr/>
          </p:nvSpPr>
          <p:spPr bwMode="auto">
            <a:xfrm>
              <a:off x="1402" y="2350"/>
              <a:ext cx="7" cy="2"/>
            </a:xfrm>
            <a:custGeom>
              <a:avLst/>
              <a:gdLst/>
              <a:ahLst/>
              <a:cxnLst>
                <a:cxn ang="0">
                  <a:pos x="6" y="0"/>
                </a:cxn>
                <a:cxn ang="0">
                  <a:pos x="2" y="0"/>
                </a:cxn>
                <a:cxn ang="0">
                  <a:pos x="0" y="1"/>
                </a:cxn>
                <a:cxn ang="0">
                  <a:pos x="6" y="0"/>
                </a:cxn>
              </a:cxnLst>
              <a:rect l="0" t="0" r="r" b="b"/>
              <a:pathLst>
                <a:path w="6" h="1">
                  <a:moveTo>
                    <a:pt x="6" y="0"/>
                  </a:moveTo>
                  <a:lnTo>
                    <a:pt x="2" y="0"/>
                  </a:lnTo>
                  <a:lnTo>
                    <a:pt x="0" y="1"/>
                  </a:lnTo>
                  <a:lnTo>
                    <a:pt x="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4" name="Freeform 171"/>
            <p:cNvSpPr>
              <a:spLocks/>
            </p:cNvSpPr>
            <p:nvPr/>
          </p:nvSpPr>
          <p:spPr bwMode="auto">
            <a:xfrm>
              <a:off x="567" y="2054"/>
              <a:ext cx="467" cy="360"/>
            </a:xfrm>
            <a:custGeom>
              <a:avLst/>
              <a:gdLst/>
              <a:ahLst/>
              <a:cxnLst>
                <a:cxn ang="0">
                  <a:pos x="53" y="157"/>
                </a:cxn>
                <a:cxn ang="0">
                  <a:pos x="35" y="114"/>
                </a:cxn>
                <a:cxn ang="0">
                  <a:pos x="14" y="95"/>
                </a:cxn>
                <a:cxn ang="0">
                  <a:pos x="22" y="71"/>
                </a:cxn>
                <a:cxn ang="0">
                  <a:pos x="3" y="25"/>
                </a:cxn>
                <a:cxn ang="0">
                  <a:pos x="38" y="0"/>
                </a:cxn>
                <a:cxn ang="0">
                  <a:pos x="72" y="18"/>
                </a:cxn>
                <a:cxn ang="0">
                  <a:pos x="128" y="24"/>
                </a:cxn>
                <a:cxn ang="0">
                  <a:pos x="170" y="34"/>
                </a:cxn>
                <a:cxn ang="0">
                  <a:pos x="192" y="66"/>
                </a:cxn>
                <a:cxn ang="0">
                  <a:pos x="232" y="71"/>
                </a:cxn>
                <a:cxn ang="0">
                  <a:pos x="254" y="118"/>
                </a:cxn>
                <a:cxn ang="0">
                  <a:pos x="254" y="168"/>
                </a:cxn>
                <a:cxn ang="0">
                  <a:pos x="262" y="226"/>
                </a:cxn>
                <a:cxn ang="0">
                  <a:pos x="273" y="250"/>
                </a:cxn>
                <a:cxn ang="0">
                  <a:pos x="321" y="253"/>
                </a:cxn>
                <a:cxn ang="0">
                  <a:pos x="344" y="251"/>
                </a:cxn>
                <a:cxn ang="0">
                  <a:pos x="362" y="213"/>
                </a:cxn>
                <a:cxn ang="0">
                  <a:pos x="408" y="201"/>
                </a:cxn>
                <a:cxn ang="0">
                  <a:pos x="419" y="207"/>
                </a:cxn>
                <a:cxn ang="0">
                  <a:pos x="402" y="238"/>
                </a:cxn>
                <a:cxn ang="0">
                  <a:pos x="392" y="251"/>
                </a:cxn>
                <a:cxn ang="0">
                  <a:pos x="360" y="267"/>
                </a:cxn>
                <a:cxn ang="0">
                  <a:pos x="339" y="279"/>
                </a:cxn>
                <a:cxn ang="0">
                  <a:pos x="321" y="313"/>
                </a:cxn>
                <a:cxn ang="0">
                  <a:pos x="288" y="294"/>
                </a:cxn>
                <a:cxn ang="0">
                  <a:pos x="278" y="295"/>
                </a:cxn>
                <a:cxn ang="0">
                  <a:pos x="250" y="305"/>
                </a:cxn>
                <a:cxn ang="0">
                  <a:pos x="198" y="280"/>
                </a:cxn>
                <a:cxn ang="0">
                  <a:pos x="160" y="259"/>
                </a:cxn>
                <a:cxn ang="0">
                  <a:pos x="126" y="232"/>
                </a:cxn>
                <a:cxn ang="0">
                  <a:pos x="128" y="211"/>
                </a:cxn>
                <a:cxn ang="0">
                  <a:pos x="122" y="173"/>
                </a:cxn>
                <a:cxn ang="0">
                  <a:pos x="107" y="149"/>
                </a:cxn>
                <a:cxn ang="0">
                  <a:pos x="99" y="136"/>
                </a:cxn>
                <a:cxn ang="0">
                  <a:pos x="84" y="125"/>
                </a:cxn>
                <a:cxn ang="0">
                  <a:pos x="72" y="90"/>
                </a:cxn>
                <a:cxn ang="0">
                  <a:pos x="57" y="63"/>
                </a:cxn>
                <a:cxn ang="0">
                  <a:pos x="41" y="22"/>
                </a:cxn>
                <a:cxn ang="0">
                  <a:pos x="26" y="52"/>
                </a:cxn>
                <a:cxn ang="0">
                  <a:pos x="46" y="95"/>
                </a:cxn>
                <a:cxn ang="0">
                  <a:pos x="54" y="126"/>
                </a:cxn>
                <a:cxn ang="0">
                  <a:pos x="70" y="161"/>
                </a:cxn>
              </a:cxnLst>
              <a:rect l="0" t="0" r="r" b="b"/>
              <a:pathLst>
                <a:path w="419" h="325">
                  <a:moveTo>
                    <a:pt x="74" y="169"/>
                  </a:moveTo>
                  <a:lnTo>
                    <a:pt x="63" y="174"/>
                  </a:lnTo>
                  <a:lnTo>
                    <a:pt x="53" y="157"/>
                  </a:lnTo>
                  <a:lnTo>
                    <a:pt x="39" y="142"/>
                  </a:lnTo>
                  <a:lnTo>
                    <a:pt x="40" y="127"/>
                  </a:lnTo>
                  <a:lnTo>
                    <a:pt x="35" y="114"/>
                  </a:lnTo>
                  <a:lnTo>
                    <a:pt x="30" y="105"/>
                  </a:lnTo>
                  <a:lnTo>
                    <a:pt x="21" y="103"/>
                  </a:lnTo>
                  <a:lnTo>
                    <a:pt x="14" y="95"/>
                  </a:lnTo>
                  <a:lnTo>
                    <a:pt x="6" y="87"/>
                  </a:lnTo>
                  <a:lnTo>
                    <a:pt x="18" y="89"/>
                  </a:lnTo>
                  <a:lnTo>
                    <a:pt x="22" y="71"/>
                  </a:lnTo>
                  <a:lnTo>
                    <a:pt x="14" y="59"/>
                  </a:lnTo>
                  <a:lnTo>
                    <a:pt x="5" y="47"/>
                  </a:lnTo>
                  <a:lnTo>
                    <a:pt x="3" y="25"/>
                  </a:lnTo>
                  <a:lnTo>
                    <a:pt x="0" y="3"/>
                  </a:lnTo>
                  <a:lnTo>
                    <a:pt x="18" y="1"/>
                  </a:lnTo>
                  <a:lnTo>
                    <a:pt x="38" y="0"/>
                  </a:lnTo>
                  <a:lnTo>
                    <a:pt x="48" y="6"/>
                  </a:lnTo>
                  <a:lnTo>
                    <a:pt x="60" y="12"/>
                  </a:lnTo>
                  <a:lnTo>
                    <a:pt x="72" y="18"/>
                  </a:lnTo>
                  <a:lnTo>
                    <a:pt x="84" y="24"/>
                  </a:lnTo>
                  <a:lnTo>
                    <a:pt x="106" y="24"/>
                  </a:lnTo>
                  <a:lnTo>
                    <a:pt x="128" y="24"/>
                  </a:lnTo>
                  <a:lnTo>
                    <a:pt x="131" y="16"/>
                  </a:lnTo>
                  <a:lnTo>
                    <a:pt x="156" y="16"/>
                  </a:lnTo>
                  <a:lnTo>
                    <a:pt x="170" y="34"/>
                  </a:lnTo>
                  <a:lnTo>
                    <a:pt x="174" y="52"/>
                  </a:lnTo>
                  <a:lnTo>
                    <a:pt x="183" y="59"/>
                  </a:lnTo>
                  <a:lnTo>
                    <a:pt x="192" y="66"/>
                  </a:lnTo>
                  <a:lnTo>
                    <a:pt x="203" y="53"/>
                  </a:lnTo>
                  <a:lnTo>
                    <a:pt x="225" y="55"/>
                  </a:lnTo>
                  <a:lnTo>
                    <a:pt x="232" y="71"/>
                  </a:lnTo>
                  <a:lnTo>
                    <a:pt x="238" y="88"/>
                  </a:lnTo>
                  <a:lnTo>
                    <a:pt x="244" y="109"/>
                  </a:lnTo>
                  <a:lnTo>
                    <a:pt x="254" y="118"/>
                  </a:lnTo>
                  <a:lnTo>
                    <a:pt x="273" y="120"/>
                  </a:lnTo>
                  <a:lnTo>
                    <a:pt x="263" y="144"/>
                  </a:lnTo>
                  <a:lnTo>
                    <a:pt x="254" y="168"/>
                  </a:lnTo>
                  <a:lnTo>
                    <a:pt x="251" y="192"/>
                  </a:lnTo>
                  <a:lnTo>
                    <a:pt x="256" y="210"/>
                  </a:lnTo>
                  <a:lnTo>
                    <a:pt x="262" y="226"/>
                  </a:lnTo>
                  <a:lnTo>
                    <a:pt x="267" y="238"/>
                  </a:lnTo>
                  <a:lnTo>
                    <a:pt x="272" y="249"/>
                  </a:lnTo>
                  <a:lnTo>
                    <a:pt x="273" y="250"/>
                  </a:lnTo>
                  <a:lnTo>
                    <a:pt x="290" y="258"/>
                  </a:lnTo>
                  <a:lnTo>
                    <a:pt x="304" y="257"/>
                  </a:lnTo>
                  <a:lnTo>
                    <a:pt x="321" y="253"/>
                  </a:lnTo>
                  <a:lnTo>
                    <a:pt x="332" y="253"/>
                  </a:lnTo>
                  <a:lnTo>
                    <a:pt x="339" y="255"/>
                  </a:lnTo>
                  <a:lnTo>
                    <a:pt x="344" y="251"/>
                  </a:lnTo>
                  <a:lnTo>
                    <a:pt x="341" y="247"/>
                  </a:lnTo>
                  <a:lnTo>
                    <a:pt x="354" y="234"/>
                  </a:lnTo>
                  <a:lnTo>
                    <a:pt x="362" y="213"/>
                  </a:lnTo>
                  <a:lnTo>
                    <a:pt x="378" y="204"/>
                  </a:lnTo>
                  <a:lnTo>
                    <a:pt x="393" y="202"/>
                  </a:lnTo>
                  <a:lnTo>
                    <a:pt x="408" y="201"/>
                  </a:lnTo>
                  <a:lnTo>
                    <a:pt x="412" y="201"/>
                  </a:lnTo>
                  <a:lnTo>
                    <a:pt x="418" y="204"/>
                  </a:lnTo>
                  <a:lnTo>
                    <a:pt x="419" y="207"/>
                  </a:lnTo>
                  <a:lnTo>
                    <a:pt x="405" y="229"/>
                  </a:lnTo>
                  <a:lnTo>
                    <a:pt x="402" y="235"/>
                  </a:lnTo>
                  <a:lnTo>
                    <a:pt x="402" y="238"/>
                  </a:lnTo>
                  <a:lnTo>
                    <a:pt x="402" y="240"/>
                  </a:lnTo>
                  <a:lnTo>
                    <a:pt x="395" y="257"/>
                  </a:lnTo>
                  <a:lnTo>
                    <a:pt x="392" y="251"/>
                  </a:lnTo>
                  <a:lnTo>
                    <a:pt x="389" y="255"/>
                  </a:lnTo>
                  <a:lnTo>
                    <a:pt x="375" y="267"/>
                  </a:lnTo>
                  <a:lnTo>
                    <a:pt x="360" y="267"/>
                  </a:lnTo>
                  <a:lnTo>
                    <a:pt x="345" y="267"/>
                  </a:lnTo>
                  <a:lnTo>
                    <a:pt x="344" y="277"/>
                  </a:lnTo>
                  <a:lnTo>
                    <a:pt x="339" y="279"/>
                  </a:lnTo>
                  <a:lnTo>
                    <a:pt x="351" y="295"/>
                  </a:lnTo>
                  <a:lnTo>
                    <a:pt x="329" y="299"/>
                  </a:lnTo>
                  <a:lnTo>
                    <a:pt x="321" y="313"/>
                  </a:lnTo>
                  <a:lnTo>
                    <a:pt x="318" y="325"/>
                  </a:lnTo>
                  <a:lnTo>
                    <a:pt x="303" y="310"/>
                  </a:lnTo>
                  <a:lnTo>
                    <a:pt x="288" y="294"/>
                  </a:lnTo>
                  <a:lnTo>
                    <a:pt x="294" y="300"/>
                  </a:lnTo>
                  <a:lnTo>
                    <a:pt x="286" y="294"/>
                  </a:lnTo>
                  <a:lnTo>
                    <a:pt x="278" y="295"/>
                  </a:lnTo>
                  <a:lnTo>
                    <a:pt x="281" y="295"/>
                  </a:lnTo>
                  <a:lnTo>
                    <a:pt x="266" y="300"/>
                  </a:lnTo>
                  <a:lnTo>
                    <a:pt x="250" y="305"/>
                  </a:lnTo>
                  <a:lnTo>
                    <a:pt x="233" y="297"/>
                  </a:lnTo>
                  <a:lnTo>
                    <a:pt x="215" y="288"/>
                  </a:lnTo>
                  <a:lnTo>
                    <a:pt x="198" y="280"/>
                  </a:lnTo>
                  <a:lnTo>
                    <a:pt x="180" y="273"/>
                  </a:lnTo>
                  <a:lnTo>
                    <a:pt x="171" y="265"/>
                  </a:lnTo>
                  <a:lnTo>
                    <a:pt x="160" y="259"/>
                  </a:lnTo>
                  <a:lnTo>
                    <a:pt x="148" y="253"/>
                  </a:lnTo>
                  <a:lnTo>
                    <a:pt x="137" y="243"/>
                  </a:lnTo>
                  <a:lnTo>
                    <a:pt x="126" y="232"/>
                  </a:lnTo>
                  <a:lnTo>
                    <a:pt x="124" y="219"/>
                  </a:lnTo>
                  <a:lnTo>
                    <a:pt x="130" y="216"/>
                  </a:lnTo>
                  <a:lnTo>
                    <a:pt x="128" y="211"/>
                  </a:lnTo>
                  <a:lnTo>
                    <a:pt x="132" y="201"/>
                  </a:lnTo>
                  <a:lnTo>
                    <a:pt x="126" y="186"/>
                  </a:lnTo>
                  <a:lnTo>
                    <a:pt x="122" y="173"/>
                  </a:lnTo>
                  <a:lnTo>
                    <a:pt x="112" y="160"/>
                  </a:lnTo>
                  <a:lnTo>
                    <a:pt x="102" y="148"/>
                  </a:lnTo>
                  <a:lnTo>
                    <a:pt x="107" y="149"/>
                  </a:lnTo>
                  <a:lnTo>
                    <a:pt x="100" y="139"/>
                  </a:lnTo>
                  <a:lnTo>
                    <a:pt x="98" y="137"/>
                  </a:lnTo>
                  <a:lnTo>
                    <a:pt x="99" y="136"/>
                  </a:lnTo>
                  <a:lnTo>
                    <a:pt x="88" y="130"/>
                  </a:lnTo>
                  <a:lnTo>
                    <a:pt x="90" y="125"/>
                  </a:lnTo>
                  <a:lnTo>
                    <a:pt x="84" y="125"/>
                  </a:lnTo>
                  <a:lnTo>
                    <a:pt x="89" y="114"/>
                  </a:lnTo>
                  <a:lnTo>
                    <a:pt x="83" y="108"/>
                  </a:lnTo>
                  <a:lnTo>
                    <a:pt x="72" y="90"/>
                  </a:lnTo>
                  <a:lnTo>
                    <a:pt x="72" y="85"/>
                  </a:lnTo>
                  <a:lnTo>
                    <a:pt x="63" y="78"/>
                  </a:lnTo>
                  <a:lnTo>
                    <a:pt x="57" y="63"/>
                  </a:lnTo>
                  <a:lnTo>
                    <a:pt x="51" y="47"/>
                  </a:lnTo>
                  <a:lnTo>
                    <a:pt x="51" y="27"/>
                  </a:lnTo>
                  <a:lnTo>
                    <a:pt x="41" y="22"/>
                  </a:lnTo>
                  <a:lnTo>
                    <a:pt x="29" y="15"/>
                  </a:lnTo>
                  <a:lnTo>
                    <a:pt x="27" y="33"/>
                  </a:lnTo>
                  <a:lnTo>
                    <a:pt x="26" y="52"/>
                  </a:lnTo>
                  <a:lnTo>
                    <a:pt x="33" y="66"/>
                  </a:lnTo>
                  <a:lnTo>
                    <a:pt x="41" y="82"/>
                  </a:lnTo>
                  <a:lnTo>
                    <a:pt x="46" y="95"/>
                  </a:lnTo>
                  <a:lnTo>
                    <a:pt x="50" y="107"/>
                  </a:lnTo>
                  <a:lnTo>
                    <a:pt x="52" y="106"/>
                  </a:lnTo>
                  <a:lnTo>
                    <a:pt x="54" y="126"/>
                  </a:lnTo>
                  <a:lnTo>
                    <a:pt x="58" y="148"/>
                  </a:lnTo>
                  <a:lnTo>
                    <a:pt x="63" y="151"/>
                  </a:lnTo>
                  <a:lnTo>
                    <a:pt x="70" y="161"/>
                  </a:lnTo>
                  <a:lnTo>
                    <a:pt x="74" y="16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5" name="Freeform 172"/>
            <p:cNvSpPr>
              <a:spLocks/>
            </p:cNvSpPr>
            <p:nvPr/>
          </p:nvSpPr>
          <p:spPr bwMode="auto">
            <a:xfrm>
              <a:off x="1187" y="2203"/>
              <a:ext cx="9" cy="16"/>
            </a:xfrm>
            <a:custGeom>
              <a:avLst/>
              <a:gdLst/>
              <a:ahLst/>
              <a:cxnLst>
                <a:cxn ang="0">
                  <a:pos x="9" y="13"/>
                </a:cxn>
                <a:cxn ang="0">
                  <a:pos x="6" y="0"/>
                </a:cxn>
                <a:cxn ang="0">
                  <a:pos x="0" y="10"/>
                </a:cxn>
                <a:cxn ang="0">
                  <a:pos x="3" y="14"/>
                </a:cxn>
                <a:cxn ang="0">
                  <a:pos x="9" y="13"/>
                </a:cxn>
              </a:cxnLst>
              <a:rect l="0" t="0" r="r" b="b"/>
              <a:pathLst>
                <a:path w="9" h="14">
                  <a:moveTo>
                    <a:pt x="9" y="13"/>
                  </a:moveTo>
                  <a:lnTo>
                    <a:pt x="6" y="0"/>
                  </a:lnTo>
                  <a:lnTo>
                    <a:pt x="0" y="10"/>
                  </a:lnTo>
                  <a:lnTo>
                    <a:pt x="3" y="14"/>
                  </a:lnTo>
                  <a:lnTo>
                    <a:pt x="9"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6" name="Freeform 173"/>
            <p:cNvSpPr>
              <a:spLocks/>
            </p:cNvSpPr>
            <p:nvPr/>
          </p:nvSpPr>
          <p:spPr bwMode="auto">
            <a:xfrm>
              <a:off x="1202" y="2167"/>
              <a:ext cx="14" cy="20"/>
            </a:xfrm>
            <a:custGeom>
              <a:avLst/>
              <a:gdLst/>
              <a:ahLst/>
              <a:cxnLst>
                <a:cxn ang="0">
                  <a:pos x="5" y="17"/>
                </a:cxn>
                <a:cxn ang="0">
                  <a:pos x="7" y="10"/>
                </a:cxn>
                <a:cxn ang="0">
                  <a:pos x="0" y="0"/>
                </a:cxn>
                <a:cxn ang="0">
                  <a:pos x="11" y="11"/>
                </a:cxn>
                <a:cxn ang="0">
                  <a:pos x="5" y="17"/>
                </a:cxn>
              </a:cxnLst>
              <a:rect l="0" t="0" r="r" b="b"/>
              <a:pathLst>
                <a:path w="11" h="17">
                  <a:moveTo>
                    <a:pt x="5" y="17"/>
                  </a:moveTo>
                  <a:lnTo>
                    <a:pt x="7" y="10"/>
                  </a:lnTo>
                  <a:lnTo>
                    <a:pt x="0" y="0"/>
                  </a:lnTo>
                  <a:lnTo>
                    <a:pt x="11" y="11"/>
                  </a:lnTo>
                  <a:lnTo>
                    <a:pt x="5" y="1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7" name="Freeform 174"/>
            <p:cNvSpPr>
              <a:spLocks/>
            </p:cNvSpPr>
            <p:nvPr/>
          </p:nvSpPr>
          <p:spPr bwMode="auto">
            <a:xfrm>
              <a:off x="1218" y="2196"/>
              <a:ext cx="9" cy="16"/>
            </a:xfrm>
            <a:custGeom>
              <a:avLst/>
              <a:gdLst/>
              <a:ahLst/>
              <a:cxnLst>
                <a:cxn ang="0">
                  <a:pos x="5" y="13"/>
                </a:cxn>
                <a:cxn ang="0">
                  <a:pos x="7" y="7"/>
                </a:cxn>
                <a:cxn ang="0">
                  <a:pos x="0" y="0"/>
                </a:cxn>
                <a:cxn ang="0">
                  <a:pos x="4" y="5"/>
                </a:cxn>
                <a:cxn ang="0">
                  <a:pos x="6" y="7"/>
                </a:cxn>
                <a:cxn ang="0">
                  <a:pos x="4" y="12"/>
                </a:cxn>
                <a:cxn ang="0">
                  <a:pos x="5" y="13"/>
                </a:cxn>
              </a:cxnLst>
              <a:rect l="0" t="0" r="r" b="b"/>
              <a:pathLst>
                <a:path w="7" h="13">
                  <a:moveTo>
                    <a:pt x="5" y="13"/>
                  </a:moveTo>
                  <a:lnTo>
                    <a:pt x="7" y="7"/>
                  </a:lnTo>
                  <a:lnTo>
                    <a:pt x="0" y="0"/>
                  </a:lnTo>
                  <a:lnTo>
                    <a:pt x="4" y="5"/>
                  </a:lnTo>
                  <a:lnTo>
                    <a:pt x="6" y="7"/>
                  </a:lnTo>
                  <a:lnTo>
                    <a:pt x="4" y="12"/>
                  </a:lnTo>
                  <a:lnTo>
                    <a:pt x="5"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8" name="Freeform 175"/>
            <p:cNvSpPr>
              <a:spLocks/>
            </p:cNvSpPr>
            <p:nvPr/>
          </p:nvSpPr>
          <p:spPr bwMode="auto">
            <a:xfrm>
              <a:off x="1260" y="2281"/>
              <a:ext cx="9" cy="6"/>
            </a:xfrm>
            <a:custGeom>
              <a:avLst/>
              <a:gdLst/>
              <a:ahLst/>
              <a:cxnLst>
                <a:cxn ang="0">
                  <a:pos x="10" y="0"/>
                </a:cxn>
                <a:cxn ang="0">
                  <a:pos x="10" y="3"/>
                </a:cxn>
                <a:cxn ang="0">
                  <a:pos x="0" y="6"/>
                </a:cxn>
                <a:cxn ang="0">
                  <a:pos x="10" y="0"/>
                </a:cxn>
              </a:cxnLst>
              <a:rect l="0" t="0" r="r" b="b"/>
              <a:pathLst>
                <a:path w="10" h="6">
                  <a:moveTo>
                    <a:pt x="10" y="0"/>
                  </a:moveTo>
                  <a:lnTo>
                    <a:pt x="10" y="3"/>
                  </a:lnTo>
                  <a:lnTo>
                    <a:pt x="0" y="6"/>
                  </a:lnTo>
                  <a:lnTo>
                    <a:pt x="1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9" name="Freeform 176"/>
            <p:cNvSpPr>
              <a:spLocks/>
            </p:cNvSpPr>
            <p:nvPr/>
          </p:nvSpPr>
          <p:spPr bwMode="auto">
            <a:xfrm>
              <a:off x="1254" y="2254"/>
              <a:ext cx="6" cy="7"/>
            </a:xfrm>
            <a:custGeom>
              <a:avLst/>
              <a:gdLst/>
              <a:ahLst/>
              <a:cxnLst>
                <a:cxn ang="0">
                  <a:pos x="6" y="2"/>
                </a:cxn>
                <a:cxn ang="0">
                  <a:pos x="4" y="0"/>
                </a:cxn>
                <a:cxn ang="0">
                  <a:pos x="0" y="5"/>
                </a:cxn>
                <a:cxn ang="0">
                  <a:pos x="6" y="2"/>
                </a:cxn>
              </a:cxnLst>
              <a:rect l="0" t="0" r="r" b="b"/>
              <a:pathLst>
                <a:path w="6" h="5">
                  <a:moveTo>
                    <a:pt x="6" y="2"/>
                  </a:moveTo>
                  <a:lnTo>
                    <a:pt x="4" y="0"/>
                  </a:lnTo>
                  <a:lnTo>
                    <a:pt x="0" y="5"/>
                  </a:lnTo>
                  <a:lnTo>
                    <a:pt x="6"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0" name="Freeform 177"/>
            <p:cNvSpPr>
              <a:spLocks/>
            </p:cNvSpPr>
            <p:nvPr/>
          </p:nvSpPr>
          <p:spPr bwMode="auto">
            <a:xfrm>
              <a:off x="1182" y="2174"/>
              <a:ext cx="18" cy="2"/>
            </a:xfrm>
            <a:custGeom>
              <a:avLst/>
              <a:gdLst/>
              <a:ahLst/>
              <a:cxnLst>
                <a:cxn ang="0">
                  <a:pos x="5" y="0"/>
                </a:cxn>
                <a:cxn ang="0">
                  <a:pos x="15" y="0"/>
                </a:cxn>
                <a:cxn ang="0">
                  <a:pos x="9" y="1"/>
                </a:cxn>
                <a:cxn ang="0">
                  <a:pos x="0" y="0"/>
                </a:cxn>
                <a:cxn ang="0">
                  <a:pos x="5" y="0"/>
                </a:cxn>
              </a:cxnLst>
              <a:rect l="0" t="0" r="r" b="b"/>
              <a:pathLst>
                <a:path w="15" h="1">
                  <a:moveTo>
                    <a:pt x="5" y="0"/>
                  </a:moveTo>
                  <a:lnTo>
                    <a:pt x="15" y="0"/>
                  </a:lnTo>
                  <a:lnTo>
                    <a:pt x="9" y="1"/>
                  </a:lnTo>
                  <a:lnTo>
                    <a:pt x="0" y="0"/>
                  </a:lnTo>
                  <a:lnTo>
                    <a:pt x="5"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1" name="Freeform 178"/>
            <p:cNvSpPr>
              <a:spLocks/>
            </p:cNvSpPr>
            <p:nvPr/>
          </p:nvSpPr>
          <p:spPr bwMode="auto">
            <a:xfrm>
              <a:off x="1194" y="2223"/>
              <a:ext cx="6" cy="7"/>
            </a:xfrm>
            <a:custGeom>
              <a:avLst/>
              <a:gdLst/>
              <a:ahLst/>
              <a:cxnLst>
                <a:cxn ang="0">
                  <a:pos x="5" y="4"/>
                </a:cxn>
                <a:cxn ang="0">
                  <a:pos x="3" y="1"/>
                </a:cxn>
                <a:cxn ang="0">
                  <a:pos x="0" y="0"/>
                </a:cxn>
                <a:cxn ang="0">
                  <a:pos x="3" y="6"/>
                </a:cxn>
                <a:cxn ang="0">
                  <a:pos x="5" y="4"/>
                </a:cxn>
              </a:cxnLst>
              <a:rect l="0" t="0" r="r" b="b"/>
              <a:pathLst>
                <a:path w="5" h="6">
                  <a:moveTo>
                    <a:pt x="5" y="4"/>
                  </a:moveTo>
                  <a:lnTo>
                    <a:pt x="3" y="1"/>
                  </a:lnTo>
                  <a:lnTo>
                    <a:pt x="0" y="0"/>
                  </a:lnTo>
                  <a:lnTo>
                    <a:pt x="3" y="6"/>
                  </a:lnTo>
                  <a:lnTo>
                    <a:pt x="5"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2" name="Freeform 179"/>
            <p:cNvSpPr>
              <a:spLocks/>
            </p:cNvSpPr>
            <p:nvPr/>
          </p:nvSpPr>
          <p:spPr bwMode="auto">
            <a:xfrm>
              <a:off x="4449" y="2921"/>
              <a:ext cx="700" cy="562"/>
            </a:xfrm>
            <a:custGeom>
              <a:avLst/>
              <a:gdLst/>
              <a:ahLst/>
              <a:cxnLst>
                <a:cxn ang="0">
                  <a:pos x="356" y="12"/>
                </a:cxn>
                <a:cxn ang="0">
                  <a:pos x="361" y="25"/>
                </a:cxn>
                <a:cxn ang="0">
                  <a:pos x="333" y="34"/>
                </a:cxn>
                <a:cxn ang="0">
                  <a:pos x="320" y="48"/>
                </a:cxn>
                <a:cxn ang="0">
                  <a:pos x="314" y="72"/>
                </a:cxn>
                <a:cxn ang="0">
                  <a:pos x="301" y="78"/>
                </a:cxn>
                <a:cxn ang="0">
                  <a:pos x="282" y="85"/>
                </a:cxn>
                <a:cxn ang="0">
                  <a:pos x="269" y="58"/>
                </a:cxn>
                <a:cxn ang="0">
                  <a:pos x="254" y="60"/>
                </a:cxn>
                <a:cxn ang="0">
                  <a:pos x="241" y="79"/>
                </a:cxn>
                <a:cxn ang="0">
                  <a:pos x="225" y="90"/>
                </a:cxn>
                <a:cxn ang="0">
                  <a:pos x="224" y="100"/>
                </a:cxn>
                <a:cxn ang="0">
                  <a:pos x="212" y="100"/>
                </a:cxn>
                <a:cxn ang="0">
                  <a:pos x="209" y="129"/>
                </a:cxn>
                <a:cxn ang="0">
                  <a:pos x="183" y="121"/>
                </a:cxn>
                <a:cxn ang="0">
                  <a:pos x="144" y="165"/>
                </a:cxn>
                <a:cxn ang="0">
                  <a:pos x="92" y="175"/>
                </a:cxn>
                <a:cxn ang="0">
                  <a:pos x="44" y="199"/>
                </a:cxn>
                <a:cxn ang="0">
                  <a:pos x="29" y="264"/>
                </a:cxn>
                <a:cxn ang="0">
                  <a:pos x="21" y="267"/>
                </a:cxn>
                <a:cxn ang="0">
                  <a:pos x="19" y="293"/>
                </a:cxn>
                <a:cxn ang="0">
                  <a:pos x="24" y="354"/>
                </a:cxn>
                <a:cxn ang="0">
                  <a:pos x="8" y="411"/>
                </a:cxn>
                <a:cxn ang="0">
                  <a:pos x="21" y="437"/>
                </a:cxn>
                <a:cxn ang="0">
                  <a:pos x="72" y="418"/>
                </a:cxn>
                <a:cxn ang="0">
                  <a:pos x="141" y="402"/>
                </a:cxn>
                <a:cxn ang="0">
                  <a:pos x="219" y="379"/>
                </a:cxn>
                <a:cxn ang="0">
                  <a:pos x="290" y="385"/>
                </a:cxn>
                <a:cxn ang="0">
                  <a:pos x="300" y="414"/>
                </a:cxn>
                <a:cxn ang="0">
                  <a:pos x="308" y="431"/>
                </a:cxn>
                <a:cxn ang="0">
                  <a:pos x="348" y="406"/>
                </a:cxn>
                <a:cxn ang="0">
                  <a:pos x="330" y="439"/>
                </a:cxn>
                <a:cxn ang="0">
                  <a:pos x="343" y="445"/>
                </a:cxn>
                <a:cxn ang="0">
                  <a:pos x="345" y="489"/>
                </a:cxn>
                <a:cxn ang="0">
                  <a:pos x="403" y="495"/>
                </a:cxn>
                <a:cxn ang="0">
                  <a:pos x="410" y="497"/>
                </a:cxn>
                <a:cxn ang="0">
                  <a:pos x="426" y="502"/>
                </a:cxn>
                <a:cxn ang="0">
                  <a:pos x="495" y="471"/>
                </a:cxn>
                <a:cxn ang="0">
                  <a:pos x="549" y="409"/>
                </a:cxn>
                <a:cxn ang="0">
                  <a:pos x="599" y="358"/>
                </a:cxn>
                <a:cxn ang="0">
                  <a:pos x="621" y="299"/>
                </a:cxn>
                <a:cxn ang="0">
                  <a:pos x="623" y="250"/>
                </a:cxn>
                <a:cxn ang="0">
                  <a:pos x="608" y="213"/>
                </a:cxn>
                <a:cxn ang="0">
                  <a:pos x="594" y="193"/>
                </a:cxn>
                <a:cxn ang="0">
                  <a:pos x="575" y="157"/>
                </a:cxn>
                <a:cxn ang="0">
                  <a:pos x="553" y="97"/>
                </a:cxn>
                <a:cxn ang="0">
                  <a:pos x="533" y="65"/>
                </a:cxn>
                <a:cxn ang="0">
                  <a:pos x="525" y="13"/>
                </a:cxn>
                <a:cxn ang="0">
                  <a:pos x="509" y="23"/>
                </a:cxn>
                <a:cxn ang="0">
                  <a:pos x="503" y="43"/>
                </a:cxn>
                <a:cxn ang="0">
                  <a:pos x="497" y="81"/>
                </a:cxn>
                <a:cxn ang="0">
                  <a:pos x="451" y="114"/>
                </a:cxn>
                <a:cxn ang="0">
                  <a:pos x="401" y="72"/>
                </a:cxn>
                <a:cxn ang="0">
                  <a:pos x="422" y="40"/>
                </a:cxn>
                <a:cxn ang="0">
                  <a:pos x="415" y="27"/>
                </a:cxn>
                <a:cxn ang="0">
                  <a:pos x="387" y="24"/>
                </a:cxn>
              </a:cxnLst>
              <a:rect l="0" t="0" r="r" b="b"/>
              <a:pathLst>
                <a:path w="630" h="508">
                  <a:moveTo>
                    <a:pt x="369" y="12"/>
                  </a:moveTo>
                  <a:lnTo>
                    <a:pt x="362" y="11"/>
                  </a:lnTo>
                  <a:lnTo>
                    <a:pt x="357" y="10"/>
                  </a:lnTo>
                  <a:lnTo>
                    <a:pt x="356" y="12"/>
                  </a:lnTo>
                  <a:lnTo>
                    <a:pt x="351" y="10"/>
                  </a:lnTo>
                  <a:lnTo>
                    <a:pt x="357" y="13"/>
                  </a:lnTo>
                  <a:lnTo>
                    <a:pt x="365" y="18"/>
                  </a:lnTo>
                  <a:lnTo>
                    <a:pt x="361" y="25"/>
                  </a:lnTo>
                  <a:lnTo>
                    <a:pt x="356" y="28"/>
                  </a:lnTo>
                  <a:lnTo>
                    <a:pt x="343" y="25"/>
                  </a:lnTo>
                  <a:lnTo>
                    <a:pt x="337" y="28"/>
                  </a:lnTo>
                  <a:lnTo>
                    <a:pt x="333" y="34"/>
                  </a:lnTo>
                  <a:lnTo>
                    <a:pt x="330" y="31"/>
                  </a:lnTo>
                  <a:lnTo>
                    <a:pt x="327" y="35"/>
                  </a:lnTo>
                  <a:lnTo>
                    <a:pt x="321" y="45"/>
                  </a:lnTo>
                  <a:lnTo>
                    <a:pt x="320" y="48"/>
                  </a:lnTo>
                  <a:lnTo>
                    <a:pt x="314" y="54"/>
                  </a:lnTo>
                  <a:lnTo>
                    <a:pt x="307" y="67"/>
                  </a:lnTo>
                  <a:lnTo>
                    <a:pt x="312" y="70"/>
                  </a:lnTo>
                  <a:lnTo>
                    <a:pt x="314" y="72"/>
                  </a:lnTo>
                  <a:lnTo>
                    <a:pt x="309" y="78"/>
                  </a:lnTo>
                  <a:lnTo>
                    <a:pt x="315" y="84"/>
                  </a:lnTo>
                  <a:lnTo>
                    <a:pt x="303" y="75"/>
                  </a:lnTo>
                  <a:lnTo>
                    <a:pt x="301" y="78"/>
                  </a:lnTo>
                  <a:lnTo>
                    <a:pt x="290" y="73"/>
                  </a:lnTo>
                  <a:lnTo>
                    <a:pt x="288" y="82"/>
                  </a:lnTo>
                  <a:lnTo>
                    <a:pt x="284" y="82"/>
                  </a:lnTo>
                  <a:lnTo>
                    <a:pt x="282" y="85"/>
                  </a:lnTo>
                  <a:lnTo>
                    <a:pt x="282" y="81"/>
                  </a:lnTo>
                  <a:lnTo>
                    <a:pt x="285" y="70"/>
                  </a:lnTo>
                  <a:lnTo>
                    <a:pt x="270" y="54"/>
                  </a:lnTo>
                  <a:lnTo>
                    <a:pt x="269" y="58"/>
                  </a:lnTo>
                  <a:lnTo>
                    <a:pt x="261" y="60"/>
                  </a:lnTo>
                  <a:lnTo>
                    <a:pt x="260" y="58"/>
                  </a:lnTo>
                  <a:lnTo>
                    <a:pt x="258" y="60"/>
                  </a:lnTo>
                  <a:lnTo>
                    <a:pt x="254" y="60"/>
                  </a:lnTo>
                  <a:lnTo>
                    <a:pt x="251" y="70"/>
                  </a:lnTo>
                  <a:lnTo>
                    <a:pt x="248" y="65"/>
                  </a:lnTo>
                  <a:lnTo>
                    <a:pt x="240" y="73"/>
                  </a:lnTo>
                  <a:lnTo>
                    <a:pt x="241" y="79"/>
                  </a:lnTo>
                  <a:lnTo>
                    <a:pt x="235" y="78"/>
                  </a:lnTo>
                  <a:lnTo>
                    <a:pt x="237" y="87"/>
                  </a:lnTo>
                  <a:lnTo>
                    <a:pt x="230" y="83"/>
                  </a:lnTo>
                  <a:lnTo>
                    <a:pt x="225" y="90"/>
                  </a:lnTo>
                  <a:lnTo>
                    <a:pt x="227" y="91"/>
                  </a:lnTo>
                  <a:lnTo>
                    <a:pt x="229" y="91"/>
                  </a:lnTo>
                  <a:lnTo>
                    <a:pt x="224" y="95"/>
                  </a:lnTo>
                  <a:lnTo>
                    <a:pt x="224" y="100"/>
                  </a:lnTo>
                  <a:lnTo>
                    <a:pt x="228" y="101"/>
                  </a:lnTo>
                  <a:lnTo>
                    <a:pt x="219" y="101"/>
                  </a:lnTo>
                  <a:lnTo>
                    <a:pt x="216" y="101"/>
                  </a:lnTo>
                  <a:lnTo>
                    <a:pt x="212" y="100"/>
                  </a:lnTo>
                  <a:lnTo>
                    <a:pt x="210" y="103"/>
                  </a:lnTo>
                  <a:lnTo>
                    <a:pt x="212" y="112"/>
                  </a:lnTo>
                  <a:lnTo>
                    <a:pt x="209" y="114"/>
                  </a:lnTo>
                  <a:lnTo>
                    <a:pt x="209" y="129"/>
                  </a:lnTo>
                  <a:lnTo>
                    <a:pt x="204" y="115"/>
                  </a:lnTo>
                  <a:lnTo>
                    <a:pt x="199" y="102"/>
                  </a:lnTo>
                  <a:lnTo>
                    <a:pt x="194" y="107"/>
                  </a:lnTo>
                  <a:lnTo>
                    <a:pt x="183" y="121"/>
                  </a:lnTo>
                  <a:lnTo>
                    <a:pt x="183" y="133"/>
                  </a:lnTo>
                  <a:lnTo>
                    <a:pt x="168" y="150"/>
                  </a:lnTo>
                  <a:lnTo>
                    <a:pt x="156" y="157"/>
                  </a:lnTo>
                  <a:lnTo>
                    <a:pt x="144" y="165"/>
                  </a:lnTo>
                  <a:lnTo>
                    <a:pt x="126" y="168"/>
                  </a:lnTo>
                  <a:lnTo>
                    <a:pt x="111" y="173"/>
                  </a:lnTo>
                  <a:lnTo>
                    <a:pt x="97" y="178"/>
                  </a:lnTo>
                  <a:lnTo>
                    <a:pt x="92" y="175"/>
                  </a:lnTo>
                  <a:lnTo>
                    <a:pt x="71" y="190"/>
                  </a:lnTo>
                  <a:lnTo>
                    <a:pt x="50" y="204"/>
                  </a:lnTo>
                  <a:lnTo>
                    <a:pt x="43" y="210"/>
                  </a:lnTo>
                  <a:lnTo>
                    <a:pt x="44" y="199"/>
                  </a:lnTo>
                  <a:lnTo>
                    <a:pt x="37" y="216"/>
                  </a:lnTo>
                  <a:lnTo>
                    <a:pt x="29" y="235"/>
                  </a:lnTo>
                  <a:lnTo>
                    <a:pt x="27" y="251"/>
                  </a:lnTo>
                  <a:lnTo>
                    <a:pt x="29" y="264"/>
                  </a:lnTo>
                  <a:lnTo>
                    <a:pt x="30" y="276"/>
                  </a:lnTo>
                  <a:lnTo>
                    <a:pt x="26" y="280"/>
                  </a:lnTo>
                  <a:lnTo>
                    <a:pt x="26" y="275"/>
                  </a:lnTo>
                  <a:lnTo>
                    <a:pt x="21" y="267"/>
                  </a:lnTo>
                  <a:lnTo>
                    <a:pt x="21" y="285"/>
                  </a:lnTo>
                  <a:lnTo>
                    <a:pt x="18" y="277"/>
                  </a:lnTo>
                  <a:lnTo>
                    <a:pt x="17" y="276"/>
                  </a:lnTo>
                  <a:lnTo>
                    <a:pt x="19" y="293"/>
                  </a:lnTo>
                  <a:lnTo>
                    <a:pt x="21" y="310"/>
                  </a:lnTo>
                  <a:lnTo>
                    <a:pt x="23" y="325"/>
                  </a:lnTo>
                  <a:lnTo>
                    <a:pt x="25" y="341"/>
                  </a:lnTo>
                  <a:lnTo>
                    <a:pt x="24" y="354"/>
                  </a:lnTo>
                  <a:lnTo>
                    <a:pt x="23" y="367"/>
                  </a:lnTo>
                  <a:lnTo>
                    <a:pt x="20" y="381"/>
                  </a:lnTo>
                  <a:lnTo>
                    <a:pt x="19" y="393"/>
                  </a:lnTo>
                  <a:lnTo>
                    <a:pt x="8" y="411"/>
                  </a:lnTo>
                  <a:lnTo>
                    <a:pt x="1" y="413"/>
                  </a:lnTo>
                  <a:lnTo>
                    <a:pt x="0" y="424"/>
                  </a:lnTo>
                  <a:lnTo>
                    <a:pt x="11" y="430"/>
                  </a:lnTo>
                  <a:lnTo>
                    <a:pt x="21" y="437"/>
                  </a:lnTo>
                  <a:lnTo>
                    <a:pt x="41" y="435"/>
                  </a:lnTo>
                  <a:lnTo>
                    <a:pt x="60" y="427"/>
                  </a:lnTo>
                  <a:lnTo>
                    <a:pt x="62" y="425"/>
                  </a:lnTo>
                  <a:lnTo>
                    <a:pt x="72" y="418"/>
                  </a:lnTo>
                  <a:lnTo>
                    <a:pt x="89" y="418"/>
                  </a:lnTo>
                  <a:lnTo>
                    <a:pt x="105" y="418"/>
                  </a:lnTo>
                  <a:lnTo>
                    <a:pt x="127" y="417"/>
                  </a:lnTo>
                  <a:lnTo>
                    <a:pt x="141" y="402"/>
                  </a:lnTo>
                  <a:lnTo>
                    <a:pt x="162" y="395"/>
                  </a:lnTo>
                  <a:lnTo>
                    <a:pt x="181" y="387"/>
                  </a:lnTo>
                  <a:lnTo>
                    <a:pt x="200" y="383"/>
                  </a:lnTo>
                  <a:lnTo>
                    <a:pt x="219" y="379"/>
                  </a:lnTo>
                  <a:lnTo>
                    <a:pt x="239" y="377"/>
                  </a:lnTo>
                  <a:lnTo>
                    <a:pt x="258" y="373"/>
                  </a:lnTo>
                  <a:lnTo>
                    <a:pt x="269" y="377"/>
                  </a:lnTo>
                  <a:lnTo>
                    <a:pt x="290" y="385"/>
                  </a:lnTo>
                  <a:lnTo>
                    <a:pt x="294" y="390"/>
                  </a:lnTo>
                  <a:lnTo>
                    <a:pt x="296" y="395"/>
                  </a:lnTo>
                  <a:lnTo>
                    <a:pt x="299" y="402"/>
                  </a:lnTo>
                  <a:lnTo>
                    <a:pt x="300" y="414"/>
                  </a:lnTo>
                  <a:lnTo>
                    <a:pt x="301" y="426"/>
                  </a:lnTo>
                  <a:lnTo>
                    <a:pt x="299" y="426"/>
                  </a:lnTo>
                  <a:lnTo>
                    <a:pt x="306" y="433"/>
                  </a:lnTo>
                  <a:lnTo>
                    <a:pt x="308" y="431"/>
                  </a:lnTo>
                  <a:lnTo>
                    <a:pt x="326" y="415"/>
                  </a:lnTo>
                  <a:lnTo>
                    <a:pt x="344" y="401"/>
                  </a:lnTo>
                  <a:lnTo>
                    <a:pt x="351" y="393"/>
                  </a:lnTo>
                  <a:lnTo>
                    <a:pt x="348" y="406"/>
                  </a:lnTo>
                  <a:lnTo>
                    <a:pt x="337" y="420"/>
                  </a:lnTo>
                  <a:lnTo>
                    <a:pt x="326" y="435"/>
                  </a:lnTo>
                  <a:lnTo>
                    <a:pt x="319" y="439"/>
                  </a:lnTo>
                  <a:lnTo>
                    <a:pt x="330" y="439"/>
                  </a:lnTo>
                  <a:lnTo>
                    <a:pt x="343" y="423"/>
                  </a:lnTo>
                  <a:lnTo>
                    <a:pt x="347" y="431"/>
                  </a:lnTo>
                  <a:lnTo>
                    <a:pt x="335" y="445"/>
                  </a:lnTo>
                  <a:lnTo>
                    <a:pt x="343" y="445"/>
                  </a:lnTo>
                  <a:lnTo>
                    <a:pt x="347" y="447"/>
                  </a:lnTo>
                  <a:lnTo>
                    <a:pt x="350" y="454"/>
                  </a:lnTo>
                  <a:lnTo>
                    <a:pt x="344" y="471"/>
                  </a:lnTo>
                  <a:lnTo>
                    <a:pt x="345" y="489"/>
                  </a:lnTo>
                  <a:lnTo>
                    <a:pt x="360" y="495"/>
                  </a:lnTo>
                  <a:lnTo>
                    <a:pt x="371" y="499"/>
                  </a:lnTo>
                  <a:lnTo>
                    <a:pt x="381" y="503"/>
                  </a:lnTo>
                  <a:lnTo>
                    <a:pt x="403" y="495"/>
                  </a:lnTo>
                  <a:lnTo>
                    <a:pt x="403" y="492"/>
                  </a:lnTo>
                  <a:lnTo>
                    <a:pt x="413" y="489"/>
                  </a:lnTo>
                  <a:lnTo>
                    <a:pt x="407" y="496"/>
                  </a:lnTo>
                  <a:lnTo>
                    <a:pt x="410" y="497"/>
                  </a:lnTo>
                  <a:lnTo>
                    <a:pt x="416" y="497"/>
                  </a:lnTo>
                  <a:lnTo>
                    <a:pt x="419" y="505"/>
                  </a:lnTo>
                  <a:lnTo>
                    <a:pt x="422" y="508"/>
                  </a:lnTo>
                  <a:lnTo>
                    <a:pt x="426" y="502"/>
                  </a:lnTo>
                  <a:lnTo>
                    <a:pt x="455" y="487"/>
                  </a:lnTo>
                  <a:lnTo>
                    <a:pt x="469" y="486"/>
                  </a:lnTo>
                  <a:lnTo>
                    <a:pt x="488" y="480"/>
                  </a:lnTo>
                  <a:lnTo>
                    <a:pt x="495" y="471"/>
                  </a:lnTo>
                  <a:lnTo>
                    <a:pt x="512" y="453"/>
                  </a:lnTo>
                  <a:lnTo>
                    <a:pt x="529" y="435"/>
                  </a:lnTo>
                  <a:lnTo>
                    <a:pt x="543" y="415"/>
                  </a:lnTo>
                  <a:lnTo>
                    <a:pt x="549" y="409"/>
                  </a:lnTo>
                  <a:lnTo>
                    <a:pt x="567" y="395"/>
                  </a:lnTo>
                  <a:lnTo>
                    <a:pt x="573" y="390"/>
                  </a:lnTo>
                  <a:lnTo>
                    <a:pt x="587" y="375"/>
                  </a:lnTo>
                  <a:lnTo>
                    <a:pt x="599" y="358"/>
                  </a:lnTo>
                  <a:lnTo>
                    <a:pt x="611" y="341"/>
                  </a:lnTo>
                  <a:lnTo>
                    <a:pt x="620" y="324"/>
                  </a:lnTo>
                  <a:lnTo>
                    <a:pt x="621" y="311"/>
                  </a:lnTo>
                  <a:lnTo>
                    <a:pt x="621" y="299"/>
                  </a:lnTo>
                  <a:lnTo>
                    <a:pt x="626" y="285"/>
                  </a:lnTo>
                  <a:lnTo>
                    <a:pt x="630" y="270"/>
                  </a:lnTo>
                  <a:lnTo>
                    <a:pt x="629" y="259"/>
                  </a:lnTo>
                  <a:lnTo>
                    <a:pt x="623" y="250"/>
                  </a:lnTo>
                  <a:lnTo>
                    <a:pt x="617" y="240"/>
                  </a:lnTo>
                  <a:lnTo>
                    <a:pt x="607" y="229"/>
                  </a:lnTo>
                  <a:lnTo>
                    <a:pt x="611" y="208"/>
                  </a:lnTo>
                  <a:lnTo>
                    <a:pt x="608" y="213"/>
                  </a:lnTo>
                  <a:lnTo>
                    <a:pt x="601" y="205"/>
                  </a:lnTo>
                  <a:lnTo>
                    <a:pt x="599" y="213"/>
                  </a:lnTo>
                  <a:lnTo>
                    <a:pt x="594" y="208"/>
                  </a:lnTo>
                  <a:lnTo>
                    <a:pt x="594" y="193"/>
                  </a:lnTo>
                  <a:lnTo>
                    <a:pt x="588" y="179"/>
                  </a:lnTo>
                  <a:lnTo>
                    <a:pt x="590" y="174"/>
                  </a:lnTo>
                  <a:lnTo>
                    <a:pt x="585" y="169"/>
                  </a:lnTo>
                  <a:lnTo>
                    <a:pt x="575" y="157"/>
                  </a:lnTo>
                  <a:lnTo>
                    <a:pt x="557" y="144"/>
                  </a:lnTo>
                  <a:lnTo>
                    <a:pt x="557" y="127"/>
                  </a:lnTo>
                  <a:lnTo>
                    <a:pt x="557" y="111"/>
                  </a:lnTo>
                  <a:lnTo>
                    <a:pt x="553" y="97"/>
                  </a:lnTo>
                  <a:lnTo>
                    <a:pt x="555" y="81"/>
                  </a:lnTo>
                  <a:lnTo>
                    <a:pt x="552" y="73"/>
                  </a:lnTo>
                  <a:lnTo>
                    <a:pt x="543" y="64"/>
                  </a:lnTo>
                  <a:lnTo>
                    <a:pt x="533" y="65"/>
                  </a:lnTo>
                  <a:lnTo>
                    <a:pt x="531" y="53"/>
                  </a:lnTo>
                  <a:lnTo>
                    <a:pt x="530" y="40"/>
                  </a:lnTo>
                  <a:lnTo>
                    <a:pt x="529" y="24"/>
                  </a:lnTo>
                  <a:lnTo>
                    <a:pt x="525" y="13"/>
                  </a:lnTo>
                  <a:lnTo>
                    <a:pt x="522" y="5"/>
                  </a:lnTo>
                  <a:lnTo>
                    <a:pt x="521" y="0"/>
                  </a:lnTo>
                  <a:lnTo>
                    <a:pt x="512" y="16"/>
                  </a:lnTo>
                  <a:lnTo>
                    <a:pt x="509" y="23"/>
                  </a:lnTo>
                  <a:lnTo>
                    <a:pt x="505" y="33"/>
                  </a:lnTo>
                  <a:lnTo>
                    <a:pt x="507" y="34"/>
                  </a:lnTo>
                  <a:lnTo>
                    <a:pt x="507" y="36"/>
                  </a:lnTo>
                  <a:lnTo>
                    <a:pt x="503" y="43"/>
                  </a:lnTo>
                  <a:lnTo>
                    <a:pt x="501" y="51"/>
                  </a:lnTo>
                  <a:lnTo>
                    <a:pt x="499" y="51"/>
                  </a:lnTo>
                  <a:lnTo>
                    <a:pt x="498" y="66"/>
                  </a:lnTo>
                  <a:lnTo>
                    <a:pt x="497" y="81"/>
                  </a:lnTo>
                  <a:lnTo>
                    <a:pt x="485" y="101"/>
                  </a:lnTo>
                  <a:lnTo>
                    <a:pt x="474" y="121"/>
                  </a:lnTo>
                  <a:lnTo>
                    <a:pt x="462" y="124"/>
                  </a:lnTo>
                  <a:lnTo>
                    <a:pt x="451" y="114"/>
                  </a:lnTo>
                  <a:lnTo>
                    <a:pt x="435" y="103"/>
                  </a:lnTo>
                  <a:lnTo>
                    <a:pt x="419" y="93"/>
                  </a:lnTo>
                  <a:lnTo>
                    <a:pt x="410" y="82"/>
                  </a:lnTo>
                  <a:lnTo>
                    <a:pt x="401" y="72"/>
                  </a:lnTo>
                  <a:lnTo>
                    <a:pt x="411" y="54"/>
                  </a:lnTo>
                  <a:lnTo>
                    <a:pt x="416" y="43"/>
                  </a:lnTo>
                  <a:lnTo>
                    <a:pt x="419" y="46"/>
                  </a:lnTo>
                  <a:lnTo>
                    <a:pt x="422" y="40"/>
                  </a:lnTo>
                  <a:lnTo>
                    <a:pt x="429" y="29"/>
                  </a:lnTo>
                  <a:lnTo>
                    <a:pt x="422" y="23"/>
                  </a:lnTo>
                  <a:lnTo>
                    <a:pt x="416" y="31"/>
                  </a:lnTo>
                  <a:lnTo>
                    <a:pt x="415" y="27"/>
                  </a:lnTo>
                  <a:lnTo>
                    <a:pt x="410" y="27"/>
                  </a:lnTo>
                  <a:lnTo>
                    <a:pt x="413" y="23"/>
                  </a:lnTo>
                  <a:lnTo>
                    <a:pt x="398" y="27"/>
                  </a:lnTo>
                  <a:lnTo>
                    <a:pt x="387" y="24"/>
                  </a:lnTo>
                  <a:lnTo>
                    <a:pt x="380" y="19"/>
                  </a:lnTo>
                  <a:lnTo>
                    <a:pt x="369"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3" name="Freeform 180"/>
            <p:cNvSpPr>
              <a:spLocks/>
            </p:cNvSpPr>
            <p:nvPr/>
          </p:nvSpPr>
          <p:spPr bwMode="auto">
            <a:xfrm>
              <a:off x="4860" y="3518"/>
              <a:ext cx="69" cy="56"/>
            </a:xfrm>
            <a:custGeom>
              <a:avLst/>
              <a:gdLst/>
              <a:ahLst/>
              <a:cxnLst>
                <a:cxn ang="0">
                  <a:pos x="25" y="38"/>
                </a:cxn>
                <a:cxn ang="0">
                  <a:pos x="7" y="50"/>
                </a:cxn>
                <a:cxn ang="0">
                  <a:pos x="0" y="46"/>
                </a:cxn>
                <a:cxn ang="0">
                  <a:pos x="1" y="44"/>
                </a:cxn>
                <a:cxn ang="0">
                  <a:pos x="1" y="29"/>
                </a:cxn>
                <a:cxn ang="0">
                  <a:pos x="4" y="26"/>
                </a:cxn>
                <a:cxn ang="0">
                  <a:pos x="5" y="28"/>
                </a:cxn>
                <a:cxn ang="0">
                  <a:pos x="7" y="16"/>
                </a:cxn>
                <a:cxn ang="0">
                  <a:pos x="9" y="2"/>
                </a:cxn>
                <a:cxn ang="0">
                  <a:pos x="13" y="0"/>
                </a:cxn>
                <a:cxn ang="0">
                  <a:pos x="27" y="5"/>
                </a:cxn>
                <a:cxn ang="0">
                  <a:pos x="40" y="11"/>
                </a:cxn>
                <a:cxn ang="0">
                  <a:pos x="43" y="4"/>
                </a:cxn>
                <a:cxn ang="0">
                  <a:pos x="63" y="2"/>
                </a:cxn>
                <a:cxn ang="0">
                  <a:pos x="48" y="25"/>
                </a:cxn>
                <a:cxn ang="0">
                  <a:pos x="46" y="24"/>
                </a:cxn>
                <a:cxn ang="0">
                  <a:pos x="28" y="43"/>
                </a:cxn>
                <a:cxn ang="0">
                  <a:pos x="30" y="40"/>
                </a:cxn>
                <a:cxn ang="0">
                  <a:pos x="27" y="40"/>
                </a:cxn>
                <a:cxn ang="0">
                  <a:pos x="25" y="38"/>
                </a:cxn>
              </a:cxnLst>
              <a:rect l="0" t="0" r="r" b="b"/>
              <a:pathLst>
                <a:path w="63" h="50">
                  <a:moveTo>
                    <a:pt x="25" y="38"/>
                  </a:moveTo>
                  <a:lnTo>
                    <a:pt x="7" y="50"/>
                  </a:lnTo>
                  <a:lnTo>
                    <a:pt x="0" y="46"/>
                  </a:lnTo>
                  <a:lnTo>
                    <a:pt x="1" y="44"/>
                  </a:lnTo>
                  <a:lnTo>
                    <a:pt x="1" y="29"/>
                  </a:lnTo>
                  <a:lnTo>
                    <a:pt x="4" y="26"/>
                  </a:lnTo>
                  <a:lnTo>
                    <a:pt x="5" y="28"/>
                  </a:lnTo>
                  <a:lnTo>
                    <a:pt x="7" y="16"/>
                  </a:lnTo>
                  <a:lnTo>
                    <a:pt x="9" y="2"/>
                  </a:lnTo>
                  <a:lnTo>
                    <a:pt x="13" y="0"/>
                  </a:lnTo>
                  <a:lnTo>
                    <a:pt x="27" y="5"/>
                  </a:lnTo>
                  <a:lnTo>
                    <a:pt x="40" y="11"/>
                  </a:lnTo>
                  <a:lnTo>
                    <a:pt x="43" y="4"/>
                  </a:lnTo>
                  <a:lnTo>
                    <a:pt x="63" y="2"/>
                  </a:lnTo>
                  <a:lnTo>
                    <a:pt x="48" y="25"/>
                  </a:lnTo>
                  <a:lnTo>
                    <a:pt x="46" y="24"/>
                  </a:lnTo>
                  <a:lnTo>
                    <a:pt x="28" y="43"/>
                  </a:lnTo>
                  <a:lnTo>
                    <a:pt x="30" y="40"/>
                  </a:lnTo>
                  <a:lnTo>
                    <a:pt x="27" y="40"/>
                  </a:lnTo>
                  <a:lnTo>
                    <a:pt x="25" y="3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4" name="Freeform 181"/>
            <p:cNvSpPr>
              <a:spLocks/>
            </p:cNvSpPr>
            <p:nvPr/>
          </p:nvSpPr>
          <p:spPr bwMode="auto">
            <a:xfrm>
              <a:off x="5613" y="3052"/>
              <a:ext cx="22" cy="15"/>
            </a:xfrm>
            <a:custGeom>
              <a:avLst/>
              <a:gdLst/>
              <a:ahLst/>
              <a:cxnLst>
                <a:cxn ang="0">
                  <a:pos x="21" y="13"/>
                </a:cxn>
                <a:cxn ang="0">
                  <a:pos x="0" y="14"/>
                </a:cxn>
                <a:cxn ang="0">
                  <a:pos x="1" y="7"/>
                </a:cxn>
                <a:cxn ang="0">
                  <a:pos x="16" y="0"/>
                </a:cxn>
                <a:cxn ang="0">
                  <a:pos x="21" y="12"/>
                </a:cxn>
                <a:cxn ang="0">
                  <a:pos x="21" y="13"/>
                </a:cxn>
              </a:cxnLst>
              <a:rect l="0" t="0" r="r" b="b"/>
              <a:pathLst>
                <a:path w="21" h="14">
                  <a:moveTo>
                    <a:pt x="21" y="13"/>
                  </a:moveTo>
                  <a:lnTo>
                    <a:pt x="0" y="14"/>
                  </a:lnTo>
                  <a:lnTo>
                    <a:pt x="1" y="7"/>
                  </a:lnTo>
                  <a:lnTo>
                    <a:pt x="16" y="0"/>
                  </a:lnTo>
                  <a:lnTo>
                    <a:pt x="21" y="12"/>
                  </a:lnTo>
                  <a:lnTo>
                    <a:pt x="21"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5" name="Freeform 182"/>
            <p:cNvSpPr>
              <a:spLocks/>
            </p:cNvSpPr>
            <p:nvPr/>
          </p:nvSpPr>
          <p:spPr bwMode="auto">
            <a:xfrm>
              <a:off x="5640" y="3030"/>
              <a:ext cx="24" cy="13"/>
            </a:xfrm>
            <a:custGeom>
              <a:avLst/>
              <a:gdLst/>
              <a:ahLst/>
              <a:cxnLst>
                <a:cxn ang="0">
                  <a:pos x="16" y="8"/>
                </a:cxn>
                <a:cxn ang="0">
                  <a:pos x="22" y="0"/>
                </a:cxn>
                <a:cxn ang="0">
                  <a:pos x="0" y="7"/>
                </a:cxn>
                <a:cxn ang="0">
                  <a:pos x="0" y="12"/>
                </a:cxn>
                <a:cxn ang="0">
                  <a:pos x="16" y="8"/>
                </a:cxn>
              </a:cxnLst>
              <a:rect l="0" t="0" r="r" b="b"/>
              <a:pathLst>
                <a:path w="22" h="12">
                  <a:moveTo>
                    <a:pt x="16" y="8"/>
                  </a:moveTo>
                  <a:lnTo>
                    <a:pt x="22" y="0"/>
                  </a:lnTo>
                  <a:lnTo>
                    <a:pt x="0" y="7"/>
                  </a:lnTo>
                  <a:lnTo>
                    <a:pt x="0" y="12"/>
                  </a:lnTo>
                  <a:lnTo>
                    <a:pt x="16" y="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6" name="Freeform 183"/>
            <p:cNvSpPr>
              <a:spLocks/>
            </p:cNvSpPr>
            <p:nvPr/>
          </p:nvSpPr>
          <p:spPr bwMode="auto">
            <a:xfrm>
              <a:off x="5373" y="3107"/>
              <a:ext cx="38" cy="43"/>
            </a:xfrm>
            <a:custGeom>
              <a:avLst/>
              <a:gdLst/>
              <a:ahLst/>
              <a:cxnLst>
                <a:cxn ang="0">
                  <a:pos x="35" y="38"/>
                </a:cxn>
                <a:cxn ang="0">
                  <a:pos x="27" y="36"/>
                </a:cxn>
                <a:cxn ang="0">
                  <a:pos x="13" y="24"/>
                </a:cxn>
                <a:cxn ang="0">
                  <a:pos x="1" y="11"/>
                </a:cxn>
                <a:cxn ang="0">
                  <a:pos x="0" y="0"/>
                </a:cxn>
                <a:cxn ang="0">
                  <a:pos x="9" y="10"/>
                </a:cxn>
                <a:cxn ang="0">
                  <a:pos x="18" y="18"/>
                </a:cxn>
                <a:cxn ang="0">
                  <a:pos x="27" y="28"/>
                </a:cxn>
                <a:cxn ang="0">
                  <a:pos x="35" y="38"/>
                </a:cxn>
              </a:cxnLst>
              <a:rect l="0" t="0" r="r" b="b"/>
              <a:pathLst>
                <a:path w="35" h="38">
                  <a:moveTo>
                    <a:pt x="35" y="38"/>
                  </a:moveTo>
                  <a:lnTo>
                    <a:pt x="27" y="36"/>
                  </a:lnTo>
                  <a:lnTo>
                    <a:pt x="13" y="24"/>
                  </a:lnTo>
                  <a:lnTo>
                    <a:pt x="1" y="11"/>
                  </a:lnTo>
                  <a:lnTo>
                    <a:pt x="0" y="0"/>
                  </a:lnTo>
                  <a:lnTo>
                    <a:pt x="9" y="10"/>
                  </a:lnTo>
                  <a:lnTo>
                    <a:pt x="18" y="18"/>
                  </a:lnTo>
                  <a:lnTo>
                    <a:pt x="27" y="28"/>
                  </a:lnTo>
                  <a:lnTo>
                    <a:pt x="35" y="3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7" name="Freeform 184"/>
            <p:cNvSpPr>
              <a:spLocks/>
            </p:cNvSpPr>
            <p:nvPr/>
          </p:nvSpPr>
          <p:spPr bwMode="auto">
            <a:xfrm>
              <a:off x="5146" y="3514"/>
              <a:ext cx="198" cy="120"/>
            </a:xfrm>
            <a:custGeom>
              <a:avLst/>
              <a:gdLst/>
              <a:ahLst/>
              <a:cxnLst>
                <a:cxn ang="0">
                  <a:pos x="117" y="59"/>
                </a:cxn>
                <a:cxn ang="0">
                  <a:pos x="111" y="48"/>
                </a:cxn>
                <a:cxn ang="0">
                  <a:pos x="109" y="48"/>
                </a:cxn>
                <a:cxn ang="0">
                  <a:pos x="105" y="51"/>
                </a:cxn>
                <a:cxn ang="0">
                  <a:pos x="111" y="60"/>
                </a:cxn>
                <a:cxn ang="0">
                  <a:pos x="99" y="64"/>
                </a:cxn>
                <a:cxn ang="0">
                  <a:pos x="90" y="65"/>
                </a:cxn>
                <a:cxn ang="0">
                  <a:pos x="88" y="72"/>
                </a:cxn>
                <a:cxn ang="0">
                  <a:pos x="82" y="78"/>
                </a:cxn>
                <a:cxn ang="0">
                  <a:pos x="82" y="79"/>
                </a:cxn>
                <a:cxn ang="0">
                  <a:pos x="61" y="95"/>
                </a:cxn>
                <a:cxn ang="0">
                  <a:pos x="27" y="109"/>
                </a:cxn>
                <a:cxn ang="0">
                  <a:pos x="19" y="106"/>
                </a:cxn>
                <a:cxn ang="0">
                  <a:pos x="6" y="102"/>
                </a:cxn>
                <a:cxn ang="0">
                  <a:pos x="1" y="100"/>
                </a:cxn>
                <a:cxn ang="0">
                  <a:pos x="3" y="99"/>
                </a:cxn>
                <a:cxn ang="0">
                  <a:pos x="0" y="97"/>
                </a:cxn>
                <a:cxn ang="0">
                  <a:pos x="9" y="91"/>
                </a:cxn>
                <a:cxn ang="0">
                  <a:pos x="12" y="89"/>
                </a:cxn>
                <a:cxn ang="0">
                  <a:pos x="17" y="85"/>
                </a:cxn>
                <a:cxn ang="0">
                  <a:pos x="18" y="87"/>
                </a:cxn>
                <a:cxn ang="0">
                  <a:pos x="24" y="79"/>
                </a:cxn>
                <a:cxn ang="0">
                  <a:pos x="30" y="77"/>
                </a:cxn>
                <a:cxn ang="0">
                  <a:pos x="40" y="73"/>
                </a:cxn>
                <a:cxn ang="0">
                  <a:pos x="59" y="63"/>
                </a:cxn>
                <a:cxn ang="0">
                  <a:pos x="67" y="60"/>
                </a:cxn>
                <a:cxn ang="0">
                  <a:pos x="95" y="47"/>
                </a:cxn>
                <a:cxn ang="0">
                  <a:pos x="108" y="41"/>
                </a:cxn>
                <a:cxn ang="0">
                  <a:pos x="125" y="31"/>
                </a:cxn>
                <a:cxn ang="0">
                  <a:pos x="120" y="31"/>
                </a:cxn>
                <a:cxn ang="0">
                  <a:pos x="132" y="23"/>
                </a:cxn>
                <a:cxn ang="0">
                  <a:pos x="162" y="3"/>
                </a:cxn>
                <a:cxn ang="0">
                  <a:pos x="169" y="0"/>
                </a:cxn>
                <a:cxn ang="0">
                  <a:pos x="162" y="4"/>
                </a:cxn>
                <a:cxn ang="0">
                  <a:pos x="161" y="12"/>
                </a:cxn>
                <a:cxn ang="0">
                  <a:pos x="175" y="7"/>
                </a:cxn>
                <a:cxn ang="0">
                  <a:pos x="173" y="11"/>
                </a:cxn>
                <a:cxn ang="0">
                  <a:pos x="175" y="12"/>
                </a:cxn>
                <a:cxn ang="0">
                  <a:pos x="174" y="13"/>
                </a:cxn>
                <a:cxn ang="0">
                  <a:pos x="179" y="12"/>
                </a:cxn>
                <a:cxn ang="0">
                  <a:pos x="171" y="21"/>
                </a:cxn>
                <a:cxn ang="0">
                  <a:pos x="151" y="34"/>
                </a:cxn>
                <a:cxn ang="0">
                  <a:pos x="132" y="46"/>
                </a:cxn>
                <a:cxn ang="0">
                  <a:pos x="124" y="49"/>
                </a:cxn>
                <a:cxn ang="0">
                  <a:pos x="123" y="52"/>
                </a:cxn>
                <a:cxn ang="0">
                  <a:pos x="117" y="52"/>
                </a:cxn>
                <a:cxn ang="0">
                  <a:pos x="123" y="55"/>
                </a:cxn>
                <a:cxn ang="0">
                  <a:pos x="124" y="60"/>
                </a:cxn>
                <a:cxn ang="0">
                  <a:pos x="117" y="59"/>
                </a:cxn>
              </a:cxnLst>
              <a:rect l="0" t="0" r="r" b="b"/>
              <a:pathLst>
                <a:path w="179" h="109">
                  <a:moveTo>
                    <a:pt x="117" y="59"/>
                  </a:moveTo>
                  <a:lnTo>
                    <a:pt x="111" y="48"/>
                  </a:lnTo>
                  <a:lnTo>
                    <a:pt x="109" y="48"/>
                  </a:lnTo>
                  <a:lnTo>
                    <a:pt x="105" y="51"/>
                  </a:lnTo>
                  <a:lnTo>
                    <a:pt x="111" y="60"/>
                  </a:lnTo>
                  <a:lnTo>
                    <a:pt x="99" y="64"/>
                  </a:lnTo>
                  <a:lnTo>
                    <a:pt x="90" y="65"/>
                  </a:lnTo>
                  <a:lnTo>
                    <a:pt x="88" y="72"/>
                  </a:lnTo>
                  <a:lnTo>
                    <a:pt x="82" y="78"/>
                  </a:lnTo>
                  <a:lnTo>
                    <a:pt x="82" y="79"/>
                  </a:lnTo>
                  <a:lnTo>
                    <a:pt x="61" y="95"/>
                  </a:lnTo>
                  <a:lnTo>
                    <a:pt x="27" y="109"/>
                  </a:lnTo>
                  <a:lnTo>
                    <a:pt x="19" y="106"/>
                  </a:lnTo>
                  <a:lnTo>
                    <a:pt x="6" y="102"/>
                  </a:lnTo>
                  <a:lnTo>
                    <a:pt x="1" y="100"/>
                  </a:lnTo>
                  <a:lnTo>
                    <a:pt x="3" y="99"/>
                  </a:lnTo>
                  <a:lnTo>
                    <a:pt x="0" y="97"/>
                  </a:lnTo>
                  <a:lnTo>
                    <a:pt x="9" y="91"/>
                  </a:lnTo>
                  <a:lnTo>
                    <a:pt x="12" y="89"/>
                  </a:lnTo>
                  <a:lnTo>
                    <a:pt x="17" y="85"/>
                  </a:lnTo>
                  <a:lnTo>
                    <a:pt x="18" y="87"/>
                  </a:lnTo>
                  <a:lnTo>
                    <a:pt x="24" y="79"/>
                  </a:lnTo>
                  <a:lnTo>
                    <a:pt x="30" y="77"/>
                  </a:lnTo>
                  <a:lnTo>
                    <a:pt x="40" y="73"/>
                  </a:lnTo>
                  <a:lnTo>
                    <a:pt x="59" y="63"/>
                  </a:lnTo>
                  <a:lnTo>
                    <a:pt x="67" y="60"/>
                  </a:lnTo>
                  <a:lnTo>
                    <a:pt x="95" y="47"/>
                  </a:lnTo>
                  <a:lnTo>
                    <a:pt x="108" y="41"/>
                  </a:lnTo>
                  <a:lnTo>
                    <a:pt x="125" y="31"/>
                  </a:lnTo>
                  <a:lnTo>
                    <a:pt x="120" y="31"/>
                  </a:lnTo>
                  <a:lnTo>
                    <a:pt x="132" y="23"/>
                  </a:lnTo>
                  <a:lnTo>
                    <a:pt x="162" y="3"/>
                  </a:lnTo>
                  <a:lnTo>
                    <a:pt x="169" y="0"/>
                  </a:lnTo>
                  <a:lnTo>
                    <a:pt x="162" y="4"/>
                  </a:lnTo>
                  <a:lnTo>
                    <a:pt x="161" y="12"/>
                  </a:lnTo>
                  <a:lnTo>
                    <a:pt x="175" y="7"/>
                  </a:lnTo>
                  <a:lnTo>
                    <a:pt x="173" y="11"/>
                  </a:lnTo>
                  <a:lnTo>
                    <a:pt x="175" y="12"/>
                  </a:lnTo>
                  <a:lnTo>
                    <a:pt x="174" y="13"/>
                  </a:lnTo>
                  <a:lnTo>
                    <a:pt x="179" y="12"/>
                  </a:lnTo>
                  <a:lnTo>
                    <a:pt x="171" y="21"/>
                  </a:lnTo>
                  <a:lnTo>
                    <a:pt x="151" y="34"/>
                  </a:lnTo>
                  <a:lnTo>
                    <a:pt x="132" y="46"/>
                  </a:lnTo>
                  <a:lnTo>
                    <a:pt x="124" y="49"/>
                  </a:lnTo>
                  <a:lnTo>
                    <a:pt x="123" y="52"/>
                  </a:lnTo>
                  <a:lnTo>
                    <a:pt x="117" y="52"/>
                  </a:lnTo>
                  <a:lnTo>
                    <a:pt x="123" y="55"/>
                  </a:lnTo>
                  <a:lnTo>
                    <a:pt x="124" y="60"/>
                  </a:lnTo>
                  <a:lnTo>
                    <a:pt x="117" y="5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8" name="Freeform 185"/>
            <p:cNvSpPr>
              <a:spLocks/>
            </p:cNvSpPr>
            <p:nvPr/>
          </p:nvSpPr>
          <p:spPr bwMode="auto">
            <a:xfrm>
              <a:off x="5348" y="3394"/>
              <a:ext cx="114" cy="140"/>
            </a:xfrm>
            <a:custGeom>
              <a:avLst/>
              <a:gdLst/>
              <a:ahLst/>
              <a:cxnLst>
                <a:cxn ang="0">
                  <a:pos x="12" y="85"/>
                </a:cxn>
                <a:cxn ang="0">
                  <a:pos x="18" y="94"/>
                </a:cxn>
                <a:cxn ang="0">
                  <a:pos x="23" y="102"/>
                </a:cxn>
                <a:cxn ang="0">
                  <a:pos x="0" y="123"/>
                </a:cxn>
                <a:cxn ang="0">
                  <a:pos x="3" y="127"/>
                </a:cxn>
                <a:cxn ang="0">
                  <a:pos x="25" y="114"/>
                </a:cxn>
                <a:cxn ang="0">
                  <a:pos x="48" y="101"/>
                </a:cxn>
                <a:cxn ang="0">
                  <a:pos x="59" y="88"/>
                </a:cxn>
                <a:cxn ang="0">
                  <a:pos x="74" y="83"/>
                </a:cxn>
                <a:cxn ang="0">
                  <a:pos x="81" y="76"/>
                </a:cxn>
                <a:cxn ang="0">
                  <a:pos x="102" y="58"/>
                </a:cxn>
                <a:cxn ang="0">
                  <a:pos x="99" y="57"/>
                </a:cxn>
                <a:cxn ang="0">
                  <a:pos x="83" y="63"/>
                </a:cxn>
                <a:cxn ang="0">
                  <a:pos x="66" y="54"/>
                </a:cxn>
                <a:cxn ang="0">
                  <a:pos x="71" y="36"/>
                </a:cxn>
                <a:cxn ang="0">
                  <a:pos x="65" y="47"/>
                </a:cxn>
                <a:cxn ang="0">
                  <a:pos x="56" y="42"/>
                </a:cxn>
                <a:cxn ang="0">
                  <a:pos x="59" y="36"/>
                </a:cxn>
                <a:cxn ang="0">
                  <a:pos x="63" y="23"/>
                </a:cxn>
                <a:cxn ang="0">
                  <a:pos x="67" y="16"/>
                </a:cxn>
                <a:cxn ang="0">
                  <a:pos x="65" y="16"/>
                </a:cxn>
                <a:cxn ang="0">
                  <a:pos x="57" y="7"/>
                </a:cxn>
                <a:cxn ang="0">
                  <a:pos x="54" y="1"/>
                </a:cxn>
                <a:cxn ang="0">
                  <a:pos x="54" y="0"/>
                </a:cxn>
                <a:cxn ang="0">
                  <a:pos x="51" y="12"/>
                </a:cxn>
                <a:cxn ang="0">
                  <a:pos x="54" y="17"/>
                </a:cxn>
                <a:cxn ang="0">
                  <a:pos x="50" y="34"/>
                </a:cxn>
                <a:cxn ang="0">
                  <a:pos x="53" y="27"/>
                </a:cxn>
                <a:cxn ang="0">
                  <a:pos x="55" y="30"/>
                </a:cxn>
                <a:cxn ang="0">
                  <a:pos x="55" y="33"/>
                </a:cxn>
                <a:cxn ang="0">
                  <a:pos x="53" y="37"/>
                </a:cxn>
                <a:cxn ang="0">
                  <a:pos x="49" y="46"/>
                </a:cxn>
                <a:cxn ang="0">
                  <a:pos x="55" y="45"/>
                </a:cxn>
                <a:cxn ang="0">
                  <a:pos x="51" y="48"/>
                </a:cxn>
                <a:cxn ang="0">
                  <a:pos x="47" y="57"/>
                </a:cxn>
                <a:cxn ang="0">
                  <a:pos x="32" y="76"/>
                </a:cxn>
                <a:cxn ang="0">
                  <a:pos x="12" y="85"/>
                </a:cxn>
              </a:cxnLst>
              <a:rect l="0" t="0" r="r" b="b"/>
              <a:pathLst>
                <a:path w="102" h="127">
                  <a:moveTo>
                    <a:pt x="12" y="85"/>
                  </a:moveTo>
                  <a:lnTo>
                    <a:pt x="18" y="94"/>
                  </a:lnTo>
                  <a:lnTo>
                    <a:pt x="23" y="102"/>
                  </a:lnTo>
                  <a:lnTo>
                    <a:pt x="0" y="123"/>
                  </a:lnTo>
                  <a:lnTo>
                    <a:pt x="3" y="127"/>
                  </a:lnTo>
                  <a:lnTo>
                    <a:pt x="25" y="114"/>
                  </a:lnTo>
                  <a:lnTo>
                    <a:pt x="48" y="101"/>
                  </a:lnTo>
                  <a:lnTo>
                    <a:pt x="59" y="88"/>
                  </a:lnTo>
                  <a:lnTo>
                    <a:pt x="74" y="83"/>
                  </a:lnTo>
                  <a:lnTo>
                    <a:pt x="81" y="76"/>
                  </a:lnTo>
                  <a:lnTo>
                    <a:pt x="102" y="58"/>
                  </a:lnTo>
                  <a:lnTo>
                    <a:pt x="99" y="57"/>
                  </a:lnTo>
                  <a:lnTo>
                    <a:pt x="83" y="63"/>
                  </a:lnTo>
                  <a:lnTo>
                    <a:pt x="66" y="54"/>
                  </a:lnTo>
                  <a:lnTo>
                    <a:pt x="71" y="36"/>
                  </a:lnTo>
                  <a:lnTo>
                    <a:pt x="65" y="47"/>
                  </a:lnTo>
                  <a:lnTo>
                    <a:pt x="56" y="42"/>
                  </a:lnTo>
                  <a:lnTo>
                    <a:pt x="59" y="36"/>
                  </a:lnTo>
                  <a:lnTo>
                    <a:pt x="63" y="23"/>
                  </a:lnTo>
                  <a:lnTo>
                    <a:pt x="67" y="16"/>
                  </a:lnTo>
                  <a:lnTo>
                    <a:pt x="65" y="16"/>
                  </a:lnTo>
                  <a:lnTo>
                    <a:pt x="57" y="7"/>
                  </a:lnTo>
                  <a:lnTo>
                    <a:pt x="54" y="1"/>
                  </a:lnTo>
                  <a:lnTo>
                    <a:pt x="54" y="0"/>
                  </a:lnTo>
                  <a:lnTo>
                    <a:pt x="51" y="12"/>
                  </a:lnTo>
                  <a:lnTo>
                    <a:pt x="54" y="17"/>
                  </a:lnTo>
                  <a:lnTo>
                    <a:pt x="50" y="34"/>
                  </a:lnTo>
                  <a:lnTo>
                    <a:pt x="53" y="27"/>
                  </a:lnTo>
                  <a:lnTo>
                    <a:pt x="55" y="30"/>
                  </a:lnTo>
                  <a:lnTo>
                    <a:pt x="55" y="33"/>
                  </a:lnTo>
                  <a:lnTo>
                    <a:pt x="53" y="37"/>
                  </a:lnTo>
                  <a:lnTo>
                    <a:pt x="49" y="46"/>
                  </a:lnTo>
                  <a:lnTo>
                    <a:pt x="55" y="45"/>
                  </a:lnTo>
                  <a:lnTo>
                    <a:pt x="51" y="48"/>
                  </a:lnTo>
                  <a:lnTo>
                    <a:pt x="47" y="57"/>
                  </a:lnTo>
                  <a:lnTo>
                    <a:pt x="32" y="76"/>
                  </a:lnTo>
                  <a:lnTo>
                    <a:pt x="12" y="8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9" name="Freeform 186"/>
            <p:cNvSpPr>
              <a:spLocks/>
            </p:cNvSpPr>
            <p:nvPr/>
          </p:nvSpPr>
          <p:spPr bwMode="auto">
            <a:xfrm>
              <a:off x="5144" y="3636"/>
              <a:ext cx="11" cy="7"/>
            </a:xfrm>
            <a:custGeom>
              <a:avLst/>
              <a:gdLst/>
              <a:ahLst/>
              <a:cxnLst>
                <a:cxn ang="0">
                  <a:pos x="11" y="3"/>
                </a:cxn>
                <a:cxn ang="0">
                  <a:pos x="11" y="1"/>
                </a:cxn>
                <a:cxn ang="0">
                  <a:pos x="6" y="0"/>
                </a:cxn>
                <a:cxn ang="0">
                  <a:pos x="0" y="6"/>
                </a:cxn>
                <a:cxn ang="0">
                  <a:pos x="11" y="3"/>
                </a:cxn>
              </a:cxnLst>
              <a:rect l="0" t="0" r="r" b="b"/>
              <a:pathLst>
                <a:path w="11" h="6">
                  <a:moveTo>
                    <a:pt x="11" y="3"/>
                  </a:moveTo>
                  <a:lnTo>
                    <a:pt x="11" y="1"/>
                  </a:lnTo>
                  <a:lnTo>
                    <a:pt x="6" y="0"/>
                  </a:lnTo>
                  <a:lnTo>
                    <a:pt x="0" y="6"/>
                  </a:lnTo>
                  <a:lnTo>
                    <a:pt x="11"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0" name="Freeform 187"/>
            <p:cNvSpPr>
              <a:spLocks/>
            </p:cNvSpPr>
            <p:nvPr/>
          </p:nvSpPr>
          <p:spPr bwMode="auto">
            <a:xfrm>
              <a:off x="5333" y="2890"/>
              <a:ext cx="20" cy="13"/>
            </a:xfrm>
            <a:custGeom>
              <a:avLst/>
              <a:gdLst/>
              <a:ahLst/>
              <a:cxnLst>
                <a:cxn ang="0">
                  <a:pos x="17" y="11"/>
                </a:cxn>
                <a:cxn ang="0">
                  <a:pos x="18" y="9"/>
                </a:cxn>
                <a:cxn ang="0">
                  <a:pos x="3" y="0"/>
                </a:cxn>
                <a:cxn ang="0">
                  <a:pos x="0" y="5"/>
                </a:cxn>
                <a:cxn ang="0">
                  <a:pos x="17" y="11"/>
                </a:cxn>
              </a:cxnLst>
              <a:rect l="0" t="0" r="r" b="b"/>
              <a:pathLst>
                <a:path w="18" h="11">
                  <a:moveTo>
                    <a:pt x="17" y="11"/>
                  </a:moveTo>
                  <a:lnTo>
                    <a:pt x="18" y="9"/>
                  </a:lnTo>
                  <a:lnTo>
                    <a:pt x="3" y="0"/>
                  </a:lnTo>
                  <a:lnTo>
                    <a:pt x="0" y="5"/>
                  </a:lnTo>
                  <a:lnTo>
                    <a:pt x="17" y="1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1" name="Freeform 188"/>
            <p:cNvSpPr>
              <a:spLocks/>
            </p:cNvSpPr>
            <p:nvPr/>
          </p:nvSpPr>
          <p:spPr bwMode="auto">
            <a:xfrm>
              <a:off x="5284" y="2839"/>
              <a:ext cx="16" cy="15"/>
            </a:xfrm>
            <a:custGeom>
              <a:avLst/>
              <a:gdLst/>
              <a:ahLst/>
              <a:cxnLst>
                <a:cxn ang="0">
                  <a:pos x="0" y="0"/>
                </a:cxn>
                <a:cxn ang="0">
                  <a:pos x="14" y="13"/>
                </a:cxn>
                <a:cxn ang="0">
                  <a:pos x="5" y="10"/>
                </a:cxn>
                <a:cxn ang="0">
                  <a:pos x="0" y="0"/>
                </a:cxn>
              </a:cxnLst>
              <a:rect l="0" t="0" r="r" b="b"/>
              <a:pathLst>
                <a:path w="14" h="13">
                  <a:moveTo>
                    <a:pt x="0" y="0"/>
                  </a:moveTo>
                  <a:lnTo>
                    <a:pt x="14" y="13"/>
                  </a:lnTo>
                  <a:lnTo>
                    <a:pt x="5" y="10"/>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2" name="Freeform 189"/>
            <p:cNvSpPr>
              <a:spLocks/>
            </p:cNvSpPr>
            <p:nvPr/>
          </p:nvSpPr>
          <p:spPr bwMode="auto">
            <a:xfrm>
              <a:off x="5362" y="2910"/>
              <a:ext cx="13" cy="11"/>
            </a:xfrm>
            <a:custGeom>
              <a:avLst/>
              <a:gdLst/>
              <a:ahLst/>
              <a:cxnLst>
                <a:cxn ang="0">
                  <a:pos x="13" y="10"/>
                </a:cxn>
                <a:cxn ang="0">
                  <a:pos x="1" y="3"/>
                </a:cxn>
                <a:cxn ang="0">
                  <a:pos x="0" y="0"/>
                </a:cxn>
                <a:cxn ang="0">
                  <a:pos x="13" y="8"/>
                </a:cxn>
                <a:cxn ang="0">
                  <a:pos x="13" y="10"/>
                </a:cxn>
              </a:cxnLst>
              <a:rect l="0" t="0" r="r" b="b"/>
              <a:pathLst>
                <a:path w="13" h="10">
                  <a:moveTo>
                    <a:pt x="13" y="10"/>
                  </a:moveTo>
                  <a:lnTo>
                    <a:pt x="1" y="3"/>
                  </a:lnTo>
                  <a:lnTo>
                    <a:pt x="0" y="0"/>
                  </a:lnTo>
                  <a:lnTo>
                    <a:pt x="13" y="8"/>
                  </a:lnTo>
                  <a:lnTo>
                    <a:pt x="13"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3" name="Freeform 190"/>
            <p:cNvSpPr>
              <a:spLocks/>
            </p:cNvSpPr>
            <p:nvPr/>
          </p:nvSpPr>
          <p:spPr bwMode="auto">
            <a:xfrm>
              <a:off x="5295" y="2865"/>
              <a:ext cx="9" cy="11"/>
            </a:xfrm>
            <a:custGeom>
              <a:avLst/>
              <a:gdLst/>
              <a:ahLst/>
              <a:cxnLst>
                <a:cxn ang="0">
                  <a:pos x="8" y="10"/>
                </a:cxn>
                <a:cxn ang="0">
                  <a:pos x="4" y="0"/>
                </a:cxn>
                <a:cxn ang="0">
                  <a:pos x="0" y="4"/>
                </a:cxn>
                <a:cxn ang="0">
                  <a:pos x="3" y="4"/>
                </a:cxn>
                <a:cxn ang="0">
                  <a:pos x="8" y="10"/>
                </a:cxn>
              </a:cxnLst>
              <a:rect l="0" t="0" r="r" b="b"/>
              <a:pathLst>
                <a:path w="8" h="10">
                  <a:moveTo>
                    <a:pt x="8" y="10"/>
                  </a:moveTo>
                  <a:lnTo>
                    <a:pt x="4" y="0"/>
                  </a:lnTo>
                  <a:lnTo>
                    <a:pt x="0" y="4"/>
                  </a:lnTo>
                  <a:lnTo>
                    <a:pt x="3" y="4"/>
                  </a:lnTo>
                  <a:lnTo>
                    <a:pt x="8"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4" name="Freeform 191"/>
            <p:cNvSpPr>
              <a:spLocks/>
            </p:cNvSpPr>
            <p:nvPr/>
          </p:nvSpPr>
          <p:spPr bwMode="auto">
            <a:xfrm>
              <a:off x="5353" y="2870"/>
              <a:ext cx="9" cy="26"/>
            </a:xfrm>
            <a:custGeom>
              <a:avLst/>
              <a:gdLst/>
              <a:ahLst/>
              <a:cxnLst>
                <a:cxn ang="0">
                  <a:pos x="2" y="0"/>
                </a:cxn>
                <a:cxn ang="0">
                  <a:pos x="9" y="23"/>
                </a:cxn>
                <a:cxn ang="0">
                  <a:pos x="0" y="5"/>
                </a:cxn>
                <a:cxn ang="0">
                  <a:pos x="2" y="0"/>
                </a:cxn>
              </a:cxnLst>
              <a:rect l="0" t="0" r="r" b="b"/>
              <a:pathLst>
                <a:path w="9" h="23">
                  <a:moveTo>
                    <a:pt x="2" y="0"/>
                  </a:moveTo>
                  <a:lnTo>
                    <a:pt x="9" y="23"/>
                  </a:lnTo>
                  <a:lnTo>
                    <a:pt x="0" y="5"/>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5" name="Freeform 192"/>
            <p:cNvSpPr>
              <a:spLocks/>
            </p:cNvSpPr>
            <p:nvPr/>
          </p:nvSpPr>
          <p:spPr bwMode="auto">
            <a:xfrm>
              <a:off x="5320" y="2856"/>
              <a:ext cx="20" cy="20"/>
            </a:xfrm>
            <a:custGeom>
              <a:avLst/>
              <a:gdLst/>
              <a:ahLst/>
              <a:cxnLst>
                <a:cxn ang="0">
                  <a:pos x="17" y="18"/>
                </a:cxn>
                <a:cxn ang="0">
                  <a:pos x="19" y="18"/>
                </a:cxn>
                <a:cxn ang="0">
                  <a:pos x="10" y="9"/>
                </a:cxn>
                <a:cxn ang="0">
                  <a:pos x="0" y="0"/>
                </a:cxn>
                <a:cxn ang="0">
                  <a:pos x="9" y="9"/>
                </a:cxn>
                <a:cxn ang="0">
                  <a:pos x="17" y="18"/>
                </a:cxn>
              </a:cxnLst>
              <a:rect l="0" t="0" r="r" b="b"/>
              <a:pathLst>
                <a:path w="19" h="18">
                  <a:moveTo>
                    <a:pt x="17" y="18"/>
                  </a:moveTo>
                  <a:lnTo>
                    <a:pt x="19" y="18"/>
                  </a:lnTo>
                  <a:lnTo>
                    <a:pt x="10" y="9"/>
                  </a:lnTo>
                  <a:lnTo>
                    <a:pt x="0" y="0"/>
                  </a:lnTo>
                  <a:lnTo>
                    <a:pt x="9" y="9"/>
                  </a:lnTo>
                  <a:lnTo>
                    <a:pt x="17"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6" name="Freeform 193"/>
            <p:cNvSpPr>
              <a:spLocks/>
            </p:cNvSpPr>
            <p:nvPr/>
          </p:nvSpPr>
          <p:spPr bwMode="auto">
            <a:xfrm>
              <a:off x="5628" y="2954"/>
              <a:ext cx="3" cy="2"/>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7" name="Freeform 194"/>
            <p:cNvSpPr>
              <a:spLocks/>
            </p:cNvSpPr>
            <p:nvPr/>
          </p:nvSpPr>
          <p:spPr bwMode="auto">
            <a:xfrm>
              <a:off x="5437" y="3001"/>
              <a:ext cx="9" cy="13"/>
            </a:xfrm>
            <a:custGeom>
              <a:avLst/>
              <a:gdLst/>
              <a:ahLst/>
              <a:cxnLst>
                <a:cxn ang="0">
                  <a:pos x="7" y="13"/>
                </a:cxn>
                <a:cxn ang="0">
                  <a:pos x="8" y="5"/>
                </a:cxn>
                <a:cxn ang="0">
                  <a:pos x="6" y="6"/>
                </a:cxn>
                <a:cxn ang="0">
                  <a:pos x="2" y="0"/>
                </a:cxn>
                <a:cxn ang="0">
                  <a:pos x="0" y="13"/>
                </a:cxn>
                <a:cxn ang="0">
                  <a:pos x="7" y="13"/>
                </a:cxn>
              </a:cxnLst>
              <a:rect l="0" t="0" r="r" b="b"/>
              <a:pathLst>
                <a:path w="8" h="13">
                  <a:moveTo>
                    <a:pt x="7" y="13"/>
                  </a:moveTo>
                  <a:lnTo>
                    <a:pt x="8" y="5"/>
                  </a:lnTo>
                  <a:lnTo>
                    <a:pt x="6" y="6"/>
                  </a:lnTo>
                  <a:lnTo>
                    <a:pt x="2" y="0"/>
                  </a:lnTo>
                  <a:lnTo>
                    <a:pt x="0" y="13"/>
                  </a:lnTo>
                  <a:lnTo>
                    <a:pt x="7"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8" name="Freeform 195"/>
            <p:cNvSpPr>
              <a:spLocks/>
            </p:cNvSpPr>
            <p:nvPr/>
          </p:nvSpPr>
          <p:spPr bwMode="auto">
            <a:xfrm>
              <a:off x="5446" y="3021"/>
              <a:ext cx="7" cy="13"/>
            </a:xfrm>
            <a:custGeom>
              <a:avLst/>
              <a:gdLst/>
              <a:ahLst/>
              <a:cxnLst>
                <a:cxn ang="0">
                  <a:pos x="6" y="12"/>
                </a:cxn>
                <a:cxn ang="0">
                  <a:pos x="0" y="11"/>
                </a:cxn>
                <a:cxn ang="0">
                  <a:pos x="0" y="0"/>
                </a:cxn>
                <a:cxn ang="0">
                  <a:pos x="6" y="12"/>
                </a:cxn>
              </a:cxnLst>
              <a:rect l="0" t="0" r="r" b="b"/>
              <a:pathLst>
                <a:path w="6" h="12">
                  <a:moveTo>
                    <a:pt x="6" y="12"/>
                  </a:moveTo>
                  <a:lnTo>
                    <a:pt x="0" y="11"/>
                  </a:lnTo>
                  <a:lnTo>
                    <a:pt x="0" y="0"/>
                  </a:lnTo>
                  <a:lnTo>
                    <a:pt x="6"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9" name="Freeform 196"/>
            <p:cNvSpPr>
              <a:spLocks/>
            </p:cNvSpPr>
            <p:nvPr/>
          </p:nvSpPr>
          <p:spPr bwMode="auto">
            <a:xfrm>
              <a:off x="5457" y="3027"/>
              <a:ext cx="5" cy="5"/>
            </a:xfrm>
            <a:custGeom>
              <a:avLst/>
              <a:gdLst/>
              <a:ahLst/>
              <a:cxnLst>
                <a:cxn ang="0">
                  <a:pos x="4" y="0"/>
                </a:cxn>
                <a:cxn ang="0">
                  <a:pos x="1" y="5"/>
                </a:cxn>
                <a:cxn ang="0">
                  <a:pos x="0" y="4"/>
                </a:cxn>
                <a:cxn ang="0">
                  <a:pos x="4" y="0"/>
                </a:cxn>
              </a:cxnLst>
              <a:rect l="0" t="0" r="r" b="b"/>
              <a:pathLst>
                <a:path w="4" h="5">
                  <a:moveTo>
                    <a:pt x="4" y="0"/>
                  </a:moveTo>
                  <a:lnTo>
                    <a:pt x="1" y="5"/>
                  </a:lnTo>
                  <a:lnTo>
                    <a:pt x="0" y="4"/>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0" name="Freeform 197"/>
            <p:cNvSpPr>
              <a:spLocks/>
            </p:cNvSpPr>
            <p:nvPr/>
          </p:nvSpPr>
          <p:spPr bwMode="auto">
            <a:xfrm>
              <a:off x="5464" y="3079"/>
              <a:ext cx="2" cy="4"/>
            </a:xfrm>
            <a:custGeom>
              <a:avLst/>
              <a:gdLst/>
              <a:ahLst/>
              <a:cxnLst>
                <a:cxn ang="0">
                  <a:pos x="2" y="1"/>
                </a:cxn>
                <a:cxn ang="0">
                  <a:pos x="2" y="0"/>
                </a:cxn>
                <a:cxn ang="0">
                  <a:pos x="0" y="5"/>
                </a:cxn>
                <a:cxn ang="0">
                  <a:pos x="2" y="1"/>
                </a:cxn>
              </a:cxnLst>
              <a:rect l="0" t="0" r="r" b="b"/>
              <a:pathLst>
                <a:path w="2" h="5">
                  <a:moveTo>
                    <a:pt x="2" y="1"/>
                  </a:moveTo>
                  <a:lnTo>
                    <a:pt x="2" y="0"/>
                  </a:lnTo>
                  <a:lnTo>
                    <a:pt x="0" y="5"/>
                  </a:lnTo>
                  <a:lnTo>
                    <a:pt x="2"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1" name="Freeform 198"/>
            <p:cNvSpPr>
              <a:spLocks/>
            </p:cNvSpPr>
            <p:nvPr/>
          </p:nvSpPr>
          <p:spPr bwMode="auto">
            <a:xfrm>
              <a:off x="2736" y="3043"/>
              <a:ext cx="233" cy="238"/>
            </a:xfrm>
            <a:custGeom>
              <a:avLst/>
              <a:gdLst/>
              <a:ahLst/>
              <a:cxnLst>
                <a:cxn ang="0">
                  <a:pos x="124" y="140"/>
                </a:cxn>
                <a:cxn ang="0">
                  <a:pos x="126" y="115"/>
                </a:cxn>
                <a:cxn ang="0">
                  <a:pos x="127" y="90"/>
                </a:cxn>
                <a:cxn ang="0">
                  <a:pos x="142" y="90"/>
                </a:cxn>
                <a:cxn ang="0">
                  <a:pos x="142" y="73"/>
                </a:cxn>
                <a:cxn ang="0">
                  <a:pos x="144" y="57"/>
                </a:cxn>
                <a:cxn ang="0">
                  <a:pos x="144" y="41"/>
                </a:cxn>
                <a:cxn ang="0">
                  <a:pos x="145" y="24"/>
                </a:cxn>
                <a:cxn ang="0">
                  <a:pos x="163" y="21"/>
                </a:cxn>
                <a:cxn ang="0">
                  <a:pos x="181" y="20"/>
                </a:cxn>
                <a:cxn ang="0">
                  <a:pos x="187" y="26"/>
                </a:cxn>
                <a:cxn ang="0">
                  <a:pos x="199" y="19"/>
                </a:cxn>
                <a:cxn ang="0">
                  <a:pos x="211" y="14"/>
                </a:cxn>
                <a:cxn ang="0">
                  <a:pos x="194" y="9"/>
                </a:cxn>
                <a:cxn ang="0">
                  <a:pos x="183" y="12"/>
                </a:cxn>
                <a:cxn ang="0">
                  <a:pos x="159" y="14"/>
                </a:cxn>
                <a:cxn ang="0">
                  <a:pos x="136" y="18"/>
                </a:cxn>
                <a:cxn ang="0">
                  <a:pos x="121" y="14"/>
                </a:cxn>
                <a:cxn ang="0">
                  <a:pos x="106" y="11"/>
                </a:cxn>
                <a:cxn ang="0">
                  <a:pos x="104" y="7"/>
                </a:cxn>
                <a:cxn ang="0">
                  <a:pos x="86" y="7"/>
                </a:cxn>
                <a:cxn ang="0">
                  <a:pos x="68" y="6"/>
                </a:cxn>
                <a:cxn ang="0">
                  <a:pos x="50" y="6"/>
                </a:cxn>
                <a:cxn ang="0">
                  <a:pos x="31" y="5"/>
                </a:cxn>
                <a:cxn ang="0">
                  <a:pos x="20" y="0"/>
                </a:cxn>
                <a:cxn ang="0">
                  <a:pos x="1" y="5"/>
                </a:cxn>
                <a:cxn ang="0">
                  <a:pos x="0" y="15"/>
                </a:cxn>
                <a:cxn ang="0">
                  <a:pos x="10" y="37"/>
                </a:cxn>
                <a:cxn ang="0">
                  <a:pos x="21" y="59"/>
                </a:cxn>
                <a:cxn ang="0">
                  <a:pos x="31" y="80"/>
                </a:cxn>
                <a:cxn ang="0">
                  <a:pos x="42" y="102"/>
                </a:cxn>
                <a:cxn ang="0">
                  <a:pos x="43" y="111"/>
                </a:cxn>
                <a:cxn ang="0">
                  <a:pos x="40" y="110"/>
                </a:cxn>
                <a:cxn ang="0">
                  <a:pos x="43" y="129"/>
                </a:cxn>
                <a:cxn ang="0">
                  <a:pos x="45" y="147"/>
                </a:cxn>
                <a:cxn ang="0">
                  <a:pos x="48" y="165"/>
                </a:cxn>
                <a:cxn ang="0">
                  <a:pos x="50" y="183"/>
                </a:cxn>
                <a:cxn ang="0">
                  <a:pos x="60" y="197"/>
                </a:cxn>
                <a:cxn ang="0">
                  <a:pos x="68" y="209"/>
                </a:cxn>
                <a:cxn ang="0">
                  <a:pos x="76" y="199"/>
                </a:cxn>
                <a:cxn ang="0">
                  <a:pos x="82" y="210"/>
                </a:cxn>
                <a:cxn ang="0">
                  <a:pos x="105" y="213"/>
                </a:cxn>
                <a:cxn ang="0">
                  <a:pos x="118" y="207"/>
                </a:cxn>
                <a:cxn ang="0">
                  <a:pos x="121" y="191"/>
                </a:cxn>
                <a:cxn ang="0">
                  <a:pos x="122" y="174"/>
                </a:cxn>
                <a:cxn ang="0">
                  <a:pos x="123" y="157"/>
                </a:cxn>
                <a:cxn ang="0">
                  <a:pos x="124" y="140"/>
                </a:cxn>
              </a:cxnLst>
              <a:rect l="0" t="0" r="r" b="b"/>
              <a:pathLst>
                <a:path w="211" h="213">
                  <a:moveTo>
                    <a:pt x="124" y="140"/>
                  </a:moveTo>
                  <a:lnTo>
                    <a:pt x="126" y="115"/>
                  </a:lnTo>
                  <a:lnTo>
                    <a:pt x="127" y="90"/>
                  </a:lnTo>
                  <a:lnTo>
                    <a:pt x="142" y="90"/>
                  </a:lnTo>
                  <a:lnTo>
                    <a:pt x="142" y="73"/>
                  </a:lnTo>
                  <a:lnTo>
                    <a:pt x="144" y="57"/>
                  </a:lnTo>
                  <a:lnTo>
                    <a:pt x="144" y="41"/>
                  </a:lnTo>
                  <a:lnTo>
                    <a:pt x="145" y="24"/>
                  </a:lnTo>
                  <a:lnTo>
                    <a:pt x="163" y="21"/>
                  </a:lnTo>
                  <a:lnTo>
                    <a:pt x="181" y="20"/>
                  </a:lnTo>
                  <a:lnTo>
                    <a:pt x="187" y="26"/>
                  </a:lnTo>
                  <a:lnTo>
                    <a:pt x="199" y="19"/>
                  </a:lnTo>
                  <a:lnTo>
                    <a:pt x="211" y="14"/>
                  </a:lnTo>
                  <a:lnTo>
                    <a:pt x="194" y="9"/>
                  </a:lnTo>
                  <a:lnTo>
                    <a:pt x="183" y="12"/>
                  </a:lnTo>
                  <a:lnTo>
                    <a:pt x="159" y="14"/>
                  </a:lnTo>
                  <a:lnTo>
                    <a:pt x="136" y="18"/>
                  </a:lnTo>
                  <a:lnTo>
                    <a:pt x="121" y="14"/>
                  </a:lnTo>
                  <a:lnTo>
                    <a:pt x="106" y="11"/>
                  </a:lnTo>
                  <a:lnTo>
                    <a:pt x="104" y="7"/>
                  </a:lnTo>
                  <a:lnTo>
                    <a:pt x="86" y="7"/>
                  </a:lnTo>
                  <a:lnTo>
                    <a:pt x="68" y="6"/>
                  </a:lnTo>
                  <a:lnTo>
                    <a:pt x="50" y="6"/>
                  </a:lnTo>
                  <a:lnTo>
                    <a:pt x="31" y="5"/>
                  </a:lnTo>
                  <a:lnTo>
                    <a:pt x="20" y="0"/>
                  </a:lnTo>
                  <a:lnTo>
                    <a:pt x="1" y="5"/>
                  </a:lnTo>
                  <a:lnTo>
                    <a:pt x="0" y="15"/>
                  </a:lnTo>
                  <a:lnTo>
                    <a:pt x="10" y="37"/>
                  </a:lnTo>
                  <a:lnTo>
                    <a:pt x="21" y="59"/>
                  </a:lnTo>
                  <a:lnTo>
                    <a:pt x="31" y="80"/>
                  </a:lnTo>
                  <a:lnTo>
                    <a:pt x="42" y="102"/>
                  </a:lnTo>
                  <a:lnTo>
                    <a:pt x="43" y="111"/>
                  </a:lnTo>
                  <a:lnTo>
                    <a:pt x="40" y="110"/>
                  </a:lnTo>
                  <a:lnTo>
                    <a:pt x="43" y="129"/>
                  </a:lnTo>
                  <a:lnTo>
                    <a:pt x="45" y="147"/>
                  </a:lnTo>
                  <a:lnTo>
                    <a:pt x="48" y="165"/>
                  </a:lnTo>
                  <a:lnTo>
                    <a:pt x="50" y="183"/>
                  </a:lnTo>
                  <a:lnTo>
                    <a:pt x="60" y="197"/>
                  </a:lnTo>
                  <a:lnTo>
                    <a:pt x="68" y="209"/>
                  </a:lnTo>
                  <a:lnTo>
                    <a:pt x="76" y="199"/>
                  </a:lnTo>
                  <a:lnTo>
                    <a:pt x="82" y="210"/>
                  </a:lnTo>
                  <a:lnTo>
                    <a:pt x="105" y="213"/>
                  </a:lnTo>
                  <a:lnTo>
                    <a:pt x="118" y="207"/>
                  </a:lnTo>
                  <a:lnTo>
                    <a:pt x="121" y="191"/>
                  </a:lnTo>
                  <a:lnTo>
                    <a:pt x="122" y="174"/>
                  </a:lnTo>
                  <a:lnTo>
                    <a:pt x="123" y="157"/>
                  </a:lnTo>
                  <a:lnTo>
                    <a:pt x="124" y="14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2" name="Freeform 199"/>
            <p:cNvSpPr>
              <a:spLocks/>
            </p:cNvSpPr>
            <p:nvPr/>
          </p:nvSpPr>
          <p:spPr bwMode="auto">
            <a:xfrm>
              <a:off x="2873" y="3061"/>
              <a:ext cx="163" cy="180"/>
            </a:xfrm>
            <a:custGeom>
              <a:avLst/>
              <a:gdLst/>
              <a:ahLst/>
              <a:cxnLst>
                <a:cxn ang="0">
                  <a:pos x="0" y="126"/>
                </a:cxn>
                <a:cxn ang="0">
                  <a:pos x="2" y="101"/>
                </a:cxn>
                <a:cxn ang="0">
                  <a:pos x="3" y="76"/>
                </a:cxn>
                <a:cxn ang="0">
                  <a:pos x="18" y="76"/>
                </a:cxn>
                <a:cxn ang="0">
                  <a:pos x="18" y="59"/>
                </a:cxn>
                <a:cxn ang="0">
                  <a:pos x="20" y="43"/>
                </a:cxn>
                <a:cxn ang="0">
                  <a:pos x="20" y="27"/>
                </a:cxn>
                <a:cxn ang="0">
                  <a:pos x="21" y="10"/>
                </a:cxn>
                <a:cxn ang="0">
                  <a:pos x="39" y="7"/>
                </a:cxn>
                <a:cxn ang="0">
                  <a:pos x="57" y="6"/>
                </a:cxn>
                <a:cxn ang="0">
                  <a:pos x="63" y="12"/>
                </a:cxn>
                <a:cxn ang="0">
                  <a:pos x="75" y="5"/>
                </a:cxn>
                <a:cxn ang="0">
                  <a:pos x="87" y="0"/>
                </a:cxn>
                <a:cxn ang="0">
                  <a:pos x="96" y="18"/>
                </a:cxn>
                <a:cxn ang="0">
                  <a:pos x="106" y="36"/>
                </a:cxn>
                <a:cxn ang="0">
                  <a:pos x="117" y="45"/>
                </a:cxn>
                <a:cxn ang="0">
                  <a:pos x="120" y="48"/>
                </a:cxn>
                <a:cxn ang="0">
                  <a:pos x="124" y="54"/>
                </a:cxn>
                <a:cxn ang="0">
                  <a:pos x="129" y="69"/>
                </a:cxn>
                <a:cxn ang="0">
                  <a:pos x="143" y="75"/>
                </a:cxn>
                <a:cxn ang="0">
                  <a:pos x="147" y="78"/>
                </a:cxn>
                <a:cxn ang="0">
                  <a:pos x="146" y="79"/>
                </a:cxn>
                <a:cxn ang="0">
                  <a:pos x="125" y="93"/>
                </a:cxn>
                <a:cxn ang="0">
                  <a:pos x="110" y="107"/>
                </a:cxn>
                <a:cxn ang="0">
                  <a:pos x="101" y="123"/>
                </a:cxn>
                <a:cxn ang="0">
                  <a:pos x="92" y="129"/>
                </a:cxn>
                <a:cxn ang="0">
                  <a:pos x="83" y="143"/>
                </a:cxn>
                <a:cxn ang="0">
                  <a:pos x="59" y="141"/>
                </a:cxn>
                <a:cxn ang="0">
                  <a:pos x="47" y="136"/>
                </a:cxn>
                <a:cxn ang="0">
                  <a:pos x="39" y="148"/>
                </a:cxn>
                <a:cxn ang="0">
                  <a:pos x="32" y="160"/>
                </a:cxn>
                <a:cxn ang="0">
                  <a:pos x="15" y="162"/>
                </a:cxn>
                <a:cxn ang="0">
                  <a:pos x="9" y="160"/>
                </a:cxn>
                <a:cxn ang="0">
                  <a:pos x="11" y="143"/>
                </a:cxn>
                <a:cxn ang="0">
                  <a:pos x="0" y="126"/>
                </a:cxn>
              </a:cxnLst>
              <a:rect l="0" t="0" r="r" b="b"/>
              <a:pathLst>
                <a:path w="147" h="162">
                  <a:moveTo>
                    <a:pt x="0" y="126"/>
                  </a:moveTo>
                  <a:lnTo>
                    <a:pt x="2" y="101"/>
                  </a:lnTo>
                  <a:lnTo>
                    <a:pt x="3" y="76"/>
                  </a:lnTo>
                  <a:lnTo>
                    <a:pt x="18" y="76"/>
                  </a:lnTo>
                  <a:lnTo>
                    <a:pt x="18" y="59"/>
                  </a:lnTo>
                  <a:lnTo>
                    <a:pt x="20" y="43"/>
                  </a:lnTo>
                  <a:lnTo>
                    <a:pt x="20" y="27"/>
                  </a:lnTo>
                  <a:lnTo>
                    <a:pt x="21" y="10"/>
                  </a:lnTo>
                  <a:lnTo>
                    <a:pt x="39" y="7"/>
                  </a:lnTo>
                  <a:lnTo>
                    <a:pt x="57" y="6"/>
                  </a:lnTo>
                  <a:lnTo>
                    <a:pt x="63" y="12"/>
                  </a:lnTo>
                  <a:lnTo>
                    <a:pt x="75" y="5"/>
                  </a:lnTo>
                  <a:lnTo>
                    <a:pt x="87" y="0"/>
                  </a:lnTo>
                  <a:lnTo>
                    <a:pt x="96" y="18"/>
                  </a:lnTo>
                  <a:lnTo>
                    <a:pt x="106" y="36"/>
                  </a:lnTo>
                  <a:lnTo>
                    <a:pt x="117" y="45"/>
                  </a:lnTo>
                  <a:lnTo>
                    <a:pt x="120" y="48"/>
                  </a:lnTo>
                  <a:lnTo>
                    <a:pt x="124" y="54"/>
                  </a:lnTo>
                  <a:lnTo>
                    <a:pt x="129" y="69"/>
                  </a:lnTo>
                  <a:lnTo>
                    <a:pt x="143" y="75"/>
                  </a:lnTo>
                  <a:lnTo>
                    <a:pt x="147" y="78"/>
                  </a:lnTo>
                  <a:lnTo>
                    <a:pt x="146" y="79"/>
                  </a:lnTo>
                  <a:lnTo>
                    <a:pt x="125" y="93"/>
                  </a:lnTo>
                  <a:lnTo>
                    <a:pt x="110" y="107"/>
                  </a:lnTo>
                  <a:lnTo>
                    <a:pt x="101" y="123"/>
                  </a:lnTo>
                  <a:lnTo>
                    <a:pt x="92" y="129"/>
                  </a:lnTo>
                  <a:lnTo>
                    <a:pt x="83" y="143"/>
                  </a:lnTo>
                  <a:lnTo>
                    <a:pt x="59" y="141"/>
                  </a:lnTo>
                  <a:lnTo>
                    <a:pt x="47" y="136"/>
                  </a:lnTo>
                  <a:lnTo>
                    <a:pt x="39" y="148"/>
                  </a:lnTo>
                  <a:lnTo>
                    <a:pt x="32" y="160"/>
                  </a:lnTo>
                  <a:lnTo>
                    <a:pt x="15" y="162"/>
                  </a:lnTo>
                  <a:lnTo>
                    <a:pt x="9" y="160"/>
                  </a:lnTo>
                  <a:lnTo>
                    <a:pt x="11" y="143"/>
                  </a:lnTo>
                  <a:lnTo>
                    <a:pt x="0" y="12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3" name="Freeform 200"/>
            <p:cNvSpPr>
              <a:spLocks/>
            </p:cNvSpPr>
            <p:nvPr/>
          </p:nvSpPr>
          <p:spPr bwMode="auto">
            <a:xfrm>
              <a:off x="3289" y="2934"/>
              <a:ext cx="4" cy="9"/>
            </a:xfrm>
            <a:custGeom>
              <a:avLst/>
              <a:gdLst/>
              <a:ahLst/>
              <a:cxnLst>
                <a:cxn ang="0">
                  <a:pos x="3" y="9"/>
                </a:cxn>
                <a:cxn ang="0">
                  <a:pos x="3" y="7"/>
                </a:cxn>
                <a:cxn ang="0">
                  <a:pos x="0" y="0"/>
                </a:cxn>
                <a:cxn ang="0">
                  <a:pos x="3" y="9"/>
                </a:cxn>
              </a:cxnLst>
              <a:rect l="0" t="0" r="r" b="b"/>
              <a:pathLst>
                <a:path w="3" h="9">
                  <a:moveTo>
                    <a:pt x="3" y="9"/>
                  </a:moveTo>
                  <a:lnTo>
                    <a:pt x="3" y="7"/>
                  </a:lnTo>
                  <a:lnTo>
                    <a:pt x="0" y="0"/>
                  </a:lnTo>
                  <a:lnTo>
                    <a:pt x="3"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4" name="Freeform 201"/>
            <p:cNvSpPr>
              <a:spLocks/>
            </p:cNvSpPr>
            <p:nvPr/>
          </p:nvSpPr>
          <p:spPr bwMode="auto">
            <a:xfrm>
              <a:off x="2989" y="3276"/>
              <a:ext cx="40" cy="40"/>
            </a:xfrm>
            <a:custGeom>
              <a:avLst/>
              <a:gdLst/>
              <a:ahLst/>
              <a:cxnLst>
                <a:cxn ang="0">
                  <a:pos x="15" y="3"/>
                </a:cxn>
                <a:cxn ang="0">
                  <a:pos x="0" y="19"/>
                </a:cxn>
                <a:cxn ang="0">
                  <a:pos x="11" y="35"/>
                </a:cxn>
                <a:cxn ang="0">
                  <a:pos x="17" y="30"/>
                </a:cxn>
                <a:cxn ang="0">
                  <a:pos x="32" y="19"/>
                </a:cxn>
                <a:cxn ang="0">
                  <a:pos x="35" y="7"/>
                </a:cxn>
                <a:cxn ang="0">
                  <a:pos x="21" y="0"/>
                </a:cxn>
                <a:cxn ang="0">
                  <a:pos x="15" y="3"/>
                </a:cxn>
              </a:cxnLst>
              <a:rect l="0" t="0" r="r" b="b"/>
              <a:pathLst>
                <a:path w="35" h="35">
                  <a:moveTo>
                    <a:pt x="15" y="3"/>
                  </a:moveTo>
                  <a:lnTo>
                    <a:pt x="0" y="19"/>
                  </a:lnTo>
                  <a:lnTo>
                    <a:pt x="11" y="35"/>
                  </a:lnTo>
                  <a:lnTo>
                    <a:pt x="17" y="30"/>
                  </a:lnTo>
                  <a:lnTo>
                    <a:pt x="32" y="19"/>
                  </a:lnTo>
                  <a:lnTo>
                    <a:pt x="35" y="7"/>
                  </a:lnTo>
                  <a:lnTo>
                    <a:pt x="21" y="0"/>
                  </a:lnTo>
                  <a:lnTo>
                    <a:pt x="15"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5" name="Freeform 202"/>
            <p:cNvSpPr>
              <a:spLocks/>
            </p:cNvSpPr>
            <p:nvPr/>
          </p:nvSpPr>
          <p:spPr bwMode="auto">
            <a:xfrm>
              <a:off x="3278" y="2947"/>
              <a:ext cx="135" cy="267"/>
            </a:xfrm>
            <a:custGeom>
              <a:avLst/>
              <a:gdLst/>
              <a:ahLst/>
              <a:cxnLst>
                <a:cxn ang="0">
                  <a:pos x="44" y="69"/>
                </a:cxn>
                <a:cxn ang="0">
                  <a:pos x="38" y="70"/>
                </a:cxn>
                <a:cxn ang="0">
                  <a:pos x="24" y="77"/>
                </a:cxn>
                <a:cxn ang="0">
                  <a:pos x="20" y="91"/>
                </a:cxn>
                <a:cxn ang="0">
                  <a:pos x="17" y="106"/>
                </a:cxn>
                <a:cxn ang="0">
                  <a:pos x="19" y="124"/>
                </a:cxn>
                <a:cxn ang="0">
                  <a:pos x="22" y="142"/>
                </a:cxn>
                <a:cxn ang="0">
                  <a:pos x="13" y="154"/>
                </a:cxn>
                <a:cxn ang="0">
                  <a:pos x="5" y="166"/>
                </a:cxn>
                <a:cxn ang="0">
                  <a:pos x="0" y="190"/>
                </a:cxn>
                <a:cxn ang="0">
                  <a:pos x="4" y="210"/>
                </a:cxn>
                <a:cxn ang="0">
                  <a:pos x="10" y="233"/>
                </a:cxn>
                <a:cxn ang="0">
                  <a:pos x="30" y="241"/>
                </a:cxn>
                <a:cxn ang="0">
                  <a:pos x="43" y="235"/>
                </a:cxn>
                <a:cxn ang="0">
                  <a:pos x="58" y="228"/>
                </a:cxn>
                <a:cxn ang="0">
                  <a:pos x="62" y="211"/>
                </a:cxn>
                <a:cxn ang="0">
                  <a:pos x="68" y="195"/>
                </a:cxn>
                <a:cxn ang="0">
                  <a:pos x="74" y="179"/>
                </a:cxn>
                <a:cxn ang="0">
                  <a:pos x="80" y="162"/>
                </a:cxn>
                <a:cxn ang="0">
                  <a:pos x="85" y="147"/>
                </a:cxn>
                <a:cxn ang="0">
                  <a:pos x="91" y="130"/>
                </a:cxn>
                <a:cxn ang="0">
                  <a:pos x="97" y="113"/>
                </a:cxn>
                <a:cxn ang="0">
                  <a:pos x="102" y="97"/>
                </a:cxn>
                <a:cxn ang="0">
                  <a:pos x="109" y="85"/>
                </a:cxn>
                <a:cxn ang="0">
                  <a:pos x="108" y="60"/>
                </a:cxn>
                <a:cxn ang="0">
                  <a:pos x="118" y="67"/>
                </a:cxn>
                <a:cxn ang="0">
                  <a:pos x="121" y="58"/>
                </a:cxn>
                <a:cxn ang="0">
                  <a:pos x="116" y="35"/>
                </a:cxn>
                <a:cxn ang="0">
                  <a:pos x="110" y="13"/>
                </a:cxn>
                <a:cxn ang="0">
                  <a:pos x="106" y="0"/>
                </a:cxn>
                <a:cxn ang="0">
                  <a:pos x="102" y="0"/>
                </a:cxn>
                <a:cxn ang="0">
                  <a:pos x="98" y="6"/>
                </a:cxn>
                <a:cxn ang="0">
                  <a:pos x="95" y="24"/>
                </a:cxn>
                <a:cxn ang="0">
                  <a:pos x="89" y="28"/>
                </a:cxn>
                <a:cxn ang="0">
                  <a:pos x="86" y="30"/>
                </a:cxn>
                <a:cxn ang="0">
                  <a:pos x="82" y="28"/>
                </a:cxn>
                <a:cxn ang="0">
                  <a:pos x="83" y="37"/>
                </a:cxn>
                <a:cxn ang="0">
                  <a:pos x="79" y="45"/>
                </a:cxn>
                <a:cxn ang="0">
                  <a:pos x="82" y="47"/>
                </a:cxn>
                <a:cxn ang="0">
                  <a:pos x="73" y="52"/>
                </a:cxn>
                <a:cxn ang="0">
                  <a:pos x="73" y="47"/>
                </a:cxn>
                <a:cxn ang="0">
                  <a:pos x="68" y="59"/>
                </a:cxn>
                <a:cxn ang="0">
                  <a:pos x="66" y="59"/>
                </a:cxn>
                <a:cxn ang="0">
                  <a:pos x="62" y="58"/>
                </a:cxn>
                <a:cxn ang="0">
                  <a:pos x="56" y="67"/>
                </a:cxn>
                <a:cxn ang="0">
                  <a:pos x="44" y="69"/>
                </a:cxn>
              </a:cxnLst>
              <a:rect l="0" t="0" r="r" b="b"/>
              <a:pathLst>
                <a:path w="121" h="241">
                  <a:moveTo>
                    <a:pt x="44" y="69"/>
                  </a:moveTo>
                  <a:lnTo>
                    <a:pt x="38" y="70"/>
                  </a:lnTo>
                  <a:lnTo>
                    <a:pt x="24" y="77"/>
                  </a:lnTo>
                  <a:lnTo>
                    <a:pt x="20" y="91"/>
                  </a:lnTo>
                  <a:lnTo>
                    <a:pt x="17" y="106"/>
                  </a:lnTo>
                  <a:lnTo>
                    <a:pt x="19" y="124"/>
                  </a:lnTo>
                  <a:lnTo>
                    <a:pt x="22" y="142"/>
                  </a:lnTo>
                  <a:lnTo>
                    <a:pt x="13" y="154"/>
                  </a:lnTo>
                  <a:lnTo>
                    <a:pt x="5" y="166"/>
                  </a:lnTo>
                  <a:lnTo>
                    <a:pt x="0" y="190"/>
                  </a:lnTo>
                  <a:lnTo>
                    <a:pt x="4" y="210"/>
                  </a:lnTo>
                  <a:lnTo>
                    <a:pt x="10" y="233"/>
                  </a:lnTo>
                  <a:lnTo>
                    <a:pt x="30" y="241"/>
                  </a:lnTo>
                  <a:lnTo>
                    <a:pt x="43" y="235"/>
                  </a:lnTo>
                  <a:lnTo>
                    <a:pt x="58" y="228"/>
                  </a:lnTo>
                  <a:lnTo>
                    <a:pt x="62" y="211"/>
                  </a:lnTo>
                  <a:lnTo>
                    <a:pt x="68" y="195"/>
                  </a:lnTo>
                  <a:lnTo>
                    <a:pt x="74" y="179"/>
                  </a:lnTo>
                  <a:lnTo>
                    <a:pt x="80" y="162"/>
                  </a:lnTo>
                  <a:lnTo>
                    <a:pt x="85" y="147"/>
                  </a:lnTo>
                  <a:lnTo>
                    <a:pt x="91" y="130"/>
                  </a:lnTo>
                  <a:lnTo>
                    <a:pt x="97" y="113"/>
                  </a:lnTo>
                  <a:lnTo>
                    <a:pt x="102" y="97"/>
                  </a:lnTo>
                  <a:lnTo>
                    <a:pt x="109" y="85"/>
                  </a:lnTo>
                  <a:lnTo>
                    <a:pt x="108" y="60"/>
                  </a:lnTo>
                  <a:lnTo>
                    <a:pt x="118" y="67"/>
                  </a:lnTo>
                  <a:lnTo>
                    <a:pt x="121" y="58"/>
                  </a:lnTo>
                  <a:lnTo>
                    <a:pt x="116" y="35"/>
                  </a:lnTo>
                  <a:lnTo>
                    <a:pt x="110" y="13"/>
                  </a:lnTo>
                  <a:lnTo>
                    <a:pt x="106" y="0"/>
                  </a:lnTo>
                  <a:lnTo>
                    <a:pt x="102" y="0"/>
                  </a:lnTo>
                  <a:lnTo>
                    <a:pt x="98" y="6"/>
                  </a:lnTo>
                  <a:lnTo>
                    <a:pt x="95" y="24"/>
                  </a:lnTo>
                  <a:lnTo>
                    <a:pt x="89" y="28"/>
                  </a:lnTo>
                  <a:lnTo>
                    <a:pt x="86" y="30"/>
                  </a:lnTo>
                  <a:lnTo>
                    <a:pt x="82" y="28"/>
                  </a:lnTo>
                  <a:lnTo>
                    <a:pt x="83" y="37"/>
                  </a:lnTo>
                  <a:lnTo>
                    <a:pt x="79" y="45"/>
                  </a:lnTo>
                  <a:lnTo>
                    <a:pt x="82" y="47"/>
                  </a:lnTo>
                  <a:lnTo>
                    <a:pt x="73" y="52"/>
                  </a:lnTo>
                  <a:lnTo>
                    <a:pt x="73" y="47"/>
                  </a:lnTo>
                  <a:lnTo>
                    <a:pt x="68" y="59"/>
                  </a:lnTo>
                  <a:lnTo>
                    <a:pt x="66" y="59"/>
                  </a:lnTo>
                  <a:lnTo>
                    <a:pt x="62" y="58"/>
                  </a:lnTo>
                  <a:lnTo>
                    <a:pt x="56" y="67"/>
                  </a:lnTo>
                  <a:lnTo>
                    <a:pt x="44" y="6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6" name="Freeform 203"/>
            <p:cNvSpPr>
              <a:spLocks/>
            </p:cNvSpPr>
            <p:nvPr/>
          </p:nvSpPr>
          <p:spPr bwMode="auto">
            <a:xfrm>
              <a:off x="3102" y="2894"/>
              <a:ext cx="56" cy="153"/>
            </a:xfrm>
            <a:custGeom>
              <a:avLst/>
              <a:gdLst/>
              <a:ahLst/>
              <a:cxnLst>
                <a:cxn ang="0">
                  <a:pos x="29" y="97"/>
                </a:cxn>
                <a:cxn ang="0">
                  <a:pos x="23" y="115"/>
                </a:cxn>
                <a:cxn ang="0">
                  <a:pos x="30" y="127"/>
                </a:cxn>
                <a:cxn ang="0">
                  <a:pos x="37" y="138"/>
                </a:cxn>
                <a:cxn ang="0">
                  <a:pos x="36" y="129"/>
                </a:cxn>
                <a:cxn ang="0">
                  <a:pos x="44" y="120"/>
                </a:cxn>
                <a:cxn ang="0">
                  <a:pos x="47" y="107"/>
                </a:cxn>
                <a:cxn ang="0">
                  <a:pos x="49" y="94"/>
                </a:cxn>
                <a:cxn ang="0">
                  <a:pos x="39" y="84"/>
                </a:cxn>
                <a:cxn ang="0">
                  <a:pos x="30" y="73"/>
                </a:cxn>
                <a:cxn ang="0">
                  <a:pos x="27" y="55"/>
                </a:cxn>
                <a:cxn ang="0">
                  <a:pos x="31" y="42"/>
                </a:cxn>
                <a:cxn ang="0">
                  <a:pos x="36" y="39"/>
                </a:cxn>
                <a:cxn ang="0">
                  <a:pos x="37" y="39"/>
                </a:cxn>
                <a:cxn ang="0">
                  <a:pos x="32" y="24"/>
                </a:cxn>
                <a:cxn ang="0">
                  <a:pos x="27" y="6"/>
                </a:cxn>
                <a:cxn ang="0">
                  <a:pos x="21" y="3"/>
                </a:cxn>
                <a:cxn ang="0">
                  <a:pos x="6" y="0"/>
                </a:cxn>
                <a:cxn ang="0">
                  <a:pos x="7" y="4"/>
                </a:cxn>
                <a:cxn ang="0">
                  <a:pos x="17" y="18"/>
                </a:cxn>
                <a:cxn ang="0">
                  <a:pos x="13" y="25"/>
                </a:cxn>
                <a:cxn ang="0">
                  <a:pos x="12" y="39"/>
                </a:cxn>
                <a:cxn ang="0">
                  <a:pos x="11" y="53"/>
                </a:cxn>
                <a:cxn ang="0">
                  <a:pos x="8" y="58"/>
                </a:cxn>
                <a:cxn ang="0">
                  <a:pos x="0" y="75"/>
                </a:cxn>
                <a:cxn ang="0">
                  <a:pos x="7" y="83"/>
                </a:cxn>
                <a:cxn ang="0">
                  <a:pos x="13" y="90"/>
                </a:cxn>
                <a:cxn ang="0">
                  <a:pos x="23" y="90"/>
                </a:cxn>
                <a:cxn ang="0">
                  <a:pos x="29" y="97"/>
                </a:cxn>
              </a:cxnLst>
              <a:rect l="0" t="0" r="r" b="b"/>
              <a:pathLst>
                <a:path w="49" h="138">
                  <a:moveTo>
                    <a:pt x="29" y="97"/>
                  </a:moveTo>
                  <a:lnTo>
                    <a:pt x="23" y="115"/>
                  </a:lnTo>
                  <a:lnTo>
                    <a:pt x="30" y="127"/>
                  </a:lnTo>
                  <a:lnTo>
                    <a:pt x="37" y="138"/>
                  </a:lnTo>
                  <a:lnTo>
                    <a:pt x="36" y="129"/>
                  </a:lnTo>
                  <a:lnTo>
                    <a:pt x="44" y="120"/>
                  </a:lnTo>
                  <a:lnTo>
                    <a:pt x="47" y="107"/>
                  </a:lnTo>
                  <a:lnTo>
                    <a:pt x="49" y="94"/>
                  </a:lnTo>
                  <a:lnTo>
                    <a:pt x="39" y="84"/>
                  </a:lnTo>
                  <a:lnTo>
                    <a:pt x="30" y="73"/>
                  </a:lnTo>
                  <a:lnTo>
                    <a:pt x="27" y="55"/>
                  </a:lnTo>
                  <a:lnTo>
                    <a:pt x="31" y="42"/>
                  </a:lnTo>
                  <a:lnTo>
                    <a:pt x="36" y="39"/>
                  </a:lnTo>
                  <a:lnTo>
                    <a:pt x="37" y="39"/>
                  </a:lnTo>
                  <a:lnTo>
                    <a:pt x="32" y="24"/>
                  </a:lnTo>
                  <a:lnTo>
                    <a:pt x="27" y="6"/>
                  </a:lnTo>
                  <a:lnTo>
                    <a:pt x="21" y="3"/>
                  </a:lnTo>
                  <a:lnTo>
                    <a:pt x="6" y="0"/>
                  </a:lnTo>
                  <a:lnTo>
                    <a:pt x="7" y="4"/>
                  </a:lnTo>
                  <a:lnTo>
                    <a:pt x="17" y="18"/>
                  </a:lnTo>
                  <a:lnTo>
                    <a:pt x="13" y="25"/>
                  </a:lnTo>
                  <a:lnTo>
                    <a:pt x="12" y="39"/>
                  </a:lnTo>
                  <a:lnTo>
                    <a:pt x="11" y="53"/>
                  </a:lnTo>
                  <a:lnTo>
                    <a:pt x="8" y="58"/>
                  </a:lnTo>
                  <a:lnTo>
                    <a:pt x="0" y="75"/>
                  </a:lnTo>
                  <a:lnTo>
                    <a:pt x="7" y="83"/>
                  </a:lnTo>
                  <a:lnTo>
                    <a:pt x="13" y="90"/>
                  </a:lnTo>
                  <a:lnTo>
                    <a:pt x="23" y="90"/>
                  </a:lnTo>
                  <a:lnTo>
                    <a:pt x="29" y="9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7" name="Freeform 204"/>
            <p:cNvSpPr>
              <a:spLocks/>
            </p:cNvSpPr>
            <p:nvPr/>
          </p:nvSpPr>
          <p:spPr bwMode="auto">
            <a:xfrm>
              <a:off x="3060" y="2914"/>
              <a:ext cx="182" cy="327"/>
            </a:xfrm>
            <a:custGeom>
              <a:avLst/>
              <a:gdLst/>
              <a:ahLst/>
              <a:cxnLst>
                <a:cxn ang="0">
                  <a:pos x="66" y="172"/>
                </a:cxn>
                <a:cxn ang="0">
                  <a:pos x="72" y="166"/>
                </a:cxn>
                <a:cxn ang="0">
                  <a:pos x="102" y="136"/>
                </a:cxn>
                <a:cxn ang="0">
                  <a:pos x="130" y="119"/>
                </a:cxn>
                <a:cxn ang="0">
                  <a:pos x="162" y="84"/>
                </a:cxn>
                <a:cxn ang="0">
                  <a:pos x="165" y="71"/>
                </a:cxn>
                <a:cxn ang="0">
                  <a:pos x="165" y="38"/>
                </a:cxn>
                <a:cxn ang="0">
                  <a:pos x="165" y="0"/>
                </a:cxn>
                <a:cxn ang="0">
                  <a:pos x="147" y="9"/>
                </a:cxn>
                <a:cxn ang="0">
                  <a:pos x="123" y="17"/>
                </a:cxn>
                <a:cxn ang="0">
                  <a:pos x="93" y="18"/>
                </a:cxn>
                <a:cxn ang="0">
                  <a:pos x="76" y="20"/>
                </a:cxn>
                <a:cxn ang="0">
                  <a:pos x="67" y="36"/>
                </a:cxn>
                <a:cxn ang="0">
                  <a:pos x="79" y="65"/>
                </a:cxn>
                <a:cxn ang="0">
                  <a:pos x="87" y="88"/>
                </a:cxn>
                <a:cxn ang="0">
                  <a:pos x="76" y="110"/>
                </a:cxn>
                <a:cxn ang="0">
                  <a:pos x="70" y="108"/>
                </a:cxn>
                <a:cxn ang="0">
                  <a:pos x="69" y="78"/>
                </a:cxn>
                <a:cxn ang="0">
                  <a:pos x="53" y="71"/>
                </a:cxn>
                <a:cxn ang="0">
                  <a:pos x="35" y="69"/>
                </a:cxn>
                <a:cxn ang="0">
                  <a:pos x="12" y="78"/>
                </a:cxn>
                <a:cxn ang="0">
                  <a:pos x="3" y="93"/>
                </a:cxn>
                <a:cxn ang="0">
                  <a:pos x="10" y="99"/>
                </a:cxn>
                <a:cxn ang="0">
                  <a:pos x="41" y="112"/>
                </a:cxn>
                <a:cxn ang="0">
                  <a:pos x="37" y="149"/>
                </a:cxn>
                <a:cxn ang="0">
                  <a:pos x="34" y="182"/>
                </a:cxn>
                <a:cxn ang="0">
                  <a:pos x="21" y="206"/>
                </a:cxn>
                <a:cxn ang="0">
                  <a:pos x="13" y="227"/>
                </a:cxn>
                <a:cxn ang="0">
                  <a:pos x="17" y="260"/>
                </a:cxn>
                <a:cxn ang="0">
                  <a:pos x="19" y="294"/>
                </a:cxn>
                <a:cxn ang="0">
                  <a:pos x="31" y="282"/>
                </a:cxn>
                <a:cxn ang="0">
                  <a:pos x="46" y="263"/>
                </a:cxn>
                <a:cxn ang="0">
                  <a:pos x="72" y="248"/>
                </a:cxn>
                <a:cxn ang="0">
                  <a:pos x="75" y="225"/>
                </a:cxn>
                <a:cxn ang="0">
                  <a:pos x="73" y="214"/>
                </a:cxn>
                <a:cxn ang="0">
                  <a:pos x="69" y="184"/>
                </a:cxn>
              </a:cxnLst>
              <a:rect l="0" t="0" r="r" b="b"/>
              <a:pathLst>
                <a:path w="166" h="294">
                  <a:moveTo>
                    <a:pt x="69" y="184"/>
                  </a:moveTo>
                  <a:lnTo>
                    <a:pt x="66" y="172"/>
                  </a:lnTo>
                  <a:lnTo>
                    <a:pt x="66" y="166"/>
                  </a:lnTo>
                  <a:lnTo>
                    <a:pt x="72" y="166"/>
                  </a:lnTo>
                  <a:lnTo>
                    <a:pt x="90" y="152"/>
                  </a:lnTo>
                  <a:lnTo>
                    <a:pt x="102" y="136"/>
                  </a:lnTo>
                  <a:lnTo>
                    <a:pt x="115" y="128"/>
                  </a:lnTo>
                  <a:lnTo>
                    <a:pt x="130" y="119"/>
                  </a:lnTo>
                  <a:lnTo>
                    <a:pt x="149" y="107"/>
                  </a:lnTo>
                  <a:lnTo>
                    <a:pt x="162" y="84"/>
                  </a:lnTo>
                  <a:lnTo>
                    <a:pt x="166" y="71"/>
                  </a:lnTo>
                  <a:lnTo>
                    <a:pt x="165" y="71"/>
                  </a:lnTo>
                  <a:lnTo>
                    <a:pt x="162" y="46"/>
                  </a:lnTo>
                  <a:lnTo>
                    <a:pt x="165" y="38"/>
                  </a:lnTo>
                  <a:lnTo>
                    <a:pt x="163" y="12"/>
                  </a:lnTo>
                  <a:lnTo>
                    <a:pt x="165" y="0"/>
                  </a:lnTo>
                  <a:lnTo>
                    <a:pt x="163" y="0"/>
                  </a:lnTo>
                  <a:lnTo>
                    <a:pt x="147" y="9"/>
                  </a:lnTo>
                  <a:lnTo>
                    <a:pt x="131" y="16"/>
                  </a:lnTo>
                  <a:lnTo>
                    <a:pt x="123" y="17"/>
                  </a:lnTo>
                  <a:lnTo>
                    <a:pt x="111" y="22"/>
                  </a:lnTo>
                  <a:lnTo>
                    <a:pt x="93" y="18"/>
                  </a:lnTo>
                  <a:lnTo>
                    <a:pt x="83" y="20"/>
                  </a:lnTo>
                  <a:lnTo>
                    <a:pt x="76" y="20"/>
                  </a:lnTo>
                  <a:lnTo>
                    <a:pt x="71" y="23"/>
                  </a:lnTo>
                  <a:lnTo>
                    <a:pt x="67" y="36"/>
                  </a:lnTo>
                  <a:lnTo>
                    <a:pt x="70" y="54"/>
                  </a:lnTo>
                  <a:lnTo>
                    <a:pt x="79" y="65"/>
                  </a:lnTo>
                  <a:lnTo>
                    <a:pt x="89" y="75"/>
                  </a:lnTo>
                  <a:lnTo>
                    <a:pt x="87" y="88"/>
                  </a:lnTo>
                  <a:lnTo>
                    <a:pt x="84" y="101"/>
                  </a:lnTo>
                  <a:lnTo>
                    <a:pt x="76" y="110"/>
                  </a:lnTo>
                  <a:lnTo>
                    <a:pt x="77" y="119"/>
                  </a:lnTo>
                  <a:lnTo>
                    <a:pt x="70" y="108"/>
                  </a:lnTo>
                  <a:lnTo>
                    <a:pt x="63" y="96"/>
                  </a:lnTo>
                  <a:lnTo>
                    <a:pt x="69" y="78"/>
                  </a:lnTo>
                  <a:lnTo>
                    <a:pt x="63" y="71"/>
                  </a:lnTo>
                  <a:lnTo>
                    <a:pt x="53" y="71"/>
                  </a:lnTo>
                  <a:lnTo>
                    <a:pt x="47" y="64"/>
                  </a:lnTo>
                  <a:lnTo>
                    <a:pt x="35" y="69"/>
                  </a:lnTo>
                  <a:lnTo>
                    <a:pt x="23" y="74"/>
                  </a:lnTo>
                  <a:lnTo>
                    <a:pt x="12" y="78"/>
                  </a:lnTo>
                  <a:lnTo>
                    <a:pt x="0" y="83"/>
                  </a:lnTo>
                  <a:lnTo>
                    <a:pt x="3" y="93"/>
                  </a:lnTo>
                  <a:lnTo>
                    <a:pt x="3" y="100"/>
                  </a:lnTo>
                  <a:lnTo>
                    <a:pt x="10" y="99"/>
                  </a:lnTo>
                  <a:lnTo>
                    <a:pt x="25" y="106"/>
                  </a:lnTo>
                  <a:lnTo>
                    <a:pt x="41" y="112"/>
                  </a:lnTo>
                  <a:lnTo>
                    <a:pt x="41" y="134"/>
                  </a:lnTo>
                  <a:lnTo>
                    <a:pt x="37" y="149"/>
                  </a:lnTo>
                  <a:lnTo>
                    <a:pt x="40" y="166"/>
                  </a:lnTo>
                  <a:lnTo>
                    <a:pt x="34" y="182"/>
                  </a:lnTo>
                  <a:lnTo>
                    <a:pt x="30" y="196"/>
                  </a:lnTo>
                  <a:lnTo>
                    <a:pt x="21" y="206"/>
                  </a:lnTo>
                  <a:lnTo>
                    <a:pt x="11" y="215"/>
                  </a:lnTo>
                  <a:lnTo>
                    <a:pt x="13" y="227"/>
                  </a:lnTo>
                  <a:lnTo>
                    <a:pt x="17" y="240"/>
                  </a:lnTo>
                  <a:lnTo>
                    <a:pt x="17" y="260"/>
                  </a:lnTo>
                  <a:lnTo>
                    <a:pt x="17" y="278"/>
                  </a:lnTo>
                  <a:lnTo>
                    <a:pt x="19" y="294"/>
                  </a:lnTo>
                  <a:lnTo>
                    <a:pt x="30" y="294"/>
                  </a:lnTo>
                  <a:lnTo>
                    <a:pt x="31" y="282"/>
                  </a:lnTo>
                  <a:lnTo>
                    <a:pt x="27" y="279"/>
                  </a:lnTo>
                  <a:lnTo>
                    <a:pt x="46" y="263"/>
                  </a:lnTo>
                  <a:lnTo>
                    <a:pt x="59" y="256"/>
                  </a:lnTo>
                  <a:lnTo>
                    <a:pt x="72" y="248"/>
                  </a:lnTo>
                  <a:lnTo>
                    <a:pt x="72" y="240"/>
                  </a:lnTo>
                  <a:lnTo>
                    <a:pt x="75" y="225"/>
                  </a:lnTo>
                  <a:lnTo>
                    <a:pt x="76" y="209"/>
                  </a:lnTo>
                  <a:lnTo>
                    <a:pt x="73" y="214"/>
                  </a:lnTo>
                  <a:lnTo>
                    <a:pt x="70" y="200"/>
                  </a:lnTo>
                  <a:lnTo>
                    <a:pt x="69" y="18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8" name="Freeform 205"/>
            <p:cNvSpPr>
              <a:spLocks/>
            </p:cNvSpPr>
            <p:nvPr/>
          </p:nvSpPr>
          <p:spPr bwMode="auto">
            <a:xfrm>
              <a:off x="2811" y="3147"/>
              <a:ext cx="282" cy="251"/>
            </a:xfrm>
            <a:custGeom>
              <a:avLst/>
              <a:gdLst/>
              <a:ahLst/>
              <a:cxnLst>
                <a:cxn ang="0">
                  <a:pos x="55" y="64"/>
                </a:cxn>
                <a:cxn ang="0">
                  <a:pos x="53" y="98"/>
                </a:cxn>
                <a:cxn ang="0">
                  <a:pos x="37" y="120"/>
                </a:cxn>
                <a:cxn ang="0">
                  <a:pos x="8" y="106"/>
                </a:cxn>
                <a:cxn ang="0">
                  <a:pos x="7" y="132"/>
                </a:cxn>
                <a:cxn ang="0">
                  <a:pos x="19" y="165"/>
                </a:cxn>
                <a:cxn ang="0">
                  <a:pos x="19" y="190"/>
                </a:cxn>
                <a:cxn ang="0">
                  <a:pos x="25" y="216"/>
                </a:cxn>
                <a:cxn ang="0">
                  <a:pos x="38" y="221"/>
                </a:cxn>
                <a:cxn ang="0">
                  <a:pos x="64" y="221"/>
                </a:cxn>
                <a:cxn ang="0">
                  <a:pos x="96" y="215"/>
                </a:cxn>
                <a:cxn ang="0">
                  <a:pos x="133" y="212"/>
                </a:cxn>
                <a:cxn ang="0">
                  <a:pos x="160" y="198"/>
                </a:cxn>
                <a:cxn ang="0">
                  <a:pos x="186" y="179"/>
                </a:cxn>
                <a:cxn ang="0">
                  <a:pos x="205" y="158"/>
                </a:cxn>
                <a:cxn ang="0">
                  <a:pos x="227" y="134"/>
                </a:cxn>
                <a:cxn ang="0">
                  <a:pos x="246" y="101"/>
                </a:cxn>
                <a:cxn ang="0">
                  <a:pos x="242" y="84"/>
                </a:cxn>
                <a:cxn ang="0">
                  <a:pos x="223" y="87"/>
                </a:cxn>
                <a:cxn ang="0">
                  <a:pos x="232" y="64"/>
                </a:cxn>
                <a:cxn ang="0">
                  <a:pos x="240" y="50"/>
                </a:cxn>
                <a:cxn ang="0">
                  <a:pos x="236" y="17"/>
                </a:cxn>
                <a:cxn ang="0">
                  <a:pos x="218" y="3"/>
                </a:cxn>
                <a:cxn ang="0">
                  <a:pos x="202" y="0"/>
                </a:cxn>
                <a:cxn ang="0">
                  <a:pos x="166" y="28"/>
                </a:cxn>
                <a:cxn ang="0">
                  <a:pos x="148" y="50"/>
                </a:cxn>
                <a:cxn ang="0">
                  <a:pos x="115" y="62"/>
                </a:cxn>
                <a:cxn ang="0">
                  <a:pos x="95" y="69"/>
                </a:cxn>
                <a:cxn ang="0">
                  <a:pos x="71" y="83"/>
                </a:cxn>
                <a:cxn ang="0">
                  <a:pos x="67" y="64"/>
                </a:cxn>
                <a:cxn ang="0">
                  <a:pos x="176" y="120"/>
                </a:cxn>
                <a:cxn ang="0">
                  <a:pos x="172" y="152"/>
                </a:cxn>
                <a:cxn ang="0">
                  <a:pos x="193" y="136"/>
                </a:cxn>
                <a:cxn ang="0">
                  <a:pos x="182" y="117"/>
                </a:cxn>
                <a:cxn ang="0">
                  <a:pos x="56" y="47"/>
                </a:cxn>
              </a:cxnLst>
              <a:rect l="0" t="0" r="r" b="b"/>
              <a:pathLst>
                <a:path w="253" h="226">
                  <a:moveTo>
                    <a:pt x="56" y="47"/>
                  </a:moveTo>
                  <a:lnTo>
                    <a:pt x="55" y="64"/>
                  </a:lnTo>
                  <a:lnTo>
                    <a:pt x="54" y="81"/>
                  </a:lnTo>
                  <a:lnTo>
                    <a:pt x="53" y="98"/>
                  </a:lnTo>
                  <a:lnTo>
                    <a:pt x="50" y="114"/>
                  </a:lnTo>
                  <a:lnTo>
                    <a:pt x="37" y="120"/>
                  </a:lnTo>
                  <a:lnTo>
                    <a:pt x="14" y="117"/>
                  </a:lnTo>
                  <a:lnTo>
                    <a:pt x="8" y="106"/>
                  </a:lnTo>
                  <a:lnTo>
                    <a:pt x="0" y="116"/>
                  </a:lnTo>
                  <a:lnTo>
                    <a:pt x="7" y="132"/>
                  </a:lnTo>
                  <a:lnTo>
                    <a:pt x="13" y="148"/>
                  </a:lnTo>
                  <a:lnTo>
                    <a:pt x="19" y="165"/>
                  </a:lnTo>
                  <a:lnTo>
                    <a:pt x="25" y="182"/>
                  </a:lnTo>
                  <a:lnTo>
                    <a:pt x="19" y="190"/>
                  </a:lnTo>
                  <a:lnTo>
                    <a:pt x="20" y="198"/>
                  </a:lnTo>
                  <a:lnTo>
                    <a:pt x="25" y="216"/>
                  </a:lnTo>
                  <a:lnTo>
                    <a:pt x="30" y="216"/>
                  </a:lnTo>
                  <a:lnTo>
                    <a:pt x="38" y="221"/>
                  </a:lnTo>
                  <a:lnTo>
                    <a:pt x="48" y="226"/>
                  </a:lnTo>
                  <a:lnTo>
                    <a:pt x="64" y="221"/>
                  </a:lnTo>
                  <a:lnTo>
                    <a:pt x="80" y="215"/>
                  </a:lnTo>
                  <a:lnTo>
                    <a:pt x="96" y="215"/>
                  </a:lnTo>
                  <a:lnTo>
                    <a:pt x="113" y="214"/>
                  </a:lnTo>
                  <a:lnTo>
                    <a:pt x="133" y="212"/>
                  </a:lnTo>
                  <a:lnTo>
                    <a:pt x="143" y="208"/>
                  </a:lnTo>
                  <a:lnTo>
                    <a:pt x="160" y="198"/>
                  </a:lnTo>
                  <a:lnTo>
                    <a:pt x="176" y="189"/>
                  </a:lnTo>
                  <a:lnTo>
                    <a:pt x="186" y="179"/>
                  </a:lnTo>
                  <a:lnTo>
                    <a:pt x="196" y="168"/>
                  </a:lnTo>
                  <a:lnTo>
                    <a:pt x="205" y="158"/>
                  </a:lnTo>
                  <a:lnTo>
                    <a:pt x="216" y="147"/>
                  </a:lnTo>
                  <a:lnTo>
                    <a:pt x="227" y="134"/>
                  </a:lnTo>
                  <a:lnTo>
                    <a:pt x="239" y="119"/>
                  </a:lnTo>
                  <a:lnTo>
                    <a:pt x="246" y="101"/>
                  </a:lnTo>
                  <a:lnTo>
                    <a:pt x="253" y="84"/>
                  </a:lnTo>
                  <a:lnTo>
                    <a:pt x="242" y="84"/>
                  </a:lnTo>
                  <a:lnTo>
                    <a:pt x="239" y="92"/>
                  </a:lnTo>
                  <a:lnTo>
                    <a:pt x="223" y="87"/>
                  </a:lnTo>
                  <a:lnTo>
                    <a:pt x="224" y="74"/>
                  </a:lnTo>
                  <a:lnTo>
                    <a:pt x="232" y="64"/>
                  </a:lnTo>
                  <a:lnTo>
                    <a:pt x="240" y="68"/>
                  </a:lnTo>
                  <a:lnTo>
                    <a:pt x="240" y="50"/>
                  </a:lnTo>
                  <a:lnTo>
                    <a:pt x="240" y="30"/>
                  </a:lnTo>
                  <a:lnTo>
                    <a:pt x="236" y="17"/>
                  </a:lnTo>
                  <a:lnTo>
                    <a:pt x="234" y="5"/>
                  </a:lnTo>
                  <a:lnTo>
                    <a:pt x="218" y="3"/>
                  </a:lnTo>
                  <a:lnTo>
                    <a:pt x="204" y="0"/>
                  </a:lnTo>
                  <a:lnTo>
                    <a:pt x="202" y="0"/>
                  </a:lnTo>
                  <a:lnTo>
                    <a:pt x="181" y="14"/>
                  </a:lnTo>
                  <a:lnTo>
                    <a:pt x="166" y="28"/>
                  </a:lnTo>
                  <a:lnTo>
                    <a:pt x="157" y="44"/>
                  </a:lnTo>
                  <a:lnTo>
                    <a:pt x="148" y="50"/>
                  </a:lnTo>
                  <a:lnTo>
                    <a:pt x="139" y="64"/>
                  </a:lnTo>
                  <a:lnTo>
                    <a:pt x="115" y="62"/>
                  </a:lnTo>
                  <a:lnTo>
                    <a:pt x="103" y="57"/>
                  </a:lnTo>
                  <a:lnTo>
                    <a:pt x="95" y="69"/>
                  </a:lnTo>
                  <a:lnTo>
                    <a:pt x="88" y="81"/>
                  </a:lnTo>
                  <a:lnTo>
                    <a:pt x="71" y="83"/>
                  </a:lnTo>
                  <a:lnTo>
                    <a:pt x="65" y="81"/>
                  </a:lnTo>
                  <a:lnTo>
                    <a:pt x="67" y="64"/>
                  </a:lnTo>
                  <a:lnTo>
                    <a:pt x="56" y="47"/>
                  </a:lnTo>
                  <a:lnTo>
                    <a:pt x="176" y="120"/>
                  </a:lnTo>
                  <a:lnTo>
                    <a:pt x="161" y="136"/>
                  </a:lnTo>
                  <a:lnTo>
                    <a:pt x="172" y="152"/>
                  </a:lnTo>
                  <a:lnTo>
                    <a:pt x="178" y="147"/>
                  </a:lnTo>
                  <a:lnTo>
                    <a:pt x="193" y="136"/>
                  </a:lnTo>
                  <a:lnTo>
                    <a:pt x="196" y="124"/>
                  </a:lnTo>
                  <a:lnTo>
                    <a:pt x="182" y="117"/>
                  </a:lnTo>
                  <a:lnTo>
                    <a:pt x="176" y="120"/>
                  </a:lnTo>
                  <a:lnTo>
                    <a:pt x="56" y="47"/>
                  </a:lnTo>
                  <a:close/>
                </a:path>
              </a:pathLst>
            </a:custGeom>
            <a:grpFill/>
            <a:ln w="3175" cmpd="sng">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09" name="Freeform 206"/>
            <p:cNvSpPr>
              <a:spLocks/>
            </p:cNvSpPr>
            <p:nvPr/>
          </p:nvSpPr>
          <p:spPr bwMode="auto">
            <a:xfrm>
              <a:off x="2811" y="3147"/>
              <a:ext cx="282" cy="251"/>
            </a:xfrm>
            <a:custGeom>
              <a:avLst/>
              <a:gdLst/>
              <a:ahLst/>
              <a:cxnLst>
                <a:cxn ang="0">
                  <a:pos x="56" y="47"/>
                </a:cxn>
                <a:cxn ang="0">
                  <a:pos x="55" y="64"/>
                </a:cxn>
                <a:cxn ang="0">
                  <a:pos x="54" y="81"/>
                </a:cxn>
                <a:cxn ang="0">
                  <a:pos x="53" y="98"/>
                </a:cxn>
                <a:cxn ang="0">
                  <a:pos x="50" y="114"/>
                </a:cxn>
                <a:cxn ang="0">
                  <a:pos x="37" y="120"/>
                </a:cxn>
                <a:cxn ang="0">
                  <a:pos x="14" y="117"/>
                </a:cxn>
                <a:cxn ang="0">
                  <a:pos x="8" y="106"/>
                </a:cxn>
                <a:cxn ang="0">
                  <a:pos x="0" y="116"/>
                </a:cxn>
                <a:cxn ang="0">
                  <a:pos x="7" y="132"/>
                </a:cxn>
                <a:cxn ang="0">
                  <a:pos x="13" y="148"/>
                </a:cxn>
                <a:cxn ang="0">
                  <a:pos x="19" y="165"/>
                </a:cxn>
                <a:cxn ang="0">
                  <a:pos x="25" y="182"/>
                </a:cxn>
                <a:cxn ang="0">
                  <a:pos x="19" y="190"/>
                </a:cxn>
                <a:cxn ang="0">
                  <a:pos x="20" y="198"/>
                </a:cxn>
                <a:cxn ang="0">
                  <a:pos x="25" y="216"/>
                </a:cxn>
                <a:cxn ang="0">
                  <a:pos x="30" y="216"/>
                </a:cxn>
                <a:cxn ang="0">
                  <a:pos x="38" y="221"/>
                </a:cxn>
                <a:cxn ang="0">
                  <a:pos x="48" y="226"/>
                </a:cxn>
                <a:cxn ang="0">
                  <a:pos x="64" y="221"/>
                </a:cxn>
                <a:cxn ang="0">
                  <a:pos x="80" y="215"/>
                </a:cxn>
                <a:cxn ang="0">
                  <a:pos x="96" y="215"/>
                </a:cxn>
                <a:cxn ang="0">
                  <a:pos x="113" y="214"/>
                </a:cxn>
                <a:cxn ang="0">
                  <a:pos x="133" y="212"/>
                </a:cxn>
                <a:cxn ang="0">
                  <a:pos x="143" y="208"/>
                </a:cxn>
                <a:cxn ang="0">
                  <a:pos x="160" y="198"/>
                </a:cxn>
                <a:cxn ang="0">
                  <a:pos x="176" y="189"/>
                </a:cxn>
                <a:cxn ang="0">
                  <a:pos x="186" y="179"/>
                </a:cxn>
                <a:cxn ang="0">
                  <a:pos x="196" y="168"/>
                </a:cxn>
                <a:cxn ang="0">
                  <a:pos x="205" y="158"/>
                </a:cxn>
                <a:cxn ang="0">
                  <a:pos x="216" y="147"/>
                </a:cxn>
                <a:cxn ang="0">
                  <a:pos x="227" y="134"/>
                </a:cxn>
                <a:cxn ang="0">
                  <a:pos x="239" y="119"/>
                </a:cxn>
                <a:cxn ang="0">
                  <a:pos x="246" y="101"/>
                </a:cxn>
                <a:cxn ang="0">
                  <a:pos x="253" y="84"/>
                </a:cxn>
                <a:cxn ang="0">
                  <a:pos x="242" y="84"/>
                </a:cxn>
                <a:cxn ang="0">
                  <a:pos x="239" y="92"/>
                </a:cxn>
                <a:cxn ang="0">
                  <a:pos x="223" y="87"/>
                </a:cxn>
                <a:cxn ang="0">
                  <a:pos x="224" y="74"/>
                </a:cxn>
                <a:cxn ang="0">
                  <a:pos x="232" y="64"/>
                </a:cxn>
                <a:cxn ang="0">
                  <a:pos x="240" y="68"/>
                </a:cxn>
                <a:cxn ang="0">
                  <a:pos x="240" y="50"/>
                </a:cxn>
                <a:cxn ang="0">
                  <a:pos x="240" y="30"/>
                </a:cxn>
                <a:cxn ang="0">
                  <a:pos x="236" y="17"/>
                </a:cxn>
                <a:cxn ang="0">
                  <a:pos x="234" y="5"/>
                </a:cxn>
                <a:cxn ang="0">
                  <a:pos x="218" y="3"/>
                </a:cxn>
                <a:cxn ang="0">
                  <a:pos x="204" y="0"/>
                </a:cxn>
                <a:cxn ang="0">
                  <a:pos x="202" y="0"/>
                </a:cxn>
                <a:cxn ang="0">
                  <a:pos x="181" y="14"/>
                </a:cxn>
                <a:cxn ang="0">
                  <a:pos x="166" y="28"/>
                </a:cxn>
                <a:cxn ang="0">
                  <a:pos x="157" y="44"/>
                </a:cxn>
                <a:cxn ang="0">
                  <a:pos x="148" y="50"/>
                </a:cxn>
                <a:cxn ang="0">
                  <a:pos x="139" y="64"/>
                </a:cxn>
                <a:cxn ang="0">
                  <a:pos x="115" y="62"/>
                </a:cxn>
                <a:cxn ang="0">
                  <a:pos x="103" y="57"/>
                </a:cxn>
                <a:cxn ang="0">
                  <a:pos x="95" y="69"/>
                </a:cxn>
                <a:cxn ang="0">
                  <a:pos x="88" y="81"/>
                </a:cxn>
                <a:cxn ang="0">
                  <a:pos x="71" y="83"/>
                </a:cxn>
                <a:cxn ang="0">
                  <a:pos x="65" y="81"/>
                </a:cxn>
                <a:cxn ang="0">
                  <a:pos x="67" y="64"/>
                </a:cxn>
                <a:cxn ang="0">
                  <a:pos x="56" y="47"/>
                </a:cxn>
              </a:cxnLst>
              <a:rect l="0" t="0" r="r" b="b"/>
              <a:pathLst>
                <a:path w="253" h="226">
                  <a:moveTo>
                    <a:pt x="56" y="47"/>
                  </a:moveTo>
                  <a:lnTo>
                    <a:pt x="55" y="64"/>
                  </a:lnTo>
                  <a:lnTo>
                    <a:pt x="54" y="81"/>
                  </a:lnTo>
                  <a:lnTo>
                    <a:pt x="53" y="98"/>
                  </a:lnTo>
                  <a:lnTo>
                    <a:pt x="50" y="114"/>
                  </a:lnTo>
                  <a:lnTo>
                    <a:pt x="37" y="120"/>
                  </a:lnTo>
                  <a:lnTo>
                    <a:pt x="14" y="117"/>
                  </a:lnTo>
                  <a:lnTo>
                    <a:pt x="8" y="106"/>
                  </a:lnTo>
                  <a:lnTo>
                    <a:pt x="0" y="116"/>
                  </a:lnTo>
                  <a:lnTo>
                    <a:pt x="7" y="132"/>
                  </a:lnTo>
                  <a:lnTo>
                    <a:pt x="13" y="148"/>
                  </a:lnTo>
                  <a:lnTo>
                    <a:pt x="19" y="165"/>
                  </a:lnTo>
                  <a:lnTo>
                    <a:pt x="25" y="182"/>
                  </a:lnTo>
                  <a:lnTo>
                    <a:pt x="19" y="190"/>
                  </a:lnTo>
                  <a:lnTo>
                    <a:pt x="20" y="198"/>
                  </a:lnTo>
                  <a:lnTo>
                    <a:pt x="25" y="216"/>
                  </a:lnTo>
                  <a:lnTo>
                    <a:pt x="30" y="216"/>
                  </a:lnTo>
                  <a:lnTo>
                    <a:pt x="38" y="221"/>
                  </a:lnTo>
                  <a:lnTo>
                    <a:pt x="48" y="226"/>
                  </a:lnTo>
                  <a:lnTo>
                    <a:pt x="64" y="221"/>
                  </a:lnTo>
                  <a:lnTo>
                    <a:pt x="80" y="215"/>
                  </a:lnTo>
                  <a:lnTo>
                    <a:pt x="96" y="215"/>
                  </a:lnTo>
                  <a:lnTo>
                    <a:pt x="113" y="214"/>
                  </a:lnTo>
                  <a:lnTo>
                    <a:pt x="133" y="212"/>
                  </a:lnTo>
                  <a:lnTo>
                    <a:pt x="143" y="208"/>
                  </a:lnTo>
                  <a:lnTo>
                    <a:pt x="160" y="198"/>
                  </a:lnTo>
                  <a:lnTo>
                    <a:pt x="176" y="189"/>
                  </a:lnTo>
                  <a:lnTo>
                    <a:pt x="186" y="179"/>
                  </a:lnTo>
                  <a:lnTo>
                    <a:pt x="196" y="168"/>
                  </a:lnTo>
                  <a:lnTo>
                    <a:pt x="205" y="158"/>
                  </a:lnTo>
                  <a:lnTo>
                    <a:pt x="216" y="147"/>
                  </a:lnTo>
                  <a:lnTo>
                    <a:pt x="227" y="134"/>
                  </a:lnTo>
                  <a:lnTo>
                    <a:pt x="239" y="119"/>
                  </a:lnTo>
                  <a:lnTo>
                    <a:pt x="246" y="101"/>
                  </a:lnTo>
                  <a:lnTo>
                    <a:pt x="253" y="84"/>
                  </a:lnTo>
                  <a:lnTo>
                    <a:pt x="242" y="84"/>
                  </a:lnTo>
                  <a:lnTo>
                    <a:pt x="239" y="92"/>
                  </a:lnTo>
                  <a:lnTo>
                    <a:pt x="223" y="87"/>
                  </a:lnTo>
                  <a:lnTo>
                    <a:pt x="224" y="74"/>
                  </a:lnTo>
                  <a:lnTo>
                    <a:pt x="232" y="64"/>
                  </a:lnTo>
                  <a:lnTo>
                    <a:pt x="240" y="68"/>
                  </a:lnTo>
                  <a:lnTo>
                    <a:pt x="240" y="50"/>
                  </a:lnTo>
                  <a:lnTo>
                    <a:pt x="240" y="30"/>
                  </a:lnTo>
                  <a:lnTo>
                    <a:pt x="236" y="17"/>
                  </a:lnTo>
                  <a:lnTo>
                    <a:pt x="234" y="5"/>
                  </a:lnTo>
                  <a:lnTo>
                    <a:pt x="218" y="3"/>
                  </a:lnTo>
                  <a:lnTo>
                    <a:pt x="204" y="0"/>
                  </a:lnTo>
                  <a:lnTo>
                    <a:pt x="202" y="0"/>
                  </a:lnTo>
                  <a:lnTo>
                    <a:pt x="181" y="14"/>
                  </a:lnTo>
                  <a:lnTo>
                    <a:pt x="166" y="28"/>
                  </a:lnTo>
                  <a:lnTo>
                    <a:pt x="157" y="44"/>
                  </a:lnTo>
                  <a:lnTo>
                    <a:pt x="148" y="50"/>
                  </a:lnTo>
                  <a:lnTo>
                    <a:pt x="139" y="64"/>
                  </a:lnTo>
                  <a:lnTo>
                    <a:pt x="115" y="62"/>
                  </a:lnTo>
                  <a:lnTo>
                    <a:pt x="103" y="57"/>
                  </a:lnTo>
                  <a:lnTo>
                    <a:pt x="95" y="69"/>
                  </a:lnTo>
                  <a:lnTo>
                    <a:pt x="88" y="81"/>
                  </a:lnTo>
                  <a:lnTo>
                    <a:pt x="71" y="83"/>
                  </a:lnTo>
                  <a:lnTo>
                    <a:pt x="65" y="81"/>
                  </a:lnTo>
                  <a:lnTo>
                    <a:pt x="67" y="64"/>
                  </a:lnTo>
                  <a:lnTo>
                    <a:pt x="56" y="4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0" name="Freeform 207"/>
            <p:cNvSpPr>
              <a:spLocks/>
            </p:cNvSpPr>
            <p:nvPr/>
          </p:nvSpPr>
          <p:spPr bwMode="auto">
            <a:xfrm>
              <a:off x="2989" y="3276"/>
              <a:ext cx="40" cy="40"/>
            </a:xfrm>
            <a:custGeom>
              <a:avLst/>
              <a:gdLst/>
              <a:ahLst/>
              <a:cxnLst>
                <a:cxn ang="0">
                  <a:pos x="15" y="3"/>
                </a:cxn>
                <a:cxn ang="0">
                  <a:pos x="0" y="19"/>
                </a:cxn>
                <a:cxn ang="0">
                  <a:pos x="11" y="35"/>
                </a:cxn>
                <a:cxn ang="0">
                  <a:pos x="17" y="30"/>
                </a:cxn>
                <a:cxn ang="0">
                  <a:pos x="32" y="19"/>
                </a:cxn>
                <a:cxn ang="0">
                  <a:pos x="35" y="7"/>
                </a:cxn>
                <a:cxn ang="0">
                  <a:pos x="21" y="0"/>
                </a:cxn>
                <a:cxn ang="0">
                  <a:pos x="15" y="3"/>
                </a:cxn>
              </a:cxnLst>
              <a:rect l="0" t="0" r="r" b="b"/>
              <a:pathLst>
                <a:path w="35" h="35">
                  <a:moveTo>
                    <a:pt x="15" y="3"/>
                  </a:moveTo>
                  <a:lnTo>
                    <a:pt x="0" y="19"/>
                  </a:lnTo>
                  <a:lnTo>
                    <a:pt x="11" y="35"/>
                  </a:lnTo>
                  <a:lnTo>
                    <a:pt x="17" y="30"/>
                  </a:lnTo>
                  <a:lnTo>
                    <a:pt x="32" y="19"/>
                  </a:lnTo>
                  <a:lnTo>
                    <a:pt x="35" y="7"/>
                  </a:lnTo>
                  <a:lnTo>
                    <a:pt x="21" y="0"/>
                  </a:lnTo>
                  <a:lnTo>
                    <a:pt x="15"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1" name="Freeform 208"/>
            <p:cNvSpPr>
              <a:spLocks/>
            </p:cNvSpPr>
            <p:nvPr/>
          </p:nvSpPr>
          <p:spPr bwMode="auto">
            <a:xfrm>
              <a:off x="2780" y="3156"/>
              <a:ext cx="2" cy="11"/>
            </a:xfrm>
            <a:custGeom>
              <a:avLst/>
              <a:gdLst/>
              <a:ahLst/>
              <a:cxnLst>
                <a:cxn ang="0">
                  <a:pos x="3" y="9"/>
                </a:cxn>
                <a:cxn ang="0">
                  <a:pos x="0" y="8"/>
                </a:cxn>
                <a:cxn ang="0">
                  <a:pos x="2" y="0"/>
                </a:cxn>
                <a:cxn ang="0">
                  <a:pos x="3" y="9"/>
                </a:cxn>
              </a:cxnLst>
              <a:rect l="0" t="0" r="r" b="b"/>
              <a:pathLst>
                <a:path w="3" h="9">
                  <a:moveTo>
                    <a:pt x="3" y="9"/>
                  </a:moveTo>
                  <a:lnTo>
                    <a:pt x="0" y="8"/>
                  </a:lnTo>
                  <a:lnTo>
                    <a:pt x="2" y="0"/>
                  </a:lnTo>
                  <a:lnTo>
                    <a:pt x="3"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2" name="Freeform 209"/>
            <p:cNvSpPr>
              <a:spLocks/>
            </p:cNvSpPr>
            <p:nvPr/>
          </p:nvSpPr>
          <p:spPr bwMode="auto">
            <a:xfrm>
              <a:off x="3060" y="3218"/>
              <a:ext cx="20" cy="32"/>
            </a:xfrm>
            <a:custGeom>
              <a:avLst/>
              <a:gdLst/>
              <a:ahLst/>
              <a:cxnLst>
                <a:cxn ang="0">
                  <a:pos x="9" y="0"/>
                </a:cxn>
                <a:cxn ang="0">
                  <a:pos x="1" y="10"/>
                </a:cxn>
                <a:cxn ang="0">
                  <a:pos x="0" y="23"/>
                </a:cxn>
                <a:cxn ang="0">
                  <a:pos x="16" y="28"/>
                </a:cxn>
                <a:cxn ang="0">
                  <a:pos x="19" y="20"/>
                </a:cxn>
                <a:cxn ang="0">
                  <a:pos x="17" y="4"/>
                </a:cxn>
                <a:cxn ang="0">
                  <a:pos x="9" y="0"/>
                </a:cxn>
              </a:cxnLst>
              <a:rect l="0" t="0" r="r" b="b"/>
              <a:pathLst>
                <a:path w="19" h="28">
                  <a:moveTo>
                    <a:pt x="9" y="0"/>
                  </a:moveTo>
                  <a:lnTo>
                    <a:pt x="1" y="10"/>
                  </a:lnTo>
                  <a:lnTo>
                    <a:pt x="0" y="23"/>
                  </a:lnTo>
                  <a:lnTo>
                    <a:pt x="16" y="28"/>
                  </a:lnTo>
                  <a:lnTo>
                    <a:pt x="19" y="20"/>
                  </a:lnTo>
                  <a:lnTo>
                    <a:pt x="17" y="4"/>
                  </a:lnTo>
                  <a:lnTo>
                    <a:pt x="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3" name="Freeform 210"/>
            <p:cNvSpPr>
              <a:spLocks/>
            </p:cNvSpPr>
            <p:nvPr/>
          </p:nvSpPr>
          <p:spPr bwMode="auto">
            <a:xfrm>
              <a:off x="2736" y="2823"/>
              <a:ext cx="215" cy="240"/>
            </a:xfrm>
            <a:custGeom>
              <a:avLst/>
              <a:gdLst/>
              <a:ahLst/>
              <a:cxnLst>
                <a:cxn ang="0">
                  <a:pos x="193" y="127"/>
                </a:cxn>
                <a:cxn ang="0">
                  <a:pos x="177" y="127"/>
                </a:cxn>
                <a:cxn ang="0">
                  <a:pos x="162" y="128"/>
                </a:cxn>
                <a:cxn ang="0">
                  <a:pos x="161" y="141"/>
                </a:cxn>
                <a:cxn ang="0">
                  <a:pos x="161" y="156"/>
                </a:cxn>
                <a:cxn ang="0">
                  <a:pos x="161" y="170"/>
                </a:cxn>
                <a:cxn ang="0">
                  <a:pos x="161" y="184"/>
                </a:cxn>
                <a:cxn ang="0">
                  <a:pos x="171" y="198"/>
                </a:cxn>
                <a:cxn ang="0">
                  <a:pos x="182" y="211"/>
                </a:cxn>
                <a:cxn ang="0">
                  <a:pos x="158" y="213"/>
                </a:cxn>
                <a:cxn ang="0">
                  <a:pos x="135" y="217"/>
                </a:cxn>
                <a:cxn ang="0">
                  <a:pos x="120" y="213"/>
                </a:cxn>
                <a:cxn ang="0">
                  <a:pos x="105" y="210"/>
                </a:cxn>
                <a:cxn ang="0">
                  <a:pos x="103" y="206"/>
                </a:cxn>
                <a:cxn ang="0">
                  <a:pos x="85" y="206"/>
                </a:cxn>
                <a:cxn ang="0">
                  <a:pos x="67" y="205"/>
                </a:cxn>
                <a:cxn ang="0">
                  <a:pos x="49" y="205"/>
                </a:cxn>
                <a:cxn ang="0">
                  <a:pos x="30" y="204"/>
                </a:cxn>
                <a:cxn ang="0">
                  <a:pos x="19" y="199"/>
                </a:cxn>
                <a:cxn ang="0">
                  <a:pos x="0" y="204"/>
                </a:cxn>
                <a:cxn ang="0">
                  <a:pos x="1" y="189"/>
                </a:cxn>
                <a:cxn ang="0">
                  <a:pos x="2" y="175"/>
                </a:cxn>
                <a:cxn ang="0">
                  <a:pos x="9" y="153"/>
                </a:cxn>
                <a:cxn ang="0">
                  <a:pos x="17" y="130"/>
                </a:cxn>
                <a:cxn ang="0">
                  <a:pos x="25" y="118"/>
                </a:cxn>
                <a:cxn ang="0">
                  <a:pos x="32" y="106"/>
                </a:cxn>
                <a:cxn ang="0">
                  <a:pos x="30" y="82"/>
                </a:cxn>
                <a:cxn ang="0">
                  <a:pos x="25" y="68"/>
                </a:cxn>
                <a:cxn ang="0">
                  <a:pos x="21" y="55"/>
                </a:cxn>
                <a:cxn ang="0">
                  <a:pos x="26" y="46"/>
                </a:cxn>
                <a:cxn ang="0">
                  <a:pos x="19" y="25"/>
                </a:cxn>
                <a:cxn ang="0">
                  <a:pos x="11" y="3"/>
                </a:cxn>
                <a:cxn ang="0">
                  <a:pos x="24" y="0"/>
                </a:cxn>
                <a:cxn ang="0">
                  <a:pos x="37" y="0"/>
                </a:cxn>
                <a:cxn ang="0">
                  <a:pos x="51" y="1"/>
                </a:cxn>
                <a:cxn ang="0">
                  <a:pos x="65" y="1"/>
                </a:cxn>
                <a:cxn ang="0">
                  <a:pos x="78" y="2"/>
                </a:cxn>
                <a:cxn ang="0">
                  <a:pos x="84" y="19"/>
                </a:cxn>
                <a:cxn ang="0">
                  <a:pos x="91" y="36"/>
                </a:cxn>
                <a:cxn ang="0">
                  <a:pos x="102" y="39"/>
                </a:cxn>
                <a:cxn ang="0">
                  <a:pos x="121" y="36"/>
                </a:cxn>
                <a:cxn ang="0">
                  <a:pos x="125" y="20"/>
                </a:cxn>
                <a:cxn ang="0">
                  <a:pos x="140" y="21"/>
                </a:cxn>
                <a:cxn ang="0">
                  <a:pos x="140" y="25"/>
                </a:cxn>
                <a:cxn ang="0">
                  <a:pos x="161" y="28"/>
                </a:cxn>
                <a:cxn ang="0">
                  <a:pos x="162" y="49"/>
                </a:cxn>
                <a:cxn ang="0">
                  <a:pos x="162" y="69"/>
                </a:cxn>
                <a:cxn ang="0">
                  <a:pos x="167" y="87"/>
                </a:cxn>
                <a:cxn ang="0">
                  <a:pos x="168" y="94"/>
                </a:cxn>
                <a:cxn ang="0">
                  <a:pos x="181" y="92"/>
                </a:cxn>
                <a:cxn ang="0">
                  <a:pos x="193" y="90"/>
                </a:cxn>
                <a:cxn ang="0">
                  <a:pos x="193" y="108"/>
                </a:cxn>
                <a:cxn ang="0">
                  <a:pos x="193" y="127"/>
                </a:cxn>
              </a:cxnLst>
              <a:rect l="0" t="0" r="r" b="b"/>
              <a:pathLst>
                <a:path w="193" h="217">
                  <a:moveTo>
                    <a:pt x="193" y="127"/>
                  </a:moveTo>
                  <a:lnTo>
                    <a:pt x="177" y="127"/>
                  </a:lnTo>
                  <a:lnTo>
                    <a:pt x="162" y="128"/>
                  </a:lnTo>
                  <a:lnTo>
                    <a:pt x="161" y="141"/>
                  </a:lnTo>
                  <a:lnTo>
                    <a:pt x="161" y="156"/>
                  </a:lnTo>
                  <a:lnTo>
                    <a:pt x="161" y="170"/>
                  </a:lnTo>
                  <a:lnTo>
                    <a:pt x="161" y="184"/>
                  </a:lnTo>
                  <a:lnTo>
                    <a:pt x="171" y="198"/>
                  </a:lnTo>
                  <a:lnTo>
                    <a:pt x="182" y="211"/>
                  </a:lnTo>
                  <a:lnTo>
                    <a:pt x="158" y="213"/>
                  </a:lnTo>
                  <a:lnTo>
                    <a:pt x="135" y="217"/>
                  </a:lnTo>
                  <a:lnTo>
                    <a:pt x="120" y="213"/>
                  </a:lnTo>
                  <a:lnTo>
                    <a:pt x="105" y="210"/>
                  </a:lnTo>
                  <a:lnTo>
                    <a:pt x="103" y="206"/>
                  </a:lnTo>
                  <a:lnTo>
                    <a:pt x="85" y="206"/>
                  </a:lnTo>
                  <a:lnTo>
                    <a:pt x="67" y="205"/>
                  </a:lnTo>
                  <a:lnTo>
                    <a:pt x="49" y="205"/>
                  </a:lnTo>
                  <a:lnTo>
                    <a:pt x="30" y="204"/>
                  </a:lnTo>
                  <a:lnTo>
                    <a:pt x="19" y="199"/>
                  </a:lnTo>
                  <a:lnTo>
                    <a:pt x="0" y="204"/>
                  </a:lnTo>
                  <a:lnTo>
                    <a:pt x="1" y="189"/>
                  </a:lnTo>
                  <a:lnTo>
                    <a:pt x="2" y="175"/>
                  </a:lnTo>
                  <a:lnTo>
                    <a:pt x="9" y="153"/>
                  </a:lnTo>
                  <a:lnTo>
                    <a:pt x="17" y="130"/>
                  </a:lnTo>
                  <a:lnTo>
                    <a:pt x="25" y="118"/>
                  </a:lnTo>
                  <a:lnTo>
                    <a:pt x="32" y="106"/>
                  </a:lnTo>
                  <a:lnTo>
                    <a:pt x="30" y="82"/>
                  </a:lnTo>
                  <a:lnTo>
                    <a:pt x="25" y="68"/>
                  </a:lnTo>
                  <a:lnTo>
                    <a:pt x="21" y="55"/>
                  </a:lnTo>
                  <a:lnTo>
                    <a:pt x="26" y="46"/>
                  </a:lnTo>
                  <a:lnTo>
                    <a:pt x="19" y="25"/>
                  </a:lnTo>
                  <a:lnTo>
                    <a:pt x="11" y="3"/>
                  </a:lnTo>
                  <a:lnTo>
                    <a:pt x="24" y="0"/>
                  </a:lnTo>
                  <a:lnTo>
                    <a:pt x="37" y="0"/>
                  </a:lnTo>
                  <a:lnTo>
                    <a:pt x="51" y="1"/>
                  </a:lnTo>
                  <a:lnTo>
                    <a:pt x="65" y="1"/>
                  </a:lnTo>
                  <a:lnTo>
                    <a:pt x="78" y="2"/>
                  </a:lnTo>
                  <a:lnTo>
                    <a:pt x="84" y="19"/>
                  </a:lnTo>
                  <a:lnTo>
                    <a:pt x="91" y="36"/>
                  </a:lnTo>
                  <a:lnTo>
                    <a:pt x="102" y="39"/>
                  </a:lnTo>
                  <a:lnTo>
                    <a:pt x="121" y="36"/>
                  </a:lnTo>
                  <a:lnTo>
                    <a:pt x="125" y="20"/>
                  </a:lnTo>
                  <a:lnTo>
                    <a:pt x="140" y="21"/>
                  </a:lnTo>
                  <a:lnTo>
                    <a:pt x="140" y="25"/>
                  </a:lnTo>
                  <a:lnTo>
                    <a:pt x="161" y="28"/>
                  </a:lnTo>
                  <a:lnTo>
                    <a:pt x="162" y="49"/>
                  </a:lnTo>
                  <a:lnTo>
                    <a:pt x="162" y="69"/>
                  </a:lnTo>
                  <a:lnTo>
                    <a:pt x="167" y="87"/>
                  </a:lnTo>
                  <a:lnTo>
                    <a:pt x="168" y="94"/>
                  </a:lnTo>
                  <a:lnTo>
                    <a:pt x="181" y="92"/>
                  </a:lnTo>
                  <a:lnTo>
                    <a:pt x="193" y="90"/>
                  </a:lnTo>
                  <a:lnTo>
                    <a:pt x="193" y="108"/>
                  </a:lnTo>
                  <a:lnTo>
                    <a:pt x="193" y="1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4" name="Freeform 211"/>
            <p:cNvSpPr>
              <a:spLocks/>
            </p:cNvSpPr>
            <p:nvPr/>
          </p:nvSpPr>
          <p:spPr bwMode="auto">
            <a:xfrm>
              <a:off x="2742" y="2794"/>
              <a:ext cx="20" cy="27"/>
            </a:xfrm>
            <a:custGeom>
              <a:avLst/>
              <a:gdLst/>
              <a:ahLst/>
              <a:cxnLst>
                <a:cxn ang="0">
                  <a:pos x="2" y="24"/>
                </a:cxn>
                <a:cxn ang="0">
                  <a:pos x="0" y="10"/>
                </a:cxn>
                <a:cxn ang="0">
                  <a:pos x="11" y="0"/>
                </a:cxn>
                <a:cxn ang="0">
                  <a:pos x="17" y="3"/>
                </a:cxn>
                <a:cxn ang="0">
                  <a:pos x="9" y="9"/>
                </a:cxn>
                <a:cxn ang="0">
                  <a:pos x="8" y="23"/>
                </a:cxn>
                <a:cxn ang="0">
                  <a:pos x="2" y="24"/>
                </a:cxn>
              </a:cxnLst>
              <a:rect l="0" t="0" r="r" b="b"/>
              <a:pathLst>
                <a:path w="17" h="24">
                  <a:moveTo>
                    <a:pt x="2" y="24"/>
                  </a:moveTo>
                  <a:lnTo>
                    <a:pt x="0" y="10"/>
                  </a:lnTo>
                  <a:lnTo>
                    <a:pt x="11" y="0"/>
                  </a:lnTo>
                  <a:lnTo>
                    <a:pt x="17" y="3"/>
                  </a:lnTo>
                  <a:lnTo>
                    <a:pt x="9" y="9"/>
                  </a:lnTo>
                  <a:lnTo>
                    <a:pt x="8" y="23"/>
                  </a:lnTo>
                  <a:lnTo>
                    <a:pt x="2"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5" name="Freeform 212"/>
            <p:cNvSpPr>
              <a:spLocks/>
            </p:cNvSpPr>
            <p:nvPr/>
          </p:nvSpPr>
          <p:spPr bwMode="auto">
            <a:xfrm>
              <a:off x="2698" y="2659"/>
              <a:ext cx="33" cy="26"/>
            </a:xfrm>
            <a:custGeom>
              <a:avLst/>
              <a:gdLst/>
              <a:ahLst/>
              <a:cxnLst>
                <a:cxn ang="0">
                  <a:pos x="6" y="24"/>
                </a:cxn>
                <a:cxn ang="0">
                  <a:pos x="0" y="22"/>
                </a:cxn>
                <a:cxn ang="0">
                  <a:pos x="2" y="16"/>
                </a:cxn>
                <a:cxn ang="0">
                  <a:pos x="6" y="0"/>
                </a:cxn>
                <a:cxn ang="0">
                  <a:pos x="18" y="1"/>
                </a:cxn>
                <a:cxn ang="0">
                  <a:pos x="30" y="4"/>
                </a:cxn>
                <a:cxn ang="0">
                  <a:pos x="30" y="24"/>
                </a:cxn>
                <a:cxn ang="0">
                  <a:pos x="18" y="24"/>
                </a:cxn>
                <a:cxn ang="0">
                  <a:pos x="6" y="24"/>
                </a:cxn>
              </a:cxnLst>
              <a:rect l="0" t="0" r="r" b="b"/>
              <a:pathLst>
                <a:path w="30" h="24">
                  <a:moveTo>
                    <a:pt x="6" y="24"/>
                  </a:moveTo>
                  <a:lnTo>
                    <a:pt x="0" y="22"/>
                  </a:lnTo>
                  <a:lnTo>
                    <a:pt x="2" y="16"/>
                  </a:lnTo>
                  <a:lnTo>
                    <a:pt x="6" y="0"/>
                  </a:lnTo>
                  <a:lnTo>
                    <a:pt x="18" y="1"/>
                  </a:lnTo>
                  <a:lnTo>
                    <a:pt x="30" y="4"/>
                  </a:lnTo>
                  <a:lnTo>
                    <a:pt x="30" y="24"/>
                  </a:lnTo>
                  <a:lnTo>
                    <a:pt x="18" y="24"/>
                  </a:lnTo>
                  <a:lnTo>
                    <a:pt x="6"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6" name="Freeform 213"/>
            <p:cNvSpPr>
              <a:spLocks/>
            </p:cNvSpPr>
            <p:nvPr/>
          </p:nvSpPr>
          <p:spPr bwMode="auto">
            <a:xfrm>
              <a:off x="2680" y="2630"/>
              <a:ext cx="9" cy="11"/>
            </a:xfrm>
            <a:custGeom>
              <a:avLst/>
              <a:gdLst/>
              <a:ahLst/>
              <a:cxnLst>
                <a:cxn ang="0">
                  <a:pos x="9" y="1"/>
                </a:cxn>
                <a:cxn ang="0">
                  <a:pos x="6" y="0"/>
                </a:cxn>
                <a:cxn ang="0">
                  <a:pos x="0" y="8"/>
                </a:cxn>
                <a:cxn ang="0">
                  <a:pos x="9" y="1"/>
                </a:cxn>
              </a:cxnLst>
              <a:rect l="0" t="0" r="r" b="b"/>
              <a:pathLst>
                <a:path w="9" h="8">
                  <a:moveTo>
                    <a:pt x="9" y="1"/>
                  </a:moveTo>
                  <a:lnTo>
                    <a:pt x="6" y="0"/>
                  </a:lnTo>
                  <a:lnTo>
                    <a:pt x="0" y="8"/>
                  </a:lnTo>
                  <a:lnTo>
                    <a:pt x="9"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7" name="Freeform 214"/>
            <p:cNvSpPr>
              <a:spLocks/>
            </p:cNvSpPr>
            <p:nvPr/>
          </p:nvSpPr>
          <p:spPr bwMode="auto">
            <a:xfrm>
              <a:off x="2687" y="2663"/>
              <a:ext cx="100" cy="120"/>
            </a:xfrm>
            <a:custGeom>
              <a:avLst/>
              <a:gdLst/>
              <a:ahLst/>
              <a:cxnLst>
                <a:cxn ang="0">
                  <a:pos x="16" y="20"/>
                </a:cxn>
                <a:cxn ang="0">
                  <a:pos x="13" y="27"/>
                </a:cxn>
                <a:cxn ang="0">
                  <a:pos x="9" y="27"/>
                </a:cxn>
                <a:cxn ang="0">
                  <a:pos x="19" y="36"/>
                </a:cxn>
                <a:cxn ang="0">
                  <a:pos x="10" y="34"/>
                </a:cxn>
                <a:cxn ang="0">
                  <a:pos x="5" y="51"/>
                </a:cxn>
                <a:cxn ang="0">
                  <a:pos x="0" y="51"/>
                </a:cxn>
                <a:cxn ang="0">
                  <a:pos x="7" y="63"/>
                </a:cxn>
                <a:cxn ang="0">
                  <a:pos x="11" y="67"/>
                </a:cxn>
                <a:cxn ang="0">
                  <a:pos x="5" y="62"/>
                </a:cxn>
                <a:cxn ang="0">
                  <a:pos x="12" y="73"/>
                </a:cxn>
                <a:cxn ang="0">
                  <a:pos x="10" y="73"/>
                </a:cxn>
                <a:cxn ang="0">
                  <a:pos x="19" y="84"/>
                </a:cxn>
                <a:cxn ang="0">
                  <a:pos x="17" y="82"/>
                </a:cxn>
                <a:cxn ang="0">
                  <a:pos x="28" y="96"/>
                </a:cxn>
                <a:cxn ang="0">
                  <a:pos x="39" y="109"/>
                </a:cxn>
                <a:cxn ang="0">
                  <a:pos x="43" y="102"/>
                </a:cxn>
                <a:cxn ang="0">
                  <a:pos x="47" y="104"/>
                </a:cxn>
                <a:cxn ang="0">
                  <a:pos x="51" y="100"/>
                </a:cxn>
                <a:cxn ang="0">
                  <a:pos x="47" y="93"/>
                </a:cxn>
                <a:cxn ang="0">
                  <a:pos x="46" y="88"/>
                </a:cxn>
                <a:cxn ang="0">
                  <a:pos x="45" y="82"/>
                </a:cxn>
                <a:cxn ang="0">
                  <a:pos x="59" y="81"/>
                </a:cxn>
                <a:cxn ang="0">
                  <a:pos x="60" y="70"/>
                </a:cxn>
                <a:cxn ang="0">
                  <a:pos x="70" y="81"/>
                </a:cxn>
                <a:cxn ang="0">
                  <a:pos x="79" y="78"/>
                </a:cxn>
                <a:cxn ang="0">
                  <a:pos x="82" y="82"/>
                </a:cxn>
                <a:cxn ang="0">
                  <a:pos x="87" y="78"/>
                </a:cxn>
                <a:cxn ang="0">
                  <a:pos x="91" y="52"/>
                </a:cxn>
                <a:cxn ang="0">
                  <a:pos x="82" y="37"/>
                </a:cxn>
                <a:cxn ang="0">
                  <a:pos x="89" y="27"/>
                </a:cxn>
                <a:cxn ang="0">
                  <a:pos x="88" y="15"/>
                </a:cxn>
                <a:cxn ang="0">
                  <a:pos x="71" y="16"/>
                </a:cxn>
                <a:cxn ang="0">
                  <a:pos x="72" y="0"/>
                </a:cxn>
                <a:cxn ang="0">
                  <a:pos x="57" y="0"/>
                </a:cxn>
                <a:cxn ang="0">
                  <a:pos x="41" y="0"/>
                </a:cxn>
                <a:cxn ang="0">
                  <a:pos x="41" y="20"/>
                </a:cxn>
                <a:cxn ang="0">
                  <a:pos x="29" y="20"/>
                </a:cxn>
                <a:cxn ang="0">
                  <a:pos x="17" y="20"/>
                </a:cxn>
                <a:cxn ang="0">
                  <a:pos x="16" y="20"/>
                </a:cxn>
              </a:cxnLst>
              <a:rect l="0" t="0" r="r" b="b"/>
              <a:pathLst>
                <a:path w="91" h="109">
                  <a:moveTo>
                    <a:pt x="16" y="20"/>
                  </a:moveTo>
                  <a:lnTo>
                    <a:pt x="13" y="27"/>
                  </a:lnTo>
                  <a:lnTo>
                    <a:pt x="9" y="27"/>
                  </a:lnTo>
                  <a:lnTo>
                    <a:pt x="19" y="36"/>
                  </a:lnTo>
                  <a:lnTo>
                    <a:pt x="10" y="34"/>
                  </a:lnTo>
                  <a:lnTo>
                    <a:pt x="5" y="51"/>
                  </a:lnTo>
                  <a:lnTo>
                    <a:pt x="0" y="51"/>
                  </a:lnTo>
                  <a:lnTo>
                    <a:pt x="7" y="63"/>
                  </a:lnTo>
                  <a:lnTo>
                    <a:pt x="11" y="67"/>
                  </a:lnTo>
                  <a:lnTo>
                    <a:pt x="5" y="62"/>
                  </a:lnTo>
                  <a:lnTo>
                    <a:pt x="12" y="73"/>
                  </a:lnTo>
                  <a:lnTo>
                    <a:pt x="10" y="73"/>
                  </a:lnTo>
                  <a:lnTo>
                    <a:pt x="19" y="84"/>
                  </a:lnTo>
                  <a:lnTo>
                    <a:pt x="17" y="82"/>
                  </a:lnTo>
                  <a:lnTo>
                    <a:pt x="28" y="96"/>
                  </a:lnTo>
                  <a:lnTo>
                    <a:pt x="39" y="109"/>
                  </a:lnTo>
                  <a:lnTo>
                    <a:pt x="43" y="102"/>
                  </a:lnTo>
                  <a:lnTo>
                    <a:pt x="47" y="104"/>
                  </a:lnTo>
                  <a:lnTo>
                    <a:pt x="51" y="100"/>
                  </a:lnTo>
                  <a:lnTo>
                    <a:pt x="47" y="93"/>
                  </a:lnTo>
                  <a:lnTo>
                    <a:pt x="46" y="88"/>
                  </a:lnTo>
                  <a:lnTo>
                    <a:pt x="45" y="82"/>
                  </a:lnTo>
                  <a:lnTo>
                    <a:pt x="59" y="81"/>
                  </a:lnTo>
                  <a:lnTo>
                    <a:pt x="60" y="70"/>
                  </a:lnTo>
                  <a:lnTo>
                    <a:pt x="70" y="81"/>
                  </a:lnTo>
                  <a:lnTo>
                    <a:pt x="79" y="78"/>
                  </a:lnTo>
                  <a:lnTo>
                    <a:pt x="82" y="82"/>
                  </a:lnTo>
                  <a:lnTo>
                    <a:pt x="87" y="78"/>
                  </a:lnTo>
                  <a:lnTo>
                    <a:pt x="91" y="52"/>
                  </a:lnTo>
                  <a:lnTo>
                    <a:pt x="82" y="37"/>
                  </a:lnTo>
                  <a:lnTo>
                    <a:pt x="89" y="27"/>
                  </a:lnTo>
                  <a:lnTo>
                    <a:pt x="88" y="15"/>
                  </a:lnTo>
                  <a:lnTo>
                    <a:pt x="71" y="16"/>
                  </a:lnTo>
                  <a:lnTo>
                    <a:pt x="72" y="0"/>
                  </a:lnTo>
                  <a:lnTo>
                    <a:pt x="57" y="0"/>
                  </a:lnTo>
                  <a:lnTo>
                    <a:pt x="41" y="0"/>
                  </a:lnTo>
                  <a:lnTo>
                    <a:pt x="41" y="20"/>
                  </a:lnTo>
                  <a:lnTo>
                    <a:pt x="29" y="20"/>
                  </a:lnTo>
                  <a:lnTo>
                    <a:pt x="17" y="20"/>
                  </a:lnTo>
                  <a:lnTo>
                    <a:pt x="16" y="2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8" name="Freeform 215"/>
            <p:cNvSpPr>
              <a:spLocks/>
            </p:cNvSpPr>
            <p:nvPr/>
          </p:nvSpPr>
          <p:spPr bwMode="auto">
            <a:xfrm>
              <a:off x="2647" y="2696"/>
              <a:ext cx="4" cy="9"/>
            </a:xfrm>
            <a:custGeom>
              <a:avLst/>
              <a:gdLst/>
              <a:ahLst/>
              <a:cxnLst>
                <a:cxn ang="0">
                  <a:pos x="5" y="2"/>
                </a:cxn>
                <a:cxn ang="0">
                  <a:pos x="1" y="7"/>
                </a:cxn>
                <a:cxn ang="0">
                  <a:pos x="0" y="3"/>
                </a:cxn>
                <a:cxn ang="0">
                  <a:pos x="3" y="0"/>
                </a:cxn>
                <a:cxn ang="0">
                  <a:pos x="5" y="2"/>
                </a:cxn>
              </a:cxnLst>
              <a:rect l="0" t="0" r="r" b="b"/>
              <a:pathLst>
                <a:path w="5" h="7">
                  <a:moveTo>
                    <a:pt x="5" y="2"/>
                  </a:moveTo>
                  <a:lnTo>
                    <a:pt x="1" y="7"/>
                  </a:lnTo>
                  <a:lnTo>
                    <a:pt x="0" y="3"/>
                  </a:lnTo>
                  <a:lnTo>
                    <a:pt x="3" y="0"/>
                  </a:lnTo>
                  <a:lnTo>
                    <a:pt x="5"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9" name="Freeform 216"/>
            <p:cNvSpPr>
              <a:spLocks/>
            </p:cNvSpPr>
            <p:nvPr/>
          </p:nvSpPr>
          <p:spPr bwMode="auto">
            <a:xfrm>
              <a:off x="2660" y="2672"/>
              <a:ext cx="2" cy="2"/>
            </a:xfrm>
            <a:custGeom>
              <a:avLst/>
              <a:gdLst/>
              <a:ahLst/>
              <a:cxnLst>
                <a:cxn ang="0">
                  <a:pos x="2" y="2"/>
                </a:cxn>
                <a:cxn ang="0">
                  <a:pos x="0" y="0"/>
                </a:cxn>
                <a:cxn ang="0">
                  <a:pos x="3" y="0"/>
                </a:cxn>
                <a:cxn ang="0">
                  <a:pos x="2" y="2"/>
                </a:cxn>
              </a:cxnLst>
              <a:rect l="0" t="0" r="r" b="b"/>
              <a:pathLst>
                <a:path w="3" h="2">
                  <a:moveTo>
                    <a:pt x="2" y="2"/>
                  </a:moveTo>
                  <a:lnTo>
                    <a:pt x="0" y="0"/>
                  </a:lnTo>
                  <a:lnTo>
                    <a:pt x="3" y="0"/>
                  </a:lnTo>
                  <a:lnTo>
                    <a:pt x="2"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0" name="Freeform 217"/>
            <p:cNvSpPr>
              <a:spLocks/>
            </p:cNvSpPr>
            <p:nvPr/>
          </p:nvSpPr>
          <p:spPr bwMode="auto">
            <a:xfrm>
              <a:off x="3049" y="2725"/>
              <a:ext cx="191" cy="214"/>
            </a:xfrm>
            <a:custGeom>
              <a:avLst/>
              <a:gdLst/>
              <a:ahLst/>
              <a:cxnLst>
                <a:cxn ang="0">
                  <a:pos x="131" y="42"/>
                </a:cxn>
                <a:cxn ang="0">
                  <a:pos x="129" y="36"/>
                </a:cxn>
                <a:cxn ang="0">
                  <a:pos x="115" y="26"/>
                </a:cxn>
                <a:cxn ang="0">
                  <a:pos x="101" y="18"/>
                </a:cxn>
                <a:cxn ang="0">
                  <a:pos x="86" y="8"/>
                </a:cxn>
                <a:cxn ang="0">
                  <a:pos x="71" y="0"/>
                </a:cxn>
                <a:cxn ang="0">
                  <a:pos x="57" y="0"/>
                </a:cxn>
                <a:cxn ang="0">
                  <a:pos x="44" y="0"/>
                </a:cxn>
                <a:cxn ang="0">
                  <a:pos x="30" y="1"/>
                </a:cxn>
                <a:cxn ang="0">
                  <a:pos x="17" y="1"/>
                </a:cxn>
                <a:cxn ang="0">
                  <a:pos x="23" y="23"/>
                </a:cxn>
                <a:cxn ang="0">
                  <a:pos x="18" y="25"/>
                </a:cxn>
                <a:cxn ang="0">
                  <a:pos x="18" y="34"/>
                </a:cxn>
                <a:cxn ang="0">
                  <a:pos x="21" y="40"/>
                </a:cxn>
                <a:cxn ang="0">
                  <a:pos x="12" y="50"/>
                </a:cxn>
                <a:cxn ang="0">
                  <a:pos x="3" y="62"/>
                </a:cxn>
                <a:cxn ang="0">
                  <a:pos x="0" y="62"/>
                </a:cxn>
                <a:cxn ang="0">
                  <a:pos x="0" y="76"/>
                </a:cxn>
                <a:cxn ang="0">
                  <a:pos x="1" y="89"/>
                </a:cxn>
                <a:cxn ang="0">
                  <a:pos x="6" y="103"/>
                </a:cxn>
                <a:cxn ang="0">
                  <a:pos x="13" y="116"/>
                </a:cxn>
                <a:cxn ang="0">
                  <a:pos x="20" y="128"/>
                </a:cxn>
                <a:cxn ang="0">
                  <a:pos x="20" y="132"/>
                </a:cxn>
                <a:cxn ang="0">
                  <a:pos x="37" y="142"/>
                </a:cxn>
                <a:cxn ang="0">
                  <a:pos x="54" y="151"/>
                </a:cxn>
                <a:cxn ang="0">
                  <a:pos x="69" y="154"/>
                </a:cxn>
                <a:cxn ang="0">
                  <a:pos x="75" y="157"/>
                </a:cxn>
                <a:cxn ang="0">
                  <a:pos x="80" y="175"/>
                </a:cxn>
                <a:cxn ang="0">
                  <a:pos x="85" y="190"/>
                </a:cxn>
                <a:cxn ang="0">
                  <a:pos x="91" y="190"/>
                </a:cxn>
                <a:cxn ang="0">
                  <a:pos x="101" y="188"/>
                </a:cxn>
                <a:cxn ang="0">
                  <a:pos x="119" y="192"/>
                </a:cxn>
                <a:cxn ang="0">
                  <a:pos x="131" y="187"/>
                </a:cxn>
                <a:cxn ang="0">
                  <a:pos x="139" y="186"/>
                </a:cxn>
                <a:cxn ang="0">
                  <a:pos x="155" y="179"/>
                </a:cxn>
                <a:cxn ang="0">
                  <a:pos x="171" y="170"/>
                </a:cxn>
                <a:cxn ang="0">
                  <a:pos x="161" y="160"/>
                </a:cxn>
                <a:cxn ang="0">
                  <a:pos x="158" y="142"/>
                </a:cxn>
                <a:cxn ang="0">
                  <a:pos x="156" y="128"/>
                </a:cxn>
                <a:cxn ang="0">
                  <a:pos x="155" y="122"/>
                </a:cxn>
                <a:cxn ang="0">
                  <a:pos x="158" y="106"/>
                </a:cxn>
                <a:cxn ang="0">
                  <a:pos x="147" y="90"/>
                </a:cxn>
                <a:cxn ang="0">
                  <a:pos x="155" y="66"/>
                </a:cxn>
                <a:cxn ang="0">
                  <a:pos x="143" y="54"/>
                </a:cxn>
                <a:cxn ang="0">
                  <a:pos x="131" y="42"/>
                </a:cxn>
              </a:cxnLst>
              <a:rect l="0" t="0" r="r" b="b"/>
              <a:pathLst>
                <a:path w="171" h="192">
                  <a:moveTo>
                    <a:pt x="131" y="42"/>
                  </a:moveTo>
                  <a:lnTo>
                    <a:pt x="129" y="36"/>
                  </a:lnTo>
                  <a:lnTo>
                    <a:pt x="115" y="26"/>
                  </a:lnTo>
                  <a:lnTo>
                    <a:pt x="101" y="18"/>
                  </a:lnTo>
                  <a:lnTo>
                    <a:pt x="86" y="8"/>
                  </a:lnTo>
                  <a:lnTo>
                    <a:pt x="71" y="0"/>
                  </a:lnTo>
                  <a:lnTo>
                    <a:pt x="57" y="0"/>
                  </a:lnTo>
                  <a:lnTo>
                    <a:pt x="44" y="0"/>
                  </a:lnTo>
                  <a:lnTo>
                    <a:pt x="30" y="1"/>
                  </a:lnTo>
                  <a:lnTo>
                    <a:pt x="17" y="1"/>
                  </a:lnTo>
                  <a:lnTo>
                    <a:pt x="23" y="23"/>
                  </a:lnTo>
                  <a:lnTo>
                    <a:pt x="18" y="25"/>
                  </a:lnTo>
                  <a:lnTo>
                    <a:pt x="18" y="34"/>
                  </a:lnTo>
                  <a:lnTo>
                    <a:pt x="21" y="40"/>
                  </a:lnTo>
                  <a:lnTo>
                    <a:pt x="12" y="50"/>
                  </a:lnTo>
                  <a:lnTo>
                    <a:pt x="3" y="62"/>
                  </a:lnTo>
                  <a:lnTo>
                    <a:pt x="0" y="62"/>
                  </a:lnTo>
                  <a:lnTo>
                    <a:pt x="0" y="76"/>
                  </a:lnTo>
                  <a:lnTo>
                    <a:pt x="1" y="89"/>
                  </a:lnTo>
                  <a:lnTo>
                    <a:pt x="6" y="103"/>
                  </a:lnTo>
                  <a:lnTo>
                    <a:pt x="13" y="116"/>
                  </a:lnTo>
                  <a:lnTo>
                    <a:pt x="20" y="128"/>
                  </a:lnTo>
                  <a:lnTo>
                    <a:pt x="20" y="132"/>
                  </a:lnTo>
                  <a:lnTo>
                    <a:pt x="37" y="142"/>
                  </a:lnTo>
                  <a:lnTo>
                    <a:pt x="54" y="151"/>
                  </a:lnTo>
                  <a:lnTo>
                    <a:pt x="69" y="154"/>
                  </a:lnTo>
                  <a:lnTo>
                    <a:pt x="75" y="157"/>
                  </a:lnTo>
                  <a:lnTo>
                    <a:pt x="80" y="175"/>
                  </a:lnTo>
                  <a:lnTo>
                    <a:pt x="85" y="190"/>
                  </a:lnTo>
                  <a:lnTo>
                    <a:pt x="91" y="190"/>
                  </a:lnTo>
                  <a:lnTo>
                    <a:pt x="101" y="188"/>
                  </a:lnTo>
                  <a:lnTo>
                    <a:pt x="119" y="192"/>
                  </a:lnTo>
                  <a:lnTo>
                    <a:pt x="131" y="187"/>
                  </a:lnTo>
                  <a:lnTo>
                    <a:pt x="139" y="186"/>
                  </a:lnTo>
                  <a:lnTo>
                    <a:pt x="155" y="179"/>
                  </a:lnTo>
                  <a:lnTo>
                    <a:pt x="171" y="170"/>
                  </a:lnTo>
                  <a:lnTo>
                    <a:pt x="161" y="160"/>
                  </a:lnTo>
                  <a:lnTo>
                    <a:pt x="158" y="142"/>
                  </a:lnTo>
                  <a:lnTo>
                    <a:pt x="156" y="128"/>
                  </a:lnTo>
                  <a:lnTo>
                    <a:pt x="155" y="122"/>
                  </a:lnTo>
                  <a:lnTo>
                    <a:pt x="158" y="106"/>
                  </a:lnTo>
                  <a:lnTo>
                    <a:pt x="147" y="90"/>
                  </a:lnTo>
                  <a:lnTo>
                    <a:pt x="155" y="66"/>
                  </a:lnTo>
                  <a:lnTo>
                    <a:pt x="143" y="54"/>
                  </a:lnTo>
                  <a:lnTo>
                    <a:pt x="131" y="4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1" name="Freeform 218"/>
            <p:cNvSpPr>
              <a:spLocks/>
            </p:cNvSpPr>
            <p:nvPr/>
          </p:nvSpPr>
          <p:spPr bwMode="auto">
            <a:xfrm>
              <a:off x="3220" y="2821"/>
              <a:ext cx="7" cy="13"/>
            </a:xfrm>
            <a:custGeom>
              <a:avLst/>
              <a:gdLst/>
              <a:ahLst/>
              <a:cxnLst>
                <a:cxn ang="0">
                  <a:pos x="6" y="12"/>
                </a:cxn>
                <a:cxn ang="0">
                  <a:pos x="4" y="0"/>
                </a:cxn>
                <a:cxn ang="0">
                  <a:pos x="0" y="4"/>
                </a:cxn>
                <a:cxn ang="0">
                  <a:pos x="6" y="12"/>
                </a:cxn>
              </a:cxnLst>
              <a:rect l="0" t="0" r="r" b="b"/>
              <a:pathLst>
                <a:path w="6" h="12">
                  <a:moveTo>
                    <a:pt x="6" y="12"/>
                  </a:moveTo>
                  <a:lnTo>
                    <a:pt x="4" y="0"/>
                  </a:lnTo>
                  <a:lnTo>
                    <a:pt x="0" y="4"/>
                  </a:lnTo>
                  <a:lnTo>
                    <a:pt x="6"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2" name="Freeform 219"/>
            <p:cNvSpPr>
              <a:spLocks/>
            </p:cNvSpPr>
            <p:nvPr/>
          </p:nvSpPr>
          <p:spPr bwMode="auto">
            <a:xfrm>
              <a:off x="3053" y="2621"/>
              <a:ext cx="96" cy="113"/>
            </a:xfrm>
            <a:custGeom>
              <a:avLst/>
              <a:gdLst/>
              <a:ahLst/>
              <a:cxnLst>
                <a:cxn ang="0">
                  <a:pos x="77" y="15"/>
                </a:cxn>
                <a:cxn ang="0">
                  <a:pos x="70" y="0"/>
                </a:cxn>
                <a:cxn ang="0">
                  <a:pos x="63" y="9"/>
                </a:cxn>
                <a:cxn ang="0">
                  <a:pos x="45" y="9"/>
                </a:cxn>
                <a:cxn ang="0">
                  <a:pos x="37" y="11"/>
                </a:cxn>
                <a:cxn ang="0">
                  <a:pos x="34" y="9"/>
                </a:cxn>
                <a:cxn ang="0">
                  <a:pos x="22" y="10"/>
                </a:cxn>
                <a:cxn ang="0">
                  <a:pos x="21" y="14"/>
                </a:cxn>
                <a:cxn ang="0">
                  <a:pos x="19" y="29"/>
                </a:cxn>
                <a:cxn ang="0">
                  <a:pos x="28" y="38"/>
                </a:cxn>
                <a:cxn ang="0">
                  <a:pos x="17" y="48"/>
                </a:cxn>
                <a:cxn ang="0">
                  <a:pos x="7" y="60"/>
                </a:cxn>
                <a:cxn ang="0">
                  <a:pos x="4" y="81"/>
                </a:cxn>
                <a:cxn ang="0">
                  <a:pos x="0" y="101"/>
                </a:cxn>
                <a:cxn ang="0">
                  <a:pos x="5" y="101"/>
                </a:cxn>
                <a:cxn ang="0">
                  <a:pos x="15" y="95"/>
                </a:cxn>
                <a:cxn ang="0">
                  <a:pos x="28" y="95"/>
                </a:cxn>
                <a:cxn ang="0">
                  <a:pos x="42" y="94"/>
                </a:cxn>
                <a:cxn ang="0">
                  <a:pos x="55" y="94"/>
                </a:cxn>
                <a:cxn ang="0">
                  <a:pos x="69" y="94"/>
                </a:cxn>
                <a:cxn ang="0">
                  <a:pos x="69" y="75"/>
                </a:cxn>
                <a:cxn ang="0">
                  <a:pos x="79" y="57"/>
                </a:cxn>
                <a:cxn ang="0">
                  <a:pos x="87" y="42"/>
                </a:cxn>
                <a:cxn ang="0">
                  <a:pos x="82" y="28"/>
                </a:cxn>
                <a:cxn ang="0">
                  <a:pos x="77" y="15"/>
                </a:cxn>
              </a:cxnLst>
              <a:rect l="0" t="0" r="r" b="b"/>
              <a:pathLst>
                <a:path w="87" h="101">
                  <a:moveTo>
                    <a:pt x="77" y="15"/>
                  </a:moveTo>
                  <a:lnTo>
                    <a:pt x="70" y="0"/>
                  </a:lnTo>
                  <a:lnTo>
                    <a:pt x="63" y="9"/>
                  </a:lnTo>
                  <a:lnTo>
                    <a:pt x="45" y="9"/>
                  </a:lnTo>
                  <a:lnTo>
                    <a:pt x="37" y="11"/>
                  </a:lnTo>
                  <a:lnTo>
                    <a:pt x="34" y="9"/>
                  </a:lnTo>
                  <a:lnTo>
                    <a:pt x="22" y="10"/>
                  </a:lnTo>
                  <a:lnTo>
                    <a:pt x="21" y="14"/>
                  </a:lnTo>
                  <a:lnTo>
                    <a:pt x="19" y="29"/>
                  </a:lnTo>
                  <a:lnTo>
                    <a:pt x="28" y="38"/>
                  </a:lnTo>
                  <a:lnTo>
                    <a:pt x="17" y="48"/>
                  </a:lnTo>
                  <a:lnTo>
                    <a:pt x="7" y="60"/>
                  </a:lnTo>
                  <a:lnTo>
                    <a:pt x="4" y="81"/>
                  </a:lnTo>
                  <a:lnTo>
                    <a:pt x="0" y="101"/>
                  </a:lnTo>
                  <a:lnTo>
                    <a:pt x="5" y="101"/>
                  </a:lnTo>
                  <a:lnTo>
                    <a:pt x="15" y="95"/>
                  </a:lnTo>
                  <a:lnTo>
                    <a:pt x="28" y="95"/>
                  </a:lnTo>
                  <a:lnTo>
                    <a:pt x="42" y="94"/>
                  </a:lnTo>
                  <a:lnTo>
                    <a:pt x="55" y="94"/>
                  </a:lnTo>
                  <a:lnTo>
                    <a:pt x="69" y="94"/>
                  </a:lnTo>
                  <a:lnTo>
                    <a:pt x="69" y="75"/>
                  </a:lnTo>
                  <a:lnTo>
                    <a:pt x="79" y="57"/>
                  </a:lnTo>
                  <a:lnTo>
                    <a:pt x="87" y="42"/>
                  </a:lnTo>
                  <a:lnTo>
                    <a:pt x="82" y="28"/>
                  </a:lnTo>
                  <a:lnTo>
                    <a:pt x="77" y="1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3" name="Freeform 220"/>
            <p:cNvSpPr>
              <a:spLocks/>
            </p:cNvSpPr>
            <p:nvPr/>
          </p:nvSpPr>
          <p:spPr bwMode="auto">
            <a:xfrm>
              <a:off x="2747" y="2601"/>
              <a:ext cx="335" cy="373"/>
            </a:xfrm>
            <a:custGeom>
              <a:avLst/>
              <a:gdLst/>
              <a:ahLst/>
              <a:cxnLst>
                <a:cxn ang="0">
                  <a:pos x="270" y="132"/>
                </a:cxn>
                <a:cxn ang="0">
                  <a:pos x="267" y="143"/>
                </a:cxn>
                <a:cxn ang="0">
                  <a:pos x="268" y="145"/>
                </a:cxn>
                <a:cxn ang="0">
                  <a:pos x="274" y="175"/>
                </a:cxn>
                <a:cxn ang="0">
                  <a:pos x="275" y="202"/>
                </a:cxn>
                <a:cxn ang="0">
                  <a:pos x="287" y="229"/>
                </a:cxn>
                <a:cxn ang="0">
                  <a:pos x="279" y="245"/>
                </a:cxn>
                <a:cxn ang="0">
                  <a:pos x="256" y="262"/>
                </a:cxn>
                <a:cxn ang="0">
                  <a:pos x="258" y="293"/>
                </a:cxn>
                <a:cxn ang="0">
                  <a:pos x="271" y="319"/>
                </a:cxn>
                <a:cxn ang="0">
                  <a:pos x="274" y="336"/>
                </a:cxn>
                <a:cxn ang="0">
                  <a:pos x="263" y="335"/>
                </a:cxn>
                <a:cxn ang="0">
                  <a:pos x="240" y="310"/>
                </a:cxn>
                <a:cxn ang="0">
                  <a:pos x="227" y="310"/>
                </a:cxn>
                <a:cxn ang="0">
                  <a:pos x="204" y="297"/>
                </a:cxn>
                <a:cxn ang="0">
                  <a:pos x="185" y="291"/>
                </a:cxn>
                <a:cxn ang="0">
                  <a:pos x="160" y="295"/>
                </a:cxn>
                <a:cxn ang="0">
                  <a:pos x="154" y="270"/>
                </a:cxn>
                <a:cxn ang="0">
                  <a:pos x="153" y="229"/>
                </a:cxn>
                <a:cxn ang="0">
                  <a:pos x="132" y="222"/>
                </a:cxn>
                <a:cxn ang="0">
                  <a:pos x="113" y="237"/>
                </a:cxn>
                <a:cxn ang="0">
                  <a:pos x="83" y="237"/>
                </a:cxn>
                <a:cxn ang="0">
                  <a:pos x="70" y="203"/>
                </a:cxn>
                <a:cxn ang="0">
                  <a:pos x="43" y="202"/>
                </a:cxn>
                <a:cxn ang="0">
                  <a:pos x="16" y="201"/>
                </a:cxn>
                <a:cxn ang="0">
                  <a:pos x="0" y="199"/>
                </a:cxn>
                <a:cxn ang="0">
                  <a:pos x="7" y="184"/>
                </a:cxn>
                <a:cxn ang="0">
                  <a:pos x="23" y="181"/>
                </a:cxn>
                <a:cxn ang="0">
                  <a:pos x="36" y="174"/>
                </a:cxn>
                <a:cxn ang="0">
                  <a:pos x="51" y="171"/>
                </a:cxn>
                <a:cxn ang="0">
                  <a:pos x="65" y="145"/>
                </a:cxn>
                <a:cxn ang="0">
                  <a:pos x="78" y="117"/>
                </a:cxn>
                <a:cxn ang="0">
                  <a:pos x="91" y="89"/>
                </a:cxn>
                <a:cxn ang="0">
                  <a:pos x="96" y="61"/>
                </a:cxn>
                <a:cxn ang="0">
                  <a:pos x="102" y="33"/>
                </a:cxn>
                <a:cxn ang="0">
                  <a:pos x="114" y="3"/>
                </a:cxn>
                <a:cxn ang="0">
                  <a:pos x="147" y="17"/>
                </a:cxn>
                <a:cxn ang="0">
                  <a:pos x="168" y="10"/>
                </a:cxn>
                <a:cxn ang="0">
                  <a:pos x="191" y="5"/>
                </a:cxn>
                <a:cxn ang="0">
                  <a:pos x="209" y="0"/>
                </a:cxn>
                <a:cxn ang="0">
                  <a:pos x="234" y="3"/>
                </a:cxn>
                <a:cxn ang="0">
                  <a:pos x="246" y="9"/>
                </a:cxn>
                <a:cxn ang="0">
                  <a:pos x="268" y="16"/>
                </a:cxn>
                <a:cxn ang="0">
                  <a:pos x="285" y="22"/>
                </a:cxn>
                <a:cxn ang="0">
                  <a:pos x="295" y="48"/>
                </a:cxn>
                <a:cxn ang="0">
                  <a:pos x="293" y="67"/>
                </a:cxn>
                <a:cxn ang="0">
                  <a:pos x="280" y="100"/>
                </a:cxn>
              </a:cxnLst>
              <a:rect l="0" t="0" r="r" b="b"/>
              <a:pathLst>
                <a:path w="304" h="336">
                  <a:moveTo>
                    <a:pt x="276" y="120"/>
                  </a:moveTo>
                  <a:lnTo>
                    <a:pt x="270" y="132"/>
                  </a:lnTo>
                  <a:lnTo>
                    <a:pt x="265" y="143"/>
                  </a:lnTo>
                  <a:lnTo>
                    <a:pt x="267" y="143"/>
                  </a:lnTo>
                  <a:lnTo>
                    <a:pt x="267" y="144"/>
                  </a:lnTo>
                  <a:lnTo>
                    <a:pt x="268" y="145"/>
                  </a:lnTo>
                  <a:lnTo>
                    <a:pt x="270" y="160"/>
                  </a:lnTo>
                  <a:lnTo>
                    <a:pt x="274" y="175"/>
                  </a:lnTo>
                  <a:lnTo>
                    <a:pt x="274" y="189"/>
                  </a:lnTo>
                  <a:lnTo>
                    <a:pt x="275" y="202"/>
                  </a:lnTo>
                  <a:lnTo>
                    <a:pt x="280" y="216"/>
                  </a:lnTo>
                  <a:lnTo>
                    <a:pt x="287" y="229"/>
                  </a:lnTo>
                  <a:lnTo>
                    <a:pt x="294" y="241"/>
                  </a:lnTo>
                  <a:lnTo>
                    <a:pt x="279" y="245"/>
                  </a:lnTo>
                  <a:lnTo>
                    <a:pt x="264" y="249"/>
                  </a:lnTo>
                  <a:lnTo>
                    <a:pt x="256" y="262"/>
                  </a:lnTo>
                  <a:lnTo>
                    <a:pt x="259" y="277"/>
                  </a:lnTo>
                  <a:lnTo>
                    <a:pt x="258" y="293"/>
                  </a:lnTo>
                  <a:lnTo>
                    <a:pt x="256" y="309"/>
                  </a:lnTo>
                  <a:lnTo>
                    <a:pt x="271" y="319"/>
                  </a:lnTo>
                  <a:lnTo>
                    <a:pt x="276" y="313"/>
                  </a:lnTo>
                  <a:lnTo>
                    <a:pt x="274" y="336"/>
                  </a:lnTo>
                  <a:lnTo>
                    <a:pt x="269" y="335"/>
                  </a:lnTo>
                  <a:lnTo>
                    <a:pt x="263" y="335"/>
                  </a:lnTo>
                  <a:lnTo>
                    <a:pt x="250" y="317"/>
                  </a:lnTo>
                  <a:lnTo>
                    <a:pt x="240" y="310"/>
                  </a:lnTo>
                  <a:lnTo>
                    <a:pt x="233" y="304"/>
                  </a:lnTo>
                  <a:lnTo>
                    <a:pt x="227" y="310"/>
                  </a:lnTo>
                  <a:lnTo>
                    <a:pt x="207" y="303"/>
                  </a:lnTo>
                  <a:lnTo>
                    <a:pt x="204" y="297"/>
                  </a:lnTo>
                  <a:lnTo>
                    <a:pt x="191" y="299"/>
                  </a:lnTo>
                  <a:lnTo>
                    <a:pt x="185" y="291"/>
                  </a:lnTo>
                  <a:lnTo>
                    <a:pt x="173" y="293"/>
                  </a:lnTo>
                  <a:lnTo>
                    <a:pt x="160" y="295"/>
                  </a:lnTo>
                  <a:lnTo>
                    <a:pt x="159" y="288"/>
                  </a:lnTo>
                  <a:lnTo>
                    <a:pt x="154" y="270"/>
                  </a:lnTo>
                  <a:lnTo>
                    <a:pt x="154" y="250"/>
                  </a:lnTo>
                  <a:lnTo>
                    <a:pt x="153" y="229"/>
                  </a:lnTo>
                  <a:lnTo>
                    <a:pt x="132" y="226"/>
                  </a:lnTo>
                  <a:lnTo>
                    <a:pt x="132" y="222"/>
                  </a:lnTo>
                  <a:lnTo>
                    <a:pt x="117" y="221"/>
                  </a:lnTo>
                  <a:lnTo>
                    <a:pt x="113" y="237"/>
                  </a:lnTo>
                  <a:lnTo>
                    <a:pt x="94" y="240"/>
                  </a:lnTo>
                  <a:lnTo>
                    <a:pt x="83" y="237"/>
                  </a:lnTo>
                  <a:lnTo>
                    <a:pt x="76" y="220"/>
                  </a:lnTo>
                  <a:lnTo>
                    <a:pt x="70" y="203"/>
                  </a:lnTo>
                  <a:lnTo>
                    <a:pt x="57" y="202"/>
                  </a:lnTo>
                  <a:lnTo>
                    <a:pt x="43" y="202"/>
                  </a:lnTo>
                  <a:lnTo>
                    <a:pt x="29" y="201"/>
                  </a:lnTo>
                  <a:lnTo>
                    <a:pt x="16" y="201"/>
                  </a:lnTo>
                  <a:lnTo>
                    <a:pt x="3" y="202"/>
                  </a:lnTo>
                  <a:lnTo>
                    <a:pt x="0" y="199"/>
                  </a:lnTo>
                  <a:lnTo>
                    <a:pt x="6" y="198"/>
                  </a:lnTo>
                  <a:lnTo>
                    <a:pt x="7" y="184"/>
                  </a:lnTo>
                  <a:lnTo>
                    <a:pt x="15" y="178"/>
                  </a:lnTo>
                  <a:lnTo>
                    <a:pt x="23" y="181"/>
                  </a:lnTo>
                  <a:lnTo>
                    <a:pt x="27" y="175"/>
                  </a:lnTo>
                  <a:lnTo>
                    <a:pt x="36" y="174"/>
                  </a:lnTo>
                  <a:lnTo>
                    <a:pt x="39" y="183"/>
                  </a:lnTo>
                  <a:lnTo>
                    <a:pt x="51" y="171"/>
                  </a:lnTo>
                  <a:lnTo>
                    <a:pt x="63" y="159"/>
                  </a:lnTo>
                  <a:lnTo>
                    <a:pt x="65" y="145"/>
                  </a:lnTo>
                  <a:lnTo>
                    <a:pt x="66" y="131"/>
                  </a:lnTo>
                  <a:lnTo>
                    <a:pt x="78" y="117"/>
                  </a:lnTo>
                  <a:lnTo>
                    <a:pt x="89" y="102"/>
                  </a:lnTo>
                  <a:lnTo>
                    <a:pt x="91" y="89"/>
                  </a:lnTo>
                  <a:lnTo>
                    <a:pt x="94" y="75"/>
                  </a:lnTo>
                  <a:lnTo>
                    <a:pt x="96" y="61"/>
                  </a:lnTo>
                  <a:lnTo>
                    <a:pt x="99" y="48"/>
                  </a:lnTo>
                  <a:lnTo>
                    <a:pt x="102" y="33"/>
                  </a:lnTo>
                  <a:lnTo>
                    <a:pt x="102" y="19"/>
                  </a:lnTo>
                  <a:lnTo>
                    <a:pt x="114" y="3"/>
                  </a:lnTo>
                  <a:lnTo>
                    <a:pt x="131" y="12"/>
                  </a:lnTo>
                  <a:lnTo>
                    <a:pt x="147" y="17"/>
                  </a:lnTo>
                  <a:lnTo>
                    <a:pt x="161" y="21"/>
                  </a:lnTo>
                  <a:lnTo>
                    <a:pt x="168" y="10"/>
                  </a:lnTo>
                  <a:lnTo>
                    <a:pt x="175" y="11"/>
                  </a:lnTo>
                  <a:lnTo>
                    <a:pt x="191" y="5"/>
                  </a:lnTo>
                  <a:lnTo>
                    <a:pt x="203" y="5"/>
                  </a:lnTo>
                  <a:lnTo>
                    <a:pt x="209" y="0"/>
                  </a:lnTo>
                  <a:lnTo>
                    <a:pt x="221" y="1"/>
                  </a:lnTo>
                  <a:lnTo>
                    <a:pt x="234" y="3"/>
                  </a:lnTo>
                  <a:lnTo>
                    <a:pt x="243" y="5"/>
                  </a:lnTo>
                  <a:lnTo>
                    <a:pt x="246" y="9"/>
                  </a:lnTo>
                  <a:lnTo>
                    <a:pt x="258" y="17"/>
                  </a:lnTo>
                  <a:lnTo>
                    <a:pt x="268" y="16"/>
                  </a:lnTo>
                  <a:lnTo>
                    <a:pt x="274" y="11"/>
                  </a:lnTo>
                  <a:lnTo>
                    <a:pt x="285" y="22"/>
                  </a:lnTo>
                  <a:lnTo>
                    <a:pt x="297" y="33"/>
                  </a:lnTo>
                  <a:lnTo>
                    <a:pt x="295" y="48"/>
                  </a:lnTo>
                  <a:lnTo>
                    <a:pt x="304" y="57"/>
                  </a:lnTo>
                  <a:lnTo>
                    <a:pt x="293" y="67"/>
                  </a:lnTo>
                  <a:lnTo>
                    <a:pt x="283" y="79"/>
                  </a:lnTo>
                  <a:lnTo>
                    <a:pt x="280" y="100"/>
                  </a:lnTo>
                  <a:lnTo>
                    <a:pt x="276" y="12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4" name="Freeform 221"/>
            <p:cNvSpPr>
              <a:spLocks/>
            </p:cNvSpPr>
            <p:nvPr/>
          </p:nvSpPr>
          <p:spPr bwMode="auto">
            <a:xfrm>
              <a:off x="2916" y="2867"/>
              <a:ext cx="206" cy="200"/>
            </a:xfrm>
            <a:custGeom>
              <a:avLst/>
              <a:gdLst/>
              <a:ahLst/>
              <a:cxnLst>
                <a:cxn ang="0">
                  <a:pos x="32" y="87"/>
                </a:cxn>
                <a:cxn ang="0">
                  <a:pos x="16" y="87"/>
                </a:cxn>
                <a:cxn ang="0">
                  <a:pos x="1" y="88"/>
                </a:cxn>
                <a:cxn ang="0">
                  <a:pos x="0" y="101"/>
                </a:cxn>
                <a:cxn ang="0">
                  <a:pos x="0" y="116"/>
                </a:cxn>
                <a:cxn ang="0">
                  <a:pos x="0" y="130"/>
                </a:cxn>
                <a:cxn ang="0">
                  <a:pos x="0" y="144"/>
                </a:cxn>
                <a:cxn ang="0">
                  <a:pos x="10" y="158"/>
                </a:cxn>
                <a:cxn ang="0">
                  <a:pos x="21" y="171"/>
                </a:cxn>
                <a:cxn ang="0">
                  <a:pos x="32" y="168"/>
                </a:cxn>
                <a:cxn ang="0">
                  <a:pos x="49" y="173"/>
                </a:cxn>
                <a:cxn ang="0">
                  <a:pos x="72" y="179"/>
                </a:cxn>
                <a:cxn ang="0">
                  <a:pos x="86" y="165"/>
                </a:cxn>
                <a:cxn ang="0">
                  <a:pos x="103" y="152"/>
                </a:cxn>
                <a:cxn ang="0">
                  <a:pos x="108" y="141"/>
                </a:cxn>
                <a:cxn ang="0">
                  <a:pos x="120" y="137"/>
                </a:cxn>
                <a:cxn ang="0">
                  <a:pos x="132" y="135"/>
                </a:cxn>
                <a:cxn ang="0">
                  <a:pos x="129" y="125"/>
                </a:cxn>
                <a:cxn ang="0">
                  <a:pos x="141" y="120"/>
                </a:cxn>
                <a:cxn ang="0">
                  <a:pos x="152" y="116"/>
                </a:cxn>
                <a:cxn ang="0">
                  <a:pos x="164" y="111"/>
                </a:cxn>
                <a:cxn ang="0">
                  <a:pos x="176" y="106"/>
                </a:cxn>
                <a:cxn ang="0">
                  <a:pos x="169" y="98"/>
                </a:cxn>
                <a:cxn ang="0">
                  <a:pos x="177" y="81"/>
                </a:cxn>
                <a:cxn ang="0">
                  <a:pos x="180" y="76"/>
                </a:cxn>
                <a:cxn ang="0">
                  <a:pos x="181" y="62"/>
                </a:cxn>
                <a:cxn ang="0">
                  <a:pos x="182" y="48"/>
                </a:cxn>
                <a:cxn ang="0">
                  <a:pos x="186" y="41"/>
                </a:cxn>
                <a:cxn ang="0">
                  <a:pos x="176" y="27"/>
                </a:cxn>
                <a:cxn ang="0">
                  <a:pos x="175" y="23"/>
                </a:cxn>
                <a:cxn ang="0">
                  <a:pos x="158" y="14"/>
                </a:cxn>
                <a:cxn ang="0">
                  <a:pos x="141" y="4"/>
                </a:cxn>
                <a:cxn ang="0">
                  <a:pos x="141" y="0"/>
                </a:cxn>
                <a:cxn ang="0">
                  <a:pos x="126" y="4"/>
                </a:cxn>
                <a:cxn ang="0">
                  <a:pos x="111" y="8"/>
                </a:cxn>
                <a:cxn ang="0">
                  <a:pos x="103" y="21"/>
                </a:cxn>
                <a:cxn ang="0">
                  <a:pos x="106" y="36"/>
                </a:cxn>
                <a:cxn ang="0">
                  <a:pos x="105" y="52"/>
                </a:cxn>
                <a:cxn ang="0">
                  <a:pos x="103" y="68"/>
                </a:cxn>
                <a:cxn ang="0">
                  <a:pos x="118" y="78"/>
                </a:cxn>
                <a:cxn ang="0">
                  <a:pos x="123" y="72"/>
                </a:cxn>
                <a:cxn ang="0">
                  <a:pos x="121" y="95"/>
                </a:cxn>
                <a:cxn ang="0">
                  <a:pos x="116" y="94"/>
                </a:cxn>
                <a:cxn ang="0">
                  <a:pos x="110" y="94"/>
                </a:cxn>
                <a:cxn ang="0">
                  <a:pos x="97" y="76"/>
                </a:cxn>
                <a:cxn ang="0">
                  <a:pos x="87" y="69"/>
                </a:cxn>
                <a:cxn ang="0">
                  <a:pos x="80" y="63"/>
                </a:cxn>
                <a:cxn ang="0">
                  <a:pos x="74" y="69"/>
                </a:cxn>
                <a:cxn ang="0">
                  <a:pos x="54" y="62"/>
                </a:cxn>
                <a:cxn ang="0">
                  <a:pos x="51" y="56"/>
                </a:cxn>
                <a:cxn ang="0">
                  <a:pos x="38" y="58"/>
                </a:cxn>
                <a:cxn ang="0">
                  <a:pos x="32" y="50"/>
                </a:cxn>
                <a:cxn ang="0">
                  <a:pos x="32" y="68"/>
                </a:cxn>
                <a:cxn ang="0">
                  <a:pos x="32" y="87"/>
                </a:cxn>
              </a:cxnLst>
              <a:rect l="0" t="0" r="r" b="b"/>
              <a:pathLst>
                <a:path w="186" h="179">
                  <a:moveTo>
                    <a:pt x="32" y="87"/>
                  </a:moveTo>
                  <a:lnTo>
                    <a:pt x="16" y="87"/>
                  </a:lnTo>
                  <a:lnTo>
                    <a:pt x="1" y="88"/>
                  </a:lnTo>
                  <a:lnTo>
                    <a:pt x="0" y="101"/>
                  </a:lnTo>
                  <a:lnTo>
                    <a:pt x="0" y="116"/>
                  </a:lnTo>
                  <a:lnTo>
                    <a:pt x="0" y="130"/>
                  </a:lnTo>
                  <a:lnTo>
                    <a:pt x="0" y="144"/>
                  </a:lnTo>
                  <a:lnTo>
                    <a:pt x="10" y="158"/>
                  </a:lnTo>
                  <a:lnTo>
                    <a:pt x="21" y="171"/>
                  </a:lnTo>
                  <a:lnTo>
                    <a:pt x="32" y="168"/>
                  </a:lnTo>
                  <a:lnTo>
                    <a:pt x="49" y="173"/>
                  </a:lnTo>
                  <a:lnTo>
                    <a:pt x="72" y="179"/>
                  </a:lnTo>
                  <a:lnTo>
                    <a:pt x="86" y="165"/>
                  </a:lnTo>
                  <a:lnTo>
                    <a:pt x="103" y="152"/>
                  </a:lnTo>
                  <a:lnTo>
                    <a:pt x="108" y="141"/>
                  </a:lnTo>
                  <a:lnTo>
                    <a:pt x="120" y="137"/>
                  </a:lnTo>
                  <a:lnTo>
                    <a:pt x="132" y="135"/>
                  </a:lnTo>
                  <a:lnTo>
                    <a:pt x="129" y="125"/>
                  </a:lnTo>
                  <a:lnTo>
                    <a:pt x="141" y="120"/>
                  </a:lnTo>
                  <a:lnTo>
                    <a:pt x="152" y="116"/>
                  </a:lnTo>
                  <a:lnTo>
                    <a:pt x="164" y="111"/>
                  </a:lnTo>
                  <a:lnTo>
                    <a:pt x="176" y="106"/>
                  </a:lnTo>
                  <a:lnTo>
                    <a:pt x="169" y="98"/>
                  </a:lnTo>
                  <a:lnTo>
                    <a:pt x="177" y="81"/>
                  </a:lnTo>
                  <a:lnTo>
                    <a:pt x="180" y="76"/>
                  </a:lnTo>
                  <a:lnTo>
                    <a:pt x="181" y="62"/>
                  </a:lnTo>
                  <a:lnTo>
                    <a:pt x="182" y="48"/>
                  </a:lnTo>
                  <a:lnTo>
                    <a:pt x="186" y="41"/>
                  </a:lnTo>
                  <a:lnTo>
                    <a:pt x="176" y="27"/>
                  </a:lnTo>
                  <a:lnTo>
                    <a:pt x="175" y="23"/>
                  </a:lnTo>
                  <a:lnTo>
                    <a:pt x="158" y="14"/>
                  </a:lnTo>
                  <a:lnTo>
                    <a:pt x="141" y="4"/>
                  </a:lnTo>
                  <a:lnTo>
                    <a:pt x="141" y="0"/>
                  </a:lnTo>
                  <a:lnTo>
                    <a:pt x="126" y="4"/>
                  </a:lnTo>
                  <a:lnTo>
                    <a:pt x="111" y="8"/>
                  </a:lnTo>
                  <a:lnTo>
                    <a:pt x="103" y="21"/>
                  </a:lnTo>
                  <a:lnTo>
                    <a:pt x="106" y="36"/>
                  </a:lnTo>
                  <a:lnTo>
                    <a:pt x="105" y="52"/>
                  </a:lnTo>
                  <a:lnTo>
                    <a:pt x="103" y="68"/>
                  </a:lnTo>
                  <a:lnTo>
                    <a:pt x="118" y="78"/>
                  </a:lnTo>
                  <a:lnTo>
                    <a:pt x="123" y="72"/>
                  </a:lnTo>
                  <a:lnTo>
                    <a:pt x="121" y="95"/>
                  </a:lnTo>
                  <a:lnTo>
                    <a:pt x="116" y="94"/>
                  </a:lnTo>
                  <a:lnTo>
                    <a:pt x="110" y="94"/>
                  </a:lnTo>
                  <a:lnTo>
                    <a:pt x="97" y="76"/>
                  </a:lnTo>
                  <a:lnTo>
                    <a:pt x="87" y="69"/>
                  </a:lnTo>
                  <a:lnTo>
                    <a:pt x="80" y="63"/>
                  </a:lnTo>
                  <a:lnTo>
                    <a:pt x="74" y="69"/>
                  </a:lnTo>
                  <a:lnTo>
                    <a:pt x="54" y="62"/>
                  </a:lnTo>
                  <a:lnTo>
                    <a:pt x="51" y="56"/>
                  </a:lnTo>
                  <a:lnTo>
                    <a:pt x="38" y="58"/>
                  </a:lnTo>
                  <a:lnTo>
                    <a:pt x="32" y="50"/>
                  </a:lnTo>
                  <a:lnTo>
                    <a:pt x="32" y="68"/>
                  </a:lnTo>
                  <a:lnTo>
                    <a:pt x="32" y="8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5" name="Freeform 222"/>
            <p:cNvSpPr>
              <a:spLocks/>
            </p:cNvSpPr>
            <p:nvPr/>
          </p:nvSpPr>
          <p:spPr bwMode="auto">
            <a:xfrm>
              <a:off x="2969" y="3016"/>
              <a:ext cx="135" cy="138"/>
            </a:xfrm>
            <a:custGeom>
              <a:avLst/>
              <a:gdLst/>
              <a:ahLst/>
              <a:cxnLst>
                <a:cxn ang="0">
                  <a:pos x="60" y="116"/>
                </a:cxn>
                <a:cxn ang="0">
                  <a:pos x="56" y="113"/>
                </a:cxn>
                <a:cxn ang="0">
                  <a:pos x="42" y="107"/>
                </a:cxn>
                <a:cxn ang="0">
                  <a:pos x="37" y="92"/>
                </a:cxn>
                <a:cxn ang="0">
                  <a:pos x="33" y="86"/>
                </a:cxn>
                <a:cxn ang="0">
                  <a:pos x="30" y="83"/>
                </a:cxn>
                <a:cxn ang="0">
                  <a:pos x="19" y="74"/>
                </a:cxn>
                <a:cxn ang="0">
                  <a:pos x="9" y="56"/>
                </a:cxn>
                <a:cxn ang="0">
                  <a:pos x="0" y="38"/>
                </a:cxn>
                <a:cxn ang="0">
                  <a:pos x="23" y="44"/>
                </a:cxn>
                <a:cxn ang="0">
                  <a:pos x="37" y="30"/>
                </a:cxn>
                <a:cxn ang="0">
                  <a:pos x="54" y="17"/>
                </a:cxn>
                <a:cxn ang="0">
                  <a:pos x="59" y="6"/>
                </a:cxn>
                <a:cxn ang="0">
                  <a:pos x="71" y="2"/>
                </a:cxn>
                <a:cxn ang="0">
                  <a:pos x="83" y="0"/>
                </a:cxn>
                <a:cxn ang="0">
                  <a:pos x="83" y="7"/>
                </a:cxn>
                <a:cxn ang="0">
                  <a:pos x="90" y="6"/>
                </a:cxn>
                <a:cxn ang="0">
                  <a:pos x="105" y="13"/>
                </a:cxn>
                <a:cxn ang="0">
                  <a:pos x="121" y="19"/>
                </a:cxn>
                <a:cxn ang="0">
                  <a:pos x="121" y="41"/>
                </a:cxn>
                <a:cxn ang="0">
                  <a:pos x="117" y="56"/>
                </a:cxn>
                <a:cxn ang="0">
                  <a:pos x="120" y="73"/>
                </a:cxn>
                <a:cxn ang="0">
                  <a:pos x="114" y="89"/>
                </a:cxn>
                <a:cxn ang="0">
                  <a:pos x="110" y="103"/>
                </a:cxn>
                <a:cxn ang="0">
                  <a:pos x="101" y="113"/>
                </a:cxn>
                <a:cxn ang="0">
                  <a:pos x="91" y="122"/>
                </a:cxn>
                <a:cxn ang="0">
                  <a:pos x="75" y="120"/>
                </a:cxn>
                <a:cxn ang="0">
                  <a:pos x="61" y="117"/>
                </a:cxn>
                <a:cxn ang="0">
                  <a:pos x="60" y="116"/>
                </a:cxn>
              </a:cxnLst>
              <a:rect l="0" t="0" r="r" b="b"/>
              <a:pathLst>
                <a:path w="121" h="122">
                  <a:moveTo>
                    <a:pt x="60" y="116"/>
                  </a:moveTo>
                  <a:lnTo>
                    <a:pt x="56" y="113"/>
                  </a:lnTo>
                  <a:lnTo>
                    <a:pt x="42" y="107"/>
                  </a:lnTo>
                  <a:lnTo>
                    <a:pt x="37" y="92"/>
                  </a:lnTo>
                  <a:lnTo>
                    <a:pt x="33" y="86"/>
                  </a:lnTo>
                  <a:lnTo>
                    <a:pt x="30" y="83"/>
                  </a:lnTo>
                  <a:lnTo>
                    <a:pt x="19" y="74"/>
                  </a:lnTo>
                  <a:lnTo>
                    <a:pt x="9" y="56"/>
                  </a:lnTo>
                  <a:lnTo>
                    <a:pt x="0" y="38"/>
                  </a:lnTo>
                  <a:lnTo>
                    <a:pt x="23" y="44"/>
                  </a:lnTo>
                  <a:lnTo>
                    <a:pt x="37" y="30"/>
                  </a:lnTo>
                  <a:lnTo>
                    <a:pt x="54" y="17"/>
                  </a:lnTo>
                  <a:lnTo>
                    <a:pt x="59" y="6"/>
                  </a:lnTo>
                  <a:lnTo>
                    <a:pt x="71" y="2"/>
                  </a:lnTo>
                  <a:lnTo>
                    <a:pt x="83" y="0"/>
                  </a:lnTo>
                  <a:lnTo>
                    <a:pt x="83" y="7"/>
                  </a:lnTo>
                  <a:lnTo>
                    <a:pt x="90" y="6"/>
                  </a:lnTo>
                  <a:lnTo>
                    <a:pt x="105" y="13"/>
                  </a:lnTo>
                  <a:lnTo>
                    <a:pt x="121" y="19"/>
                  </a:lnTo>
                  <a:lnTo>
                    <a:pt x="121" y="41"/>
                  </a:lnTo>
                  <a:lnTo>
                    <a:pt x="117" y="56"/>
                  </a:lnTo>
                  <a:lnTo>
                    <a:pt x="120" y="73"/>
                  </a:lnTo>
                  <a:lnTo>
                    <a:pt x="114" y="89"/>
                  </a:lnTo>
                  <a:lnTo>
                    <a:pt x="110" y="103"/>
                  </a:lnTo>
                  <a:lnTo>
                    <a:pt x="101" y="113"/>
                  </a:lnTo>
                  <a:lnTo>
                    <a:pt x="91" y="122"/>
                  </a:lnTo>
                  <a:lnTo>
                    <a:pt x="75" y="120"/>
                  </a:lnTo>
                  <a:lnTo>
                    <a:pt x="61" y="117"/>
                  </a:lnTo>
                  <a:lnTo>
                    <a:pt x="60" y="1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6" name="Freeform 223"/>
            <p:cNvSpPr>
              <a:spLocks/>
            </p:cNvSpPr>
            <p:nvPr/>
          </p:nvSpPr>
          <p:spPr bwMode="auto">
            <a:xfrm>
              <a:off x="920" y="2705"/>
              <a:ext cx="9" cy="18"/>
            </a:xfrm>
            <a:custGeom>
              <a:avLst/>
              <a:gdLst/>
              <a:ahLst/>
              <a:cxnLst>
                <a:cxn ang="0">
                  <a:pos x="0" y="0"/>
                </a:cxn>
                <a:cxn ang="0">
                  <a:pos x="5" y="10"/>
                </a:cxn>
                <a:cxn ang="0">
                  <a:pos x="0" y="16"/>
                </a:cxn>
                <a:cxn ang="0">
                  <a:pos x="10" y="17"/>
                </a:cxn>
                <a:cxn ang="0">
                  <a:pos x="4" y="0"/>
                </a:cxn>
                <a:cxn ang="0">
                  <a:pos x="0" y="0"/>
                </a:cxn>
              </a:cxnLst>
              <a:rect l="0" t="0" r="r" b="b"/>
              <a:pathLst>
                <a:path w="10" h="17">
                  <a:moveTo>
                    <a:pt x="0" y="0"/>
                  </a:moveTo>
                  <a:lnTo>
                    <a:pt x="5" y="10"/>
                  </a:lnTo>
                  <a:lnTo>
                    <a:pt x="0" y="16"/>
                  </a:lnTo>
                  <a:lnTo>
                    <a:pt x="10" y="17"/>
                  </a:lnTo>
                  <a:lnTo>
                    <a:pt x="4" y="0"/>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7" name="Freeform 224"/>
            <p:cNvSpPr>
              <a:spLocks/>
            </p:cNvSpPr>
            <p:nvPr/>
          </p:nvSpPr>
          <p:spPr bwMode="auto">
            <a:xfrm>
              <a:off x="936" y="2716"/>
              <a:ext cx="7" cy="3"/>
            </a:xfrm>
            <a:custGeom>
              <a:avLst/>
              <a:gdLst/>
              <a:ahLst/>
              <a:cxnLst>
                <a:cxn ang="0">
                  <a:pos x="6" y="1"/>
                </a:cxn>
                <a:cxn ang="0">
                  <a:pos x="4" y="1"/>
                </a:cxn>
                <a:cxn ang="0">
                  <a:pos x="0" y="0"/>
                </a:cxn>
                <a:cxn ang="0">
                  <a:pos x="6" y="1"/>
                </a:cxn>
              </a:cxnLst>
              <a:rect l="0" t="0" r="r" b="b"/>
              <a:pathLst>
                <a:path w="6" h="1">
                  <a:moveTo>
                    <a:pt x="6" y="1"/>
                  </a:moveTo>
                  <a:lnTo>
                    <a:pt x="4" y="1"/>
                  </a:lnTo>
                  <a:lnTo>
                    <a:pt x="0" y="0"/>
                  </a:lnTo>
                  <a:lnTo>
                    <a:pt x="6"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8" name="Freeform 225"/>
            <p:cNvSpPr>
              <a:spLocks/>
            </p:cNvSpPr>
            <p:nvPr/>
          </p:nvSpPr>
          <p:spPr bwMode="auto">
            <a:xfrm>
              <a:off x="1134" y="2516"/>
              <a:ext cx="40" cy="45"/>
            </a:xfrm>
            <a:custGeom>
              <a:avLst/>
              <a:gdLst/>
              <a:ahLst/>
              <a:cxnLst>
                <a:cxn ang="0">
                  <a:pos x="21" y="22"/>
                </a:cxn>
                <a:cxn ang="0">
                  <a:pos x="27" y="22"/>
                </a:cxn>
                <a:cxn ang="0">
                  <a:pos x="25" y="19"/>
                </a:cxn>
                <a:cxn ang="0">
                  <a:pos x="21" y="18"/>
                </a:cxn>
                <a:cxn ang="0">
                  <a:pos x="16" y="13"/>
                </a:cxn>
                <a:cxn ang="0">
                  <a:pos x="5" y="8"/>
                </a:cxn>
                <a:cxn ang="0">
                  <a:pos x="0" y="4"/>
                </a:cxn>
                <a:cxn ang="0">
                  <a:pos x="0" y="0"/>
                </a:cxn>
                <a:cxn ang="0">
                  <a:pos x="15" y="1"/>
                </a:cxn>
                <a:cxn ang="0">
                  <a:pos x="25" y="8"/>
                </a:cxn>
                <a:cxn ang="0">
                  <a:pos x="36" y="14"/>
                </a:cxn>
                <a:cxn ang="0">
                  <a:pos x="36" y="28"/>
                </a:cxn>
                <a:cxn ang="0">
                  <a:pos x="30" y="33"/>
                </a:cxn>
                <a:cxn ang="0">
                  <a:pos x="27" y="40"/>
                </a:cxn>
                <a:cxn ang="0">
                  <a:pos x="23" y="34"/>
                </a:cxn>
                <a:cxn ang="0">
                  <a:pos x="21" y="22"/>
                </a:cxn>
              </a:cxnLst>
              <a:rect l="0" t="0" r="r" b="b"/>
              <a:pathLst>
                <a:path w="36" h="40">
                  <a:moveTo>
                    <a:pt x="21" y="22"/>
                  </a:moveTo>
                  <a:lnTo>
                    <a:pt x="27" y="22"/>
                  </a:lnTo>
                  <a:lnTo>
                    <a:pt x="25" y="19"/>
                  </a:lnTo>
                  <a:lnTo>
                    <a:pt x="21" y="18"/>
                  </a:lnTo>
                  <a:lnTo>
                    <a:pt x="16" y="13"/>
                  </a:lnTo>
                  <a:lnTo>
                    <a:pt x="5" y="8"/>
                  </a:lnTo>
                  <a:lnTo>
                    <a:pt x="0" y="4"/>
                  </a:lnTo>
                  <a:lnTo>
                    <a:pt x="0" y="0"/>
                  </a:lnTo>
                  <a:lnTo>
                    <a:pt x="15" y="1"/>
                  </a:lnTo>
                  <a:lnTo>
                    <a:pt x="25" y="8"/>
                  </a:lnTo>
                  <a:lnTo>
                    <a:pt x="36" y="14"/>
                  </a:lnTo>
                  <a:lnTo>
                    <a:pt x="36" y="28"/>
                  </a:lnTo>
                  <a:lnTo>
                    <a:pt x="30" y="33"/>
                  </a:lnTo>
                  <a:lnTo>
                    <a:pt x="27" y="40"/>
                  </a:lnTo>
                  <a:lnTo>
                    <a:pt x="23" y="34"/>
                  </a:lnTo>
                  <a:lnTo>
                    <a:pt x="21" y="2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9" name="Freeform 226"/>
            <p:cNvSpPr>
              <a:spLocks/>
            </p:cNvSpPr>
            <p:nvPr/>
          </p:nvSpPr>
          <p:spPr bwMode="auto">
            <a:xfrm>
              <a:off x="1569" y="2590"/>
              <a:ext cx="53" cy="73"/>
            </a:xfrm>
            <a:custGeom>
              <a:avLst/>
              <a:gdLst/>
              <a:ahLst/>
              <a:cxnLst>
                <a:cxn ang="0">
                  <a:pos x="36" y="18"/>
                </a:cxn>
                <a:cxn ang="0">
                  <a:pos x="21" y="3"/>
                </a:cxn>
                <a:cxn ang="0">
                  <a:pos x="11" y="0"/>
                </a:cxn>
                <a:cxn ang="0">
                  <a:pos x="7" y="7"/>
                </a:cxn>
                <a:cxn ang="0">
                  <a:pos x="2" y="21"/>
                </a:cxn>
                <a:cxn ang="0">
                  <a:pos x="8" y="44"/>
                </a:cxn>
                <a:cxn ang="0">
                  <a:pos x="0" y="61"/>
                </a:cxn>
                <a:cxn ang="0">
                  <a:pos x="9" y="63"/>
                </a:cxn>
                <a:cxn ang="0">
                  <a:pos x="25" y="65"/>
                </a:cxn>
                <a:cxn ang="0">
                  <a:pos x="36" y="48"/>
                </a:cxn>
                <a:cxn ang="0">
                  <a:pos x="47" y="31"/>
                </a:cxn>
                <a:cxn ang="0">
                  <a:pos x="42" y="20"/>
                </a:cxn>
                <a:cxn ang="0">
                  <a:pos x="42" y="24"/>
                </a:cxn>
                <a:cxn ang="0">
                  <a:pos x="36" y="18"/>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0" name="Freeform 227"/>
            <p:cNvSpPr>
              <a:spLocks/>
            </p:cNvSpPr>
            <p:nvPr/>
          </p:nvSpPr>
          <p:spPr bwMode="auto">
            <a:xfrm>
              <a:off x="1140" y="2459"/>
              <a:ext cx="214" cy="331"/>
            </a:xfrm>
            <a:custGeom>
              <a:avLst/>
              <a:gdLst/>
              <a:ahLst/>
              <a:cxnLst>
                <a:cxn ang="0">
                  <a:pos x="76" y="28"/>
                </a:cxn>
                <a:cxn ang="0">
                  <a:pos x="69" y="25"/>
                </a:cxn>
                <a:cxn ang="0">
                  <a:pos x="56" y="53"/>
                </a:cxn>
                <a:cxn ang="0">
                  <a:pos x="35" y="79"/>
                </a:cxn>
                <a:cxn ang="0">
                  <a:pos x="29" y="66"/>
                </a:cxn>
                <a:cxn ang="0">
                  <a:pos x="23" y="85"/>
                </a:cxn>
                <a:cxn ang="0">
                  <a:pos x="24" y="100"/>
                </a:cxn>
                <a:cxn ang="0">
                  <a:pos x="24" y="124"/>
                </a:cxn>
                <a:cxn ang="0">
                  <a:pos x="27" y="150"/>
                </a:cxn>
                <a:cxn ang="0">
                  <a:pos x="18" y="173"/>
                </a:cxn>
                <a:cxn ang="0">
                  <a:pos x="5" y="187"/>
                </a:cxn>
                <a:cxn ang="0">
                  <a:pos x="2" y="197"/>
                </a:cxn>
                <a:cxn ang="0">
                  <a:pos x="24" y="215"/>
                </a:cxn>
                <a:cxn ang="0">
                  <a:pos x="58" y="224"/>
                </a:cxn>
                <a:cxn ang="0">
                  <a:pos x="68" y="232"/>
                </a:cxn>
                <a:cxn ang="0">
                  <a:pos x="89" y="254"/>
                </a:cxn>
                <a:cxn ang="0">
                  <a:pos x="112" y="263"/>
                </a:cxn>
                <a:cxn ang="0">
                  <a:pos x="140" y="269"/>
                </a:cxn>
                <a:cxn ang="0">
                  <a:pos x="143" y="298"/>
                </a:cxn>
                <a:cxn ang="0">
                  <a:pos x="150" y="247"/>
                </a:cxn>
                <a:cxn ang="0">
                  <a:pos x="141" y="211"/>
                </a:cxn>
                <a:cxn ang="0">
                  <a:pos x="155" y="206"/>
                </a:cxn>
                <a:cxn ang="0">
                  <a:pos x="144" y="191"/>
                </a:cxn>
                <a:cxn ang="0">
                  <a:pos x="171" y="191"/>
                </a:cxn>
                <a:cxn ang="0">
                  <a:pos x="173" y="191"/>
                </a:cxn>
                <a:cxn ang="0">
                  <a:pos x="188" y="199"/>
                </a:cxn>
                <a:cxn ang="0">
                  <a:pos x="188" y="186"/>
                </a:cxn>
                <a:cxn ang="0">
                  <a:pos x="184" y="163"/>
                </a:cxn>
                <a:cxn ang="0">
                  <a:pos x="180" y="126"/>
                </a:cxn>
                <a:cxn ang="0">
                  <a:pos x="171" y="112"/>
                </a:cxn>
                <a:cxn ang="0">
                  <a:pos x="143" y="96"/>
                </a:cxn>
                <a:cxn ang="0">
                  <a:pos x="118" y="95"/>
                </a:cxn>
                <a:cxn ang="0">
                  <a:pos x="107" y="78"/>
                </a:cxn>
                <a:cxn ang="0">
                  <a:pos x="93" y="58"/>
                </a:cxn>
                <a:cxn ang="0">
                  <a:pos x="108" y="28"/>
                </a:cxn>
                <a:cxn ang="0">
                  <a:pos x="128" y="10"/>
                </a:cxn>
                <a:cxn ang="0">
                  <a:pos x="119" y="1"/>
                </a:cxn>
                <a:cxn ang="0">
                  <a:pos x="90" y="19"/>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1" name="Freeform 228"/>
            <p:cNvSpPr>
              <a:spLocks/>
            </p:cNvSpPr>
            <p:nvPr/>
          </p:nvSpPr>
          <p:spPr bwMode="auto">
            <a:xfrm>
              <a:off x="1454" y="2534"/>
              <a:ext cx="82" cy="145"/>
            </a:xfrm>
            <a:custGeom>
              <a:avLst/>
              <a:gdLst/>
              <a:ahLst/>
              <a:cxnLst>
                <a:cxn ang="0">
                  <a:pos x="60" y="94"/>
                </a:cxn>
                <a:cxn ang="0">
                  <a:pos x="53" y="84"/>
                </a:cxn>
                <a:cxn ang="0">
                  <a:pos x="54" y="69"/>
                </a:cxn>
                <a:cxn ang="0">
                  <a:pos x="61" y="64"/>
                </a:cxn>
                <a:cxn ang="0">
                  <a:pos x="64" y="56"/>
                </a:cxn>
                <a:cxn ang="0">
                  <a:pos x="64" y="41"/>
                </a:cxn>
                <a:cxn ang="0">
                  <a:pos x="47" y="30"/>
                </a:cxn>
                <a:cxn ang="0">
                  <a:pos x="43" y="38"/>
                </a:cxn>
                <a:cxn ang="0">
                  <a:pos x="45" y="20"/>
                </a:cxn>
                <a:cxn ang="0">
                  <a:pos x="35" y="12"/>
                </a:cxn>
                <a:cxn ang="0">
                  <a:pos x="27" y="4"/>
                </a:cxn>
                <a:cxn ang="0">
                  <a:pos x="30" y="6"/>
                </a:cxn>
                <a:cxn ang="0">
                  <a:pos x="23" y="0"/>
                </a:cxn>
                <a:cxn ang="0">
                  <a:pos x="25" y="5"/>
                </a:cxn>
                <a:cxn ang="0">
                  <a:pos x="11" y="18"/>
                </a:cxn>
                <a:cxn ang="0">
                  <a:pos x="17" y="26"/>
                </a:cxn>
                <a:cxn ang="0">
                  <a:pos x="6" y="33"/>
                </a:cxn>
                <a:cxn ang="0">
                  <a:pos x="0" y="46"/>
                </a:cxn>
                <a:cxn ang="0">
                  <a:pos x="9" y="60"/>
                </a:cxn>
                <a:cxn ang="0">
                  <a:pos x="18" y="60"/>
                </a:cxn>
                <a:cxn ang="0">
                  <a:pos x="19" y="70"/>
                </a:cxn>
                <a:cxn ang="0">
                  <a:pos x="27" y="80"/>
                </a:cxn>
                <a:cxn ang="0">
                  <a:pos x="22" y="95"/>
                </a:cxn>
                <a:cxn ang="0">
                  <a:pos x="24" y="117"/>
                </a:cxn>
                <a:cxn ang="0">
                  <a:pos x="34" y="130"/>
                </a:cxn>
                <a:cxn ang="0">
                  <a:pos x="43" y="130"/>
                </a:cxn>
                <a:cxn ang="0">
                  <a:pos x="59" y="122"/>
                </a:cxn>
                <a:cxn ang="0">
                  <a:pos x="76" y="119"/>
                </a:cxn>
                <a:cxn ang="0">
                  <a:pos x="69" y="106"/>
                </a:cxn>
                <a:cxn ang="0">
                  <a:pos x="60" y="94"/>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2" name="Freeform 229"/>
            <p:cNvSpPr>
              <a:spLocks/>
            </p:cNvSpPr>
            <p:nvPr/>
          </p:nvSpPr>
          <p:spPr bwMode="auto">
            <a:xfrm>
              <a:off x="1511" y="2587"/>
              <a:ext cx="69" cy="83"/>
            </a:xfrm>
            <a:custGeom>
              <a:avLst/>
              <a:gdLst/>
              <a:ahLst/>
              <a:cxnLst>
                <a:cxn ang="0">
                  <a:pos x="7" y="46"/>
                </a:cxn>
                <a:cxn ang="0">
                  <a:pos x="0" y="36"/>
                </a:cxn>
                <a:cxn ang="0">
                  <a:pos x="1" y="21"/>
                </a:cxn>
                <a:cxn ang="0">
                  <a:pos x="8" y="16"/>
                </a:cxn>
                <a:cxn ang="0">
                  <a:pos x="11" y="8"/>
                </a:cxn>
                <a:cxn ang="0">
                  <a:pos x="14" y="0"/>
                </a:cxn>
                <a:cxn ang="0">
                  <a:pos x="32" y="2"/>
                </a:cxn>
                <a:cxn ang="0">
                  <a:pos x="47" y="0"/>
                </a:cxn>
                <a:cxn ang="0">
                  <a:pos x="61" y="2"/>
                </a:cxn>
                <a:cxn ang="0">
                  <a:pos x="60" y="10"/>
                </a:cxn>
                <a:cxn ang="0">
                  <a:pos x="55" y="24"/>
                </a:cxn>
                <a:cxn ang="0">
                  <a:pos x="61" y="47"/>
                </a:cxn>
                <a:cxn ang="0">
                  <a:pos x="53" y="64"/>
                </a:cxn>
                <a:cxn ang="0">
                  <a:pos x="43" y="60"/>
                </a:cxn>
                <a:cxn ang="0">
                  <a:pos x="29" y="64"/>
                </a:cxn>
                <a:cxn ang="0">
                  <a:pos x="30" y="74"/>
                </a:cxn>
                <a:cxn ang="0">
                  <a:pos x="23" y="71"/>
                </a:cxn>
                <a:cxn ang="0">
                  <a:pos x="16" y="58"/>
                </a:cxn>
                <a:cxn ang="0">
                  <a:pos x="7" y="46"/>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3" name="Freeform 230"/>
            <p:cNvSpPr>
              <a:spLocks/>
            </p:cNvSpPr>
            <p:nvPr/>
          </p:nvSpPr>
          <p:spPr bwMode="auto">
            <a:xfrm>
              <a:off x="1447" y="2490"/>
              <a:ext cx="15" cy="13"/>
            </a:xfrm>
            <a:custGeom>
              <a:avLst/>
              <a:gdLst/>
              <a:ahLst/>
              <a:cxnLst>
                <a:cxn ang="0">
                  <a:pos x="4" y="0"/>
                </a:cxn>
                <a:cxn ang="0">
                  <a:pos x="15" y="0"/>
                </a:cxn>
                <a:cxn ang="0">
                  <a:pos x="10" y="12"/>
                </a:cxn>
                <a:cxn ang="0">
                  <a:pos x="0" y="11"/>
                </a:cxn>
                <a:cxn ang="0">
                  <a:pos x="6" y="3"/>
                </a:cxn>
                <a:cxn ang="0">
                  <a:pos x="4" y="0"/>
                </a:cxn>
              </a:cxnLst>
              <a:rect l="0" t="0" r="r" b="b"/>
              <a:pathLst>
                <a:path w="15" h="12">
                  <a:moveTo>
                    <a:pt x="4" y="0"/>
                  </a:moveTo>
                  <a:lnTo>
                    <a:pt x="15" y="0"/>
                  </a:lnTo>
                  <a:lnTo>
                    <a:pt x="10" y="12"/>
                  </a:lnTo>
                  <a:lnTo>
                    <a:pt x="0" y="11"/>
                  </a:lnTo>
                  <a:lnTo>
                    <a:pt x="6" y="3"/>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4" name="Freeform 231"/>
            <p:cNvSpPr>
              <a:spLocks/>
            </p:cNvSpPr>
            <p:nvPr/>
          </p:nvSpPr>
          <p:spPr bwMode="auto">
            <a:xfrm>
              <a:off x="1242" y="2463"/>
              <a:ext cx="238" cy="227"/>
            </a:xfrm>
            <a:custGeom>
              <a:avLst/>
              <a:gdLst/>
              <a:ahLst/>
              <a:cxnLst>
                <a:cxn ang="0">
                  <a:pos x="176" y="42"/>
                </a:cxn>
                <a:cxn ang="0">
                  <a:pos x="167" y="38"/>
                </a:cxn>
                <a:cxn ang="0">
                  <a:pos x="165" y="32"/>
                </a:cxn>
                <a:cxn ang="0">
                  <a:pos x="164" y="27"/>
                </a:cxn>
                <a:cxn ang="0">
                  <a:pos x="153" y="30"/>
                </a:cxn>
                <a:cxn ang="0">
                  <a:pos x="115" y="30"/>
                </a:cxn>
                <a:cxn ang="0">
                  <a:pos x="86" y="30"/>
                </a:cxn>
                <a:cxn ang="0">
                  <a:pos x="63" y="12"/>
                </a:cxn>
                <a:cxn ang="0">
                  <a:pos x="53" y="7"/>
                </a:cxn>
                <a:cxn ang="0">
                  <a:pos x="56" y="12"/>
                </a:cxn>
                <a:cxn ang="0">
                  <a:pos x="32" y="24"/>
                </a:cxn>
                <a:cxn ang="0">
                  <a:pos x="30" y="56"/>
                </a:cxn>
                <a:cxn ang="0">
                  <a:pos x="29" y="28"/>
                </a:cxn>
                <a:cxn ang="0">
                  <a:pos x="35" y="6"/>
                </a:cxn>
                <a:cxn ang="0">
                  <a:pos x="15" y="24"/>
                </a:cxn>
                <a:cxn ang="0">
                  <a:pos x="0" y="54"/>
                </a:cxn>
                <a:cxn ang="0">
                  <a:pos x="14" y="74"/>
                </a:cxn>
                <a:cxn ang="0">
                  <a:pos x="25" y="91"/>
                </a:cxn>
                <a:cxn ang="0">
                  <a:pos x="50" y="92"/>
                </a:cxn>
                <a:cxn ang="0">
                  <a:pos x="78" y="108"/>
                </a:cxn>
                <a:cxn ang="0">
                  <a:pos x="87" y="122"/>
                </a:cxn>
                <a:cxn ang="0">
                  <a:pos x="91" y="159"/>
                </a:cxn>
                <a:cxn ang="0">
                  <a:pos x="95" y="182"/>
                </a:cxn>
                <a:cxn ang="0">
                  <a:pos x="111" y="204"/>
                </a:cxn>
                <a:cxn ang="0">
                  <a:pos x="122" y="205"/>
                </a:cxn>
                <a:cxn ang="0">
                  <a:pos x="152" y="180"/>
                </a:cxn>
                <a:cxn ang="0">
                  <a:pos x="145" y="171"/>
                </a:cxn>
                <a:cxn ang="0">
                  <a:pos x="134" y="141"/>
                </a:cxn>
                <a:cxn ang="0">
                  <a:pos x="165" y="152"/>
                </a:cxn>
                <a:cxn ang="0">
                  <a:pos x="181" y="140"/>
                </a:cxn>
                <a:cxn ang="0">
                  <a:pos x="198" y="124"/>
                </a:cxn>
                <a:cxn ang="0">
                  <a:pos x="188" y="110"/>
                </a:cxn>
                <a:cxn ang="0">
                  <a:pos x="205" y="90"/>
                </a:cxn>
                <a:cxn ang="0">
                  <a:pos x="213" y="69"/>
                </a:cxn>
                <a:cxn ang="0">
                  <a:pos x="195" y="64"/>
                </a:cxn>
                <a:cxn ang="0">
                  <a:pos x="189" y="63"/>
                </a:cxn>
                <a:cxn ang="0">
                  <a:pos x="198" y="51"/>
                </a:cxn>
                <a:cxn ang="0">
                  <a:pos x="182" y="43"/>
                </a:cxn>
                <a:cxn ang="0">
                  <a:pos x="177" y="44"/>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5" name="Freeform 232"/>
            <p:cNvSpPr>
              <a:spLocks/>
            </p:cNvSpPr>
            <p:nvPr/>
          </p:nvSpPr>
          <p:spPr bwMode="auto">
            <a:xfrm>
              <a:off x="1405" y="2483"/>
              <a:ext cx="9" cy="4"/>
            </a:xfrm>
            <a:custGeom>
              <a:avLst/>
              <a:gdLst/>
              <a:ahLst/>
              <a:cxnLst>
                <a:cxn ang="0">
                  <a:pos x="8" y="2"/>
                </a:cxn>
                <a:cxn ang="0">
                  <a:pos x="0" y="0"/>
                </a:cxn>
                <a:cxn ang="0">
                  <a:pos x="8" y="2"/>
                </a:cxn>
              </a:cxnLst>
              <a:rect l="0" t="0" r="r" b="b"/>
              <a:pathLst>
                <a:path w="8" h="2">
                  <a:moveTo>
                    <a:pt x="8" y="2"/>
                  </a:moveTo>
                  <a:lnTo>
                    <a:pt x="0" y="0"/>
                  </a:lnTo>
                  <a:lnTo>
                    <a:pt x="8"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6" name="Freeform 233"/>
            <p:cNvSpPr>
              <a:spLocks/>
            </p:cNvSpPr>
            <p:nvPr/>
          </p:nvSpPr>
          <p:spPr bwMode="auto">
            <a:xfrm>
              <a:off x="1307" y="2454"/>
              <a:ext cx="2" cy="2"/>
            </a:xfrm>
            <a:custGeom>
              <a:avLst/>
              <a:gdLst/>
              <a:ahLst/>
              <a:cxnLst>
                <a:cxn ang="0">
                  <a:pos x="0" y="0"/>
                </a:cxn>
                <a:cxn ang="0">
                  <a:pos x="0" y="1"/>
                </a:cxn>
                <a:cxn ang="0">
                  <a:pos x="3" y="4"/>
                </a:cxn>
                <a:cxn ang="0">
                  <a:pos x="0" y="0"/>
                </a:cxn>
              </a:cxnLst>
              <a:rect l="0" t="0" r="r" b="b"/>
              <a:pathLst>
                <a:path w="3" h="4">
                  <a:moveTo>
                    <a:pt x="0" y="0"/>
                  </a:moveTo>
                  <a:lnTo>
                    <a:pt x="0" y="1"/>
                  </a:lnTo>
                  <a:lnTo>
                    <a:pt x="3" y="4"/>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7" name="Freeform 234"/>
            <p:cNvSpPr>
              <a:spLocks/>
            </p:cNvSpPr>
            <p:nvPr/>
          </p:nvSpPr>
          <p:spPr bwMode="auto">
            <a:xfrm>
              <a:off x="1449" y="2461"/>
              <a:ext cx="5" cy="4"/>
            </a:xfrm>
            <a:custGeom>
              <a:avLst/>
              <a:gdLst/>
              <a:ahLst/>
              <a:cxnLst>
                <a:cxn ang="0">
                  <a:pos x="2" y="3"/>
                </a:cxn>
                <a:cxn ang="0">
                  <a:pos x="2" y="2"/>
                </a:cxn>
                <a:cxn ang="0">
                  <a:pos x="2" y="0"/>
                </a:cxn>
                <a:cxn ang="0">
                  <a:pos x="1" y="0"/>
                </a:cxn>
                <a:cxn ang="0">
                  <a:pos x="1" y="2"/>
                </a:cxn>
                <a:cxn ang="0">
                  <a:pos x="0" y="2"/>
                </a:cxn>
                <a:cxn ang="0">
                  <a:pos x="0" y="3"/>
                </a:cxn>
                <a:cxn ang="0">
                  <a:pos x="0" y="4"/>
                </a:cxn>
                <a:cxn ang="0">
                  <a:pos x="1" y="4"/>
                </a:cxn>
                <a:cxn ang="0">
                  <a:pos x="2" y="4"/>
                </a:cxn>
                <a:cxn ang="0">
                  <a:pos x="2" y="3"/>
                </a:cxn>
              </a:cxnLst>
              <a:rect l="0" t="0" r="r" b="b"/>
              <a:pathLst>
                <a:path w="2" h="4">
                  <a:moveTo>
                    <a:pt x="2" y="3"/>
                  </a:moveTo>
                  <a:lnTo>
                    <a:pt x="2" y="2"/>
                  </a:lnTo>
                  <a:lnTo>
                    <a:pt x="2" y="0"/>
                  </a:lnTo>
                  <a:lnTo>
                    <a:pt x="1" y="0"/>
                  </a:lnTo>
                  <a:lnTo>
                    <a:pt x="1" y="2"/>
                  </a:lnTo>
                  <a:lnTo>
                    <a:pt x="0" y="2"/>
                  </a:lnTo>
                  <a:lnTo>
                    <a:pt x="0" y="3"/>
                  </a:lnTo>
                  <a:lnTo>
                    <a:pt x="0" y="4"/>
                  </a:lnTo>
                  <a:lnTo>
                    <a:pt x="1" y="4"/>
                  </a:lnTo>
                  <a:lnTo>
                    <a:pt x="2" y="4"/>
                  </a:lnTo>
                  <a:lnTo>
                    <a:pt x="2"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8" name="Freeform 235"/>
            <p:cNvSpPr>
              <a:spLocks/>
            </p:cNvSpPr>
            <p:nvPr/>
          </p:nvSpPr>
          <p:spPr bwMode="auto">
            <a:xfrm>
              <a:off x="1634" y="3723"/>
              <a:ext cx="26" cy="20"/>
            </a:xfrm>
            <a:custGeom>
              <a:avLst/>
              <a:gdLst/>
              <a:ahLst/>
              <a:cxnLst>
                <a:cxn ang="0">
                  <a:pos x="23" y="7"/>
                </a:cxn>
                <a:cxn ang="0">
                  <a:pos x="18" y="3"/>
                </a:cxn>
                <a:cxn ang="0">
                  <a:pos x="14" y="3"/>
                </a:cxn>
                <a:cxn ang="0">
                  <a:pos x="11" y="2"/>
                </a:cxn>
                <a:cxn ang="0">
                  <a:pos x="5" y="0"/>
                </a:cxn>
                <a:cxn ang="0">
                  <a:pos x="5" y="6"/>
                </a:cxn>
                <a:cxn ang="0">
                  <a:pos x="0" y="12"/>
                </a:cxn>
                <a:cxn ang="0">
                  <a:pos x="5" y="17"/>
                </a:cxn>
                <a:cxn ang="0">
                  <a:pos x="8" y="14"/>
                </a:cxn>
                <a:cxn ang="0">
                  <a:pos x="10" y="13"/>
                </a:cxn>
                <a:cxn ang="0">
                  <a:pos x="10" y="11"/>
                </a:cxn>
                <a:cxn ang="0">
                  <a:pos x="23" y="7"/>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9" name="Freeform 236"/>
            <p:cNvSpPr>
              <a:spLocks/>
            </p:cNvSpPr>
            <p:nvPr/>
          </p:nvSpPr>
          <p:spPr bwMode="auto">
            <a:xfrm>
              <a:off x="1616" y="3725"/>
              <a:ext cx="20" cy="16"/>
            </a:xfrm>
            <a:custGeom>
              <a:avLst/>
              <a:gdLst/>
              <a:ahLst/>
              <a:cxnLst>
                <a:cxn ang="0">
                  <a:pos x="4" y="6"/>
                </a:cxn>
                <a:cxn ang="0">
                  <a:pos x="1" y="1"/>
                </a:cxn>
                <a:cxn ang="0">
                  <a:pos x="18" y="0"/>
                </a:cxn>
                <a:cxn ang="0">
                  <a:pos x="9" y="10"/>
                </a:cxn>
                <a:cxn ang="0">
                  <a:pos x="0" y="13"/>
                </a:cxn>
                <a:cxn ang="0">
                  <a:pos x="4" y="8"/>
                </a:cxn>
                <a:cxn ang="0">
                  <a:pos x="2" y="6"/>
                </a:cxn>
                <a:cxn ang="0">
                  <a:pos x="4" y="6"/>
                </a:cxn>
              </a:cxnLst>
              <a:rect l="0" t="0" r="r" b="b"/>
              <a:pathLst>
                <a:path w="18" h="13">
                  <a:moveTo>
                    <a:pt x="4" y="6"/>
                  </a:moveTo>
                  <a:lnTo>
                    <a:pt x="1" y="1"/>
                  </a:lnTo>
                  <a:lnTo>
                    <a:pt x="18" y="0"/>
                  </a:lnTo>
                  <a:lnTo>
                    <a:pt x="9" y="10"/>
                  </a:lnTo>
                  <a:lnTo>
                    <a:pt x="0" y="13"/>
                  </a:lnTo>
                  <a:lnTo>
                    <a:pt x="4" y="8"/>
                  </a:lnTo>
                  <a:lnTo>
                    <a:pt x="2" y="6"/>
                  </a:lnTo>
                  <a:lnTo>
                    <a:pt x="4"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0" name="Freeform 237"/>
            <p:cNvSpPr>
              <a:spLocks/>
            </p:cNvSpPr>
            <p:nvPr/>
          </p:nvSpPr>
          <p:spPr bwMode="auto">
            <a:xfrm>
              <a:off x="1314" y="2901"/>
              <a:ext cx="220" cy="260"/>
            </a:xfrm>
            <a:custGeom>
              <a:avLst/>
              <a:gdLst/>
              <a:ahLst/>
              <a:cxnLst>
                <a:cxn ang="0">
                  <a:pos x="132" y="186"/>
                </a:cxn>
                <a:cxn ang="0">
                  <a:pos x="129" y="205"/>
                </a:cxn>
                <a:cxn ang="0">
                  <a:pos x="125" y="225"/>
                </a:cxn>
                <a:cxn ang="0">
                  <a:pos x="121" y="220"/>
                </a:cxn>
                <a:cxn ang="0">
                  <a:pos x="103" y="223"/>
                </a:cxn>
                <a:cxn ang="0">
                  <a:pos x="99" y="233"/>
                </a:cxn>
                <a:cxn ang="0">
                  <a:pos x="91" y="222"/>
                </a:cxn>
                <a:cxn ang="0">
                  <a:pos x="72" y="219"/>
                </a:cxn>
                <a:cxn ang="0">
                  <a:pos x="69" y="216"/>
                </a:cxn>
                <a:cxn ang="0">
                  <a:pos x="55" y="234"/>
                </a:cxn>
                <a:cxn ang="0">
                  <a:pos x="45" y="233"/>
                </a:cxn>
                <a:cxn ang="0">
                  <a:pos x="39" y="217"/>
                </a:cxn>
                <a:cxn ang="0">
                  <a:pos x="31" y="201"/>
                </a:cxn>
                <a:cxn ang="0">
                  <a:pos x="27" y="185"/>
                </a:cxn>
                <a:cxn ang="0">
                  <a:pos x="28" y="172"/>
                </a:cxn>
                <a:cxn ang="0">
                  <a:pos x="19" y="160"/>
                </a:cxn>
                <a:cxn ang="0">
                  <a:pos x="15" y="148"/>
                </a:cxn>
                <a:cxn ang="0">
                  <a:pos x="10" y="139"/>
                </a:cxn>
                <a:cxn ang="0">
                  <a:pos x="10" y="132"/>
                </a:cxn>
                <a:cxn ang="0">
                  <a:pos x="17" y="117"/>
                </a:cxn>
                <a:cxn ang="0">
                  <a:pos x="12" y="115"/>
                </a:cxn>
                <a:cxn ang="0">
                  <a:pos x="10" y="100"/>
                </a:cxn>
                <a:cxn ang="0">
                  <a:pos x="10" y="85"/>
                </a:cxn>
                <a:cxn ang="0">
                  <a:pos x="13" y="76"/>
                </a:cxn>
                <a:cxn ang="0">
                  <a:pos x="13" y="54"/>
                </a:cxn>
                <a:cxn ang="0">
                  <a:pos x="16" y="49"/>
                </a:cxn>
                <a:cxn ang="0">
                  <a:pos x="7" y="35"/>
                </a:cxn>
                <a:cxn ang="0">
                  <a:pos x="0" y="22"/>
                </a:cxn>
                <a:cxn ang="0">
                  <a:pos x="19" y="22"/>
                </a:cxn>
                <a:cxn ang="0">
                  <a:pos x="27" y="17"/>
                </a:cxn>
                <a:cxn ang="0">
                  <a:pos x="40" y="9"/>
                </a:cxn>
                <a:cxn ang="0">
                  <a:pos x="53" y="0"/>
                </a:cxn>
                <a:cxn ang="0">
                  <a:pos x="66" y="1"/>
                </a:cxn>
                <a:cxn ang="0">
                  <a:pos x="67" y="17"/>
                </a:cxn>
                <a:cxn ang="0">
                  <a:pos x="69" y="31"/>
                </a:cxn>
                <a:cxn ang="0">
                  <a:pos x="81" y="45"/>
                </a:cxn>
                <a:cxn ang="0">
                  <a:pos x="93" y="49"/>
                </a:cxn>
                <a:cxn ang="0">
                  <a:pos x="106" y="55"/>
                </a:cxn>
                <a:cxn ang="0">
                  <a:pos x="124" y="67"/>
                </a:cxn>
                <a:cxn ang="0">
                  <a:pos x="142" y="71"/>
                </a:cxn>
                <a:cxn ang="0">
                  <a:pos x="147" y="78"/>
                </a:cxn>
                <a:cxn ang="0">
                  <a:pos x="149" y="96"/>
                </a:cxn>
                <a:cxn ang="0">
                  <a:pos x="145" y="96"/>
                </a:cxn>
                <a:cxn ang="0">
                  <a:pos x="151" y="103"/>
                </a:cxn>
                <a:cxn ang="0">
                  <a:pos x="154" y="117"/>
                </a:cxn>
                <a:cxn ang="0">
                  <a:pos x="168" y="119"/>
                </a:cxn>
                <a:cxn ang="0">
                  <a:pos x="183" y="120"/>
                </a:cxn>
                <a:cxn ang="0">
                  <a:pos x="185" y="136"/>
                </a:cxn>
                <a:cxn ang="0">
                  <a:pos x="195" y="145"/>
                </a:cxn>
                <a:cxn ang="0">
                  <a:pos x="198" y="153"/>
                </a:cxn>
                <a:cxn ang="0">
                  <a:pos x="195" y="166"/>
                </a:cxn>
                <a:cxn ang="0">
                  <a:pos x="191" y="179"/>
                </a:cxn>
                <a:cxn ang="0">
                  <a:pos x="193" y="185"/>
                </a:cxn>
                <a:cxn ang="0">
                  <a:pos x="191" y="187"/>
                </a:cxn>
                <a:cxn ang="0">
                  <a:pos x="191" y="184"/>
                </a:cxn>
                <a:cxn ang="0">
                  <a:pos x="175" y="173"/>
                </a:cxn>
                <a:cxn ang="0">
                  <a:pos x="155" y="175"/>
                </a:cxn>
                <a:cxn ang="0">
                  <a:pos x="135" y="178"/>
                </a:cxn>
                <a:cxn ang="0">
                  <a:pos x="132" y="186"/>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1" name="Freeform 238"/>
            <p:cNvSpPr>
              <a:spLocks/>
            </p:cNvSpPr>
            <p:nvPr/>
          </p:nvSpPr>
          <p:spPr bwMode="auto">
            <a:xfrm>
              <a:off x="1234" y="2601"/>
              <a:ext cx="686" cy="777"/>
            </a:xfrm>
            <a:custGeom>
              <a:avLst/>
              <a:gdLst/>
              <a:ahLst/>
              <a:cxnLst>
                <a:cxn ang="0">
                  <a:pos x="465" y="137"/>
                </a:cxn>
                <a:cxn ang="0">
                  <a:pos x="456" y="122"/>
                </a:cxn>
                <a:cxn ang="0">
                  <a:pos x="436" y="113"/>
                </a:cxn>
                <a:cxn ang="0">
                  <a:pos x="415" y="107"/>
                </a:cxn>
                <a:cxn ang="0">
                  <a:pos x="394" y="125"/>
                </a:cxn>
                <a:cxn ang="0">
                  <a:pos x="373" y="129"/>
                </a:cxn>
                <a:cxn ang="0">
                  <a:pos x="341" y="123"/>
                </a:cxn>
                <a:cxn ang="0">
                  <a:pos x="367" y="83"/>
                </a:cxn>
                <a:cxn ang="0">
                  <a:pos x="363" y="40"/>
                </a:cxn>
                <a:cxn ang="0">
                  <a:pos x="353" y="21"/>
                </a:cxn>
                <a:cxn ang="0">
                  <a:pos x="329" y="56"/>
                </a:cxn>
                <a:cxn ang="0">
                  <a:pos x="280" y="52"/>
                </a:cxn>
                <a:cxn ang="0">
                  <a:pos x="241" y="70"/>
                </a:cxn>
                <a:cxn ang="0">
                  <a:pos x="225" y="20"/>
                </a:cxn>
                <a:cxn ang="0">
                  <a:pos x="208" y="0"/>
                </a:cxn>
                <a:cxn ang="0">
                  <a:pos x="175" y="28"/>
                </a:cxn>
                <a:cxn ang="0">
                  <a:pos x="155" y="47"/>
                </a:cxn>
                <a:cxn ang="0">
                  <a:pos x="132" y="81"/>
                </a:cxn>
                <a:cxn ang="0">
                  <a:pos x="105" y="71"/>
                </a:cxn>
                <a:cxn ang="0">
                  <a:pos x="88" y="63"/>
                </a:cxn>
                <a:cxn ang="0">
                  <a:pos x="72" y="78"/>
                </a:cxn>
                <a:cxn ang="0">
                  <a:pos x="67" y="119"/>
                </a:cxn>
                <a:cxn ang="0">
                  <a:pos x="42" y="173"/>
                </a:cxn>
                <a:cxn ang="0">
                  <a:pos x="9" y="213"/>
                </a:cxn>
                <a:cxn ang="0">
                  <a:pos x="13" y="262"/>
                </a:cxn>
                <a:cxn ang="0">
                  <a:pos x="53" y="264"/>
                </a:cxn>
                <a:cxn ang="0">
                  <a:pos x="91" y="291"/>
                </a:cxn>
                <a:cxn ang="0">
                  <a:pos x="138" y="270"/>
                </a:cxn>
                <a:cxn ang="0">
                  <a:pos x="165" y="318"/>
                </a:cxn>
                <a:cxn ang="0">
                  <a:pos x="219" y="347"/>
                </a:cxn>
                <a:cxn ang="0">
                  <a:pos x="226" y="386"/>
                </a:cxn>
                <a:cxn ang="0">
                  <a:pos x="267" y="414"/>
                </a:cxn>
                <a:cxn ang="0">
                  <a:pos x="265" y="454"/>
                </a:cxn>
                <a:cxn ang="0">
                  <a:pos x="291" y="492"/>
                </a:cxn>
                <a:cxn ang="0">
                  <a:pos x="321" y="524"/>
                </a:cxn>
                <a:cxn ang="0">
                  <a:pos x="337" y="554"/>
                </a:cxn>
                <a:cxn ang="0">
                  <a:pos x="317" y="605"/>
                </a:cxn>
                <a:cxn ang="0">
                  <a:pos x="300" y="635"/>
                </a:cxn>
                <a:cxn ang="0">
                  <a:pos x="349" y="668"/>
                </a:cxn>
                <a:cxn ang="0">
                  <a:pos x="373" y="689"/>
                </a:cxn>
                <a:cxn ang="0">
                  <a:pos x="390" y="647"/>
                </a:cxn>
                <a:cxn ang="0">
                  <a:pos x="394" y="652"/>
                </a:cxn>
                <a:cxn ang="0">
                  <a:pos x="394" y="656"/>
                </a:cxn>
                <a:cxn ang="0">
                  <a:pos x="421" y="604"/>
                </a:cxn>
                <a:cxn ang="0">
                  <a:pos x="419" y="564"/>
                </a:cxn>
                <a:cxn ang="0">
                  <a:pos x="425" y="550"/>
                </a:cxn>
                <a:cxn ang="0">
                  <a:pos x="478" y="512"/>
                </a:cxn>
                <a:cxn ang="0">
                  <a:pos x="499" y="504"/>
                </a:cxn>
                <a:cxn ang="0">
                  <a:pos x="533" y="489"/>
                </a:cxn>
                <a:cxn ang="0">
                  <a:pos x="552" y="417"/>
                </a:cxn>
                <a:cxn ang="0">
                  <a:pos x="557" y="359"/>
                </a:cxn>
                <a:cxn ang="0">
                  <a:pos x="562" y="322"/>
                </a:cxn>
                <a:cxn ang="0">
                  <a:pos x="580" y="298"/>
                </a:cxn>
                <a:cxn ang="0">
                  <a:pos x="616" y="248"/>
                </a:cxn>
                <a:cxn ang="0">
                  <a:pos x="592" y="184"/>
                </a:cxn>
                <a:cxn ang="0">
                  <a:pos x="523" y="144"/>
                </a:cxn>
                <a:cxn ang="0">
                  <a:pos x="468" y="14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2" name="Freeform 239"/>
            <p:cNvSpPr>
              <a:spLocks/>
            </p:cNvSpPr>
            <p:nvPr/>
          </p:nvSpPr>
          <p:spPr bwMode="auto">
            <a:xfrm>
              <a:off x="1636" y="2707"/>
              <a:ext cx="44" cy="34"/>
            </a:xfrm>
            <a:custGeom>
              <a:avLst/>
              <a:gdLst/>
              <a:ahLst/>
              <a:cxnLst>
                <a:cxn ang="0">
                  <a:pos x="19" y="28"/>
                </a:cxn>
                <a:cxn ang="0">
                  <a:pos x="17" y="29"/>
                </a:cxn>
                <a:cxn ang="0">
                  <a:pos x="8" y="26"/>
                </a:cxn>
                <a:cxn ang="0">
                  <a:pos x="5" y="30"/>
                </a:cxn>
                <a:cxn ang="0">
                  <a:pos x="0" y="17"/>
                </a:cxn>
                <a:cxn ang="0">
                  <a:pos x="2" y="17"/>
                </a:cxn>
                <a:cxn ang="0">
                  <a:pos x="1" y="10"/>
                </a:cxn>
                <a:cxn ang="0">
                  <a:pos x="6" y="0"/>
                </a:cxn>
                <a:cxn ang="0">
                  <a:pos x="21" y="2"/>
                </a:cxn>
                <a:cxn ang="0">
                  <a:pos x="38" y="4"/>
                </a:cxn>
                <a:cxn ang="0">
                  <a:pos x="30" y="20"/>
                </a:cxn>
                <a:cxn ang="0">
                  <a:pos x="29" y="21"/>
                </a:cxn>
                <a:cxn ang="0">
                  <a:pos x="27" y="26"/>
                </a:cxn>
                <a:cxn ang="0">
                  <a:pos x="25" y="26"/>
                </a:cxn>
                <a:cxn ang="0">
                  <a:pos x="19" y="28"/>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3" name="Freeform 240"/>
            <p:cNvSpPr>
              <a:spLocks/>
            </p:cNvSpPr>
            <p:nvPr/>
          </p:nvSpPr>
          <p:spPr bwMode="auto">
            <a:xfrm>
              <a:off x="1451" y="3092"/>
              <a:ext cx="147" cy="162"/>
            </a:xfrm>
            <a:custGeom>
              <a:avLst/>
              <a:gdLst/>
              <a:ahLst/>
              <a:cxnLst>
                <a:cxn ang="0">
                  <a:pos x="7" y="13"/>
                </a:cxn>
                <a:cxn ang="0">
                  <a:pos x="4" y="32"/>
                </a:cxn>
                <a:cxn ang="0">
                  <a:pos x="0" y="52"/>
                </a:cxn>
                <a:cxn ang="0">
                  <a:pos x="16" y="66"/>
                </a:cxn>
                <a:cxn ang="0">
                  <a:pos x="31" y="80"/>
                </a:cxn>
                <a:cxn ang="0">
                  <a:pos x="43" y="86"/>
                </a:cxn>
                <a:cxn ang="0">
                  <a:pos x="56" y="92"/>
                </a:cxn>
                <a:cxn ang="0">
                  <a:pos x="71" y="101"/>
                </a:cxn>
                <a:cxn ang="0">
                  <a:pos x="85" y="109"/>
                </a:cxn>
                <a:cxn ang="0">
                  <a:pos x="79" y="126"/>
                </a:cxn>
                <a:cxn ang="0">
                  <a:pos x="73" y="143"/>
                </a:cxn>
                <a:cxn ang="0">
                  <a:pos x="91" y="144"/>
                </a:cxn>
                <a:cxn ang="0">
                  <a:pos x="109" y="145"/>
                </a:cxn>
                <a:cxn ang="0">
                  <a:pos x="120" y="142"/>
                </a:cxn>
                <a:cxn ang="0">
                  <a:pos x="132" y="122"/>
                </a:cxn>
                <a:cxn ang="0">
                  <a:pos x="131" y="112"/>
                </a:cxn>
                <a:cxn ang="0">
                  <a:pos x="131" y="97"/>
                </a:cxn>
                <a:cxn ang="0">
                  <a:pos x="132" y="83"/>
                </a:cxn>
                <a:cxn ang="0">
                  <a:pos x="124" y="82"/>
                </a:cxn>
                <a:cxn ang="0">
                  <a:pos x="115" y="82"/>
                </a:cxn>
                <a:cxn ang="0">
                  <a:pos x="110" y="67"/>
                </a:cxn>
                <a:cxn ang="0">
                  <a:pos x="106" y="53"/>
                </a:cxn>
                <a:cxn ang="0">
                  <a:pos x="94" y="50"/>
                </a:cxn>
                <a:cxn ang="0">
                  <a:pos x="72" y="48"/>
                </a:cxn>
                <a:cxn ang="0">
                  <a:pos x="70" y="23"/>
                </a:cxn>
                <a:cxn ang="0">
                  <a:pos x="66" y="14"/>
                </a:cxn>
                <a:cxn ang="0">
                  <a:pos x="66" y="11"/>
                </a:cxn>
                <a:cxn ang="0">
                  <a:pos x="50" y="0"/>
                </a:cxn>
                <a:cxn ang="0">
                  <a:pos x="30" y="2"/>
                </a:cxn>
                <a:cxn ang="0">
                  <a:pos x="10" y="5"/>
                </a:cxn>
                <a:cxn ang="0">
                  <a:pos x="7" y="13"/>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4" name="Freeform 241"/>
            <p:cNvSpPr>
              <a:spLocks/>
            </p:cNvSpPr>
            <p:nvPr/>
          </p:nvSpPr>
          <p:spPr bwMode="auto">
            <a:xfrm>
              <a:off x="1556" y="3307"/>
              <a:ext cx="84" cy="94"/>
            </a:xfrm>
            <a:custGeom>
              <a:avLst/>
              <a:gdLst/>
              <a:ahLst/>
              <a:cxnLst>
                <a:cxn ang="0">
                  <a:pos x="74" y="45"/>
                </a:cxn>
                <a:cxn ang="0">
                  <a:pos x="58" y="33"/>
                </a:cxn>
                <a:cxn ang="0">
                  <a:pos x="42" y="21"/>
                </a:cxn>
                <a:cxn ang="0">
                  <a:pos x="32" y="15"/>
                </a:cxn>
                <a:cxn ang="0">
                  <a:pos x="28" y="15"/>
                </a:cxn>
                <a:cxn ang="0">
                  <a:pos x="9" y="0"/>
                </a:cxn>
                <a:cxn ang="0">
                  <a:pos x="1" y="1"/>
                </a:cxn>
                <a:cxn ang="0">
                  <a:pos x="1" y="3"/>
                </a:cxn>
                <a:cxn ang="0">
                  <a:pos x="1" y="22"/>
                </a:cxn>
                <a:cxn ang="0">
                  <a:pos x="0" y="42"/>
                </a:cxn>
                <a:cxn ang="0">
                  <a:pos x="1" y="45"/>
                </a:cxn>
                <a:cxn ang="0">
                  <a:pos x="0" y="59"/>
                </a:cxn>
                <a:cxn ang="0">
                  <a:pos x="7" y="73"/>
                </a:cxn>
                <a:cxn ang="0">
                  <a:pos x="26" y="82"/>
                </a:cxn>
                <a:cxn ang="0">
                  <a:pos x="51" y="85"/>
                </a:cxn>
                <a:cxn ang="0">
                  <a:pos x="66" y="81"/>
                </a:cxn>
                <a:cxn ang="0">
                  <a:pos x="76" y="65"/>
                </a:cxn>
                <a:cxn ang="0">
                  <a:pos x="73" y="53"/>
                </a:cxn>
                <a:cxn ang="0">
                  <a:pos x="74" y="45"/>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5" name="Freeform 242"/>
            <p:cNvSpPr>
              <a:spLocks/>
            </p:cNvSpPr>
            <p:nvPr/>
          </p:nvSpPr>
          <p:spPr bwMode="auto">
            <a:xfrm>
              <a:off x="1345" y="3141"/>
              <a:ext cx="271" cy="604"/>
            </a:xfrm>
            <a:custGeom>
              <a:avLst/>
              <a:gdLst/>
              <a:ahLst/>
              <a:cxnLst>
                <a:cxn ang="0">
                  <a:pos x="136" y="345"/>
                </a:cxn>
                <a:cxn ang="0">
                  <a:pos x="132" y="366"/>
                </a:cxn>
                <a:cxn ang="0">
                  <a:pos x="143" y="367"/>
                </a:cxn>
                <a:cxn ang="0">
                  <a:pos x="151" y="377"/>
                </a:cxn>
                <a:cxn ang="0">
                  <a:pos x="132" y="375"/>
                </a:cxn>
                <a:cxn ang="0">
                  <a:pos x="133" y="394"/>
                </a:cxn>
                <a:cxn ang="0">
                  <a:pos x="132" y="417"/>
                </a:cxn>
                <a:cxn ang="0">
                  <a:pos x="116" y="441"/>
                </a:cxn>
                <a:cxn ang="0">
                  <a:pos x="148" y="457"/>
                </a:cxn>
                <a:cxn ang="0">
                  <a:pos x="148" y="468"/>
                </a:cxn>
                <a:cxn ang="0">
                  <a:pos x="132" y="491"/>
                </a:cxn>
                <a:cxn ang="0">
                  <a:pos x="124" y="502"/>
                </a:cxn>
                <a:cxn ang="0">
                  <a:pos x="127" y="507"/>
                </a:cxn>
                <a:cxn ang="0">
                  <a:pos x="121" y="521"/>
                </a:cxn>
                <a:cxn ang="0">
                  <a:pos x="125" y="531"/>
                </a:cxn>
                <a:cxn ang="0">
                  <a:pos x="143" y="545"/>
                </a:cxn>
                <a:cxn ang="0">
                  <a:pos x="91" y="535"/>
                </a:cxn>
                <a:cxn ang="0">
                  <a:pos x="74" y="514"/>
                </a:cxn>
                <a:cxn ang="0">
                  <a:pos x="52" y="491"/>
                </a:cxn>
                <a:cxn ang="0">
                  <a:pos x="59" y="457"/>
                </a:cxn>
                <a:cxn ang="0">
                  <a:pos x="54" y="424"/>
                </a:cxn>
                <a:cxn ang="0">
                  <a:pos x="44" y="412"/>
                </a:cxn>
                <a:cxn ang="0">
                  <a:pos x="42" y="402"/>
                </a:cxn>
                <a:cxn ang="0">
                  <a:pos x="29" y="373"/>
                </a:cxn>
                <a:cxn ang="0">
                  <a:pos x="22" y="335"/>
                </a:cxn>
                <a:cxn ang="0">
                  <a:pos x="23" y="305"/>
                </a:cxn>
                <a:cxn ang="0">
                  <a:pos x="17" y="280"/>
                </a:cxn>
                <a:cxn ang="0">
                  <a:pos x="20" y="252"/>
                </a:cxn>
                <a:cxn ang="0">
                  <a:pos x="19" y="217"/>
                </a:cxn>
                <a:cxn ang="0">
                  <a:pos x="7" y="192"/>
                </a:cxn>
                <a:cxn ang="0">
                  <a:pos x="1" y="166"/>
                </a:cxn>
                <a:cxn ang="0">
                  <a:pos x="2" y="142"/>
                </a:cxn>
                <a:cxn ang="0">
                  <a:pos x="8" y="113"/>
                </a:cxn>
                <a:cxn ang="0">
                  <a:pos x="19" y="91"/>
                </a:cxn>
                <a:cxn ang="0">
                  <a:pos x="11" y="57"/>
                </a:cxn>
                <a:cxn ang="0">
                  <a:pos x="26" y="40"/>
                </a:cxn>
                <a:cxn ang="0">
                  <a:pos x="26" y="18"/>
                </a:cxn>
                <a:cxn ang="0">
                  <a:pos x="43" y="3"/>
                </a:cxn>
                <a:cxn ang="0">
                  <a:pos x="70" y="17"/>
                </a:cxn>
                <a:cxn ang="0">
                  <a:pos x="92" y="4"/>
                </a:cxn>
                <a:cxn ang="0">
                  <a:pos x="112" y="23"/>
                </a:cxn>
                <a:cxn ang="0">
                  <a:pos x="139" y="43"/>
                </a:cxn>
                <a:cxn ang="0">
                  <a:pos x="167" y="58"/>
                </a:cxn>
                <a:cxn ang="0">
                  <a:pos x="175" y="83"/>
                </a:cxn>
                <a:cxn ang="0">
                  <a:pos x="187" y="101"/>
                </a:cxn>
                <a:cxn ang="0">
                  <a:pos x="216" y="99"/>
                </a:cxn>
                <a:cxn ang="0">
                  <a:pos x="227" y="69"/>
                </a:cxn>
                <a:cxn ang="0">
                  <a:pos x="244" y="91"/>
                </a:cxn>
                <a:cxn ang="0">
                  <a:pos x="224" y="109"/>
                </a:cxn>
                <a:cxn ang="0">
                  <a:pos x="208" y="130"/>
                </a:cxn>
                <a:cxn ang="0">
                  <a:pos x="191" y="151"/>
                </a:cxn>
                <a:cxn ang="0">
                  <a:pos x="191" y="172"/>
                </a:cxn>
                <a:cxn ang="0">
                  <a:pos x="192" y="203"/>
                </a:cxn>
                <a:cxn ang="0">
                  <a:pos x="194" y="232"/>
                </a:cxn>
                <a:cxn ang="0">
                  <a:pos x="217" y="258"/>
                </a:cxn>
                <a:cxn ang="0">
                  <a:pos x="221" y="281"/>
                </a:cxn>
                <a:cxn ang="0">
                  <a:pos x="202" y="300"/>
                </a:cxn>
                <a:cxn ang="0">
                  <a:pos x="176" y="306"/>
                </a:cxn>
                <a:cxn ang="0">
                  <a:pos x="152" y="309"/>
                </a:cxn>
                <a:cxn ang="0">
                  <a:pos x="160" y="337"/>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6" name="Freeform 243"/>
            <p:cNvSpPr>
              <a:spLocks/>
            </p:cNvSpPr>
            <p:nvPr/>
          </p:nvSpPr>
          <p:spPr bwMode="auto">
            <a:xfrm>
              <a:off x="1502" y="3750"/>
              <a:ext cx="67" cy="44"/>
            </a:xfrm>
            <a:custGeom>
              <a:avLst/>
              <a:gdLst/>
              <a:ahLst/>
              <a:cxnLst>
                <a:cxn ang="0">
                  <a:pos x="5" y="8"/>
                </a:cxn>
                <a:cxn ang="0">
                  <a:pos x="0" y="0"/>
                </a:cxn>
                <a:cxn ang="0">
                  <a:pos x="7" y="19"/>
                </a:cxn>
                <a:cxn ang="0">
                  <a:pos x="15" y="38"/>
                </a:cxn>
                <a:cxn ang="0">
                  <a:pos x="37" y="38"/>
                </a:cxn>
                <a:cxn ang="0">
                  <a:pos x="59" y="39"/>
                </a:cxn>
                <a:cxn ang="0">
                  <a:pos x="57" y="34"/>
                </a:cxn>
                <a:cxn ang="0">
                  <a:pos x="26" y="24"/>
                </a:cxn>
                <a:cxn ang="0">
                  <a:pos x="5" y="8"/>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7" name="Freeform 244"/>
            <p:cNvSpPr>
              <a:spLocks/>
            </p:cNvSpPr>
            <p:nvPr/>
          </p:nvSpPr>
          <p:spPr bwMode="auto">
            <a:xfrm>
              <a:off x="1309" y="3054"/>
              <a:ext cx="193" cy="720"/>
            </a:xfrm>
            <a:custGeom>
              <a:avLst/>
              <a:gdLst/>
              <a:ahLst/>
              <a:cxnLst>
                <a:cxn ang="0">
                  <a:pos x="18" y="257"/>
                </a:cxn>
                <a:cxn ang="0">
                  <a:pos x="20" y="300"/>
                </a:cxn>
                <a:cxn ang="0">
                  <a:pos x="15" y="348"/>
                </a:cxn>
                <a:cxn ang="0">
                  <a:pos x="22" y="384"/>
                </a:cxn>
                <a:cxn ang="0">
                  <a:pos x="33" y="432"/>
                </a:cxn>
                <a:cxn ang="0">
                  <a:pos x="46" y="432"/>
                </a:cxn>
                <a:cxn ang="0">
                  <a:pos x="54" y="444"/>
                </a:cxn>
                <a:cxn ang="0">
                  <a:pos x="54" y="459"/>
                </a:cxn>
                <a:cxn ang="0">
                  <a:pos x="63" y="484"/>
                </a:cxn>
                <a:cxn ang="0">
                  <a:pos x="61" y="500"/>
                </a:cxn>
                <a:cxn ang="0">
                  <a:pos x="62" y="514"/>
                </a:cxn>
                <a:cxn ang="0">
                  <a:pos x="57" y="515"/>
                </a:cxn>
                <a:cxn ang="0">
                  <a:pos x="49" y="509"/>
                </a:cxn>
                <a:cxn ang="0">
                  <a:pos x="39" y="524"/>
                </a:cxn>
                <a:cxn ang="0">
                  <a:pos x="63" y="532"/>
                </a:cxn>
                <a:cxn ang="0">
                  <a:pos x="56" y="542"/>
                </a:cxn>
                <a:cxn ang="0">
                  <a:pos x="75" y="545"/>
                </a:cxn>
                <a:cxn ang="0">
                  <a:pos x="61" y="546"/>
                </a:cxn>
                <a:cxn ang="0">
                  <a:pos x="75" y="576"/>
                </a:cxn>
                <a:cxn ang="0">
                  <a:pos x="84" y="588"/>
                </a:cxn>
                <a:cxn ang="0">
                  <a:pos x="96" y="604"/>
                </a:cxn>
                <a:cxn ang="0">
                  <a:pos x="102" y="614"/>
                </a:cxn>
                <a:cxn ang="0">
                  <a:pos x="111" y="629"/>
                </a:cxn>
                <a:cxn ang="0">
                  <a:pos x="118" y="636"/>
                </a:cxn>
                <a:cxn ang="0">
                  <a:pos x="148" y="626"/>
                </a:cxn>
                <a:cxn ang="0">
                  <a:pos x="151" y="615"/>
                </a:cxn>
                <a:cxn ang="0">
                  <a:pos x="106" y="591"/>
                </a:cxn>
                <a:cxn ang="0">
                  <a:pos x="93" y="558"/>
                </a:cxn>
                <a:cxn ang="0">
                  <a:pos x="86" y="501"/>
                </a:cxn>
                <a:cxn ang="0">
                  <a:pos x="86" y="485"/>
                </a:cxn>
                <a:cxn ang="0">
                  <a:pos x="61" y="450"/>
                </a:cxn>
                <a:cxn ang="0">
                  <a:pos x="52" y="393"/>
                </a:cxn>
                <a:cxn ang="0">
                  <a:pos x="49" y="357"/>
                </a:cxn>
                <a:cxn ang="0">
                  <a:pos x="49" y="317"/>
                </a:cxn>
                <a:cxn ang="0">
                  <a:pos x="39" y="269"/>
                </a:cxn>
                <a:cxn ang="0">
                  <a:pos x="36" y="232"/>
                </a:cxn>
                <a:cxn ang="0">
                  <a:pos x="40" y="190"/>
                </a:cxn>
                <a:cxn ang="0">
                  <a:pos x="45" y="159"/>
                </a:cxn>
                <a:cxn ang="0">
                  <a:pos x="58" y="117"/>
                </a:cxn>
                <a:cxn ang="0">
                  <a:pos x="48" y="94"/>
                </a:cxn>
                <a:cxn ang="0">
                  <a:pos x="30" y="46"/>
                </a:cxn>
                <a:cxn ang="0">
                  <a:pos x="18" y="9"/>
                </a:cxn>
                <a:cxn ang="0">
                  <a:pos x="3" y="15"/>
                </a:cxn>
                <a:cxn ang="0">
                  <a:pos x="9" y="62"/>
                </a:cxn>
                <a:cxn ang="0">
                  <a:pos x="8" y="108"/>
                </a:cxn>
                <a:cxn ang="0">
                  <a:pos x="10" y="176"/>
                </a:cxn>
                <a:cxn ang="0">
                  <a:pos x="12" y="230"/>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8" name="Freeform 245"/>
            <p:cNvSpPr>
              <a:spLocks/>
            </p:cNvSpPr>
            <p:nvPr/>
          </p:nvSpPr>
          <p:spPr bwMode="auto">
            <a:xfrm>
              <a:off x="1469" y="3747"/>
              <a:ext cx="51" cy="45"/>
            </a:xfrm>
            <a:custGeom>
              <a:avLst/>
              <a:gdLst/>
              <a:ahLst/>
              <a:cxnLst>
                <a:cxn ang="0">
                  <a:pos x="31" y="2"/>
                </a:cxn>
                <a:cxn ang="0">
                  <a:pos x="38" y="21"/>
                </a:cxn>
                <a:cxn ang="0">
                  <a:pos x="46" y="40"/>
                </a:cxn>
                <a:cxn ang="0">
                  <a:pos x="42" y="39"/>
                </a:cxn>
                <a:cxn ang="0">
                  <a:pos x="34" y="40"/>
                </a:cxn>
                <a:cxn ang="0">
                  <a:pos x="19" y="38"/>
                </a:cxn>
                <a:cxn ang="0">
                  <a:pos x="13" y="38"/>
                </a:cxn>
                <a:cxn ang="0">
                  <a:pos x="0" y="36"/>
                </a:cxn>
                <a:cxn ang="0">
                  <a:pos x="3" y="34"/>
                </a:cxn>
                <a:cxn ang="0">
                  <a:pos x="12" y="32"/>
                </a:cxn>
                <a:cxn ang="0">
                  <a:pos x="16" y="34"/>
                </a:cxn>
                <a:cxn ang="0">
                  <a:pos x="20" y="34"/>
                </a:cxn>
                <a:cxn ang="0">
                  <a:pos x="13" y="30"/>
                </a:cxn>
                <a:cxn ang="0">
                  <a:pos x="22" y="32"/>
                </a:cxn>
                <a:cxn ang="0">
                  <a:pos x="27" y="33"/>
                </a:cxn>
                <a:cxn ang="0">
                  <a:pos x="34" y="34"/>
                </a:cxn>
                <a:cxn ang="0">
                  <a:pos x="37" y="35"/>
                </a:cxn>
                <a:cxn ang="0">
                  <a:pos x="19" y="24"/>
                </a:cxn>
                <a:cxn ang="0">
                  <a:pos x="26" y="16"/>
                </a:cxn>
                <a:cxn ang="0">
                  <a:pos x="15" y="16"/>
                </a:cxn>
                <a:cxn ang="0">
                  <a:pos x="10" y="3"/>
                </a:cxn>
                <a:cxn ang="0">
                  <a:pos x="16" y="0"/>
                </a:cxn>
                <a:cxn ang="0">
                  <a:pos x="31" y="2"/>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9" name="Freeform 246"/>
            <p:cNvSpPr>
              <a:spLocks/>
            </p:cNvSpPr>
            <p:nvPr/>
          </p:nvSpPr>
          <p:spPr bwMode="auto">
            <a:xfrm>
              <a:off x="1340" y="3538"/>
              <a:ext cx="16" cy="32"/>
            </a:xfrm>
            <a:custGeom>
              <a:avLst/>
              <a:gdLst/>
              <a:ahLst/>
              <a:cxnLst>
                <a:cxn ang="0">
                  <a:pos x="5" y="0"/>
                </a:cxn>
                <a:cxn ang="0">
                  <a:pos x="0" y="4"/>
                </a:cxn>
                <a:cxn ang="0">
                  <a:pos x="6" y="28"/>
                </a:cxn>
                <a:cxn ang="0">
                  <a:pos x="12" y="25"/>
                </a:cxn>
                <a:cxn ang="0">
                  <a:pos x="14" y="20"/>
                </a:cxn>
                <a:cxn ang="0">
                  <a:pos x="10" y="10"/>
                </a:cxn>
                <a:cxn ang="0">
                  <a:pos x="12" y="8"/>
                </a:cxn>
                <a:cxn ang="0">
                  <a:pos x="5" y="0"/>
                </a:cxn>
              </a:cxnLst>
              <a:rect l="0" t="0" r="r" b="b"/>
              <a:pathLst>
                <a:path w="14" h="28">
                  <a:moveTo>
                    <a:pt x="5" y="0"/>
                  </a:moveTo>
                  <a:lnTo>
                    <a:pt x="0" y="4"/>
                  </a:lnTo>
                  <a:lnTo>
                    <a:pt x="6" y="28"/>
                  </a:lnTo>
                  <a:lnTo>
                    <a:pt x="12" y="25"/>
                  </a:lnTo>
                  <a:lnTo>
                    <a:pt x="14" y="20"/>
                  </a:lnTo>
                  <a:lnTo>
                    <a:pt x="10" y="10"/>
                  </a:lnTo>
                  <a:lnTo>
                    <a:pt x="12" y="8"/>
                  </a:lnTo>
                  <a:lnTo>
                    <a:pt x="5"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0" name="Freeform 247"/>
            <p:cNvSpPr>
              <a:spLocks/>
            </p:cNvSpPr>
            <p:nvPr/>
          </p:nvSpPr>
          <p:spPr bwMode="auto">
            <a:xfrm>
              <a:off x="1374" y="3676"/>
              <a:ext cx="15" cy="25"/>
            </a:xfrm>
            <a:custGeom>
              <a:avLst/>
              <a:gdLst/>
              <a:ahLst/>
              <a:cxnLst>
                <a:cxn ang="0">
                  <a:pos x="7" y="0"/>
                </a:cxn>
                <a:cxn ang="0">
                  <a:pos x="0" y="8"/>
                </a:cxn>
                <a:cxn ang="0">
                  <a:pos x="9" y="18"/>
                </a:cxn>
                <a:cxn ang="0">
                  <a:pos x="13" y="21"/>
                </a:cxn>
                <a:cxn ang="0">
                  <a:pos x="15" y="14"/>
                </a:cxn>
                <a:cxn ang="0">
                  <a:pos x="7" y="0"/>
                </a:cxn>
              </a:cxnLst>
              <a:rect l="0" t="0" r="r" b="b"/>
              <a:pathLst>
                <a:path w="15" h="21">
                  <a:moveTo>
                    <a:pt x="7" y="0"/>
                  </a:moveTo>
                  <a:lnTo>
                    <a:pt x="0" y="8"/>
                  </a:lnTo>
                  <a:lnTo>
                    <a:pt x="9" y="18"/>
                  </a:lnTo>
                  <a:lnTo>
                    <a:pt x="13" y="21"/>
                  </a:lnTo>
                  <a:lnTo>
                    <a:pt x="15" y="14"/>
                  </a:lnTo>
                  <a:lnTo>
                    <a:pt x="7"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1" name="Freeform 248"/>
            <p:cNvSpPr>
              <a:spLocks/>
            </p:cNvSpPr>
            <p:nvPr/>
          </p:nvSpPr>
          <p:spPr bwMode="auto">
            <a:xfrm>
              <a:off x="1107" y="2676"/>
              <a:ext cx="100" cy="129"/>
            </a:xfrm>
            <a:custGeom>
              <a:avLst/>
              <a:gdLst/>
              <a:ahLst/>
              <a:cxnLst>
                <a:cxn ang="0">
                  <a:pos x="0" y="45"/>
                </a:cxn>
                <a:cxn ang="0">
                  <a:pos x="3" y="63"/>
                </a:cxn>
                <a:cxn ang="0">
                  <a:pos x="0" y="67"/>
                </a:cxn>
                <a:cxn ang="0">
                  <a:pos x="11" y="72"/>
                </a:cxn>
                <a:cxn ang="0">
                  <a:pos x="15" y="67"/>
                </a:cxn>
                <a:cxn ang="0">
                  <a:pos x="16" y="71"/>
                </a:cxn>
                <a:cxn ang="0">
                  <a:pos x="16" y="83"/>
                </a:cxn>
                <a:cxn ang="0">
                  <a:pos x="10" y="85"/>
                </a:cxn>
                <a:cxn ang="0">
                  <a:pos x="11" y="96"/>
                </a:cxn>
                <a:cxn ang="0">
                  <a:pos x="7" y="104"/>
                </a:cxn>
                <a:cxn ang="0">
                  <a:pos x="13" y="102"/>
                </a:cxn>
                <a:cxn ang="0">
                  <a:pos x="30" y="115"/>
                </a:cxn>
                <a:cxn ang="0">
                  <a:pos x="35" y="108"/>
                </a:cxn>
                <a:cxn ang="0">
                  <a:pos x="37" y="101"/>
                </a:cxn>
                <a:cxn ang="0">
                  <a:pos x="41" y="95"/>
                </a:cxn>
                <a:cxn ang="0">
                  <a:pos x="43" y="84"/>
                </a:cxn>
                <a:cxn ang="0">
                  <a:pos x="45" y="84"/>
                </a:cxn>
                <a:cxn ang="0">
                  <a:pos x="46" y="86"/>
                </a:cxn>
                <a:cxn ang="0">
                  <a:pos x="48" y="86"/>
                </a:cxn>
                <a:cxn ang="0">
                  <a:pos x="47" y="83"/>
                </a:cxn>
                <a:cxn ang="0">
                  <a:pos x="51" y="79"/>
                </a:cxn>
                <a:cxn ang="0">
                  <a:pos x="60" y="74"/>
                </a:cxn>
                <a:cxn ang="0">
                  <a:pos x="77" y="63"/>
                </a:cxn>
                <a:cxn ang="0">
                  <a:pos x="87" y="42"/>
                </a:cxn>
                <a:cxn ang="0">
                  <a:pos x="90" y="43"/>
                </a:cxn>
                <a:cxn ang="0">
                  <a:pos x="84" y="29"/>
                </a:cxn>
                <a:cxn ang="0">
                  <a:pos x="89" y="27"/>
                </a:cxn>
                <a:cxn ang="0">
                  <a:pos x="71" y="18"/>
                </a:cxn>
                <a:cxn ang="0">
                  <a:pos x="55" y="18"/>
                </a:cxn>
                <a:cxn ang="0">
                  <a:pos x="46" y="9"/>
                </a:cxn>
                <a:cxn ang="0">
                  <a:pos x="33" y="0"/>
                </a:cxn>
                <a:cxn ang="0">
                  <a:pos x="27" y="6"/>
                </a:cxn>
                <a:cxn ang="0">
                  <a:pos x="12" y="13"/>
                </a:cxn>
                <a:cxn ang="0">
                  <a:pos x="9" y="27"/>
                </a:cxn>
                <a:cxn ang="0">
                  <a:pos x="7" y="36"/>
                </a:cxn>
                <a:cxn ang="0">
                  <a:pos x="0" y="45"/>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2" name="Freeform 249"/>
            <p:cNvSpPr>
              <a:spLocks/>
            </p:cNvSpPr>
            <p:nvPr/>
          </p:nvSpPr>
          <p:spPr bwMode="auto">
            <a:xfrm>
              <a:off x="1120" y="2761"/>
              <a:ext cx="3" cy="2"/>
            </a:xfrm>
            <a:custGeom>
              <a:avLst/>
              <a:gdLst/>
              <a:ahLst/>
              <a:cxnLst>
                <a:cxn ang="0">
                  <a:pos x="4" y="0"/>
                </a:cxn>
                <a:cxn ang="0">
                  <a:pos x="1" y="3"/>
                </a:cxn>
                <a:cxn ang="0">
                  <a:pos x="0" y="0"/>
                </a:cxn>
                <a:cxn ang="0">
                  <a:pos x="4" y="0"/>
                </a:cxn>
              </a:cxnLst>
              <a:rect l="0" t="0" r="r" b="b"/>
              <a:pathLst>
                <a:path w="4" h="3">
                  <a:moveTo>
                    <a:pt x="4" y="0"/>
                  </a:moveTo>
                  <a:lnTo>
                    <a:pt x="1" y="3"/>
                  </a:lnTo>
                  <a:lnTo>
                    <a:pt x="0" y="0"/>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3" name="Freeform 250"/>
            <p:cNvSpPr>
              <a:spLocks/>
            </p:cNvSpPr>
            <p:nvPr/>
          </p:nvSpPr>
          <p:spPr bwMode="auto">
            <a:xfrm>
              <a:off x="1100" y="2707"/>
              <a:ext cx="231" cy="365"/>
            </a:xfrm>
            <a:custGeom>
              <a:avLst/>
              <a:gdLst/>
              <a:ahLst/>
              <a:cxnLst>
                <a:cxn ang="0">
                  <a:pos x="201" y="259"/>
                </a:cxn>
                <a:cxn ang="0">
                  <a:pos x="203" y="289"/>
                </a:cxn>
                <a:cxn ang="0">
                  <a:pos x="201" y="306"/>
                </a:cxn>
                <a:cxn ang="0">
                  <a:pos x="197" y="321"/>
                </a:cxn>
                <a:cxn ang="0">
                  <a:pos x="188" y="329"/>
                </a:cxn>
                <a:cxn ang="0">
                  <a:pos x="171" y="311"/>
                </a:cxn>
                <a:cxn ang="0">
                  <a:pos x="143" y="295"/>
                </a:cxn>
                <a:cxn ang="0">
                  <a:pos x="117" y="280"/>
                </a:cxn>
                <a:cxn ang="0">
                  <a:pos x="89" y="253"/>
                </a:cxn>
                <a:cxn ang="0">
                  <a:pos x="78" y="225"/>
                </a:cxn>
                <a:cxn ang="0">
                  <a:pos x="60" y="192"/>
                </a:cxn>
                <a:cxn ang="0">
                  <a:pos x="47" y="167"/>
                </a:cxn>
                <a:cxn ang="0">
                  <a:pos x="34" y="141"/>
                </a:cxn>
                <a:cxn ang="0">
                  <a:pos x="16" y="118"/>
                </a:cxn>
                <a:cxn ang="0">
                  <a:pos x="5" y="105"/>
                </a:cxn>
                <a:cxn ang="0">
                  <a:pos x="8" y="70"/>
                </a:cxn>
                <a:cxn ang="0">
                  <a:pos x="16" y="70"/>
                </a:cxn>
                <a:cxn ang="0">
                  <a:pos x="18" y="76"/>
                </a:cxn>
                <a:cxn ang="0">
                  <a:pos x="40" y="82"/>
                </a:cxn>
                <a:cxn ang="0">
                  <a:pos x="46" y="69"/>
                </a:cxn>
                <a:cxn ang="0">
                  <a:pos x="50" y="58"/>
                </a:cxn>
                <a:cxn ang="0">
                  <a:pos x="53" y="60"/>
                </a:cxn>
                <a:cxn ang="0">
                  <a:pos x="56" y="53"/>
                </a:cxn>
                <a:cxn ang="0">
                  <a:pos x="82" y="37"/>
                </a:cxn>
                <a:cxn ang="0">
                  <a:pos x="95" y="17"/>
                </a:cxn>
                <a:cxn ang="0">
                  <a:pos x="94" y="1"/>
                </a:cxn>
                <a:cxn ang="0">
                  <a:pos x="104" y="9"/>
                </a:cxn>
                <a:cxn ang="0">
                  <a:pos x="125" y="31"/>
                </a:cxn>
                <a:cxn ang="0">
                  <a:pos x="148" y="40"/>
                </a:cxn>
                <a:cxn ang="0">
                  <a:pos x="176" y="46"/>
                </a:cxn>
                <a:cxn ang="0">
                  <a:pos x="179" y="75"/>
                </a:cxn>
                <a:cxn ang="0">
                  <a:pos x="161" y="78"/>
                </a:cxn>
                <a:cxn ang="0">
                  <a:pos x="136" y="90"/>
                </a:cxn>
                <a:cxn ang="0">
                  <a:pos x="128" y="118"/>
                </a:cxn>
                <a:cxn ang="0">
                  <a:pos x="126" y="145"/>
                </a:cxn>
                <a:cxn ang="0">
                  <a:pos x="132" y="167"/>
                </a:cxn>
                <a:cxn ang="0">
                  <a:pos x="148" y="175"/>
                </a:cxn>
                <a:cxn ang="0">
                  <a:pos x="172" y="169"/>
                </a:cxn>
                <a:cxn ang="0">
                  <a:pos x="174" y="197"/>
                </a:cxn>
                <a:cxn ang="0">
                  <a:pos x="198" y="209"/>
                </a:cxn>
                <a:cxn ang="0">
                  <a:pos x="204" y="228"/>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4" name="Freeform 251"/>
            <p:cNvSpPr>
              <a:spLocks/>
            </p:cNvSpPr>
            <p:nvPr/>
          </p:nvSpPr>
          <p:spPr bwMode="auto">
            <a:xfrm>
              <a:off x="3731" y="1648"/>
              <a:ext cx="898" cy="653"/>
            </a:xfrm>
            <a:custGeom>
              <a:avLst/>
              <a:gdLst/>
              <a:ahLst/>
              <a:cxnLst>
                <a:cxn ang="0">
                  <a:pos x="324" y="454"/>
                </a:cxn>
                <a:cxn ang="0">
                  <a:pos x="270" y="453"/>
                </a:cxn>
                <a:cxn ang="0">
                  <a:pos x="205" y="432"/>
                </a:cxn>
                <a:cxn ang="0">
                  <a:pos x="155" y="412"/>
                </a:cxn>
                <a:cxn ang="0">
                  <a:pos x="106" y="369"/>
                </a:cxn>
                <a:cxn ang="0">
                  <a:pos x="107" y="337"/>
                </a:cxn>
                <a:cxn ang="0">
                  <a:pos x="94" y="321"/>
                </a:cxn>
                <a:cxn ang="0">
                  <a:pos x="43" y="293"/>
                </a:cxn>
                <a:cxn ang="0">
                  <a:pos x="31" y="283"/>
                </a:cxn>
                <a:cxn ang="0">
                  <a:pos x="17" y="227"/>
                </a:cxn>
                <a:cxn ang="0">
                  <a:pos x="68" y="204"/>
                </a:cxn>
                <a:cxn ang="0">
                  <a:pos x="72" y="166"/>
                </a:cxn>
                <a:cxn ang="0">
                  <a:pos x="88" y="137"/>
                </a:cxn>
                <a:cxn ang="0">
                  <a:pos x="113" y="91"/>
                </a:cxn>
                <a:cxn ang="0">
                  <a:pos x="144" y="82"/>
                </a:cxn>
                <a:cxn ang="0">
                  <a:pos x="208" y="141"/>
                </a:cxn>
                <a:cxn ang="0">
                  <a:pos x="295" y="173"/>
                </a:cxn>
                <a:cxn ang="0">
                  <a:pos x="389" y="191"/>
                </a:cxn>
                <a:cxn ang="0">
                  <a:pos x="452" y="201"/>
                </a:cxn>
                <a:cxn ang="0">
                  <a:pos x="523" y="169"/>
                </a:cxn>
                <a:cxn ang="0">
                  <a:pos x="560" y="138"/>
                </a:cxn>
                <a:cxn ang="0">
                  <a:pos x="569" y="93"/>
                </a:cxn>
                <a:cxn ang="0">
                  <a:pos x="533" y="89"/>
                </a:cxn>
                <a:cxn ang="0">
                  <a:pos x="556" y="41"/>
                </a:cxn>
                <a:cxn ang="0">
                  <a:pos x="566" y="0"/>
                </a:cxn>
                <a:cxn ang="0">
                  <a:pos x="662" y="48"/>
                </a:cxn>
                <a:cxn ang="0">
                  <a:pos x="751" y="99"/>
                </a:cxn>
                <a:cxn ang="0">
                  <a:pos x="809" y="145"/>
                </a:cxn>
                <a:cxn ang="0">
                  <a:pos x="800" y="187"/>
                </a:cxn>
                <a:cxn ang="0">
                  <a:pos x="773" y="201"/>
                </a:cxn>
                <a:cxn ang="0">
                  <a:pos x="738" y="233"/>
                </a:cxn>
                <a:cxn ang="0">
                  <a:pos x="707" y="246"/>
                </a:cxn>
                <a:cxn ang="0">
                  <a:pos x="676" y="233"/>
                </a:cxn>
                <a:cxn ang="0">
                  <a:pos x="676" y="270"/>
                </a:cxn>
                <a:cxn ang="0">
                  <a:pos x="734" y="283"/>
                </a:cxn>
                <a:cxn ang="0">
                  <a:pos x="708" y="311"/>
                </a:cxn>
                <a:cxn ang="0">
                  <a:pos x="764" y="384"/>
                </a:cxn>
                <a:cxn ang="0">
                  <a:pos x="756" y="407"/>
                </a:cxn>
                <a:cxn ang="0">
                  <a:pos x="774" y="424"/>
                </a:cxn>
                <a:cxn ang="0">
                  <a:pos x="778" y="437"/>
                </a:cxn>
                <a:cxn ang="0">
                  <a:pos x="770" y="455"/>
                </a:cxn>
                <a:cxn ang="0">
                  <a:pos x="756" y="485"/>
                </a:cxn>
                <a:cxn ang="0">
                  <a:pos x="758" y="499"/>
                </a:cxn>
                <a:cxn ang="0">
                  <a:pos x="743" y="515"/>
                </a:cxn>
                <a:cxn ang="0">
                  <a:pos x="721" y="540"/>
                </a:cxn>
                <a:cxn ang="0">
                  <a:pos x="700" y="545"/>
                </a:cxn>
                <a:cxn ang="0">
                  <a:pos x="677" y="543"/>
                </a:cxn>
                <a:cxn ang="0">
                  <a:pos x="668" y="562"/>
                </a:cxn>
                <a:cxn ang="0">
                  <a:pos x="640" y="569"/>
                </a:cxn>
                <a:cxn ang="0">
                  <a:pos x="628" y="569"/>
                </a:cxn>
                <a:cxn ang="0">
                  <a:pos x="604" y="563"/>
                </a:cxn>
                <a:cxn ang="0">
                  <a:pos x="554" y="537"/>
                </a:cxn>
                <a:cxn ang="0">
                  <a:pos x="527" y="546"/>
                </a:cxn>
                <a:cxn ang="0">
                  <a:pos x="497" y="551"/>
                </a:cxn>
                <a:cxn ang="0">
                  <a:pos x="476" y="567"/>
                </a:cxn>
                <a:cxn ang="0">
                  <a:pos x="448" y="522"/>
                </a:cxn>
                <a:cxn ang="0">
                  <a:pos x="436" y="495"/>
                </a:cxn>
                <a:cxn ang="0">
                  <a:pos x="412" y="441"/>
                </a:cxn>
                <a:cxn ang="0">
                  <a:pos x="389" y="427"/>
                </a:cxn>
              </a:cxnLst>
              <a:rect l="0" t="0" r="r" b="b"/>
              <a:pathLst>
                <a:path w="809" h="588">
                  <a:moveTo>
                    <a:pt x="361" y="429"/>
                  </a:moveTo>
                  <a:lnTo>
                    <a:pt x="350" y="438"/>
                  </a:lnTo>
                  <a:lnTo>
                    <a:pt x="338" y="449"/>
                  </a:lnTo>
                  <a:lnTo>
                    <a:pt x="325" y="454"/>
                  </a:lnTo>
                  <a:lnTo>
                    <a:pt x="324" y="454"/>
                  </a:lnTo>
                  <a:lnTo>
                    <a:pt x="317" y="449"/>
                  </a:lnTo>
                  <a:lnTo>
                    <a:pt x="295" y="447"/>
                  </a:lnTo>
                  <a:lnTo>
                    <a:pt x="284" y="462"/>
                  </a:lnTo>
                  <a:lnTo>
                    <a:pt x="277" y="448"/>
                  </a:lnTo>
                  <a:lnTo>
                    <a:pt x="270" y="453"/>
                  </a:lnTo>
                  <a:lnTo>
                    <a:pt x="252" y="450"/>
                  </a:lnTo>
                  <a:lnTo>
                    <a:pt x="238" y="449"/>
                  </a:lnTo>
                  <a:lnTo>
                    <a:pt x="222" y="442"/>
                  </a:lnTo>
                  <a:lnTo>
                    <a:pt x="220" y="438"/>
                  </a:lnTo>
                  <a:lnTo>
                    <a:pt x="205" y="432"/>
                  </a:lnTo>
                  <a:lnTo>
                    <a:pt x="200" y="426"/>
                  </a:lnTo>
                  <a:lnTo>
                    <a:pt x="194" y="429"/>
                  </a:lnTo>
                  <a:lnTo>
                    <a:pt x="174" y="414"/>
                  </a:lnTo>
                  <a:lnTo>
                    <a:pt x="161" y="406"/>
                  </a:lnTo>
                  <a:lnTo>
                    <a:pt x="155" y="412"/>
                  </a:lnTo>
                  <a:lnTo>
                    <a:pt x="154" y="411"/>
                  </a:lnTo>
                  <a:lnTo>
                    <a:pt x="139" y="401"/>
                  </a:lnTo>
                  <a:lnTo>
                    <a:pt x="120" y="390"/>
                  </a:lnTo>
                  <a:lnTo>
                    <a:pt x="113" y="388"/>
                  </a:lnTo>
                  <a:lnTo>
                    <a:pt x="106" y="369"/>
                  </a:lnTo>
                  <a:lnTo>
                    <a:pt x="115" y="370"/>
                  </a:lnTo>
                  <a:lnTo>
                    <a:pt x="118" y="363"/>
                  </a:lnTo>
                  <a:lnTo>
                    <a:pt x="108" y="349"/>
                  </a:lnTo>
                  <a:lnTo>
                    <a:pt x="108" y="342"/>
                  </a:lnTo>
                  <a:lnTo>
                    <a:pt x="107" y="337"/>
                  </a:lnTo>
                  <a:lnTo>
                    <a:pt x="103" y="335"/>
                  </a:lnTo>
                  <a:lnTo>
                    <a:pt x="101" y="331"/>
                  </a:lnTo>
                  <a:lnTo>
                    <a:pt x="100" y="327"/>
                  </a:lnTo>
                  <a:lnTo>
                    <a:pt x="98" y="322"/>
                  </a:lnTo>
                  <a:lnTo>
                    <a:pt x="94" y="321"/>
                  </a:lnTo>
                  <a:lnTo>
                    <a:pt x="86" y="317"/>
                  </a:lnTo>
                  <a:lnTo>
                    <a:pt x="82" y="316"/>
                  </a:lnTo>
                  <a:lnTo>
                    <a:pt x="61" y="310"/>
                  </a:lnTo>
                  <a:lnTo>
                    <a:pt x="50" y="305"/>
                  </a:lnTo>
                  <a:lnTo>
                    <a:pt x="43" y="293"/>
                  </a:lnTo>
                  <a:lnTo>
                    <a:pt x="25" y="288"/>
                  </a:lnTo>
                  <a:lnTo>
                    <a:pt x="25" y="285"/>
                  </a:lnTo>
                  <a:lnTo>
                    <a:pt x="29" y="285"/>
                  </a:lnTo>
                  <a:lnTo>
                    <a:pt x="30" y="285"/>
                  </a:lnTo>
                  <a:lnTo>
                    <a:pt x="31" y="283"/>
                  </a:lnTo>
                  <a:lnTo>
                    <a:pt x="23" y="262"/>
                  </a:lnTo>
                  <a:lnTo>
                    <a:pt x="8" y="261"/>
                  </a:lnTo>
                  <a:lnTo>
                    <a:pt x="0" y="246"/>
                  </a:lnTo>
                  <a:lnTo>
                    <a:pt x="6" y="233"/>
                  </a:lnTo>
                  <a:lnTo>
                    <a:pt x="17" y="227"/>
                  </a:lnTo>
                  <a:lnTo>
                    <a:pt x="24" y="226"/>
                  </a:lnTo>
                  <a:lnTo>
                    <a:pt x="32" y="228"/>
                  </a:lnTo>
                  <a:lnTo>
                    <a:pt x="42" y="217"/>
                  </a:lnTo>
                  <a:lnTo>
                    <a:pt x="58" y="213"/>
                  </a:lnTo>
                  <a:lnTo>
                    <a:pt x="68" y="204"/>
                  </a:lnTo>
                  <a:lnTo>
                    <a:pt x="79" y="195"/>
                  </a:lnTo>
                  <a:lnTo>
                    <a:pt x="76" y="186"/>
                  </a:lnTo>
                  <a:lnTo>
                    <a:pt x="79" y="183"/>
                  </a:lnTo>
                  <a:lnTo>
                    <a:pt x="79" y="179"/>
                  </a:lnTo>
                  <a:lnTo>
                    <a:pt x="72" y="166"/>
                  </a:lnTo>
                  <a:lnTo>
                    <a:pt x="66" y="153"/>
                  </a:lnTo>
                  <a:lnTo>
                    <a:pt x="56" y="149"/>
                  </a:lnTo>
                  <a:lnTo>
                    <a:pt x="73" y="142"/>
                  </a:lnTo>
                  <a:lnTo>
                    <a:pt x="94" y="144"/>
                  </a:lnTo>
                  <a:lnTo>
                    <a:pt x="88" y="137"/>
                  </a:lnTo>
                  <a:lnTo>
                    <a:pt x="86" y="123"/>
                  </a:lnTo>
                  <a:lnTo>
                    <a:pt x="84" y="107"/>
                  </a:lnTo>
                  <a:lnTo>
                    <a:pt x="107" y="112"/>
                  </a:lnTo>
                  <a:lnTo>
                    <a:pt x="120" y="109"/>
                  </a:lnTo>
                  <a:lnTo>
                    <a:pt x="113" y="91"/>
                  </a:lnTo>
                  <a:lnTo>
                    <a:pt x="120" y="87"/>
                  </a:lnTo>
                  <a:lnTo>
                    <a:pt x="126" y="75"/>
                  </a:lnTo>
                  <a:lnTo>
                    <a:pt x="137" y="73"/>
                  </a:lnTo>
                  <a:lnTo>
                    <a:pt x="138" y="76"/>
                  </a:lnTo>
                  <a:lnTo>
                    <a:pt x="144" y="82"/>
                  </a:lnTo>
                  <a:lnTo>
                    <a:pt x="164" y="95"/>
                  </a:lnTo>
                  <a:lnTo>
                    <a:pt x="175" y="97"/>
                  </a:lnTo>
                  <a:lnTo>
                    <a:pt x="197" y="112"/>
                  </a:lnTo>
                  <a:lnTo>
                    <a:pt x="202" y="126"/>
                  </a:lnTo>
                  <a:lnTo>
                    <a:pt x="208" y="141"/>
                  </a:lnTo>
                  <a:lnTo>
                    <a:pt x="224" y="143"/>
                  </a:lnTo>
                  <a:lnTo>
                    <a:pt x="241" y="147"/>
                  </a:lnTo>
                  <a:lnTo>
                    <a:pt x="262" y="153"/>
                  </a:lnTo>
                  <a:lnTo>
                    <a:pt x="282" y="159"/>
                  </a:lnTo>
                  <a:lnTo>
                    <a:pt x="295" y="173"/>
                  </a:lnTo>
                  <a:lnTo>
                    <a:pt x="308" y="186"/>
                  </a:lnTo>
                  <a:lnTo>
                    <a:pt x="329" y="187"/>
                  </a:lnTo>
                  <a:lnTo>
                    <a:pt x="348" y="189"/>
                  </a:lnTo>
                  <a:lnTo>
                    <a:pt x="368" y="190"/>
                  </a:lnTo>
                  <a:lnTo>
                    <a:pt x="389" y="191"/>
                  </a:lnTo>
                  <a:lnTo>
                    <a:pt x="395" y="196"/>
                  </a:lnTo>
                  <a:lnTo>
                    <a:pt x="413" y="199"/>
                  </a:lnTo>
                  <a:lnTo>
                    <a:pt x="431" y="203"/>
                  </a:lnTo>
                  <a:lnTo>
                    <a:pt x="442" y="208"/>
                  </a:lnTo>
                  <a:lnTo>
                    <a:pt x="452" y="201"/>
                  </a:lnTo>
                  <a:lnTo>
                    <a:pt x="462" y="195"/>
                  </a:lnTo>
                  <a:lnTo>
                    <a:pt x="480" y="193"/>
                  </a:lnTo>
                  <a:lnTo>
                    <a:pt x="497" y="192"/>
                  </a:lnTo>
                  <a:lnTo>
                    <a:pt x="510" y="180"/>
                  </a:lnTo>
                  <a:lnTo>
                    <a:pt x="523" y="169"/>
                  </a:lnTo>
                  <a:lnTo>
                    <a:pt x="514" y="161"/>
                  </a:lnTo>
                  <a:lnTo>
                    <a:pt x="511" y="144"/>
                  </a:lnTo>
                  <a:lnTo>
                    <a:pt x="533" y="150"/>
                  </a:lnTo>
                  <a:lnTo>
                    <a:pt x="546" y="142"/>
                  </a:lnTo>
                  <a:lnTo>
                    <a:pt x="560" y="138"/>
                  </a:lnTo>
                  <a:lnTo>
                    <a:pt x="563" y="126"/>
                  </a:lnTo>
                  <a:lnTo>
                    <a:pt x="580" y="118"/>
                  </a:lnTo>
                  <a:lnTo>
                    <a:pt x="604" y="118"/>
                  </a:lnTo>
                  <a:lnTo>
                    <a:pt x="600" y="109"/>
                  </a:lnTo>
                  <a:lnTo>
                    <a:pt x="569" y="93"/>
                  </a:lnTo>
                  <a:lnTo>
                    <a:pt x="562" y="100"/>
                  </a:lnTo>
                  <a:lnTo>
                    <a:pt x="557" y="97"/>
                  </a:lnTo>
                  <a:lnTo>
                    <a:pt x="541" y="97"/>
                  </a:lnTo>
                  <a:lnTo>
                    <a:pt x="529" y="90"/>
                  </a:lnTo>
                  <a:lnTo>
                    <a:pt x="533" y="89"/>
                  </a:lnTo>
                  <a:lnTo>
                    <a:pt x="532" y="75"/>
                  </a:lnTo>
                  <a:lnTo>
                    <a:pt x="529" y="61"/>
                  </a:lnTo>
                  <a:lnTo>
                    <a:pt x="550" y="65"/>
                  </a:lnTo>
                  <a:lnTo>
                    <a:pt x="560" y="54"/>
                  </a:lnTo>
                  <a:lnTo>
                    <a:pt x="556" y="41"/>
                  </a:lnTo>
                  <a:lnTo>
                    <a:pt x="554" y="21"/>
                  </a:lnTo>
                  <a:lnTo>
                    <a:pt x="545" y="13"/>
                  </a:lnTo>
                  <a:lnTo>
                    <a:pt x="539" y="11"/>
                  </a:lnTo>
                  <a:lnTo>
                    <a:pt x="548" y="1"/>
                  </a:lnTo>
                  <a:lnTo>
                    <a:pt x="566" y="0"/>
                  </a:lnTo>
                  <a:lnTo>
                    <a:pt x="584" y="0"/>
                  </a:lnTo>
                  <a:lnTo>
                    <a:pt x="619" y="11"/>
                  </a:lnTo>
                  <a:lnTo>
                    <a:pt x="634" y="24"/>
                  </a:lnTo>
                  <a:lnTo>
                    <a:pt x="648" y="36"/>
                  </a:lnTo>
                  <a:lnTo>
                    <a:pt x="662" y="48"/>
                  </a:lnTo>
                  <a:lnTo>
                    <a:pt x="677" y="60"/>
                  </a:lnTo>
                  <a:lnTo>
                    <a:pt x="692" y="66"/>
                  </a:lnTo>
                  <a:lnTo>
                    <a:pt x="718" y="73"/>
                  </a:lnTo>
                  <a:lnTo>
                    <a:pt x="733" y="79"/>
                  </a:lnTo>
                  <a:lnTo>
                    <a:pt x="751" y="99"/>
                  </a:lnTo>
                  <a:lnTo>
                    <a:pt x="773" y="96"/>
                  </a:lnTo>
                  <a:lnTo>
                    <a:pt x="794" y="88"/>
                  </a:lnTo>
                  <a:lnTo>
                    <a:pt x="803" y="103"/>
                  </a:lnTo>
                  <a:lnTo>
                    <a:pt x="805" y="124"/>
                  </a:lnTo>
                  <a:lnTo>
                    <a:pt x="809" y="145"/>
                  </a:lnTo>
                  <a:lnTo>
                    <a:pt x="790" y="142"/>
                  </a:lnTo>
                  <a:lnTo>
                    <a:pt x="787" y="151"/>
                  </a:lnTo>
                  <a:lnTo>
                    <a:pt x="797" y="167"/>
                  </a:lnTo>
                  <a:lnTo>
                    <a:pt x="806" y="183"/>
                  </a:lnTo>
                  <a:lnTo>
                    <a:pt x="800" y="187"/>
                  </a:lnTo>
                  <a:lnTo>
                    <a:pt x="804" y="192"/>
                  </a:lnTo>
                  <a:lnTo>
                    <a:pt x="787" y="183"/>
                  </a:lnTo>
                  <a:lnTo>
                    <a:pt x="787" y="192"/>
                  </a:lnTo>
                  <a:lnTo>
                    <a:pt x="778" y="199"/>
                  </a:lnTo>
                  <a:lnTo>
                    <a:pt x="773" y="201"/>
                  </a:lnTo>
                  <a:lnTo>
                    <a:pt x="779" y="210"/>
                  </a:lnTo>
                  <a:lnTo>
                    <a:pt x="761" y="205"/>
                  </a:lnTo>
                  <a:lnTo>
                    <a:pt x="755" y="208"/>
                  </a:lnTo>
                  <a:lnTo>
                    <a:pt x="746" y="223"/>
                  </a:lnTo>
                  <a:lnTo>
                    <a:pt x="738" y="233"/>
                  </a:lnTo>
                  <a:lnTo>
                    <a:pt x="731" y="238"/>
                  </a:lnTo>
                  <a:lnTo>
                    <a:pt x="721" y="245"/>
                  </a:lnTo>
                  <a:lnTo>
                    <a:pt x="712" y="251"/>
                  </a:lnTo>
                  <a:lnTo>
                    <a:pt x="701" y="256"/>
                  </a:lnTo>
                  <a:lnTo>
                    <a:pt x="707" y="246"/>
                  </a:lnTo>
                  <a:lnTo>
                    <a:pt x="697" y="243"/>
                  </a:lnTo>
                  <a:lnTo>
                    <a:pt x="701" y="225"/>
                  </a:lnTo>
                  <a:lnTo>
                    <a:pt x="692" y="220"/>
                  </a:lnTo>
                  <a:lnTo>
                    <a:pt x="683" y="222"/>
                  </a:lnTo>
                  <a:lnTo>
                    <a:pt x="676" y="233"/>
                  </a:lnTo>
                  <a:lnTo>
                    <a:pt x="668" y="245"/>
                  </a:lnTo>
                  <a:lnTo>
                    <a:pt x="658" y="251"/>
                  </a:lnTo>
                  <a:lnTo>
                    <a:pt x="649" y="252"/>
                  </a:lnTo>
                  <a:lnTo>
                    <a:pt x="654" y="264"/>
                  </a:lnTo>
                  <a:lnTo>
                    <a:pt x="676" y="270"/>
                  </a:lnTo>
                  <a:lnTo>
                    <a:pt x="683" y="285"/>
                  </a:lnTo>
                  <a:lnTo>
                    <a:pt x="694" y="282"/>
                  </a:lnTo>
                  <a:lnTo>
                    <a:pt x="706" y="274"/>
                  </a:lnTo>
                  <a:lnTo>
                    <a:pt x="725" y="281"/>
                  </a:lnTo>
                  <a:lnTo>
                    <a:pt x="734" y="283"/>
                  </a:lnTo>
                  <a:lnTo>
                    <a:pt x="734" y="292"/>
                  </a:lnTo>
                  <a:lnTo>
                    <a:pt x="726" y="291"/>
                  </a:lnTo>
                  <a:lnTo>
                    <a:pt x="716" y="297"/>
                  </a:lnTo>
                  <a:lnTo>
                    <a:pt x="710" y="305"/>
                  </a:lnTo>
                  <a:lnTo>
                    <a:pt x="708" y="311"/>
                  </a:lnTo>
                  <a:lnTo>
                    <a:pt x="706" y="329"/>
                  </a:lnTo>
                  <a:lnTo>
                    <a:pt x="727" y="342"/>
                  </a:lnTo>
                  <a:lnTo>
                    <a:pt x="738" y="355"/>
                  </a:lnTo>
                  <a:lnTo>
                    <a:pt x="748" y="370"/>
                  </a:lnTo>
                  <a:lnTo>
                    <a:pt x="764" y="384"/>
                  </a:lnTo>
                  <a:lnTo>
                    <a:pt x="740" y="377"/>
                  </a:lnTo>
                  <a:lnTo>
                    <a:pt x="742" y="378"/>
                  </a:lnTo>
                  <a:lnTo>
                    <a:pt x="756" y="388"/>
                  </a:lnTo>
                  <a:lnTo>
                    <a:pt x="770" y="397"/>
                  </a:lnTo>
                  <a:lnTo>
                    <a:pt x="756" y="407"/>
                  </a:lnTo>
                  <a:lnTo>
                    <a:pt x="751" y="411"/>
                  </a:lnTo>
                  <a:lnTo>
                    <a:pt x="760" y="412"/>
                  </a:lnTo>
                  <a:lnTo>
                    <a:pt x="769" y="411"/>
                  </a:lnTo>
                  <a:lnTo>
                    <a:pt x="780" y="417"/>
                  </a:lnTo>
                  <a:lnTo>
                    <a:pt x="774" y="424"/>
                  </a:lnTo>
                  <a:lnTo>
                    <a:pt x="780" y="424"/>
                  </a:lnTo>
                  <a:lnTo>
                    <a:pt x="779" y="426"/>
                  </a:lnTo>
                  <a:lnTo>
                    <a:pt x="775" y="430"/>
                  </a:lnTo>
                  <a:lnTo>
                    <a:pt x="776" y="433"/>
                  </a:lnTo>
                  <a:lnTo>
                    <a:pt x="778" y="437"/>
                  </a:lnTo>
                  <a:lnTo>
                    <a:pt x="775" y="437"/>
                  </a:lnTo>
                  <a:lnTo>
                    <a:pt x="779" y="444"/>
                  </a:lnTo>
                  <a:lnTo>
                    <a:pt x="775" y="445"/>
                  </a:lnTo>
                  <a:lnTo>
                    <a:pt x="767" y="449"/>
                  </a:lnTo>
                  <a:lnTo>
                    <a:pt x="770" y="455"/>
                  </a:lnTo>
                  <a:lnTo>
                    <a:pt x="768" y="463"/>
                  </a:lnTo>
                  <a:lnTo>
                    <a:pt x="762" y="477"/>
                  </a:lnTo>
                  <a:lnTo>
                    <a:pt x="760" y="478"/>
                  </a:lnTo>
                  <a:lnTo>
                    <a:pt x="763" y="481"/>
                  </a:lnTo>
                  <a:lnTo>
                    <a:pt x="756" y="485"/>
                  </a:lnTo>
                  <a:lnTo>
                    <a:pt x="755" y="485"/>
                  </a:lnTo>
                  <a:lnTo>
                    <a:pt x="762" y="487"/>
                  </a:lnTo>
                  <a:lnTo>
                    <a:pt x="763" y="497"/>
                  </a:lnTo>
                  <a:lnTo>
                    <a:pt x="758" y="496"/>
                  </a:lnTo>
                  <a:lnTo>
                    <a:pt x="758" y="499"/>
                  </a:lnTo>
                  <a:lnTo>
                    <a:pt x="755" y="503"/>
                  </a:lnTo>
                  <a:lnTo>
                    <a:pt x="754" y="505"/>
                  </a:lnTo>
                  <a:lnTo>
                    <a:pt x="752" y="511"/>
                  </a:lnTo>
                  <a:lnTo>
                    <a:pt x="744" y="513"/>
                  </a:lnTo>
                  <a:lnTo>
                    <a:pt x="743" y="515"/>
                  </a:lnTo>
                  <a:lnTo>
                    <a:pt x="744" y="519"/>
                  </a:lnTo>
                  <a:lnTo>
                    <a:pt x="739" y="525"/>
                  </a:lnTo>
                  <a:lnTo>
                    <a:pt x="726" y="534"/>
                  </a:lnTo>
                  <a:lnTo>
                    <a:pt x="727" y="535"/>
                  </a:lnTo>
                  <a:lnTo>
                    <a:pt x="721" y="540"/>
                  </a:lnTo>
                  <a:lnTo>
                    <a:pt x="713" y="543"/>
                  </a:lnTo>
                  <a:lnTo>
                    <a:pt x="712" y="543"/>
                  </a:lnTo>
                  <a:lnTo>
                    <a:pt x="709" y="545"/>
                  </a:lnTo>
                  <a:lnTo>
                    <a:pt x="702" y="546"/>
                  </a:lnTo>
                  <a:lnTo>
                    <a:pt x="700" y="545"/>
                  </a:lnTo>
                  <a:lnTo>
                    <a:pt x="696" y="547"/>
                  </a:lnTo>
                  <a:lnTo>
                    <a:pt x="694" y="550"/>
                  </a:lnTo>
                  <a:lnTo>
                    <a:pt x="689" y="550"/>
                  </a:lnTo>
                  <a:lnTo>
                    <a:pt x="680" y="538"/>
                  </a:lnTo>
                  <a:lnTo>
                    <a:pt x="677" y="543"/>
                  </a:lnTo>
                  <a:lnTo>
                    <a:pt x="680" y="555"/>
                  </a:lnTo>
                  <a:lnTo>
                    <a:pt x="677" y="550"/>
                  </a:lnTo>
                  <a:lnTo>
                    <a:pt x="677" y="557"/>
                  </a:lnTo>
                  <a:lnTo>
                    <a:pt x="674" y="556"/>
                  </a:lnTo>
                  <a:lnTo>
                    <a:pt x="668" y="562"/>
                  </a:lnTo>
                  <a:lnTo>
                    <a:pt x="665" y="558"/>
                  </a:lnTo>
                  <a:lnTo>
                    <a:pt x="662" y="562"/>
                  </a:lnTo>
                  <a:lnTo>
                    <a:pt x="658" y="561"/>
                  </a:lnTo>
                  <a:lnTo>
                    <a:pt x="648" y="567"/>
                  </a:lnTo>
                  <a:lnTo>
                    <a:pt x="640" y="569"/>
                  </a:lnTo>
                  <a:lnTo>
                    <a:pt x="637" y="570"/>
                  </a:lnTo>
                  <a:lnTo>
                    <a:pt x="636" y="579"/>
                  </a:lnTo>
                  <a:lnTo>
                    <a:pt x="640" y="588"/>
                  </a:lnTo>
                  <a:lnTo>
                    <a:pt x="631" y="587"/>
                  </a:lnTo>
                  <a:lnTo>
                    <a:pt x="628" y="569"/>
                  </a:lnTo>
                  <a:lnTo>
                    <a:pt x="623" y="565"/>
                  </a:lnTo>
                  <a:lnTo>
                    <a:pt x="617" y="567"/>
                  </a:lnTo>
                  <a:lnTo>
                    <a:pt x="611" y="564"/>
                  </a:lnTo>
                  <a:lnTo>
                    <a:pt x="605" y="561"/>
                  </a:lnTo>
                  <a:lnTo>
                    <a:pt x="604" y="563"/>
                  </a:lnTo>
                  <a:lnTo>
                    <a:pt x="598" y="565"/>
                  </a:lnTo>
                  <a:lnTo>
                    <a:pt x="582" y="559"/>
                  </a:lnTo>
                  <a:lnTo>
                    <a:pt x="576" y="555"/>
                  </a:lnTo>
                  <a:lnTo>
                    <a:pt x="574" y="543"/>
                  </a:lnTo>
                  <a:lnTo>
                    <a:pt x="554" y="537"/>
                  </a:lnTo>
                  <a:lnTo>
                    <a:pt x="547" y="535"/>
                  </a:lnTo>
                  <a:lnTo>
                    <a:pt x="539" y="546"/>
                  </a:lnTo>
                  <a:lnTo>
                    <a:pt x="533" y="546"/>
                  </a:lnTo>
                  <a:lnTo>
                    <a:pt x="530" y="547"/>
                  </a:lnTo>
                  <a:lnTo>
                    <a:pt x="527" y="546"/>
                  </a:lnTo>
                  <a:lnTo>
                    <a:pt x="520" y="546"/>
                  </a:lnTo>
                  <a:lnTo>
                    <a:pt x="517" y="549"/>
                  </a:lnTo>
                  <a:lnTo>
                    <a:pt x="509" y="546"/>
                  </a:lnTo>
                  <a:lnTo>
                    <a:pt x="505" y="551"/>
                  </a:lnTo>
                  <a:lnTo>
                    <a:pt x="497" y="551"/>
                  </a:lnTo>
                  <a:lnTo>
                    <a:pt x="500" y="573"/>
                  </a:lnTo>
                  <a:lnTo>
                    <a:pt x="494" y="569"/>
                  </a:lnTo>
                  <a:lnTo>
                    <a:pt x="492" y="565"/>
                  </a:lnTo>
                  <a:lnTo>
                    <a:pt x="487" y="563"/>
                  </a:lnTo>
                  <a:lnTo>
                    <a:pt x="476" y="567"/>
                  </a:lnTo>
                  <a:lnTo>
                    <a:pt x="468" y="557"/>
                  </a:lnTo>
                  <a:lnTo>
                    <a:pt x="460" y="553"/>
                  </a:lnTo>
                  <a:lnTo>
                    <a:pt x="462" y="539"/>
                  </a:lnTo>
                  <a:lnTo>
                    <a:pt x="451" y="534"/>
                  </a:lnTo>
                  <a:lnTo>
                    <a:pt x="448" y="522"/>
                  </a:lnTo>
                  <a:lnTo>
                    <a:pt x="446" y="520"/>
                  </a:lnTo>
                  <a:lnTo>
                    <a:pt x="430" y="522"/>
                  </a:lnTo>
                  <a:lnTo>
                    <a:pt x="430" y="514"/>
                  </a:lnTo>
                  <a:lnTo>
                    <a:pt x="428" y="507"/>
                  </a:lnTo>
                  <a:lnTo>
                    <a:pt x="436" y="495"/>
                  </a:lnTo>
                  <a:lnTo>
                    <a:pt x="438" y="486"/>
                  </a:lnTo>
                  <a:lnTo>
                    <a:pt x="434" y="472"/>
                  </a:lnTo>
                  <a:lnTo>
                    <a:pt x="432" y="457"/>
                  </a:lnTo>
                  <a:lnTo>
                    <a:pt x="425" y="454"/>
                  </a:lnTo>
                  <a:lnTo>
                    <a:pt x="412" y="441"/>
                  </a:lnTo>
                  <a:lnTo>
                    <a:pt x="410" y="447"/>
                  </a:lnTo>
                  <a:lnTo>
                    <a:pt x="394" y="441"/>
                  </a:lnTo>
                  <a:lnTo>
                    <a:pt x="394" y="432"/>
                  </a:lnTo>
                  <a:lnTo>
                    <a:pt x="388" y="431"/>
                  </a:lnTo>
                  <a:lnTo>
                    <a:pt x="389" y="427"/>
                  </a:lnTo>
                  <a:lnTo>
                    <a:pt x="383" y="425"/>
                  </a:lnTo>
                  <a:lnTo>
                    <a:pt x="374" y="430"/>
                  </a:lnTo>
                  <a:lnTo>
                    <a:pt x="361" y="42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5" name="Freeform 252"/>
            <p:cNvSpPr>
              <a:spLocks/>
            </p:cNvSpPr>
            <p:nvPr/>
          </p:nvSpPr>
          <p:spPr bwMode="auto">
            <a:xfrm>
              <a:off x="4415" y="2307"/>
              <a:ext cx="40" cy="34"/>
            </a:xfrm>
            <a:custGeom>
              <a:avLst/>
              <a:gdLst/>
              <a:ahLst/>
              <a:cxnLst>
                <a:cxn ang="0">
                  <a:pos x="26" y="0"/>
                </a:cxn>
                <a:cxn ang="0">
                  <a:pos x="11" y="3"/>
                </a:cxn>
                <a:cxn ang="0">
                  <a:pos x="0" y="10"/>
                </a:cxn>
                <a:cxn ang="0">
                  <a:pos x="1" y="24"/>
                </a:cxn>
                <a:cxn ang="0">
                  <a:pos x="13" y="30"/>
                </a:cxn>
                <a:cxn ang="0">
                  <a:pos x="19" y="29"/>
                </a:cxn>
                <a:cxn ang="0">
                  <a:pos x="29" y="18"/>
                </a:cxn>
                <a:cxn ang="0">
                  <a:pos x="35" y="6"/>
                </a:cxn>
                <a:cxn ang="0">
                  <a:pos x="32" y="0"/>
                </a:cxn>
                <a:cxn ang="0">
                  <a:pos x="26" y="0"/>
                </a:cxn>
              </a:cxnLst>
              <a:rect l="0" t="0" r="r" b="b"/>
              <a:pathLst>
                <a:path w="35" h="30">
                  <a:moveTo>
                    <a:pt x="26" y="0"/>
                  </a:moveTo>
                  <a:lnTo>
                    <a:pt x="11" y="3"/>
                  </a:lnTo>
                  <a:lnTo>
                    <a:pt x="0" y="10"/>
                  </a:lnTo>
                  <a:lnTo>
                    <a:pt x="1" y="24"/>
                  </a:lnTo>
                  <a:lnTo>
                    <a:pt x="13" y="30"/>
                  </a:lnTo>
                  <a:lnTo>
                    <a:pt x="19" y="29"/>
                  </a:lnTo>
                  <a:lnTo>
                    <a:pt x="29" y="18"/>
                  </a:lnTo>
                  <a:lnTo>
                    <a:pt x="35" y="6"/>
                  </a:lnTo>
                  <a:lnTo>
                    <a:pt x="32" y="0"/>
                  </a:lnTo>
                  <a:lnTo>
                    <a:pt x="2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6" name="Freeform 253"/>
            <p:cNvSpPr>
              <a:spLocks/>
            </p:cNvSpPr>
            <p:nvPr/>
          </p:nvSpPr>
          <p:spPr bwMode="auto">
            <a:xfrm>
              <a:off x="4713" y="1879"/>
              <a:ext cx="149" cy="157"/>
            </a:xfrm>
            <a:custGeom>
              <a:avLst/>
              <a:gdLst/>
              <a:ahLst/>
              <a:cxnLst>
                <a:cxn ang="0">
                  <a:pos x="125" y="108"/>
                </a:cxn>
                <a:cxn ang="0">
                  <a:pos x="122" y="103"/>
                </a:cxn>
                <a:cxn ang="0">
                  <a:pos x="123" y="112"/>
                </a:cxn>
                <a:cxn ang="0">
                  <a:pos x="116" y="114"/>
                </a:cxn>
                <a:cxn ang="0">
                  <a:pos x="114" y="121"/>
                </a:cxn>
                <a:cxn ang="0">
                  <a:pos x="111" y="113"/>
                </a:cxn>
                <a:cxn ang="0">
                  <a:pos x="107" y="122"/>
                </a:cxn>
                <a:cxn ang="0">
                  <a:pos x="90" y="121"/>
                </a:cxn>
                <a:cxn ang="0">
                  <a:pos x="86" y="119"/>
                </a:cxn>
                <a:cxn ang="0">
                  <a:pos x="81" y="115"/>
                </a:cxn>
                <a:cxn ang="0">
                  <a:pos x="83" y="124"/>
                </a:cxn>
                <a:cxn ang="0">
                  <a:pos x="87" y="128"/>
                </a:cxn>
                <a:cxn ang="0">
                  <a:pos x="81" y="136"/>
                </a:cxn>
                <a:cxn ang="0">
                  <a:pos x="78" y="143"/>
                </a:cxn>
                <a:cxn ang="0">
                  <a:pos x="64" y="132"/>
                </a:cxn>
                <a:cxn ang="0">
                  <a:pos x="63" y="120"/>
                </a:cxn>
                <a:cxn ang="0">
                  <a:pos x="44" y="122"/>
                </a:cxn>
                <a:cxn ang="0">
                  <a:pos x="23" y="127"/>
                </a:cxn>
                <a:cxn ang="0">
                  <a:pos x="17" y="134"/>
                </a:cxn>
                <a:cxn ang="0">
                  <a:pos x="0" y="132"/>
                </a:cxn>
                <a:cxn ang="0">
                  <a:pos x="3" y="126"/>
                </a:cxn>
                <a:cxn ang="0">
                  <a:pos x="14" y="115"/>
                </a:cxn>
                <a:cxn ang="0">
                  <a:pos x="23" y="106"/>
                </a:cxn>
                <a:cxn ang="0">
                  <a:pos x="38" y="104"/>
                </a:cxn>
                <a:cxn ang="0">
                  <a:pos x="53" y="103"/>
                </a:cxn>
                <a:cxn ang="0">
                  <a:pos x="57" y="106"/>
                </a:cxn>
                <a:cxn ang="0">
                  <a:pos x="65" y="101"/>
                </a:cxn>
                <a:cxn ang="0">
                  <a:pos x="63" y="91"/>
                </a:cxn>
                <a:cxn ang="0">
                  <a:pos x="62" y="77"/>
                </a:cxn>
                <a:cxn ang="0">
                  <a:pos x="68" y="73"/>
                </a:cxn>
                <a:cxn ang="0">
                  <a:pos x="66" y="78"/>
                </a:cxn>
                <a:cxn ang="0">
                  <a:pos x="72" y="84"/>
                </a:cxn>
                <a:cxn ang="0">
                  <a:pos x="80" y="77"/>
                </a:cxn>
                <a:cxn ang="0">
                  <a:pos x="87" y="70"/>
                </a:cxn>
                <a:cxn ang="0">
                  <a:pos x="89" y="56"/>
                </a:cxn>
                <a:cxn ang="0">
                  <a:pos x="90" y="42"/>
                </a:cxn>
                <a:cxn ang="0">
                  <a:pos x="82" y="29"/>
                </a:cxn>
                <a:cxn ang="0">
                  <a:pos x="76" y="13"/>
                </a:cxn>
                <a:cxn ang="0">
                  <a:pos x="77" y="5"/>
                </a:cxn>
                <a:cxn ang="0">
                  <a:pos x="86" y="10"/>
                </a:cxn>
                <a:cxn ang="0">
                  <a:pos x="89" y="7"/>
                </a:cxn>
                <a:cxn ang="0">
                  <a:pos x="87" y="4"/>
                </a:cxn>
                <a:cxn ang="0">
                  <a:pos x="81" y="4"/>
                </a:cxn>
                <a:cxn ang="0">
                  <a:pos x="82" y="0"/>
                </a:cxn>
                <a:cxn ang="0">
                  <a:pos x="89" y="2"/>
                </a:cxn>
                <a:cxn ang="0">
                  <a:pos x="102" y="18"/>
                </a:cxn>
                <a:cxn ang="0">
                  <a:pos x="118" y="34"/>
                </a:cxn>
                <a:cxn ang="0">
                  <a:pos x="119" y="55"/>
                </a:cxn>
                <a:cxn ang="0">
                  <a:pos x="116" y="61"/>
                </a:cxn>
                <a:cxn ang="0">
                  <a:pos x="124" y="84"/>
                </a:cxn>
                <a:cxn ang="0">
                  <a:pos x="135" y="101"/>
                </a:cxn>
                <a:cxn ang="0">
                  <a:pos x="129" y="118"/>
                </a:cxn>
                <a:cxn ang="0">
                  <a:pos x="125" y="108"/>
                </a:cxn>
              </a:cxnLst>
              <a:rect l="0" t="0" r="r" b="b"/>
              <a:pathLst>
                <a:path w="135" h="143">
                  <a:moveTo>
                    <a:pt x="125" y="108"/>
                  </a:moveTo>
                  <a:lnTo>
                    <a:pt x="122" y="103"/>
                  </a:lnTo>
                  <a:lnTo>
                    <a:pt x="123" y="112"/>
                  </a:lnTo>
                  <a:lnTo>
                    <a:pt x="116" y="114"/>
                  </a:lnTo>
                  <a:lnTo>
                    <a:pt x="114" y="121"/>
                  </a:lnTo>
                  <a:lnTo>
                    <a:pt x="111" y="113"/>
                  </a:lnTo>
                  <a:lnTo>
                    <a:pt x="107" y="122"/>
                  </a:lnTo>
                  <a:lnTo>
                    <a:pt x="90" y="121"/>
                  </a:lnTo>
                  <a:lnTo>
                    <a:pt x="86" y="119"/>
                  </a:lnTo>
                  <a:lnTo>
                    <a:pt x="81" y="115"/>
                  </a:lnTo>
                  <a:lnTo>
                    <a:pt x="83" y="124"/>
                  </a:lnTo>
                  <a:lnTo>
                    <a:pt x="87" y="128"/>
                  </a:lnTo>
                  <a:lnTo>
                    <a:pt x="81" y="136"/>
                  </a:lnTo>
                  <a:lnTo>
                    <a:pt x="78" y="143"/>
                  </a:lnTo>
                  <a:lnTo>
                    <a:pt x="64" y="132"/>
                  </a:lnTo>
                  <a:lnTo>
                    <a:pt x="63" y="120"/>
                  </a:lnTo>
                  <a:lnTo>
                    <a:pt x="44" y="122"/>
                  </a:lnTo>
                  <a:lnTo>
                    <a:pt x="23" y="127"/>
                  </a:lnTo>
                  <a:lnTo>
                    <a:pt x="17" y="134"/>
                  </a:lnTo>
                  <a:lnTo>
                    <a:pt x="0" y="132"/>
                  </a:lnTo>
                  <a:lnTo>
                    <a:pt x="3" y="126"/>
                  </a:lnTo>
                  <a:lnTo>
                    <a:pt x="14" y="115"/>
                  </a:lnTo>
                  <a:lnTo>
                    <a:pt x="23" y="106"/>
                  </a:lnTo>
                  <a:lnTo>
                    <a:pt x="38" y="104"/>
                  </a:lnTo>
                  <a:lnTo>
                    <a:pt x="53" y="103"/>
                  </a:lnTo>
                  <a:lnTo>
                    <a:pt x="57" y="106"/>
                  </a:lnTo>
                  <a:lnTo>
                    <a:pt x="65" y="101"/>
                  </a:lnTo>
                  <a:lnTo>
                    <a:pt x="63" y="91"/>
                  </a:lnTo>
                  <a:lnTo>
                    <a:pt x="62" y="77"/>
                  </a:lnTo>
                  <a:lnTo>
                    <a:pt x="68" y="73"/>
                  </a:lnTo>
                  <a:lnTo>
                    <a:pt x="66" y="78"/>
                  </a:lnTo>
                  <a:lnTo>
                    <a:pt x="72" y="84"/>
                  </a:lnTo>
                  <a:lnTo>
                    <a:pt x="80" y="77"/>
                  </a:lnTo>
                  <a:lnTo>
                    <a:pt x="87" y="70"/>
                  </a:lnTo>
                  <a:lnTo>
                    <a:pt x="89" y="56"/>
                  </a:lnTo>
                  <a:lnTo>
                    <a:pt x="90" y="42"/>
                  </a:lnTo>
                  <a:lnTo>
                    <a:pt x="82" y="29"/>
                  </a:lnTo>
                  <a:lnTo>
                    <a:pt x="76" y="13"/>
                  </a:lnTo>
                  <a:lnTo>
                    <a:pt x="77" y="5"/>
                  </a:lnTo>
                  <a:lnTo>
                    <a:pt x="86" y="10"/>
                  </a:lnTo>
                  <a:lnTo>
                    <a:pt x="89" y="7"/>
                  </a:lnTo>
                  <a:lnTo>
                    <a:pt x="87" y="4"/>
                  </a:lnTo>
                  <a:lnTo>
                    <a:pt x="81" y="4"/>
                  </a:lnTo>
                  <a:lnTo>
                    <a:pt x="82" y="0"/>
                  </a:lnTo>
                  <a:lnTo>
                    <a:pt x="89" y="2"/>
                  </a:lnTo>
                  <a:lnTo>
                    <a:pt x="102" y="18"/>
                  </a:lnTo>
                  <a:lnTo>
                    <a:pt x="118" y="34"/>
                  </a:lnTo>
                  <a:lnTo>
                    <a:pt x="119" y="55"/>
                  </a:lnTo>
                  <a:lnTo>
                    <a:pt x="116" y="61"/>
                  </a:lnTo>
                  <a:lnTo>
                    <a:pt x="124" y="84"/>
                  </a:lnTo>
                  <a:lnTo>
                    <a:pt x="135" y="101"/>
                  </a:lnTo>
                  <a:lnTo>
                    <a:pt x="129" y="118"/>
                  </a:lnTo>
                  <a:lnTo>
                    <a:pt x="125" y="10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7" name="Freeform 254"/>
            <p:cNvSpPr>
              <a:spLocks/>
            </p:cNvSpPr>
            <p:nvPr/>
          </p:nvSpPr>
          <p:spPr bwMode="auto">
            <a:xfrm>
              <a:off x="4766" y="1799"/>
              <a:ext cx="87" cy="80"/>
            </a:xfrm>
            <a:custGeom>
              <a:avLst/>
              <a:gdLst/>
              <a:ahLst/>
              <a:cxnLst>
                <a:cxn ang="0">
                  <a:pos x="61" y="28"/>
                </a:cxn>
                <a:cxn ang="0">
                  <a:pos x="47" y="24"/>
                </a:cxn>
                <a:cxn ang="0">
                  <a:pos x="24" y="12"/>
                </a:cxn>
                <a:cxn ang="0">
                  <a:pos x="0" y="0"/>
                </a:cxn>
                <a:cxn ang="0">
                  <a:pos x="5" y="10"/>
                </a:cxn>
                <a:cxn ang="0">
                  <a:pos x="12" y="25"/>
                </a:cxn>
                <a:cxn ang="0">
                  <a:pos x="19" y="40"/>
                </a:cxn>
                <a:cxn ang="0">
                  <a:pos x="9" y="40"/>
                </a:cxn>
                <a:cxn ang="0">
                  <a:pos x="6" y="42"/>
                </a:cxn>
                <a:cxn ang="0">
                  <a:pos x="7" y="49"/>
                </a:cxn>
                <a:cxn ang="0">
                  <a:pos x="10" y="59"/>
                </a:cxn>
                <a:cxn ang="0">
                  <a:pos x="21" y="72"/>
                </a:cxn>
                <a:cxn ang="0">
                  <a:pos x="24" y="68"/>
                </a:cxn>
                <a:cxn ang="0">
                  <a:pos x="31" y="67"/>
                </a:cxn>
                <a:cxn ang="0">
                  <a:pos x="13" y="55"/>
                </a:cxn>
                <a:cxn ang="0">
                  <a:pos x="22" y="55"/>
                </a:cxn>
                <a:cxn ang="0">
                  <a:pos x="28" y="53"/>
                </a:cxn>
                <a:cxn ang="0">
                  <a:pos x="58" y="61"/>
                </a:cxn>
                <a:cxn ang="0">
                  <a:pos x="59" y="58"/>
                </a:cxn>
                <a:cxn ang="0">
                  <a:pos x="66" y="46"/>
                </a:cxn>
                <a:cxn ang="0">
                  <a:pos x="78" y="40"/>
                </a:cxn>
                <a:cxn ang="0">
                  <a:pos x="71" y="35"/>
                </a:cxn>
                <a:cxn ang="0">
                  <a:pos x="65" y="22"/>
                </a:cxn>
                <a:cxn ang="0">
                  <a:pos x="61" y="28"/>
                </a:cxn>
              </a:cxnLst>
              <a:rect l="0" t="0" r="r" b="b"/>
              <a:pathLst>
                <a:path w="78" h="72">
                  <a:moveTo>
                    <a:pt x="61" y="28"/>
                  </a:moveTo>
                  <a:lnTo>
                    <a:pt x="47" y="24"/>
                  </a:lnTo>
                  <a:lnTo>
                    <a:pt x="24" y="12"/>
                  </a:lnTo>
                  <a:lnTo>
                    <a:pt x="0" y="0"/>
                  </a:lnTo>
                  <a:lnTo>
                    <a:pt x="5" y="10"/>
                  </a:lnTo>
                  <a:lnTo>
                    <a:pt x="12" y="25"/>
                  </a:lnTo>
                  <a:lnTo>
                    <a:pt x="19" y="40"/>
                  </a:lnTo>
                  <a:lnTo>
                    <a:pt x="9" y="40"/>
                  </a:lnTo>
                  <a:lnTo>
                    <a:pt x="6" y="42"/>
                  </a:lnTo>
                  <a:lnTo>
                    <a:pt x="7" y="49"/>
                  </a:lnTo>
                  <a:lnTo>
                    <a:pt x="10" y="59"/>
                  </a:lnTo>
                  <a:lnTo>
                    <a:pt x="21" y="72"/>
                  </a:lnTo>
                  <a:lnTo>
                    <a:pt x="24" y="68"/>
                  </a:lnTo>
                  <a:lnTo>
                    <a:pt x="31" y="67"/>
                  </a:lnTo>
                  <a:lnTo>
                    <a:pt x="13" y="55"/>
                  </a:lnTo>
                  <a:lnTo>
                    <a:pt x="22" y="55"/>
                  </a:lnTo>
                  <a:lnTo>
                    <a:pt x="28" y="53"/>
                  </a:lnTo>
                  <a:lnTo>
                    <a:pt x="58" y="61"/>
                  </a:lnTo>
                  <a:lnTo>
                    <a:pt x="59" y="58"/>
                  </a:lnTo>
                  <a:lnTo>
                    <a:pt x="66" y="46"/>
                  </a:lnTo>
                  <a:lnTo>
                    <a:pt x="78" y="40"/>
                  </a:lnTo>
                  <a:lnTo>
                    <a:pt x="71" y="35"/>
                  </a:lnTo>
                  <a:lnTo>
                    <a:pt x="65" y="22"/>
                  </a:lnTo>
                  <a:lnTo>
                    <a:pt x="61" y="2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8" name="Freeform 255"/>
            <p:cNvSpPr>
              <a:spLocks/>
            </p:cNvSpPr>
            <p:nvPr/>
          </p:nvSpPr>
          <p:spPr bwMode="auto">
            <a:xfrm>
              <a:off x="4700" y="2030"/>
              <a:ext cx="42" cy="53"/>
            </a:xfrm>
            <a:custGeom>
              <a:avLst/>
              <a:gdLst/>
              <a:ahLst/>
              <a:cxnLst>
                <a:cxn ang="0">
                  <a:pos x="40" y="16"/>
                </a:cxn>
                <a:cxn ang="0">
                  <a:pos x="39" y="30"/>
                </a:cxn>
                <a:cxn ang="0">
                  <a:pos x="37" y="43"/>
                </a:cxn>
                <a:cxn ang="0">
                  <a:pos x="33" y="49"/>
                </a:cxn>
                <a:cxn ang="0">
                  <a:pos x="27" y="39"/>
                </a:cxn>
                <a:cxn ang="0">
                  <a:pos x="28" y="48"/>
                </a:cxn>
                <a:cxn ang="0">
                  <a:pos x="23" y="43"/>
                </a:cxn>
                <a:cxn ang="0">
                  <a:pos x="19" y="30"/>
                </a:cxn>
                <a:cxn ang="0">
                  <a:pos x="19" y="22"/>
                </a:cxn>
                <a:cxn ang="0">
                  <a:pos x="10" y="13"/>
                </a:cxn>
                <a:cxn ang="0">
                  <a:pos x="15" y="22"/>
                </a:cxn>
                <a:cxn ang="0">
                  <a:pos x="9" y="22"/>
                </a:cxn>
                <a:cxn ang="0">
                  <a:pos x="5" y="15"/>
                </a:cxn>
                <a:cxn ang="0">
                  <a:pos x="7" y="15"/>
                </a:cxn>
                <a:cxn ang="0">
                  <a:pos x="0" y="9"/>
                </a:cxn>
                <a:cxn ang="0">
                  <a:pos x="16" y="0"/>
                </a:cxn>
                <a:cxn ang="0">
                  <a:pos x="25" y="4"/>
                </a:cxn>
                <a:cxn ang="0">
                  <a:pos x="30" y="8"/>
                </a:cxn>
                <a:cxn ang="0">
                  <a:pos x="31" y="10"/>
                </a:cxn>
                <a:cxn ang="0">
                  <a:pos x="40" y="16"/>
                </a:cxn>
              </a:cxnLst>
              <a:rect l="0" t="0" r="r" b="b"/>
              <a:pathLst>
                <a:path w="40" h="49">
                  <a:moveTo>
                    <a:pt x="40" y="16"/>
                  </a:moveTo>
                  <a:lnTo>
                    <a:pt x="39" y="30"/>
                  </a:lnTo>
                  <a:lnTo>
                    <a:pt x="37" y="43"/>
                  </a:lnTo>
                  <a:lnTo>
                    <a:pt x="33" y="49"/>
                  </a:lnTo>
                  <a:lnTo>
                    <a:pt x="27" y="39"/>
                  </a:lnTo>
                  <a:lnTo>
                    <a:pt x="28" y="48"/>
                  </a:lnTo>
                  <a:lnTo>
                    <a:pt x="23" y="43"/>
                  </a:lnTo>
                  <a:lnTo>
                    <a:pt x="19" y="30"/>
                  </a:lnTo>
                  <a:lnTo>
                    <a:pt x="19" y="22"/>
                  </a:lnTo>
                  <a:lnTo>
                    <a:pt x="10" y="13"/>
                  </a:lnTo>
                  <a:lnTo>
                    <a:pt x="15" y="22"/>
                  </a:lnTo>
                  <a:lnTo>
                    <a:pt x="9" y="22"/>
                  </a:lnTo>
                  <a:lnTo>
                    <a:pt x="5" y="15"/>
                  </a:lnTo>
                  <a:lnTo>
                    <a:pt x="7" y="15"/>
                  </a:lnTo>
                  <a:lnTo>
                    <a:pt x="0" y="9"/>
                  </a:lnTo>
                  <a:lnTo>
                    <a:pt x="16" y="0"/>
                  </a:lnTo>
                  <a:lnTo>
                    <a:pt x="25" y="4"/>
                  </a:lnTo>
                  <a:lnTo>
                    <a:pt x="30" y="8"/>
                  </a:lnTo>
                  <a:lnTo>
                    <a:pt x="31" y="10"/>
                  </a:lnTo>
                  <a:lnTo>
                    <a:pt x="40" y="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9" name="Freeform 256"/>
            <p:cNvSpPr>
              <a:spLocks/>
            </p:cNvSpPr>
            <p:nvPr/>
          </p:nvSpPr>
          <p:spPr bwMode="auto">
            <a:xfrm>
              <a:off x="4740" y="2021"/>
              <a:ext cx="40" cy="31"/>
            </a:xfrm>
            <a:custGeom>
              <a:avLst/>
              <a:gdLst/>
              <a:ahLst/>
              <a:cxnLst>
                <a:cxn ang="0">
                  <a:pos x="29" y="18"/>
                </a:cxn>
                <a:cxn ang="0">
                  <a:pos x="17" y="18"/>
                </a:cxn>
                <a:cxn ang="0">
                  <a:pos x="16" y="29"/>
                </a:cxn>
                <a:cxn ang="0">
                  <a:pos x="6" y="22"/>
                </a:cxn>
                <a:cxn ang="0">
                  <a:pos x="3" y="16"/>
                </a:cxn>
                <a:cxn ang="0">
                  <a:pos x="0" y="17"/>
                </a:cxn>
                <a:cxn ang="0">
                  <a:pos x="9" y="6"/>
                </a:cxn>
                <a:cxn ang="0">
                  <a:pos x="17" y="5"/>
                </a:cxn>
                <a:cxn ang="0">
                  <a:pos x="26" y="0"/>
                </a:cxn>
                <a:cxn ang="0">
                  <a:pos x="33" y="5"/>
                </a:cxn>
                <a:cxn ang="0">
                  <a:pos x="36" y="10"/>
                </a:cxn>
                <a:cxn ang="0">
                  <a:pos x="29" y="18"/>
                </a:cxn>
              </a:cxnLst>
              <a:rect l="0" t="0" r="r" b="b"/>
              <a:pathLst>
                <a:path w="36" h="29">
                  <a:moveTo>
                    <a:pt x="29" y="18"/>
                  </a:moveTo>
                  <a:lnTo>
                    <a:pt x="17" y="18"/>
                  </a:lnTo>
                  <a:lnTo>
                    <a:pt x="16" y="29"/>
                  </a:lnTo>
                  <a:lnTo>
                    <a:pt x="6" y="22"/>
                  </a:lnTo>
                  <a:lnTo>
                    <a:pt x="3" y="16"/>
                  </a:lnTo>
                  <a:lnTo>
                    <a:pt x="0" y="17"/>
                  </a:lnTo>
                  <a:lnTo>
                    <a:pt x="9" y="6"/>
                  </a:lnTo>
                  <a:lnTo>
                    <a:pt x="17" y="5"/>
                  </a:lnTo>
                  <a:lnTo>
                    <a:pt x="26" y="0"/>
                  </a:lnTo>
                  <a:lnTo>
                    <a:pt x="33" y="5"/>
                  </a:lnTo>
                  <a:lnTo>
                    <a:pt x="36" y="10"/>
                  </a:lnTo>
                  <a:lnTo>
                    <a:pt x="29"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0" name="Freeform 257"/>
            <p:cNvSpPr>
              <a:spLocks/>
            </p:cNvSpPr>
            <p:nvPr/>
          </p:nvSpPr>
          <p:spPr bwMode="auto">
            <a:xfrm>
              <a:off x="4713" y="2170"/>
              <a:ext cx="9" cy="13"/>
            </a:xfrm>
            <a:custGeom>
              <a:avLst/>
              <a:gdLst/>
              <a:ahLst/>
              <a:cxnLst>
                <a:cxn ang="0">
                  <a:pos x="0" y="12"/>
                </a:cxn>
                <a:cxn ang="0">
                  <a:pos x="8" y="1"/>
                </a:cxn>
                <a:cxn ang="0">
                  <a:pos x="6" y="0"/>
                </a:cxn>
                <a:cxn ang="0">
                  <a:pos x="0" y="12"/>
                </a:cxn>
              </a:cxnLst>
              <a:rect l="0" t="0" r="r" b="b"/>
              <a:pathLst>
                <a:path w="8" h="12">
                  <a:moveTo>
                    <a:pt x="0" y="12"/>
                  </a:moveTo>
                  <a:lnTo>
                    <a:pt x="8" y="1"/>
                  </a:lnTo>
                  <a:lnTo>
                    <a:pt x="6" y="0"/>
                  </a:lnTo>
                  <a:lnTo>
                    <a:pt x="0"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1" name="Freeform 258"/>
            <p:cNvSpPr>
              <a:spLocks/>
            </p:cNvSpPr>
            <p:nvPr/>
          </p:nvSpPr>
          <p:spPr bwMode="auto">
            <a:xfrm>
              <a:off x="4800" y="1941"/>
              <a:ext cx="2" cy="6"/>
            </a:xfrm>
            <a:custGeom>
              <a:avLst/>
              <a:gdLst/>
              <a:ahLst/>
              <a:cxnLst>
                <a:cxn ang="0">
                  <a:pos x="4" y="6"/>
                </a:cxn>
                <a:cxn ang="0">
                  <a:pos x="0" y="0"/>
                </a:cxn>
                <a:cxn ang="0">
                  <a:pos x="0" y="6"/>
                </a:cxn>
                <a:cxn ang="0">
                  <a:pos x="4" y="6"/>
                </a:cxn>
              </a:cxnLst>
              <a:rect l="0" t="0" r="r" b="b"/>
              <a:pathLst>
                <a:path w="4" h="6">
                  <a:moveTo>
                    <a:pt x="4" y="6"/>
                  </a:moveTo>
                  <a:lnTo>
                    <a:pt x="0" y="0"/>
                  </a:lnTo>
                  <a:lnTo>
                    <a:pt x="0" y="6"/>
                  </a:lnTo>
                  <a:lnTo>
                    <a:pt x="4"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2" name="Freeform 259"/>
            <p:cNvSpPr>
              <a:spLocks/>
            </p:cNvSpPr>
            <p:nvPr/>
          </p:nvSpPr>
          <p:spPr bwMode="auto">
            <a:xfrm>
              <a:off x="4713" y="2056"/>
              <a:ext cx="2" cy="5"/>
            </a:xfrm>
            <a:custGeom>
              <a:avLst/>
              <a:gdLst/>
              <a:ahLst/>
              <a:cxnLst>
                <a:cxn ang="0">
                  <a:pos x="3" y="0"/>
                </a:cxn>
                <a:cxn ang="0">
                  <a:pos x="4" y="2"/>
                </a:cxn>
                <a:cxn ang="0">
                  <a:pos x="0" y="2"/>
                </a:cxn>
                <a:cxn ang="0">
                  <a:pos x="3" y="0"/>
                </a:cxn>
              </a:cxnLst>
              <a:rect l="0" t="0" r="r" b="b"/>
              <a:pathLst>
                <a:path w="4" h="2">
                  <a:moveTo>
                    <a:pt x="3" y="0"/>
                  </a:moveTo>
                  <a:lnTo>
                    <a:pt x="4" y="2"/>
                  </a:lnTo>
                  <a:lnTo>
                    <a:pt x="0" y="2"/>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3" name="Freeform 260"/>
            <p:cNvSpPr>
              <a:spLocks/>
            </p:cNvSpPr>
            <p:nvPr/>
          </p:nvSpPr>
          <p:spPr bwMode="auto">
            <a:xfrm>
              <a:off x="4551" y="1850"/>
              <a:ext cx="78" cy="100"/>
            </a:xfrm>
            <a:custGeom>
              <a:avLst/>
              <a:gdLst/>
              <a:ahLst/>
              <a:cxnLst>
                <a:cxn ang="0">
                  <a:pos x="18" y="61"/>
                </a:cxn>
                <a:cxn ang="0">
                  <a:pos x="8" y="58"/>
                </a:cxn>
                <a:cxn ang="0">
                  <a:pos x="0" y="50"/>
                </a:cxn>
                <a:cxn ang="0">
                  <a:pos x="8" y="40"/>
                </a:cxn>
                <a:cxn ang="0">
                  <a:pos x="17" y="25"/>
                </a:cxn>
                <a:cxn ang="0">
                  <a:pos x="23" y="22"/>
                </a:cxn>
                <a:cxn ang="0">
                  <a:pos x="41" y="27"/>
                </a:cxn>
                <a:cxn ang="0">
                  <a:pos x="35" y="18"/>
                </a:cxn>
                <a:cxn ang="0">
                  <a:pos x="40" y="16"/>
                </a:cxn>
                <a:cxn ang="0">
                  <a:pos x="49" y="9"/>
                </a:cxn>
                <a:cxn ang="0">
                  <a:pos x="49" y="0"/>
                </a:cxn>
                <a:cxn ang="0">
                  <a:pos x="66" y="9"/>
                </a:cxn>
                <a:cxn ang="0">
                  <a:pos x="70" y="12"/>
                </a:cxn>
                <a:cxn ang="0">
                  <a:pos x="61" y="21"/>
                </a:cxn>
                <a:cxn ang="0">
                  <a:pos x="67" y="38"/>
                </a:cxn>
                <a:cxn ang="0">
                  <a:pos x="60" y="49"/>
                </a:cxn>
                <a:cxn ang="0">
                  <a:pos x="52" y="60"/>
                </a:cxn>
                <a:cxn ang="0">
                  <a:pos x="54" y="67"/>
                </a:cxn>
                <a:cxn ang="0">
                  <a:pos x="71" y="76"/>
                </a:cxn>
                <a:cxn ang="0">
                  <a:pos x="65" y="81"/>
                </a:cxn>
                <a:cxn ang="0">
                  <a:pos x="53" y="87"/>
                </a:cxn>
                <a:cxn ang="0">
                  <a:pos x="53" y="91"/>
                </a:cxn>
                <a:cxn ang="0">
                  <a:pos x="38" y="88"/>
                </a:cxn>
                <a:cxn ang="0">
                  <a:pos x="35" y="91"/>
                </a:cxn>
                <a:cxn ang="0">
                  <a:pos x="28" y="87"/>
                </a:cxn>
                <a:cxn ang="0">
                  <a:pos x="23" y="85"/>
                </a:cxn>
                <a:cxn ang="0">
                  <a:pos x="26" y="75"/>
                </a:cxn>
                <a:cxn ang="0">
                  <a:pos x="28" y="75"/>
                </a:cxn>
                <a:cxn ang="0">
                  <a:pos x="22" y="70"/>
                </a:cxn>
                <a:cxn ang="0">
                  <a:pos x="18" y="61"/>
                </a:cxn>
              </a:cxnLst>
              <a:rect l="0" t="0" r="r" b="b"/>
              <a:pathLst>
                <a:path w="71" h="91">
                  <a:moveTo>
                    <a:pt x="18" y="61"/>
                  </a:moveTo>
                  <a:lnTo>
                    <a:pt x="8" y="58"/>
                  </a:lnTo>
                  <a:lnTo>
                    <a:pt x="0" y="50"/>
                  </a:lnTo>
                  <a:lnTo>
                    <a:pt x="8" y="40"/>
                  </a:lnTo>
                  <a:lnTo>
                    <a:pt x="17" y="25"/>
                  </a:lnTo>
                  <a:lnTo>
                    <a:pt x="23" y="22"/>
                  </a:lnTo>
                  <a:lnTo>
                    <a:pt x="41" y="27"/>
                  </a:lnTo>
                  <a:lnTo>
                    <a:pt x="35" y="18"/>
                  </a:lnTo>
                  <a:lnTo>
                    <a:pt x="40" y="16"/>
                  </a:lnTo>
                  <a:lnTo>
                    <a:pt x="49" y="9"/>
                  </a:lnTo>
                  <a:lnTo>
                    <a:pt x="49" y="0"/>
                  </a:lnTo>
                  <a:lnTo>
                    <a:pt x="66" y="9"/>
                  </a:lnTo>
                  <a:lnTo>
                    <a:pt x="70" y="12"/>
                  </a:lnTo>
                  <a:lnTo>
                    <a:pt x="61" y="21"/>
                  </a:lnTo>
                  <a:lnTo>
                    <a:pt x="67" y="38"/>
                  </a:lnTo>
                  <a:lnTo>
                    <a:pt x="60" y="49"/>
                  </a:lnTo>
                  <a:lnTo>
                    <a:pt x="52" y="60"/>
                  </a:lnTo>
                  <a:lnTo>
                    <a:pt x="54" y="67"/>
                  </a:lnTo>
                  <a:lnTo>
                    <a:pt x="71" y="76"/>
                  </a:lnTo>
                  <a:lnTo>
                    <a:pt x="65" y="81"/>
                  </a:lnTo>
                  <a:lnTo>
                    <a:pt x="53" y="87"/>
                  </a:lnTo>
                  <a:lnTo>
                    <a:pt x="53" y="91"/>
                  </a:lnTo>
                  <a:lnTo>
                    <a:pt x="38" y="88"/>
                  </a:lnTo>
                  <a:lnTo>
                    <a:pt x="35" y="91"/>
                  </a:lnTo>
                  <a:lnTo>
                    <a:pt x="28" y="87"/>
                  </a:lnTo>
                  <a:lnTo>
                    <a:pt x="23" y="85"/>
                  </a:lnTo>
                  <a:lnTo>
                    <a:pt x="26" y="75"/>
                  </a:lnTo>
                  <a:lnTo>
                    <a:pt x="28" y="75"/>
                  </a:lnTo>
                  <a:lnTo>
                    <a:pt x="22" y="70"/>
                  </a:lnTo>
                  <a:lnTo>
                    <a:pt x="18" y="6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4" name="Freeform 261"/>
            <p:cNvSpPr>
              <a:spLocks/>
            </p:cNvSpPr>
            <p:nvPr/>
          </p:nvSpPr>
          <p:spPr bwMode="auto">
            <a:xfrm>
              <a:off x="4609" y="1934"/>
              <a:ext cx="66" cy="85"/>
            </a:xfrm>
            <a:custGeom>
              <a:avLst/>
              <a:gdLst/>
              <a:ahLst/>
              <a:cxnLst>
                <a:cxn ang="0">
                  <a:pos x="35" y="74"/>
                </a:cxn>
                <a:cxn ang="0">
                  <a:pos x="33" y="71"/>
                </a:cxn>
                <a:cxn ang="0">
                  <a:pos x="29" y="74"/>
                </a:cxn>
                <a:cxn ang="0">
                  <a:pos x="25" y="76"/>
                </a:cxn>
                <a:cxn ang="0">
                  <a:pos x="23" y="72"/>
                </a:cxn>
                <a:cxn ang="0">
                  <a:pos x="23" y="70"/>
                </a:cxn>
                <a:cxn ang="0">
                  <a:pos x="23" y="69"/>
                </a:cxn>
                <a:cxn ang="0">
                  <a:pos x="19" y="65"/>
                </a:cxn>
                <a:cxn ang="0">
                  <a:pos x="17" y="54"/>
                </a:cxn>
                <a:cxn ang="0">
                  <a:pos x="15" y="50"/>
                </a:cxn>
                <a:cxn ang="0">
                  <a:pos x="15" y="47"/>
                </a:cxn>
                <a:cxn ang="0">
                  <a:pos x="6" y="36"/>
                </a:cxn>
                <a:cxn ang="0">
                  <a:pos x="2" y="33"/>
                </a:cxn>
                <a:cxn ang="0">
                  <a:pos x="5" y="32"/>
                </a:cxn>
                <a:cxn ang="0">
                  <a:pos x="12" y="34"/>
                </a:cxn>
                <a:cxn ang="0">
                  <a:pos x="11" y="32"/>
                </a:cxn>
                <a:cxn ang="0">
                  <a:pos x="1" y="17"/>
                </a:cxn>
                <a:cxn ang="0">
                  <a:pos x="0" y="15"/>
                </a:cxn>
                <a:cxn ang="0">
                  <a:pos x="0" y="11"/>
                </a:cxn>
                <a:cxn ang="0">
                  <a:pos x="12" y="5"/>
                </a:cxn>
                <a:cxn ang="0">
                  <a:pos x="18" y="0"/>
                </a:cxn>
                <a:cxn ang="0">
                  <a:pos x="35" y="18"/>
                </a:cxn>
                <a:cxn ang="0">
                  <a:pos x="51" y="35"/>
                </a:cxn>
                <a:cxn ang="0">
                  <a:pos x="60" y="60"/>
                </a:cxn>
                <a:cxn ang="0">
                  <a:pos x="54" y="64"/>
                </a:cxn>
                <a:cxn ang="0">
                  <a:pos x="47" y="68"/>
                </a:cxn>
                <a:cxn ang="0">
                  <a:pos x="43" y="66"/>
                </a:cxn>
                <a:cxn ang="0">
                  <a:pos x="41" y="69"/>
                </a:cxn>
                <a:cxn ang="0">
                  <a:pos x="39" y="70"/>
                </a:cxn>
                <a:cxn ang="0">
                  <a:pos x="37" y="71"/>
                </a:cxn>
                <a:cxn ang="0">
                  <a:pos x="35" y="74"/>
                </a:cxn>
              </a:cxnLst>
              <a:rect l="0" t="0" r="r" b="b"/>
              <a:pathLst>
                <a:path w="60" h="76">
                  <a:moveTo>
                    <a:pt x="35" y="74"/>
                  </a:moveTo>
                  <a:lnTo>
                    <a:pt x="33" y="71"/>
                  </a:lnTo>
                  <a:lnTo>
                    <a:pt x="29" y="74"/>
                  </a:lnTo>
                  <a:lnTo>
                    <a:pt x="25" y="76"/>
                  </a:lnTo>
                  <a:lnTo>
                    <a:pt x="23" y="72"/>
                  </a:lnTo>
                  <a:lnTo>
                    <a:pt x="23" y="70"/>
                  </a:lnTo>
                  <a:lnTo>
                    <a:pt x="23" y="69"/>
                  </a:lnTo>
                  <a:lnTo>
                    <a:pt x="19" y="65"/>
                  </a:lnTo>
                  <a:lnTo>
                    <a:pt x="17" y="54"/>
                  </a:lnTo>
                  <a:lnTo>
                    <a:pt x="15" y="50"/>
                  </a:lnTo>
                  <a:lnTo>
                    <a:pt x="15" y="47"/>
                  </a:lnTo>
                  <a:lnTo>
                    <a:pt x="6" y="36"/>
                  </a:lnTo>
                  <a:lnTo>
                    <a:pt x="2" y="33"/>
                  </a:lnTo>
                  <a:lnTo>
                    <a:pt x="5" y="32"/>
                  </a:lnTo>
                  <a:lnTo>
                    <a:pt x="12" y="34"/>
                  </a:lnTo>
                  <a:lnTo>
                    <a:pt x="11" y="32"/>
                  </a:lnTo>
                  <a:lnTo>
                    <a:pt x="1" y="17"/>
                  </a:lnTo>
                  <a:lnTo>
                    <a:pt x="0" y="15"/>
                  </a:lnTo>
                  <a:lnTo>
                    <a:pt x="0" y="11"/>
                  </a:lnTo>
                  <a:lnTo>
                    <a:pt x="12" y="5"/>
                  </a:lnTo>
                  <a:lnTo>
                    <a:pt x="18" y="0"/>
                  </a:lnTo>
                  <a:lnTo>
                    <a:pt x="35" y="18"/>
                  </a:lnTo>
                  <a:lnTo>
                    <a:pt x="51" y="35"/>
                  </a:lnTo>
                  <a:lnTo>
                    <a:pt x="60" y="60"/>
                  </a:lnTo>
                  <a:lnTo>
                    <a:pt x="54" y="64"/>
                  </a:lnTo>
                  <a:lnTo>
                    <a:pt x="47" y="68"/>
                  </a:lnTo>
                  <a:lnTo>
                    <a:pt x="43" y="66"/>
                  </a:lnTo>
                  <a:lnTo>
                    <a:pt x="41" y="69"/>
                  </a:lnTo>
                  <a:lnTo>
                    <a:pt x="39" y="70"/>
                  </a:lnTo>
                  <a:lnTo>
                    <a:pt x="37" y="71"/>
                  </a:lnTo>
                  <a:lnTo>
                    <a:pt x="35" y="7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5" name="Freeform 262"/>
            <p:cNvSpPr>
              <a:spLocks/>
            </p:cNvSpPr>
            <p:nvPr/>
          </p:nvSpPr>
          <p:spPr bwMode="auto">
            <a:xfrm>
              <a:off x="4600" y="2203"/>
              <a:ext cx="24" cy="64"/>
            </a:xfrm>
            <a:custGeom>
              <a:avLst/>
              <a:gdLst/>
              <a:ahLst/>
              <a:cxnLst>
                <a:cxn ang="0">
                  <a:pos x="16" y="57"/>
                </a:cxn>
                <a:cxn ang="0">
                  <a:pos x="3" y="43"/>
                </a:cxn>
                <a:cxn ang="0">
                  <a:pos x="0" y="22"/>
                </a:cxn>
                <a:cxn ang="0">
                  <a:pos x="6" y="12"/>
                </a:cxn>
                <a:cxn ang="0">
                  <a:pos x="12" y="0"/>
                </a:cxn>
                <a:cxn ang="0">
                  <a:pos x="23" y="3"/>
                </a:cxn>
                <a:cxn ang="0">
                  <a:pos x="21" y="16"/>
                </a:cxn>
                <a:cxn ang="0">
                  <a:pos x="19" y="30"/>
                </a:cxn>
                <a:cxn ang="0">
                  <a:pos x="17" y="44"/>
                </a:cxn>
                <a:cxn ang="0">
                  <a:pos x="16" y="57"/>
                </a:cxn>
              </a:cxnLst>
              <a:rect l="0" t="0" r="r" b="b"/>
              <a:pathLst>
                <a:path w="23" h="57">
                  <a:moveTo>
                    <a:pt x="16" y="57"/>
                  </a:moveTo>
                  <a:lnTo>
                    <a:pt x="3" y="43"/>
                  </a:lnTo>
                  <a:lnTo>
                    <a:pt x="0" y="22"/>
                  </a:lnTo>
                  <a:lnTo>
                    <a:pt x="6" y="12"/>
                  </a:lnTo>
                  <a:lnTo>
                    <a:pt x="12" y="0"/>
                  </a:lnTo>
                  <a:lnTo>
                    <a:pt x="23" y="3"/>
                  </a:lnTo>
                  <a:lnTo>
                    <a:pt x="21" y="16"/>
                  </a:lnTo>
                  <a:lnTo>
                    <a:pt x="19" y="30"/>
                  </a:lnTo>
                  <a:lnTo>
                    <a:pt x="17" y="44"/>
                  </a:lnTo>
                  <a:lnTo>
                    <a:pt x="16" y="5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6" name="Freeform 263"/>
            <p:cNvSpPr>
              <a:spLocks/>
            </p:cNvSpPr>
            <p:nvPr/>
          </p:nvSpPr>
          <p:spPr bwMode="auto">
            <a:xfrm>
              <a:off x="3882" y="1672"/>
              <a:ext cx="520" cy="204"/>
            </a:xfrm>
            <a:custGeom>
              <a:avLst/>
              <a:gdLst/>
              <a:ahLst/>
              <a:cxnLst>
                <a:cxn ang="0">
                  <a:pos x="276" y="176"/>
                </a:cxn>
                <a:cxn ang="0">
                  <a:pos x="252" y="168"/>
                </a:cxn>
                <a:cxn ang="0">
                  <a:pos x="211" y="166"/>
                </a:cxn>
                <a:cxn ang="0">
                  <a:pos x="171" y="163"/>
                </a:cxn>
                <a:cxn ang="0">
                  <a:pos x="145" y="136"/>
                </a:cxn>
                <a:cxn ang="0">
                  <a:pos x="104" y="124"/>
                </a:cxn>
                <a:cxn ang="0">
                  <a:pos x="71" y="118"/>
                </a:cxn>
                <a:cxn ang="0">
                  <a:pos x="60" y="89"/>
                </a:cxn>
                <a:cxn ang="0">
                  <a:pos x="27" y="72"/>
                </a:cxn>
                <a:cxn ang="0">
                  <a:pos x="1" y="53"/>
                </a:cxn>
                <a:cxn ang="0">
                  <a:pos x="7" y="44"/>
                </a:cxn>
                <a:cxn ang="0">
                  <a:pos x="33" y="31"/>
                </a:cxn>
                <a:cxn ang="0">
                  <a:pos x="75" y="25"/>
                </a:cxn>
                <a:cxn ang="0">
                  <a:pos x="102" y="35"/>
                </a:cxn>
                <a:cxn ang="0">
                  <a:pos x="133" y="30"/>
                </a:cxn>
                <a:cxn ang="0">
                  <a:pos x="123" y="0"/>
                </a:cxn>
                <a:cxn ang="0">
                  <a:pos x="171" y="11"/>
                </a:cxn>
                <a:cxn ang="0">
                  <a:pos x="204" y="32"/>
                </a:cxn>
                <a:cxn ang="0">
                  <a:pos x="247" y="31"/>
                </a:cxn>
                <a:cxn ang="0">
                  <a:pos x="275" y="42"/>
                </a:cxn>
                <a:cxn ang="0">
                  <a:pos x="320" y="47"/>
                </a:cxn>
                <a:cxn ang="0">
                  <a:pos x="353" y="31"/>
                </a:cxn>
                <a:cxn ang="0">
                  <a:pos x="392" y="38"/>
                </a:cxn>
                <a:cxn ang="0">
                  <a:pos x="396" y="66"/>
                </a:cxn>
                <a:cxn ang="0">
                  <a:pos x="404" y="74"/>
                </a:cxn>
                <a:cxn ang="0">
                  <a:pos x="425" y="77"/>
                </a:cxn>
                <a:cxn ang="0">
                  <a:pos x="463" y="86"/>
                </a:cxn>
                <a:cxn ang="0">
                  <a:pos x="443" y="95"/>
                </a:cxn>
                <a:cxn ang="0">
                  <a:pos x="423" y="115"/>
                </a:cxn>
                <a:cxn ang="0">
                  <a:pos x="396" y="127"/>
                </a:cxn>
                <a:cxn ang="0">
                  <a:pos x="377" y="138"/>
                </a:cxn>
                <a:cxn ang="0">
                  <a:pos x="373" y="157"/>
                </a:cxn>
                <a:cxn ang="0">
                  <a:pos x="343" y="170"/>
                </a:cxn>
                <a:cxn ang="0">
                  <a:pos x="315" y="178"/>
                </a:cxn>
                <a:cxn ang="0">
                  <a:pos x="294" y="180"/>
                </a:cxn>
              </a:cxnLst>
              <a:rect l="0" t="0" r="r" b="b"/>
              <a:pathLst>
                <a:path w="467" h="185">
                  <a:moveTo>
                    <a:pt x="294" y="180"/>
                  </a:moveTo>
                  <a:lnTo>
                    <a:pt x="276" y="176"/>
                  </a:lnTo>
                  <a:lnTo>
                    <a:pt x="258" y="173"/>
                  </a:lnTo>
                  <a:lnTo>
                    <a:pt x="252" y="168"/>
                  </a:lnTo>
                  <a:lnTo>
                    <a:pt x="231" y="167"/>
                  </a:lnTo>
                  <a:lnTo>
                    <a:pt x="211" y="166"/>
                  </a:lnTo>
                  <a:lnTo>
                    <a:pt x="192" y="164"/>
                  </a:lnTo>
                  <a:lnTo>
                    <a:pt x="171" y="163"/>
                  </a:lnTo>
                  <a:lnTo>
                    <a:pt x="158" y="150"/>
                  </a:lnTo>
                  <a:lnTo>
                    <a:pt x="145" y="136"/>
                  </a:lnTo>
                  <a:lnTo>
                    <a:pt x="125" y="130"/>
                  </a:lnTo>
                  <a:lnTo>
                    <a:pt x="104" y="124"/>
                  </a:lnTo>
                  <a:lnTo>
                    <a:pt x="87" y="120"/>
                  </a:lnTo>
                  <a:lnTo>
                    <a:pt x="71" y="118"/>
                  </a:lnTo>
                  <a:lnTo>
                    <a:pt x="65" y="103"/>
                  </a:lnTo>
                  <a:lnTo>
                    <a:pt x="60" y="89"/>
                  </a:lnTo>
                  <a:lnTo>
                    <a:pt x="38" y="74"/>
                  </a:lnTo>
                  <a:lnTo>
                    <a:pt x="27" y="72"/>
                  </a:lnTo>
                  <a:lnTo>
                    <a:pt x="7" y="59"/>
                  </a:lnTo>
                  <a:lnTo>
                    <a:pt x="1" y="53"/>
                  </a:lnTo>
                  <a:lnTo>
                    <a:pt x="0" y="50"/>
                  </a:lnTo>
                  <a:lnTo>
                    <a:pt x="7" y="44"/>
                  </a:lnTo>
                  <a:lnTo>
                    <a:pt x="19" y="38"/>
                  </a:lnTo>
                  <a:lnTo>
                    <a:pt x="33" y="31"/>
                  </a:lnTo>
                  <a:lnTo>
                    <a:pt x="47" y="23"/>
                  </a:lnTo>
                  <a:lnTo>
                    <a:pt x="75" y="25"/>
                  </a:lnTo>
                  <a:lnTo>
                    <a:pt x="80" y="31"/>
                  </a:lnTo>
                  <a:lnTo>
                    <a:pt x="102" y="35"/>
                  </a:lnTo>
                  <a:lnTo>
                    <a:pt x="122" y="38"/>
                  </a:lnTo>
                  <a:lnTo>
                    <a:pt x="133" y="30"/>
                  </a:lnTo>
                  <a:lnTo>
                    <a:pt x="120" y="18"/>
                  </a:lnTo>
                  <a:lnTo>
                    <a:pt x="123" y="0"/>
                  </a:lnTo>
                  <a:lnTo>
                    <a:pt x="147" y="6"/>
                  </a:lnTo>
                  <a:lnTo>
                    <a:pt x="171" y="11"/>
                  </a:lnTo>
                  <a:lnTo>
                    <a:pt x="182" y="22"/>
                  </a:lnTo>
                  <a:lnTo>
                    <a:pt x="204" y="32"/>
                  </a:lnTo>
                  <a:lnTo>
                    <a:pt x="228" y="28"/>
                  </a:lnTo>
                  <a:lnTo>
                    <a:pt x="247" y="31"/>
                  </a:lnTo>
                  <a:lnTo>
                    <a:pt x="267" y="36"/>
                  </a:lnTo>
                  <a:lnTo>
                    <a:pt x="275" y="42"/>
                  </a:lnTo>
                  <a:lnTo>
                    <a:pt x="303" y="49"/>
                  </a:lnTo>
                  <a:lnTo>
                    <a:pt x="320" y="47"/>
                  </a:lnTo>
                  <a:lnTo>
                    <a:pt x="337" y="43"/>
                  </a:lnTo>
                  <a:lnTo>
                    <a:pt x="353" y="31"/>
                  </a:lnTo>
                  <a:lnTo>
                    <a:pt x="379" y="37"/>
                  </a:lnTo>
                  <a:lnTo>
                    <a:pt x="392" y="38"/>
                  </a:lnTo>
                  <a:lnTo>
                    <a:pt x="395" y="52"/>
                  </a:lnTo>
                  <a:lnTo>
                    <a:pt x="396" y="66"/>
                  </a:lnTo>
                  <a:lnTo>
                    <a:pt x="392" y="67"/>
                  </a:lnTo>
                  <a:lnTo>
                    <a:pt x="404" y="74"/>
                  </a:lnTo>
                  <a:lnTo>
                    <a:pt x="420" y="74"/>
                  </a:lnTo>
                  <a:lnTo>
                    <a:pt x="425" y="77"/>
                  </a:lnTo>
                  <a:lnTo>
                    <a:pt x="432" y="70"/>
                  </a:lnTo>
                  <a:lnTo>
                    <a:pt x="463" y="86"/>
                  </a:lnTo>
                  <a:lnTo>
                    <a:pt x="467" y="95"/>
                  </a:lnTo>
                  <a:lnTo>
                    <a:pt x="443" y="95"/>
                  </a:lnTo>
                  <a:lnTo>
                    <a:pt x="426" y="103"/>
                  </a:lnTo>
                  <a:lnTo>
                    <a:pt x="423" y="115"/>
                  </a:lnTo>
                  <a:lnTo>
                    <a:pt x="409" y="119"/>
                  </a:lnTo>
                  <a:lnTo>
                    <a:pt x="396" y="127"/>
                  </a:lnTo>
                  <a:lnTo>
                    <a:pt x="374" y="121"/>
                  </a:lnTo>
                  <a:lnTo>
                    <a:pt x="377" y="138"/>
                  </a:lnTo>
                  <a:lnTo>
                    <a:pt x="386" y="146"/>
                  </a:lnTo>
                  <a:lnTo>
                    <a:pt x="373" y="157"/>
                  </a:lnTo>
                  <a:lnTo>
                    <a:pt x="360" y="169"/>
                  </a:lnTo>
                  <a:lnTo>
                    <a:pt x="343" y="170"/>
                  </a:lnTo>
                  <a:lnTo>
                    <a:pt x="325" y="172"/>
                  </a:lnTo>
                  <a:lnTo>
                    <a:pt x="315" y="178"/>
                  </a:lnTo>
                  <a:lnTo>
                    <a:pt x="305" y="185"/>
                  </a:lnTo>
                  <a:lnTo>
                    <a:pt x="294" y="18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7" name="Freeform 264"/>
            <p:cNvSpPr>
              <a:spLocks/>
            </p:cNvSpPr>
            <p:nvPr/>
          </p:nvSpPr>
          <p:spPr bwMode="auto">
            <a:xfrm>
              <a:off x="3253" y="1608"/>
              <a:ext cx="618" cy="273"/>
            </a:xfrm>
            <a:custGeom>
              <a:avLst/>
              <a:gdLst/>
              <a:ahLst/>
              <a:cxnLst>
                <a:cxn ang="0">
                  <a:pos x="65" y="146"/>
                </a:cxn>
                <a:cxn ang="0">
                  <a:pos x="45" y="155"/>
                </a:cxn>
                <a:cxn ang="0">
                  <a:pos x="17" y="125"/>
                </a:cxn>
                <a:cxn ang="0">
                  <a:pos x="3" y="93"/>
                </a:cxn>
                <a:cxn ang="0">
                  <a:pos x="22" y="81"/>
                </a:cxn>
                <a:cxn ang="0">
                  <a:pos x="35" y="65"/>
                </a:cxn>
                <a:cxn ang="0">
                  <a:pos x="65" y="57"/>
                </a:cxn>
                <a:cxn ang="0">
                  <a:pos x="103" y="74"/>
                </a:cxn>
                <a:cxn ang="0">
                  <a:pos x="151" y="72"/>
                </a:cxn>
                <a:cxn ang="0">
                  <a:pos x="180" y="71"/>
                </a:cxn>
                <a:cxn ang="0">
                  <a:pos x="172" y="34"/>
                </a:cxn>
                <a:cxn ang="0">
                  <a:pos x="168" y="27"/>
                </a:cxn>
                <a:cxn ang="0">
                  <a:pos x="204" y="21"/>
                </a:cxn>
                <a:cxn ang="0">
                  <a:pos x="238" y="11"/>
                </a:cxn>
                <a:cxn ang="0">
                  <a:pos x="270" y="2"/>
                </a:cxn>
                <a:cxn ang="0">
                  <a:pos x="293" y="11"/>
                </a:cxn>
                <a:cxn ang="0">
                  <a:pos x="330" y="26"/>
                </a:cxn>
                <a:cxn ang="0">
                  <a:pos x="359" y="21"/>
                </a:cxn>
                <a:cxn ang="0">
                  <a:pos x="379" y="17"/>
                </a:cxn>
                <a:cxn ang="0">
                  <a:pos x="396" y="39"/>
                </a:cxn>
                <a:cxn ang="0">
                  <a:pos x="433" y="64"/>
                </a:cxn>
                <a:cxn ang="0">
                  <a:pos x="456" y="72"/>
                </a:cxn>
                <a:cxn ang="0">
                  <a:pos x="484" y="74"/>
                </a:cxn>
                <a:cxn ang="0">
                  <a:pos x="522" y="96"/>
                </a:cxn>
                <a:cxn ang="0">
                  <a:pos x="557" y="110"/>
                </a:cxn>
                <a:cxn ang="0">
                  <a:pos x="544" y="126"/>
                </a:cxn>
                <a:cxn ang="0">
                  <a:pos x="538" y="147"/>
                </a:cxn>
                <a:cxn ang="0">
                  <a:pos x="517" y="158"/>
                </a:cxn>
                <a:cxn ang="0">
                  <a:pos x="525" y="179"/>
                </a:cxn>
                <a:cxn ang="0">
                  <a:pos x="487" y="184"/>
                </a:cxn>
                <a:cxn ang="0">
                  <a:pos x="503" y="201"/>
                </a:cxn>
                <a:cxn ang="0">
                  <a:pos x="510" y="218"/>
                </a:cxn>
                <a:cxn ang="0">
                  <a:pos x="489" y="210"/>
                </a:cxn>
                <a:cxn ang="0">
                  <a:pos x="450" y="214"/>
                </a:cxn>
                <a:cxn ang="0">
                  <a:pos x="417" y="213"/>
                </a:cxn>
                <a:cxn ang="0">
                  <a:pos x="394" y="221"/>
                </a:cxn>
                <a:cxn ang="0">
                  <a:pos x="369" y="226"/>
                </a:cxn>
                <a:cxn ang="0">
                  <a:pos x="341" y="246"/>
                </a:cxn>
                <a:cxn ang="0">
                  <a:pos x="313" y="232"/>
                </a:cxn>
                <a:cxn ang="0">
                  <a:pos x="297" y="207"/>
                </a:cxn>
                <a:cxn ang="0">
                  <a:pos x="265" y="204"/>
                </a:cxn>
                <a:cxn ang="0">
                  <a:pos x="235" y="202"/>
                </a:cxn>
                <a:cxn ang="0">
                  <a:pos x="202" y="176"/>
                </a:cxn>
                <a:cxn ang="0">
                  <a:pos x="166" y="172"/>
                </a:cxn>
                <a:cxn ang="0">
                  <a:pos x="151" y="195"/>
                </a:cxn>
                <a:cxn ang="0">
                  <a:pos x="160" y="226"/>
                </a:cxn>
                <a:cxn ang="0">
                  <a:pos x="147" y="237"/>
                </a:cxn>
                <a:cxn ang="0">
                  <a:pos x="131" y="220"/>
                </a:cxn>
                <a:cxn ang="0">
                  <a:pos x="94" y="215"/>
                </a:cxn>
                <a:cxn ang="0">
                  <a:pos x="75" y="194"/>
                </a:cxn>
                <a:cxn ang="0">
                  <a:pos x="84" y="188"/>
                </a:cxn>
                <a:cxn ang="0">
                  <a:pos x="85" y="174"/>
                </a:cxn>
                <a:cxn ang="0">
                  <a:pos x="100" y="167"/>
                </a:cxn>
                <a:cxn ang="0">
                  <a:pos x="77" y="147"/>
                </a:cxn>
              </a:cxnLst>
              <a:rect l="0" t="0" r="r" b="b"/>
              <a:pathLst>
                <a:path w="557" h="246">
                  <a:moveTo>
                    <a:pt x="77" y="147"/>
                  </a:moveTo>
                  <a:lnTo>
                    <a:pt x="65" y="146"/>
                  </a:lnTo>
                  <a:lnTo>
                    <a:pt x="47" y="154"/>
                  </a:lnTo>
                  <a:lnTo>
                    <a:pt x="45" y="155"/>
                  </a:lnTo>
                  <a:lnTo>
                    <a:pt x="34" y="138"/>
                  </a:lnTo>
                  <a:lnTo>
                    <a:pt x="17" y="125"/>
                  </a:lnTo>
                  <a:lnTo>
                    <a:pt x="0" y="112"/>
                  </a:lnTo>
                  <a:lnTo>
                    <a:pt x="3" y="93"/>
                  </a:lnTo>
                  <a:lnTo>
                    <a:pt x="5" y="74"/>
                  </a:lnTo>
                  <a:lnTo>
                    <a:pt x="22" y="81"/>
                  </a:lnTo>
                  <a:lnTo>
                    <a:pt x="24" y="74"/>
                  </a:lnTo>
                  <a:lnTo>
                    <a:pt x="35" y="65"/>
                  </a:lnTo>
                  <a:lnTo>
                    <a:pt x="46" y="58"/>
                  </a:lnTo>
                  <a:lnTo>
                    <a:pt x="65" y="57"/>
                  </a:lnTo>
                  <a:lnTo>
                    <a:pt x="84" y="65"/>
                  </a:lnTo>
                  <a:lnTo>
                    <a:pt x="103" y="74"/>
                  </a:lnTo>
                  <a:lnTo>
                    <a:pt x="124" y="72"/>
                  </a:lnTo>
                  <a:lnTo>
                    <a:pt x="151" y="72"/>
                  </a:lnTo>
                  <a:lnTo>
                    <a:pt x="178" y="76"/>
                  </a:lnTo>
                  <a:lnTo>
                    <a:pt x="180" y="71"/>
                  </a:lnTo>
                  <a:lnTo>
                    <a:pt x="166" y="54"/>
                  </a:lnTo>
                  <a:lnTo>
                    <a:pt x="172" y="34"/>
                  </a:lnTo>
                  <a:lnTo>
                    <a:pt x="185" y="35"/>
                  </a:lnTo>
                  <a:lnTo>
                    <a:pt x="168" y="27"/>
                  </a:lnTo>
                  <a:lnTo>
                    <a:pt x="186" y="23"/>
                  </a:lnTo>
                  <a:lnTo>
                    <a:pt x="204" y="21"/>
                  </a:lnTo>
                  <a:lnTo>
                    <a:pt x="221" y="16"/>
                  </a:lnTo>
                  <a:lnTo>
                    <a:pt x="238" y="11"/>
                  </a:lnTo>
                  <a:lnTo>
                    <a:pt x="253" y="6"/>
                  </a:lnTo>
                  <a:lnTo>
                    <a:pt x="270" y="2"/>
                  </a:lnTo>
                  <a:lnTo>
                    <a:pt x="283" y="0"/>
                  </a:lnTo>
                  <a:lnTo>
                    <a:pt x="293" y="11"/>
                  </a:lnTo>
                  <a:lnTo>
                    <a:pt x="319" y="21"/>
                  </a:lnTo>
                  <a:lnTo>
                    <a:pt x="330" y="26"/>
                  </a:lnTo>
                  <a:lnTo>
                    <a:pt x="341" y="28"/>
                  </a:lnTo>
                  <a:lnTo>
                    <a:pt x="359" y="21"/>
                  </a:lnTo>
                  <a:lnTo>
                    <a:pt x="376" y="15"/>
                  </a:lnTo>
                  <a:lnTo>
                    <a:pt x="379" y="17"/>
                  </a:lnTo>
                  <a:lnTo>
                    <a:pt x="377" y="26"/>
                  </a:lnTo>
                  <a:lnTo>
                    <a:pt x="396" y="39"/>
                  </a:lnTo>
                  <a:lnTo>
                    <a:pt x="414" y="51"/>
                  </a:lnTo>
                  <a:lnTo>
                    <a:pt x="433" y="64"/>
                  </a:lnTo>
                  <a:lnTo>
                    <a:pt x="453" y="77"/>
                  </a:lnTo>
                  <a:lnTo>
                    <a:pt x="456" y="72"/>
                  </a:lnTo>
                  <a:lnTo>
                    <a:pt x="466" y="76"/>
                  </a:lnTo>
                  <a:lnTo>
                    <a:pt x="484" y="74"/>
                  </a:lnTo>
                  <a:lnTo>
                    <a:pt x="503" y="86"/>
                  </a:lnTo>
                  <a:lnTo>
                    <a:pt x="522" y="96"/>
                  </a:lnTo>
                  <a:lnTo>
                    <a:pt x="540" y="93"/>
                  </a:lnTo>
                  <a:lnTo>
                    <a:pt x="557" y="110"/>
                  </a:lnTo>
                  <a:lnTo>
                    <a:pt x="551" y="122"/>
                  </a:lnTo>
                  <a:lnTo>
                    <a:pt x="544" y="126"/>
                  </a:lnTo>
                  <a:lnTo>
                    <a:pt x="551" y="144"/>
                  </a:lnTo>
                  <a:lnTo>
                    <a:pt x="538" y="147"/>
                  </a:lnTo>
                  <a:lnTo>
                    <a:pt x="515" y="142"/>
                  </a:lnTo>
                  <a:lnTo>
                    <a:pt x="517" y="158"/>
                  </a:lnTo>
                  <a:lnTo>
                    <a:pt x="519" y="172"/>
                  </a:lnTo>
                  <a:lnTo>
                    <a:pt x="525" y="179"/>
                  </a:lnTo>
                  <a:lnTo>
                    <a:pt x="504" y="177"/>
                  </a:lnTo>
                  <a:lnTo>
                    <a:pt x="487" y="184"/>
                  </a:lnTo>
                  <a:lnTo>
                    <a:pt x="497" y="188"/>
                  </a:lnTo>
                  <a:lnTo>
                    <a:pt x="503" y="201"/>
                  </a:lnTo>
                  <a:lnTo>
                    <a:pt x="510" y="214"/>
                  </a:lnTo>
                  <a:lnTo>
                    <a:pt x="510" y="218"/>
                  </a:lnTo>
                  <a:lnTo>
                    <a:pt x="507" y="221"/>
                  </a:lnTo>
                  <a:lnTo>
                    <a:pt x="489" y="210"/>
                  </a:lnTo>
                  <a:lnTo>
                    <a:pt x="469" y="212"/>
                  </a:lnTo>
                  <a:lnTo>
                    <a:pt x="450" y="214"/>
                  </a:lnTo>
                  <a:lnTo>
                    <a:pt x="430" y="214"/>
                  </a:lnTo>
                  <a:lnTo>
                    <a:pt x="417" y="213"/>
                  </a:lnTo>
                  <a:lnTo>
                    <a:pt x="408" y="222"/>
                  </a:lnTo>
                  <a:lnTo>
                    <a:pt x="394" y="221"/>
                  </a:lnTo>
                  <a:lnTo>
                    <a:pt x="378" y="219"/>
                  </a:lnTo>
                  <a:lnTo>
                    <a:pt x="369" y="226"/>
                  </a:lnTo>
                  <a:lnTo>
                    <a:pt x="355" y="237"/>
                  </a:lnTo>
                  <a:lnTo>
                    <a:pt x="341" y="246"/>
                  </a:lnTo>
                  <a:lnTo>
                    <a:pt x="328" y="239"/>
                  </a:lnTo>
                  <a:lnTo>
                    <a:pt x="313" y="232"/>
                  </a:lnTo>
                  <a:lnTo>
                    <a:pt x="312" y="218"/>
                  </a:lnTo>
                  <a:lnTo>
                    <a:pt x="297" y="207"/>
                  </a:lnTo>
                  <a:lnTo>
                    <a:pt x="281" y="206"/>
                  </a:lnTo>
                  <a:lnTo>
                    <a:pt x="265" y="204"/>
                  </a:lnTo>
                  <a:lnTo>
                    <a:pt x="251" y="203"/>
                  </a:lnTo>
                  <a:lnTo>
                    <a:pt x="235" y="202"/>
                  </a:lnTo>
                  <a:lnTo>
                    <a:pt x="221" y="185"/>
                  </a:lnTo>
                  <a:lnTo>
                    <a:pt x="202" y="176"/>
                  </a:lnTo>
                  <a:lnTo>
                    <a:pt x="183" y="165"/>
                  </a:lnTo>
                  <a:lnTo>
                    <a:pt x="166" y="172"/>
                  </a:lnTo>
                  <a:lnTo>
                    <a:pt x="148" y="178"/>
                  </a:lnTo>
                  <a:lnTo>
                    <a:pt x="151" y="195"/>
                  </a:lnTo>
                  <a:lnTo>
                    <a:pt x="155" y="210"/>
                  </a:lnTo>
                  <a:lnTo>
                    <a:pt x="160" y="226"/>
                  </a:lnTo>
                  <a:lnTo>
                    <a:pt x="163" y="243"/>
                  </a:lnTo>
                  <a:lnTo>
                    <a:pt x="147" y="237"/>
                  </a:lnTo>
                  <a:lnTo>
                    <a:pt x="130" y="232"/>
                  </a:lnTo>
                  <a:lnTo>
                    <a:pt x="131" y="220"/>
                  </a:lnTo>
                  <a:lnTo>
                    <a:pt x="106" y="220"/>
                  </a:lnTo>
                  <a:lnTo>
                    <a:pt x="94" y="215"/>
                  </a:lnTo>
                  <a:lnTo>
                    <a:pt x="88" y="212"/>
                  </a:lnTo>
                  <a:lnTo>
                    <a:pt x="75" y="194"/>
                  </a:lnTo>
                  <a:lnTo>
                    <a:pt x="67" y="189"/>
                  </a:lnTo>
                  <a:lnTo>
                    <a:pt x="84" y="188"/>
                  </a:lnTo>
                  <a:lnTo>
                    <a:pt x="77" y="182"/>
                  </a:lnTo>
                  <a:lnTo>
                    <a:pt x="85" y="174"/>
                  </a:lnTo>
                  <a:lnTo>
                    <a:pt x="103" y="174"/>
                  </a:lnTo>
                  <a:lnTo>
                    <a:pt x="100" y="167"/>
                  </a:lnTo>
                  <a:lnTo>
                    <a:pt x="96" y="148"/>
                  </a:lnTo>
                  <a:lnTo>
                    <a:pt x="77" y="14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8" name="Freeform 265"/>
            <p:cNvSpPr>
              <a:spLocks/>
            </p:cNvSpPr>
            <p:nvPr/>
          </p:nvSpPr>
          <p:spPr bwMode="auto">
            <a:xfrm>
              <a:off x="3156" y="1827"/>
              <a:ext cx="133" cy="52"/>
            </a:xfrm>
            <a:custGeom>
              <a:avLst/>
              <a:gdLst/>
              <a:ahLst/>
              <a:cxnLst>
                <a:cxn ang="0">
                  <a:pos x="24" y="17"/>
                </a:cxn>
                <a:cxn ang="0">
                  <a:pos x="0" y="3"/>
                </a:cxn>
                <a:cxn ang="0">
                  <a:pos x="1" y="0"/>
                </a:cxn>
                <a:cxn ang="0">
                  <a:pos x="17" y="2"/>
                </a:cxn>
                <a:cxn ang="0">
                  <a:pos x="33" y="3"/>
                </a:cxn>
                <a:cxn ang="0">
                  <a:pos x="55" y="12"/>
                </a:cxn>
                <a:cxn ang="0">
                  <a:pos x="77" y="21"/>
                </a:cxn>
                <a:cxn ang="0">
                  <a:pos x="98" y="29"/>
                </a:cxn>
                <a:cxn ang="0">
                  <a:pos x="120" y="38"/>
                </a:cxn>
                <a:cxn ang="0">
                  <a:pos x="115" y="46"/>
                </a:cxn>
                <a:cxn ang="0">
                  <a:pos x="101" y="45"/>
                </a:cxn>
                <a:cxn ang="0">
                  <a:pos x="79" y="44"/>
                </a:cxn>
                <a:cxn ang="0">
                  <a:pos x="57" y="44"/>
                </a:cxn>
                <a:cxn ang="0">
                  <a:pos x="39" y="45"/>
                </a:cxn>
                <a:cxn ang="0">
                  <a:pos x="38" y="32"/>
                </a:cxn>
                <a:cxn ang="0">
                  <a:pos x="24" y="17"/>
                </a:cxn>
              </a:cxnLst>
              <a:rect l="0" t="0" r="r" b="b"/>
              <a:pathLst>
                <a:path w="120" h="46">
                  <a:moveTo>
                    <a:pt x="24" y="17"/>
                  </a:moveTo>
                  <a:lnTo>
                    <a:pt x="0" y="3"/>
                  </a:lnTo>
                  <a:lnTo>
                    <a:pt x="1" y="0"/>
                  </a:lnTo>
                  <a:lnTo>
                    <a:pt x="17" y="2"/>
                  </a:lnTo>
                  <a:lnTo>
                    <a:pt x="33" y="3"/>
                  </a:lnTo>
                  <a:lnTo>
                    <a:pt x="55" y="12"/>
                  </a:lnTo>
                  <a:lnTo>
                    <a:pt x="77" y="21"/>
                  </a:lnTo>
                  <a:lnTo>
                    <a:pt x="98" y="29"/>
                  </a:lnTo>
                  <a:lnTo>
                    <a:pt x="120" y="38"/>
                  </a:lnTo>
                  <a:lnTo>
                    <a:pt x="115" y="46"/>
                  </a:lnTo>
                  <a:lnTo>
                    <a:pt x="101" y="45"/>
                  </a:lnTo>
                  <a:lnTo>
                    <a:pt x="79" y="44"/>
                  </a:lnTo>
                  <a:lnTo>
                    <a:pt x="57" y="44"/>
                  </a:lnTo>
                  <a:lnTo>
                    <a:pt x="39" y="45"/>
                  </a:lnTo>
                  <a:lnTo>
                    <a:pt x="38" y="32"/>
                  </a:lnTo>
                  <a:lnTo>
                    <a:pt x="24" y="1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9" name="Freeform 266"/>
            <p:cNvSpPr>
              <a:spLocks/>
            </p:cNvSpPr>
            <p:nvPr/>
          </p:nvSpPr>
          <p:spPr bwMode="auto">
            <a:xfrm>
              <a:off x="3662" y="1841"/>
              <a:ext cx="158" cy="80"/>
            </a:xfrm>
            <a:custGeom>
              <a:avLst/>
              <a:gdLst/>
              <a:ahLst/>
              <a:cxnLst>
                <a:cxn ang="0">
                  <a:pos x="46" y="41"/>
                </a:cxn>
                <a:cxn ang="0">
                  <a:pos x="31" y="32"/>
                </a:cxn>
                <a:cxn ang="0">
                  <a:pos x="10" y="29"/>
                </a:cxn>
                <a:cxn ang="0">
                  <a:pos x="0" y="16"/>
                </a:cxn>
                <a:cxn ang="0">
                  <a:pos x="9" y="9"/>
                </a:cxn>
                <a:cxn ang="0">
                  <a:pos x="25" y="11"/>
                </a:cxn>
                <a:cxn ang="0">
                  <a:pos x="39" y="12"/>
                </a:cxn>
                <a:cxn ang="0">
                  <a:pos x="48" y="3"/>
                </a:cxn>
                <a:cxn ang="0">
                  <a:pos x="61" y="4"/>
                </a:cxn>
                <a:cxn ang="0">
                  <a:pos x="81" y="4"/>
                </a:cxn>
                <a:cxn ang="0">
                  <a:pos x="100" y="2"/>
                </a:cxn>
                <a:cxn ang="0">
                  <a:pos x="120" y="0"/>
                </a:cxn>
                <a:cxn ang="0">
                  <a:pos x="138" y="11"/>
                </a:cxn>
                <a:cxn ang="0">
                  <a:pos x="141" y="20"/>
                </a:cxn>
                <a:cxn ang="0">
                  <a:pos x="130" y="29"/>
                </a:cxn>
                <a:cxn ang="0">
                  <a:pos x="120" y="38"/>
                </a:cxn>
                <a:cxn ang="0">
                  <a:pos x="104" y="42"/>
                </a:cxn>
                <a:cxn ang="0">
                  <a:pos x="94" y="53"/>
                </a:cxn>
                <a:cxn ang="0">
                  <a:pos x="86" y="51"/>
                </a:cxn>
                <a:cxn ang="0">
                  <a:pos x="79" y="52"/>
                </a:cxn>
                <a:cxn ang="0">
                  <a:pos x="68" y="58"/>
                </a:cxn>
                <a:cxn ang="0">
                  <a:pos x="62" y="71"/>
                </a:cxn>
                <a:cxn ang="0">
                  <a:pos x="37" y="69"/>
                </a:cxn>
                <a:cxn ang="0">
                  <a:pos x="12" y="65"/>
                </a:cxn>
                <a:cxn ang="0">
                  <a:pos x="10" y="53"/>
                </a:cxn>
                <a:cxn ang="0">
                  <a:pos x="28" y="47"/>
                </a:cxn>
                <a:cxn ang="0">
                  <a:pos x="46" y="41"/>
                </a:cxn>
              </a:cxnLst>
              <a:rect l="0" t="0" r="r" b="b"/>
              <a:pathLst>
                <a:path w="141" h="71">
                  <a:moveTo>
                    <a:pt x="46" y="41"/>
                  </a:moveTo>
                  <a:lnTo>
                    <a:pt x="31" y="32"/>
                  </a:lnTo>
                  <a:lnTo>
                    <a:pt x="10" y="29"/>
                  </a:lnTo>
                  <a:lnTo>
                    <a:pt x="0" y="16"/>
                  </a:lnTo>
                  <a:lnTo>
                    <a:pt x="9" y="9"/>
                  </a:lnTo>
                  <a:lnTo>
                    <a:pt x="25" y="11"/>
                  </a:lnTo>
                  <a:lnTo>
                    <a:pt x="39" y="12"/>
                  </a:lnTo>
                  <a:lnTo>
                    <a:pt x="48" y="3"/>
                  </a:lnTo>
                  <a:lnTo>
                    <a:pt x="61" y="4"/>
                  </a:lnTo>
                  <a:lnTo>
                    <a:pt x="81" y="4"/>
                  </a:lnTo>
                  <a:lnTo>
                    <a:pt x="100" y="2"/>
                  </a:lnTo>
                  <a:lnTo>
                    <a:pt x="120" y="0"/>
                  </a:lnTo>
                  <a:lnTo>
                    <a:pt x="138" y="11"/>
                  </a:lnTo>
                  <a:lnTo>
                    <a:pt x="141" y="20"/>
                  </a:lnTo>
                  <a:lnTo>
                    <a:pt x="130" y="29"/>
                  </a:lnTo>
                  <a:lnTo>
                    <a:pt x="120" y="38"/>
                  </a:lnTo>
                  <a:lnTo>
                    <a:pt x="104" y="42"/>
                  </a:lnTo>
                  <a:lnTo>
                    <a:pt x="94" y="53"/>
                  </a:lnTo>
                  <a:lnTo>
                    <a:pt x="86" y="51"/>
                  </a:lnTo>
                  <a:lnTo>
                    <a:pt x="79" y="52"/>
                  </a:lnTo>
                  <a:lnTo>
                    <a:pt x="68" y="58"/>
                  </a:lnTo>
                  <a:lnTo>
                    <a:pt x="62" y="71"/>
                  </a:lnTo>
                  <a:lnTo>
                    <a:pt x="37" y="69"/>
                  </a:lnTo>
                  <a:lnTo>
                    <a:pt x="12" y="65"/>
                  </a:lnTo>
                  <a:lnTo>
                    <a:pt x="10" y="53"/>
                  </a:lnTo>
                  <a:lnTo>
                    <a:pt x="28" y="47"/>
                  </a:lnTo>
                  <a:lnTo>
                    <a:pt x="46" y="4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0" name="Freeform 267"/>
            <p:cNvSpPr>
              <a:spLocks/>
            </p:cNvSpPr>
            <p:nvPr/>
          </p:nvSpPr>
          <p:spPr bwMode="auto">
            <a:xfrm>
              <a:off x="3369" y="1852"/>
              <a:ext cx="242" cy="149"/>
            </a:xfrm>
            <a:custGeom>
              <a:avLst/>
              <a:gdLst/>
              <a:ahLst/>
              <a:cxnLst>
                <a:cxn ang="0">
                  <a:pos x="206" y="104"/>
                </a:cxn>
                <a:cxn ang="0">
                  <a:pos x="200" y="119"/>
                </a:cxn>
                <a:cxn ang="0">
                  <a:pos x="187" y="126"/>
                </a:cxn>
                <a:cxn ang="0">
                  <a:pos x="182" y="134"/>
                </a:cxn>
                <a:cxn ang="0">
                  <a:pos x="174" y="133"/>
                </a:cxn>
                <a:cxn ang="0">
                  <a:pos x="159" y="128"/>
                </a:cxn>
                <a:cxn ang="0">
                  <a:pos x="153" y="110"/>
                </a:cxn>
                <a:cxn ang="0">
                  <a:pos x="140" y="108"/>
                </a:cxn>
                <a:cxn ang="0">
                  <a:pos x="127" y="100"/>
                </a:cxn>
                <a:cxn ang="0">
                  <a:pos x="114" y="91"/>
                </a:cxn>
                <a:cxn ang="0">
                  <a:pos x="90" y="83"/>
                </a:cxn>
                <a:cxn ang="0">
                  <a:pos x="75" y="84"/>
                </a:cxn>
                <a:cxn ang="0">
                  <a:pos x="59" y="86"/>
                </a:cxn>
                <a:cxn ang="0">
                  <a:pos x="48" y="97"/>
                </a:cxn>
                <a:cxn ang="0">
                  <a:pos x="43" y="97"/>
                </a:cxn>
                <a:cxn ang="0">
                  <a:pos x="39" y="83"/>
                </a:cxn>
                <a:cxn ang="0">
                  <a:pos x="35" y="67"/>
                </a:cxn>
                <a:cxn ang="0">
                  <a:pos x="26" y="61"/>
                </a:cxn>
                <a:cxn ang="0">
                  <a:pos x="25" y="62"/>
                </a:cxn>
                <a:cxn ang="0">
                  <a:pos x="27" y="59"/>
                </a:cxn>
                <a:cxn ang="0">
                  <a:pos x="30" y="56"/>
                </a:cxn>
                <a:cxn ang="0">
                  <a:pos x="26" y="50"/>
                </a:cxn>
                <a:cxn ang="0">
                  <a:pos x="19" y="52"/>
                </a:cxn>
                <a:cxn ang="0">
                  <a:pos x="19" y="53"/>
                </a:cxn>
                <a:cxn ang="0">
                  <a:pos x="14" y="35"/>
                </a:cxn>
                <a:cxn ang="0">
                  <a:pos x="17" y="34"/>
                </a:cxn>
                <a:cxn ang="0">
                  <a:pos x="25" y="34"/>
                </a:cxn>
                <a:cxn ang="0">
                  <a:pos x="32" y="38"/>
                </a:cxn>
                <a:cxn ang="0">
                  <a:pos x="36" y="37"/>
                </a:cxn>
                <a:cxn ang="0">
                  <a:pos x="37" y="35"/>
                </a:cxn>
                <a:cxn ang="0">
                  <a:pos x="39" y="30"/>
                </a:cxn>
                <a:cxn ang="0">
                  <a:pos x="25" y="14"/>
                </a:cxn>
                <a:cxn ang="0">
                  <a:pos x="12" y="13"/>
                </a:cxn>
                <a:cxn ang="0">
                  <a:pos x="13" y="28"/>
                </a:cxn>
                <a:cxn ang="0">
                  <a:pos x="13" y="30"/>
                </a:cxn>
                <a:cxn ang="0">
                  <a:pos x="3" y="11"/>
                </a:cxn>
                <a:cxn ang="0">
                  <a:pos x="5" y="2"/>
                </a:cxn>
                <a:cxn ang="0">
                  <a:pos x="0" y="0"/>
                </a:cxn>
                <a:cxn ang="0">
                  <a:pos x="25" y="0"/>
                </a:cxn>
                <a:cxn ang="0">
                  <a:pos x="24" y="12"/>
                </a:cxn>
                <a:cxn ang="0">
                  <a:pos x="41" y="17"/>
                </a:cxn>
                <a:cxn ang="0">
                  <a:pos x="57" y="23"/>
                </a:cxn>
                <a:cxn ang="0">
                  <a:pos x="78" y="26"/>
                </a:cxn>
                <a:cxn ang="0">
                  <a:pos x="74" y="17"/>
                </a:cxn>
                <a:cxn ang="0">
                  <a:pos x="81" y="13"/>
                </a:cxn>
                <a:cxn ang="0">
                  <a:pos x="93" y="0"/>
                </a:cxn>
                <a:cxn ang="0">
                  <a:pos x="113" y="13"/>
                </a:cxn>
                <a:cxn ang="0">
                  <a:pos x="125" y="31"/>
                </a:cxn>
                <a:cxn ang="0">
                  <a:pos x="144" y="38"/>
                </a:cxn>
                <a:cxn ang="0">
                  <a:pos x="157" y="46"/>
                </a:cxn>
                <a:cxn ang="0">
                  <a:pos x="182" y="61"/>
                </a:cxn>
                <a:cxn ang="0">
                  <a:pos x="207" y="77"/>
                </a:cxn>
                <a:cxn ang="0">
                  <a:pos x="217" y="95"/>
                </a:cxn>
                <a:cxn ang="0">
                  <a:pos x="211" y="100"/>
                </a:cxn>
                <a:cxn ang="0">
                  <a:pos x="206" y="104"/>
                </a:cxn>
              </a:cxnLst>
              <a:rect l="0" t="0" r="r" b="b"/>
              <a:pathLst>
                <a:path w="217" h="134">
                  <a:moveTo>
                    <a:pt x="206" y="104"/>
                  </a:moveTo>
                  <a:lnTo>
                    <a:pt x="200" y="119"/>
                  </a:lnTo>
                  <a:lnTo>
                    <a:pt x="187" y="126"/>
                  </a:lnTo>
                  <a:lnTo>
                    <a:pt x="182" y="134"/>
                  </a:lnTo>
                  <a:lnTo>
                    <a:pt x="174" y="133"/>
                  </a:lnTo>
                  <a:lnTo>
                    <a:pt x="159" y="128"/>
                  </a:lnTo>
                  <a:lnTo>
                    <a:pt x="153" y="110"/>
                  </a:lnTo>
                  <a:lnTo>
                    <a:pt x="140" y="108"/>
                  </a:lnTo>
                  <a:lnTo>
                    <a:pt x="127" y="100"/>
                  </a:lnTo>
                  <a:lnTo>
                    <a:pt x="114" y="91"/>
                  </a:lnTo>
                  <a:lnTo>
                    <a:pt x="90" y="83"/>
                  </a:lnTo>
                  <a:lnTo>
                    <a:pt x="75" y="84"/>
                  </a:lnTo>
                  <a:lnTo>
                    <a:pt x="59" y="86"/>
                  </a:lnTo>
                  <a:lnTo>
                    <a:pt x="48" y="97"/>
                  </a:lnTo>
                  <a:lnTo>
                    <a:pt x="43" y="97"/>
                  </a:lnTo>
                  <a:lnTo>
                    <a:pt x="39" y="83"/>
                  </a:lnTo>
                  <a:lnTo>
                    <a:pt x="35" y="67"/>
                  </a:lnTo>
                  <a:lnTo>
                    <a:pt x="26" y="61"/>
                  </a:lnTo>
                  <a:lnTo>
                    <a:pt x="25" y="62"/>
                  </a:lnTo>
                  <a:lnTo>
                    <a:pt x="27" y="59"/>
                  </a:lnTo>
                  <a:lnTo>
                    <a:pt x="30" y="56"/>
                  </a:lnTo>
                  <a:lnTo>
                    <a:pt x="26" y="50"/>
                  </a:lnTo>
                  <a:lnTo>
                    <a:pt x="19" y="52"/>
                  </a:lnTo>
                  <a:lnTo>
                    <a:pt x="19" y="53"/>
                  </a:lnTo>
                  <a:lnTo>
                    <a:pt x="14" y="35"/>
                  </a:lnTo>
                  <a:lnTo>
                    <a:pt x="17" y="34"/>
                  </a:lnTo>
                  <a:lnTo>
                    <a:pt x="25" y="34"/>
                  </a:lnTo>
                  <a:lnTo>
                    <a:pt x="32" y="38"/>
                  </a:lnTo>
                  <a:lnTo>
                    <a:pt x="36" y="37"/>
                  </a:lnTo>
                  <a:lnTo>
                    <a:pt x="37" y="35"/>
                  </a:lnTo>
                  <a:lnTo>
                    <a:pt x="39" y="30"/>
                  </a:lnTo>
                  <a:lnTo>
                    <a:pt x="25" y="14"/>
                  </a:lnTo>
                  <a:lnTo>
                    <a:pt x="12" y="13"/>
                  </a:lnTo>
                  <a:lnTo>
                    <a:pt x="13" y="28"/>
                  </a:lnTo>
                  <a:lnTo>
                    <a:pt x="13" y="30"/>
                  </a:lnTo>
                  <a:lnTo>
                    <a:pt x="3" y="11"/>
                  </a:lnTo>
                  <a:lnTo>
                    <a:pt x="5" y="2"/>
                  </a:lnTo>
                  <a:lnTo>
                    <a:pt x="0" y="0"/>
                  </a:lnTo>
                  <a:lnTo>
                    <a:pt x="25" y="0"/>
                  </a:lnTo>
                  <a:lnTo>
                    <a:pt x="24" y="12"/>
                  </a:lnTo>
                  <a:lnTo>
                    <a:pt x="41" y="17"/>
                  </a:lnTo>
                  <a:lnTo>
                    <a:pt x="57" y="23"/>
                  </a:lnTo>
                  <a:lnTo>
                    <a:pt x="78" y="26"/>
                  </a:lnTo>
                  <a:lnTo>
                    <a:pt x="74" y="17"/>
                  </a:lnTo>
                  <a:lnTo>
                    <a:pt x="81" y="13"/>
                  </a:lnTo>
                  <a:lnTo>
                    <a:pt x="93" y="0"/>
                  </a:lnTo>
                  <a:lnTo>
                    <a:pt x="113" y="13"/>
                  </a:lnTo>
                  <a:lnTo>
                    <a:pt x="125" y="31"/>
                  </a:lnTo>
                  <a:lnTo>
                    <a:pt x="144" y="38"/>
                  </a:lnTo>
                  <a:lnTo>
                    <a:pt x="157" y="46"/>
                  </a:lnTo>
                  <a:lnTo>
                    <a:pt x="182" y="61"/>
                  </a:lnTo>
                  <a:lnTo>
                    <a:pt x="207" y="77"/>
                  </a:lnTo>
                  <a:lnTo>
                    <a:pt x="217" y="95"/>
                  </a:lnTo>
                  <a:lnTo>
                    <a:pt x="211" y="100"/>
                  </a:lnTo>
                  <a:lnTo>
                    <a:pt x="206" y="10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1" name="Freeform 268"/>
            <p:cNvSpPr>
              <a:spLocks/>
            </p:cNvSpPr>
            <p:nvPr/>
          </p:nvSpPr>
          <p:spPr bwMode="auto">
            <a:xfrm>
              <a:off x="3542" y="1939"/>
              <a:ext cx="222" cy="180"/>
            </a:xfrm>
            <a:custGeom>
              <a:avLst/>
              <a:gdLst/>
              <a:ahLst/>
              <a:cxnLst>
                <a:cxn ang="0">
                  <a:pos x="1" y="71"/>
                </a:cxn>
                <a:cxn ang="0">
                  <a:pos x="0" y="73"/>
                </a:cxn>
                <a:cxn ang="0">
                  <a:pos x="0" y="83"/>
                </a:cxn>
                <a:cxn ang="0">
                  <a:pos x="6" y="88"/>
                </a:cxn>
                <a:cxn ang="0">
                  <a:pos x="4" y="91"/>
                </a:cxn>
                <a:cxn ang="0">
                  <a:pos x="8" y="106"/>
                </a:cxn>
                <a:cxn ang="0">
                  <a:pos x="10" y="121"/>
                </a:cxn>
                <a:cxn ang="0">
                  <a:pos x="26" y="126"/>
                </a:cxn>
                <a:cxn ang="0">
                  <a:pos x="28" y="133"/>
                </a:cxn>
                <a:cxn ang="0">
                  <a:pos x="18" y="154"/>
                </a:cxn>
                <a:cxn ang="0">
                  <a:pos x="31" y="157"/>
                </a:cxn>
                <a:cxn ang="0">
                  <a:pos x="43" y="162"/>
                </a:cxn>
                <a:cxn ang="0">
                  <a:pos x="67" y="161"/>
                </a:cxn>
                <a:cxn ang="0">
                  <a:pos x="84" y="157"/>
                </a:cxn>
                <a:cxn ang="0">
                  <a:pos x="99" y="154"/>
                </a:cxn>
                <a:cxn ang="0">
                  <a:pos x="99" y="146"/>
                </a:cxn>
                <a:cxn ang="0">
                  <a:pos x="102" y="132"/>
                </a:cxn>
                <a:cxn ang="0">
                  <a:pos x="116" y="126"/>
                </a:cxn>
                <a:cxn ang="0">
                  <a:pos x="121" y="121"/>
                </a:cxn>
                <a:cxn ang="0">
                  <a:pos x="135" y="121"/>
                </a:cxn>
                <a:cxn ang="0">
                  <a:pos x="136" y="102"/>
                </a:cxn>
                <a:cxn ang="0">
                  <a:pos x="148" y="91"/>
                </a:cxn>
                <a:cxn ang="0">
                  <a:pos x="140" y="82"/>
                </a:cxn>
                <a:cxn ang="0">
                  <a:pos x="153" y="80"/>
                </a:cxn>
                <a:cxn ang="0">
                  <a:pos x="156" y="72"/>
                </a:cxn>
                <a:cxn ang="0">
                  <a:pos x="160" y="59"/>
                </a:cxn>
                <a:cxn ang="0">
                  <a:pos x="152" y="44"/>
                </a:cxn>
                <a:cxn ang="0">
                  <a:pos x="159" y="34"/>
                </a:cxn>
                <a:cxn ang="0">
                  <a:pos x="177" y="29"/>
                </a:cxn>
                <a:cxn ang="0">
                  <a:pos x="195" y="25"/>
                </a:cxn>
                <a:cxn ang="0">
                  <a:pos x="195" y="22"/>
                </a:cxn>
                <a:cxn ang="0">
                  <a:pos x="199" y="22"/>
                </a:cxn>
                <a:cxn ang="0">
                  <a:pos x="200" y="22"/>
                </a:cxn>
                <a:cxn ang="0">
                  <a:pos x="187" y="20"/>
                </a:cxn>
                <a:cxn ang="0">
                  <a:pos x="182" y="19"/>
                </a:cxn>
                <a:cxn ang="0">
                  <a:pos x="170" y="20"/>
                </a:cxn>
                <a:cxn ang="0">
                  <a:pos x="152" y="30"/>
                </a:cxn>
                <a:cxn ang="0">
                  <a:pos x="146" y="8"/>
                </a:cxn>
                <a:cxn ang="0">
                  <a:pos x="142" y="8"/>
                </a:cxn>
                <a:cxn ang="0">
                  <a:pos x="138" y="0"/>
                </a:cxn>
                <a:cxn ang="0">
                  <a:pos x="130" y="4"/>
                </a:cxn>
                <a:cxn ang="0">
                  <a:pos x="128" y="14"/>
                </a:cxn>
                <a:cxn ang="0">
                  <a:pos x="117" y="19"/>
                </a:cxn>
                <a:cxn ang="0">
                  <a:pos x="114" y="23"/>
                </a:cxn>
                <a:cxn ang="0">
                  <a:pos x="104" y="23"/>
                </a:cxn>
                <a:cxn ang="0">
                  <a:pos x="96" y="24"/>
                </a:cxn>
                <a:cxn ang="0">
                  <a:pos x="91" y="22"/>
                </a:cxn>
                <a:cxn ang="0">
                  <a:pos x="76" y="19"/>
                </a:cxn>
                <a:cxn ang="0">
                  <a:pos x="62" y="17"/>
                </a:cxn>
                <a:cxn ang="0">
                  <a:pos x="56" y="22"/>
                </a:cxn>
                <a:cxn ang="0">
                  <a:pos x="51" y="26"/>
                </a:cxn>
                <a:cxn ang="0">
                  <a:pos x="45" y="41"/>
                </a:cxn>
                <a:cxn ang="0">
                  <a:pos x="32" y="48"/>
                </a:cxn>
                <a:cxn ang="0">
                  <a:pos x="27" y="56"/>
                </a:cxn>
                <a:cxn ang="0">
                  <a:pos x="19" y="55"/>
                </a:cxn>
                <a:cxn ang="0">
                  <a:pos x="4" y="50"/>
                </a:cxn>
                <a:cxn ang="0">
                  <a:pos x="1" y="71"/>
                </a:cxn>
              </a:cxnLst>
              <a:rect l="0" t="0" r="r" b="b"/>
              <a:pathLst>
                <a:path w="200" h="162">
                  <a:moveTo>
                    <a:pt x="1" y="71"/>
                  </a:moveTo>
                  <a:lnTo>
                    <a:pt x="0" y="73"/>
                  </a:lnTo>
                  <a:lnTo>
                    <a:pt x="0" y="83"/>
                  </a:lnTo>
                  <a:lnTo>
                    <a:pt x="6" y="88"/>
                  </a:lnTo>
                  <a:lnTo>
                    <a:pt x="4" y="91"/>
                  </a:lnTo>
                  <a:lnTo>
                    <a:pt x="8" y="106"/>
                  </a:lnTo>
                  <a:lnTo>
                    <a:pt x="10" y="121"/>
                  </a:lnTo>
                  <a:lnTo>
                    <a:pt x="26" y="126"/>
                  </a:lnTo>
                  <a:lnTo>
                    <a:pt x="28" y="133"/>
                  </a:lnTo>
                  <a:lnTo>
                    <a:pt x="18" y="154"/>
                  </a:lnTo>
                  <a:lnTo>
                    <a:pt x="31" y="157"/>
                  </a:lnTo>
                  <a:lnTo>
                    <a:pt x="43" y="162"/>
                  </a:lnTo>
                  <a:lnTo>
                    <a:pt x="67" y="161"/>
                  </a:lnTo>
                  <a:lnTo>
                    <a:pt x="84" y="157"/>
                  </a:lnTo>
                  <a:lnTo>
                    <a:pt x="99" y="154"/>
                  </a:lnTo>
                  <a:lnTo>
                    <a:pt x="99" y="146"/>
                  </a:lnTo>
                  <a:lnTo>
                    <a:pt x="102" y="132"/>
                  </a:lnTo>
                  <a:lnTo>
                    <a:pt x="116" y="126"/>
                  </a:lnTo>
                  <a:lnTo>
                    <a:pt x="121" y="121"/>
                  </a:lnTo>
                  <a:lnTo>
                    <a:pt x="135" y="121"/>
                  </a:lnTo>
                  <a:lnTo>
                    <a:pt x="136" y="102"/>
                  </a:lnTo>
                  <a:lnTo>
                    <a:pt x="148" y="91"/>
                  </a:lnTo>
                  <a:lnTo>
                    <a:pt x="140" y="82"/>
                  </a:lnTo>
                  <a:lnTo>
                    <a:pt x="153" y="80"/>
                  </a:lnTo>
                  <a:lnTo>
                    <a:pt x="156" y="72"/>
                  </a:lnTo>
                  <a:lnTo>
                    <a:pt x="160" y="59"/>
                  </a:lnTo>
                  <a:lnTo>
                    <a:pt x="152" y="44"/>
                  </a:lnTo>
                  <a:lnTo>
                    <a:pt x="159" y="34"/>
                  </a:lnTo>
                  <a:lnTo>
                    <a:pt x="177" y="29"/>
                  </a:lnTo>
                  <a:lnTo>
                    <a:pt x="195" y="25"/>
                  </a:lnTo>
                  <a:lnTo>
                    <a:pt x="195" y="22"/>
                  </a:lnTo>
                  <a:lnTo>
                    <a:pt x="199" y="22"/>
                  </a:lnTo>
                  <a:lnTo>
                    <a:pt x="200" y="22"/>
                  </a:lnTo>
                  <a:lnTo>
                    <a:pt x="187" y="20"/>
                  </a:lnTo>
                  <a:lnTo>
                    <a:pt x="182" y="19"/>
                  </a:lnTo>
                  <a:lnTo>
                    <a:pt x="170" y="20"/>
                  </a:lnTo>
                  <a:lnTo>
                    <a:pt x="152" y="30"/>
                  </a:lnTo>
                  <a:lnTo>
                    <a:pt x="146" y="8"/>
                  </a:lnTo>
                  <a:lnTo>
                    <a:pt x="142" y="8"/>
                  </a:lnTo>
                  <a:lnTo>
                    <a:pt x="138" y="0"/>
                  </a:lnTo>
                  <a:lnTo>
                    <a:pt x="130" y="4"/>
                  </a:lnTo>
                  <a:lnTo>
                    <a:pt x="128" y="14"/>
                  </a:lnTo>
                  <a:lnTo>
                    <a:pt x="117" y="19"/>
                  </a:lnTo>
                  <a:lnTo>
                    <a:pt x="114" y="23"/>
                  </a:lnTo>
                  <a:lnTo>
                    <a:pt x="104" y="23"/>
                  </a:lnTo>
                  <a:lnTo>
                    <a:pt x="96" y="24"/>
                  </a:lnTo>
                  <a:lnTo>
                    <a:pt x="91" y="22"/>
                  </a:lnTo>
                  <a:lnTo>
                    <a:pt x="76" y="19"/>
                  </a:lnTo>
                  <a:lnTo>
                    <a:pt x="62" y="17"/>
                  </a:lnTo>
                  <a:lnTo>
                    <a:pt x="56" y="22"/>
                  </a:lnTo>
                  <a:lnTo>
                    <a:pt x="51" y="26"/>
                  </a:lnTo>
                  <a:lnTo>
                    <a:pt x="45" y="41"/>
                  </a:lnTo>
                  <a:lnTo>
                    <a:pt x="32" y="48"/>
                  </a:lnTo>
                  <a:lnTo>
                    <a:pt x="27" y="56"/>
                  </a:lnTo>
                  <a:lnTo>
                    <a:pt x="19" y="55"/>
                  </a:lnTo>
                  <a:lnTo>
                    <a:pt x="4" y="50"/>
                  </a:lnTo>
                  <a:lnTo>
                    <a:pt x="1" y="7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2" name="Freeform 269"/>
            <p:cNvSpPr>
              <a:spLocks/>
            </p:cNvSpPr>
            <p:nvPr/>
          </p:nvSpPr>
          <p:spPr bwMode="auto">
            <a:xfrm>
              <a:off x="3069" y="1994"/>
              <a:ext cx="35" cy="20"/>
            </a:xfrm>
            <a:custGeom>
              <a:avLst/>
              <a:gdLst/>
              <a:ahLst/>
              <a:cxnLst>
                <a:cxn ang="0">
                  <a:pos x="31" y="0"/>
                </a:cxn>
                <a:cxn ang="0">
                  <a:pos x="12" y="6"/>
                </a:cxn>
                <a:cxn ang="0">
                  <a:pos x="0" y="11"/>
                </a:cxn>
                <a:cxn ang="0">
                  <a:pos x="5" y="19"/>
                </a:cxn>
                <a:cxn ang="0">
                  <a:pos x="23" y="13"/>
                </a:cxn>
                <a:cxn ang="0">
                  <a:pos x="21" y="10"/>
                </a:cxn>
                <a:cxn ang="0">
                  <a:pos x="31" y="0"/>
                </a:cxn>
              </a:cxnLst>
              <a:rect l="0" t="0" r="r" b="b"/>
              <a:pathLst>
                <a:path w="31" h="19">
                  <a:moveTo>
                    <a:pt x="31" y="0"/>
                  </a:moveTo>
                  <a:lnTo>
                    <a:pt x="12" y="6"/>
                  </a:lnTo>
                  <a:lnTo>
                    <a:pt x="0" y="11"/>
                  </a:lnTo>
                  <a:lnTo>
                    <a:pt x="5" y="19"/>
                  </a:lnTo>
                  <a:lnTo>
                    <a:pt x="23" y="13"/>
                  </a:lnTo>
                  <a:lnTo>
                    <a:pt x="21" y="10"/>
                  </a:lnTo>
                  <a:lnTo>
                    <a:pt x="3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3" name="Line 270"/>
            <p:cNvSpPr>
              <a:spLocks noChangeShapeType="1"/>
            </p:cNvSpPr>
            <p:nvPr/>
          </p:nvSpPr>
          <p:spPr bwMode="auto">
            <a:xfrm>
              <a:off x="3753" y="1967"/>
              <a:ext cx="2" cy="5"/>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4" name="Line 271"/>
            <p:cNvSpPr>
              <a:spLocks noChangeShapeType="1"/>
            </p:cNvSpPr>
            <p:nvPr/>
          </p:nvSpPr>
          <p:spPr bwMode="auto">
            <a:xfrm>
              <a:off x="3755" y="1970"/>
              <a:ext cx="3" cy="4"/>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5" name="Line 272"/>
            <p:cNvSpPr>
              <a:spLocks noChangeShapeType="1"/>
            </p:cNvSpPr>
            <p:nvPr/>
          </p:nvSpPr>
          <p:spPr bwMode="auto">
            <a:xfrm flipH="1">
              <a:off x="3749" y="1974"/>
              <a:ext cx="6" cy="2"/>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6" name="Line 273"/>
            <p:cNvSpPr>
              <a:spLocks noChangeShapeType="1"/>
            </p:cNvSpPr>
            <p:nvPr/>
          </p:nvSpPr>
          <p:spPr bwMode="auto">
            <a:xfrm flipH="1">
              <a:off x="3747" y="1976"/>
              <a:ext cx="4" cy="5"/>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7" name="Line 274"/>
            <p:cNvSpPr>
              <a:spLocks noChangeShapeType="1"/>
            </p:cNvSpPr>
            <p:nvPr/>
          </p:nvSpPr>
          <p:spPr bwMode="auto">
            <a:xfrm flipH="1">
              <a:off x="3742" y="1981"/>
              <a:ext cx="5" cy="2"/>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8" name="Line 275"/>
            <p:cNvSpPr>
              <a:spLocks noChangeShapeType="1"/>
            </p:cNvSpPr>
            <p:nvPr/>
          </p:nvSpPr>
          <p:spPr bwMode="auto">
            <a:xfrm flipH="1">
              <a:off x="3740" y="1981"/>
              <a:ext cx="2" cy="6"/>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9" name="Line 276"/>
            <p:cNvSpPr>
              <a:spLocks noChangeShapeType="1"/>
            </p:cNvSpPr>
            <p:nvPr/>
          </p:nvSpPr>
          <p:spPr bwMode="auto">
            <a:xfrm>
              <a:off x="3740" y="1985"/>
              <a:ext cx="2" cy="7"/>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0" name="Line 277"/>
            <p:cNvSpPr>
              <a:spLocks noChangeShapeType="1"/>
            </p:cNvSpPr>
            <p:nvPr/>
          </p:nvSpPr>
          <p:spPr bwMode="auto">
            <a:xfrm>
              <a:off x="3740" y="1990"/>
              <a:ext cx="2" cy="9"/>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1" name="Line 278"/>
            <p:cNvSpPr>
              <a:spLocks noChangeShapeType="1"/>
            </p:cNvSpPr>
            <p:nvPr/>
          </p:nvSpPr>
          <p:spPr bwMode="auto">
            <a:xfrm>
              <a:off x="3742" y="1996"/>
              <a:ext cx="5" cy="7"/>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2" name="Line 279"/>
            <p:cNvSpPr>
              <a:spLocks noChangeShapeType="1"/>
            </p:cNvSpPr>
            <p:nvPr/>
          </p:nvSpPr>
          <p:spPr bwMode="auto">
            <a:xfrm>
              <a:off x="3744" y="2001"/>
              <a:ext cx="3" cy="4"/>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3" name="Line 280"/>
            <p:cNvSpPr>
              <a:spLocks noChangeShapeType="1"/>
            </p:cNvSpPr>
            <p:nvPr/>
          </p:nvSpPr>
          <p:spPr bwMode="auto">
            <a:xfrm>
              <a:off x="3755" y="2027"/>
              <a:ext cx="3" cy="3"/>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4" name="Line 281"/>
            <p:cNvSpPr>
              <a:spLocks noChangeShapeType="1"/>
            </p:cNvSpPr>
            <p:nvPr/>
          </p:nvSpPr>
          <p:spPr bwMode="auto">
            <a:xfrm>
              <a:off x="3755" y="2027"/>
              <a:ext cx="9" cy="7"/>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5" name="Line 282"/>
            <p:cNvSpPr>
              <a:spLocks noChangeShapeType="1"/>
            </p:cNvSpPr>
            <p:nvPr/>
          </p:nvSpPr>
          <p:spPr bwMode="auto">
            <a:xfrm>
              <a:off x="3762" y="2032"/>
              <a:ext cx="2" cy="7"/>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6" name="Line 283"/>
            <p:cNvSpPr>
              <a:spLocks noChangeShapeType="1"/>
            </p:cNvSpPr>
            <p:nvPr/>
          </p:nvSpPr>
          <p:spPr bwMode="auto">
            <a:xfrm>
              <a:off x="3762" y="2036"/>
              <a:ext cx="2" cy="7"/>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7" name="Line 284"/>
            <p:cNvSpPr>
              <a:spLocks noChangeShapeType="1"/>
            </p:cNvSpPr>
            <p:nvPr/>
          </p:nvSpPr>
          <p:spPr bwMode="auto">
            <a:xfrm>
              <a:off x="3764" y="2043"/>
              <a:ext cx="7" cy="4"/>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8" name="Line 285"/>
            <p:cNvSpPr>
              <a:spLocks noChangeShapeType="1"/>
            </p:cNvSpPr>
            <p:nvPr/>
          </p:nvSpPr>
          <p:spPr bwMode="auto">
            <a:xfrm>
              <a:off x="3769" y="2045"/>
              <a:ext cx="6" cy="2"/>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9" name="Line 286"/>
            <p:cNvSpPr>
              <a:spLocks noChangeShapeType="1"/>
            </p:cNvSpPr>
            <p:nvPr/>
          </p:nvSpPr>
          <p:spPr bwMode="auto">
            <a:xfrm flipV="1">
              <a:off x="3851" y="2021"/>
              <a:ext cx="9" cy="6"/>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0" name="Line 287"/>
            <p:cNvSpPr>
              <a:spLocks noChangeShapeType="1"/>
            </p:cNvSpPr>
            <p:nvPr/>
          </p:nvSpPr>
          <p:spPr bwMode="auto">
            <a:xfrm flipV="1">
              <a:off x="3858" y="2012"/>
              <a:ext cx="2" cy="11"/>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1" name="Line 288"/>
            <p:cNvSpPr>
              <a:spLocks noChangeShapeType="1"/>
            </p:cNvSpPr>
            <p:nvPr/>
          </p:nvSpPr>
          <p:spPr bwMode="auto">
            <a:xfrm flipV="1">
              <a:off x="3860" y="1996"/>
              <a:ext cx="2" cy="18"/>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2" name="Line 289"/>
            <p:cNvSpPr>
              <a:spLocks noChangeShapeType="1"/>
            </p:cNvSpPr>
            <p:nvPr/>
          </p:nvSpPr>
          <p:spPr bwMode="auto">
            <a:xfrm flipH="1" flipV="1">
              <a:off x="3849" y="1992"/>
              <a:ext cx="13" cy="4"/>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3" name="Line 290"/>
            <p:cNvSpPr>
              <a:spLocks noChangeShapeType="1"/>
            </p:cNvSpPr>
            <p:nvPr/>
          </p:nvSpPr>
          <p:spPr bwMode="auto">
            <a:xfrm flipH="1" flipV="1">
              <a:off x="3847" y="1990"/>
              <a:ext cx="2" cy="2"/>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4" name="Line 291"/>
            <p:cNvSpPr>
              <a:spLocks noChangeShapeType="1"/>
            </p:cNvSpPr>
            <p:nvPr/>
          </p:nvSpPr>
          <p:spPr bwMode="auto">
            <a:xfrm flipH="1">
              <a:off x="3820" y="1996"/>
              <a:ext cx="2" cy="3"/>
            </a:xfrm>
            <a:prstGeom prst="line">
              <a:avLst/>
            </a:prstGeom>
            <a:grp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5" name="Freeform 292"/>
            <p:cNvSpPr>
              <a:spLocks/>
            </p:cNvSpPr>
            <p:nvPr/>
          </p:nvSpPr>
          <p:spPr bwMode="auto">
            <a:xfrm>
              <a:off x="3120" y="2014"/>
              <a:ext cx="20" cy="31"/>
            </a:xfrm>
            <a:custGeom>
              <a:avLst/>
              <a:gdLst/>
              <a:ahLst/>
              <a:cxnLst>
                <a:cxn ang="0">
                  <a:pos x="17" y="16"/>
                </a:cxn>
                <a:cxn ang="0">
                  <a:pos x="7" y="25"/>
                </a:cxn>
                <a:cxn ang="0">
                  <a:pos x="0" y="29"/>
                </a:cxn>
                <a:cxn ang="0">
                  <a:pos x="5" y="15"/>
                </a:cxn>
                <a:cxn ang="0">
                  <a:pos x="10" y="0"/>
                </a:cxn>
                <a:cxn ang="0">
                  <a:pos x="19" y="5"/>
                </a:cxn>
                <a:cxn ang="0">
                  <a:pos x="17" y="16"/>
                </a:cxn>
              </a:cxnLst>
              <a:rect l="0" t="0" r="r" b="b"/>
              <a:pathLst>
                <a:path w="19" h="29">
                  <a:moveTo>
                    <a:pt x="17" y="16"/>
                  </a:moveTo>
                  <a:lnTo>
                    <a:pt x="7" y="25"/>
                  </a:lnTo>
                  <a:lnTo>
                    <a:pt x="0" y="29"/>
                  </a:lnTo>
                  <a:lnTo>
                    <a:pt x="5" y="15"/>
                  </a:lnTo>
                  <a:lnTo>
                    <a:pt x="10" y="0"/>
                  </a:lnTo>
                  <a:lnTo>
                    <a:pt x="19" y="5"/>
                  </a:lnTo>
                  <a:lnTo>
                    <a:pt x="17" y="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6" name="Freeform 293"/>
            <p:cNvSpPr>
              <a:spLocks/>
            </p:cNvSpPr>
            <p:nvPr/>
          </p:nvSpPr>
          <p:spPr bwMode="auto">
            <a:xfrm>
              <a:off x="3127" y="1963"/>
              <a:ext cx="102" cy="98"/>
            </a:xfrm>
            <a:custGeom>
              <a:avLst/>
              <a:gdLst/>
              <a:ahLst/>
              <a:cxnLst>
                <a:cxn ang="0">
                  <a:pos x="59" y="6"/>
                </a:cxn>
                <a:cxn ang="0">
                  <a:pos x="36" y="6"/>
                </a:cxn>
                <a:cxn ang="0">
                  <a:pos x="13" y="7"/>
                </a:cxn>
                <a:cxn ang="0">
                  <a:pos x="9" y="9"/>
                </a:cxn>
                <a:cxn ang="0">
                  <a:pos x="7" y="17"/>
                </a:cxn>
                <a:cxn ang="0">
                  <a:pos x="1" y="23"/>
                </a:cxn>
                <a:cxn ang="0">
                  <a:pos x="0" y="21"/>
                </a:cxn>
                <a:cxn ang="0">
                  <a:pos x="4" y="44"/>
                </a:cxn>
                <a:cxn ang="0">
                  <a:pos x="13" y="49"/>
                </a:cxn>
                <a:cxn ang="0">
                  <a:pos x="11" y="60"/>
                </a:cxn>
                <a:cxn ang="0">
                  <a:pos x="1" y="69"/>
                </a:cxn>
                <a:cxn ang="0">
                  <a:pos x="3" y="79"/>
                </a:cxn>
                <a:cxn ang="0">
                  <a:pos x="22" y="86"/>
                </a:cxn>
                <a:cxn ang="0">
                  <a:pos x="35" y="77"/>
                </a:cxn>
                <a:cxn ang="0">
                  <a:pos x="49" y="67"/>
                </a:cxn>
                <a:cxn ang="0">
                  <a:pos x="64" y="59"/>
                </a:cxn>
                <a:cxn ang="0">
                  <a:pos x="79" y="49"/>
                </a:cxn>
                <a:cxn ang="0">
                  <a:pos x="79" y="31"/>
                </a:cxn>
                <a:cxn ang="0">
                  <a:pos x="79" y="14"/>
                </a:cxn>
                <a:cxn ang="0">
                  <a:pos x="93" y="1"/>
                </a:cxn>
                <a:cxn ang="0">
                  <a:pos x="88" y="0"/>
                </a:cxn>
                <a:cxn ang="0">
                  <a:pos x="73" y="2"/>
                </a:cxn>
                <a:cxn ang="0">
                  <a:pos x="59" y="6"/>
                </a:cxn>
              </a:cxnLst>
              <a:rect l="0" t="0" r="r" b="b"/>
              <a:pathLst>
                <a:path w="93" h="86">
                  <a:moveTo>
                    <a:pt x="59" y="6"/>
                  </a:moveTo>
                  <a:lnTo>
                    <a:pt x="36" y="6"/>
                  </a:lnTo>
                  <a:lnTo>
                    <a:pt x="13" y="7"/>
                  </a:lnTo>
                  <a:lnTo>
                    <a:pt x="9" y="9"/>
                  </a:lnTo>
                  <a:lnTo>
                    <a:pt x="7" y="17"/>
                  </a:lnTo>
                  <a:lnTo>
                    <a:pt x="1" y="23"/>
                  </a:lnTo>
                  <a:lnTo>
                    <a:pt x="0" y="21"/>
                  </a:lnTo>
                  <a:lnTo>
                    <a:pt x="4" y="44"/>
                  </a:lnTo>
                  <a:lnTo>
                    <a:pt x="13" y="49"/>
                  </a:lnTo>
                  <a:lnTo>
                    <a:pt x="11" y="60"/>
                  </a:lnTo>
                  <a:lnTo>
                    <a:pt x="1" y="69"/>
                  </a:lnTo>
                  <a:lnTo>
                    <a:pt x="3" y="79"/>
                  </a:lnTo>
                  <a:lnTo>
                    <a:pt x="22" y="86"/>
                  </a:lnTo>
                  <a:lnTo>
                    <a:pt x="35" y="77"/>
                  </a:lnTo>
                  <a:lnTo>
                    <a:pt x="49" y="67"/>
                  </a:lnTo>
                  <a:lnTo>
                    <a:pt x="64" y="59"/>
                  </a:lnTo>
                  <a:lnTo>
                    <a:pt x="79" y="49"/>
                  </a:lnTo>
                  <a:lnTo>
                    <a:pt x="79" y="31"/>
                  </a:lnTo>
                  <a:lnTo>
                    <a:pt x="79" y="14"/>
                  </a:lnTo>
                  <a:lnTo>
                    <a:pt x="93" y="1"/>
                  </a:lnTo>
                  <a:lnTo>
                    <a:pt x="88" y="0"/>
                  </a:lnTo>
                  <a:lnTo>
                    <a:pt x="73" y="2"/>
                  </a:lnTo>
                  <a:lnTo>
                    <a:pt x="59"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7" name="Freeform 294"/>
            <p:cNvSpPr>
              <a:spLocks/>
            </p:cNvSpPr>
            <p:nvPr/>
          </p:nvSpPr>
          <p:spPr bwMode="auto">
            <a:xfrm>
              <a:off x="3629" y="1874"/>
              <a:ext cx="138" cy="98"/>
            </a:xfrm>
            <a:custGeom>
              <a:avLst/>
              <a:gdLst/>
              <a:ahLst/>
              <a:cxnLst>
                <a:cxn ang="0">
                  <a:pos x="104" y="78"/>
                </a:cxn>
                <a:cxn ang="0">
                  <a:pos x="92" y="79"/>
                </a:cxn>
                <a:cxn ang="0">
                  <a:pos x="74" y="89"/>
                </a:cxn>
                <a:cxn ang="0">
                  <a:pos x="68" y="67"/>
                </a:cxn>
                <a:cxn ang="0">
                  <a:pos x="64" y="67"/>
                </a:cxn>
                <a:cxn ang="0">
                  <a:pos x="60" y="59"/>
                </a:cxn>
                <a:cxn ang="0">
                  <a:pos x="52" y="63"/>
                </a:cxn>
                <a:cxn ang="0">
                  <a:pos x="50" y="73"/>
                </a:cxn>
                <a:cxn ang="0">
                  <a:pos x="39" y="78"/>
                </a:cxn>
                <a:cxn ang="0">
                  <a:pos x="36" y="82"/>
                </a:cxn>
                <a:cxn ang="0">
                  <a:pos x="26" y="82"/>
                </a:cxn>
                <a:cxn ang="0">
                  <a:pos x="18" y="83"/>
                </a:cxn>
                <a:cxn ang="0">
                  <a:pos x="13" y="81"/>
                </a:cxn>
                <a:cxn ang="0">
                  <a:pos x="16" y="69"/>
                </a:cxn>
                <a:cxn ang="0">
                  <a:pos x="20" y="57"/>
                </a:cxn>
                <a:cxn ang="0">
                  <a:pos x="16" y="51"/>
                </a:cxn>
                <a:cxn ang="0">
                  <a:pos x="6" y="45"/>
                </a:cxn>
                <a:cxn ang="0">
                  <a:pos x="0" y="37"/>
                </a:cxn>
                <a:cxn ang="0">
                  <a:pos x="14" y="23"/>
                </a:cxn>
                <a:cxn ang="0">
                  <a:pos x="30" y="10"/>
                </a:cxn>
                <a:cxn ang="0">
                  <a:pos x="40" y="0"/>
                </a:cxn>
                <a:cxn ang="0">
                  <a:pos x="61" y="3"/>
                </a:cxn>
                <a:cxn ang="0">
                  <a:pos x="76" y="12"/>
                </a:cxn>
                <a:cxn ang="0">
                  <a:pos x="58" y="18"/>
                </a:cxn>
                <a:cxn ang="0">
                  <a:pos x="40" y="24"/>
                </a:cxn>
                <a:cxn ang="0">
                  <a:pos x="42" y="36"/>
                </a:cxn>
                <a:cxn ang="0">
                  <a:pos x="67" y="40"/>
                </a:cxn>
                <a:cxn ang="0">
                  <a:pos x="92" y="42"/>
                </a:cxn>
                <a:cxn ang="0">
                  <a:pos x="100" y="57"/>
                </a:cxn>
                <a:cxn ang="0">
                  <a:pos x="115" y="58"/>
                </a:cxn>
                <a:cxn ang="0">
                  <a:pos x="123" y="79"/>
                </a:cxn>
                <a:cxn ang="0">
                  <a:pos x="122" y="81"/>
                </a:cxn>
                <a:cxn ang="0">
                  <a:pos x="109" y="79"/>
                </a:cxn>
                <a:cxn ang="0">
                  <a:pos x="104" y="78"/>
                </a:cxn>
              </a:cxnLst>
              <a:rect l="0" t="0" r="r" b="b"/>
              <a:pathLst>
                <a:path w="123" h="89">
                  <a:moveTo>
                    <a:pt x="104" y="78"/>
                  </a:moveTo>
                  <a:lnTo>
                    <a:pt x="92" y="79"/>
                  </a:lnTo>
                  <a:lnTo>
                    <a:pt x="74" y="89"/>
                  </a:lnTo>
                  <a:lnTo>
                    <a:pt x="68" y="67"/>
                  </a:lnTo>
                  <a:lnTo>
                    <a:pt x="64" y="67"/>
                  </a:lnTo>
                  <a:lnTo>
                    <a:pt x="60" y="59"/>
                  </a:lnTo>
                  <a:lnTo>
                    <a:pt x="52" y="63"/>
                  </a:lnTo>
                  <a:lnTo>
                    <a:pt x="50" y="73"/>
                  </a:lnTo>
                  <a:lnTo>
                    <a:pt x="39" y="78"/>
                  </a:lnTo>
                  <a:lnTo>
                    <a:pt x="36" y="82"/>
                  </a:lnTo>
                  <a:lnTo>
                    <a:pt x="26" y="82"/>
                  </a:lnTo>
                  <a:lnTo>
                    <a:pt x="18" y="83"/>
                  </a:lnTo>
                  <a:lnTo>
                    <a:pt x="13" y="81"/>
                  </a:lnTo>
                  <a:lnTo>
                    <a:pt x="16" y="69"/>
                  </a:lnTo>
                  <a:lnTo>
                    <a:pt x="20" y="57"/>
                  </a:lnTo>
                  <a:lnTo>
                    <a:pt x="16" y="51"/>
                  </a:lnTo>
                  <a:lnTo>
                    <a:pt x="6" y="45"/>
                  </a:lnTo>
                  <a:lnTo>
                    <a:pt x="0" y="37"/>
                  </a:lnTo>
                  <a:lnTo>
                    <a:pt x="14" y="23"/>
                  </a:lnTo>
                  <a:lnTo>
                    <a:pt x="30" y="10"/>
                  </a:lnTo>
                  <a:lnTo>
                    <a:pt x="40" y="0"/>
                  </a:lnTo>
                  <a:lnTo>
                    <a:pt x="61" y="3"/>
                  </a:lnTo>
                  <a:lnTo>
                    <a:pt x="76" y="12"/>
                  </a:lnTo>
                  <a:lnTo>
                    <a:pt x="58" y="18"/>
                  </a:lnTo>
                  <a:lnTo>
                    <a:pt x="40" y="24"/>
                  </a:lnTo>
                  <a:lnTo>
                    <a:pt x="42" y="36"/>
                  </a:lnTo>
                  <a:lnTo>
                    <a:pt x="67" y="40"/>
                  </a:lnTo>
                  <a:lnTo>
                    <a:pt x="92" y="42"/>
                  </a:lnTo>
                  <a:lnTo>
                    <a:pt x="100" y="57"/>
                  </a:lnTo>
                  <a:lnTo>
                    <a:pt x="115" y="58"/>
                  </a:lnTo>
                  <a:lnTo>
                    <a:pt x="123" y="79"/>
                  </a:lnTo>
                  <a:lnTo>
                    <a:pt x="122" y="81"/>
                  </a:lnTo>
                  <a:lnTo>
                    <a:pt x="109" y="79"/>
                  </a:lnTo>
                  <a:lnTo>
                    <a:pt x="104" y="7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8" name="Freeform 295"/>
            <p:cNvSpPr>
              <a:spLocks/>
            </p:cNvSpPr>
            <p:nvPr/>
          </p:nvSpPr>
          <p:spPr bwMode="auto">
            <a:xfrm>
              <a:off x="3415" y="1790"/>
              <a:ext cx="258" cy="173"/>
            </a:xfrm>
            <a:custGeom>
              <a:avLst/>
              <a:gdLst/>
              <a:ahLst/>
              <a:cxnLst>
                <a:cxn ang="0">
                  <a:pos x="165" y="132"/>
                </a:cxn>
                <a:cxn ang="0">
                  <a:pos x="140" y="116"/>
                </a:cxn>
                <a:cxn ang="0">
                  <a:pos x="115" y="101"/>
                </a:cxn>
                <a:cxn ang="0">
                  <a:pos x="102" y="93"/>
                </a:cxn>
                <a:cxn ang="0">
                  <a:pos x="83" y="86"/>
                </a:cxn>
                <a:cxn ang="0">
                  <a:pos x="71" y="68"/>
                </a:cxn>
                <a:cxn ang="0">
                  <a:pos x="51" y="55"/>
                </a:cxn>
                <a:cxn ang="0">
                  <a:pos x="39" y="68"/>
                </a:cxn>
                <a:cxn ang="0">
                  <a:pos x="32" y="72"/>
                </a:cxn>
                <a:cxn ang="0">
                  <a:pos x="36" y="81"/>
                </a:cxn>
                <a:cxn ang="0">
                  <a:pos x="15" y="78"/>
                </a:cxn>
                <a:cxn ang="0">
                  <a:pos x="12" y="61"/>
                </a:cxn>
                <a:cxn ang="0">
                  <a:pos x="7" y="45"/>
                </a:cxn>
                <a:cxn ang="0">
                  <a:pos x="3" y="30"/>
                </a:cxn>
                <a:cxn ang="0">
                  <a:pos x="0" y="13"/>
                </a:cxn>
                <a:cxn ang="0">
                  <a:pos x="18" y="7"/>
                </a:cxn>
                <a:cxn ang="0">
                  <a:pos x="35" y="0"/>
                </a:cxn>
                <a:cxn ang="0">
                  <a:pos x="54" y="11"/>
                </a:cxn>
                <a:cxn ang="0">
                  <a:pos x="73" y="20"/>
                </a:cxn>
                <a:cxn ang="0">
                  <a:pos x="87" y="37"/>
                </a:cxn>
                <a:cxn ang="0">
                  <a:pos x="103" y="38"/>
                </a:cxn>
                <a:cxn ang="0">
                  <a:pos x="117" y="39"/>
                </a:cxn>
                <a:cxn ang="0">
                  <a:pos x="133" y="41"/>
                </a:cxn>
                <a:cxn ang="0">
                  <a:pos x="149" y="42"/>
                </a:cxn>
                <a:cxn ang="0">
                  <a:pos x="164" y="53"/>
                </a:cxn>
                <a:cxn ang="0">
                  <a:pos x="165" y="67"/>
                </a:cxn>
                <a:cxn ang="0">
                  <a:pos x="180" y="74"/>
                </a:cxn>
                <a:cxn ang="0">
                  <a:pos x="193" y="81"/>
                </a:cxn>
                <a:cxn ang="0">
                  <a:pos x="207" y="72"/>
                </a:cxn>
                <a:cxn ang="0">
                  <a:pos x="221" y="61"/>
                </a:cxn>
                <a:cxn ang="0">
                  <a:pos x="231" y="74"/>
                </a:cxn>
                <a:cxn ang="0">
                  <a:pos x="221" y="84"/>
                </a:cxn>
                <a:cxn ang="0">
                  <a:pos x="205" y="97"/>
                </a:cxn>
                <a:cxn ang="0">
                  <a:pos x="191" y="111"/>
                </a:cxn>
                <a:cxn ang="0">
                  <a:pos x="197" y="119"/>
                </a:cxn>
                <a:cxn ang="0">
                  <a:pos x="207" y="125"/>
                </a:cxn>
                <a:cxn ang="0">
                  <a:pos x="211" y="131"/>
                </a:cxn>
                <a:cxn ang="0">
                  <a:pos x="207" y="143"/>
                </a:cxn>
                <a:cxn ang="0">
                  <a:pos x="204" y="155"/>
                </a:cxn>
                <a:cxn ang="0">
                  <a:pos x="189" y="152"/>
                </a:cxn>
                <a:cxn ang="0">
                  <a:pos x="175" y="150"/>
                </a:cxn>
                <a:cxn ang="0">
                  <a:pos x="165" y="132"/>
                </a:cxn>
              </a:cxnLst>
              <a:rect l="0" t="0" r="r" b="b"/>
              <a:pathLst>
                <a:path w="231" h="155">
                  <a:moveTo>
                    <a:pt x="165" y="132"/>
                  </a:moveTo>
                  <a:lnTo>
                    <a:pt x="140" y="116"/>
                  </a:lnTo>
                  <a:lnTo>
                    <a:pt x="115" y="101"/>
                  </a:lnTo>
                  <a:lnTo>
                    <a:pt x="102" y="93"/>
                  </a:lnTo>
                  <a:lnTo>
                    <a:pt x="83" y="86"/>
                  </a:lnTo>
                  <a:lnTo>
                    <a:pt x="71" y="68"/>
                  </a:lnTo>
                  <a:lnTo>
                    <a:pt x="51" y="55"/>
                  </a:lnTo>
                  <a:lnTo>
                    <a:pt x="39" y="68"/>
                  </a:lnTo>
                  <a:lnTo>
                    <a:pt x="32" y="72"/>
                  </a:lnTo>
                  <a:lnTo>
                    <a:pt x="36" y="81"/>
                  </a:lnTo>
                  <a:lnTo>
                    <a:pt x="15" y="78"/>
                  </a:lnTo>
                  <a:lnTo>
                    <a:pt x="12" y="61"/>
                  </a:lnTo>
                  <a:lnTo>
                    <a:pt x="7" y="45"/>
                  </a:lnTo>
                  <a:lnTo>
                    <a:pt x="3" y="30"/>
                  </a:lnTo>
                  <a:lnTo>
                    <a:pt x="0" y="13"/>
                  </a:lnTo>
                  <a:lnTo>
                    <a:pt x="18" y="7"/>
                  </a:lnTo>
                  <a:lnTo>
                    <a:pt x="35" y="0"/>
                  </a:lnTo>
                  <a:lnTo>
                    <a:pt x="54" y="11"/>
                  </a:lnTo>
                  <a:lnTo>
                    <a:pt x="73" y="20"/>
                  </a:lnTo>
                  <a:lnTo>
                    <a:pt x="87" y="37"/>
                  </a:lnTo>
                  <a:lnTo>
                    <a:pt x="103" y="38"/>
                  </a:lnTo>
                  <a:lnTo>
                    <a:pt x="117" y="39"/>
                  </a:lnTo>
                  <a:lnTo>
                    <a:pt x="133" y="41"/>
                  </a:lnTo>
                  <a:lnTo>
                    <a:pt x="149" y="42"/>
                  </a:lnTo>
                  <a:lnTo>
                    <a:pt x="164" y="53"/>
                  </a:lnTo>
                  <a:lnTo>
                    <a:pt x="165" y="67"/>
                  </a:lnTo>
                  <a:lnTo>
                    <a:pt x="180" y="74"/>
                  </a:lnTo>
                  <a:lnTo>
                    <a:pt x="193" y="81"/>
                  </a:lnTo>
                  <a:lnTo>
                    <a:pt x="207" y="72"/>
                  </a:lnTo>
                  <a:lnTo>
                    <a:pt x="221" y="61"/>
                  </a:lnTo>
                  <a:lnTo>
                    <a:pt x="231" y="74"/>
                  </a:lnTo>
                  <a:lnTo>
                    <a:pt x="221" y="84"/>
                  </a:lnTo>
                  <a:lnTo>
                    <a:pt x="205" y="97"/>
                  </a:lnTo>
                  <a:lnTo>
                    <a:pt x="191" y="111"/>
                  </a:lnTo>
                  <a:lnTo>
                    <a:pt x="197" y="119"/>
                  </a:lnTo>
                  <a:lnTo>
                    <a:pt x="207" y="125"/>
                  </a:lnTo>
                  <a:lnTo>
                    <a:pt x="211" y="131"/>
                  </a:lnTo>
                  <a:lnTo>
                    <a:pt x="207" y="143"/>
                  </a:lnTo>
                  <a:lnTo>
                    <a:pt x="204" y="155"/>
                  </a:lnTo>
                  <a:lnTo>
                    <a:pt x="189" y="152"/>
                  </a:lnTo>
                  <a:lnTo>
                    <a:pt x="175" y="150"/>
                  </a:lnTo>
                  <a:lnTo>
                    <a:pt x="165" y="13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9" name="Freeform 296"/>
            <p:cNvSpPr>
              <a:spLocks/>
            </p:cNvSpPr>
            <p:nvPr/>
          </p:nvSpPr>
          <p:spPr bwMode="auto">
            <a:xfrm>
              <a:off x="2860" y="1861"/>
              <a:ext cx="40" cy="29"/>
            </a:xfrm>
            <a:custGeom>
              <a:avLst/>
              <a:gdLst/>
              <a:ahLst/>
              <a:cxnLst>
                <a:cxn ang="0">
                  <a:pos x="10" y="27"/>
                </a:cxn>
                <a:cxn ang="0">
                  <a:pos x="0" y="9"/>
                </a:cxn>
                <a:cxn ang="0">
                  <a:pos x="3" y="8"/>
                </a:cxn>
                <a:cxn ang="0">
                  <a:pos x="3" y="5"/>
                </a:cxn>
                <a:cxn ang="0">
                  <a:pos x="8" y="4"/>
                </a:cxn>
                <a:cxn ang="0">
                  <a:pos x="11" y="5"/>
                </a:cxn>
                <a:cxn ang="0">
                  <a:pos x="14" y="2"/>
                </a:cxn>
                <a:cxn ang="0">
                  <a:pos x="16" y="3"/>
                </a:cxn>
                <a:cxn ang="0">
                  <a:pos x="18" y="3"/>
                </a:cxn>
                <a:cxn ang="0">
                  <a:pos x="21" y="2"/>
                </a:cxn>
                <a:cxn ang="0">
                  <a:pos x="26" y="0"/>
                </a:cxn>
                <a:cxn ang="0">
                  <a:pos x="29" y="4"/>
                </a:cxn>
                <a:cxn ang="0">
                  <a:pos x="32" y="3"/>
                </a:cxn>
                <a:cxn ang="0">
                  <a:pos x="34" y="5"/>
                </a:cxn>
                <a:cxn ang="0">
                  <a:pos x="36" y="18"/>
                </a:cxn>
                <a:cxn ang="0">
                  <a:pos x="10" y="27"/>
                </a:cxn>
              </a:cxnLst>
              <a:rect l="0" t="0" r="r" b="b"/>
              <a:pathLst>
                <a:path w="36" h="27">
                  <a:moveTo>
                    <a:pt x="10" y="27"/>
                  </a:moveTo>
                  <a:lnTo>
                    <a:pt x="0" y="9"/>
                  </a:lnTo>
                  <a:lnTo>
                    <a:pt x="3" y="8"/>
                  </a:lnTo>
                  <a:lnTo>
                    <a:pt x="3" y="5"/>
                  </a:lnTo>
                  <a:lnTo>
                    <a:pt x="8" y="4"/>
                  </a:lnTo>
                  <a:lnTo>
                    <a:pt x="11" y="5"/>
                  </a:lnTo>
                  <a:lnTo>
                    <a:pt x="14" y="2"/>
                  </a:lnTo>
                  <a:lnTo>
                    <a:pt x="16" y="3"/>
                  </a:lnTo>
                  <a:lnTo>
                    <a:pt x="18" y="3"/>
                  </a:lnTo>
                  <a:lnTo>
                    <a:pt x="21" y="2"/>
                  </a:lnTo>
                  <a:lnTo>
                    <a:pt x="26" y="0"/>
                  </a:lnTo>
                  <a:lnTo>
                    <a:pt x="29" y="4"/>
                  </a:lnTo>
                  <a:lnTo>
                    <a:pt x="32" y="3"/>
                  </a:lnTo>
                  <a:lnTo>
                    <a:pt x="34" y="5"/>
                  </a:lnTo>
                  <a:lnTo>
                    <a:pt x="36" y="18"/>
                  </a:lnTo>
                  <a:lnTo>
                    <a:pt x="10"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0" name="Freeform 297"/>
            <p:cNvSpPr>
              <a:spLocks/>
            </p:cNvSpPr>
            <p:nvPr/>
          </p:nvSpPr>
          <p:spPr bwMode="auto">
            <a:xfrm>
              <a:off x="2889" y="1823"/>
              <a:ext cx="98" cy="58"/>
            </a:xfrm>
            <a:custGeom>
              <a:avLst/>
              <a:gdLst/>
              <a:ahLst/>
              <a:cxnLst>
                <a:cxn ang="0">
                  <a:pos x="5" y="5"/>
                </a:cxn>
                <a:cxn ang="0">
                  <a:pos x="1" y="0"/>
                </a:cxn>
                <a:cxn ang="0">
                  <a:pos x="0" y="11"/>
                </a:cxn>
                <a:cxn ang="0">
                  <a:pos x="6" y="20"/>
                </a:cxn>
                <a:cxn ang="0">
                  <a:pos x="0" y="30"/>
                </a:cxn>
                <a:cxn ang="0">
                  <a:pos x="5" y="36"/>
                </a:cxn>
                <a:cxn ang="0">
                  <a:pos x="7" y="38"/>
                </a:cxn>
                <a:cxn ang="0">
                  <a:pos x="9" y="51"/>
                </a:cxn>
                <a:cxn ang="0">
                  <a:pos x="25" y="49"/>
                </a:cxn>
                <a:cxn ang="0">
                  <a:pos x="50" y="51"/>
                </a:cxn>
                <a:cxn ang="0">
                  <a:pos x="56" y="47"/>
                </a:cxn>
                <a:cxn ang="0">
                  <a:pos x="59" y="44"/>
                </a:cxn>
                <a:cxn ang="0">
                  <a:pos x="61" y="41"/>
                </a:cxn>
                <a:cxn ang="0">
                  <a:pos x="83" y="39"/>
                </a:cxn>
                <a:cxn ang="0">
                  <a:pos x="77" y="32"/>
                </a:cxn>
                <a:cxn ang="0">
                  <a:pos x="79" y="25"/>
                </a:cxn>
                <a:cxn ang="0">
                  <a:pos x="83" y="14"/>
                </a:cxn>
                <a:cxn ang="0">
                  <a:pos x="86" y="8"/>
                </a:cxn>
                <a:cxn ang="0">
                  <a:pos x="59" y="2"/>
                </a:cxn>
                <a:cxn ang="0">
                  <a:pos x="37" y="9"/>
                </a:cxn>
                <a:cxn ang="0">
                  <a:pos x="20" y="7"/>
                </a:cxn>
                <a:cxn ang="0">
                  <a:pos x="5" y="5"/>
                </a:cxn>
              </a:cxnLst>
              <a:rect l="0" t="0" r="r" b="b"/>
              <a:pathLst>
                <a:path w="86" h="51">
                  <a:moveTo>
                    <a:pt x="5" y="5"/>
                  </a:moveTo>
                  <a:lnTo>
                    <a:pt x="1" y="0"/>
                  </a:lnTo>
                  <a:lnTo>
                    <a:pt x="0" y="11"/>
                  </a:lnTo>
                  <a:lnTo>
                    <a:pt x="6" y="20"/>
                  </a:lnTo>
                  <a:lnTo>
                    <a:pt x="0" y="30"/>
                  </a:lnTo>
                  <a:lnTo>
                    <a:pt x="5" y="36"/>
                  </a:lnTo>
                  <a:lnTo>
                    <a:pt x="7" y="38"/>
                  </a:lnTo>
                  <a:lnTo>
                    <a:pt x="9" y="51"/>
                  </a:lnTo>
                  <a:lnTo>
                    <a:pt x="25" y="49"/>
                  </a:lnTo>
                  <a:lnTo>
                    <a:pt x="50" y="51"/>
                  </a:lnTo>
                  <a:lnTo>
                    <a:pt x="56" y="47"/>
                  </a:lnTo>
                  <a:lnTo>
                    <a:pt x="59" y="44"/>
                  </a:lnTo>
                  <a:lnTo>
                    <a:pt x="61" y="41"/>
                  </a:lnTo>
                  <a:lnTo>
                    <a:pt x="83" y="39"/>
                  </a:lnTo>
                  <a:lnTo>
                    <a:pt x="77" y="32"/>
                  </a:lnTo>
                  <a:lnTo>
                    <a:pt x="79" y="25"/>
                  </a:lnTo>
                  <a:lnTo>
                    <a:pt x="83" y="14"/>
                  </a:lnTo>
                  <a:lnTo>
                    <a:pt x="86" y="8"/>
                  </a:lnTo>
                  <a:lnTo>
                    <a:pt x="59" y="2"/>
                  </a:lnTo>
                  <a:lnTo>
                    <a:pt x="37" y="9"/>
                  </a:lnTo>
                  <a:lnTo>
                    <a:pt x="20" y="7"/>
                  </a:lnTo>
                  <a:lnTo>
                    <a:pt x="5"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1" name="Freeform 298"/>
            <p:cNvSpPr>
              <a:spLocks/>
            </p:cNvSpPr>
            <p:nvPr/>
          </p:nvSpPr>
          <p:spPr bwMode="auto">
            <a:xfrm>
              <a:off x="2842" y="1856"/>
              <a:ext cx="29" cy="58"/>
            </a:xfrm>
            <a:custGeom>
              <a:avLst/>
              <a:gdLst/>
              <a:ahLst/>
              <a:cxnLst>
                <a:cxn ang="0">
                  <a:pos x="0" y="12"/>
                </a:cxn>
                <a:cxn ang="0">
                  <a:pos x="2" y="36"/>
                </a:cxn>
                <a:cxn ang="0">
                  <a:pos x="13" y="50"/>
                </a:cxn>
                <a:cxn ang="0">
                  <a:pos x="17" y="45"/>
                </a:cxn>
                <a:cxn ang="0">
                  <a:pos x="25" y="31"/>
                </a:cxn>
                <a:cxn ang="0">
                  <a:pos x="25" y="30"/>
                </a:cxn>
                <a:cxn ang="0">
                  <a:pos x="15" y="12"/>
                </a:cxn>
                <a:cxn ang="0">
                  <a:pos x="11" y="2"/>
                </a:cxn>
                <a:cxn ang="0">
                  <a:pos x="2" y="0"/>
                </a:cxn>
                <a:cxn ang="0">
                  <a:pos x="0" y="12"/>
                </a:cxn>
              </a:cxnLst>
              <a:rect l="0" t="0" r="r" b="b"/>
              <a:pathLst>
                <a:path w="25" h="50">
                  <a:moveTo>
                    <a:pt x="0" y="12"/>
                  </a:moveTo>
                  <a:lnTo>
                    <a:pt x="2" y="36"/>
                  </a:lnTo>
                  <a:lnTo>
                    <a:pt x="13" y="50"/>
                  </a:lnTo>
                  <a:lnTo>
                    <a:pt x="17" y="45"/>
                  </a:lnTo>
                  <a:lnTo>
                    <a:pt x="25" y="31"/>
                  </a:lnTo>
                  <a:lnTo>
                    <a:pt x="25" y="30"/>
                  </a:lnTo>
                  <a:lnTo>
                    <a:pt x="15" y="12"/>
                  </a:lnTo>
                  <a:lnTo>
                    <a:pt x="11" y="2"/>
                  </a:lnTo>
                  <a:lnTo>
                    <a:pt x="2" y="0"/>
                  </a:lnTo>
                  <a:lnTo>
                    <a:pt x="0"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2" name="Freeform 299"/>
            <p:cNvSpPr>
              <a:spLocks/>
            </p:cNvSpPr>
            <p:nvPr/>
          </p:nvSpPr>
          <p:spPr bwMode="auto">
            <a:xfrm>
              <a:off x="3220" y="1876"/>
              <a:ext cx="75" cy="51"/>
            </a:xfrm>
            <a:custGeom>
              <a:avLst/>
              <a:gdLst/>
              <a:ahLst/>
              <a:cxnLst>
                <a:cxn ang="0">
                  <a:pos x="10" y="7"/>
                </a:cxn>
                <a:cxn ang="0">
                  <a:pos x="0" y="0"/>
                </a:cxn>
                <a:cxn ang="0">
                  <a:pos x="22" y="0"/>
                </a:cxn>
                <a:cxn ang="0">
                  <a:pos x="44" y="1"/>
                </a:cxn>
                <a:cxn ang="0">
                  <a:pos x="58" y="2"/>
                </a:cxn>
                <a:cxn ang="0">
                  <a:pos x="57" y="19"/>
                </a:cxn>
                <a:cxn ang="0">
                  <a:pos x="63" y="21"/>
                </a:cxn>
                <a:cxn ang="0">
                  <a:pos x="58" y="27"/>
                </a:cxn>
                <a:cxn ang="0">
                  <a:pos x="69" y="43"/>
                </a:cxn>
                <a:cxn ang="0">
                  <a:pos x="63" y="45"/>
                </a:cxn>
                <a:cxn ang="0">
                  <a:pos x="58" y="42"/>
                </a:cxn>
                <a:cxn ang="0">
                  <a:pos x="57" y="39"/>
                </a:cxn>
                <a:cxn ang="0">
                  <a:pos x="53" y="37"/>
                </a:cxn>
                <a:cxn ang="0">
                  <a:pos x="50" y="37"/>
                </a:cxn>
                <a:cxn ang="0">
                  <a:pos x="46" y="36"/>
                </a:cxn>
                <a:cxn ang="0">
                  <a:pos x="41" y="33"/>
                </a:cxn>
                <a:cxn ang="0">
                  <a:pos x="35" y="33"/>
                </a:cxn>
                <a:cxn ang="0">
                  <a:pos x="22" y="27"/>
                </a:cxn>
                <a:cxn ang="0">
                  <a:pos x="16" y="18"/>
                </a:cxn>
                <a:cxn ang="0">
                  <a:pos x="10" y="7"/>
                </a:cxn>
              </a:cxnLst>
              <a:rect l="0" t="0" r="r" b="b"/>
              <a:pathLst>
                <a:path w="69" h="45">
                  <a:moveTo>
                    <a:pt x="10" y="7"/>
                  </a:moveTo>
                  <a:lnTo>
                    <a:pt x="0" y="0"/>
                  </a:lnTo>
                  <a:lnTo>
                    <a:pt x="22" y="0"/>
                  </a:lnTo>
                  <a:lnTo>
                    <a:pt x="44" y="1"/>
                  </a:lnTo>
                  <a:lnTo>
                    <a:pt x="58" y="2"/>
                  </a:lnTo>
                  <a:lnTo>
                    <a:pt x="57" y="19"/>
                  </a:lnTo>
                  <a:lnTo>
                    <a:pt x="63" y="21"/>
                  </a:lnTo>
                  <a:lnTo>
                    <a:pt x="58" y="27"/>
                  </a:lnTo>
                  <a:lnTo>
                    <a:pt x="69" y="43"/>
                  </a:lnTo>
                  <a:lnTo>
                    <a:pt x="63" y="45"/>
                  </a:lnTo>
                  <a:lnTo>
                    <a:pt x="58" y="42"/>
                  </a:lnTo>
                  <a:lnTo>
                    <a:pt x="57" y="39"/>
                  </a:lnTo>
                  <a:lnTo>
                    <a:pt x="53" y="37"/>
                  </a:lnTo>
                  <a:lnTo>
                    <a:pt x="50" y="37"/>
                  </a:lnTo>
                  <a:lnTo>
                    <a:pt x="46" y="36"/>
                  </a:lnTo>
                  <a:lnTo>
                    <a:pt x="41" y="33"/>
                  </a:lnTo>
                  <a:lnTo>
                    <a:pt x="35" y="33"/>
                  </a:lnTo>
                  <a:lnTo>
                    <a:pt x="22" y="27"/>
                  </a:lnTo>
                  <a:lnTo>
                    <a:pt x="16" y="18"/>
                  </a:lnTo>
                  <a:lnTo>
                    <a:pt x="10"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3" name="Freeform 300"/>
            <p:cNvSpPr>
              <a:spLocks/>
            </p:cNvSpPr>
            <p:nvPr/>
          </p:nvSpPr>
          <p:spPr bwMode="auto">
            <a:xfrm>
              <a:off x="3282" y="1870"/>
              <a:ext cx="67" cy="69"/>
            </a:xfrm>
            <a:custGeom>
              <a:avLst/>
              <a:gdLst/>
              <a:ahLst/>
              <a:cxnLst>
                <a:cxn ang="0">
                  <a:pos x="12" y="49"/>
                </a:cxn>
                <a:cxn ang="0">
                  <a:pos x="1" y="33"/>
                </a:cxn>
                <a:cxn ang="0">
                  <a:pos x="6" y="27"/>
                </a:cxn>
                <a:cxn ang="0">
                  <a:pos x="0" y="25"/>
                </a:cxn>
                <a:cxn ang="0">
                  <a:pos x="1" y="8"/>
                </a:cxn>
                <a:cxn ang="0">
                  <a:pos x="6" y="0"/>
                </a:cxn>
                <a:cxn ang="0">
                  <a:pos x="30" y="4"/>
                </a:cxn>
                <a:cxn ang="0">
                  <a:pos x="38" y="15"/>
                </a:cxn>
                <a:cxn ang="0">
                  <a:pos x="59" y="27"/>
                </a:cxn>
                <a:cxn ang="0">
                  <a:pos x="49" y="30"/>
                </a:cxn>
                <a:cxn ang="0">
                  <a:pos x="44" y="50"/>
                </a:cxn>
                <a:cxn ang="0">
                  <a:pos x="43" y="62"/>
                </a:cxn>
                <a:cxn ang="0">
                  <a:pos x="30" y="52"/>
                </a:cxn>
                <a:cxn ang="0">
                  <a:pos x="31" y="49"/>
                </a:cxn>
                <a:cxn ang="0">
                  <a:pos x="26" y="39"/>
                </a:cxn>
                <a:cxn ang="0">
                  <a:pos x="12" y="49"/>
                </a:cxn>
              </a:cxnLst>
              <a:rect l="0" t="0" r="r" b="b"/>
              <a:pathLst>
                <a:path w="59" h="62">
                  <a:moveTo>
                    <a:pt x="12" y="49"/>
                  </a:moveTo>
                  <a:lnTo>
                    <a:pt x="1" y="33"/>
                  </a:lnTo>
                  <a:lnTo>
                    <a:pt x="6" y="27"/>
                  </a:lnTo>
                  <a:lnTo>
                    <a:pt x="0" y="25"/>
                  </a:lnTo>
                  <a:lnTo>
                    <a:pt x="1" y="8"/>
                  </a:lnTo>
                  <a:lnTo>
                    <a:pt x="6" y="0"/>
                  </a:lnTo>
                  <a:lnTo>
                    <a:pt x="30" y="4"/>
                  </a:lnTo>
                  <a:lnTo>
                    <a:pt x="38" y="15"/>
                  </a:lnTo>
                  <a:lnTo>
                    <a:pt x="59" y="27"/>
                  </a:lnTo>
                  <a:lnTo>
                    <a:pt x="49" y="30"/>
                  </a:lnTo>
                  <a:lnTo>
                    <a:pt x="44" y="50"/>
                  </a:lnTo>
                  <a:lnTo>
                    <a:pt x="43" y="62"/>
                  </a:lnTo>
                  <a:lnTo>
                    <a:pt x="30" y="52"/>
                  </a:lnTo>
                  <a:lnTo>
                    <a:pt x="31" y="49"/>
                  </a:lnTo>
                  <a:lnTo>
                    <a:pt x="26" y="39"/>
                  </a:lnTo>
                  <a:lnTo>
                    <a:pt x="12" y="4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4" name="Freeform 301"/>
            <p:cNvSpPr>
              <a:spLocks/>
            </p:cNvSpPr>
            <p:nvPr/>
          </p:nvSpPr>
          <p:spPr bwMode="auto">
            <a:xfrm>
              <a:off x="3260" y="1914"/>
              <a:ext cx="29" cy="16"/>
            </a:xfrm>
            <a:custGeom>
              <a:avLst/>
              <a:gdLst/>
              <a:ahLst/>
              <a:cxnLst>
                <a:cxn ang="0">
                  <a:pos x="28" y="12"/>
                </a:cxn>
                <a:cxn ang="0">
                  <a:pos x="22" y="15"/>
                </a:cxn>
                <a:cxn ang="0">
                  <a:pos x="4" y="5"/>
                </a:cxn>
                <a:cxn ang="0">
                  <a:pos x="1" y="1"/>
                </a:cxn>
                <a:cxn ang="0">
                  <a:pos x="0" y="0"/>
                </a:cxn>
                <a:cxn ang="0">
                  <a:pos x="6" y="0"/>
                </a:cxn>
                <a:cxn ang="0">
                  <a:pos x="11" y="3"/>
                </a:cxn>
                <a:cxn ang="0">
                  <a:pos x="15" y="4"/>
                </a:cxn>
                <a:cxn ang="0">
                  <a:pos x="18" y="4"/>
                </a:cxn>
                <a:cxn ang="0">
                  <a:pos x="22" y="6"/>
                </a:cxn>
                <a:cxn ang="0">
                  <a:pos x="23" y="9"/>
                </a:cxn>
                <a:cxn ang="0">
                  <a:pos x="28" y="12"/>
                </a:cxn>
              </a:cxnLst>
              <a:rect l="0" t="0" r="r" b="b"/>
              <a:pathLst>
                <a:path w="28" h="15">
                  <a:moveTo>
                    <a:pt x="28" y="12"/>
                  </a:moveTo>
                  <a:lnTo>
                    <a:pt x="22" y="15"/>
                  </a:lnTo>
                  <a:lnTo>
                    <a:pt x="4" y="5"/>
                  </a:lnTo>
                  <a:lnTo>
                    <a:pt x="1" y="1"/>
                  </a:lnTo>
                  <a:lnTo>
                    <a:pt x="0" y="0"/>
                  </a:lnTo>
                  <a:lnTo>
                    <a:pt x="6" y="0"/>
                  </a:lnTo>
                  <a:lnTo>
                    <a:pt x="11" y="3"/>
                  </a:lnTo>
                  <a:lnTo>
                    <a:pt x="15" y="4"/>
                  </a:lnTo>
                  <a:lnTo>
                    <a:pt x="18" y="4"/>
                  </a:lnTo>
                  <a:lnTo>
                    <a:pt x="22" y="6"/>
                  </a:lnTo>
                  <a:lnTo>
                    <a:pt x="23" y="9"/>
                  </a:lnTo>
                  <a:lnTo>
                    <a:pt x="28"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5" name="Freeform 302"/>
            <p:cNvSpPr>
              <a:spLocks/>
            </p:cNvSpPr>
            <p:nvPr/>
          </p:nvSpPr>
          <p:spPr bwMode="auto">
            <a:xfrm>
              <a:off x="2858" y="1874"/>
              <a:ext cx="102" cy="102"/>
            </a:xfrm>
            <a:custGeom>
              <a:avLst/>
              <a:gdLst/>
              <a:ahLst/>
              <a:cxnLst>
                <a:cxn ang="0">
                  <a:pos x="17" y="49"/>
                </a:cxn>
                <a:cxn ang="0">
                  <a:pos x="7" y="45"/>
                </a:cxn>
                <a:cxn ang="0">
                  <a:pos x="0" y="36"/>
                </a:cxn>
                <a:cxn ang="0">
                  <a:pos x="4" y="31"/>
                </a:cxn>
                <a:cxn ang="0">
                  <a:pos x="12" y="17"/>
                </a:cxn>
                <a:cxn ang="0">
                  <a:pos x="12" y="16"/>
                </a:cxn>
                <a:cxn ang="0">
                  <a:pos x="38" y="7"/>
                </a:cxn>
                <a:cxn ang="0">
                  <a:pos x="54" y="5"/>
                </a:cxn>
                <a:cxn ang="0">
                  <a:pos x="79" y="7"/>
                </a:cxn>
                <a:cxn ang="0">
                  <a:pos x="85" y="3"/>
                </a:cxn>
                <a:cxn ang="0">
                  <a:pos x="88" y="0"/>
                </a:cxn>
                <a:cxn ang="0">
                  <a:pos x="91" y="7"/>
                </a:cxn>
                <a:cxn ang="0">
                  <a:pos x="85" y="18"/>
                </a:cxn>
                <a:cxn ang="0">
                  <a:pos x="68" y="15"/>
                </a:cxn>
                <a:cxn ang="0">
                  <a:pos x="53" y="19"/>
                </a:cxn>
                <a:cxn ang="0">
                  <a:pos x="60" y="27"/>
                </a:cxn>
                <a:cxn ang="0">
                  <a:pos x="53" y="28"/>
                </a:cxn>
                <a:cxn ang="0">
                  <a:pos x="54" y="30"/>
                </a:cxn>
                <a:cxn ang="0">
                  <a:pos x="48" y="29"/>
                </a:cxn>
                <a:cxn ang="0">
                  <a:pos x="52" y="33"/>
                </a:cxn>
                <a:cxn ang="0">
                  <a:pos x="41" y="22"/>
                </a:cxn>
                <a:cxn ang="0">
                  <a:pos x="37" y="24"/>
                </a:cxn>
                <a:cxn ang="0">
                  <a:pos x="43" y="40"/>
                </a:cxn>
                <a:cxn ang="0">
                  <a:pos x="47" y="47"/>
                </a:cxn>
                <a:cxn ang="0">
                  <a:pos x="41" y="45"/>
                </a:cxn>
                <a:cxn ang="0">
                  <a:pos x="43" y="51"/>
                </a:cxn>
                <a:cxn ang="0">
                  <a:pos x="40" y="52"/>
                </a:cxn>
                <a:cxn ang="0">
                  <a:pos x="60" y="65"/>
                </a:cxn>
                <a:cxn ang="0">
                  <a:pos x="59" y="71"/>
                </a:cxn>
                <a:cxn ang="0">
                  <a:pos x="52" y="67"/>
                </a:cxn>
                <a:cxn ang="0">
                  <a:pos x="48" y="70"/>
                </a:cxn>
                <a:cxn ang="0">
                  <a:pos x="52" y="77"/>
                </a:cxn>
                <a:cxn ang="0">
                  <a:pos x="43" y="77"/>
                </a:cxn>
                <a:cxn ang="0">
                  <a:pos x="48" y="94"/>
                </a:cxn>
                <a:cxn ang="0">
                  <a:pos x="41" y="90"/>
                </a:cxn>
                <a:cxn ang="0">
                  <a:pos x="38" y="94"/>
                </a:cxn>
                <a:cxn ang="0">
                  <a:pos x="31" y="85"/>
                </a:cxn>
                <a:cxn ang="0">
                  <a:pos x="29" y="89"/>
                </a:cxn>
                <a:cxn ang="0">
                  <a:pos x="22" y="73"/>
                </a:cxn>
                <a:cxn ang="0">
                  <a:pos x="20" y="66"/>
                </a:cxn>
                <a:cxn ang="0">
                  <a:pos x="32" y="63"/>
                </a:cxn>
                <a:cxn ang="0">
                  <a:pos x="46" y="66"/>
                </a:cxn>
                <a:cxn ang="0">
                  <a:pos x="46" y="63"/>
                </a:cxn>
                <a:cxn ang="0">
                  <a:pos x="37" y="59"/>
                </a:cxn>
                <a:cxn ang="0">
                  <a:pos x="20" y="58"/>
                </a:cxn>
                <a:cxn ang="0">
                  <a:pos x="17" y="59"/>
                </a:cxn>
                <a:cxn ang="0">
                  <a:pos x="13" y="51"/>
                </a:cxn>
                <a:cxn ang="0">
                  <a:pos x="17" y="49"/>
                </a:cxn>
              </a:cxnLst>
              <a:rect l="0" t="0" r="r" b="b"/>
              <a:pathLst>
                <a:path w="91" h="94">
                  <a:moveTo>
                    <a:pt x="17" y="49"/>
                  </a:moveTo>
                  <a:lnTo>
                    <a:pt x="7" y="45"/>
                  </a:lnTo>
                  <a:lnTo>
                    <a:pt x="0" y="36"/>
                  </a:lnTo>
                  <a:lnTo>
                    <a:pt x="4" y="31"/>
                  </a:lnTo>
                  <a:lnTo>
                    <a:pt x="12" y="17"/>
                  </a:lnTo>
                  <a:lnTo>
                    <a:pt x="12" y="16"/>
                  </a:lnTo>
                  <a:lnTo>
                    <a:pt x="38" y="7"/>
                  </a:lnTo>
                  <a:lnTo>
                    <a:pt x="54" y="5"/>
                  </a:lnTo>
                  <a:lnTo>
                    <a:pt x="79" y="7"/>
                  </a:lnTo>
                  <a:lnTo>
                    <a:pt x="85" y="3"/>
                  </a:lnTo>
                  <a:lnTo>
                    <a:pt x="88" y="0"/>
                  </a:lnTo>
                  <a:lnTo>
                    <a:pt x="91" y="7"/>
                  </a:lnTo>
                  <a:lnTo>
                    <a:pt x="85" y="18"/>
                  </a:lnTo>
                  <a:lnTo>
                    <a:pt x="68" y="15"/>
                  </a:lnTo>
                  <a:lnTo>
                    <a:pt x="53" y="19"/>
                  </a:lnTo>
                  <a:lnTo>
                    <a:pt x="60" y="27"/>
                  </a:lnTo>
                  <a:lnTo>
                    <a:pt x="53" y="28"/>
                  </a:lnTo>
                  <a:lnTo>
                    <a:pt x="54" y="30"/>
                  </a:lnTo>
                  <a:lnTo>
                    <a:pt x="48" y="29"/>
                  </a:lnTo>
                  <a:lnTo>
                    <a:pt x="52" y="33"/>
                  </a:lnTo>
                  <a:lnTo>
                    <a:pt x="41" y="22"/>
                  </a:lnTo>
                  <a:lnTo>
                    <a:pt x="37" y="24"/>
                  </a:lnTo>
                  <a:lnTo>
                    <a:pt x="43" y="40"/>
                  </a:lnTo>
                  <a:lnTo>
                    <a:pt x="47" y="47"/>
                  </a:lnTo>
                  <a:lnTo>
                    <a:pt x="41" y="45"/>
                  </a:lnTo>
                  <a:lnTo>
                    <a:pt x="43" y="51"/>
                  </a:lnTo>
                  <a:lnTo>
                    <a:pt x="40" y="52"/>
                  </a:lnTo>
                  <a:lnTo>
                    <a:pt x="60" y="65"/>
                  </a:lnTo>
                  <a:lnTo>
                    <a:pt x="59" y="71"/>
                  </a:lnTo>
                  <a:lnTo>
                    <a:pt x="52" y="67"/>
                  </a:lnTo>
                  <a:lnTo>
                    <a:pt x="48" y="70"/>
                  </a:lnTo>
                  <a:lnTo>
                    <a:pt x="52" y="77"/>
                  </a:lnTo>
                  <a:lnTo>
                    <a:pt x="43" y="77"/>
                  </a:lnTo>
                  <a:lnTo>
                    <a:pt x="48" y="94"/>
                  </a:lnTo>
                  <a:lnTo>
                    <a:pt x="41" y="90"/>
                  </a:lnTo>
                  <a:lnTo>
                    <a:pt x="38" y="94"/>
                  </a:lnTo>
                  <a:lnTo>
                    <a:pt x="31" y="85"/>
                  </a:lnTo>
                  <a:lnTo>
                    <a:pt x="29" y="89"/>
                  </a:lnTo>
                  <a:lnTo>
                    <a:pt x="22" y="73"/>
                  </a:lnTo>
                  <a:lnTo>
                    <a:pt x="20" y="66"/>
                  </a:lnTo>
                  <a:lnTo>
                    <a:pt x="32" y="63"/>
                  </a:lnTo>
                  <a:lnTo>
                    <a:pt x="46" y="66"/>
                  </a:lnTo>
                  <a:lnTo>
                    <a:pt x="46" y="63"/>
                  </a:lnTo>
                  <a:lnTo>
                    <a:pt x="37" y="59"/>
                  </a:lnTo>
                  <a:lnTo>
                    <a:pt x="20" y="58"/>
                  </a:lnTo>
                  <a:lnTo>
                    <a:pt x="17" y="59"/>
                  </a:lnTo>
                  <a:lnTo>
                    <a:pt x="13" y="51"/>
                  </a:lnTo>
                  <a:lnTo>
                    <a:pt x="17" y="4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6" name="Freeform 303"/>
            <p:cNvSpPr>
              <a:spLocks/>
            </p:cNvSpPr>
            <p:nvPr/>
          </p:nvSpPr>
          <p:spPr bwMode="auto">
            <a:xfrm>
              <a:off x="2922" y="1996"/>
              <a:ext cx="47" cy="11"/>
            </a:xfrm>
            <a:custGeom>
              <a:avLst/>
              <a:gdLst/>
              <a:ahLst/>
              <a:cxnLst>
                <a:cxn ang="0">
                  <a:pos x="31" y="4"/>
                </a:cxn>
                <a:cxn ang="0">
                  <a:pos x="8" y="0"/>
                </a:cxn>
                <a:cxn ang="0">
                  <a:pos x="1" y="0"/>
                </a:cxn>
                <a:cxn ang="0">
                  <a:pos x="0" y="6"/>
                </a:cxn>
                <a:cxn ang="0">
                  <a:pos x="14" y="8"/>
                </a:cxn>
                <a:cxn ang="0">
                  <a:pos x="29" y="9"/>
                </a:cxn>
                <a:cxn ang="0">
                  <a:pos x="41" y="6"/>
                </a:cxn>
                <a:cxn ang="0">
                  <a:pos x="31" y="4"/>
                </a:cxn>
              </a:cxnLst>
              <a:rect l="0" t="0" r="r" b="b"/>
              <a:pathLst>
                <a:path w="41" h="9">
                  <a:moveTo>
                    <a:pt x="31" y="4"/>
                  </a:moveTo>
                  <a:lnTo>
                    <a:pt x="8" y="0"/>
                  </a:lnTo>
                  <a:lnTo>
                    <a:pt x="1" y="0"/>
                  </a:lnTo>
                  <a:lnTo>
                    <a:pt x="0" y="6"/>
                  </a:lnTo>
                  <a:lnTo>
                    <a:pt x="14" y="8"/>
                  </a:lnTo>
                  <a:lnTo>
                    <a:pt x="29" y="9"/>
                  </a:lnTo>
                  <a:lnTo>
                    <a:pt x="41" y="6"/>
                  </a:lnTo>
                  <a:lnTo>
                    <a:pt x="31"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7" name="Freeform 304"/>
            <p:cNvSpPr>
              <a:spLocks/>
            </p:cNvSpPr>
            <p:nvPr/>
          </p:nvSpPr>
          <p:spPr bwMode="auto">
            <a:xfrm>
              <a:off x="2907" y="1927"/>
              <a:ext cx="26" cy="18"/>
            </a:xfrm>
            <a:custGeom>
              <a:avLst/>
              <a:gdLst/>
              <a:ahLst/>
              <a:cxnLst>
                <a:cxn ang="0">
                  <a:pos x="24" y="16"/>
                </a:cxn>
                <a:cxn ang="0">
                  <a:pos x="11" y="4"/>
                </a:cxn>
                <a:cxn ang="0">
                  <a:pos x="0" y="0"/>
                </a:cxn>
                <a:cxn ang="0">
                  <a:pos x="12" y="8"/>
                </a:cxn>
                <a:cxn ang="0">
                  <a:pos x="24" y="16"/>
                </a:cxn>
              </a:cxnLst>
              <a:rect l="0" t="0" r="r" b="b"/>
              <a:pathLst>
                <a:path w="24" h="16">
                  <a:moveTo>
                    <a:pt x="24" y="16"/>
                  </a:moveTo>
                  <a:lnTo>
                    <a:pt x="11" y="4"/>
                  </a:lnTo>
                  <a:lnTo>
                    <a:pt x="0" y="0"/>
                  </a:lnTo>
                  <a:lnTo>
                    <a:pt x="12" y="8"/>
                  </a:lnTo>
                  <a:lnTo>
                    <a:pt x="24" y="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8" name="Freeform 305"/>
            <p:cNvSpPr>
              <a:spLocks/>
            </p:cNvSpPr>
            <p:nvPr/>
          </p:nvSpPr>
          <p:spPr bwMode="auto">
            <a:xfrm>
              <a:off x="2953" y="1921"/>
              <a:ext cx="11" cy="4"/>
            </a:xfrm>
            <a:custGeom>
              <a:avLst/>
              <a:gdLst/>
              <a:ahLst/>
              <a:cxnLst>
                <a:cxn ang="0">
                  <a:pos x="10" y="4"/>
                </a:cxn>
                <a:cxn ang="0">
                  <a:pos x="4" y="3"/>
                </a:cxn>
                <a:cxn ang="0">
                  <a:pos x="0" y="0"/>
                </a:cxn>
                <a:cxn ang="0">
                  <a:pos x="9" y="2"/>
                </a:cxn>
                <a:cxn ang="0">
                  <a:pos x="10" y="4"/>
                </a:cxn>
              </a:cxnLst>
              <a:rect l="0" t="0" r="r" b="b"/>
              <a:pathLst>
                <a:path w="10" h="4">
                  <a:moveTo>
                    <a:pt x="10" y="4"/>
                  </a:moveTo>
                  <a:lnTo>
                    <a:pt x="4" y="3"/>
                  </a:lnTo>
                  <a:lnTo>
                    <a:pt x="0" y="0"/>
                  </a:lnTo>
                  <a:lnTo>
                    <a:pt x="9" y="2"/>
                  </a:lnTo>
                  <a:lnTo>
                    <a:pt x="10"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9" name="Freeform 306"/>
            <p:cNvSpPr>
              <a:spLocks/>
            </p:cNvSpPr>
            <p:nvPr/>
          </p:nvSpPr>
          <p:spPr bwMode="auto">
            <a:xfrm>
              <a:off x="2867" y="1941"/>
              <a:ext cx="4" cy="2"/>
            </a:xfrm>
            <a:custGeom>
              <a:avLst/>
              <a:gdLst/>
              <a:ahLst/>
              <a:cxnLst>
                <a:cxn ang="0">
                  <a:pos x="0" y="0"/>
                </a:cxn>
                <a:cxn ang="0">
                  <a:pos x="5" y="4"/>
                </a:cxn>
                <a:cxn ang="0">
                  <a:pos x="1" y="4"/>
                </a:cxn>
                <a:cxn ang="0">
                  <a:pos x="0" y="0"/>
                </a:cxn>
              </a:cxnLst>
              <a:rect l="0" t="0" r="r" b="b"/>
              <a:pathLst>
                <a:path w="5" h="4">
                  <a:moveTo>
                    <a:pt x="0" y="0"/>
                  </a:moveTo>
                  <a:lnTo>
                    <a:pt x="5" y="4"/>
                  </a:lnTo>
                  <a:lnTo>
                    <a:pt x="1" y="4"/>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0" name="Freeform 307"/>
            <p:cNvSpPr>
              <a:spLocks/>
            </p:cNvSpPr>
            <p:nvPr/>
          </p:nvSpPr>
          <p:spPr bwMode="auto">
            <a:xfrm>
              <a:off x="2956" y="1936"/>
              <a:ext cx="4" cy="5"/>
            </a:xfrm>
            <a:custGeom>
              <a:avLst/>
              <a:gdLst/>
              <a:ahLst/>
              <a:cxnLst>
                <a:cxn ang="0">
                  <a:pos x="3" y="0"/>
                </a:cxn>
                <a:cxn ang="0">
                  <a:pos x="2" y="4"/>
                </a:cxn>
                <a:cxn ang="0">
                  <a:pos x="0" y="1"/>
                </a:cxn>
                <a:cxn ang="0">
                  <a:pos x="3" y="0"/>
                </a:cxn>
              </a:cxnLst>
              <a:rect l="0" t="0" r="r" b="b"/>
              <a:pathLst>
                <a:path w="3" h="4">
                  <a:moveTo>
                    <a:pt x="3" y="0"/>
                  </a:moveTo>
                  <a:lnTo>
                    <a:pt x="2" y="4"/>
                  </a:lnTo>
                  <a:lnTo>
                    <a:pt x="0" y="1"/>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1" name="Freeform 308"/>
            <p:cNvSpPr>
              <a:spLocks/>
            </p:cNvSpPr>
            <p:nvPr/>
          </p:nvSpPr>
          <p:spPr bwMode="auto">
            <a:xfrm>
              <a:off x="2640" y="1770"/>
              <a:ext cx="189" cy="180"/>
            </a:xfrm>
            <a:custGeom>
              <a:avLst/>
              <a:gdLst/>
              <a:ahLst/>
              <a:cxnLst>
                <a:cxn ang="0">
                  <a:pos x="96" y="7"/>
                </a:cxn>
                <a:cxn ang="0">
                  <a:pos x="75" y="0"/>
                </a:cxn>
                <a:cxn ang="0">
                  <a:pos x="59" y="2"/>
                </a:cxn>
                <a:cxn ang="0">
                  <a:pos x="51" y="1"/>
                </a:cxn>
                <a:cxn ang="0">
                  <a:pos x="51" y="2"/>
                </a:cxn>
                <a:cxn ang="0">
                  <a:pos x="47" y="6"/>
                </a:cxn>
                <a:cxn ang="0">
                  <a:pos x="45" y="11"/>
                </a:cxn>
                <a:cxn ang="0">
                  <a:pos x="34" y="11"/>
                </a:cxn>
                <a:cxn ang="0">
                  <a:pos x="29" y="18"/>
                </a:cxn>
                <a:cxn ang="0">
                  <a:pos x="19" y="11"/>
                </a:cxn>
                <a:cxn ang="0">
                  <a:pos x="11" y="17"/>
                </a:cxn>
                <a:cxn ang="0">
                  <a:pos x="3" y="18"/>
                </a:cxn>
                <a:cxn ang="0">
                  <a:pos x="3" y="25"/>
                </a:cxn>
                <a:cxn ang="0">
                  <a:pos x="0" y="32"/>
                </a:cxn>
                <a:cxn ang="0">
                  <a:pos x="0" y="37"/>
                </a:cxn>
                <a:cxn ang="0">
                  <a:pos x="1" y="43"/>
                </a:cxn>
                <a:cxn ang="0">
                  <a:pos x="11" y="49"/>
                </a:cxn>
                <a:cxn ang="0">
                  <a:pos x="11" y="56"/>
                </a:cxn>
                <a:cxn ang="0">
                  <a:pos x="24" y="47"/>
                </a:cxn>
                <a:cxn ang="0">
                  <a:pos x="43" y="50"/>
                </a:cxn>
                <a:cxn ang="0">
                  <a:pos x="54" y="68"/>
                </a:cxn>
                <a:cxn ang="0">
                  <a:pos x="67" y="80"/>
                </a:cxn>
                <a:cxn ang="0">
                  <a:pos x="81" y="92"/>
                </a:cxn>
                <a:cxn ang="0">
                  <a:pos x="84" y="95"/>
                </a:cxn>
                <a:cxn ang="0">
                  <a:pos x="85" y="95"/>
                </a:cxn>
                <a:cxn ang="0">
                  <a:pos x="96" y="99"/>
                </a:cxn>
                <a:cxn ang="0">
                  <a:pos x="114" y="111"/>
                </a:cxn>
                <a:cxn ang="0">
                  <a:pos x="123" y="116"/>
                </a:cxn>
                <a:cxn ang="0">
                  <a:pos x="130" y="122"/>
                </a:cxn>
                <a:cxn ang="0">
                  <a:pos x="139" y="140"/>
                </a:cxn>
                <a:cxn ang="0">
                  <a:pos x="133" y="156"/>
                </a:cxn>
                <a:cxn ang="0">
                  <a:pos x="141" y="161"/>
                </a:cxn>
                <a:cxn ang="0">
                  <a:pos x="147" y="149"/>
                </a:cxn>
                <a:cxn ang="0">
                  <a:pos x="153" y="141"/>
                </a:cxn>
                <a:cxn ang="0">
                  <a:pos x="155" y="138"/>
                </a:cxn>
                <a:cxn ang="0">
                  <a:pos x="147" y="129"/>
                </a:cxn>
                <a:cxn ang="0">
                  <a:pos x="150" y="115"/>
                </a:cxn>
                <a:cxn ang="0">
                  <a:pos x="159" y="117"/>
                </a:cxn>
                <a:cxn ang="0">
                  <a:pos x="169" y="126"/>
                </a:cxn>
                <a:cxn ang="0">
                  <a:pos x="172" y="117"/>
                </a:cxn>
                <a:cxn ang="0">
                  <a:pos x="154" y="108"/>
                </a:cxn>
                <a:cxn ang="0">
                  <a:pos x="135" y="97"/>
                </a:cxn>
                <a:cxn ang="0">
                  <a:pos x="137" y="91"/>
                </a:cxn>
                <a:cxn ang="0">
                  <a:pos x="132" y="89"/>
                </a:cxn>
                <a:cxn ang="0">
                  <a:pos x="113" y="84"/>
                </a:cxn>
                <a:cxn ang="0">
                  <a:pos x="106" y="72"/>
                </a:cxn>
                <a:cxn ang="0">
                  <a:pos x="99" y="61"/>
                </a:cxn>
                <a:cxn ang="0">
                  <a:pos x="84" y="53"/>
                </a:cxn>
                <a:cxn ang="0">
                  <a:pos x="79" y="38"/>
                </a:cxn>
                <a:cxn ang="0">
                  <a:pos x="77" y="30"/>
                </a:cxn>
                <a:cxn ang="0">
                  <a:pos x="89" y="21"/>
                </a:cxn>
                <a:cxn ang="0">
                  <a:pos x="97" y="24"/>
                </a:cxn>
                <a:cxn ang="0">
                  <a:pos x="94" y="13"/>
                </a:cxn>
                <a:cxn ang="0">
                  <a:pos x="96" y="7"/>
                </a:cxn>
                <a:cxn ang="0">
                  <a:pos x="82" y="53"/>
                </a:cxn>
                <a:cxn ang="0">
                  <a:pos x="81" y="53"/>
                </a:cxn>
                <a:cxn ang="0">
                  <a:pos x="81" y="54"/>
                </a:cxn>
                <a:cxn ang="0">
                  <a:pos x="82" y="54"/>
                </a:cxn>
                <a:cxn ang="0">
                  <a:pos x="82" y="53"/>
                </a:cxn>
                <a:cxn ang="0">
                  <a:pos x="96" y="7"/>
                </a:cxn>
                <a:cxn ang="0">
                  <a:pos x="85" y="93"/>
                </a:cxn>
                <a:cxn ang="0">
                  <a:pos x="96" y="7"/>
                </a:cxn>
              </a:cxnLst>
              <a:rect l="0" t="0" r="r" b="b"/>
              <a:pathLst>
                <a:path w="172" h="161">
                  <a:moveTo>
                    <a:pt x="96" y="7"/>
                  </a:moveTo>
                  <a:lnTo>
                    <a:pt x="75" y="0"/>
                  </a:lnTo>
                  <a:lnTo>
                    <a:pt x="59" y="2"/>
                  </a:lnTo>
                  <a:lnTo>
                    <a:pt x="51" y="1"/>
                  </a:lnTo>
                  <a:lnTo>
                    <a:pt x="51" y="2"/>
                  </a:lnTo>
                  <a:lnTo>
                    <a:pt x="47" y="6"/>
                  </a:lnTo>
                  <a:lnTo>
                    <a:pt x="45" y="11"/>
                  </a:lnTo>
                  <a:lnTo>
                    <a:pt x="34" y="11"/>
                  </a:lnTo>
                  <a:lnTo>
                    <a:pt x="29" y="18"/>
                  </a:lnTo>
                  <a:lnTo>
                    <a:pt x="19" y="11"/>
                  </a:lnTo>
                  <a:lnTo>
                    <a:pt x="11" y="17"/>
                  </a:lnTo>
                  <a:lnTo>
                    <a:pt x="3" y="18"/>
                  </a:lnTo>
                  <a:lnTo>
                    <a:pt x="3" y="25"/>
                  </a:lnTo>
                  <a:lnTo>
                    <a:pt x="0" y="32"/>
                  </a:lnTo>
                  <a:lnTo>
                    <a:pt x="0" y="37"/>
                  </a:lnTo>
                  <a:lnTo>
                    <a:pt x="1" y="43"/>
                  </a:lnTo>
                  <a:lnTo>
                    <a:pt x="11" y="49"/>
                  </a:lnTo>
                  <a:lnTo>
                    <a:pt x="11" y="56"/>
                  </a:lnTo>
                  <a:lnTo>
                    <a:pt x="24" y="47"/>
                  </a:lnTo>
                  <a:lnTo>
                    <a:pt x="43" y="50"/>
                  </a:lnTo>
                  <a:lnTo>
                    <a:pt x="54" y="68"/>
                  </a:lnTo>
                  <a:lnTo>
                    <a:pt x="67" y="80"/>
                  </a:lnTo>
                  <a:lnTo>
                    <a:pt x="81" y="92"/>
                  </a:lnTo>
                  <a:lnTo>
                    <a:pt x="84" y="95"/>
                  </a:lnTo>
                  <a:lnTo>
                    <a:pt x="85" y="95"/>
                  </a:lnTo>
                  <a:lnTo>
                    <a:pt x="96" y="99"/>
                  </a:lnTo>
                  <a:lnTo>
                    <a:pt x="114" y="111"/>
                  </a:lnTo>
                  <a:lnTo>
                    <a:pt x="123" y="116"/>
                  </a:lnTo>
                  <a:lnTo>
                    <a:pt x="130" y="122"/>
                  </a:lnTo>
                  <a:lnTo>
                    <a:pt x="139" y="140"/>
                  </a:lnTo>
                  <a:lnTo>
                    <a:pt x="133" y="156"/>
                  </a:lnTo>
                  <a:lnTo>
                    <a:pt x="141" y="161"/>
                  </a:lnTo>
                  <a:lnTo>
                    <a:pt x="147" y="149"/>
                  </a:lnTo>
                  <a:lnTo>
                    <a:pt x="153" y="141"/>
                  </a:lnTo>
                  <a:lnTo>
                    <a:pt x="155" y="138"/>
                  </a:lnTo>
                  <a:lnTo>
                    <a:pt x="147" y="129"/>
                  </a:lnTo>
                  <a:lnTo>
                    <a:pt x="150" y="115"/>
                  </a:lnTo>
                  <a:lnTo>
                    <a:pt x="159" y="117"/>
                  </a:lnTo>
                  <a:lnTo>
                    <a:pt x="169" y="126"/>
                  </a:lnTo>
                  <a:lnTo>
                    <a:pt x="172" y="117"/>
                  </a:lnTo>
                  <a:lnTo>
                    <a:pt x="154" y="108"/>
                  </a:lnTo>
                  <a:lnTo>
                    <a:pt x="135" y="97"/>
                  </a:lnTo>
                  <a:lnTo>
                    <a:pt x="137" y="91"/>
                  </a:lnTo>
                  <a:lnTo>
                    <a:pt x="132" y="89"/>
                  </a:lnTo>
                  <a:lnTo>
                    <a:pt x="113" y="84"/>
                  </a:lnTo>
                  <a:lnTo>
                    <a:pt x="106" y="72"/>
                  </a:lnTo>
                  <a:lnTo>
                    <a:pt x="99" y="61"/>
                  </a:lnTo>
                  <a:lnTo>
                    <a:pt x="84" y="53"/>
                  </a:lnTo>
                  <a:lnTo>
                    <a:pt x="79" y="38"/>
                  </a:lnTo>
                  <a:lnTo>
                    <a:pt x="77" y="30"/>
                  </a:lnTo>
                  <a:lnTo>
                    <a:pt x="89" y="21"/>
                  </a:lnTo>
                  <a:lnTo>
                    <a:pt x="97" y="24"/>
                  </a:lnTo>
                  <a:lnTo>
                    <a:pt x="94" y="13"/>
                  </a:lnTo>
                  <a:lnTo>
                    <a:pt x="96" y="7"/>
                  </a:lnTo>
                  <a:lnTo>
                    <a:pt x="82" y="53"/>
                  </a:lnTo>
                  <a:lnTo>
                    <a:pt x="81" y="53"/>
                  </a:lnTo>
                  <a:lnTo>
                    <a:pt x="81" y="54"/>
                  </a:lnTo>
                  <a:lnTo>
                    <a:pt x="82" y="54"/>
                  </a:lnTo>
                  <a:lnTo>
                    <a:pt x="82" y="53"/>
                  </a:lnTo>
                  <a:lnTo>
                    <a:pt x="96" y="7"/>
                  </a:lnTo>
                  <a:lnTo>
                    <a:pt x="85" y="93"/>
                  </a:lnTo>
                  <a:lnTo>
                    <a:pt x="96" y="7"/>
                  </a:lnTo>
                  <a:close/>
                </a:path>
              </a:pathLst>
            </a:custGeom>
            <a:grpFill/>
            <a:ln w="3175" cmpd="sng">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312" name="Freeform 309"/>
            <p:cNvSpPr>
              <a:spLocks/>
            </p:cNvSpPr>
            <p:nvPr/>
          </p:nvSpPr>
          <p:spPr bwMode="auto">
            <a:xfrm>
              <a:off x="2640" y="1770"/>
              <a:ext cx="189" cy="180"/>
            </a:xfrm>
            <a:custGeom>
              <a:avLst/>
              <a:gdLst/>
              <a:ahLst/>
              <a:cxnLst>
                <a:cxn ang="0">
                  <a:pos x="96" y="7"/>
                </a:cxn>
                <a:cxn ang="0">
                  <a:pos x="75" y="0"/>
                </a:cxn>
                <a:cxn ang="0">
                  <a:pos x="59" y="2"/>
                </a:cxn>
                <a:cxn ang="0">
                  <a:pos x="51" y="1"/>
                </a:cxn>
                <a:cxn ang="0">
                  <a:pos x="51" y="2"/>
                </a:cxn>
                <a:cxn ang="0">
                  <a:pos x="47" y="6"/>
                </a:cxn>
                <a:cxn ang="0">
                  <a:pos x="45" y="11"/>
                </a:cxn>
                <a:cxn ang="0">
                  <a:pos x="34" y="11"/>
                </a:cxn>
                <a:cxn ang="0">
                  <a:pos x="29" y="18"/>
                </a:cxn>
                <a:cxn ang="0">
                  <a:pos x="19" y="11"/>
                </a:cxn>
                <a:cxn ang="0">
                  <a:pos x="11" y="17"/>
                </a:cxn>
                <a:cxn ang="0">
                  <a:pos x="3" y="18"/>
                </a:cxn>
                <a:cxn ang="0">
                  <a:pos x="3" y="25"/>
                </a:cxn>
                <a:cxn ang="0">
                  <a:pos x="0" y="32"/>
                </a:cxn>
                <a:cxn ang="0">
                  <a:pos x="0" y="37"/>
                </a:cxn>
                <a:cxn ang="0">
                  <a:pos x="1" y="43"/>
                </a:cxn>
                <a:cxn ang="0">
                  <a:pos x="11" y="49"/>
                </a:cxn>
                <a:cxn ang="0">
                  <a:pos x="11" y="56"/>
                </a:cxn>
                <a:cxn ang="0">
                  <a:pos x="24" y="47"/>
                </a:cxn>
                <a:cxn ang="0">
                  <a:pos x="43" y="50"/>
                </a:cxn>
                <a:cxn ang="0">
                  <a:pos x="54" y="68"/>
                </a:cxn>
                <a:cxn ang="0">
                  <a:pos x="67" y="80"/>
                </a:cxn>
                <a:cxn ang="0">
                  <a:pos x="81" y="92"/>
                </a:cxn>
                <a:cxn ang="0">
                  <a:pos x="84" y="95"/>
                </a:cxn>
                <a:cxn ang="0">
                  <a:pos x="85" y="95"/>
                </a:cxn>
                <a:cxn ang="0">
                  <a:pos x="96" y="99"/>
                </a:cxn>
                <a:cxn ang="0">
                  <a:pos x="114" y="111"/>
                </a:cxn>
                <a:cxn ang="0">
                  <a:pos x="123" y="116"/>
                </a:cxn>
                <a:cxn ang="0">
                  <a:pos x="130" y="122"/>
                </a:cxn>
                <a:cxn ang="0">
                  <a:pos x="139" y="140"/>
                </a:cxn>
                <a:cxn ang="0">
                  <a:pos x="133" y="156"/>
                </a:cxn>
                <a:cxn ang="0">
                  <a:pos x="141" y="161"/>
                </a:cxn>
                <a:cxn ang="0">
                  <a:pos x="147" y="149"/>
                </a:cxn>
                <a:cxn ang="0">
                  <a:pos x="153" y="141"/>
                </a:cxn>
                <a:cxn ang="0">
                  <a:pos x="155" y="138"/>
                </a:cxn>
                <a:cxn ang="0">
                  <a:pos x="147" y="129"/>
                </a:cxn>
                <a:cxn ang="0">
                  <a:pos x="150" y="115"/>
                </a:cxn>
                <a:cxn ang="0">
                  <a:pos x="159" y="117"/>
                </a:cxn>
                <a:cxn ang="0">
                  <a:pos x="169" y="126"/>
                </a:cxn>
                <a:cxn ang="0">
                  <a:pos x="172" y="117"/>
                </a:cxn>
                <a:cxn ang="0">
                  <a:pos x="154" y="108"/>
                </a:cxn>
                <a:cxn ang="0">
                  <a:pos x="135" y="97"/>
                </a:cxn>
                <a:cxn ang="0">
                  <a:pos x="137" y="91"/>
                </a:cxn>
                <a:cxn ang="0">
                  <a:pos x="132" y="89"/>
                </a:cxn>
                <a:cxn ang="0">
                  <a:pos x="113" y="84"/>
                </a:cxn>
                <a:cxn ang="0">
                  <a:pos x="106" y="72"/>
                </a:cxn>
                <a:cxn ang="0">
                  <a:pos x="99" y="61"/>
                </a:cxn>
                <a:cxn ang="0">
                  <a:pos x="84" y="53"/>
                </a:cxn>
                <a:cxn ang="0">
                  <a:pos x="79" y="38"/>
                </a:cxn>
                <a:cxn ang="0">
                  <a:pos x="77" y="30"/>
                </a:cxn>
                <a:cxn ang="0">
                  <a:pos x="89" y="21"/>
                </a:cxn>
                <a:cxn ang="0">
                  <a:pos x="97" y="24"/>
                </a:cxn>
                <a:cxn ang="0">
                  <a:pos x="94" y="13"/>
                </a:cxn>
                <a:cxn ang="0">
                  <a:pos x="96" y="7"/>
                </a:cxn>
              </a:cxnLst>
              <a:rect l="0" t="0" r="r" b="b"/>
              <a:pathLst>
                <a:path w="172" h="161">
                  <a:moveTo>
                    <a:pt x="96" y="7"/>
                  </a:moveTo>
                  <a:lnTo>
                    <a:pt x="75" y="0"/>
                  </a:lnTo>
                  <a:lnTo>
                    <a:pt x="59" y="2"/>
                  </a:lnTo>
                  <a:lnTo>
                    <a:pt x="51" y="1"/>
                  </a:lnTo>
                  <a:lnTo>
                    <a:pt x="51" y="2"/>
                  </a:lnTo>
                  <a:lnTo>
                    <a:pt x="47" y="6"/>
                  </a:lnTo>
                  <a:lnTo>
                    <a:pt x="45" y="11"/>
                  </a:lnTo>
                  <a:lnTo>
                    <a:pt x="34" y="11"/>
                  </a:lnTo>
                  <a:lnTo>
                    <a:pt x="29" y="18"/>
                  </a:lnTo>
                  <a:lnTo>
                    <a:pt x="19" y="11"/>
                  </a:lnTo>
                  <a:lnTo>
                    <a:pt x="11" y="17"/>
                  </a:lnTo>
                  <a:lnTo>
                    <a:pt x="3" y="18"/>
                  </a:lnTo>
                  <a:lnTo>
                    <a:pt x="3" y="25"/>
                  </a:lnTo>
                  <a:lnTo>
                    <a:pt x="0" y="32"/>
                  </a:lnTo>
                  <a:lnTo>
                    <a:pt x="0" y="37"/>
                  </a:lnTo>
                  <a:lnTo>
                    <a:pt x="1" y="43"/>
                  </a:lnTo>
                  <a:lnTo>
                    <a:pt x="11" y="49"/>
                  </a:lnTo>
                  <a:lnTo>
                    <a:pt x="11" y="56"/>
                  </a:lnTo>
                  <a:lnTo>
                    <a:pt x="24" y="47"/>
                  </a:lnTo>
                  <a:lnTo>
                    <a:pt x="43" y="50"/>
                  </a:lnTo>
                  <a:lnTo>
                    <a:pt x="54" y="68"/>
                  </a:lnTo>
                  <a:lnTo>
                    <a:pt x="67" y="80"/>
                  </a:lnTo>
                  <a:lnTo>
                    <a:pt x="81" y="92"/>
                  </a:lnTo>
                  <a:lnTo>
                    <a:pt x="84" y="95"/>
                  </a:lnTo>
                  <a:lnTo>
                    <a:pt x="85" y="95"/>
                  </a:lnTo>
                  <a:lnTo>
                    <a:pt x="96" y="99"/>
                  </a:lnTo>
                  <a:lnTo>
                    <a:pt x="114" y="111"/>
                  </a:lnTo>
                  <a:lnTo>
                    <a:pt x="123" y="116"/>
                  </a:lnTo>
                  <a:lnTo>
                    <a:pt x="130" y="122"/>
                  </a:lnTo>
                  <a:lnTo>
                    <a:pt x="139" y="140"/>
                  </a:lnTo>
                  <a:lnTo>
                    <a:pt x="133" y="156"/>
                  </a:lnTo>
                  <a:lnTo>
                    <a:pt x="141" y="161"/>
                  </a:lnTo>
                  <a:lnTo>
                    <a:pt x="147" y="149"/>
                  </a:lnTo>
                  <a:lnTo>
                    <a:pt x="153" y="141"/>
                  </a:lnTo>
                  <a:lnTo>
                    <a:pt x="155" y="138"/>
                  </a:lnTo>
                  <a:lnTo>
                    <a:pt x="147" y="129"/>
                  </a:lnTo>
                  <a:lnTo>
                    <a:pt x="150" y="115"/>
                  </a:lnTo>
                  <a:lnTo>
                    <a:pt x="159" y="117"/>
                  </a:lnTo>
                  <a:lnTo>
                    <a:pt x="169" y="126"/>
                  </a:lnTo>
                  <a:lnTo>
                    <a:pt x="172" y="117"/>
                  </a:lnTo>
                  <a:lnTo>
                    <a:pt x="154" y="108"/>
                  </a:lnTo>
                  <a:lnTo>
                    <a:pt x="135" y="97"/>
                  </a:lnTo>
                  <a:lnTo>
                    <a:pt x="137" y="91"/>
                  </a:lnTo>
                  <a:lnTo>
                    <a:pt x="132" y="89"/>
                  </a:lnTo>
                  <a:lnTo>
                    <a:pt x="113" y="84"/>
                  </a:lnTo>
                  <a:lnTo>
                    <a:pt x="106" y="72"/>
                  </a:lnTo>
                  <a:lnTo>
                    <a:pt x="99" y="61"/>
                  </a:lnTo>
                  <a:lnTo>
                    <a:pt x="84" y="53"/>
                  </a:lnTo>
                  <a:lnTo>
                    <a:pt x="79" y="38"/>
                  </a:lnTo>
                  <a:lnTo>
                    <a:pt x="77" y="30"/>
                  </a:lnTo>
                  <a:lnTo>
                    <a:pt x="89" y="21"/>
                  </a:lnTo>
                  <a:lnTo>
                    <a:pt x="97" y="24"/>
                  </a:lnTo>
                  <a:lnTo>
                    <a:pt x="94" y="13"/>
                  </a:lnTo>
                  <a:lnTo>
                    <a:pt x="96"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3" name="Rectangle 310"/>
            <p:cNvSpPr>
              <a:spLocks noChangeArrowheads="1"/>
            </p:cNvSpPr>
            <p:nvPr/>
          </p:nvSpPr>
          <p:spPr bwMode="auto">
            <a:xfrm>
              <a:off x="2729" y="1830"/>
              <a:ext cx="0" cy="0"/>
            </a:xfrm>
            <a:prstGeom prst="rect">
              <a:avLst/>
            </a:prstGeom>
            <a:grpFill/>
            <a:ln w="3175">
              <a:solidFill>
                <a:srgbClr val="FFFFFF"/>
              </a:solidFill>
              <a:miter lim="800000"/>
              <a:headEnd/>
              <a:tailEnd/>
            </a:ln>
            <a:effectLst/>
          </p:spPr>
          <p:txBody>
            <a:bodyPr/>
            <a:lstStyle/>
            <a:p>
              <a:pPr>
                <a:lnSpc>
                  <a:spcPct val="90000"/>
                </a:lnSpc>
                <a:buClr>
                  <a:srgbClr val="B40646"/>
                </a:buClr>
                <a:defRPr/>
              </a:pPr>
              <a:endParaRPr lang="en-GB" dirty="0">
                <a:solidFill>
                  <a:srgbClr val="000000"/>
                </a:solidFill>
              </a:endParaRPr>
            </a:p>
          </p:txBody>
        </p:sp>
        <p:sp>
          <p:nvSpPr>
            <p:cNvPr id="314" name="Freeform 311"/>
            <p:cNvSpPr>
              <a:spLocks/>
            </p:cNvSpPr>
            <p:nvPr/>
          </p:nvSpPr>
          <p:spPr bwMode="auto">
            <a:xfrm>
              <a:off x="2736" y="1941"/>
              <a:ext cx="51" cy="33"/>
            </a:xfrm>
            <a:custGeom>
              <a:avLst/>
              <a:gdLst/>
              <a:ahLst/>
              <a:cxnLst>
                <a:cxn ang="0">
                  <a:pos x="39" y="18"/>
                </a:cxn>
                <a:cxn ang="0">
                  <a:pos x="39" y="29"/>
                </a:cxn>
                <a:cxn ang="0">
                  <a:pos x="21" y="22"/>
                </a:cxn>
                <a:cxn ang="0">
                  <a:pos x="3" y="14"/>
                </a:cxn>
                <a:cxn ang="0">
                  <a:pos x="0" y="5"/>
                </a:cxn>
                <a:cxn ang="0">
                  <a:pos x="13" y="4"/>
                </a:cxn>
                <a:cxn ang="0">
                  <a:pos x="29" y="3"/>
                </a:cxn>
                <a:cxn ang="0">
                  <a:pos x="45" y="0"/>
                </a:cxn>
                <a:cxn ang="0">
                  <a:pos x="39" y="18"/>
                </a:cxn>
              </a:cxnLst>
              <a:rect l="0" t="0" r="r" b="b"/>
              <a:pathLst>
                <a:path w="45" h="29">
                  <a:moveTo>
                    <a:pt x="39" y="18"/>
                  </a:moveTo>
                  <a:lnTo>
                    <a:pt x="39" y="29"/>
                  </a:lnTo>
                  <a:lnTo>
                    <a:pt x="21" y="22"/>
                  </a:lnTo>
                  <a:lnTo>
                    <a:pt x="3" y="14"/>
                  </a:lnTo>
                  <a:lnTo>
                    <a:pt x="0" y="5"/>
                  </a:lnTo>
                  <a:lnTo>
                    <a:pt x="13" y="4"/>
                  </a:lnTo>
                  <a:lnTo>
                    <a:pt x="29" y="3"/>
                  </a:lnTo>
                  <a:lnTo>
                    <a:pt x="45" y="0"/>
                  </a:lnTo>
                  <a:lnTo>
                    <a:pt x="39"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5" name="Freeform 312"/>
            <p:cNvSpPr>
              <a:spLocks/>
            </p:cNvSpPr>
            <p:nvPr/>
          </p:nvSpPr>
          <p:spPr bwMode="auto">
            <a:xfrm>
              <a:off x="2664" y="1883"/>
              <a:ext cx="27" cy="47"/>
            </a:xfrm>
            <a:custGeom>
              <a:avLst/>
              <a:gdLst/>
              <a:ahLst/>
              <a:cxnLst>
                <a:cxn ang="0">
                  <a:pos x="13" y="36"/>
                </a:cxn>
                <a:cxn ang="0">
                  <a:pos x="7" y="42"/>
                </a:cxn>
                <a:cxn ang="0">
                  <a:pos x="4" y="32"/>
                </a:cxn>
                <a:cxn ang="0">
                  <a:pos x="1" y="19"/>
                </a:cxn>
                <a:cxn ang="0">
                  <a:pos x="0" y="6"/>
                </a:cxn>
                <a:cxn ang="0">
                  <a:pos x="14" y="0"/>
                </a:cxn>
                <a:cxn ang="0">
                  <a:pos x="24" y="13"/>
                </a:cxn>
                <a:cxn ang="0">
                  <a:pos x="20" y="34"/>
                </a:cxn>
                <a:cxn ang="0">
                  <a:pos x="13" y="36"/>
                </a:cxn>
              </a:cxnLst>
              <a:rect l="0" t="0" r="r" b="b"/>
              <a:pathLst>
                <a:path w="24" h="42">
                  <a:moveTo>
                    <a:pt x="13" y="36"/>
                  </a:moveTo>
                  <a:lnTo>
                    <a:pt x="7" y="42"/>
                  </a:lnTo>
                  <a:lnTo>
                    <a:pt x="4" y="32"/>
                  </a:lnTo>
                  <a:lnTo>
                    <a:pt x="1" y="19"/>
                  </a:lnTo>
                  <a:lnTo>
                    <a:pt x="0" y="6"/>
                  </a:lnTo>
                  <a:lnTo>
                    <a:pt x="14" y="0"/>
                  </a:lnTo>
                  <a:lnTo>
                    <a:pt x="24" y="13"/>
                  </a:lnTo>
                  <a:lnTo>
                    <a:pt x="20" y="34"/>
                  </a:lnTo>
                  <a:lnTo>
                    <a:pt x="13" y="3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6" name="Freeform 313"/>
            <p:cNvSpPr>
              <a:spLocks/>
            </p:cNvSpPr>
            <p:nvPr/>
          </p:nvSpPr>
          <p:spPr bwMode="auto">
            <a:xfrm>
              <a:off x="2649" y="1834"/>
              <a:ext cx="2" cy="2"/>
            </a:xfrm>
            <a:custGeom>
              <a:avLst/>
              <a:gdLst/>
              <a:ahLst/>
              <a:cxnLst>
                <a:cxn ang="0">
                  <a:pos x="1" y="0"/>
                </a:cxn>
                <a:cxn ang="0">
                  <a:pos x="0" y="0"/>
                </a:cxn>
                <a:cxn ang="0">
                  <a:pos x="1" y="0"/>
                </a:cxn>
              </a:cxnLst>
              <a:rect l="0" t="0" r="r" b="b"/>
              <a:pathLst>
                <a:path w="1">
                  <a:moveTo>
                    <a:pt x="1" y="0"/>
                  </a:moveTo>
                  <a:lnTo>
                    <a:pt x="0"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7" name="Freeform 314"/>
            <p:cNvSpPr>
              <a:spLocks/>
            </p:cNvSpPr>
            <p:nvPr/>
          </p:nvSpPr>
          <p:spPr bwMode="auto">
            <a:xfrm>
              <a:off x="2960" y="1867"/>
              <a:ext cx="309" cy="123"/>
            </a:xfrm>
            <a:custGeom>
              <a:avLst/>
              <a:gdLst/>
              <a:ahLst/>
              <a:cxnLst>
                <a:cxn ang="0">
                  <a:pos x="186" y="93"/>
                </a:cxn>
                <a:cxn ang="0">
                  <a:pos x="159" y="96"/>
                </a:cxn>
                <a:cxn ang="0">
                  <a:pos x="151" y="110"/>
                </a:cxn>
                <a:cxn ang="0">
                  <a:pos x="150" y="106"/>
                </a:cxn>
                <a:cxn ang="0">
                  <a:pos x="144" y="95"/>
                </a:cxn>
                <a:cxn ang="0">
                  <a:pos x="123" y="99"/>
                </a:cxn>
                <a:cxn ang="0">
                  <a:pos x="95" y="102"/>
                </a:cxn>
                <a:cxn ang="0">
                  <a:pos x="69" y="100"/>
                </a:cxn>
                <a:cxn ang="0">
                  <a:pos x="47" y="99"/>
                </a:cxn>
                <a:cxn ang="0">
                  <a:pos x="31" y="95"/>
                </a:cxn>
                <a:cxn ang="0">
                  <a:pos x="33" y="90"/>
                </a:cxn>
                <a:cxn ang="0">
                  <a:pos x="23" y="84"/>
                </a:cxn>
                <a:cxn ang="0">
                  <a:pos x="18" y="75"/>
                </a:cxn>
                <a:cxn ang="0">
                  <a:pos x="4" y="63"/>
                </a:cxn>
                <a:cxn ang="0">
                  <a:pos x="12" y="65"/>
                </a:cxn>
                <a:cxn ang="0">
                  <a:pos x="10" y="56"/>
                </a:cxn>
                <a:cxn ang="0">
                  <a:pos x="0" y="45"/>
                </a:cxn>
                <a:cxn ang="0">
                  <a:pos x="16" y="30"/>
                </a:cxn>
                <a:cxn ang="0">
                  <a:pos x="39" y="28"/>
                </a:cxn>
                <a:cxn ang="0">
                  <a:pos x="45" y="22"/>
                </a:cxn>
                <a:cxn ang="0">
                  <a:pos x="65" y="17"/>
                </a:cxn>
                <a:cxn ang="0">
                  <a:pos x="100" y="3"/>
                </a:cxn>
                <a:cxn ang="0">
                  <a:pos x="123" y="2"/>
                </a:cxn>
                <a:cxn ang="0">
                  <a:pos x="139" y="10"/>
                </a:cxn>
                <a:cxn ang="0">
                  <a:pos x="177" y="18"/>
                </a:cxn>
                <a:cxn ang="0">
                  <a:pos x="217" y="9"/>
                </a:cxn>
                <a:cxn ang="0">
                  <a:pos x="245" y="15"/>
                </a:cxn>
                <a:cxn ang="0">
                  <a:pos x="257" y="35"/>
                </a:cxn>
                <a:cxn ang="0">
                  <a:pos x="264" y="46"/>
                </a:cxn>
                <a:cxn ang="0">
                  <a:pos x="269" y="74"/>
                </a:cxn>
                <a:cxn ang="0">
                  <a:pos x="270" y="88"/>
                </a:cxn>
                <a:cxn ang="0">
                  <a:pos x="246" y="84"/>
                </a:cxn>
                <a:cxn ang="0">
                  <a:pos x="238" y="87"/>
                </a:cxn>
                <a:cxn ang="0">
                  <a:pos x="209" y="93"/>
                </a:cxn>
              </a:cxnLst>
              <a:rect l="0" t="0" r="r" b="b"/>
              <a:pathLst>
                <a:path w="279" h="110">
                  <a:moveTo>
                    <a:pt x="209" y="93"/>
                  </a:moveTo>
                  <a:lnTo>
                    <a:pt x="186" y="93"/>
                  </a:lnTo>
                  <a:lnTo>
                    <a:pt x="163" y="94"/>
                  </a:lnTo>
                  <a:lnTo>
                    <a:pt x="159" y="96"/>
                  </a:lnTo>
                  <a:lnTo>
                    <a:pt x="157" y="104"/>
                  </a:lnTo>
                  <a:lnTo>
                    <a:pt x="151" y="110"/>
                  </a:lnTo>
                  <a:lnTo>
                    <a:pt x="150" y="108"/>
                  </a:lnTo>
                  <a:lnTo>
                    <a:pt x="150" y="106"/>
                  </a:lnTo>
                  <a:lnTo>
                    <a:pt x="151" y="92"/>
                  </a:lnTo>
                  <a:lnTo>
                    <a:pt x="144" y="95"/>
                  </a:lnTo>
                  <a:lnTo>
                    <a:pt x="135" y="95"/>
                  </a:lnTo>
                  <a:lnTo>
                    <a:pt x="123" y="99"/>
                  </a:lnTo>
                  <a:lnTo>
                    <a:pt x="107" y="106"/>
                  </a:lnTo>
                  <a:lnTo>
                    <a:pt x="95" y="102"/>
                  </a:lnTo>
                  <a:lnTo>
                    <a:pt x="71" y="93"/>
                  </a:lnTo>
                  <a:lnTo>
                    <a:pt x="69" y="100"/>
                  </a:lnTo>
                  <a:lnTo>
                    <a:pt x="61" y="104"/>
                  </a:lnTo>
                  <a:lnTo>
                    <a:pt x="47" y="99"/>
                  </a:lnTo>
                  <a:lnTo>
                    <a:pt x="40" y="94"/>
                  </a:lnTo>
                  <a:lnTo>
                    <a:pt x="31" y="95"/>
                  </a:lnTo>
                  <a:lnTo>
                    <a:pt x="24" y="95"/>
                  </a:lnTo>
                  <a:lnTo>
                    <a:pt x="33" y="90"/>
                  </a:lnTo>
                  <a:lnTo>
                    <a:pt x="22" y="89"/>
                  </a:lnTo>
                  <a:lnTo>
                    <a:pt x="23" y="84"/>
                  </a:lnTo>
                  <a:lnTo>
                    <a:pt x="16" y="78"/>
                  </a:lnTo>
                  <a:lnTo>
                    <a:pt x="18" y="75"/>
                  </a:lnTo>
                  <a:lnTo>
                    <a:pt x="5" y="69"/>
                  </a:lnTo>
                  <a:lnTo>
                    <a:pt x="4" y="63"/>
                  </a:lnTo>
                  <a:lnTo>
                    <a:pt x="7" y="63"/>
                  </a:lnTo>
                  <a:lnTo>
                    <a:pt x="12" y="65"/>
                  </a:lnTo>
                  <a:lnTo>
                    <a:pt x="10" y="58"/>
                  </a:lnTo>
                  <a:lnTo>
                    <a:pt x="10" y="56"/>
                  </a:lnTo>
                  <a:lnTo>
                    <a:pt x="9" y="46"/>
                  </a:lnTo>
                  <a:lnTo>
                    <a:pt x="0" y="45"/>
                  </a:lnTo>
                  <a:lnTo>
                    <a:pt x="1" y="33"/>
                  </a:lnTo>
                  <a:lnTo>
                    <a:pt x="16" y="30"/>
                  </a:lnTo>
                  <a:lnTo>
                    <a:pt x="21" y="27"/>
                  </a:lnTo>
                  <a:lnTo>
                    <a:pt x="39" y="28"/>
                  </a:lnTo>
                  <a:lnTo>
                    <a:pt x="49" y="23"/>
                  </a:lnTo>
                  <a:lnTo>
                    <a:pt x="45" y="22"/>
                  </a:lnTo>
                  <a:lnTo>
                    <a:pt x="37" y="16"/>
                  </a:lnTo>
                  <a:lnTo>
                    <a:pt x="65" y="17"/>
                  </a:lnTo>
                  <a:lnTo>
                    <a:pt x="85" y="4"/>
                  </a:lnTo>
                  <a:lnTo>
                    <a:pt x="100" y="3"/>
                  </a:lnTo>
                  <a:lnTo>
                    <a:pt x="114" y="0"/>
                  </a:lnTo>
                  <a:lnTo>
                    <a:pt x="123" y="2"/>
                  </a:lnTo>
                  <a:lnTo>
                    <a:pt x="133" y="6"/>
                  </a:lnTo>
                  <a:lnTo>
                    <a:pt x="139" y="10"/>
                  </a:lnTo>
                  <a:lnTo>
                    <a:pt x="159" y="15"/>
                  </a:lnTo>
                  <a:lnTo>
                    <a:pt x="177" y="18"/>
                  </a:lnTo>
                  <a:lnTo>
                    <a:pt x="196" y="20"/>
                  </a:lnTo>
                  <a:lnTo>
                    <a:pt x="217" y="9"/>
                  </a:lnTo>
                  <a:lnTo>
                    <a:pt x="235" y="8"/>
                  </a:lnTo>
                  <a:lnTo>
                    <a:pt x="245" y="15"/>
                  </a:lnTo>
                  <a:lnTo>
                    <a:pt x="251" y="26"/>
                  </a:lnTo>
                  <a:lnTo>
                    <a:pt x="257" y="35"/>
                  </a:lnTo>
                  <a:lnTo>
                    <a:pt x="270" y="41"/>
                  </a:lnTo>
                  <a:lnTo>
                    <a:pt x="264" y="46"/>
                  </a:lnTo>
                  <a:lnTo>
                    <a:pt x="265" y="56"/>
                  </a:lnTo>
                  <a:lnTo>
                    <a:pt x="269" y="74"/>
                  </a:lnTo>
                  <a:lnTo>
                    <a:pt x="279" y="87"/>
                  </a:lnTo>
                  <a:lnTo>
                    <a:pt x="270" y="88"/>
                  </a:lnTo>
                  <a:lnTo>
                    <a:pt x="267" y="84"/>
                  </a:lnTo>
                  <a:lnTo>
                    <a:pt x="246" y="84"/>
                  </a:lnTo>
                  <a:lnTo>
                    <a:pt x="243" y="88"/>
                  </a:lnTo>
                  <a:lnTo>
                    <a:pt x="238" y="87"/>
                  </a:lnTo>
                  <a:lnTo>
                    <a:pt x="223" y="89"/>
                  </a:lnTo>
                  <a:lnTo>
                    <a:pt x="209" y="9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8" name="Freeform 315"/>
            <p:cNvSpPr>
              <a:spLocks/>
            </p:cNvSpPr>
            <p:nvPr/>
          </p:nvSpPr>
          <p:spPr bwMode="auto">
            <a:xfrm>
              <a:off x="2953" y="1867"/>
              <a:ext cx="47" cy="36"/>
            </a:xfrm>
            <a:custGeom>
              <a:avLst/>
              <a:gdLst/>
              <a:ahLst/>
              <a:cxnLst>
                <a:cxn ang="0">
                  <a:pos x="5" y="2"/>
                </a:cxn>
                <a:cxn ang="0">
                  <a:pos x="3" y="5"/>
                </a:cxn>
                <a:cxn ang="0">
                  <a:pos x="6" y="12"/>
                </a:cxn>
                <a:cxn ang="0">
                  <a:pos x="0" y="23"/>
                </a:cxn>
                <a:cxn ang="0">
                  <a:pos x="10" y="24"/>
                </a:cxn>
                <a:cxn ang="0">
                  <a:pos x="5" y="33"/>
                </a:cxn>
                <a:cxn ang="0">
                  <a:pos x="21" y="21"/>
                </a:cxn>
                <a:cxn ang="0">
                  <a:pos x="43" y="17"/>
                </a:cxn>
                <a:cxn ang="0">
                  <a:pos x="36" y="12"/>
                </a:cxn>
                <a:cxn ang="0">
                  <a:pos x="27" y="0"/>
                </a:cxn>
                <a:cxn ang="0">
                  <a:pos x="5" y="2"/>
                </a:cxn>
              </a:cxnLst>
              <a:rect l="0" t="0" r="r" b="b"/>
              <a:pathLst>
                <a:path w="43" h="33">
                  <a:moveTo>
                    <a:pt x="5" y="2"/>
                  </a:moveTo>
                  <a:lnTo>
                    <a:pt x="3" y="5"/>
                  </a:lnTo>
                  <a:lnTo>
                    <a:pt x="6" y="12"/>
                  </a:lnTo>
                  <a:lnTo>
                    <a:pt x="0" y="23"/>
                  </a:lnTo>
                  <a:lnTo>
                    <a:pt x="10" y="24"/>
                  </a:lnTo>
                  <a:lnTo>
                    <a:pt x="5" y="33"/>
                  </a:lnTo>
                  <a:lnTo>
                    <a:pt x="21" y="21"/>
                  </a:lnTo>
                  <a:lnTo>
                    <a:pt x="43" y="17"/>
                  </a:lnTo>
                  <a:lnTo>
                    <a:pt x="36" y="12"/>
                  </a:lnTo>
                  <a:lnTo>
                    <a:pt x="27" y="0"/>
                  </a:lnTo>
                  <a:lnTo>
                    <a:pt x="5"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9" name="Freeform 316"/>
            <p:cNvSpPr>
              <a:spLocks/>
            </p:cNvSpPr>
            <p:nvPr/>
          </p:nvSpPr>
          <p:spPr bwMode="auto">
            <a:xfrm>
              <a:off x="2876" y="1596"/>
              <a:ext cx="137" cy="87"/>
            </a:xfrm>
            <a:custGeom>
              <a:avLst/>
              <a:gdLst/>
              <a:ahLst/>
              <a:cxnLst>
                <a:cxn ang="0">
                  <a:pos x="122" y="42"/>
                </a:cxn>
                <a:cxn ang="0">
                  <a:pos x="117" y="47"/>
                </a:cxn>
                <a:cxn ang="0">
                  <a:pos x="121" y="62"/>
                </a:cxn>
                <a:cxn ang="0">
                  <a:pos x="104" y="71"/>
                </a:cxn>
                <a:cxn ang="0">
                  <a:pos x="105" y="78"/>
                </a:cxn>
                <a:cxn ang="0">
                  <a:pos x="81" y="73"/>
                </a:cxn>
                <a:cxn ang="0">
                  <a:pos x="57" y="68"/>
                </a:cxn>
                <a:cxn ang="0">
                  <a:pos x="35" y="68"/>
                </a:cxn>
                <a:cxn ang="0">
                  <a:pos x="11" y="68"/>
                </a:cxn>
                <a:cxn ang="0">
                  <a:pos x="2" y="63"/>
                </a:cxn>
                <a:cxn ang="0">
                  <a:pos x="12" y="51"/>
                </a:cxn>
                <a:cxn ang="0">
                  <a:pos x="0" y="30"/>
                </a:cxn>
                <a:cxn ang="0">
                  <a:pos x="21" y="15"/>
                </a:cxn>
                <a:cxn ang="0">
                  <a:pos x="41" y="2"/>
                </a:cxn>
                <a:cxn ang="0">
                  <a:pos x="60" y="0"/>
                </a:cxn>
                <a:cxn ang="0">
                  <a:pos x="80" y="3"/>
                </a:cxn>
                <a:cxn ang="0">
                  <a:pos x="102" y="7"/>
                </a:cxn>
                <a:cxn ang="0">
                  <a:pos x="104" y="26"/>
                </a:cxn>
                <a:cxn ang="0">
                  <a:pos x="122" y="42"/>
                </a:cxn>
              </a:cxnLst>
              <a:rect l="0" t="0" r="r" b="b"/>
              <a:pathLst>
                <a:path w="122" h="78">
                  <a:moveTo>
                    <a:pt x="122" y="42"/>
                  </a:moveTo>
                  <a:lnTo>
                    <a:pt x="117" y="47"/>
                  </a:lnTo>
                  <a:lnTo>
                    <a:pt x="121" y="62"/>
                  </a:lnTo>
                  <a:lnTo>
                    <a:pt x="104" y="71"/>
                  </a:lnTo>
                  <a:lnTo>
                    <a:pt x="105" y="78"/>
                  </a:lnTo>
                  <a:lnTo>
                    <a:pt x="81" y="73"/>
                  </a:lnTo>
                  <a:lnTo>
                    <a:pt x="57" y="68"/>
                  </a:lnTo>
                  <a:lnTo>
                    <a:pt x="35" y="68"/>
                  </a:lnTo>
                  <a:lnTo>
                    <a:pt x="11" y="68"/>
                  </a:lnTo>
                  <a:lnTo>
                    <a:pt x="2" y="63"/>
                  </a:lnTo>
                  <a:lnTo>
                    <a:pt x="12" y="51"/>
                  </a:lnTo>
                  <a:lnTo>
                    <a:pt x="0" y="30"/>
                  </a:lnTo>
                  <a:lnTo>
                    <a:pt x="21" y="15"/>
                  </a:lnTo>
                  <a:lnTo>
                    <a:pt x="41" y="2"/>
                  </a:lnTo>
                  <a:lnTo>
                    <a:pt x="60" y="0"/>
                  </a:lnTo>
                  <a:lnTo>
                    <a:pt x="80" y="3"/>
                  </a:lnTo>
                  <a:lnTo>
                    <a:pt x="102" y="7"/>
                  </a:lnTo>
                  <a:lnTo>
                    <a:pt x="104" y="26"/>
                  </a:lnTo>
                  <a:lnTo>
                    <a:pt x="122" y="4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0" name="Freeform 317"/>
            <p:cNvSpPr>
              <a:spLocks/>
            </p:cNvSpPr>
            <p:nvPr/>
          </p:nvSpPr>
          <p:spPr bwMode="auto">
            <a:xfrm>
              <a:off x="2653" y="1581"/>
              <a:ext cx="34" cy="40"/>
            </a:xfrm>
            <a:custGeom>
              <a:avLst/>
              <a:gdLst/>
              <a:ahLst/>
              <a:cxnLst>
                <a:cxn ang="0">
                  <a:pos x="18" y="31"/>
                </a:cxn>
                <a:cxn ang="0">
                  <a:pos x="17" y="36"/>
                </a:cxn>
                <a:cxn ang="0">
                  <a:pos x="6" y="34"/>
                </a:cxn>
                <a:cxn ang="0">
                  <a:pos x="4" y="31"/>
                </a:cxn>
                <a:cxn ang="0">
                  <a:pos x="0" y="23"/>
                </a:cxn>
                <a:cxn ang="0">
                  <a:pos x="0" y="6"/>
                </a:cxn>
                <a:cxn ang="0">
                  <a:pos x="7" y="5"/>
                </a:cxn>
                <a:cxn ang="0">
                  <a:pos x="10" y="6"/>
                </a:cxn>
                <a:cxn ang="0">
                  <a:pos x="11" y="3"/>
                </a:cxn>
                <a:cxn ang="0">
                  <a:pos x="21" y="0"/>
                </a:cxn>
                <a:cxn ang="0">
                  <a:pos x="24" y="6"/>
                </a:cxn>
                <a:cxn ang="0">
                  <a:pos x="31" y="7"/>
                </a:cxn>
                <a:cxn ang="0">
                  <a:pos x="29" y="13"/>
                </a:cxn>
                <a:cxn ang="0">
                  <a:pos x="19" y="21"/>
                </a:cxn>
                <a:cxn ang="0">
                  <a:pos x="19" y="23"/>
                </a:cxn>
                <a:cxn ang="0">
                  <a:pos x="18" y="31"/>
                </a:cxn>
              </a:cxnLst>
              <a:rect l="0" t="0" r="r" b="b"/>
              <a:pathLst>
                <a:path w="31" h="36">
                  <a:moveTo>
                    <a:pt x="18" y="31"/>
                  </a:moveTo>
                  <a:lnTo>
                    <a:pt x="17" y="36"/>
                  </a:lnTo>
                  <a:lnTo>
                    <a:pt x="6" y="34"/>
                  </a:lnTo>
                  <a:lnTo>
                    <a:pt x="4" y="31"/>
                  </a:lnTo>
                  <a:lnTo>
                    <a:pt x="0" y="23"/>
                  </a:lnTo>
                  <a:lnTo>
                    <a:pt x="0" y="6"/>
                  </a:lnTo>
                  <a:lnTo>
                    <a:pt x="7" y="5"/>
                  </a:lnTo>
                  <a:lnTo>
                    <a:pt x="10" y="6"/>
                  </a:lnTo>
                  <a:lnTo>
                    <a:pt x="11" y="3"/>
                  </a:lnTo>
                  <a:lnTo>
                    <a:pt x="21" y="0"/>
                  </a:lnTo>
                  <a:lnTo>
                    <a:pt x="24" y="6"/>
                  </a:lnTo>
                  <a:lnTo>
                    <a:pt x="31" y="7"/>
                  </a:lnTo>
                  <a:lnTo>
                    <a:pt x="29" y="13"/>
                  </a:lnTo>
                  <a:lnTo>
                    <a:pt x="19" y="21"/>
                  </a:lnTo>
                  <a:lnTo>
                    <a:pt x="19" y="23"/>
                  </a:lnTo>
                  <a:lnTo>
                    <a:pt x="18" y="3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1" name="Freeform 318"/>
            <p:cNvSpPr>
              <a:spLocks/>
            </p:cNvSpPr>
            <p:nvPr/>
          </p:nvSpPr>
          <p:spPr bwMode="auto">
            <a:xfrm>
              <a:off x="2693" y="1596"/>
              <a:ext cx="23" cy="20"/>
            </a:xfrm>
            <a:custGeom>
              <a:avLst/>
              <a:gdLst/>
              <a:ahLst/>
              <a:cxnLst>
                <a:cxn ang="0">
                  <a:pos x="20" y="6"/>
                </a:cxn>
                <a:cxn ang="0">
                  <a:pos x="18" y="2"/>
                </a:cxn>
                <a:cxn ang="0">
                  <a:pos x="14" y="0"/>
                </a:cxn>
                <a:cxn ang="0">
                  <a:pos x="12" y="6"/>
                </a:cxn>
                <a:cxn ang="0">
                  <a:pos x="9" y="4"/>
                </a:cxn>
                <a:cxn ang="0">
                  <a:pos x="3" y="2"/>
                </a:cxn>
                <a:cxn ang="0">
                  <a:pos x="0" y="6"/>
                </a:cxn>
                <a:cxn ang="0">
                  <a:pos x="0" y="9"/>
                </a:cxn>
                <a:cxn ang="0">
                  <a:pos x="11" y="18"/>
                </a:cxn>
                <a:cxn ang="0">
                  <a:pos x="15" y="14"/>
                </a:cxn>
                <a:cxn ang="0">
                  <a:pos x="15" y="10"/>
                </a:cxn>
                <a:cxn ang="0">
                  <a:pos x="20" y="6"/>
                </a:cxn>
              </a:cxnLst>
              <a:rect l="0" t="0" r="r" b="b"/>
              <a:pathLst>
                <a:path w="20" h="18">
                  <a:moveTo>
                    <a:pt x="20" y="6"/>
                  </a:moveTo>
                  <a:lnTo>
                    <a:pt x="18" y="2"/>
                  </a:lnTo>
                  <a:lnTo>
                    <a:pt x="14" y="0"/>
                  </a:lnTo>
                  <a:lnTo>
                    <a:pt x="12" y="6"/>
                  </a:lnTo>
                  <a:lnTo>
                    <a:pt x="9" y="4"/>
                  </a:lnTo>
                  <a:lnTo>
                    <a:pt x="3" y="2"/>
                  </a:lnTo>
                  <a:lnTo>
                    <a:pt x="0" y="6"/>
                  </a:lnTo>
                  <a:lnTo>
                    <a:pt x="0" y="9"/>
                  </a:lnTo>
                  <a:lnTo>
                    <a:pt x="11" y="18"/>
                  </a:lnTo>
                  <a:lnTo>
                    <a:pt x="15" y="14"/>
                  </a:lnTo>
                  <a:lnTo>
                    <a:pt x="15" y="10"/>
                  </a:lnTo>
                  <a:lnTo>
                    <a:pt x="20"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2" name="Freeform 319"/>
            <p:cNvSpPr>
              <a:spLocks/>
            </p:cNvSpPr>
            <p:nvPr/>
          </p:nvSpPr>
          <p:spPr bwMode="auto">
            <a:xfrm>
              <a:off x="2653" y="1565"/>
              <a:ext cx="31" cy="20"/>
            </a:xfrm>
            <a:custGeom>
              <a:avLst/>
              <a:gdLst/>
              <a:ahLst/>
              <a:cxnLst>
                <a:cxn ang="0">
                  <a:pos x="23" y="12"/>
                </a:cxn>
                <a:cxn ang="0">
                  <a:pos x="3" y="13"/>
                </a:cxn>
                <a:cxn ang="0">
                  <a:pos x="0" y="18"/>
                </a:cxn>
                <a:cxn ang="0">
                  <a:pos x="2" y="11"/>
                </a:cxn>
                <a:cxn ang="0">
                  <a:pos x="15" y="8"/>
                </a:cxn>
                <a:cxn ang="0">
                  <a:pos x="28" y="0"/>
                </a:cxn>
                <a:cxn ang="0">
                  <a:pos x="23" y="12"/>
                </a:cxn>
              </a:cxnLst>
              <a:rect l="0" t="0" r="r" b="b"/>
              <a:pathLst>
                <a:path w="28" h="18">
                  <a:moveTo>
                    <a:pt x="23" y="12"/>
                  </a:moveTo>
                  <a:lnTo>
                    <a:pt x="3" y="13"/>
                  </a:lnTo>
                  <a:lnTo>
                    <a:pt x="0" y="18"/>
                  </a:lnTo>
                  <a:lnTo>
                    <a:pt x="2" y="11"/>
                  </a:lnTo>
                  <a:lnTo>
                    <a:pt x="15" y="8"/>
                  </a:lnTo>
                  <a:lnTo>
                    <a:pt x="28" y="0"/>
                  </a:lnTo>
                  <a:lnTo>
                    <a:pt x="23"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3" name="Freeform 320"/>
            <p:cNvSpPr>
              <a:spLocks/>
            </p:cNvSpPr>
            <p:nvPr/>
          </p:nvSpPr>
          <p:spPr bwMode="auto">
            <a:xfrm>
              <a:off x="2676" y="1608"/>
              <a:ext cx="13" cy="8"/>
            </a:xfrm>
            <a:custGeom>
              <a:avLst/>
              <a:gdLst/>
              <a:ahLst/>
              <a:cxnLst>
                <a:cxn ang="0">
                  <a:pos x="13" y="4"/>
                </a:cxn>
                <a:cxn ang="0">
                  <a:pos x="9" y="0"/>
                </a:cxn>
                <a:cxn ang="0">
                  <a:pos x="0" y="1"/>
                </a:cxn>
                <a:cxn ang="0">
                  <a:pos x="9" y="9"/>
                </a:cxn>
                <a:cxn ang="0">
                  <a:pos x="13" y="4"/>
                </a:cxn>
              </a:cxnLst>
              <a:rect l="0" t="0" r="r" b="b"/>
              <a:pathLst>
                <a:path w="13" h="9">
                  <a:moveTo>
                    <a:pt x="13" y="4"/>
                  </a:moveTo>
                  <a:lnTo>
                    <a:pt x="9" y="0"/>
                  </a:lnTo>
                  <a:lnTo>
                    <a:pt x="0" y="1"/>
                  </a:lnTo>
                  <a:lnTo>
                    <a:pt x="9" y="9"/>
                  </a:lnTo>
                  <a:lnTo>
                    <a:pt x="13"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4" name="Freeform 321"/>
            <p:cNvSpPr>
              <a:spLocks/>
            </p:cNvSpPr>
            <p:nvPr/>
          </p:nvSpPr>
          <p:spPr bwMode="auto">
            <a:xfrm>
              <a:off x="2707" y="1616"/>
              <a:ext cx="2" cy="5"/>
            </a:xfrm>
            <a:custGeom>
              <a:avLst/>
              <a:gdLst/>
              <a:ahLst/>
              <a:cxnLst>
                <a:cxn ang="0">
                  <a:pos x="3" y="1"/>
                </a:cxn>
                <a:cxn ang="0">
                  <a:pos x="0" y="0"/>
                </a:cxn>
                <a:cxn ang="0">
                  <a:pos x="0" y="3"/>
                </a:cxn>
                <a:cxn ang="0">
                  <a:pos x="3" y="1"/>
                </a:cxn>
              </a:cxnLst>
              <a:rect l="0" t="0" r="r" b="b"/>
              <a:pathLst>
                <a:path w="3" h="3">
                  <a:moveTo>
                    <a:pt x="3" y="1"/>
                  </a:moveTo>
                  <a:lnTo>
                    <a:pt x="0" y="0"/>
                  </a:lnTo>
                  <a:lnTo>
                    <a:pt x="0" y="3"/>
                  </a:lnTo>
                  <a:lnTo>
                    <a:pt x="3"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5" name="Freeform 322"/>
            <p:cNvSpPr>
              <a:spLocks/>
            </p:cNvSpPr>
            <p:nvPr/>
          </p:nvSpPr>
          <p:spPr bwMode="auto">
            <a:xfrm>
              <a:off x="2864" y="1532"/>
              <a:ext cx="65" cy="31"/>
            </a:xfrm>
            <a:custGeom>
              <a:avLst/>
              <a:gdLst/>
              <a:ahLst/>
              <a:cxnLst>
                <a:cxn ang="0">
                  <a:pos x="59" y="17"/>
                </a:cxn>
                <a:cxn ang="0">
                  <a:pos x="55" y="2"/>
                </a:cxn>
                <a:cxn ang="0">
                  <a:pos x="24" y="0"/>
                </a:cxn>
                <a:cxn ang="0">
                  <a:pos x="0" y="6"/>
                </a:cxn>
                <a:cxn ang="0">
                  <a:pos x="2" y="12"/>
                </a:cxn>
                <a:cxn ang="0">
                  <a:pos x="11" y="22"/>
                </a:cxn>
                <a:cxn ang="0">
                  <a:pos x="16" y="22"/>
                </a:cxn>
                <a:cxn ang="0">
                  <a:pos x="34" y="24"/>
                </a:cxn>
                <a:cxn ang="0">
                  <a:pos x="53" y="28"/>
                </a:cxn>
                <a:cxn ang="0">
                  <a:pos x="59" y="17"/>
                </a:cxn>
              </a:cxnLst>
              <a:rect l="0" t="0" r="r" b="b"/>
              <a:pathLst>
                <a:path w="59" h="28">
                  <a:moveTo>
                    <a:pt x="59" y="17"/>
                  </a:moveTo>
                  <a:lnTo>
                    <a:pt x="55" y="2"/>
                  </a:lnTo>
                  <a:lnTo>
                    <a:pt x="24" y="0"/>
                  </a:lnTo>
                  <a:lnTo>
                    <a:pt x="0" y="6"/>
                  </a:lnTo>
                  <a:lnTo>
                    <a:pt x="2" y="12"/>
                  </a:lnTo>
                  <a:lnTo>
                    <a:pt x="11" y="22"/>
                  </a:lnTo>
                  <a:lnTo>
                    <a:pt x="16" y="22"/>
                  </a:lnTo>
                  <a:lnTo>
                    <a:pt x="34" y="24"/>
                  </a:lnTo>
                  <a:lnTo>
                    <a:pt x="53" y="28"/>
                  </a:lnTo>
                  <a:lnTo>
                    <a:pt x="59" y="1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6" name="Freeform 323"/>
            <p:cNvSpPr>
              <a:spLocks/>
            </p:cNvSpPr>
            <p:nvPr/>
          </p:nvSpPr>
          <p:spPr bwMode="auto">
            <a:xfrm>
              <a:off x="2836" y="1556"/>
              <a:ext cx="106" cy="45"/>
            </a:xfrm>
            <a:custGeom>
              <a:avLst/>
              <a:gdLst/>
              <a:ahLst/>
              <a:cxnLst>
                <a:cxn ang="0">
                  <a:pos x="49" y="26"/>
                </a:cxn>
                <a:cxn ang="0">
                  <a:pos x="26" y="30"/>
                </a:cxn>
                <a:cxn ang="0">
                  <a:pos x="5" y="32"/>
                </a:cxn>
                <a:cxn ang="0">
                  <a:pos x="0" y="33"/>
                </a:cxn>
                <a:cxn ang="0">
                  <a:pos x="7" y="10"/>
                </a:cxn>
                <a:cxn ang="0">
                  <a:pos x="18" y="10"/>
                </a:cxn>
                <a:cxn ang="0">
                  <a:pos x="35" y="21"/>
                </a:cxn>
                <a:cxn ang="0">
                  <a:pos x="42" y="14"/>
                </a:cxn>
                <a:cxn ang="0">
                  <a:pos x="41" y="0"/>
                </a:cxn>
                <a:cxn ang="0">
                  <a:pos x="59" y="2"/>
                </a:cxn>
                <a:cxn ang="0">
                  <a:pos x="78" y="6"/>
                </a:cxn>
                <a:cxn ang="0">
                  <a:pos x="86" y="18"/>
                </a:cxn>
                <a:cxn ang="0">
                  <a:pos x="96" y="37"/>
                </a:cxn>
                <a:cxn ang="0">
                  <a:pos x="77" y="39"/>
                </a:cxn>
                <a:cxn ang="0">
                  <a:pos x="49" y="26"/>
                </a:cxn>
              </a:cxnLst>
              <a:rect l="0" t="0" r="r" b="b"/>
              <a:pathLst>
                <a:path w="96" h="39">
                  <a:moveTo>
                    <a:pt x="49" y="26"/>
                  </a:moveTo>
                  <a:lnTo>
                    <a:pt x="26" y="30"/>
                  </a:lnTo>
                  <a:lnTo>
                    <a:pt x="5" y="32"/>
                  </a:lnTo>
                  <a:lnTo>
                    <a:pt x="0" y="33"/>
                  </a:lnTo>
                  <a:lnTo>
                    <a:pt x="7" y="10"/>
                  </a:lnTo>
                  <a:lnTo>
                    <a:pt x="18" y="10"/>
                  </a:lnTo>
                  <a:lnTo>
                    <a:pt x="35" y="21"/>
                  </a:lnTo>
                  <a:lnTo>
                    <a:pt x="42" y="14"/>
                  </a:lnTo>
                  <a:lnTo>
                    <a:pt x="41" y="0"/>
                  </a:lnTo>
                  <a:lnTo>
                    <a:pt x="59" y="2"/>
                  </a:lnTo>
                  <a:lnTo>
                    <a:pt x="78" y="6"/>
                  </a:lnTo>
                  <a:lnTo>
                    <a:pt x="86" y="18"/>
                  </a:lnTo>
                  <a:lnTo>
                    <a:pt x="96" y="37"/>
                  </a:lnTo>
                  <a:lnTo>
                    <a:pt x="77" y="39"/>
                  </a:lnTo>
                  <a:lnTo>
                    <a:pt x="49" y="2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7" name="Freeform 324"/>
            <p:cNvSpPr>
              <a:spLocks/>
            </p:cNvSpPr>
            <p:nvPr/>
          </p:nvSpPr>
          <p:spPr bwMode="auto">
            <a:xfrm>
              <a:off x="2836" y="1585"/>
              <a:ext cx="86" cy="45"/>
            </a:xfrm>
            <a:custGeom>
              <a:avLst/>
              <a:gdLst/>
              <a:ahLst/>
              <a:cxnLst>
                <a:cxn ang="0">
                  <a:pos x="3" y="29"/>
                </a:cxn>
                <a:cxn ang="0">
                  <a:pos x="0" y="7"/>
                </a:cxn>
                <a:cxn ang="0">
                  <a:pos x="5" y="6"/>
                </a:cxn>
                <a:cxn ang="0">
                  <a:pos x="26" y="4"/>
                </a:cxn>
                <a:cxn ang="0">
                  <a:pos x="49" y="0"/>
                </a:cxn>
                <a:cxn ang="0">
                  <a:pos x="77" y="13"/>
                </a:cxn>
                <a:cxn ang="0">
                  <a:pos x="57" y="26"/>
                </a:cxn>
                <a:cxn ang="0">
                  <a:pos x="36" y="41"/>
                </a:cxn>
                <a:cxn ang="0">
                  <a:pos x="24" y="40"/>
                </a:cxn>
                <a:cxn ang="0">
                  <a:pos x="24" y="32"/>
                </a:cxn>
                <a:cxn ang="0">
                  <a:pos x="12" y="31"/>
                </a:cxn>
                <a:cxn ang="0">
                  <a:pos x="3" y="29"/>
                </a:cxn>
              </a:cxnLst>
              <a:rect l="0" t="0" r="r" b="b"/>
              <a:pathLst>
                <a:path w="77" h="41">
                  <a:moveTo>
                    <a:pt x="3" y="29"/>
                  </a:moveTo>
                  <a:lnTo>
                    <a:pt x="0" y="7"/>
                  </a:lnTo>
                  <a:lnTo>
                    <a:pt x="5" y="6"/>
                  </a:lnTo>
                  <a:lnTo>
                    <a:pt x="26" y="4"/>
                  </a:lnTo>
                  <a:lnTo>
                    <a:pt x="49" y="0"/>
                  </a:lnTo>
                  <a:lnTo>
                    <a:pt x="77" y="13"/>
                  </a:lnTo>
                  <a:lnTo>
                    <a:pt x="57" y="26"/>
                  </a:lnTo>
                  <a:lnTo>
                    <a:pt x="36" y="41"/>
                  </a:lnTo>
                  <a:lnTo>
                    <a:pt x="24" y="40"/>
                  </a:lnTo>
                  <a:lnTo>
                    <a:pt x="24" y="32"/>
                  </a:lnTo>
                  <a:lnTo>
                    <a:pt x="12" y="31"/>
                  </a:lnTo>
                  <a:lnTo>
                    <a:pt x="3" y="2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8" name="Freeform 325"/>
            <p:cNvSpPr>
              <a:spLocks/>
            </p:cNvSpPr>
            <p:nvPr/>
          </p:nvSpPr>
          <p:spPr bwMode="auto">
            <a:xfrm>
              <a:off x="2582" y="1648"/>
              <a:ext cx="58" cy="48"/>
            </a:xfrm>
            <a:custGeom>
              <a:avLst/>
              <a:gdLst/>
              <a:ahLst/>
              <a:cxnLst>
                <a:cxn ang="0">
                  <a:pos x="38" y="27"/>
                </a:cxn>
                <a:cxn ang="0">
                  <a:pos x="50" y="21"/>
                </a:cxn>
                <a:cxn ang="0">
                  <a:pos x="45" y="13"/>
                </a:cxn>
                <a:cxn ang="0">
                  <a:pos x="51" y="3"/>
                </a:cxn>
                <a:cxn ang="0">
                  <a:pos x="34" y="0"/>
                </a:cxn>
                <a:cxn ang="0">
                  <a:pos x="16" y="11"/>
                </a:cxn>
                <a:cxn ang="0">
                  <a:pos x="4" y="29"/>
                </a:cxn>
                <a:cxn ang="0">
                  <a:pos x="0" y="35"/>
                </a:cxn>
                <a:cxn ang="0">
                  <a:pos x="12" y="35"/>
                </a:cxn>
                <a:cxn ang="0">
                  <a:pos x="30" y="36"/>
                </a:cxn>
                <a:cxn ang="0">
                  <a:pos x="32" y="42"/>
                </a:cxn>
                <a:cxn ang="0">
                  <a:pos x="37" y="46"/>
                </a:cxn>
                <a:cxn ang="0">
                  <a:pos x="38" y="27"/>
                </a:cxn>
              </a:cxnLst>
              <a:rect l="0" t="0" r="r" b="b"/>
              <a:pathLst>
                <a:path w="51" h="46">
                  <a:moveTo>
                    <a:pt x="38" y="27"/>
                  </a:moveTo>
                  <a:lnTo>
                    <a:pt x="50" y="21"/>
                  </a:lnTo>
                  <a:lnTo>
                    <a:pt x="45" y="13"/>
                  </a:lnTo>
                  <a:lnTo>
                    <a:pt x="51" y="3"/>
                  </a:lnTo>
                  <a:lnTo>
                    <a:pt x="34" y="0"/>
                  </a:lnTo>
                  <a:lnTo>
                    <a:pt x="16" y="11"/>
                  </a:lnTo>
                  <a:lnTo>
                    <a:pt x="4" y="29"/>
                  </a:lnTo>
                  <a:lnTo>
                    <a:pt x="0" y="35"/>
                  </a:lnTo>
                  <a:lnTo>
                    <a:pt x="12" y="35"/>
                  </a:lnTo>
                  <a:lnTo>
                    <a:pt x="30" y="36"/>
                  </a:lnTo>
                  <a:lnTo>
                    <a:pt x="32" y="42"/>
                  </a:lnTo>
                  <a:lnTo>
                    <a:pt x="37" y="46"/>
                  </a:lnTo>
                  <a:lnTo>
                    <a:pt x="38"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9" name="Freeform 326"/>
            <p:cNvSpPr>
              <a:spLocks/>
            </p:cNvSpPr>
            <p:nvPr/>
          </p:nvSpPr>
          <p:spPr bwMode="auto">
            <a:xfrm>
              <a:off x="2742" y="1621"/>
              <a:ext cx="154" cy="109"/>
            </a:xfrm>
            <a:custGeom>
              <a:avLst/>
              <a:gdLst/>
              <a:ahLst/>
              <a:cxnLst>
                <a:cxn ang="0">
                  <a:pos x="57" y="5"/>
                </a:cxn>
                <a:cxn ang="0">
                  <a:pos x="55" y="0"/>
                </a:cxn>
                <a:cxn ang="0">
                  <a:pos x="37" y="2"/>
                </a:cxn>
                <a:cxn ang="0">
                  <a:pos x="19" y="8"/>
                </a:cxn>
                <a:cxn ang="0">
                  <a:pos x="0" y="11"/>
                </a:cxn>
                <a:cxn ang="0">
                  <a:pos x="6" y="17"/>
                </a:cxn>
                <a:cxn ang="0">
                  <a:pos x="1" y="18"/>
                </a:cxn>
                <a:cxn ang="0">
                  <a:pos x="3" y="34"/>
                </a:cxn>
                <a:cxn ang="0">
                  <a:pos x="10" y="53"/>
                </a:cxn>
                <a:cxn ang="0">
                  <a:pos x="13" y="66"/>
                </a:cxn>
                <a:cxn ang="0">
                  <a:pos x="15" y="66"/>
                </a:cxn>
                <a:cxn ang="0">
                  <a:pos x="33" y="72"/>
                </a:cxn>
                <a:cxn ang="0">
                  <a:pos x="37" y="77"/>
                </a:cxn>
                <a:cxn ang="0">
                  <a:pos x="44" y="77"/>
                </a:cxn>
                <a:cxn ang="0">
                  <a:pos x="54" y="77"/>
                </a:cxn>
                <a:cxn ang="0">
                  <a:pos x="70" y="89"/>
                </a:cxn>
                <a:cxn ang="0">
                  <a:pos x="86" y="90"/>
                </a:cxn>
                <a:cxn ang="0">
                  <a:pos x="88" y="94"/>
                </a:cxn>
                <a:cxn ang="0">
                  <a:pos x="100" y="93"/>
                </a:cxn>
                <a:cxn ang="0">
                  <a:pos x="122" y="98"/>
                </a:cxn>
                <a:cxn ang="0">
                  <a:pos x="124" y="93"/>
                </a:cxn>
                <a:cxn ang="0">
                  <a:pos x="138" y="75"/>
                </a:cxn>
                <a:cxn ang="0">
                  <a:pos x="139" y="66"/>
                </a:cxn>
                <a:cxn ang="0">
                  <a:pos x="132" y="47"/>
                </a:cxn>
                <a:cxn ang="0">
                  <a:pos x="123" y="42"/>
                </a:cxn>
                <a:cxn ang="0">
                  <a:pos x="133" y="30"/>
                </a:cxn>
                <a:cxn ang="0">
                  <a:pos x="121" y="9"/>
                </a:cxn>
                <a:cxn ang="0">
                  <a:pos x="96" y="6"/>
                </a:cxn>
                <a:cxn ang="0">
                  <a:pos x="72" y="5"/>
                </a:cxn>
                <a:cxn ang="0">
                  <a:pos x="57" y="5"/>
                </a:cxn>
              </a:cxnLst>
              <a:rect l="0" t="0" r="r" b="b"/>
              <a:pathLst>
                <a:path w="139" h="98">
                  <a:moveTo>
                    <a:pt x="57" y="5"/>
                  </a:moveTo>
                  <a:lnTo>
                    <a:pt x="55" y="0"/>
                  </a:lnTo>
                  <a:lnTo>
                    <a:pt x="37" y="2"/>
                  </a:lnTo>
                  <a:lnTo>
                    <a:pt x="19" y="8"/>
                  </a:lnTo>
                  <a:lnTo>
                    <a:pt x="0" y="11"/>
                  </a:lnTo>
                  <a:lnTo>
                    <a:pt x="6" y="17"/>
                  </a:lnTo>
                  <a:lnTo>
                    <a:pt x="1" y="18"/>
                  </a:lnTo>
                  <a:lnTo>
                    <a:pt x="3" y="34"/>
                  </a:lnTo>
                  <a:lnTo>
                    <a:pt x="10" y="53"/>
                  </a:lnTo>
                  <a:lnTo>
                    <a:pt x="13" y="66"/>
                  </a:lnTo>
                  <a:lnTo>
                    <a:pt x="15" y="66"/>
                  </a:lnTo>
                  <a:lnTo>
                    <a:pt x="33" y="72"/>
                  </a:lnTo>
                  <a:lnTo>
                    <a:pt x="37" y="77"/>
                  </a:lnTo>
                  <a:lnTo>
                    <a:pt x="44" y="77"/>
                  </a:lnTo>
                  <a:lnTo>
                    <a:pt x="54" y="77"/>
                  </a:lnTo>
                  <a:lnTo>
                    <a:pt x="70" y="89"/>
                  </a:lnTo>
                  <a:lnTo>
                    <a:pt x="86" y="90"/>
                  </a:lnTo>
                  <a:lnTo>
                    <a:pt x="88" y="94"/>
                  </a:lnTo>
                  <a:lnTo>
                    <a:pt x="100" y="93"/>
                  </a:lnTo>
                  <a:lnTo>
                    <a:pt x="122" y="98"/>
                  </a:lnTo>
                  <a:lnTo>
                    <a:pt x="124" y="93"/>
                  </a:lnTo>
                  <a:lnTo>
                    <a:pt x="138" y="75"/>
                  </a:lnTo>
                  <a:lnTo>
                    <a:pt x="139" y="66"/>
                  </a:lnTo>
                  <a:lnTo>
                    <a:pt x="132" y="47"/>
                  </a:lnTo>
                  <a:lnTo>
                    <a:pt x="123" y="42"/>
                  </a:lnTo>
                  <a:lnTo>
                    <a:pt x="133" y="30"/>
                  </a:lnTo>
                  <a:lnTo>
                    <a:pt x="121" y="9"/>
                  </a:lnTo>
                  <a:lnTo>
                    <a:pt x="96" y="6"/>
                  </a:lnTo>
                  <a:lnTo>
                    <a:pt x="72" y="5"/>
                  </a:lnTo>
                  <a:lnTo>
                    <a:pt x="57"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0" name="Freeform 327"/>
            <p:cNvSpPr>
              <a:spLocks/>
            </p:cNvSpPr>
            <p:nvPr/>
          </p:nvSpPr>
          <p:spPr bwMode="auto">
            <a:xfrm>
              <a:off x="2849" y="1745"/>
              <a:ext cx="151" cy="89"/>
            </a:xfrm>
            <a:custGeom>
              <a:avLst/>
              <a:gdLst/>
              <a:ahLst/>
              <a:cxnLst>
                <a:cxn ang="0">
                  <a:pos x="123" y="66"/>
                </a:cxn>
                <a:cxn ang="0">
                  <a:pos x="122" y="79"/>
                </a:cxn>
                <a:cxn ang="0">
                  <a:pos x="95" y="73"/>
                </a:cxn>
                <a:cxn ang="0">
                  <a:pos x="73" y="80"/>
                </a:cxn>
                <a:cxn ang="0">
                  <a:pos x="56" y="78"/>
                </a:cxn>
                <a:cxn ang="0">
                  <a:pos x="41" y="76"/>
                </a:cxn>
                <a:cxn ang="0">
                  <a:pos x="37" y="71"/>
                </a:cxn>
                <a:cxn ang="0">
                  <a:pos x="36" y="65"/>
                </a:cxn>
                <a:cxn ang="0">
                  <a:pos x="31" y="64"/>
                </a:cxn>
                <a:cxn ang="0">
                  <a:pos x="26" y="62"/>
                </a:cxn>
                <a:cxn ang="0">
                  <a:pos x="20" y="59"/>
                </a:cxn>
                <a:cxn ang="0">
                  <a:pos x="0" y="37"/>
                </a:cxn>
                <a:cxn ang="0">
                  <a:pos x="7" y="35"/>
                </a:cxn>
                <a:cxn ang="0">
                  <a:pos x="19" y="19"/>
                </a:cxn>
                <a:cxn ang="0">
                  <a:pos x="32" y="6"/>
                </a:cxn>
                <a:cxn ang="0">
                  <a:pos x="33" y="5"/>
                </a:cxn>
                <a:cxn ang="0">
                  <a:pos x="60" y="7"/>
                </a:cxn>
                <a:cxn ang="0">
                  <a:pos x="84" y="0"/>
                </a:cxn>
                <a:cxn ang="0">
                  <a:pos x="85" y="0"/>
                </a:cxn>
                <a:cxn ang="0">
                  <a:pos x="95" y="11"/>
                </a:cxn>
                <a:cxn ang="0">
                  <a:pos x="105" y="20"/>
                </a:cxn>
                <a:cxn ang="0">
                  <a:pos x="110" y="36"/>
                </a:cxn>
                <a:cxn ang="0">
                  <a:pos x="114" y="50"/>
                </a:cxn>
                <a:cxn ang="0">
                  <a:pos x="126" y="50"/>
                </a:cxn>
                <a:cxn ang="0">
                  <a:pos x="134" y="53"/>
                </a:cxn>
                <a:cxn ang="0">
                  <a:pos x="134" y="58"/>
                </a:cxn>
                <a:cxn ang="0">
                  <a:pos x="128" y="61"/>
                </a:cxn>
                <a:cxn ang="0">
                  <a:pos x="127" y="60"/>
                </a:cxn>
                <a:cxn ang="0">
                  <a:pos x="123" y="66"/>
                </a:cxn>
              </a:cxnLst>
              <a:rect l="0" t="0" r="r" b="b"/>
              <a:pathLst>
                <a:path w="134" h="80">
                  <a:moveTo>
                    <a:pt x="123" y="66"/>
                  </a:moveTo>
                  <a:lnTo>
                    <a:pt x="122" y="79"/>
                  </a:lnTo>
                  <a:lnTo>
                    <a:pt x="95" y="73"/>
                  </a:lnTo>
                  <a:lnTo>
                    <a:pt x="73" y="80"/>
                  </a:lnTo>
                  <a:lnTo>
                    <a:pt x="56" y="78"/>
                  </a:lnTo>
                  <a:lnTo>
                    <a:pt x="41" y="76"/>
                  </a:lnTo>
                  <a:lnTo>
                    <a:pt x="37" y="71"/>
                  </a:lnTo>
                  <a:lnTo>
                    <a:pt x="36" y="65"/>
                  </a:lnTo>
                  <a:lnTo>
                    <a:pt x="31" y="64"/>
                  </a:lnTo>
                  <a:lnTo>
                    <a:pt x="26" y="62"/>
                  </a:lnTo>
                  <a:lnTo>
                    <a:pt x="20" y="59"/>
                  </a:lnTo>
                  <a:lnTo>
                    <a:pt x="0" y="37"/>
                  </a:lnTo>
                  <a:lnTo>
                    <a:pt x="7" y="35"/>
                  </a:lnTo>
                  <a:lnTo>
                    <a:pt x="19" y="19"/>
                  </a:lnTo>
                  <a:lnTo>
                    <a:pt x="32" y="6"/>
                  </a:lnTo>
                  <a:lnTo>
                    <a:pt x="33" y="5"/>
                  </a:lnTo>
                  <a:lnTo>
                    <a:pt x="60" y="7"/>
                  </a:lnTo>
                  <a:lnTo>
                    <a:pt x="84" y="0"/>
                  </a:lnTo>
                  <a:lnTo>
                    <a:pt x="85" y="0"/>
                  </a:lnTo>
                  <a:lnTo>
                    <a:pt x="95" y="11"/>
                  </a:lnTo>
                  <a:lnTo>
                    <a:pt x="105" y="20"/>
                  </a:lnTo>
                  <a:lnTo>
                    <a:pt x="110" y="36"/>
                  </a:lnTo>
                  <a:lnTo>
                    <a:pt x="114" y="50"/>
                  </a:lnTo>
                  <a:lnTo>
                    <a:pt x="126" y="50"/>
                  </a:lnTo>
                  <a:lnTo>
                    <a:pt x="134" y="53"/>
                  </a:lnTo>
                  <a:lnTo>
                    <a:pt x="134" y="58"/>
                  </a:lnTo>
                  <a:lnTo>
                    <a:pt x="128" y="61"/>
                  </a:lnTo>
                  <a:lnTo>
                    <a:pt x="127" y="60"/>
                  </a:lnTo>
                  <a:lnTo>
                    <a:pt x="123" y="6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1" name="Freeform 328"/>
            <p:cNvSpPr>
              <a:spLocks/>
            </p:cNvSpPr>
            <p:nvPr/>
          </p:nvSpPr>
          <p:spPr bwMode="auto">
            <a:xfrm>
              <a:off x="2718" y="1694"/>
              <a:ext cx="102" cy="47"/>
            </a:xfrm>
            <a:custGeom>
              <a:avLst/>
              <a:gdLst/>
              <a:ahLst/>
              <a:cxnLst>
                <a:cxn ang="0">
                  <a:pos x="76" y="12"/>
                </a:cxn>
                <a:cxn ang="0">
                  <a:pos x="92" y="24"/>
                </a:cxn>
                <a:cxn ang="0">
                  <a:pos x="92" y="25"/>
                </a:cxn>
                <a:cxn ang="0">
                  <a:pos x="88" y="29"/>
                </a:cxn>
                <a:cxn ang="0">
                  <a:pos x="84" y="31"/>
                </a:cxn>
                <a:cxn ang="0">
                  <a:pos x="84" y="33"/>
                </a:cxn>
                <a:cxn ang="0">
                  <a:pos x="79" y="37"/>
                </a:cxn>
                <a:cxn ang="0">
                  <a:pos x="72" y="39"/>
                </a:cxn>
                <a:cxn ang="0">
                  <a:pos x="67" y="39"/>
                </a:cxn>
                <a:cxn ang="0">
                  <a:pos x="62" y="39"/>
                </a:cxn>
                <a:cxn ang="0">
                  <a:pos x="40" y="35"/>
                </a:cxn>
                <a:cxn ang="0">
                  <a:pos x="32" y="42"/>
                </a:cxn>
                <a:cxn ang="0">
                  <a:pos x="24" y="39"/>
                </a:cxn>
                <a:cxn ang="0">
                  <a:pos x="4" y="19"/>
                </a:cxn>
                <a:cxn ang="0">
                  <a:pos x="0" y="13"/>
                </a:cxn>
                <a:cxn ang="0">
                  <a:pos x="31" y="0"/>
                </a:cxn>
                <a:cxn ang="0">
                  <a:pos x="35" y="1"/>
                </a:cxn>
                <a:cxn ang="0">
                  <a:pos x="37" y="1"/>
                </a:cxn>
                <a:cxn ang="0">
                  <a:pos x="55" y="7"/>
                </a:cxn>
                <a:cxn ang="0">
                  <a:pos x="59" y="12"/>
                </a:cxn>
                <a:cxn ang="0">
                  <a:pos x="66" y="12"/>
                </a:cxn>
                <a:cxn ang="0">
                  <a:pos x="76" y="12"/>
                </a:cxn>
              </a:cxnLst>
              <a:rect l="0" t="0" r="r" b="b"/>
              <a:pathLst>
                <a:path w="92" h="42">
                  <a:moveTo>
                    <a:pt x="76" y="12"/>
                  </a:moveTo>
                  <a:lnTo>
                    <a:pt x="92" y="24"/>
                  </a:lnTo>
                  <a:lnTo>
                    <a:pt x="92" y="25"/>
                  </a:lnTo>
                  <a:lnTo>
                    <a:pt x="88" y="29"/>
                  </a:lnTo>
                  <a:lnTo>
                    <a:pt x="84" y="31"/>
                  </a:lnTo>
                  <a:lnTo>
                    <a:pt x="84" y="33"/>
                  </a:lnTo>
                  <a:lnTo>
                    <a:pt x="79" y="37"/>
                  </a:lnTo>
                  <a:lnTo>
                    <a:pt x="72" y="39"/>
                  </a:lnTo>
                  <a:lnTo>
                    <a:pt x="67" y="39"/>
                  </a:lnTo>
                  <a:lnTo>
                    <a:pt x="62" y="39"/>
                  </a:lnTo>
                  <a:lnTo>
                    <a:pt x="40" y="35"/>
                  </a:lnTo>
                  <a:lnTo>
                    <a:pt x="32" y="42"/>
                  </a:lnTo>
                  <a:lnTo>
                    <a:pt x="24" y="39"/>
                  </a:lnTo>
                  <a:lnTo>
                    <a:pt x="4" y="19"/>
                  </a:lnTo>
                  <a:lnTo>
                    <a:pt x="0" y="13"/>
                  </a:lnTo>
                  <a:lnTo>
                    <a:pt x="31" y="0"/>
                  </a:lnTo>
                  <a:lnTo>
                    <a:pt x="35" y="1"/>
                  </a:lnTo>
                  <a:lnTo>
                    <a:pt x="37" y="1"/>
                  </a:lnTo>
                  <a:lnTo>
                    <a:pt x="55" y="7"/>
                  </a:lnTo>
                  <a:lnTo>
                    <a:pt x="59" y="12"/>
                  </a:lnTo>
                  <a:lnTo>
                    <a:pt x="66" y="12"/>
                  </a:lnTo>
                  <a:lnTo>
                    <a:pt x="76"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2" name="Freeform 329"/>
            <p:cNvSpPr>
              <a:spLocks/>
            </p:cNvSpPr>
            <p:nvPr/>
          </p:nvSpPr>
          <p:spPr bwMode="auto">
            <a:xfrm>
              <a:off x="2569" y="1685"/>
              <a:ext cx="58" cy="36"/>
            </a:xfrm>
            <a:custGeom>
              <a:avLst/>
              <a:gdLst/>
              <a:ahLst/>
              <a:cxnLst>
                <a:cxn ang="0">
                  <a:pos x="11" y="0"/>
                </a:cxn>
                <a:cxn ang="0">
                  <a:pos x="0" y="5"/>
                </a:cxn>
                <a:cxn ang="0">
                  <a:pos x="6" y="11"/>
                </a:cxn>
                <a:cxn ang="0">
                  <a:pos x="24" y="23"/>
                </a:cxn>
                <a:cxn ang="0">
                  <a:pos x="30" y="22"/>
                </a:cxn>
                <a:cxn ang="0">
                  <a:pos x="31" y="24"/>
                </a:cxn>
                <a:cxn ang="0">
                  <a:pos x="45" y="31"/>
                </a:cxn>
                <a:cxn ang="0">
                  <a:pos x="45" y="29"/>
                </a:cxn>
                <a:cxn ang="0">
                  <a:pos x="49" y="22"/>
                </a:cxn>
                <a:cxn ang="0">
                  <a:pos x="50" y="12"/>
                </a:cxn>
                <a:cxn ang="0">
                  <a:pos x="48" y="11"/>
                </a:cxn>
                <a:cxn ang="0">
                  <a:pos x="43" y="7"/>
                </a:cxn>
                <a:cxn ang="0">
                  <a:pos x="41" y="1"/>
                </a:cxn>
                <a:cxn ang="0">
                  <a:pos x="23" y="0"/>
                </a:cxn>
                <a:cxn ang="0">
                  <a:pos x="11" y="0"/>
                </a:cxn>
              </a:cxnLst>
              <a:rect l="0" t="0" r="r" b="b"/>
              <a:pathLst>
                <a:path w="50" h="31">
                  <a:moveTo>
                    <a:pt x="11" y="0"/>
                  </a:moveTo>
                  <a:lnTo>
                    <a:pt x="0" y="5"/>
                  </a:lnTo>
                  <a:lnTo>
                    <a:pt x="6" y="11"/>
                  </a:lnTo>
                  <a:lnTo>
                    <a:pt x="24" y="23"/>
                  </a:lnTo>
                  <a:lnTo>
                    <a:pt x="30" y="22"/>
                  </a:lnTo>
                  <a:lnTo>
                    <a:pt x="31" y="24"/>
                  </a:lnTo>
                  <a:lnTo>
                    <a:pt x="45" y="31"/>
                  </a:lnTo>
                  <a:lnTo>
                    <a:pt x="45" y="29"/>
                  </a:lnTo>
                  <a:lnTo>
                    <a:pt x="49" y="22"/>
                  </a:lnTo>
                  <a:lnTo>
                    <a:pt x="50" y="12"/>
                  </a:lnTo>
                  <a:lnTo>
                    <a:pt x="48" y="11"/>
                  </a:lnTo>
                  <a:lnTo>
                    <a:pt x="43" y="7"/>
                  </a:lnTo>
                  <a:lnTo>
                    <a:pt x="41" y="1"/>
                  </a:lnTo>
                  <a:lnTo>
                    <a:pt x="23" y="0"/>
                  </a:lnTo>
                  <a:lnTo>
                    <a:pt x="1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3" name="Freeform 330"/>
            <p:cNvSpPr>
              <a:spLocks/>
            </p:cNvSpPr>
            <p:nvPr/>
          </p:nvSpPr>
          <p:spPr bwMode="auto">
            <a:xfrm>
              <a:off x="2622" y="1616"/>
              <a:ext cx="134" cy="147"/>
            </a:xfrm>
            <a:custGeom>
              <a:avLst/>
              <a:gdLst/>
              <a:ahLst/>
              <a:cxnLst>
                <a:cxn ang="0">
                  <a:pos x="29" y="24"/>
                </a:cxn>
                <a:cxn ang="0">
                  <a:pos x="31" y="25"/>
                </a:cxn>
                <a:cxn ang="0">
                  <a:pos x="31" y="21"/>
                </a:cxn>
                <a:cxn ang="0">
                  <a:pos x="36" y="19"/>
                </a:cxn>
                <a:cxn ang="0">
                  <a:pos x="45" y="23"/>
                </a:cxn>
                <a:cxn ang="0">
                  <a:pos x="41" y="18"/>
                </a:cxn>
                <a:cxn ang="0">
                  <a:pos x="36" y="11"/>
                </a:cxn>
                <a:cxn ang="0">
                  <a:pos x="35" y="9"/>
                </a:cxn>
                <a:cxn ang="0">
                  <a:pos x="32" y="0"/>
                </a:cxn>
                <a:cxn ang="0">
                  <a:pos x="43" y="2"/>
                </a:cxn>
                <a:cxn ang="0">
                  <a:pos x="47" y="2"/>
                </a:cxn>
                <a:cxn ang="0">
                  <a:pos x="48" y="7"/>
                </a:cxn>
                <a:cxn ang="0">
                  <a:pos x="62" y="9"/>
                </a:cxn>
                <a:cxn ang="0">
                  <a:pos x="62" y="14"/>
                </a:cxn>
                <a:cxn ang="0">
                  <a:pos x="67" y="17"/>
                </a:cxn>
                <a:cxn ang="0">
                  <a:pos x="85" y="8"/>
                </a:cxn>
                <a:cxn ang="0">
                  <a:pos x="85" y="9"/>
                </a:cxn>
                <a:cxn ang="0">
                  <a:pos x="101" y="15"/>
                </a:cxn>
                <a:cxn ang="0">
                  <a:pos x="107" y="14"/>
                </a:cxn>
                <a:cxn ang="0">
                  <a:pos x="113" y="20"/>
                </a:cxn>
                <a:cxn ang="0">
                  <a:pos x="108" y="21"/>
                </a:cxn>
                <a:cxn ang="0">
                  <a:pos x="110" y="37"/>
                </a:cxn>
                <a:cxn ang="0">
                  <a:pos x="117" y="56"/>
                </a:cxn>
                <a:cxn ang="0">
                  <a:pos x="120" y="69"/>
                </a:cxn>
                <a:cxn ang="0">
                  <a:pos x="116" y="68"/>
                </a:cxn>
                <a:cxn ang="0">
                  <a:pos x="85" y="81"/>
                </a:cxn>
                <a:cxn ang="0">
                  <a:pos x="89" y="87"/>
                </a:cxn>
                <a:cxn ang="0">
                  <a:pos x="109" y="107"/>
                </a:cxn>
                <a:cxn ang="0">
                  <a:pos x="98" y="116"/>
                </a:cxn>
                <a:cxn ang="0">
                  <a:pos x="101" y="125"/>
                </a:cxn>
                <a:cxn ang="0">
                  <a:pos x="96" y="127"/>
                </a:cxn>
                <a:cxn ang="0">
                  <a:pos x="79" y="127"/>
                </a:cxn>
                <a:cxn ang="0">
                  <a:pos x="67" y="127"/>
                </a:cxn>
                <a:cxn ang="0">
                  <a:pos x="63" y="131"/>
                </a:cxn>
                <a:cxn ang="0">
                  <a:pos x="51" y="128"/>
                </a:cxn>
                <a:cxn ang="0">
                  <a:pos x="37" y="126"/>
                </a:cxn>
                <a:cxn ang="0">
                  <a:pos x="24" y="127"/>
                </a:cxn>
                <a:cxn ang="0">
                  <a:pos x="30" y="102"/>
                </a:cxn>
                <a:cxn ang="0">
                  <a:pos x="7" y="95"/>
                </a:cxn>
                <a:cxn ang="0">
                  <a:pos x="5" y="93"/>
                </a:cxn>
                <a:cxn ang="0">
                  <a:pos x="5" y="92"/>
                </a:cxn>
                <a:cxn ang="0">
                  <a:pos x="1" y="83"/>
                </a:cxn>
                <a:cxn ang="0">
                  <a:pos x="2" y="73"/>
                </a:cxn>
                <a:cxn ang="0">
                  <a:pos x="0" y="72"/>
                </a:cxn>
                <a:cxn ang="0">
                  <a:pos x="1" y="53"/>
                </a:cxn>
                <a:cxn ang="0">
                  <a:pos x="13" y="47"/>
                </a:cxn>
                <a:cxn ang="0">
                  <a:pos x="8" y="39"/>
                </a:cxn>
                <a:cxn ang="0">
                  <a:pos x="14" y="29"/>
                </a:cxn>
                <a:cxn ang="0">
                  <a:pos x="12" y="27"/>
                </a:cxn>
                <a:cxn ang="0">
                  <a:pos x="14" y="21"/>
                </a:cxn>
                <a:cxn ang="0">
                  <a:pos x="29" y="24"/>
                </a:cxn>
              </a:cxnLst>
              <a:rect l="0" t="0" r="r" b="b"/>
              <a:pathLst>
                <a:path w="120" h="131">
                  <a:moveTo>
                    <a:pt x="29" y="24"/>
                  </a:moveTo>
                  <a:lnTo>
                    <a:pt x="31" y="25"/>
                  </a:lnTo>
                  <a:lnTo>
                    <a:pt x="31" y="21"/>
                  </a:lnTo>
                  <a:lnTo>
                    <a:pt x="36" y="19"/>
                  </a:lnTo>
                  <a:lnTo>
                    <a:pt x="45" y="23"/>
                  </a:lnTo>
                  <a:lnTo>
                    <a:pt x="41" y="18"/>
                  </a:lnTo>
                  <a:lnTo>
                    <a:pt x="36" y="11"/>
                  </a:lnTo>
                  <a:lnTo>
                    <a:pt x="35" y="9"/>
                  </a:lnTo>
                  <a:lnTo>
                    <a:pt x="32" y="0"/>
                  </a:lnTo>
                  <a:lnTo>
                    <a:pt x="43" y="2"/>
                  </a:lnTo>
                  <a:lnTo>
                    <a:pt x="47" y="2"/>
                  </a:lnTo>
                  <a:lnTo>
                    <a:pt x="48" y="7"/>
                  </a:lnTo>
                  <a:lnTo>
                    <a:pt x="62" y="9"/>
                  </a:lnTo>
                  <a:lnTo>
                    <a:pt x="62" y="14"/>
                  </a:lnTo>
                  <a:lnTo>
                    <a:pt x="67" y="17"/>
                  </a:lnTo>
                  <a:lnTo>
                    <a:pt x="85" y="8"/>
                  </a:lnTo>
                  <a:lnTo>
                    <a:pt x="85" y="9"/>
                  </a:lnTo>
                  <a:lnTo>
                    <a:pt x="101" y="15"/>
                  </a:lnTo>
                  <a:lnTo>
                    <a:pt x="107" y="14"/>
                  </a:lnTo>
                  <a:lnTo>
                    <a:pt x="113" y="20"/>
                  </a:lnTo>
                  <a:lnTo>
                    <a:pt x="108" y="21"/>
                  </a:lnTo>
                  <a:lnTo>
                    <a:pt x="110" y="37"/>
                  </a:lnTo>
                  <a:lnTo>
                    <a:pt x="117" y="56"/>
                  </a:lnTo>
                  <a:lnTo>
                    <a:pt x="120" y="69"/>
                  </a:lnTo>
                  <a:lnTo>
                    <a:pt x="116" y="68"/>
                  </a:lnTo>
                  <a:lnTo>
                    <a:pt x="85" y="81"/>
                  </a:lnTo>
                  <a:lnTo>
                    <a:pt x="89" y="87"/>
                  </a:lnTo>
                  <a:lnTo>
                    <a:pt x="109" y="107"/>
                  </a:lnTo>
                  <a:lnTo>
                    <a:pt x="98" y="116"/>
                  </a:lnTo>
                  <a:lnTo>
                    <a:pt x="101" y="125"/>
                  </a:lnTo>
                  <a:lnTo>
                    <a:pt x="96" y="127"/>
                  </a:lnTo>
                  <a:lnTo>
                    <a:pt x="79" y="127"/>
                  </a:lnTo>
                  <a:lnTo>
                    <a:pt x="67" y="127"/>
                  </a:lnTo>
                  <a:lnTo>
                    <a:pt x="63" y="131"/>
                  </a:lnTo>
                  <a:lnTo>
                    <a:pt x="51" y="128"/>
                  </a:lnTo>
                  <a:lnTo>
                    <a:pt x="37" y="126"/>
                  </a:lnTo>
                  <a:lnTo>
                    <a:pt x="24" y="127"/>
                  </a:lnTo>
                  <a:lnTo>
                    <a:pt x="30" y="102"/>
                  </a:lnTo>
                  <a:lnTo>
                    <a:pt x="7" y="95"/>
                  </a:lnTo>
                  <a:lnTo>
                    <a:pt x="5" y="93"/>
                  </a:lnTo>
                  <a:lnTo>
                    <a:pt x="5" y="92"/>
                  </a:lnTo>
                  <a:lnTo>
                    <a:pt x="1" y="83"/>
                  </a:lnTo>
                  <a:lnTo>
                    <a:pt x="2" y="73"/>
                  </a:lnTo>
                  <a:lnTo>
                    <a:pt x="0" y="72"/>
                  </a:lnTo>
                  <a:lnTo>
                    <a:pt x="1" y="53"/>
                  </a:lnTo>
                  <a:lnTo>
                    <a:pt x="13" y="47"/>
                  </a:lnTo>
                  <a:lnTo>
                    <a:pt x="8" y="39"/>
                  </a:lnTo>
                  <a:lnTo>
                    <a:pt x="14" y="29"/>
                  </a:lnTo>
                  <a:lnTo>
                    <a:pt x="12" y="27"/>
                  </a:lnTo>
                  <a:lnTo>
                    <a:pt x="14" y="21"/>
                  </a:lnTo>
                  <a:lnTo>
                    <a:pt x="29"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4" name="Freeform 331"/>
            <p:cNvSpPr>
              <a:spLocks/>
            </p:cNvSpPr>
            <p:nvPr/>
          </p:nvSpPr>
          <p:spPr bwMode="auto">
            <a:xfrm>
              <a:off x="2727" y="1623"/>
              <a:ext cx="9" cy="7"/>
            </a:xfrm>
            <a:custGeom>
              <a:avLst/>
              <a:gdLst/>
              <a:ahLst/>
              <a:cxnLst>
                <a:cxn ang="0">
                  <a:pos x="0" y="5"/>
                </a:cxn>
                <a:cxn ang="0">
                  <a:pos x="9" y="5"/>
                </a:cxn>
                <a:cxn ang="0">
                  <a:pos x="4" y="0"/>
                </a:cxn>
                <a:cxn ang="0">
                  <a:pos x="0" y="5"/>
                </a:cxn>
              </a:cxnLst>
              <a:rect l="0" t="0" r="r" b="b"/>
              <a:pathLst>
                <a:path w="9" h="5">
                  <a:moveTo>
                    <a:pt x="0" y="5"/>
                  </a:moveTo>
                  <a:lnTo>
                    <a:pt x="9" y="5"/>
                  </a:lnTo>
                  <a:lnTo>
                    <a:pt x="4" y="0"/>
                  </a:lnTo>
                  <a:lnTo>
                    <a:pt x="0"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5" name="Freeform 332"/>
            <p:cNvSpPr>
              <a:spLocks/>
            </p:cNvSpPr>
            <p:nvPr/>
          </p:nvSpPr>
          <p:spPr bwMode="auto">
            <a:xfrm>
              <a:off x="2620" y="1710"/>
              <a:ext cx="9" cy="11"/>
            </a:xfrm>
            <a:custGeom>
              <a:avLst/>
              <a:gdLst/>
              <a:ahLst/>
              <a:cxnLst>
                <a:cxn ang="0">
                  <a:pos x="4" y="0"/>
                </a:cxn>
                <a:cxn ang="0">
                  <a:pos x="0" y="7"/>
                </a:cxn>
                <a:cxn ang="0">
                  <a:pos x="0" y="9"/>
                </a:cxn>
                <a:cxn ang="0">
                  <a:pos x="8" y="10"/>
                </a:cxn>
                <a:cxn ang="0">
                  <a:pos x="8" y="9"/>
                </a:cxn>
                <a:cxn ang="0">
                  <a:pos x="4" y="0"/>
                </a:cxn>
              </a:cxnLst>
              <a:rect l="0" t="0" r="r" b="b"/>
              <a:pathLst>
                <a:path w="8" h="10">
                  <a:moveTo>
                    <a:pt x="4" y="0"/>
                  </a:moveTo>
                  <a:lnTo>
                    <a:pt x="0" y="7"/>
                  </a:lnTo>
                  <a:lnTo>
                    <a:pt x="0" y="9"/>
                  </a:lnTo>
                  <a:lnTo>
                    <a:pt x="8" y="10"/>
                  </a:lnTo>
                  <a:lnTo>
                    <a:pt x="8" y="9"/>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6" name="Freeform 333"/>
            <p:cNvSpPr>
              <a:spLocks/>
            </p:cNvSpPr>
            <p:nvPr/>
          </p:nvSpPr>
          <p:spPr bwMode="auto">
            <a:xfrm>
              <a:off x="2942" y="1734"/>
              <a:ext cx="69" cy="69"/>
            </a:xfrm>
            <a:custGeom>
              <a:avLst/>
              <a:gdLst/>
              <a:ahLst/>
              <a:cxnLst>
                <a:cxn ang="0">
                  <a:pos x="12" y="0"/>
                </a:cxn>
                <a:cxn ang="0">
                  <a:pos x="0" y="10"/>
                </a:cxn>
                <a:cxn ang="0">
                  <a:pos x="1" y="10"/>
                </a:cxn>
                <a:cxn ang="0">
                  <a:pos x="11" y="21"/>
                </a:cxn>
                <a:cxn ang="0">
                  <a:pos x="21" y="30"/>
                </a:cxn>
                <a:cxn ang="0">
                  <a:pos x="26" y="46"/>
                </a:cxn>
                <a:cxn ang="0">
                  <a:pos x="30" y="60"/>
                </a:cxn>
                <a:cxn ang="0">
                  <a:pos x="42" y="60"/>
                </a:cxn>
                <a:cxn ang="0">
                  <a:pos x="50" y="63"/>
                </a:cxn>
                <a:cxn ang="0">
                  <a:pos x="49" y="54"/>
                </a:cxn>
                <a:cxn ang="0">
                  <a:pos x="61" y="44"/>
                </a:cxn>
                <a:cxn ang="0">
                  <a:pos x="50" y="33"/>
                </a:cxn>
                <a:cxn ang="0">
                  <a:pos x="38" y="23"/>
                </a:cxn>
                <a:cxn ang="0">
                  <a:pos x="27" y="12"/>
                </a:cxn>
                <a:cxn ang="0">
                  <a:pos x="17" y="2"/>
                </a:cxn>
                <a:cxn ang="0">
                  <a:pos x="12" y="0"/>
                </a:cxn>
              </a:cxnLst>
              <a:rect l="0" t="0" r="r" b="b"/>
              <a:pathLst>
                <a:path w="61" h="63">
                  <a:moveTo>
                    <a:pt x="12" y="0"/>
                  </a:moveTo>
                  <a:lnTo>
                    <a:pt x="0" y="10"/>
                  </a:lnTo>
                  <a:lnTo>
                    <a:pt x="1" y="10"/>
                  </a:lnTo>
                  <a:lnTo>
                    <a:pt x="11" y="21"/>
                  </a:lnTo>
                  <a:lnTo>
                    <a:pt x="21" y="30"/>
                  </a:lnTo>
                  <a:lnTo>
                    <a:pt x="26" y="46"/>
                  </a:lnTo>
                  <a:lnTo>
                    <a:pt x="30" y="60"/>
                  </a:lnTo>
                  <a:lnTo>
                    <a:pt x="42" y="60"/>
                  </a:lnTo>
                  <a:lnTo>
                    <a:pt x="50" y="63"/>
                  </a:lnTo>
                  <a:lnTo>
                    <a:pt x="49" y="54"/>
                  </a:lnTo>
                  <a:lnTo>
                    <a:pt x="61" y="44"/>
                  </a:lnTo>
                  <a:lnTo>
                    <a:pt x="50" y="33"/>
                  </a:lnTo>
                  <a:lnTo>
                    <a:pt x="38" y="23"/>
                  </a:lnTo>
                  <a:lnTo>
                    <a:pt x="27" y="12"/>
                  </a:lnTo>
                  <a:lnTo>
                    <a:pt x="17" y="2"/>
                  </a:lnTo>
                  <a:lnTo>
                    <a:pt x="1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7" name="Freeform 334"/>
            <p:cNvSpPr>
              <a:spLocks/>
            </p:cNvSpPr>
            <p:nvPr/>
          </p:nvSpPr>
          <p:spPr bwMode="auto">
            <a:xfrm>
              <a:off x="2602" y="1330"/>
              <a:ext cx="320" cy="229"/>
            </a:xfrm>
            <a:custGeom>
              <a:avLst/>
              <a:gdLst/>
              <a:ahLst/>
              <a:cxnLst>
                <a:cxn ang="0">
                  <a:pos x="166" y="17"/>
                </a:cxn>
                <a:cxn ang="0">
                  <a:pos x="159" y="18"/>
                </a:cxn>
                <a:cxn ang="0">
                  <a:pos x="150" y="24"/>
                </a:cxn>
                <a:cxn ang="0">
                  <a:pos x="141" y="29"/>
                </a:cxn>
                <a:cxn ang="0">
                  <a:pos x="127" y="38"/>
                </a:cxn>
                <a:cxn ang="0">
                  <a:pos x="129" y="42"/>
                </a:cxn>
                <a:cxn ang="0">
                  <a:pos x="126" y="48"/>
                </a:cxn>
                <a:cxn ang="0">
                  <a:pos x="110" y="51"/>
                </a:cxn>
                <a:cxn ang="0">
                  <a:pos x="120" y="55"/>
                </a:cxn>
                <a:cxn ang="0">
                  <a:pos x="110" y="57"/>
                </a:cxn>
                <a:cxn ang="0">
                  <a:pos x="99" y="65"/>
                </a:cxn>
                <a:cxn ang="0">
                  <a:pos x="91" y="72"/>
                </a:cxn>
                <a:cxn ang="0">
                  <a:pos x="90" y="77"/>
                </a:cxn>
                <a:cxn ang="0">
                  <a:pos x="87" y="89"/>
                </a:cxn>
                <a:cxn ang="0">
                  <a:pos x="75" y="96"/>
                </a:cxn>
                <a:cxn ang="0">
                  <a:pos x="72" y="101"/>
                </a:cxn>
                <a:cxn ang="0">
                  <a:pos x="56" y="113"/>
                </a:cxn>
                <a:cxn ang="0">
                  <a:pos x="73" y="109"/>
                </a:cxn>
                <a:cxn ang="0">
                  <a:pos x="58" y="117"/>
                </a:cxn>
                <a:cxn ang="0">
                  <a:pos x="42" y="121"/>
                </a:cxn>
                <a:cxn ang="0">
                  <a:pos x="37" y="126"/>
                </a:cxn>
                <a:cxn ang="0">
                  <a:pos x="22" y="129"/>
                </a:cxn>
                <a:cxn ang="0">
                  <a:pos x="27" y="131"/>
                </a:cxn>
                <a:cxn ang="0">
                  <a:pos x="24" y="138"/>
                </a:cxn>
                <a:cxn ang="0">
                  <a:pos x="9" y="138"/>
                </a:cxn>
                <a:cxn ang="0">
                  <a:pos x="1" y="139"/>
                </a:cxn>
                <a:cxn ang="0">
                  <a:pos x="0" y="145"/>
                </a:cxn>
                <a:cxn ang="0">
                  <a:pos x="3" y="151"/>
                </a:cxn>
                <a:cxn ang="0">
                  <a:pos x="27" y="152"/>
                </a:cxn>
                <a:cxn ang="0">
                  <a:pos x="26" y="158"/>
                </a:cxn>
                <a:cxn ang="0">
                  <a:pos x="2" y="161"/>
                </a:cxn>
                <a:cxn ang="0">
                  <a:pos x="8" y="163"/>
                </a:cxn>
                <a:cxn ang="0">
                  <a:pos x="8" y="169"/>
                </a:cxn>
                <a:cxn ang="0">
                  <a:pos x="22" y="165"/>
                </a:cxn>
                <a:cxn ang="0">
                  <a:pos x="12" y="176"/>
                </a:cxn>
                <a:cxn ang="0">
                  <a:pos x="6" y="185"/>
                </a:cxn>
                <a:cxn ang="0">
                  <a:pos x="16" y="185"/>
                </a:cxn>
                <a:cxn ang="0">
                  <a:pos x="10" y="198"/>
                </a:cxn>
                <a:cxn ang="0">
                  <a:pos x="60" y="188"/>
                </a:cxn>
                <a:cxn ang="0">
                  <a:pos x="73" y="176"/>
                </a:cxn>
                <a:cxn ang="0">
                  <a:pos x="90" y="175"/>
                </a:cxn>
                <a:cxn ang="0">
                  <a:pos x="97" y="151"/>
                </a:cxn>
                <a:cxn ang="0">
                  <a:pos x="86" y="114"/>
                </a:cxn>
                <a:cxn ang="0">
                  <a:pos x="102" y="99"/>
                </a:cxn>
                <a:cxn ang="0">
                  <a:pos x="120" y="73"/>
                </a:cxn>
                <a:cxn ang="0">
                  <a:pos x="147" y="43"/>
                </a:cxn>
                <a:cxn ang="0">
                  <a:pos x="168" y="30"/>
                </a:cxn>
                <a:cxn ang="0">
                  <a:pos x="194" y="33"/>
                </a:cxn>
                <a:cxn ang="0">
                  <a:pos x="230" y="32"/>
                </a:cxn>
                <a:cxn ang="0">
                  <a:pos x="270" y="20"/>
                </a:cxn>
                <a:cxn ang="0">
                  <a:pos x="289" y="23"/>
                </a:cxn>
                <a:cxn ang="0">
                  <a:pos x="276" y="19"/>
                </a:cxn>
                <a:cxn ang="0">
                  <a:pos x="278" y="6"/>
                </a:cxn>
                <a:cxn ang="0">
                  <a:pos x="256" y="13"/>
                </a:cxn>
                <a:cxn ang="0">
                  <a:pos x="253" y="5"/>
                </a:cxn>
                <a:cxn ang="0">
                  <a:pos x="237" y="11"/>
                </a:cxn>
                <a:cxn ang="0">
                  <a:pos x="225" y="5"/>
                </a:cxn>
                <a:cxn ang="0">
                  <a:pos x="213" y="6"/>
                </a:cxn>
                <a:cxn ang="0">
                  <a:pos x="193" y="12"/>
                </a:cxn>
                <a:cxn ang="0">
                  <a:pos x="186" y="18"/>
                </a:cxn>
              </a:cxnLst>
              <a:rect l="0" t="0" r="r" b="b"/>
              <a:pathLst>
                <a:path w="289" h="205">
                  <a:moveTo>
                    <a:pt x="171" y="21"/>
                  </a:moveTo>
                  <a:lnTo>
                    <a:pt x="166" y="26"/>
                  </a:lnTo>
                  <a:lnTo>
                    <a:pt x="166" y="17"/>
                  </a:lnTo>
                  <a:lnTo>
                    <a:pt x="165" y="21"/>
                  </a:lnTo>
                  <a:lnTo>
                    <a:pt x="162" y="23"/>
                  </a:lnTo>
                  <a:lnTo>
                    <a:pt x="159" y="18"/>
                  </a:lnTo>
                  <a:lnTo>
                    <a:pt x="157" y="21"/>
                  </a:lnTo>
                  <a:lnTo>
                    <a:pt x="158" y="25"/>
                  </a:lnTo>
                  <a:lnTo>
                    <a:pt x="150" y="24"/>
                  </a:lnTo>
                  <a:lnTo>
                    <a:pt x="151" y="26"/>
                  </a:lnTo>
                  <a:lnTo>
                    <a:pt x="145" y="25"/>
                  </a:lnTo>
                  <a:lnTo>
                    <a:pt x="141" y="29"/>
                  </a:lnTo>
                  <a:lnTo>
                    <a:pt x="142" y="35"/>
                  </a:lnTo>
                  <a:lnTo>
                    <a:pt x="140" y="36"/>
                  </a:lnTo>
                  <a:lnTo>
                    <a:pt x="127" y="38"/>
                  </a:lnTo>
                  <a:lnTo>
                    <a:pt x="140" y="39"/>
                  </a:lnTo>
                  <a:lnTo>
                    <a:pt x="138" y="43"/>
                  </a:lnTo>
                  <a:lnTo>
                    <a:pt x="129" y="42"/>
                  </a:lnTo>
                  <a:lnTo>
                    <a:pt x="128" y="43"/>
                  </a:lnTo>
                  <a:lnTo>
                    <a:pt x="126" y="47"/>
                  </a:lnTo>
                  <a:lnTo>
                    <a:pt x="126" y="48"/>
                  </a:lnTo>
                  <a:lnTo>
                    <a:pt x="122" y="44"/>
                  </a:lnTo>
                  <a:lnTo>
                    <a:pt x="118" y="45"/>
                  </a:lnTo>
                  <a:lnTo>
                    <a:pt x="110" y="51"/>
                  </a:lnTo>
                  <a:lnTo>
                    <a:pt x="121" y="50"/>
                  </a:lnTo>
                  <a:lnTo>
                    <a:pt x="117" y="53"/>
                  </a:lnTo>
                  <a:lnTo>
                    <a:pt x="120" y="55"/>
                  </a:lnTo>
                  <a:lnTo>
                    <a:pt x="118" y="55"/>
                  </a:lnTo>
                  <a:lnTo>
                    <a:pt x="111" y="55"/>
                  </a:lnTo>
                  <a:lnTo>
                    <a:pt x="110" y="57"/>
                  </a:lnTo>
                  <a:lnTo>
                    <a:pt x="118" y="61"/>
                  </a:lnTo>
                  <a:lnTo>
                    <a:pt x="109" y="61"/>
                  </a:lnTo>
                  <a:lnTo>
                    <a:pt x="99" y="65"/>
                  </a:lnTo>
                  <a:lnTo>
                    <a:pt x="93" y="68"/>
                  </a:lnTo>
                  <a:lnTo>
                    <a:pt x="94" y="68"/>
                  </a:lnTo>
                  <a:lnTo>
                    <a:pt x="91" y="72"/>
                  </a:lnTo>
                  <a:lnTo>
                    <a:pt x="93" y="73"/>
                  </a:lnTo>
                  <a:lnTo>
                    <a:pt x="100" y="73"/>
                  </a:lnTo>
                  <a:lnTo>
                    <a:pt x="90" y="77"/>
                  </a:lnTo>
                  <a:lnTo>
                    <a:pt x="87" y="81"/>
                  </a:lnTo>
                  <a:lnTo>
                    <a:pt x="87" y="85"/>
                  </a:lnTo>
                  <a:lnTo>
                    <a:pt x="87" y="89"/>
                  </a:lnTo>
                  <a:lnTo>
                    <a:pt x="90" y="90"/>
                  </a:lnTo>
                  <a:lnTo>
                    <a:pt x="75" y="95"/>
                  </a:lnTo>
                  <a:lnTo>
                    <a:pt x="75" y="96"/>
                  </a:lnTo>
                  <a:lnTo>
                    <a:pt x="81" y="93"/>
                  </a:lnTo>
                  <a:lnTo>
                    <a:pt x="78" y="98"/>
                  </a:lnTo>
                  <a:lnTo>
                    <a:pt x="72" y="101"/>
                  </a:lnTo>
                  <a:lnTo>
                    <a:pt x="67" y="102"/>
                  </a:lnTo>
                  <a:lnTo>
                    <a:pt x="60" y="109"/>
                  </a:lnTo>
                  <a:lnTo>
                    <a:pt x="56" y="113"/>
                  </a:lnTo>
                  <a:lnTo>
                    <a:pt x="61" y="116"/>
                  </a:lnTo>
                  <a:lnTo>
                    <a:pt x="68" y="111"/>
                  </a:lnTo>
                  <a:lnTo>
                    <a:pt x="73" y="109"/>
                  </a:lnTo>
                  <a:lnTo>
                    <a:pt x="73" y="114"/>
                  </a:lnTo>
                  <a:lnTo>
                    <a:pt x="63" y="117"/>
                  </a:lnTo>
                  <a:lnTo>
                    <a:pt x="58" y="117"/>
                  </a:lnTo>
                  <a:lnTo>
                    <a:pt x="49" y="116"/>
                  </a:lnTo>
                  <a:lnTo>
                    <a:pt x="48" y="117"/>
                  </a:lnTo>
                  <a:lnTo>
                    <a:pt x="42" y="121"/>
                  </a:lnTo>
                  <a:lnTo>
                    <a:pt x="38" y="125"/>
                  </a:lnTo>
                  <a:lnTo>
                    <a:pt x="39" y="127"/>
                  </a:lnTo>
                  <a:lnTo>
                    <a:pt x="37" y="126"/>
                  </a:lnTo>
                  <a:lnTo>
                    <a:pt x="40" y="129"/>
                  </a:lnTo>
                  <a:lnTo>
                    <a:pt x="24" y="125"/>
                  </a:lnTo>
                  <a:lnTo>
                    <a:pt x="22" y="129"/>
                  </a:lnTo>
                  <a:lnTo>
                    <a:pt x="27" y="129"/>
                  </a:lnTo>
                  <a:lnTo>
                    <a:pt x="32" y="129"/>
                  </a:lnTo>
                  <a:lnTo>
                    <a:pt x="27" y="131"/>
                  </a:lnTo>
                  <a:lnTo>
                    <a:pt x="16" y="133"/>
                  </a:lnTo>
                  <a:lnTo>
                    <a:pt x="25" y="137"/>
                  </a:lnTo>
                  <a:lnTo>
                    <a:pt x="24" y="138"/>
                  </a:lnTo>
                  <a:lnTo>
                    <a:pt x="15" y="134"/>
                  </a:lnTo>
                  <a:lnTo>
                    <a:pt x="16" y="137"/>
                  </a:lnTo>
                  <a:lnTo>
                    <a:pt x="9" y="138"/>
                  </a:lnTo>
                  <a:lnTo>
                    <a:pt x="12" y="139"/>
                  </a:lnTo>
                  <a:lnTo>
                    <a:pt x="4" y="140"/>
                  </a:lnTo>
                  <a:lnTo>
                    <a:pt x="1" y="139"/>
                  </a:lnTo>
                  <a:lnTo>
                    <a:pt x="1" y="143"/>
                  </a:lnTo>
                  <a:lnTo>
                    <a:pt x="18" y="144"/>
                  </a:lnTo>
                  <a:lnTo>
                    <a:pt x="0" y="145"/>
                  </a:lnTo>
                  <a:lnTo>
                    <a:pt x="6" y="150"/>
                  </a:lnTo>
                  <a:lnTo>
                    <a:pt x="2" y="151"/>
                  </a:lnTo>
                  <a:lnTo>
                    <a:pt x="3" y="151"/>
                  </a:lnTo>
                  <a:lnTo>
                    <a:pt x="1" y="155"/>
                  </a:lnTo>
                  <a:lnTo>
                    <a:pt x="19" y="152"/>
                  </a:lnTo>
                  <a:lnTo>
                    <a:pt x="27" y="152"/>
                  </a:lnTo>
                  <a:lnTo>
                    <a:pt x="28" y="151"/>
                  </a:lnTo>
                  <a:lnTo>
                    <a:pt x="30" y="156"/>
                  </a:lnTo>
                  <a:lnTo>
                    <a:pt x="26" y="158"/>
                  </a:lnTo>
                  <a:lnTo>
                    <a:pt x="16" y="156"/>
                  </a:lnTo>
                  <a:lnTo>
                    <a:pt x="0" y="158"/>
                  </a:lnTo>
                  <a:lnTo>
                    <a:pt x="2" y="161"/>
                  </a:lnTo>
                  <a:lnTo>
                    <a:pt x="3" y="162"/>
                  </a:lnTo>
                  <a:lnTo>
                    <a:pt x="0" y="162"/>
                  </a:lnTo>
                  <a:lnTo>
                    <a:pt x="8" y="163"/>
                  </a:lnTo>
                  <a:lnTo>
                    <a:pt x="6" y="167"/>
                  </a:lnTo>
                  <a:lnTo>
                    <a:pt x="2" y="170"/>
                  </a:lnTo>
                  <a:lnTo>
                    <a:pt x="8" y="169"/>
                  </a:lnTo>
                  <a:lnTo>
                    <a:pt x="10" y="173"/>
                  </a:lnTo>
                  <a:lnTo>
                    <a:pt x="16" y="167"/>
                  </a:lnTo>
                  <a:lnTo>
                    <a:pt x="22" y="165"/>
                  </a:lnTo>
                  <a:lnTo>
                    <a:pt x="19" y="171"/>
                  </a:lnTo>
                  <a:lnTo>
                    <a:pt x="18" y="167"/>
                  </a:lnTo>
                  <a:lnTo>
                    <a:pt x="12" y="176"/>
                  </a:lnTo>
                  <a:lnTo>
                    <a:pt x="13" y="177"/>
                  </a:lnTo>
                  <a:lnTo>
                    <a:pt x="6" y="180"/>
                  </a:lnTo>
                  <a:lnTo>
                    <a:pt x="6" y="185"/>
                  </a:lnTo>
                  <a:lnTo>
                    <a:pt x="12" y="182"/>
                  </a:lnTo>
                  <a:lnTo>
                    <a:pt x="15" y="181"/>
                  </a:lnTo>
                  <a:lnTo>
                    <a:pt x="16" y="185"/>
                  </a:lnTo>
                  <a:lnTo>
                    <a:pt x="15" y="189"/>
                  </a:lnTo>
                  <a:lnTo>
                    <a:pt x="9" y="191"/>
                  </a:lnTo>
                  <a:lnTo>
                    <a:pt x="10" y="198"/>
                  </a:lnTo>
                  <a:lnTo>
                    <a:pt x="21" y="204"/>
                  </a:lnTo>
                  <a:lnTo>
                    <a:pt x="39" y="205"/>
                  </a:lnTo>
                  <a:lnTo>
                    <a:pt x="60" y="188"/>
                  </a:lnTo>
                  <a:lnTo>
                    <a:pt x="68" y="188"/>
                  </a:lnTo>
                  <a:lnTo>
                    <a:pt x="68" y="179"/>
                  </a:lnTo>
                  <a:lnTo>
                    <a:pt x="73" y="176"/>
                  </a:lnTo>
                  <a:lnTo>
                    <a:pt x="76" y="187"/>
                  </a:lnTo>
                  <a:lnTo>
                    <a:pt x="82" y="191"/>
                  </a:lnTo>
                  <a:lnTo>
                    <a:pt x="90" y="175"/>
                  </a:lnTo>
                  <a:lnTo>
                    <a:pt x="92" y="161"/>
                  </a:lnTo>
                  <a:lnTo>
                    <a:pt x="92" y="156"/>
                  </a:lnTo>
                  <a:lnTo>
                    <a:pt x="97" y="151"/>
                  </a:lnTo>
                  <a:lnTo>
                    <a:pt x="87" y="145"/>
                  </a:lnTo>
                  <a:lnTo>
                    <a:pt x="87" y="129"/>
                  </a:lnTo>
                  <a:lnTo>
                    <a:pt x="86" y="114"/>
                  </a:lnTo>
                  <a:lnTo>
                    <a:pt x="97" y="107"/>
                  </a:lnTo>
                  <a:lnTo>
                    <a:pt x="108" y="105"/>
                  </a:lnTo>
                  <a:lnTo>
                    <a:pt x="102" y="99"/>
                  </a:lnTo>
                  <a:lnTo>
                    <a:pt x="111" y="79"/>
                  </a:lnTo>
                  <a:lnTo>
                    <a:pt x="109" y="75"/>
                  </a:lnTo>
                  <a:lnTo>
                    <a:pt x="120" y="73"/>
                  </a:lnTo>
                  <a:lnTo>
                    <a:pt x="126" y="63"/>
                  </a:lnTo>
                  <a:lnTo>
                    <a:pt x="132" y="48"/>
                  </a:lnTo>
                  <a:lnTo>
                    <a:pt x="147" y="43"/>
                  </a:lnTo>
                  <a:lnTo>
                    <a:pt x="148" y="38"/>
                  </a:lnTo>
                  <a:lnTo>
                    <a:pt x="169" y="38"/>
                  </a:lnTo>
                  <a:lnTo>
                    <a:pt x="168" y="30"/>
                  </a:lnTo>
                  <a:lnTo>
                    <a:pt x="174" y="30"/>
                  </a:lnTo>
                  <a:lnTo>
                    <a:pt x="181" y="25"/>
                  </a:lnTo>
                  <a:lnTo>
                    <a:pt x="194" y="33"/>
                  </a:lnTo>
                  <a:lnTo>
                    <a:pt x="207" y="36"/>
                  </a:lnTo>
                  <a:lnTo>
                    <a:pt x="223" y="36"/>
                  </a:lnTo>
                  <a:lnTo>
                    <a:pt x="230" y="32"/>
                  </a:lnTo>
                  <a:lnTo>
                    <a:pt x="234" y="21"/>
                  </a:lnTo>
                  <a:lnTo>
                    <a:pt x="250" y="14"/>
                  </a:lnTo>
                  <a:lnTo>
                    <a:pt x="270" y="20"/>
                  </a:lnTo>
                  <a:lnTo>
                    <a:pt x="270" y="30"/>
                  </a:lnTo>
                  <a:lnTo>
                    <a:pt x="282" y="23"/>
                  </a:lnTo>
                  <a:lnTo>
                    <a:pt x="289" y="23"/>
                  </a:lnTo>
                  <a:lnTo>
                    <a:pt x="289" y="18"/>
                  </a:lnTo>
                  <a:lnTo>
                    <a:pt x="282" y="18"/>
                  </a:lnTo>
                  <a:lnTo>
                    <a:pt x="276" y="19"/>
                  </a:lnTo>
                  <a:lnTo>
                    <a:pt x="266" y="13"/>
                  </a:lnTo>
                  <a:lnTo>
                    <a:pt x="289" y="11"/>
                  </a:lnTo>
                  <a:lnTo>
                    <a:pt x="278" y="6"/>
                  </a:lnTo>
                  <a:lnTo>
                    <a:pt x="266" y="3"/>
                  </a:lnTo>
                  <a:lnTo>
                    <a:pt x="259" y="6"/>
                  </a:lnTo>
                  <a:lnTo>
                    <a:pt x="256" y="13"/>
                  </a:lnTo>
                  <a:lnTo>
                    <a:pt x="255" y="8"/>
                  </a:lnTo>
                  <a:lnTo>
                    <a:pt x="254" y="6"/>
                  </a:lnTo>
                  <a:lnTo>
                    <a:pt x="253" y="5"/>
                  </a:lnTo>
                  <a:lnTo>
                    <a:pt x="252" y="0"/>
                  </a:lnTo>
                  <a:lnTo>
                    <a:pt x="244" y="2"/>
                  </a:lnTo>
                  <a:lnTo>
                    <a:pt x="237" y="11"/>
                  </a:lnTo>
                  <a:lnTo>
                    <a:pt x="234" y="2"/>
                  </a:lnTo>
                  <a:lnTo>
                    <a:pt x="220" y="14"/>
                  </a:lnTo>
                  <a:lnTo>
                    <a:pt x="225" y="5"/>
                  </a:lnTo>
                  <a:lnTo>
                    <a:pt x="222" y="3"/>
                  </a:lnTo>
                  <a:lnTo>
                    <a:pt x="213" y="3"/>
                  </a:lnTo>
                  <a:lnTo>
                    <a:pt x="213" y="6"/>
                  </a:lnTo>
                  <a:lnTo>
                    <a:pt x="200" y="14"/>
                  </a:lnTo>
                  <a:lnTo>
                    <a:pt x="192" y="14"/>
                  </a:lnTo>
                  <a:lnTo>
                    <a:pt x="193" y="12"/>
                  </a:lnTo>
                  <a:lnTo>
                    <a:pt x="180" y="13"/>
                  </a:lnTo>
                  <a:lnTo>
                    <a:pt x="188" y="15"/>
                  </a:lnTo>
                  <a:lnTo>
                    <a:pt x="186" y="18"/>
                  </a:lnTo>
                  <a:lnTo>
                    <a:pt x="178" y="18"/>
                  </a:lnTo>
                  <a:lnTo>
                    <a:pt x="171" y="2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8" name="Freeform 335"/>
            <p:cNvSpPr>
              <a:spLocks/>
            </p:cNvSpPr>
            <p:nvPr/>
          </p:nvSpPr>
          <p:spPr bwMode="auto">
            <a:xfrm>
              <a:off x="2653" y="1194"/>
              <a:ext cx="120" cy="49"/>
            </a:xfrm>
            <a:custGeom>
              <a:avLst/>
              <a:gdLst/>
              <a:ahLst/>
              <a:cxnLst>
                <a:cxn ang="0">
                  <a:pos x="27" y="4"/>
                </a:cxn>
                <a:cxn ang="0">
                  <a:pos x="12" y="4"/>
                </a:cxn>
                <a:cxn ang="0">
                  <a:pos x="0" y="5"/>
                </a:cxn>
                <a:cxn ang="0">
                  <a:pos x="3" y="11"/>
                </a:cxn>
                <a:cxn ang="0">
                  <a:pos x="11" y="10"/>
                </a:cxn>
                <a:cxn ang="0">
                  <a:pos x="12" y="13"/>
                </a:cxn>
                <a:cxn ang="0">
                  <a:pos x="5" y="15"/>
                </a:cxn>
                <a:cxn ang="0">
                  <a:pos x="18" y="21"/>
                </a:cxn>
                <a:cxn ang="0">
                  <a:pos x="29" y="24"/>
                </a:cxn>
                <a:cxn ang="0">
                  <a:pos x="36" y="21"/>
                </a:cxn>
                <a:cxn ang="0">
                  <a:pos x="45" y="17"/>
                </a:cxn>
                <a:cxn ang="0">
                  <a:pos x="46" y="19"/>
                </a:cxn>
                <a:cxn ang="0">
                  <a:pos x="58" y="17"/>
                </a:cxn>
                <a:cxn ang="0">
                  <a:pos x="59" y="21"/>
                </a:cxn>
                <a:cxn ang="0">
                  <a:pos x="34" y="25"/>
                </a:cxn>
                <a:cxn ang="0">
                  <a:pos x="30" y="29"/>
                </a:cxn>
                <a:cxn ang="0">
                  <a:pos x="61" y="29"/>
                </a:cxn>
                <a:cxn ang="0">
                  <a:pos x="49" y="30"/>
                </a:cxn>
                <a:cxn ang="0">
                  <a:pos x="54" y="33"/>
                </a:cxn>
                <a:cxn ang="0">
                  <a:pos x="35" y="34"/>
                </a:cxn>
                <a:cxn ang="0">
                  <a:pos x="57" y="41"/>
                </a:cxn>
                <a:cxn ang="0">
                  <a:pos x="64" y="46"/>
                </a:cxn>
                <a:cxn ang="0">
                  <a:pos x="67" y="43"/>
                </a:cxn>
                <a:cxn ang="0">
                  <a:pos x="76" y="34"/>
                </a:cxn>
                <a:cxn ang="0">
                  <a:pos x="82" y="27"/>
                </a:cxn>
                <a:cxn ang="0">
                  <a:pos x="84" y="22"/>
                </a:cxn>
                <a:cxn ang="0">
                  <a:pos x="108" y="17"/>
                </a:cxn>
                <a:cxn ang="0">
                  <a:pos x="81" y="11"/>
                </a:cxn>
                <a:cxn ang="0">
                  <a:pos x="77" y="6"/>
                </a:cxn>
                <a:cxn ang="0">
                  <a:pos x="70" y="9"/>
                </a:cxn>
                <a:cxn ang="0">
                  <a:pos x="69" y="5"/>
                </a:cxn>
                <a:cxn ang="0">
                  <a:pos x="54" y="0"/>
                </a:cxn>
                <a:cxn ang="0">
                  <a:pos x="57" y="15"/>
                </a:cxn>
                <a:cxn ang="0">
                  <a:pos x="39" y="4"/>
                </a:cxn>
                <a:cxn ang="0">
                  <a:pos x="31" y="9"/>
                </a:cxn>
                <a:cxn ang="0">
                  <a:pos x="23" y="6"/>
                </a:cxn>
                <a:cxn ang="0">
                  <a:pos x="27" y="4"/>
                </a:cxn>
              </a:cxnLst>
              <a:rect l="0" t="0" r="r" b="b"/>
              <a:pathLst>
                <a:path w="108" h="46">
                  <a:moveTo>
                    <a:pt x="27" y="4"/>
                  </a:moveTo>
                  <a:lnTo>
                    <a:pt x="12" y="4"/>
                  </a:lnTo>
                  <a:lnTo>
                    <a:pt x="0" y="5"/>
                  </a:lnTo>
                  <a:lnTo>
                    <a:pt x="3" y="11"/>
                  </a:lnTo>
                  <a:lnTo>
                    <a:pt x="11" y="10"/>
                  </a:lnTo>
                  <a:lnTo>
                    <a:pt x="12" y="13"/>
                  </a:lnTo>
                  <a:lnTo>
                    <a:pt x="5" y="15"/>
                  </a:lnTo>
                  <a:lnTo>
                    <a:pt x="18" y="21"/>
                  </a:lnTo>
                  <a:lnTo>
                    <a:pt x="29" y="24"/>
                  </a:lnTo>
                  <a:lnTo>
                    <a:pt x="36" y="21"/>
                  </a:lnTo>
                  <a:lnTo>
                    <a:pt x="45" y="17"/>
                  </a:lnTo>
                  <a:lnTo>
                    <a:pt x="46" y="19"/>
                  </a:lnTo>
                  <a:lnTo>
                    <a:pt x="58" y="17"/>
                  </a:lnTo>
                  <a:lnTo>
                    <a:pt x="59" y="21"/>
                  </a:lnTo>
                  <a:lnTo>
                    <a:pt x="34" y="25"/>
                  </a:lnTo>
                  <a:lnTo>
                    <a:pt x="30" y="29"/>
                  </a:lnTo>
                  <a:lnTo>
                    <a:pt x="61" y="29"/>
                  </a:lnTo>
                  <a:lnTo>
                    <a:pt x="49" y="30"/>
                  </a:lnTo>
                  <a:lnTo>
                    <a:pt x="54" y="33"/>
                  </a:lnTo>
                  <a:lnTo>
                    <a:pt x="35" y="34"/>
                  </a:lnTo>
                  <a:lnTo>
                    <a:pt x="57" y="41"/>
                  </a:lnTo>
                  <a:lnTo>
                    <a:pt x="64" y="46"/>
                  </a:lnTo>
                  <a:lnTo>
                    <a:pt x="67" y="43"/>
                  </a:lnTo>
                  <a:lnTo>
                    <a:pt x="76" y="34"/>
                  </a:lnTo>
                  <a:lnTo>
                    <a:pt x="82" y="27"/>
                  </a:lnTo>
                  <a:lnTo>
                    <a:pt x="84" y="22"/>
                  </a:lnTo>
                  <a:lnTo>
                    <a:pt x="108" y="17"/>
                  </a:lnTo>
                  <a:lnTo>
                    <a:pt x="81" y="11"/>
                  </a:lnTo>
                  <a:lnTo>
                    <a:pt x="77" y="6"/>
                  </a:lnTo>
                  <a:lnTo>
                    <a:pt x="70" y="9"/>
                  </a:lnTo>
                  <a:lnTo>
                    <a:pt x="69" y="5"/>
                  </a:lnTo>
                  <a:lnTo>
                    <a:pt x="54" y="0"/>
                  </a:lnTo>
                  <a:lnTo>
                    <a:pt x="57" y="15"/>
                  </a:lnTo>
                  <a:lnTo>
                    <a:pt x="39" y="4"/>
                  </a:lnTo>
                  <a:lnTo>
                    <a:pt x="31" y="9"/>
                  </a:lnTo>
                  <a:lnTo>
                    <a:pt x="23" y="6"/>
                  </a:lnTo>
                  <a:lnTo>
                    <a:pt x="27"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9" name="Freeform 336"/>
            <p:cNvSpPr>
              <a:spLocks/>
            </p:cNvSpPr>
            <p:nvPr/>
          </p:nvSpPr>
          <p:spPr bwMode="auto">
            <a:xfrm>
              <a:off x="2731" y="1188"/>
              <a:ext cx="98" cy="15"/>
            </a:xfrm>
            <a:custGeom>
              <a:avLst/>
              <a:gdLst/>
              <a:ahLst/>
              <a:cxnLst>
                <a:cxn ang="0">
                  <a:pos x="40" y="5"/>
                </a:cxn>
                <a:cxn ang="0">
                  <a:pos x="14" y="2"/>
                </a:cxn>
                <a:cxn ang="0">
                  <a:pos x="10" y="3"/>
                </a:cxn>
                <a:cxn ang="0">
                  <a:pos x="0" y="5"/>
                </a:cxn>
                <a:cxn ang="0">
                  <a:pos x="0" y="6"/>
                </a:cxn>
                <a:cxn ang="0">
                  <a:pos x="36" y="9"/>
                </a:cxn>
                <a:cxn ang="0">
                  <a:pos x="19" y="11"/>
                </a:cxn>
                <a:cxn ang="0">
                  <a:pos x="47" y="15"/>
                </a:cxn>
                <a:cxn ang="0">
                  <a:pos x="77" y="14"/>
                </a:cxn>
                <a:cxn ang="0">
                  <a:pos x="89" y="6"/>
                </a:cxn>
                <a:cxn ang="0">
                  <a:pos x="82" y="4"/>
                </a:cxn>
                <a:cxn ang="0">
                  <a:pos x="53" y="3"/>
                </a:cxn>
                <a:cxn ang="0">
                  <a:pos x="49" y="3"/>
                </a:cxn>
                <a:cxn ang="0">
                  <a:pos x="43" y="0"/>
                </a:cxn>
                <a:cxn ang="0">
                  <a:pos x="41" y="3"/>
                </a:cxn>
                <a:cxn ang="0">
                  <a:pos x="40" y="5"/>
                </a:cxn>
              </a:cxnLst>
              <a:rect l="0" t="0" r="r" b="b"/>
              <a:pathLst>
                <a:path w="89" h="15">
                  <a:moveTo>
                    <a:pt x="40" y="5"/>
                  </a:moveTo>
                  <a:lnTo>
                    <a:pt x="14" y="2"/>
                  </a:lnTo>
                  <a:lnTo>
                    <a:pt x="10" y="3"/>
                  </a:lnTo>
                  <a:lnTo>
                    <a:pt x="0" y="5"/>
                  </a:lnTo>
                  <a:lnTo>
                    <a:pt x="0" y="6"/>
                  </a:lnTo>
                  <a:lnTo>
                    <a:pt x="36" y="9"/>
                  </a:lnTo>
                  <a:lnTo>
                    <a:pt x="19" y="11"/>
                  </a:lnTo>
                  <a:lnTo>
                    <a:pt x="47" y="15"/>
                  </a:lnTo>
                  <a:lnTo>
                    <a:pt x="77" y="14"/>
                  </a:lnTo>
                  <a:lnTo>
                    <a:pt x="89" y="6"/>
                  </a:lnTo>
                  <a:lnTo>
                    <a:pt x="82" y="4"/>
                  </a:lnTo>
                  <a:lnTo>
                    <a:pt x="53" y="3"/>
                  </a:lnTo>
                  <a:lnTo>
                    <a:pt x="49" y="3"/>
                  </a:lnTo>
                  <a:lnTo>
                    <a:pt x="43" y="0"/>
                  </a:lnTo>
                  <a:lnTo>
                    <a:pt x="41" y="3"/>
                  </a:lnTo>
                  <a:lnTo>
                    <a:pt x="40"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0" name="Freeform 337"/>
            <p:cNvSpPr>
              <a:spLocks/>
            </p:cNvSpPr>
            <p:nvPr/>
          </p:nvSpPr>
          <p:spPr bwMode="auto">
            <a:xfrm>
              <a:off x="2767" y="1221"/>
              <a:ext cx="46" cy="11"/>
            </a:xfrm>
            <a:custGeom>
              <a:avLst/>
              <a:gdLst/>
              <a:ahLst/>
              <a:cxnLst>
                <a:cxn ang="0">
                  <a:pos x="33" y="9"/>
                </a:cxn>
                <a:cxn ang="0">
                  <a:pos x="18" y="10"/>
                </a:cxn>
                <a:cxn ang="0">
                  <a:pos x="5" y="10"/>
                </a:cxn>
                <a:cxn ang="0">
                  <a:pos x="9" y="4"/>
                </a:cxn>
                <a:cxn ang="0">
                  <a:pos x="0" y="0"/>
                </a:cxn>
                <a:cxn ang="0">
                  <a:pos x="26" y="0"/>
                </a:cxn>
                <a:cxn ang="0">
                  <a:pos x="42" y="5"/>
                </a:cxn>
                <a:cxn ang="0">
                  <a:pos x="33" y="9"/>
                </a:cxn>
              </a:cxnLst>
              <a:rect l="0" t="0" r="r" b="b"/>
              <a:pathLst>
                <a:path w="42" h="10">
                  <a:moveTo>
                    <a:pt x="33" y="9"/>
                  </a:moveTo>
                  <a:lnTo>
                    <a:pt x="18" y="10"/>
                  </a:lnTo>
                  <a:lnTo>
                    <a:pt x="5" y="10"/>
                  </a:lnTo>
                  <a:lnTo>
                    <a:pt x="9" y="4"/>
                  </a:lnTo>
                  <a:lnTo>
                    <a:pt x="0" y="0"/>
                  </a:lnTo>
                  <a:lnTo>
                    <a:pt x="26" y="0"/>
                  </a:lnTo>
                  <a:lnTo>
                    <a:pt x="42" y="5"/>
                  </a:lnTo>
                  <a:lnTo>
                    <a:pt x="33"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1" name="Freeform 338"/>
            <p:cNvSpPr>
              <a:spLocks/>
            </p:cNvSpPr>
            <p:nvPr/>
          </p:nvSpPr>
          <p:spPr bwMode="auto">
            <a:xfrm>
              <a:off x="2727" y="1368"/>
              <a:ext cx="15" cy="8"/>
            </a:xfrm>
            <a:custGeom>
              <a:avLst/>
              <a:gdLst/>
              <a:ahLst/>
              <a:cxnLst>
                <a:cxn ang="0">
                  <a:pos x="9" y="0"/>
                </a:cxn>
                <a:cxn ang="0">
                  <a:pos x="4" y="7"/>
                </a:cxn>
                <a:cxn ang="0">
                  <a:pos x="0" y="9"/>
                </a:cxn>
                <a:cxn ang="0">
                  <a:pos x="6" y="7"/>
                </a:cxn>
                <a:cxn ang="0">
                  <a:pos x="10" y="9"/>
                </a:cxn>
                <a:cxn ang="0">
                  <a:pos x="16" y="3"/>
                </a:cxn>
                <a:cxn ang="0">
                  <a:pos x="10" y="4"/>
                </a:cxn>
                <a:cxn ang="0">
                  <a:pos x="9" y="0"/>
                </a:cxn>
              </a:cxnLst>
              <a:rect l="0" t="0" r="r" b="b"/>
              <a:pathLst>
                <a:path w="16" h="9">
                  <a:moveTo>
                    <a:pt x="9" y="0"/>
                  </a:moveTo>
                  <a:lnTo>
                    <a:pt x="4" y="7"/>
                  </a:lnTo>
                  <a:lnTo>
                    <a:pt x="0" y="9"/>
                  </a:lnTo>
                  <a:lnTo>
                    <a:pt x="6" y="7"/>
                  </a:lnTo>
                  <a:lnTo>
                    <a:pt x="10" y="9"/>
                  </a:lnTo>
                  <a:lnTo>
                    <a:pt x="16" y="3"/>
                  </a:lnTo>
                  <a:lnTo>
                    <a:pt x="10" y="4"/>
                  </a:lnTo>
                  <a:lnTo>
                    <a:pt x="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2" name="Freeform 339"/>
            <p:cNvSpPr>
              <a:spLocks/>
            </p:cNvSpPr>
            <p:nvPr/>
          </p:nvSpPr>
          <p:spPr bwMode="auto">
            <a:xfrm>
              <a:off x="2796" y="1348"/>
              <a:ext cx="166" cy="177"/>
            </a:xfrm>
            <a:custGeom>
              <a:avLst/>
              <a:gdLst/>
              <a:ahLst/>
              <a:cxnLst>
                <a:cxn ang="0">
                  <a:pos x="127" y="87"/>
                </a:cxn>
                <a:cxn ang="0">
                  <a:pos x="122" y="82"/>
                </a:cxn>
                <a:cxn ang="0">
                  <a:pos x="121" y="67"/>
                </a:cxn>
                <a:cxn ang="0">
                  <a:pos x="106" y="51"/>
                </a:cxn>
                <a:cxn ang="0">
                  <a:pos x="114" y="39"/>
                </a:cxn>
                <a:cxn ang="0">
                  <a:pos x="96" y="29"/>
                </a:cxn>
                <a:cxn ang="0">
                  <a:pos x="96" y="19"/>
                </a:cxn>
                <a:cxn ang="0">
                  <a:pos x="96" y="16"/>
                </a:cxn>
                <a:cxn ang="0">
                  <a:pos x="96" y="6"/>
                </a:cxn>
                <a:cxn ang="0">
                  <a:pos x="76" y="0"/>
                </a:cxn>
                <a:cxn ang="0">
                  <a:pos x="60" y="7"/>
                </a:cxn>
                <a:cxn ang="0">
                  <a:pos x="56" y="18"/>
                </a:cxn>
                <a:cxn ang="0">
                  <a:pos x="49" y="22"/>
                </a:cxn>
                <a:cxn ang="0">
                  <a:pos x="33" y="22"/>
                </a:cxn>
                <a:cxn ang="0">
                  <a:pos x="20" y="19"/>
                </a:cxn>
                <a:cxn ang="0">
                  <a:pos x="7" y="11"/>
                </a:cxn>
                <a:cxn ang="0">
                  <a:pos x="0" y="16"/>
                </a:cxn>
                <a:cxn ang="0">
                  <a:pos x="33" y="30"/>
                </a:cxn>
                <a:cxn ang="0">
                  <a:pos x="45" y="51"/>
                </a:cxn>
                <a:cxn ang="0">
                  <a:pos x="51" y="66"/>
                </a:cxn>
                <a:cxn ang="0">
                  <a:pos x="56" y="65"/>
                </a:cxn>
                <a:cxn ang="0">
                  <a:pos x="62" y="69"/>
                </a:cxn>
                <a:cxn ang="0">
                  <a:pos x="66" y="81"/>
                </a:cxn>
                <a:cxn ang="0">
                  <a:pos x="44" y="96"/>
                </a:cxn>
                <a:cxn ang="0">
                  <a:pos x="36" y="105"/>
                </a:cxn>
                <a:cxn ang="0">
                  <a:pos x="26" y="109"/>
                </a:cxn>
                <a:cxn ang="0">
                  <a:pos x="28" y="127"/>
                </a:cxn>
                <a:cxn ang="0">
                  <a:pos x="32" y="148"/>
                </a:cxn>
                <a:cxn ang="0">
                  <a:pos x="45" y="153"/>
                </a:cxn>
                <a:cxn ang="0">
                  <a:pos x="46" y="155"/>
                </a:cxn>
                <a:cxn ang="0">
                  <a:pos x="51" y="154"/>
                </a:cxn>
                <a:cxn ang="0">
                  <a:pos x="56" y="161"/>
                </a:cxn>
                <a:cxn ang="0">
                  <a:pos x="60" y="159"/>
                </a:cxn>
                <a:cxn ang="0">
                  <a:pos x="91" y="153"/>
                </a:cxn>
                <a:cxn ang="0">
                  <a:pos x="97" y="150"/>
                </a:cxn>
                <a:cxn ang="0">
                  <a:pos x="114" y="150"/>
                </a:cxn>
                <a:cxn ang="0">
                  <a:pos x="123" y="141"/>
                </a:cxn>
                <a:cxn ang="0">
                  <a:pos x="133" y="131"/>
                </a:cxn>
                <a:cxn ang="0">
                  <a:pos x="141" y="121"/>
                </a:cxn>
                <a:cxn ang="0">
                  <a:pos x="151" y="112"/>
                </a:cxn>
                <a:cxn ang="0">
                  <a:pos x="128" y="99"/>
                </a:cxn>
                <a:cxn ang="0">
                  <a:pos x="134" y="94"/>
                </a:cxn>
                <a:cxn ang="0">
                  <a:pos x="127" y="87"/>
                </a:cxn>
              </a:cxnLst>
              <a:rect l="0" t="0" r="r" b="b"/>
              <a:pathLst>
                <a:path w="151" h="161">
                  <a:moveTo>
                    <a:pt x="127" y="87"/>
                  </a:moveTo>
                  <a:lnTo>
                    <a:pt x="122" y="82"/>
                  </a:lnTo>
                  <a:lnTo>
                    <a:pt x="121" y="67"/>
                  </a:lnTo>
                  <a:lnTo>
                    <a:pt x="106" y="51"/>
                  </a:lnTo>
                  <a:lnTo>
                    <a:pt x="114" y="39"/>
                  </a:lnTo>
                  <a:lnTo>
                    <a:pt x="96" y="29"/>
                  </a:lnTo>
                  <a:lnTo>
                    <a:pt x="96" y="19"/>
                  </a:lnTo>
                  <a:lnTo>
                    <a:pt x="96" y="16"/>
                  </a:lnTo>
                  <a:lnTo>
                    <a:pt x="96" y="6"/>
                  </a:lnTo>
                  <a:lnTo>
                    <a:pt x="76" y="0"/>
                  </a:lnTo>
                  <a:lnTo>
                    <a:pt x="60" y="7"/>
                  </a:lnTo>
                  <a:lnTo>
                    <a:pt x="56" y="18"/>
                  </a:lnTo>
                  <a:lnTo>
                    <a:pt x="49" y="22"/>
                  </a:lnTo>
                  <a:lnTo>
                    <a:pt x="33" y="22"/>
                  </a:lnTo>
                  <a:lnTo>
                    <a:pt x="20" y="19"/>
                  </a:lnTo>
                  <a:lnTo>
                    <a:pt x="7" y="11"/>
                  </a:lnTo>
                  <a:lnTo>
                    <a:pt x="0" y="16"/>
                  </a:lnTo>
                  <a:lnTo>
                    <a:pt x="33" y="30"/>
                  </a:lnTo>
                  <a:lnTo>
                    <a:pt x="45" y="51"/>
                  </a:lnTo>
                  <a:lnTo>
                    <a:pt x="51" y="66"/>
                  </a:lnTo>
                  <a:lnTo>
                    <a:pt x="56" y="65"/>
                  </a:lnTo>
                  <a:lnTo>
                    <a:pt x="62" y="69"/>
                  </a:lnTo>
                  <a:lnTo>
                    <a:pt x="66" y="81"/>
                  </a:lnTo>
                  <a:lnTo>
                    <a:pt x="44" y="96"/>
                  </a:lnTo>
                  <a:lnTo>
                    <a:pt x="36" y="105"/>
                  </a:lnTo>
                  <a:lnTo>
                    <a:pt x="26" y="109"/>
                  </a:lnTo>
                  <a:lnTo>
                    <a:pt x="28" y="127"/>
                  </a:lnTo>
                  <a:lnTo>
                    <a:pt x="32" y="148"/>
                  </a:lnTo>
                  <a:lnTo>
                    <a:pt x="45" y="153"/>
                  </a:lnTo>
                  <a:lnTo>
                    <a:pt x="46" y="155"/>
                  </a:lnTo>
                  <a:lnTo>
                    <a:pt x="51" y="154"/>
                  </a:lnTo>
                  <a:lnTo>
                    <a:pt x="56" y="161"/>
                  </a:lnTo>
                  <a:lnTo>
                    <a:pt x="60" y="159"/>
                  </a:lnTo>
                  <a:lnTo>
                    <a:pt x="91" y="153"/>
                  </a:lnTo>
                  <a:lnTo>
                    <a:pt x="97" y="150"/>
                  </a:lnTo>
                  <a:lnTo>
                    <a:pt x="114" y="150"/>
                  </a:lnTo>
                  <a:lnTo>
                    <a:pt x="123" y="141"/>
                  </a:lnTo>
                  <a:lnTo>
                    <a:pt x="133" y="131"/>
                  </a:lnTo>
                  <a:lnTo>
                    <a:pt x="141" y="121"/>
                  </a:lnTo>
                  <a:lnTo>
                    <a:pt x="151" y="112"/>
                  </a:lnTo>
                  <a:lnTo>
                    <a:pt x="128" y="99"/>
                  </a:lnTo>
                  <a:lnTo>
                    <a:pt x="134" y="94"/>
                  </a:lnTo>
                  <a:lnTo>
                    <a:pt x="127" y="8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3" name="Freeform 340"/>
            <p:cNvSpPr>
              <a:spLocks/>
            </p:cNvSpPr>
            <p:nvPr/>
          </p:nvSpPr>
          <p:spPr bwMode="auto">
            <a:xfrm>
              <a:off x="2680" y="1763"/>
              <a:ext cx="2" cy="5"/>
            </a:xfrm>
            <a:custGeom>
              <a:avLst/>
              <a:gdLst/>
              <a:ahLst/>
              <a:cxnLst>
                <a:cxn ang="0">
                  <a:pos x="0" y="0"/>
                </a:cxn>
                <a:cxn ang="0">
                  <a:pos x="0" y="3"/>
                </a:cxn>
                <a:cxn ang="0">
                  <a:pos x="1" y="3"/>
                </a:cxn>
                <a:cxn ang="0">
                  <a:pos x="0" y="0"/>
                </a:cxn>
              </a:cxnLst>
              <a:rect l="0" t="0" r="r" b="b"/>
              <a:pathLst>
                <a:path w="1" h="3">
                  <a:moveTo>
                    <a:pt x="0" y="0"/>
                  </a:moveTo>
                  <a:lnTo>
                    <a:pt x="0" y="3"/>
                  </a:lnTo>
                  <a:lnTo>
                    <a:pt x="1" y="3"/>
                  </a:lnTo>
                  <a:lnTo>
                    <a:pt x="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4" name="Freeform 341"/>
            <p:cNvSpPr>
              <a:spLocks/>
            </p:cNvSpPr>
            <p:nvPr/>
          </p:nvSpPr>
          <p:spPr bwMode="auto">
            <a:xfrm>
              <a:off x="2680" y="1732"/>
              <a:ext cx="118" cy="49"/>
            </a:xfrm>
            <a:custGeom>
              <a:avLst/>
              <a:gdLst/>
              <a:ahLst/>
              <a:cxnLst>
                <a:cxn ang="0">
                  <a:pos x="39" y="35"/>
                </a:cxn>
                <a:cxn ang="0">
                  <a:pos x="23" y="37"/>
                </a:cxn>
                <a:cxn ang="0">
                  <a:pos x="15" y="36"/>
                </a:cxn>
                <a:cxn ang="0">
                  <a:pos x="3" y="32"/>
                </a:cxn>
                <a:cxn ang="0">
                  <a:pos x="1" y="32"/>
                </a:cxn>
                <a:cxn ang="0">
                  <a:pos x="0" y="29"/>
                </a:cxn>
                <a:cxn ang="0">
                  <a:pos x="1" y="25"/>
                </a:cxn>
                <a:cxn ang="0">
                  <a:pos x="11" y="26"/>
                </a:cxn>
                <a:cxn ang="0">
                  <a:pos x="13" y="28"/>
                </a:cxn>
                <a:cxn ang="0">
                  <a:pos x="17" y="24"/>
                </a:cxn>
                <a:cxn ang="0">
                  <a:pos x="29" y="24"/>
                </a:cxn>
                <a:cxn ang="0">
                  <a:pos x="46" y="24"/>
                </a:cxn>
                <a:cxn ang="0">
                  <a:pos x="51" y="22"/>
                </a:cxn>
                <a:cxn ang="0">
                  <a:pos x="48" y="13"/>
                </a:cxn>
                <a:cxn ang="0">
                  <a:pos x="59" y="4"/>
                </a:cxn>
                <a:cxn ang="0">
                  <a:pos x="67" y="7"/>
                </a:cxn>
                <a:cxn ang="0">
                  <a:pos x="75" y="0"/>
                </a:cxn>
                <a:cxn ang="0">
                  <a:pos x="97" y="4"/>
                </a:cxn>
                <a:cxn ang="0">
                  <a:pos x="107" y="17"/>
                </a:cxn>
                <a:cxn ang="0">
                  <a:pos x="101" y="22"/>
                </a:cxn>
                <a:cxn ang="0">
                  <a:pos x="100" y="23"/>
                </a:cxn>
                <a:cxn ang="0">
                  <a:pos x="95" y="35"/>
                </a:cxn>
                <a:cxn ang="0">
                  <a:pos x="94" y="36"/>
                </a:cxn>
                <a:cxn ang="0">
                  <a:pos x="66" y="43"/>
                </a:cxn>
                <a:cxn ang="0">
                  <a:pos x="60" y="42"/>
                </a:cxn>
                <a:cxn ang="0">
                  <a:pos x="39" y="35"/>
                </a:cxn>
              </a:cxnLst>
              <a:rect l="0" t="0" r="r" b="b"/>
              <a:pathLst>
                <a:path w="107" h="43">
                  <a:moveTo>
                    <a:pt x="39" y="35"/>
                  </a:moveTo>
                  <a:lnTo>
                    <a:pt x="23" y="37"/>
                  </a:lnTo>
                  <a:lnTo>
                    <a:pt x="15" y="36"/>
                  </a:lnTo>
                  <a:lnTo>
                    <a:pt x="3" y="32"/>
                  </a:lnTo>
                  <a:lnTo>
                    <a:pt x="1" y="32"/>
                  </a:lnTo>
                  <a:lnTo>
                    <a:pt x="0" y="29"/>
                  </a:lnTo>
                  <a:lnTo>
                    <a:pt x="1" y="25"/>
                  </a:lnTo>
                  <a:lnTo>
                    <a:pt x="11" y="26"/>
                  </a:lnTo>
                  <a:lnTo>
                    <a:pt x="13" y="28"/>
                  </a:lnTo>
                  <a:lnTo>
                    <a:pt x="17" y="24"/>
                  </a:lnTo>
                  <a:lnTo>
                    <a:pt x="29" y="24"/>
                  </a:lnTo>
                  <a:lnTo>
                    <a:pt x="46" y="24"/>
                  </a:lnTo>
                  <a:lnTo>
                    <a:pt x="51" y="22"/>
                  </a:lnTo>
                  <a:lnTo>
                    <a:pt x="48" y="13"/>
                  </a:lnTo>
                  <a:lnTo>
                    <a:pt x="59" y="4"/>
                  </a:lnTo>
                  <a:lnTo>
                    <a:pt x="67" y="7"/>
                  </a:lnTo>
                  <a:lnTo>
                    <a:pt x="75" y="0"/>
                  </a:lnTo>
                  <a:lnTo>
                    <a:pt x="97" y="4"/>
                  </a:lnTo>
                  <a:lnTo>
                    <a:pt x="107" y="17"/>
                  </a:lnTo>
                  <a:lnTo>
                    <a:pt x="101" y="22"/>
                  </a:lnTo>
                  <a:lnTo>
                    <a:pt x="100" y="23"/>
                  </a:lnTo>
                  <a:lnTo>
                    <a:pt x="95" y="35"/>
                  </a:lnTo>
                  <a:lnTo>
                    <a:pt x="94" y="36"/>
                  </a:lnTo>
                  <a:lnTo>
                    <a:pt x="66" y="43"/>
                  </a:lnTo>
                  <a:lnTo>
                    <a:pt x="60" y="42"/>
                  </a:lnTo>
                  <a:lnTo>
                    <a:pt x="39" y="3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5" name="Freeform 342"/>
            <p:cNvSpPr>
              <a:spLocks/>
            </p:cNvSpPr>
            <p:nvPr/>
          </p:nvSpPr>
          <p:spPr bwMode="auto">
            <a:xfrm>
              <a:off x="2780" y="1803"/>
              <a:ext cx="62" cy="53"/>
            </a:xfrm>
            <a:custGeom>
              <a:avLst/>
              <a:gdLst/>
              <a:ahLst/>
              <a:cxnLst>
                <a:cxn ang="0">
                  <a:pos x="51" y="6"/>
                </a:cxn>
                <a:cxn ang="0">
                  <a:pos x="52" y="8"/>
                </a:cxn>
                <a:cxn ang="0">
                  <a:pos x="51" y="11"/>
                </a:cxn>
                <a:cxn ang="0">
                  <a:pos x="48" y="14"/>
                </a:cxn>
                <a:cxn ang="0">
                  <a:pos x="48" y="15"/>
                </a:cxn>
                <a:cxn ang="0">
                  <a:pos x="51" y="18"/>
                </a:cxn>
                <a:cxn ang="0">
                  <a:pos x="57" y="21"/>
                </a:cxn>
                <a:cxn ang="0">
                  <a:pos x="52" y="24"/>
                </a:cxn>
                <a:cxn ang="0">
                  <a:pos x="56" y="26"/>
                </a:cxn>
                <a:cxn ang="0">
                  <a:pos x="56" y="30"/>
                </a:cxn>
                <a:cxn ang="0">
                  <a:pos x="47" y="31"/>
                </a:cxn>
                <a:cxn ang="0">
                  <a:pos x="51" y="35"/>
                </a:cxn>
                <a:cxn ang="0">
                  <a:pos x="50" y="36"/>
                </a:cxn>
                <a:cxn ang="0">
                  <a:pos x="47" y="35"/>
                </a:cxn>
                <a:cxn ang="0">
                  <a:pos x="44" y="39"/>
                </a:cxn>
                <a:cxn ang="0">
                  <a:pos x="41" y="41"/>
                </a:cxn>
                <a:cxn ang="0">
                  <a:pos x="45" y="45"/>
                </a:cxn>
                <a:cxn ang="0">
                  <a:pos x="41" y="47"/>
                </a:cxn>
                <a:cxn ang="0">
                  <a:pos x="39" y="45"/>
                </a:cxn>
                <a:cxn ang="0">
                  <a:pos x="34" y="43"/>
                </a:cxn>
                <a:cxn ang="0">
                  <a:pos x="30" y="41"/>
                </a:cxn>
                <a:cxn ang="0">
                  <a:pos x="30" y="39"/>
                </a:cxn>
                <a:cxn ang="0">
                  <a:pos x="24" y="35"/>
                </a:cxn>
                <a:cxn ang="0">
                  <a:pos x="23" y="32"/>
                </a:cxn>
                <a:cxn ang="0">
                  <a:pos x="20" y="30"/>
                </a:cxn>
                <a:cxn ang="0">
                  <a:pos x="9" y="20"/>
                </a:cxn>
                <a:cxn ang="0">
                  <a:pos x="9" y="19"/>
                </a:cxn>
                <a:cxn ang="0">
                  <a:pos x="6" y="18"/>
                </a:cxn>
                <a:cxn ang="0">
                  <a:pos x="4" y="11"/>
                </a:cxn>
                <a:cxn ang="0">
                  <a:pos x="0" y="8"/>
                </a:cxn>
                <a:cxn ang="0">
                  <a:pos x="0" y="1"/>
                </a:cxn>
                <a:cxn ang="0">
                  <a:pos x="4" y="0"/>
                </a:cxn>
                <a:cxn ang="0">
                  <a:pos x="8" y="5"/>
                </a:cxn>
                <a:cxn ang="0">
                  <a:pos x="11" y="0"/>
                </a:cxn>
                <a:cxn ang="0">
                  <a:pos x="16" y="0"/>
                </a:cxn>
                <a:cxn ang="0">
                  <a:pos x="20" y="1"/>
                </a:cxn>
                <a:cxn ang="0">
                  <a:pos x="30" y="3"/>
                </a:cxn>
                <a:cxn ang="0">
                  <a:pos x="32" y="1"/>
                </a:cxn>
                <a:cxn ang="0">
                  <a:pos x="34" y="2"/>
                </a:cxn>
                <a:cxn ang="0">
                  <a:pos x="35" y="2"/>
                </a:cxn>
                <a:cxn ang="0">
                  <a:pos x="39" y="2"/>
                </a:cxn>
                <a:cxn ang="0">
                  <a:pos x="41" y="2"/>
                </a:cxn>
                <a:cxn ang="0">
                  <a:pos x="44" y="6"/>
                </a:cxn>
                <a:cxn ang="0">
                  <a:pos x="47" y="6"/>
                </a:cxn>
                <a:cxn ang="0">
                  <a:pos x="51" y="6"/>
                </a:cxn>
              </a:cxnLst>
              <a:rect l="0" t="0" r="r" b="b"/>
              <a:pathLst>
                <a:path w="57" h="47">
                  <a:moveTo>
                    <a:pt x="51" y="6"/>
                  </a:moveTo>
                  <a:lnTo>
                    <a:pt x="52" y="8"/>
                  </a:lnTo>
                  <a:lnTo>
                    <a:pt x="51" y="11"/>
                  </a:lnTo>
                  <a:lnTo>
                    <a:pt x="48" y="14"/>
                  </a:lnTo>
                  <a:lnTo>
                    <a:pt x="48" y="15"/>
                  </a:lnTo>
                  <a:lnTo>
                    <a:pt x="51" y="18"/>
                  </a:lnTo>
                  <a:lnTo>
                    <a:pt x="57" y="21"/>
                  </a:lnTo>
                  <a:lnTo>
                    <a:pt x="52" y="24"/>
                  </a:lnTo>
                  <a:lnTo>
                    <a:pt x="56" y="26"/>
                  </a:lnTo>
                  <a:lnTo>
                    <a:pt x="56" y="30"/>
                  </a:lnTo>
                  <a:lnTo>
                    <a:pt x="47" y="31"/>
                  </a:lnTo>
                  <a:lnTo>
                    <a:pt x="51" y="35"/>
                  </a:lnTo>
                  <a:lnTo>
                    <a:pt x="50" y="36"/>
                  </a:lnTo>
                  <a:lnTo>
                    <a:pt x="47" y="35"/>
                  </a:lnTo>
                  <a:lnTo>
                    <a:pt x="44" y="39"/>
                  </a:lnTo>
                  <a:lnTo>
                    <a:pt x="41" y="41"/>
                  </a:lnTo>
                  <a:lnTo>
                    <a:pt x="45" y="45"/>
                  </a:lnTo>
                  <a:lnTo>
                    <a:pt x="41" y="47"/>
                  </a:lnTo>
                  <a:lnTo>
                    <a:pt x="39" y="45"/>
                  </a:lnTo>
                  <a:lnTo>
                    <a:pt x="34" y="43"/>
                  </a:lnTo>
                  <a:lnTo>
                    <a:pt x="30" y="41"/>
                  </a:lnTo>
                  <a:lnTo>
                    <a:pt x="30" y="39"/>
                  </a:lnTo>
                  <a:lnTo>
                    <a:pt x="24" y="35"/>
                  </a:lnTo>
                  <a:lnTo>
                    <a:pt x="23" y="32"/>
                  </a:lnTo>
                  <a:lnTo>
                    <a:pt x="20" y="30"/>
                  </a:lnTo>
                  <a:lnTo>
                    <a:pt x="9" y="20"/>
                  </a:lnTo>
                  <a:lnTo>
                    <a:pt x="9" y="19"/>
                  </a:lnTo>
                  <a:lnTo>
                    <a:pt x="6" y="18"/>
                  </a:lnTo>
                  <a:lnTo>
                    <a:pt x="4" y="11"/>
                  </a:lnTo>
                  <a:lnTo>
                    <a:pt x="0" y="8"/>
                  </a:lnTo>
                  <a:lnTo>
                    <a:pt x="0" y="1"/>
                  </a:lnTo>
                  <a:lnTo>
                    <a:pt x="4" y="0"/>
                  </a:lnTo>
                  <a:lnTo>
                    <a:pt x="8" y="5"/>
                  </a:lnTo>
                  <a:lnTo>
                    <a:pt x="11" y="0"/>
                  </a:lnTo>
                  <a:lnTo>
                    <a:pt x="16" y="0"/>
                  </a:lnTo>
                  <a:lnTo>
                    <a:pt x="20" y="1"/>
                  </a:lnTo>
                  <a:lnTo>
                    <a:pt x="30" y="3"/>
                  </a:lnTo>
                  <a:lnTo>
                    <a:pt x="32" y="1"/>
                  </a:lnTo>
                  <a:lnTo>
                    <a:pt x="34" y="2"/>
                  </a:lnTo>
                  <a:lnTo>
                    <a:pt x="35" y="2"/>
                  </a:lnTo>
                  <a:lnTo>
                    <a:pt x="39" y="2"/>
                  </a:lnTo>
                  <a:lnTo>
                    <a:pt x="41" y="2"/>
                  </a:lnTo>
                  <a:lnTo>
                    <a:pt x="44" y="6"/>
                  </a:lnTo>
                  <a:lnTo>
                    <a:pt x="47" y="6"/>
                  </a:lnTo>
                  <a:lnTo>
                    <a:pt x="51"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6" name="Freeform 343"/>
            <p:cNvSpPr>
              <a:spLocks/>
            </p:cNvSpPr>
            <p:nvPr/>
          </p:nvSpPr>
          <p:spPr bwMode="auto">
            <a:xfrm>
              <a:off x="2747" y="1776"/>
              <a:ext cx="91" cy="74"/>
            </a:xfrm>
            <a:custGeom>
              <a:avLst/>
              <a:gdLst/>
              <a:ahLst/>
              <a:cxnLst>
                <a:cxn ang="0">
                  <a:pos x="74" y="30"/>
                </a:cxn>
                <a:cxn ang="0">
                  <a:pos x="77" y="30"/>
                </a:cxn>
                <a:cxn ang="0">
                  <a:pos x="78" y="26"/>
                </a:cxn>
                <a:cxn ang="0">
                  <a:pos x="82" y="25"/>
                </a:cxn>
                <a:cxn ang="0">
                  <a:pos x="82" y="24"/>
                </a:cxn>
                <a:cxn ang="0">
                  <a:pos x="77" y="23"/>
                </a:cxn>
                <a:cxn ang="0">
                  <a:pos x="76" y="21"/>
                </a:cxn>
                <a:cxn ang="0">
                  <a:pos x="77" y="19"/>
                </a:cxn>
                <a:cxn ang="0">
                  <a:pos x="76" y="19"/>
                </a:cxn>
                <a:cxn ang="0">
                  <a:pos x="72" y="13"/>
                </a:cxn>
                <a:cxn ang="0">
                  <a:pos x="51" y="11"/>
                </a:cxn>
                <a:cxn ang="0">
                  <a:pos x="39" y="0"/>
                </a:cxn>
                <a:cxn ang="0">
                  <a:pos x="38" y="1"/>
                </a:cxn>
                <a:cxn ang="0">
                  <a:pos x="36" y="2"/>
                </a:cxn>
                <a:cxn ang="0">
                  <a:pos x="36" y="3"/>
                </a:cxn>
                <a:cxn ang="0">
                  <a:pos x="32" y="3"/>
                </a:cxn>
                <a:cxn ang="0">
                  <a:pos x="30" y="5"/>
                </a:cxn>
                <a:cxn ang="0">
                  <a:pos x="26" y="6"/>
                </a:cxn>
                <a:cxn ang="0">
                  <a:pos x="27" y="9"/>
                </a:cxn>
                <a:cxn ang="0">
                  <a:pos x="27" y="11"/>
                </a:cxn>
                <a:cxn ang="0">
                  <a:pos x="29" y="13"/>
                </a:cxn>
                <a:cxn ang="0">
                  <a:pos x="27" y="13"/>
                </a:cxn>
                <a:cxn ang="0">
                  <a:pos x="22" y="15"/>
                </a:cxn>
                <a:cxn ang="0">
                  <a:pos x="22" y="17"/>
                </a:cxn>
                <a:cxn ang="0">
                  <a:pos x="23" y="20"/>
                </a:cxn>
                <a:cxn ang="0">
                  <a:pos x="20" y="20"/>
                </a:cxn>
                <a:cxn ang="0">
                  <a:pos x="16" y="18"/>
                </a:cxn>
                <a:cxn ang="0">
                  <a:pos x="15" y="19"/>
                </a:cxn>
                <a:cxn ang="0">
                  <a:pos x="12" y="17"/>
                </a:cxn>
                <a:cxn ang="0">
                  <a:pos x="10" y="20"/>
                </a:cxn>
                <a:cxn ang="0">
                  <a:pos x="4" y="20"/>
                </a:cxn>
                <a:cxn ang="0">
                  <a:pos x="0" y="18"/>
                </a:cxn>
                <a:cxn ang="0">
                  <a:pos x="3" y="24"/>
                </a:cxn>
                <a:cxn ang="0">
                  <a:pos x="6" y="29"/>
                </a:cxn>
                <a:cxn ang="0">
                  <a:pos x="10" y="25"/>
                </a:cxn>
                <a:cxn ang="0">
                  <a:pos x="21" y="42"/>
                </a:cxn>
                <a:cxn ang="0">
                  <a:pos x="26" y="47"/>
                </a:cxn>
                <a:cxn ang="0">
                  <a:pos x="39" y="55"/>
                </a:cxn>
                <a:cxn ang="0">
                  <a:pos x="57" y="65"/>
                </a:cxn>
                <a:cxn ang="0">
                  <a:pos x="59" y="65"/>
                </a:cxn>
                <a:cxn ang="0">
                  <a:pos x="60" y="65"/>
                </a:cxn>
                <a:cxn ang="0">
                  <a:pos x="60" y="63"/>
                </a:cxn>
                <a:cxn ang="0">
                  <a:pos x="54" y="59"/>
                </a:cxn>
                <a:cxn ang="0">
                  <a:pos x="53" y="56"/>
                </a:cxn>
                <a:cxn ang="0">
                  <a:pos x="50" y="54"/>
                </a:cxn>
                <a:cxn ang="0">
                  <a:pos x="39" y="44"/>
                </a:cxn>
                <a:cxn ang="0">
                  <a:pos x="39" y="43"/>
                </a:cxn>
                <a:cxn ang="0">
                  <a:pos x="36" y="42"/>
                </a:cxn>
                <a:cxn ang="0">
                  <a:pos x="34" y="35"/>
                </a:cxn>
                <a:cxn ang="0">
                  <a:pos x="30" y="32"/>
                </a:cxn>
                <a:cxn ang="0">
                  <a:pos x="30" y="25"/>
                </a:cxn>
                <a:cxn ang="0">
                  <a:pos x="34" y="24"/>
                </a:cxn>
                <a:cxn ang="0">
                  <a:pos x="38" y="29"/>
                </a:cxn>
                <a:cxn ang="0">
                  <a:pos x="41" y="24"/>
                </a:cxn>
                <a:cxn ang="0">
                  <a:pos x="46" y="24"/>
                </a:cxn>
                <a:cxn ang="0">
                  <a:pos x="50" y="25"/>
                </a:cxn>
                <a:cxn ang="0">
                  <a:pos x="60" y="27"/>
                </a:cxn>
                <a:cxn ang="0">
                  <a:pos x="62" y="25"/>
                </a:cxn>
                <a:cxn ang="0">
                  <a:pos x="64" y="26"/>
                </a:cxn>
                <a:cxn ang="0">
                  <a:pos x="65" y="26"/>
                </a:cxn>
                <a:cxn ang="0">
                  <a:pos x="69" y="26"/>
                </a:cxn>
                <a:cxn ang="0">
                  <a:pos x="71" y="26"/>
                </a:cxn>
                <a:cxn ang="0">
                  <a:pos x="74" y="30"/>
                </a:cxn>
              </a:cxnLst>
              <a:rect l="0" t="0" r="r" b="b"/>
              <a:pathLst>
                <a:path w="82" h="65">
                  <a:moveTo>
                    <a:pt x="74" y="30"/>
                  </a:moveTo>
                  <a:lnTo>
                    <a:pt x="77" y="30"/>
                  </a:lnTo>
                  <a:lnTo>
                    <a:pt x="78" y="26"/>
                  </a:lnTo>
                  <a:lnTo>
                    <a:pt x="82" y="25"/>
                  </a:lnTo>
                  <a:lnTo>
                    <a:pt x="82" y="24"/>
                  </a:lnTo>
                  <a:lnTo>
                    <a:pt x="77" y="23"/>
                  </a:lnTo>
                  <a:lnTo>
                    <a:pt x="76" y="21"/>
                  </a:lnTo>
                  <a:lnTo>
                    <a:pt x="77" y="19"/>
                  </a:lnTo>
                  <a:lnTo>
                    <a:pt x="76" y="19"/>
                  </a:lnTo>
                  <a:lnTo>
                    <a:pt x="72" y="13"/>
                  </a:lnTo>
                  <a:lnTo>
                    <a:pt x="51" y="11"/>
                  </a:lnTo>
                  <a:lnTo>
                    <a:pt x="39" y="0"/>
                  </a:lnTo>
                  <a:lnTo>
                    <a:pt x="38" y="1"/>
                  </a:lnTo>
                  <a:lnTo>
                    <a:pt x="36" y="2"/>
                  </a:lnTo>
                  <a:lnTo>
                    <a:pt x="36" y="3"/>
                  </a:lnTo>
                  <a:lnTo>
                    <a:pt x="32" y="3"/>
                  </a:lnTo>
                  <a:lnTo>
                    <a:pt x="30" y="5"/>
                  </a:lnTo>
                  <a:lnTo>
                    <a:pt x="26" y="6"/>
                  </a:lnTo>
                  <a:lnTo>
                    <a:pt x="27" y="9"/>
                  </a:lnTo>
                  <a:lnTo>
                    <a:pt x="27" y="11"/>
                  </a:lnTo>
                  <a:lnTo>
                    <a:pt x="29" y="13"/>
                  </a:lnTo>
                  <a:lnTo>
                    <a:pt x="27" y="13"/>
                  </a:lnTo>
                  <a:lnTo>
                    <a:pt x="22" y="15"/>
                  </a:lnTo>
                  <a:lnTo>
                    <a:pt x="22" y="17"/>
                  </a:lnTo>
                  <a:lnTo>
                    <a:pt x="23" y="20"/>
                  </a:lnTo>
                  <a:lnTo>
                    <a:pt x="20" y="20"/>
                  </a:lnTo>
                  <a:lnTo>
                    <a:pt x="16" y="18"/>
                  </a:lnTo>
                  <a:lnTo>
                    <a:pt x="15" y="19"/>
                  </a:lnTo>
                  <a:lnTo>
                    <a:pt x="12" y="17"/>
                  </a:lnTo>
                  <a:lnTo>
                    <a:pt x="10" y="20"/>
                  </a:lnTo>
                  <a:lnTo>
                    <a:pt x="4" y="20"/>
                  </a:lnTo>
                  <a:lnTo>
                    <a:pt x="0" y="18"/>
                  </a:lnTo>
                  <a:lnTo>
                    <a:pt x="3" y="24"/>
                  </a:lnTo>
                  <a:lnTo>
                    <a:pt x="6" y="29"/>
                  </a:lnTo>
                  <a:lnTo>
                    <a:pt x="10" y="25"/>
                  </a:lnTo>
                  <a:lnTo>
                    <a:pt x="21" y="42"/>
                  </a:lnTo>
                  <a:lnTo>
                    <a:pt x="26" y="47"/>
                  </a:lnTo>
                  <a:lnTo>
                    <a:pt x="39" y="55"/>
                  </a:lnTo>
                  <a:lnTo>
                    <a:pt x="57" y="65"/>
                  </a:lnTo>
                  <a:lnTo>
                    <a:pt x="59" y="65"/>
                  </a:lnTo>
                  <a:lnTo>
                    <a:pt x="60" y="65"/>
                  </a:lnTo>
                  <a:lnTo>
                    <a:pt x="60" y="63"/>
                  </a:lnTo>
                  <a:lnTo>
                    <a:pt x="54" y="59"/>
                  </a:lnTo>
                  <a:lnTo>
                    <a:pt x="53" y="56"/>
                  </a:lnTo>
                  <a:lnTo>
                    <a:pt x="50" y="54"/>
                  </a:lnTo>
                  <a:lnTo>
                    <a:pt x="39" y="44"/>
                  </a:lnTo>
                  <a:lnTo>
                    <a:pt x="39" y="43"/>
                  </a:lnTo>
                  <a:lnTo>
                    <a:pt x="36" y="42"/>
                  </a:lnTo>
                  <a:lnTo>
                    <a:pt x="34" y="35"/>
                  </a:lnTo>
                  <a:lnTo>
                    <a:pt x="30" y="32"/>
                  </a:lnTo>
                  <a:lnTo>
                    <a:pt x="30" y="25"/>
                  </a:lnTo>
                  <a:lnTo>
                    <a:pt x="34" y="24"/>
                  </a:lnTo>
                  <a:lnTo>
                    <a:pt x="38" y="29"/>
                  </a:lnTo>
                  <a:lnTo>
                    <a:pt x="41" y="24"/>
                  </a:lnTo>
                  <a:lnTo>
                    <a:pt x="46" y="24"/>
                  </a:lnTo>
                  <a:lnTo>
                    <a:pt x="50" y="25"/>
                  </a:lnTo>
                  <a:lnTo>
                    <a:pt x="60" y="27"/>
                  </a:lnTo>
                  <a:lnTo>
                    <a:pt x="62" y="25"/>
                  </a:lnTo>
                  <a:lnTo>
                    <a:pt x="64" y="26"/>
                  </a:lnTo>
                  <a:lnTo>
                    <a:pt x="65" y="26"/>
                  </a:lnTo>
                  <a:lnTo>
                    <a:pt x="69" y="26"/>
                  </a:lnTo>
                  <a:lnTo>
                    <a:pt x="71" y="26"/>
                  </a:lnTo>
                  <a:lnTo>
                    <a:pt x="74" y="3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7" name="Freeform 344"/>
            <p:cNvSpPr>
              <a:spLocks/>
            </p:cNvSpPr>
            <p:nvPr/>
          </p:nvSpPr>
          <p:spPr bwMode="auto">
            <a:xfrm>
              <a:off x="2802" y="1850"/>
              <a:ext cx="25" cy="11"/>
            </a:xfrm>
            <a:custGeom>
              <a:avLst/>
              <a:gdLst/>
              <a:ahLst/>
              <a:cxnLst>
                <a:cxn ang="0">
                  <a:pos x="21" y="9"/>
                </a:cxn>
                <a:cxn ang="0">
                  <a:pos x="21" y="7"/>
                </a:cxn>
                <a:cxn ang="0">
                  <a:pos x="21" y="6"/>
                </a:cxn>
                <a:cxn ang="0">
                  <a:pos x="19" y="4"/>
                </a:cxn>
                <a:cxn ang="0">
                  <a:pos x="14" y="2"/>
                </a:cxn>
                <a:cxn ang="0">
                  <a:pos x="10" y="0"/>
                </a:cxn>
                <a:cxn ang="0">
                  <a:pos x="9" y="1"/>
                </a:cxn>
                <a:cxn ang="0">
                  <a:pos x="0" y="0"/>
                </a:cxn>
                <a:cxn ang="0">
                  <a:pos x="21" y="9"/>
                </a:cxn>
              </a:cxnLst>
              <a:rect l="0" t="0" r="r" b="b"/>
              <a:pathLst>
                <a:path w="21" h="9">
                  <a:moveTo>
                    <a:pt x="21" y="9"/>
                  </a:moveTo>
                  <a:lnTo>
                    <a:pt x="21" y="7"/>
                  </a:lnTo>
                  <a:lnTo>
                    <a:pt x="21" y="6"/>
                  </a:lnTo>
                  <a:lnTo>
                    <a:pt x="19" y="4"/>
                  </a:lnTo>
                  <a:lnTo>
                    <a:pt x="14" y="2"/>
                  </a:lnTo>
                  <a:lnTo>
                    <a:pt x="10" y="0"/>
                  </a:lnTo>
                  <a:lnTo>
                    <a:pt x="9" y="1"/>
                  </a:lnTo>
                  <a:lnTo>
                    <a:pt x="0" y="0"/>
                  </a:lnTo>
                  <a:lnTo>
                    <a:pt x="21"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8" name="Freeform 345"/>
            <p:cNvSpPr>
              <a:spLocks/>
            </p:cNvSpPr>
            <p:nvPr/>
          </p:nvSpPr>
          <p:spPr bwMode="auto">
            <a:xfrm>
              <a:off x="2458" y="1690"/>
              <a:ext cx="198" cy="169"/>
            </a:xfrm>
            <a:custGeom>
              <a:avLst/>
              <a:gdLst/>
              <a:ahLst/>
              <a:cxnLst>
                <a:cxn ang="0">
                  <a:pos x="174" y="121"/>
                </a:cxn>
                <a:cxn ang="0">
                  <a:pos x="174" y="128"/>
                </a:cxn>
                <a:cxn ang="0">
                  <a:pos x="173" y="128"/>
                </a:cxn>
                <a:cxn ang="0">
                  <a:pos x="172" y="128"/>
                </a:cxn>
                <a:cxn ang="0">
                  <a:pos x="157" y="140"/>
                </a:cxn>
                <a:cxn ang="0">
                  <a:pos x="139" y="134"/>
                </a:cxn>
                <a:cxn ang="0">
                  <a:pos x="134" y="133"/>
                </a:cxn>
                <a:cxn ang="0">
                  <a:pos x="132" y="134"/>
                </a:cxn>
                <a:cxn ang="0">
                  <a:pos x="120" y="134"/>
                </a:cxn>
                <a:cxn ang="0">
                  <a:pos x="112" y="140"/>
                </a:cxn>
                <a:cxn ang="0">
                  <a:pos x="113" y="151"/>
                </a:cxn>
                <a:cxn ang="0">
                  <a:pos x="91" y="151"/>
                </a:cxn>
                <a:cxn ang="0">
                  <a:pos x="92" y="149"/>
                </a:cxn>
                <a:cxn ang="0">
                  <a:pos x="88" y="149"/>
                </a:cxn>
                <a:cxn ang="0">
                  <a:pos x="48" y="140"/>
                </a:cxn>
                <a:cxn ang="0">
                  <a:pos x="41" y="134"/>
                </a:cxn>
                <a:cxn ang="0">
                  <a:pos x="47" y="126"/>
                </a:cxn>
                <a:cxn ang="0">
                  <a:pos x="48" y="111"/>
                </a:cxn>
                <a:cxn ang="0">
                  <a:pos x="50" y="98"/>
                </a:cxn>
                <a:cxn ang="0">
                  <a:pos x="56" y="105"/>
                </a:cxn>
                <a:cxn ang="0">
                  <a:pos x="50" y="92"/>
                </a:cxn>
                <a:cxn ang="0">
                  <a:pos x="50" y="87"/>
                </a:cxn>
                <a:cxn ang="0">
                  <a:pos x="43" y="81"/>
                </a:cxn>
                <a:cxn ang="0">
                  <a:pos x="37" y="69"/>
                </a:cxn>
                <a:cxn ang="0">
                  <a:pos x="38" y="66"/>
                </a:cxn>
                <a:cxn ang="0">
                  <a:pos x="31" y="63"/>
                </a:cxn>
                <a:cxn ang="0">
                  <a:pos x="23" y="61"/>
                </a:cxn>
                <a:cxn ang="0">
                  <a:pos x="11" y="56"/>
                </a:cxn>
                <a:cxn ang="0">
                  <a:pos x="2" y="54"/>
                </a:cxn>
                <a:cxn ang="0">
                  <a:pos x="5" y="49"/>
                </a:cxn>
                <a:cxn ang="0">
                  <a:pos x="6" y="48"/>
                </a:cxn>
                <a:cxn ang="0">
                  <a:pos x="0" y="47"/>
                </a:cxn>
                <a:cxn ang="0">
                  <a:pos x="17" y="41"/>
                </a:cxn>
                <a:cxn ang="0">
                  <a:pos x="28" y="42"/>
                </a:cxn>
                <a:cxn ang="0">
                  <a:pos x="44" y="43"/>
                </a:cxn>
                <a:cxn ang="0">
                  <a:pos x="41" y="26"/>
                </a:cxn>
                <a:cxn ang="0">
                  <a:pos x="46" y="24"/>
                </a:cxn>
                <a:cxn ang="0">
                  <a:pos x="50" y="29"/>
                </a:cxn>
                <a:cxn ang="0">
                  <a:pos x="72" y="29"/>
                </a:cxn>
                <a:cxn ang="0">
                  <a:pos x="67" y="27"/>
                </a:cxn>
                <a:cxn ang="0">
                  <a:pos x="86" y="17"/>
                </a:cxn>
                <a:cxn ang="0">
                  <a:pos x="88" y="5"/>
                </a:cxn>
                <a:cxn ang="0">
                  <a:pos x="101" y="0"/>
                </a:cxn>
                <a:cxn ang="0">
                  <a:pos x="107" y="6"/>
                </a:cxn>
                <a:cxn ang="0">
                  <a:pos x="125" y="18"/>
                </a:cxn>
                <a:cxn ang="0">
                  <a:pos x="131" y="17"/>
                </a:cxn>
                <a:cxn ang="0">
                  <a:pos x="132" y="19"/>
                </a:cxn>
                <a:cxn ang="0">
                  <a:pos x="146" y="26"/>
                </a:cxn>
                <a:cxn ang="0">
                  <a:pos x="154" y="27"/>
                </a:cxn>
                <a:cxn ang="0">
                  <a:pos x="156" y="29"/>
                </a:cxn>
                <a:cxn ang="0">
                  <a:pos x="179" y="36"/>
                </a:cxn>
                <a:cxn ang="0">
                  <a:pos x="173" y="61"/>
                </a:cxn>
                <a:cxn ang="0">
                  <a:pos x="168" y="63"/>
                </a:cxn>
                <a:cxn ang="0">
                  <a:pos x="164" y="66"/>
                </a:cxn>
                <a:cxn ang="0">
                  <a:pos x="152" y="84"/>
                </a:cxn>
                <a:cxn ang="0">
                  <a:pos x="157" y="80"/>
                </a:cxn>
                <a:cxn ang="0">
                  <a:pos x="166" y="90"/>
                </a:cxn>
                <a:cxn ang="0">
                  <a:pos x="166" y="97"/>
                </a:cxn>
                <a:cxn ang="0">
                  <a:pos x="163" y="104"/>
                </a:cxn>
                <a:cxn ang="0">
                  <a:pos x="163" y="109"/>
                </a:cxn>
                <a:cxn ang="0">
                  <a:pos x="164" y="115"/>
                </a:cxn>
                <a:cxn ang="0">
                  <a:pos x="174" y="121"/>
                </a:cxn>
              </a:cxnLst>
              <a:rect l="0" t="0" r="r" b="b"/>
              <a:pathLst>
                <a:path w="179" h="151">
                  <a:moveTo>
                    <a:pt x="174" y="121"/>
                  </a:moveTo>
                  <a:lnTo>
                    <a:pt x="174" y="128"/>
                  </a:lnTo>
                  <a:lnTo>
                    <a:pt x="173" y="128"/>
                  </a:lnTo>
                  <a:lnTo>
                    <a:pt x="172" y="128"/>
                  </a:lnTo>
                  <a:lnTo>
                    <a:pt x="157" y="140"/>
                  </a:lnTo>
                  <a:lnTo>
                    <a:pt x="139" y="134"/>
                  </a:lnTo>
                  <a:lnTo>
                    <a:pt x="134" y="133"/>
                  </a:lnTo>
                  <a:lnTo>
                    <a:pt x="132" y="134"/>
                  </a:lnTo>
                  <a:lnTo>
                    <a:pt x="120" y="134"/>
                  </a:lnTo>
                  <a:lnTo>
                    <a:pt x="112" y="140"/>
                  </a:lnTo>
                  <a:lnTo>
                    <a:pt x="113" y="151"/>
                  </a:lnTo>
                  <a:lnTo>
                    <a:pt x="91" y="151"/>
                  </a:lnTo>
                  <a:lnTo>
                    <a:pt x="92" y="149"/>
                  </a:lnTo>
                  <a:lnTo>
                    <a:pt x="88" y="149"/>
                  </a:lnTo>
                  <a:lnTo>
                    <a:pt x="48" y="140"/>
                  </a:lnTo>
                  <a:lnTo>
                    <a:pt x="41" y="134"/>
                  </a:lnTo>
                  <a:lnTo>
                    <a:pt x="47" y="126"/>
                  </a:lnTo>
                  <a:lnTo>
                    <a:pt x="48" y="111"/>
                  </a:lnTo>
                  <a:lnTo>
                    <a:pt x="50" y="98"/>
                  </a:lnTo>
                  <a:lnTo>
                    <a:pt x="56" y="105"/>
                  </a:lnTo>
                  <a:lnTo>
                    <a:pt x="50" y="92"/>
                  </a:lnTo>
                  <a:lnTo>
                    <a:pt x="50" y="87"/>
                  </a:lnTo>
                  <a:lnTo>
                    <a:pt x="43" y="81"/>
                  </a:lnTo>
                  <a:lnTo>
                    <a:pt x="37" y="69"/>
                  </a:lnTo>
                  <a:lnTo>
                    <a:pt x="38" y="66"/>
                  </a:lnTo>
                  <a:lnTo>
                    <a:pt x="31" y="63"/>
                  </a:lnTo>
                  <a:lnTo>
                    <a:pt x="23" y="61"/>
                  </a:lnTo>
                  <a:lnTo>
                    <a:pt x="11" y="56"/>
                  </a:lnTo>
                  <a:lnTo>
                    <a:pt x="2" y="54"/>
                  </a:lnTo>
                  <a:lnTo>
                    <a:pt x="5" y="49"/>
                  </a:lnTo>
                  <a:lnTo>
                    <a:pt x="6" y="48"/>
                  </a:lnTo>
                  <a:lnTo>
                    <a:pt x="0" y="47"/>
                  </a:lnTo>
                  <a:lnTo>
                    <a:pt x="17" y="41"/>
                  </a:lnTo>
                  <a:lnTo>
                    <a:pt x="28" y="42"/>
                  </a:lnTo>
                  <a:lnTo>
                    <a:pt x="44" y="43"/>
                  </a:lnTo>
                  <a:lnTo>
                    <a:pt x="41" y="26"/>
                  </a:lnTo>
                  <a:lnTo>
                    <a:pt x="46" y="24"/>
                  </a:lnTo>
                  <a:lnTo>
                    <a:pt x="50" y="29"/>
                  </a:lnTo>
                  <a:lnTo>
                    <a:pt x="72" y="29"/>
                  </a:lnTo>
                  <a:lnTo>
                    <a:pt x="67" y="27"/>
                  </a:lnTo>
                  <a:lnTo>
                    <a:pt x="86" y="17"/>
                  </a:lnTo>
                  <a:lnTo>
                    <a:pt x="88" y="5"/>
                  </a:lnTo>
                  <a:lnTo>
                    <a:pt x="101" y="0"/>
                  </a:lnTo>
                  <a:lnTo>
                    <a:pt x="107" y="6"/>
                  </a:lnTo>
                  <a:lnTo>
                    <a:pt x="125" y="18"/>
                  </a:lnTo>
                  <a:lnTo>
                    <a:pt x="131" y="17"/>
                  </a:lnTo>
                  <a:lnTo>
                    <a:pt x="132" y="19"/>
                  </a:lnTo>
                  <a:lnTo>
                    <a:pt x="146" y="26"/>
                  </a:lnTo>
                  <a:lnTo>
                    <a:pt x="154" y="27"/>
                  </a:lnTo>
                  <a:lnTo>
                    <a:pt x="156" y="29"/>
                  </a:lnTo>
                  <a:lnTo>
                    <a:pt x="179" y="36"/>
                  </a:lnTo>
                  <a:lnTo>
                    <a:pt x="173" y="61"/>
                  </a:lnTo>
                  <a:lnTo>
                    <a:pt x="168" y="63"/>
                  </a:lnTo>
                  <a:lnTo>
                    <a:pt x="164" y="66"/>
                  </a:lnTo>
                  <a:lnTo>
                    <a:pt x="152" y="84"/>
                  </a:lnTo>
                  <a:lnTo>
                    <a:pt x="157" y="80"/>
                  </a:lnTo>
                  <a:lnTo>
                    <a:pt x="166" y="90"/>
                  </a:lnTo>
                  <a:lnTo>
                    <a:pt x="166" y="97"/>
                  </a:lnTo>
                  <a:lnTo>
                    <a:pt x="163" y="104"/>
                  </a:lnTo>
                  <a:lnTo>
                    <a:pt x="163" y="109"/>
                  </a:lnTo>
                  <a:lnTo>
                    <a:pt x="164" y="115"/>
                  </a:lnTo>
                  <a:lnTo>
                    <a:pt x="174" y="12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9" name="Freeform 346"/>
            <p:cNvSpPr>
              <a:spLocks/>
            </p:cNvSpPr>
            <p:nvPr/>
          </p:nvSpPr>
          <p:spPr bwMode="auto">
            <a:xfrm>
              <a:off x="2669" y="1850"/>
              <a:ext cx="15" cy="26"/>
            </a:xfrm>
            <a:custGeom>
              <a:avLst/>
              <a:gdLst/>
              <a:ahLst/>
              <a:cxnLst>
                <a:cxn ang="0">
                  <a:pos x="9" y="24"/>
                </a:cxn>
                <a:cxn ang="0">
                  <a:pos x="3" y="20"/>
                </a:cxn>
                <a:cxn ang="0">
                  <a:pos x="0" y="11"/>
                </a:cxn>
                <a:cxn ang="0">
                  <a:pos x="9" y="0"/>
                </a:cxn>
                <a:cxn ang="0">
                  <a:pos x="13" y="11"/>
                </a:cxn>
                <a:cxn ang="0">
                  <a:pos x="9" y="24"/>
                </a:cxn>
              </a:cxnLst>
              <a:rect l="0" t="0" r="r" b="b"/>
              <a:pathLst>
                <a:path w="13" h="24">
                  <a:moveTo>
                    <a:pt x="9" y="24"/>
                  </a:moveTo>
                  <a:lnTo>
                    <a:pt x="3" y="20"/>
                  </a:lnTo>
                  <a:lnTo>
                    <a:pt x="0" y="11"/>
                  </a:lnTo>
                  <a:lnTo>
                    <a:pt x="9" y="0"/>
                  </a:lnTo>
                  <a:lnTo>
                    <a:pt x="13" y="11"/>
                  </a:lnTo>
                  <a:lnTo>
                    <a:pt x="9" y="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0" name="Freeform 347"/>
            <p:cNvSpPr>
              <a:spLocks/>
            </p:cNvSpPr>
            <p:nvPr/>
          </p:nvSpPr>
          <p:spPr bwMode="auto">
            <a:xfrm>
              <a:off x="2782" y="1741"/>
              <a:ext cx="105" cy="51"/>
            </a:xfrm>
            <a:custGeom>
              <a:avLst/>
              <a:gdLst/>
              <a:ahLst/>
              <a:cxnLst>
                <a:cxn ang="0">
                  <a:pos x="39" y="46"/>
                </a:cxn>
                <a:cxn ang="0">
                  <a:pos x="18" y="44"/>
                </a:cxn>
                <a:cxn ang="0">
                  <a:pos x="6" y="33"/>
                </a:cxn>
                <a:cxn ang="0">
                  <a:pos x="1" y="30"/>
                </a:cxn>
                <a:cxn ang="0">
                  <a:pos x="0" y="28"/>
                </a:cxn>
                <a:cxn ang="0">
                  <a:pos x="1" y="27"/>
                </a:cxn>
                <a:cxn ang="0">
                  <a:pos x="6" y="15"/>
                </a:cxn>
                <a:cxn ang="0">
                  <a:pos x="7" y="14"/>
                </a:cxn>
                <a:cxn ang="0">
                  <a:pos x="13" y="9"/>
                </a:cxn>
                <a:cxn ang="0">
                  <a:pos x="17" y="10"/>
                </a:cxn>
                <a:cxn ang="0">
                  <a:pos x="35" y="11"/>
                </a:cxn>
                <a:cxn ang="0">
                  <a:pos x="57" y="0"/>
                </a:cxn>
                <a:cxn ang="0">
                  <a:pos x="81" y="2"/>
                </a:cxn>
                <a:cxn ang="0">
                  <a:pos x="92" y="10"/>
                </a:cxn>
                <a:cxn ang="0">
                  <a:pos x="79" y="23"/>
                </a:cxn>
                <a:cxn ang="0">
                  <a:pos x="67" y="39"/>
                </a:cxn>
                <a:cxn ang="0">
                  <a:pos x="60" y="41"/>
                </a:cxn>
                <a:cxn ang="0">
                  <a:pos x="39" y="46"/>
                </a:cxn>
              </a:cxnLst>
              <a:rect l="0" t="0" r="r" b="b"/>
              <a:pathLst>
                <a:path w="92" h="46">
                  <a:moveTo>
                    <a:pt x="39" y="46"/>
                  </a:moveTo>
                  <a:lnTo>
                    <a:pt x="18" y="44"/>
                  </a:lnTo>
                  <a:lnTo>
                    <a:pt x="6" y="33"/>
                  </a:lnTo>
                  <a:lnTo>
                    <a:pt x="1" y="30"/>
                  </a:lnTo>
                  <a:lnTo>
                    <a:pt x="0" y="28"/>
                  </a:lnTo>
                  <a:lnTo>
                    <a:pt x="1" y="27"/>
                  </a:lnTo>
                  <a:lnTo>
                    <a:pt x="6" y="15"/>
                  </a:lnTo>
                  <a:lnTo>
                    <a:pt x="7" y="14"/>
                  </a:lnTo>
                  <a:lnTo>
                    <a:pt x="13" y="9"/>
                  </a:lnTo>
                  <a:lnTo>
                    <a:pt x="17" y="10"/>
                  </a:lnTo>
                  <a:lnTo>
                    <a:pt x="35" y="11"/>
                  </a:lnTo>
                  <a:lnTo>
                    <a:pt x="57" y="0"/>
                  </a:lnTo>
                  <a:lnTo>
                    <a:pt x="81" y="2"/>
                  </a:lnTo>
                  <a:lnTo>
                    <a:pt x="92" y="10"/>
                  </a:lnTo>
                  <a:lnTo>
                    <a:pt x="79" y="23"/>
                  </a:lnTo>
                  <a:lnTo>
                    <a:pt x="67" y="39"/>
                  </a:lnTo>
                  <a:lnTo>
                    <a:pt x="60" y="41"/>
                  </a:lnTo>
                  <a:lnTo>
                    <a:pt x="39" y="4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1" name="Freeform 348"/>
            <p:cNvSpPr>
              <a:spLocks/>
            </p:cNvSpPr>
            <p:nvPr/>
          </p:nvSpPr>
          <p:spPr bwMode="auto">
            <a:xfrm>
              <a:off x="2902" y="1228"/>
              <a:ext cx="2093" cy="646"/>
            </a:xfrm>
            <a:custGeom>
              <a:avLst/>
              <a:gdLst/>
              <a:ahLst/>
              <a:cxnLst>
                <a:cxn ang="0">
                  <a:pos x="1624" y="126"/>
                </a:cxn>
                <a:cxn ang="0">
                  <a:pos x="1471" y="99"/>
                </a:cxn>
                <a:cxn ang="0">
                  <a:pos x="1329" y="83"/>
                </a:cxn>
                <a:cxn ang="0">
                  <a:pos x="1222" y="71"/>
                </a:cxn>
                <a:cxn ang="0">
                  <a:pos x="1183" y="84"/>
                </a:cxn>
                <a:cxn ang="0">
                  <a:pos x="1071" y="75"/>
                </a:cxn>
                <a:cxn ang="0">
                  <a:pos x="890" y="52"/>
                </a:cxn>
                <a:cxn ang="0">
                  <a:pos x="873" y="30"/>
                </a:cxn>
                <a:cxn ang="0">
                  <a:pos x="777" y="15"/>
                </a:cxn>
                <a:cxn ang="0">
                  <a:pos x="702" y="18"/>
                </a:cxn>
                <a:cxn ang="0">
                  <a:pos x="597" y="41"/>
                </a:cxn>
                <a:cxn ang="0">
                  <a:pos x="564" y="74"/>
                </a:cxn>
                <a:cxn ang="0">
                  <a:pos x="596" y="84"/>
                </a:cxn>
                <a:cxn ang="0">
                  <a:pos x="511" y="87"/>
                </a:cxn>
                <a:cxn ang="0">
                  <a:pos x="548" y="122"/>
                </a:cxn>
                <a:cxn ang="0">
                  <a:pos x="541" y="144"/>
                </a:cxn>
                <a:cxn ang="0">
                  <a:pos x="511" y="155"/>
                </a:cxn>
                <a:cxn ang="0">
                  <a:pos x="428" y="68"/>
                </a:cxn>
                <a:cxn ang="0">
                  <a:pos x="464" y="125"/>
                </a:cxn>
                <a:cxn ang="0">
                  <a:pos x="360" y="134"/>
                </a:cxn>
                <a:cxn ang="0">
                  <a:pos x="296" y="124"/>
                </a:cxn>
                <a:cxn ang="0">
                  <a:pos x="194" y="147"/>
                </a:cxn>
                <a:cxn ang="0">
                  <a:pos x="180" y="164"/>
                </a:cxn>
                <a:cxn ang="0">
                  <a:pos x="129" y="201"/>
                </a:cxn>
                <a:cxn ang="0">
                  <a:pos x="54" y="155"/>
                </a:cxn>
                <a:cxn ang="0">
                  <a:pos x="46" y="123"/>
                </a:cxn>
                <a:cxn ang="0">
                  <a:pos x="12" y="116"/>
                </a:cxn>
                <a:cxn ang="0">
                  <a:pos x="38" y="201"/>
                </a:cxn>
                <a:cxn ang="0">
                  <a:pos x="27" y="260"/>
                </a:cxn>
                <a:cxn ang="0">
                  <a:pos x="57" y="336"/>
                </a:cxn>
                <a:cxn ang="0">
                  <a:pos x="152" y="416"/>
                </a:cxn>
                <a:cxn ang="0">
                  <a:pos x="206" y="492"/>
                </a:cxn>
                <a:cxn ang="0">
                  <a:pos x="207" y="531"/>
                </a:cxn>
                <a:cxn ang="0">
                  <a:pos x="373" y="582"/>
                </a:cxn>
                <a:cxn ang="0">
                  <a:pos x="362" y="501"/>
                </a:cxn>
                <a:cxn ang="0">
                  <a:pos x="350" y="407"/>
                </a:cxn>
                <a:cxn ang="0">
                  <a:pos x="481" y="396"/>
                </a:cxn>
                <a:cxn ang="0">
                  <a:pos x="585" y="344"/>
                </a:cxn>
                <a:cxn ang="0">
                  <a:pos x="692" y="368"/>
                </a:cxn>
                <a:cxn ang="0">
                  <a:pos x="837" y="438"/>
                </a:cxn>
                <a:cxn ang="0">
                  <a:pos x="963" y="431"/>
                </a:cxn>
                <a:cxn ang="0">
                  <a:pos x="1087" y="432"/>
                </a:cxn>
                <a:cxn ang="0">
                  <a:pos x="1262" y="437"/>
                </a:cxn>
                <a:cxn ang="0">
                  <a:pos x="1312" y="377"/>
                </a:cxn>
                <a:cxn ang="0">
                  <a:pos x="1479" y="456"/>
                </a:cxn>
                <a:cxn ang="0">
                  <a:pos x="1543" y="544"/>
                </a:cxn>
                <a:cxn ang="0">
                  <a:pos x="1570" y="561"/>
                </a:cxn>
                <a:cxn ang="0">
                  <a:pos x="1608" y="450"/>
                </a:cxn>
                <a:cxn ang="0">
                  <a:pos x="1514" y="362"/>
                </a:cxn>
                <a:cxn ang="0">
                  <a:pos x="1472" y="324"/>
                </a:cxn>
                <a:cxn ang="0">
                  <a:pos x="1531" y="276"/>
                </a:cxn>
                <a:cxn ang="0">
                  <a:pos x="1628" y="280"/>
                </a:cxn>
                <a:cxn ang="0">
                  <a:pos x="1672" y="251"/>
                </a:cxn>
                <a:cxn ang="0">
                  <a:pos x="1701" y="228"/>
                </a:cxn>
                <a:cxn ang="0">
                  <a:pos x="1702" y="318"/>
                </a:cxn>
                <a:cxn ang="0">
                  <a:pos x="1807" y="381"/>
                </a:cxn>
                <a:cxn ang="0">
                  <a:pos x="1807" y="333"/>
                </a:cxn>
                <a:cxn ang="0">
                  <a:pos x="1759" y="269"/>
                </a:cxn>
                <a:cxn ang="0">
                  <a:pos x="1828" y="249"/>
                </a:cxn>
                <a:cxn ang="0">
                  <a:pos x="1870" y="218"/>
                </a:cxn>
                <a:cxn ang="0">
                  <a:pos x="1788" y="156"/>
                </a:cxn>
              </a:cxnLst>
              <a:rect l="0" t="0" r="r" b="b"/>
              <a:pathLst>
                <a:path w="1884" h="582">
                  <a:moveTo>
                    <a:pt x="1741" y="124"/>
                  </a:moveTo>
                  <a:lnTo>
                    <a:pt x="1706" y="117"/>
                  </a:lnTo>
                  <a:lnTo>
                    <a:pt x="1670" y="110"/>
                  </a:lnTo>
                  <a:lnTo>
                    <a:pt x="1639" y="110"/>
                  </a:lnTo>
                  <a:lnTo>
                    <a:pt x="1609" y="107"/>
                  </a:lnTo>
                  <a:lnTo>
                    <a:pt x="1620" y="114"/>
                  </a:lnTo>
                  <a:lnTo>
                    <a:pt x="1638" y="124"/>
                  </a:lnTo>
                  <a:lnTo>
                    <a:pt x="1635" y="126"/>
                  </a:lnTo>
                  <a:lnTo>
                    <a:pt x="1624" y="126"/>
                  </a:lnTo>
                  <a:lnTo>
                    <a:pt x="1608" y="120"/>
                  </a:lnTo>
                  <a:lnTo>
                    <a:pt x="1602" y="120"/>
                  </a:lnTo>
                  <a:lnTo>
                    <a:pt x="1584" y="112"/>
                  </a:lnTo>
                  <a:lnTo>
                    <a:pt x="1570" y="116"/>
                  </a:lnTo>
                  <a:lnTo>
                    <a:pt x="1524" y="113"/>
                  </a:lnTo>
                  <a:lnTo>
                    <a:pt x="1522" y="120"/>
                  </a:lnTo>
                  <a:lnTo>
                    <a:pt x="1507" y="113"/>
                  </a:lnTo>
                  <a:lnTo>
                    <a:pt x="1489" y="110"/>
                  </a:lnTo>
                  <a:lnTo>
                    <a:pt x="1471" y="99"/>
                  </a:lnTo>
                  <a:lnTo>
                    <a:pt x="1443" y="93"/>
                  </a:lnTo>
                  <a:lnTo>
                    <a:pt x="1414" y="94"/>
                  </a:lnTo>
                  <a:lnTo>
                    <a:pt x="1387" y="96"/>
                  </a:lnTo>
                  <a:lnTo>
                    <a:pt x="1380" y="94"/>
                  </a:lnTo>
                  <a:lnTo>
                    <a:pt x="1358" y="88"/>
                  </a:lnTo>
                  <a:lnTo>
                    <a:pt x="1351" y="90"/>
                  </a:lnTo>
                  <a:lnTo>
                    <a:pt x="1351" y="87"/>
                  </a:lnTo>
                  <a:lnTo>
                    <a:pt x="1344" y="86"/>
                  </a:lnTo>
                  <a:lnTo>
                    <a:pt x="1329" y="83"/>
                  </a:lnTo>
                  <a:lnTo>
                    <a:pt x="1336" y="81"/>
                  </a:lnTo>
                  <a:lnTo>
                    <a:pt x="1310" y="75"/>
                  </a:lnTo>
                  <a:lnTo>
                    <a:pt x="1294" y="78"/>
                  </a:lnTo>
                  <a:lnTo>
                    <a:pt x="1290" y="78"/>
                  </a:lnTo>
                  <a:lnTo>
                    <a:pt x="1292" y="75"/>
                  </a:lnTo>
                  <a:lnTo>
                    <a:pt x="1291" y="74"/>
                  </a:lnTo>
                  <a:lnTo>
                    <a:pt x="1252" y="71"/>
                  </a:lnTo>
                  <a:lnTo>
                    <a:pt x="1213" y="68"/>
                  </a:lnTo>
                  <a:lnTo>
                    <a:pt x="1222" y="71"/>
                  </a:lnTo>
                  <a:lnTo>
                    <a:pt x="1206" y="75"/>
                  </a:lnTo>
                  <a:lnTo>
                    <a:pt x="1213" y="76"/>
                  </a:lnTo>
                  <a:lnTo>
                    <a:pt x="1218" y="77"/>
                  </a:lnTo>
                  <a:lnTo>
                    <a:pt x="1222" y="82"/>
                  </a:lnTo>
                  <a:lnTo>
                    <a:pt x="1230" y="87"/>
                  </a:lnTo>
                  <a:lnTo>
                    <a:pt x="1209" y="86"/>
                  </a:lnTo>
                  <a:lnTo>
                    <a:pt x="1213" y="89"/>
                  </a:lnTo>
                  <a:lnTo>
                    <a:pt x="1215" y="92"/>
                  </a:lnTo>
                  <a:lnTo>
                    <a:pt x="1183" y="84"/>
                  </a:lnTo>
                  <a:lnTo>
                    <a:pt x="1172" y="88"/>
                  </a:lnTo>
                  <a:lnTo>
                    <a:pt x="1146" y="83"/>
                  </a:lnTo>
                  <a:lnTo>
                    <a:pt x="1141" y="81"/>
                  </a:lnTo>
                  <a:lnTo>
                    <a:pt x="1148" y="90"/>
                  </a:lnTo>
                  <a:lnTo>
                    <a:pt x="1144" y="98"/>
                  </a:lnTo>
                  <a:lnTo>
                    <a:pt x="1126" y="93"/>
                  </a:lnTo>
                  <a:lnTo>
                    <a:pt x="1104" y="83"/>
                  </a:lnTo>
                  <a:lnTo>
                    <a:pt x="1078" y="74"/>
                  </a:lnTo>
                  <a:lnTo>
                    <a:pt x="1071" y="75"/>
                  </a:lnTo>
                  <a:lnTo>
                    <a:pt x="1090" y="88"/>
                  </a:lnTo>
                  <a:lnTo>
                    <a:pt x="1064" y="74"/>
                  </a:lnTo>
                  <a:lnTo>
                    <a:pt x="1022" y="69"/>
                  </a:lnTo>
                  <a:lnTo>
                    <a:pt x="980" y="64"/>
                  </a:lnTo>
                  <a:lnTo>
                    <a:pt x="957" y="59"/>
                  </a:lnTo>
                  <a:lnTo>
                    <a:pt x="961" y="57"/>
                  </a:lnTo>
                  <a:lnTo>
                    <a:pt x="943" y="57"/>
                  </a:lnTo>
                  <a:lnTo>
                    <a:pt x="903" y="58"/>
                  </a:lnTo>
                  <a:lnTo>
                    <a:pt x="890" y="52"/>
                  </a:lnTo>
                  <a:lnTo>
                    <a:pt x="873" y="52"/>
                  </a:lnTo>
                  <a:lnTo>
                    <a:pt x="873" y="50"/>
                  </a:lnTo>
                  <a:lnTo>
                    <a:pt x="854" y="53"/>
                  </a:lnTo>
                  <a:lnTo>
                    <a:pt x="872" y="54"/>
                  </a:lnTo>
                  <a:lnTo>
                    <a:pt x="850" y="60"/>
                  </a:lnTo>
                  <a:lnTo>
                    <a:pt x="829" y="63"/>
                  </a:lnTo>
                  <a:lnTo>
                    <a:pt x="830" y="60"/>
                  </a:lnTo>
                  <a:lnTo>
                    <a:pt x="852" y="46"/>
                  </a:lnTo>
                  <a:lnTo>
                    <a:pt x="873" y="30"/>
                  </a:lnTo>
                  <a:lnTo>
                    <a:pt x="864" y="28"/>
                  </a:lnTo>
                  <a:lnTo>
                    <a:pt x="853" y="24"/>
                  </a:lnTo>
                  <a:lnTo>
                    <a:pt x="870" y="28"/>
                  </a:lnTo>
                  <a:lnTo>
                    <a:pt x="855" y="20"/>
                  </a:lnTo>
                  <a:lnTo>
                    <a:pt x="853" y="21"/>
                  </a:lnTo>
                  <a:lnTo>
                    <a:pt x="844" y="20"/>
                  </a:lnTo>
                  <a:lnTo>
                    <a:pt x="826" y="15"/>
                  </a:lnTo>
                  <a:lnTo>
                    <a:pt x="790" y="14"/>
                  </a:lnTo>
                  <a:lnTo>
                    <a:pt x="777" y="15"/>
                  </a:lnTo>
                  <a:lnTo>
                    <a:pt x="776" y="9"/>
                  </a:lnTo>
                  <a:lnTo>
                    <a:pt x="760" y="8"/>
                  </a:lnTo>
                  <a:lnTo>
                    <a:pt x="742" y="8"/>
                  </a:lnTo>
                  <a:lnTo>
                    <a:pt x="756" y="4"/>
                  </a:lnTo>
                  <a:lnTo>
                    <a:pt x="728" y="0"/>
                  </a:lnTo>
                  <a:lnTo>
                    <a:pt x="711" y="10"/>
                  </a:lnTo>
                  <a:lnTo>
                    <a:pt x="718" y="15"/>
                  </a:lnTo>
                  <a:lnTo>
                    <a:pt x="728" y="16"/>
                  </a:lnTo>
                  <a:lnTo>
                    <a:pt x="702" y="18"/>
                  </a:lnTo>
                  <a:lnTo>
                    <a:pt x="711" y="21"/>
                  </a:lnTo>
                  <a:lnTo>
                    <a:pt x="693" y="22"/>
                  </a:lnTo>
                  <a:lnTo>
                    <a:pt x="676" y="23"/>
                  </a:lnTo>
                  <a:lnTo>
                    <a:pt x="644" y="23"/>
                  </a:lnTo>
                  <a:lnTo>
                    <a:pt x="657" y="23"/>
                  </a:lnTo>
                  <a:lnTo>
                    <a:pt x="632" y="28"/>
                  </a:lnTo>
                  <a:lnTo>
                    <a:pt x="606" y="33"/>
                  </a:lnTo>
                  <a:lnTo>
                    <a:pt x="597" y="35"/>
                  </a:lnTo>
                  <a:lnTo>
                    <a:pt x="597" y="41"/>
                  </a:lnTo>
                  <a:lnTo>
                    <a:pt x="588" y="40"/>
                  </a:lnTo>
                  <a:lnTo>
                    <a:pt x="603" y="45"/>
                  </a:lnTo>
                  <a:lnTo>
                    <a:pt x="594" y="46"/>
                  </a:lnTo>
                  <a:lnTo>
                    <a:pt x="607" y="50"/>
                  </a:lnTo>
                  <a:lnTo>
                    <a:pt x="607" y="52"/>
                  </a:lnTo>
                  <a:lnTo>
                    <a:pt x="576" y="54"/>
                  </a:lnTo>
                  <a:lnTo>
                    <a:pt x="546" y="58"/>
                  </a:lnTo>
                  <a:lnTo>
                    <a:pt x="550" y="64"/>
                  </a:lnTo>
                  <a:lnTo>
                    <a:pt x="564" y="74"/>
                  </a:lnTo>
                  <a:lnTo>
                    <a:pt x="579" y="77"/>
                  </a:lnTo>
                  <a:lnTo>
                    <a:pt x="601" y="84"/>
                  </a:lnTo>
                  <a:lnTo>
                    <a:pt x="610" y="98"/>
                  </a:lnTo>
                  <a:lnTo>
                    <a:pt x="614" y="104"/>
                  </a:lnTo>
                  <a:lnTo>
                    <a:pt x="608" y="104"/>
                  </a:lnTo>
                  <a:lnTo>
                    <a:pt x="598" y="94"/>
                  </a:lnTo>
                  <a:lnTo>
                    <a:pt x="596" y="100"/>
                  </a:lnTo>
                  <a:lnTo>
                    <a:pt x="589" y="90"/>
                  </a:lnTo>
                  <a:lnTo>
                    <a:pt x="596" y="84"/>
                  </a:lnTo>
                  <a:lnTo>
                    <a:pt x="571" y="82"/>
                  </a:lnTo>
                  <a:lnTo>
                    <a:pt x="546" y="74"/>
                  </a:lnTo>
                  <a:lnTo>
                    <a:pt x="525" y="77"/>
                  </a:lnTo>
                  <a:lnTo>
                    <a:pt x="535" y="81"/>
                  </a:lnTo>
                  <a:lnTo>
                    <a:pt x="512" y="81"/>
                  </a:lnTo>
                  <a:lnTo>
                    <a:pt x="518" y="86"/>
                  </a:lnTo>
                  <a:lnTo>
                    <a:pt x="546" y="90"/>
                  </a:lnTo>
                  <a:lnTo>
                    <a:pt x="552" y="94"/>
                  </a:lnTo>
                  <a:lnTo>
                    <a:pt x="511" y="87"/>
                  </a:lnTo>
                  <a:lnTo>
                    <a:pt x="498" y="69"/>
                  </a:lnTo>
                  <a:lnTo>
                    <a:pt x="488" y="68"/>
                  </a:lnTo>
                  <a:lnTo>
                    <a:pt x="498" y="77"/>
                  </a:lnTo>
                  <a:lnTo>
                    <a:pt x="487" y="84"/>
                  </a:lnTo>
                  <a:lnTo>
                    <a:pt x="492" y="90"/>
                  </a:lnTo>
                  <a:lnTo>
                    <a:pt x="508" y="100"/>
                  </a:lnTo>
                  <a:lnTo>
                    <a:pt x="507" y="112"/>
                  </a:lnTo>
                  <a:lnTo>
                    <a:pt x="518" y="123"/>
                  </a:lnTo>
                  <a:lnTo>
                    <a:pt x="548" y="122"/>
                  </a:lnTo>
                  <a:lnTo>
                    <a:pt x="564" y="125"/>
                  </a:lnTo>
                  <a:lnTo>
                    <a:pt x="571" y="136"/>
                  </a:lnTo>
                  <a:lnTo>
                    <a:pt x="576" y="142"/>
                  </a:lnTo>
                  <a:lnTo>
                    <a:pt x="592" y="146"/>
                  </a:lnTo>
                  <a:lnTo>
                    <a:pt x="567" y="142"/>
                  </a:lnTo>
                  <a:lnTo>
                    <a:pt x="558" y="129"/>
                  </a:lnTo>
                  <a:lnTo>
                    <a:pt x="549" y="124"/>
                  </a:lnTo>
                  <a:lnTo>
                    <a:pt x="528" y="128"/>
                  </a:lnTo>
                  <a:lnTo>
                    <a:pt x="541" y="144"/>
                  </a:lnTo>
                  <a:lnTo>
                    <a:pt x="530" y="160"/>
                  </a:lnTo>
                  <a:lnTo>
                    <a:pt x="525" y="162"/>
                  </a:lnTo>
                  <a:lnTo>
                    <a:pt x="518" y="165"/>
                  </a:lnTo>
                  <a:lnTo>
                    <a:pt x="484" y="161"/>
                  </a:lnTo>
                  <a:lnTo>
                    <a:pt x="481" y="158"/>
                  </a:lnTo>
                  <a:lnTo>
                    <a:pt x="502" y="159"/>
                  </a:lnTo>
                  <a:lnTo>
                    <a:pt x="499" y="160"/>
                  </a:lnTo>
                  <a:lnTo>
                    <a:pt x="513" y="159"/>
                  </a:lnTo>
                  <a:lnTo>
                    <a:pt x="511" y="155"/>
                  </a:lnTo>
                  <a:lnTo>
                    <a:pt x="520" y="140"/>
                  </a:lnTo>
                  <a:lnTo>
                    <a:pt x="520" y="132"/>
                  </a:lnTo>
                  <a:lnTo>
                    <a:pt x="500" y="120"/>
                  </a:lnTo>
                  <a:lnTo>
                    <a:pt x="492" y="106"/>
                  </a:lnTo>
                  <a:lnTo>
                    <a:pt x="482" y="92"/>
                  </a:lnTo>
                  <a:lnTo>
                    <a:pt x="470" y="86"/>
                  </a:lnTo>
                  <a:lnTo>
                    <a:pt x="470" y="71"/>
                  </a:lnTo>
                  <a:lnTo>
                    <a:pt x="452" y="66"/>
                  </a:lnTo>
                  <a:lnTo>
                    <a:pt x="428" y="68"/>
                  </a:lnTo>
                  <a:lnTo>
                    <a:pt x="426" y="87"/>
                  </a:lnTo>
                  <a:lnTo>
                    <a:pt x="416" y="94"/>
                  </a:lnTo>
                  <a:lnTo>
                    <a:pt x="420" y="98"/>
                  </a:lnTo>
                  <a:lnTo>
                    <a:pt x="427" y="98"/>
                  </a:lnTo>
                  <a:lnTo>
                    <a:pt x="429" y="107"/>
                  </a:lnTo>
                  <a:lnTo>
                    <a:pt x="433" y="113"/>
                  </a:lnTo>
                  <a:lnTo>
                    <a:pt x="448" y="118"/>
                  </a:lnTo>
                  <a:lnTo>
                    <a:pt x="458" y="125"/>
                  </a:lnTo>
                  <a:lnTo>
                    <a:pt x="464" y="125"/>
                  </a:lnTo>
                  <a:lnTo>
                    <a:pt x="459" y="136"/>
                  </a:lnTo>
                  <a:lnTo>
                    <a:pt x="441" y="126"/>
                  </a:lnTo>
                  <a:lnTo>
                    <a:pt x="412" y="119"/>
                  </a:lnTo>
                  <a:lnTo>
                    <a:pt x="386" y="114"/>
                  </a:lnTo>
                  <a:lnTo>
                    <a:pt x="360" y="111"/>
                  </a:lnTo>
                  <a:lnTo>
                    <a:pt x="355" y="114"/>
                  </a:lnTo>
                  <a:lnTo>
                    <a:pt x="368" y="125"/>
                  </a:lnTo>
                  <a:lnTo>
                    <a:pt x="360" y="130"/>
                  </a:lnTo>
                  <a:lnTo>
                    <a:pt x="360" y="134"/>
                  </a:lnTo>
                  <a:lnTo>
                    <a:pt x="351" y="132"/>
                  </a:lnTo>
                  <a:lnTo>
                    <a:pt x="349" y="125"/>
                  </a:lnTo>
                  <a:lnTo>
                    <a:pt x="332" y="128"/>
                  </a:lnTo>
                  <a:lnTo>
                    <a:pt x="319" y="130"/>
                  </a:lnTo>
                  <a:lnTo>
                    <a:pt x="304" y="135"/>
                  </a:lnTo>
                  <a:lnTo>
                    <a:pt x="285" y="134"/>
                  </a:lnTo>
                  <a:lnTo>
                    <a:pt x="291" y="131"/>
                  </a:lnTo>
                  <a:lnTo>
                    <a:pt x="286" y="126"/>
                  </a:lnTo>
                  <a:lnTo>
                    <a:pt x="296" y="124"/>
                  </a:lnTo>
                  <a:lnTo>
                    <a:pt x="274" y="130"/>
                  </a:lnTo>
                  <a:lnTo>
                    <a:pt x="273" y="132"/>
                  </a:lnTo>
                  <a:lnTo>
                    <a:pt x="249" y="137"/>
                  </a:lnTo>
                  <a:lnTo>
                    <a:pt x="236" y="142"/>
                  </a:lnTo>
                  <a:lnTo>
                    <a:pt x="237" y="144"/>
                  </a:lnTo>
                  <a:lnTo>
                    <a:pt x="226" y="146"/>
                  </a:lnTo>
                  <a:lnTo>
                    <a:pt x="225" y="155"/>
                  </a:lnTo>
                  <a:lnTo>
                    <a:pt x="207" y="156"/>
                  </a:lnTo>
                  <a:lnTo>
                    <a:pt x="194" y="147"/>
                  </a:lnTo>
                  <a:lnTo>
                    <a:pt x="212" y="141"/>
                  </a:lnTo>
                  <a:lnTo>
                    <a:pt x="190" y="130"/>
                  </a:lnTo>
                  <a:lnTo>
                    <a:pt x="166" y="129"/>
                  </a:lnTo>
                  <a:lnTo>
                    <a:pt x="181" y="135"/>
                  </a:lnTo>
                  <a:lnTo>
                    <a:pt x="186" y="152"/>
                  </a:lnTo>
                  <a:lnTo>
                    <a:pt x="192" y="162"/>
                  </a:lnTo>
                  <a:lnTo>
                    <a:pt x="190" y="170"/>
                  </a:lnTo>
                  <a:lnTo>
                    <a:pt x="184" y="170"/>
                  </a:lnTo>
                  <a:lnTo>
                    <a:pt x="180" y="164"/>
                  </a:lnTo>
                  <a:lnTo>
                    <a:pt x="166" y="161"/>
                  </a:lnTo>
                  <a:lnTo>
                    <a:pt x="154" y="171"/>
                  </a:lnTo>
                  <a:lnTo>
                    <a:pt x="142" y="179"/>
                  </a:lnTo>
                  <a:lnTo>
                    <a:pt x="154" y="192"/>
                  </a:lnTo>
                  <a:lnTo>
                    <a:pt x="127" y="189"/>
                  </a:lnTo>
                  <a:lnTo>
                    <a:pt x="109" y="183"/>
                  </a:lnTo>
                  <a:lnTo>
                    <a:pt x="110" y="190"/>
                  </a:lnTo>
                  <a:lnTo>
                    <a:pt x="123" y="196"/>
                  </a:lnTo>
                  <a:lnTo>
                    <a:pt x="129" y="201"/>
                  </a:lnTo>
                  <a:lnTo>
                    <a:pt x="114" y="203"/>
                  </a:lnTo>
                  <a:lnTo>
                    <a:pt x="90" y="191"/>
                  </a:lnTo>
                  <a:lnTo>
                    <a:pt x="81" y="178"/>
                  </a:lnTo>
                  <a:lnTo>
                    <a:pt x="80" y="173"/>
                  </a:lnTo>
                  <a:lnTo>
                    <a:pt x="82" y="173"/>
                  </a:lnTo>
                  <a:lnTo>
                    <a:pt x="66" y="165"/>
                  </a:lnTo>
                  <a:lnTo>
                    <a:pt x="60" y="161"/>
                  </a:lnTo>
                  <a:lnTo>
                    <a:pt x="44" y="153"/>
                  </a:lnTo>
                  <a:lnTo>
                    <a:pt x="54" y="155"/>
                  </a:lnTo>
                  <a:lnTo>
                    <a:pt x="86" y="161"/>
                  </a:lnTo>
                  <a:lnTo>
                    <a:pt x="118" y="168"/>
                  </a:lnTo>
                  <a:lnTo>
                    <a:pt x="148" y="161"/>
                  </a:lnTo>
                  <a:lnTo>
                    <a:pt x="152" y="150"/>
                  </a:lnTo>
                  <a:lnTo>
                    <a:pt x="140" y="142"/>
                  </a:lnTo>
                  <a:lnTo>
                    <a:pt x="106" y="131"/>
                  </a:lnTo>
                  <a:lnTo>
                    <a:pt x="72" y="120"/>
                  </a:lnTo>
                  <a:lnTo>
                    <a:pt x="52" y="122"/>
                  </a:lnTo>
                  <a:lnTo>
                    <a:pt x="46" y="123"/>
                  </a:lnTo>
                  <a:lnTo>
                    <a:pt x="51" y="117"/>
                  </a:lnTo>
                  <a:lnTo>
                    <a:pt x="43" y="118"/>
                  </a:lnTo>
                  <a:lnTo>
                    <a:pt x="33" y="113"/>
                  </a:lnTo>
                  <a:lnTo>
                    <a:pt x="45" y="112"/>
                  </a:lnTo>
                  <a:lnTo>
                    <a:pt x="31" y="110"/>
                  </a:lnTo>
                  <a:lnTo>
                    <a:pt x="25" y="113"/>
                  </a:lnTo>
                  <a:lnTo>
                    <a:pt x="19" y="111"/>
                  </a:lnTo>
                  <a:lnTo>
                    <a:pt x="19" y="116"/>
                  </a:lnTo>
                  <a:lnTo>
                    <a:pt x="12" y="116"/>
                  </a:lnTo>
                  <a:lnTo>
                    <a:pt x="0" y="123"/>
                  </a:lnTo>
                  <a:lnTo>
                    <a:pt x="0" y="126"/>
                  </a:lnTo>
                  <a:lnTo>
                    <a:pt x="0" y="136"/>
                  </a:lnTo>
                  <a:lnTo>
                    <a:pt x="18" y="146"/>
                  </a:lnTo>
                  <a:lnTo>
                    <a:pt x="10" y="158"/>
                  </a:lnTo>
                  <a:lnTo>
                    <a:pt x="25" y="174"/>
                  </a:lnTo>
                  <a:lnTo>
                    <a:pt x="26" y="189"/>
                  </a:lnTo>
                  <a:lnTo>
                    <a:pt x="31" y="194"/>
                  </a:lnTo>
                  <a:lnTo>
                    <a:pt x="38" y="201"/>
                  </a:lnTo>
                  <a:lnTo>
                    <a:pt x="32" y="206"/>
                  </a:lnTo>
                  <a:lnTo>
                    <a:pt x="55" y="219"/>
                  </a:lnTo>
                  <a:lnTo>
                    <a:pt x="45" y="228"/>
                  </a:lnTo>
                  <a:lnTo>
                    <a:pt x="37" y="238"/>
                  </a:lnTo>
                  <a:lnTo>
                    <a:pt x="27" y="248"/>
                  </a:lnTo>
                  <a:lnTo>
                    <a:pt x="18" y="257"/>
                  </a:lnTo>
                  <a:lnTo>
                    <a:pt x="26" y="257"/>
                  </a:lnTo>
                  <a:lnTo>
                    <a:pt x="25" y="257"/>
                  </a:lnTo>
                  <a:lnTo>
                    <a:pt x="27" y="260"/>
                  </a:lnTo>
                  <a:lnTo>
                    <a:pt x="50" y="267"/>
                  </a:lnTo>
                  <a:lnTo>
                    <a:pt x="36" y="266"/>
                  </a:lnTo>
                  <a:lnTo>
                    <a:pt x="25" y="272"/>
                  </a:lnTo>
                  <a:lnTo>
                    <a:pt x="21" y="276"/>
                  </a:lnTo>
                  <a:lnTo>
                    <a:pt x="25" y="291"/>
                  </a:lnTo>
                  <a:lnTo>
                    <a:pt x="19" y="302"/>
                  </a:lnTo>
                  <a:lnTo>
                    <a:pt x="27" y="314"/>
                  </a:lnTo>
                  <a:lnTo>
                    <a:pt x="37" y="333"/>
                  </a:lnTo>
                  <a:lnTo>
                    <a:pt x="57" y="336"/>
                  </a:lnTo>
                  <a:lnTo>
                    <a:pt x="79" y="340"/>
                  </a:lnTo>
                  <a:lnTo>
                    <a:pt x="81" y="359"/>
                  </a:lnTo>
                  <a:lnTo>
                    <a:pt x="99" y="375"/>
                  </a:lnTo>
                  <a:lnTo>
                    <a:pt x="94" y="380"/>
                  </a:lnTo>
                  <a:lnTo>
                    <a:pt x="98" y="395"/>
                  </a:lnTo>
                  <a:lnTo>
                    <a:pt x="109" y="392"/>
                  </a:lnTo>
                  <a:lnTo>
                    <a:pt x="132" y="394"/>
                  </a:lnTo>
                  <a:lnTo>
                    <a:pt x="134" y="400"/>
                  </a:lnTo>
                  <a:lnTo>
                    <a:pt x="152" y="416"/>
                  </a:lnTo>
                  <a:lnTo>
                    <a:pt x="170" y="431"/>
                  </a:lnTo>
                  <a:lnTo>
                    <a:pt x="180" y="430"/>
                  </a:lnTo>
                  <a:lnTo>
                    <a:pt x="200" y="436"/>
                  </a:lnTo>
                  <a:lnTo>
                    <a:pt x="222" y="443"/>
                  </a:lnTo>
                  <a:lnTo>
                    <a:pt x="230" y="467"/>
                  </a:lnTo>
                  <a:lnTo>
                    <a:pt x="219" y="473"/>
                  </a:lnTo>
                  <a:lnTo>
                    <a:pt x="214" y="483"/>
                  </a:lnTo>
                  <a:lnTo>
                    <a:pt x="217" y="486"/>
                  </a:lnTo>
                  <a:lnTo>
                    <a:pt x="206" y="492"/>
                  </a:lnTo>
                  <a:lnTo>
                    <a:pt x="199" y="495"/>
                  </a:lnTo>
                  <a:lnTo>
                    <a:pt x="211" y="504"/>
                  </a:lnTo>
                  <a:lnTo>
                    <a:pt x="206" y="503"/>
                  </a:lnTo>
                  <a:lnTo>
                    <a:pt x="205" y="509"/>
                  </a:lnTo>
                  <a:lnTo>
                    <a:pt x="202" y="504"/>
                  </a:lnTo>
                  <a:lnTo>
                    <a:pt x="201" y="515"/>
                  </a:lnTo>
                  <a:lnTo>
                    <a:pt x="189" y="516"/>
                  </a:lnTo>
                  <a:lnTo>
                    <a:pt x="186" y="520"/>
                  </a:lnTo>
                  <a:lnTo>
                    <a:pt x="207" y="531"/>
                  </a:lnTo>
                  <a:lnTo>
                    <a:pt x="229" y="543"/>
                  </a:lnTo>
                  <a:lnTo>
                    <a:pt x="230" y="540"/>
                  </a:lnTo>
                  <a:lnTo>
                    <a:pt x="246" y="542"/>
                  </a:lnTo>
                  <a:lnTo>
                    <a:pt x="262" y="543"/>
                  </a:lnTo>
                  <a:lnTo>
                    <a:pt x="284" y="552"/>
                  </a:lnTo>
                  <a:lnTo>
                    <a:pt x="306" y="561"/>
                  </a:lnTo>
                  <a:lnTo>
                    <a:pt x="327" y="569"/>
                  </a:lnTo>
                  <a:lnTo>
                    <a:pt x="349" y="578"/>
                  </a:lnTo>
                  <a:lnTo>
                    <a:pt x="373" y="582"/>
                  </a:lnTo>
                  <a:lnTo>
                    <a:pt x="361" y="568"/>
                  </a:lnTo>
                  <a:lnTo>
                    <a:pt x="348" y="555"/>
                  </a:lnTo>
                  <a:lnTo>
                    <a:pt x="346" y="543"/>
                  </a:lnTo>
                  <a:lnTo>
                    <a:pt x="345" y="548"/>
                  </a:lnTo>
                  <a:lnTo>
                    <a:pt x="337" y="534"/>
                  </a:lnTo>
                  <a:lnTo>
                    <a:pt x="332" y="530"/>
                  </a:lnTo>
                  <a:lnTo>
                    <a:pt x="339" y="512"/>
                  </a:lnTo>
                  <a:lnTo>
                    <a:pt x="355" y="506"/>
                  </a:lnTo>
                  <a:lnTo>
                    <a:pt x="362" y="501"/>
                  </a:lnTo>
                  <a:lnTo>
                    <a:pt x="360" y="497"/>
                  </a:lnTo>
                  <a:lnTo>
                    <a:pt x="349" y="480"/>
                  </a:lnTo>
                  <a:lnTo>
                    <a:pt x="332" y="467"/>
                  </a:lnTo>
                  <a:lnTo>
                    <a:pt x="315" y="454"/>
                  </a:lnTo>
                  <a:lnTo>
                    <a:pt x="318" y="435"/>
                  </a:lnTo>
                  <a:lnTo>
                    <a:pt x="320" y="416"/>
                  </a:lnTo>
                  <a:lnTo>
                    <a:pt x="337" y="423"/>
                  </a:lnTo>
                  <a:lnTo>
                    <a:pt x="339" y="416"/>
                  </a:lnTo>
                  <a:lnTo>
                    <a:pt x="350" y="407"/>
                  </a:lnTo>
                  <a:lnTo>
                    <a:pt x="361" y="400"/>
                  </a:lnTo>
                  <a:lnTo>
                    <a:pt x="380" y="399"/>
                  </a:lnTo>
                  <a:lnTo>
                    <a:pt x="399" y="407"/>
                  </a:lnTo>
                  <a:lnTo>
                    <a:pt x="418" y="416"/>
                  </a:lnTo>
                  <a:lnTo>
                    <a:pt x="439" y="414"/>
                  </a:lnTo>
                  <a:lnTo>
                    <a:pt x="466" y="414"/>
                  </a:lnTo>
                  <a:lnTo>
                    <a:pt x="493" y="418"/>
                  </a:lnTo>
                  <a:lnTo>
                    <a:pt x="495" y="413"/>
                  </a:lnTo>
                  <a:lnTo>
                    <a:pt x="481" y="396"/>
                  </a:lnTo>
                  <a:lnTo>
                    <a:pt x="487" y="376"/>
                  </a:lnTo>
                  <a:lnTo>
                    <a:pt x="500" y="377"/>
                  </a:lnTo>
                  <a:lnTo>
                    <a:pt x="483" y="369"/>
                  </a:lnTo>
                  <a:lnTo>
                    <a:pt x="501" y="365"/>
                  </a:lnTo>
                  <a:lnTo>
                    <a:pt x="519" y="363"/>
                  </a:lnTo>
                  <a:lnTo>
                    <a:pt x="536" y="358"/>
                  </a:lnTo>
                  <a:lnTo>
                    <a:pt x="553" y="353"/>
                  </a:lnTo>
                  <a:lnTo>
                    <a:pt x="568" y="348"/>
                  </a:lnTo>
                  <a:lnTo>
                    <a:pt x="585" y="344"/>
                  </a:lnTo>
                  <a:lnTo>
                    <a:pt x="598" y="342"/>
                  </a:lnTo>
                  <a:lnTo>
                    <a:pt x="608" y="353"/>
                  </a:lnTo>
                  <a:lnTo>
                    <a:pt x="634" y="363"/>
                  </a:lnTo>
                  <a:lnTo>
                    <a:pt x="645" y="368"/>
                  </a:lnTo>
                  <a:lnTo>
                    <a:pt x="656" y="370"/>
                  </a:lnTo>
                  <a:lnTo>
                    <a:pt x="674" y="363"/>
                  </a:lnTo>
                  <a:lnTo>
                    <a:pt x="691" y="357"/>
                  </a:lnTo>
                  <a:lnTo>
                    <a:pt x="694" y="359"/>
                  </a:lnTo>
                  <a:lnTo>
                    <a:pt x="692" y="368"/>
                  </a:lnTo>
                  <a:lnTo>
                    <a:pt x="711" y="381"/>
                  </a:lnTo>
                  <a:lnTo>
                    <a:pt x="729" y="393"/>
                  </a:lnTo>
                  <a:lnTo>
                    <a:pt x="748" y="406"/>
                  </a:lnTo>
                  <a:lnTo>
                    <a:pt x="768" y="419"/>
                  </a:lnTo>
                  <a:lnTo>
                    <a:pt x="771" y="414"/>
                  </a:lnTo>
                  <a:lnTo>
                    <a:pt x="781" y="418"/>
                  </a:lnTo>
                  <a:lnTo>
                    <a:pt x="799" y="416"/>
                  </a:lnTo>
                  <a:lnTo>
                    <a:pt x="818" y="428"/>
                  </a:lnTo>
                  <a:lnTo>
                    <a:pt x="837" y="438"/>
                  </a:lnTo>
                  <a:lnTo>
                    <a:pt x="855" y="435"/>
                  </a:lnTo>
                  <a:lnTo>
                    <a:pt x="872" y="452"/>
                  </a:lnTo>
                  <a:lnTo>
                    <a:pt x="883" y="450"/>
                  </a:lnTo>
                  <a:lnTo>
                    <a:pt x="890" y="444"/>
                  </a:lnTo>
                  <a:lnTo>
                    <a:pt x="902" y="438"/>
                  </a:lnTo>
                  <a:lnTo>
                    <a:pt x="916" y="431"/>
                  </a:lnTo>
                  <a:lnTo>
                    <a:pt x="930" y="423"/>
                  </a:lnTo>
                  <a:lnTo>
                    <a:pt x="958" y="425"/>
                  </a:lnTo>
                  <a:lnTo>
                    <a:pt x="963" y="431"/>
                  </a:lnTo>
                  <a:lnTo>
                    <a:pt x="985" y="435"/>
                  </a:lnTo>
                  <a:lnTo>
                    <a:pt x="1005" y="438"/>
                  </a:lnTo>
                  <a:lnTo>
                    <a:pt x="1016" y="430"/>
                  </a:lnTo>
                  <a:lnTo>
                    <a:pt x="1003" y="418"/>
                  </a:lnTo>
                  <a:lnTo>
                    <a:pt x="1006" y="400"/>
                  </a:lnTo>
                  <a:lnTo>
                    <a:pt x="1030" y="406"/>
                  </a:lnTo>
                  <a:lnTo>
                    <a:pt x="1054" y="411"/>
                  </a:lnTo>
                  <a:lnTo>
                    <a:pt x="1065" y="422"/>
                  </a:lnTo>
                  <a:lnTo>
                    <a:pt x="1087" y="432"/>
                  </a:lnTo>
                  <a:lnTo>
                    <a:pt x="1111" y="428"/>
                  </a:lnTo>
                  <a:lnTo>
                    <a:pt x="1130" y="431"/>
                  </a:lnTo>
                  <a:lnTo>
                    <a:pt x="1150" y="436"/>
                  </a:lnTo>
                  <a:lnTo>
                    <a:pt x="1158" y="442"/>
                  </a:lnTo>
                  <a:lnTo>
                    <a:pt x="1186" y="449"/>
                  </a:lnTo>
                  <a:lnTo>
                    <a:pt x="1203" y="447"/>
                  </a:lnTo>
                  <a:lnTo>
                    <a:pt x="1220" y="443"/>
                  </a:lnTo>
                  <a:lnTo>
                    <a:pt x="1236" y="431"/>
                  </a:lnTo>
                  <a:lnTo>
                    <a:pt x="1262" y="437"/>
                  </a:lnTo>
                  <a:lnTo>
                    <a:pt x="1275" y="438"/>
                  </a:lnTo>
                  <a:lnTo>
                    <a:pt x="1296" y="442"/>
                  </a:lnTo>
                  <a:lnTo>
                    <a:pt x="1306" y="431"/>
                  </a:lnTo>
                  <a:lnTo>
                    <a:pt x="1302" y="418"/>
                  </a:lnTo>
                  <a:lnTo>
                    <a:pt x="1300" y="398"/>
                  </a:lnTo>
                  <a:lnTo>
                    <a:pt x="1291" y="390"/>
                  </a:lnTo>
                  <a:lnTo>
                    <a:pt x="1285" y="388"/>
                  </a:lnTo>
                  <a:lnTo>
                    <a:pt x="1294" y="378"/>
                  </a:lnTo>
                  <a:lnTo>
                    <a:pt x="1312" y="377"/>
                  </a:lnTo>
                  <a:lnTo>
                    <a:pt x="1330" y="377"/>
                  </a:lnTo>
                  <a:lnTo>
                    <a:pt x="1365" y="388"/>
                  </a:lnTo>
                  <a:lnTo>
                    <a:pt x="1380" y="401"/>
                  </a:lnTo>
                  <a:lnTo>
                    <a:pt x="1394" y="413"/>
                  </a:lnTo>
                  <a:lnTo>
                    <a:pt x="1408" y="425"/>
                  </a:lnTo>
                  <a:lnTo>
                    <a:pt x="1423" y="437"/>
                  </a:lnTo>
                  <a:lnTo>
                    <a:pt x="1438" y="443"/>
                  </a:lnTo>
                  <a:lnTo>
                    <a:pt x="1464" y="450"/>
                  </a:lnTo>
                  <a:lnTo>
                    <a:pt x="1479" y="456"/>
                  </a:lnTo>
                  <a:lnTo>
                    <a:pt x="1497" y="476"/>
                  </a:lnTo>
                  <a:lnTo>
                    <a:pt x="1519" y="473"/>
                  </a:lnTo>
                  <a:lnTo>
                    <a:pt x="1540" y="465"/>
                  </a:lnTo>
                  <a:lnTo>
                    <a:pt x="1549" y="480"/>
                  </a:lnTo>
                  <a:lnTo>
                    <a:pt x="1551" y="501"/>
                  </a:lnTo>
                  <a:lnTo>
                    <a:pt x="1555" y="522"/>
                  </a:lnTo>
                  <a:lnTo>
                    <a:pt x="1536" y="519"/>
                  </a:lnTo>
                  <a:lnTo>
                    <a:pt x="1533" y="528"/>
                  </a:lnTo>
                  <a:lnTo>
                    <a:pt x="1543" y="544"/>
                  </a:lnTo>
                  <a:lnTo>
                    <a:pt x="1552" y="560"/>
                  </a:lnTo>
                  <a:lnTo>
                    <a:pt x="1546" y="564"/>
                  </a:lnTo>
                  <a:lnTo>
                    <a:pt x="1550" y="569"/>
                  </a:lnTo>
                  <a:lnTo>
                    <a:pt x="1554" y="572"/>
                  </a:lnTo>
                  <a:lnTo>
                    <a:pt x="1551" y="566"/>
                  </a:lnTo>
                  <a:lnTo>
                    <a:pt x="1554" y="566"/>
                  </a:lnTo>
                  <a:lnTo>
                    <a:pt x="1561" y="555"/>
                  </a:lnTo>
                  <a:lnTo>
                    <a:pt x="1566" y="554"/>
                  </a:lnTo>
                  <a:lnTo>
                    <a:pt x="1570" y="561"/>
                  </a:lnTo>
                  <a:lnTo>
                    <a:pt x="1581" y="562"/>
                  </a:lnTo>
                  <a:lnTo>
                    <a:pt x="1598" y="556"/>
                  </a:lnTo>
                  <a:lnTo>
                    <a:pt x="1603" y="544"/>
                  </a:lnTo>
                  <a:lnTo>
                    <a:pt x="1608" y="532"/>
                  </a:lnTo>
                  <a:lnTo>
                    <a:pt x="1610" y="515"/>
                  </a:lnTo>
                  <a:lnTo>
                    <a:pt x="1611" y="498"/>
                  </a:lnTo>
                  <a:lnTo>
                    <a:pt x="1614" y="482"/>
                  </a:lnTo>
                  <a:lnTo>
                    <a:pt x="1615" y="465"/>
                  </a:lnTo>
                  <a:lnTo>
                    <a:pt x="1608" y="450"/>
                  </a:lnTo>
                  <a:lnTo>
                    <a:pt x="1600" y="436"/>
                  </a:lnTo>
                  <a:lnTo>
                    <a:pt x="1592" y="426"/>
                  </a:lnTo>
                  <a:lnTo>
                    <a:pt x="1588" y="414"/>
                  </a:lnTo>
                  <a:lnTo>
                    <a:pt x="1584" y="404"/>
                  </a:lnTo>
                  <a:lnTo>
                    <a:pt x="1574" y="392"/>
                  </a:lnTo>
                  <a:lnTo>
                    <a:pt x="1558" y="382"/>
                  </a:lnTo>
                  <a:lnTo>
                    <a:pt x="1567" y="382"/>
                  </a:lnTo>
                  <a:lnTo>
                    <a:pt x="1532" y="364"/>
                  </a:lnTo>
                  <a:lnTo>
                    <a:pt x="1514" y="362"/>
                  </a:lnTo>
                  <a:lnTo>
                    <a:pt x="1519" y="369"/>
                  </a:lnTo>
                  <a:lnTo>
                    <a:pt x="1507" y="375"/>
                  </a:lnTo>
                  <a:lnTo>
                    <a:pt x="1507" y="369"/>
                  </a:lnTo>
                  <a:lnTo>
                    <a:pt x="1498" y="366"/>
                  </a:lnTo>
                  <a:lnTo>
                    <a:pt x="1497" y="369"/>
                  </a:lnTo>
                  <a:lnTo>
                    <a:pt x="1485" y="358"/>
                  </a:lnTo>
                  <a:lnTo>
                    <a:pt x="1462" y="354"/>
                  </a:lnTo>
                  <a:lnTo>
                    <a:pt x="1467" y="340"/>
                  </a:lnTo>
                  <a:lnTo>
                    <a:pt x="1472" y="324"/>
                  </a:lnTo>
                  <a:lnTo>
                    <a:pt x="1477" y="314"/>
                  </a:lnTo>
                  <a:lnTo>
                    <a:pt x="1480" y="304"/>
                  </a:lnTo>
                  <a:lnTo>
                    <a:pt x="1477" y="296"/>
                  </a:lnTo>
                  <a:lnTo>
                    <a:pt x="1483" y="281"/>
                  </a:lnTo>
                  <a:lnTo>
                    <a:pt x="1500" y="279"/>
                  </a:lnTo>
                  <a:lnTo>
                    <a:pt x="1516" y="275"/>
                  </a:lnTo>
                  <a:lnTo>
                    <a:pt x="1521" y="275"/>
                  </a:lnTo>
                  <a:lnTo>
                    <a:pt x="1528" y="279"/>
                  </a:lnTo>
                  <a:lnTo>
                    <a:pt x="1531" y="276"/>
                  </a:lnTo>
                  <a:lnTo>
                    <a:pt x="1563" y="279"/>
                  </a:lnTo>
                  <a:lnTo>
                    <a:pt x="1563" y="275"/>
                  </a:lnTo>
                  <a:lnTo>
                    <a:pt x="1561" y="272"/>
                  </a:lnTo>
                  <a:lnTo>
                    <a:pt x="1586" y="273"/>
                  </a:lnTo>
                  <a:lnTo>
                    <a:pt x="1605" y="278"/>
                  </a:lnTo>
                  <a:lnTo>
                    <a:pt x="1599" y="280"/>
                  </a:lnTo>
                  <a:lnTo>
                    <a:pt x="1604" y="286"/>
                  </a:lnTo>
                  <a:lnTo>
                    <a:pt x="1617" y="284"/>
                  </a:lnTo>
                  <a:lnTo>
                    <a:pt x="1628" y="280"/>
                  </a:lnTo>
                  <a:lnTo>
                    <a:pt x="1647" y="280"/>
                  </a:lnTo>
                  <a:lnTo>
                    <a:pt x="1644" y="276"/>
                  </a:lnTo>
                  <a:lnTo>
                    <a:pt x="1630" y="275"/>
                  </a:lnTo>
                  <a:lnTo>
                    <a:pt x="1626" y="270"/>
                  </a:lnTo>
                  <a:lnTo>
                    <a:pt x="1626" y="255"/>
                  </a:lnTo>
                  <a:lnTo>
                    <a:pt x="1624" y="238"/>
                  </a:lnTo>
                  <a:lnTo>
                    <a:pt x="1652" y="238"/>
                  </a:lnTo>
                  <a:lnTo>
                    <a:pt x="1658" y="236"/>
                  </a:lnTo>
                  <a:lnTo>
                    <a:pt x="1672" y="251"/>
                  </a:lnTo>
                  <a:lnTo>
                    <a:pt x="1675" y="249"/>
                  </a:lnTo>
                  <a:lnTo>
                    <a:pt x="1683" y="256"/>
                  </a:lnTo>
                  <a:lnTo>
                    <a:pt x="1690" y="240"/>
                  </a:lnTo>
                  <a:lnTo>
                    <a:pt x="1699" y="240"/>
                  </a:lnTo>
                  <a:lnTo>
                    <a:pt x="1684" y="226"/>
                  </a:lnTo>
                  <a:lnTo>
                    <a:pt x="1688" y="224"/>
                  </a:lnTo>
                  <a:lnTo>
                    <a:pt x="1711" y="226"/>
                  </a:lnTo>
                  <a:lnTo>
                    <a:pt x="1713" y="228"/>
                  </a:lnTo>
                  <a:lnTo>
                    <a:pt x="1701" y="228"/>
                  </a:lnTo>
                  <a:lnTo>
                    <a:pt x="1712" y="239"/>
                  </a:lnTo>
                  <a:lnTo>
                    <a:pt x="1722" y="251"/>
                  </a:lnTo>
                  <a:lnTo>
                    <a:pt x="1714" y="256"/>
                  </a:lnTo>
                  <a:lnTo>
                    <a:pt x="1712" y="269"/>
                  </a:lnTo>
                  <a:lnTo>
                    <a:pt x="1708" y="282"/>
                  </a:lnTo>
                  <a:lnTo>
                    <a:pt x="1707" y="299"/>
                  </a:lnTo>
                  <a:lnTo>
                    <a:pt x="1694" y="302"/>
                  </a:lnTo>
                  <a:lnTo>
                    <a:pt x="1700" y="308"/>
                  </a:lnTo>
                  <a:lnTo>
                    <a:pt x="1702" y="318"/>
                  </a:lnTo>
                  <a:lnTo>
                    <a:pt x="1713" y="333"/>
                  </a:lnTo>
                  <a:lnTo>
                    <a:pt x="1725" y="347"/>
                  </a:lnTo>
                  <a:lnTo>
                    <a:pt x="1746" y="365"/>
                  </a:lnTo>
                  <a:lnTo>
                    <a:pt x="1767" y="383"/>
                  </a:lnTo>
                  <a:lnTo>
                    <a:pt x="1788" y="401"/>
                  </a:lnTo>
                  <a:lnTo>
                    <a:pt x="1808" y="418"/>
                  </a:lnTo>
                  <a:lnTo>
                    <a:pt x="1814" y="407"/>
                  </a:lnTo>
                  <a:lnTo>
                    <a:pt x="1802" y="384"/>
                  </a:lnTo>
                  <a:lnTo>
                    <a:pt x="1807" y="381"/>
                  </a:lnTo>
                  <a:lnTo>
                    <a:pt x="1818" y="382"/>
                  </a:lnTo>
                  <a:lnTo>
                    <a:pt x="1814" y="380"/>
                  </a:lnTo>
                  <a:lnTo>
                    <a:pt x="1802" y="363"/>
                  </a:lnTo>
                  <a:lnTo>
                    <a:pt x="1818" y="356"/>
                  </a:lnTo>
                  <a:lnTo>
                    <a:pt x="1796" y="338"/>
                  </a:lnTo>
                  <a:lnTo>
                    <a:pt x="1796" y="328"/>
                  </a:lnTo>
                  <a:lnTo>
                    <a:pt x="1797" y="326"/>
                  </a:lnTo>
                  <a:lnTo>
                    <a:pt x="1797" y="329"/>
                  </a:lnTo>
                  <a:lnTo>
                    <a:pt x="1807" y="333"/>
                  </a:lnTo>
                  <a:lnTo>
                    <a:pt x="1796" y="321"/>
                  </a:lnTo>
                  <a:lnTo>
                    <a:pt x="1789" y="320"/>
                  </a:lnTo>
                  <a:lnTo>
                    <a:pt x="1774" y="302"/>
                  </a:lnTo>
                  <a:lnTo>
                    <a:pt x="1767" y="303"/>
                  </a:lnTo>
                  <a:lnTo>
                    <a:pt x="1754" y="298"/>
                  </a:lnTo>
                  <a:lnTo>
                    <a:pt x="1747" y="280"/>
                  </a:lnTo>
                  <a:lnTo>
                    <a:pt x="1740" y="269"/>
                  </a:lnTo>
                  <a:lnTo>
                    <a:pt x="1748" y="266"/>
                  </a:lnTo>
                  <a:lnTo>
                    <a:pt x="1759" y="269"/>
                  </a:lnTo>
                  <a:lnTo>
                    <a:pt x="1756" y="264"/>
                  </a:lnTo>
                  <a:lnTo>
                    <a:pt x="1762" y="258"/>
                  </a:lnTo>
                  <a:lnTo>
                    <a:pt x="1774" y="269"/>
                  </a:lnTo>
                  <a:lnTo>
                    <a:pt x="1776" y="262"/>
                  </a:lnTo>
                  <a:lnTo>
                    <a:pt x="1798" y="256"/>
                  </a:lnTo>
                  <a:lnTo>
                    <a:pt x="1821" y="266"/>
                  </a:lnTo>
                  <a:lnTo>
                    <a:pt x="1821" y="262"/>
                  </a:lnTo>
                  <a:lnTo>
                    <a:pt x="1827" y="250"/>
                  </a:lnTo>
                  <a:lnTo>
                    <a:pt x="1828" y="249"/>
                  </a:lnTo>
                  <a:lnTo>
                    <a:pt x="1827" y="244"/>
                  </a:lnTo>
                  <a:lnTo>
                    <a:pt x="1830" y="242"/>
                  </a:lnTo>
                  <a:lnTo>
                    <a:pt x="1843" y="233"/>
                  </a:lnTo>
                  <a:lnTo>
                    <a:pt x="1856" y="225"/>
                  </a:lnTo>
                  <a:lnTo>
                    <a:pt x="1849" y="222"/>
                  </a:lnTo>
                  <a:lnTo>
                    <a:pt x="1854" y="222"/>
                  </a:lnTo>
                  <a:lnTo>
                    <a:pt x="1882" y="228"/>
                  </a:lnTo>
                  <a:lnTo>
                    <a:pt x="1884" y="225"/>
                  </a:lnTo>
                  <a:lnTo>
                    <a:pt x="1870" y="218"/>
                  </a:lnTo>
                  <a:lnTo>
                    <a:pt x="1856" y="210"/>
                  </a:lnTo>
                  <a:lnTo>
                    <a:pt x="1849" y="208"/>
                  </a:lnTo>
                  <a:lnTo>
                    <a:pt x="1827" y="195"/>
                  </a:lnTo>
                  <a:lnTo>
                    <a:pt x="1826" y="197"/>
                  </a:lnTo>
                  <a:lnTo>
                    <a:pt x="1810" y="189"/>
                  </a:lnTo>
                  <a:lnTo>
                    <a:pt x="1820" y="190"/>
                  </a:lnTo>
                  <a:lnTo>
                    <a:pt x="1833" y="189"/>
                  </a:lnTo>
                  <a:lnTo>
                    <a:pt x="1810" y="172"/>
                  </a:lnTo>
                  <a:lnTo>
                    <a:pt x="1788" y="156"/>
                  </a:lnTo>
                  <a:lnTo>
                    <a:pt x="1765" y="140"/>
                  </a:lnTo>
                  <a:lnTo>
                    <a:pt x="1741" y="12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2" name="Freeform 349"/>
            <p:cNvSpPr>
              <a:spLocks/>
            </p:cNvSpPr>
            <p:nvPr/>
          </p:nvSpPr>
          <p:spPr bwMode="auto">
            <a:xfrm>
              <a:off x="134" y="1368"/>
              <a:ext cx="151" cy="80"/>
            </a:xfrm>
            <a:custGeom>
              <a:avLst/>
              <a:gdLst/>
              <a:ahLst/>
              <a:cxnLst>
                <a:cxn ang="0">
                  <a:pos x="136" y="43"/>
                </a:cxn>
                <a:cxn ang="0">
                  <a:pos x="132" y="37"/>
                </a:cxn>
                <a:cxn ang="0">
                  <a:pos x="125" y="30"/>
                </a:cxn>
                <a:cxn ang="0">
                  <a:pos x="118" y="29"/>
                </a:cxn>
                <a:cxn ang="0">
                  <a:pos x="118" y="31"/>
                </a:cxn>
                <a:cxn ang="0">
                  <a:pos x="114" y="29"/>
                </a:cxn>
                <a:cxn ang="0">
                  <a:pos x="102" y="30"/>
                </a:cxn>
                <a:cxn ang="0">
                  <a:pos x="94" y="36"/>
                </a:cxn>
                <a:cxn ang="0">
                  <a:pos x="93" y="40"/>
                </a:cxn>
                <a:cxn ang="0">
                  <a:pos x="87" y="40"/>
                </a:cxn>
                <a:cxn ang="0">
                  <a:pos x="92" y="34"/>
                </a:cxn>
                <a:cxn ang="0">
                  <a:pos x="101" y="24"/>
                </a:cxn>
                <a:cxn ang="0">
                  <a:pos x="101" y="16"/>
                </a:cxn>
                <a:cxn ang="0">
                  <a:pos x="90" y="6"/>
                </a:cxn>
                <a:cxn ang="0">
                  <a:pos x="90" y="9"/>
                </a:cxn>
                <a:cxn ang="0">
                  <a:pos x="83" y="0"/>
                </a:cxn>
                <a:cxn ang="0">
                  <a:pos x="63" y="15"/>
                </a:cxn>
                <a:cxn ang="0">
                  <a:pos x="41" y="28"/>
                </a:cxn>
                <a:cxn ang="0">
                  <a:pos x="21" y="42"/>
                </a:cxn>
                <a:cxn ang="0">
                  <a:pos x="0" y="57"/>
                </a:cxn>
                <a:cxn ang="0">
                  <a:pos x="10" y="48"/>
                </a:cxn>
                <a:cxn ang="0">
                  <a:pos x="20" y="43"/>
                </a:cxn>
                <a:cxn ang="0">
                  <a:pos x="26" y="42"/>
                </a:cxn>
                <a:cxn ang="0">
                  <a:pos x="32" y="39"/>
                </a:cxn>
                <a:cxn ang="0">
                  <a:pos x="32" y="42"/>
                </a:cxn>
                <a:cxn ang="0">
                  <a:pos x="35" y="41"/>
                </a:cxn>
                <a:cxn ang="0">
                  <a:pos x="23" y="47"/>
                </a:cxn>
                <a:cxn ang="0">
                  <a:pos x="22" y="53"/>
                </a:cxn>
                <a:cxn ang="0">
                  <a:pos x="46" y="53"/>
                </a:cxn>
                <a:cxn ang="0">
                  <a:pos x="39" y="64"/>
                </a:cxn>
                <a:cxn ang="0">
                  <a:pos x="50" y="67"/>
                </a:cxn>
                <a:cxn ang="0">
                  <a:pos x="58" y="69"/>
                </a:cxn>
                <a:cxn ang="0">
                  <a:pos x="54" y="72"/>
                </a:cxn>
                <a:cxn ang="0">
                  <a:pos x="64" y="70"/>
                </a:cxn>
                <a:cxn ang="0">
                  <a:pos x="70" y="67"/>
                </a:cxn>
                <a:cxn ang="0">
                  <a:pos x="69" y="65"/>
                </a:cxn>
                <a:cxn ang="0">
                  <a:pos x="86" y="57"/>
                </a:cxn>
                <a:cxn ang="0">
                  <a:pos x="92" y="54"/>
                </a:cxn>
                <a:cxn ang="0">
                  <a:pos x="94" y="49"/>
                </a:cxn>
                <a:cxn ang="0">
                  <a:pos x="95" y="53"/>
                </a:cxn>
                <a:cxn ang="0">
                  <a:pos x="104" y="52"/>
                </a:cxn>
                <a:cxn ang="0">
                  <a:pos x="108" y="49"/>
                </a:cxn>
                <a:cxn ang="0">
                  <a:pos x="119" y="49"/>
                </a:cxn>
                <a:cxn ang="0">
                  <a:pos x="136" y="43"/>
                </a:cxn>
              </a:cxnLst>
              <a:rect l="0" t="0" r="r" b="b"/>
              <a:pathLst>
                <a:path w="136" h="72">
                  <a:moveTo>
                    <a:pt x="136" y="43"/>
                  </a:moveTo>
                  <a:lnTo>
                    <a:pt x="132" y="37"/>
                  </a:lnTo>
                  <a:lnTo>
                    <a:pt x="125" y="30"/>
                  </a:lnTo>
                  <a:lnTo>
                    <a:pt x="118" y="29"/>
                  </a:lnTo>
                  <a:lnTo>
                    <a:pt x="118" y="31"/>
                  </a:lnTo>
                  <a:lnTo>
                    <a:pt x="114" y="29"/>
                  </a:lnTo>
                  <a:lnTo>
                    <a:pt x="102" y="30"/>
                  </a:lnTo>
                  <a:lnTo>
                    <a:pt x="94" y="36"/>
                  </a:lnTo>
                  <a:lnTo>
                    <a:pt x="93" y="40"/>
                  </a:lnTo>
                  <a:lnTo>
                    <a:pt x="87" y="40"/>
                  </a:lnTo>
                  <a:lnTo>
                    <a:pt x="92" y="34"/>
                  </a:lnTo>
                  <a:lnTo>
                    <a:pt x="101" y="24"/>
                  </a:lnTo>
                  <a:lnTo>
                    <a:pt x="101" y="16"/>
                  </a:lnTo>
                  <a:lnTo>
                    <a:pt x="90" y="6"/>
                  </a:lnTo>
                  <a:lnTo>
                    <a:pt x="90" y="9"/>
                  </a:lnTo>
                  <a:lnTo>
                    <a:pt x="83" y="0"/>
                  </a:lnTo>
                  <a:lnTo>
                    <a:pt x="63" y="15"/>
                  </a:lnTo>
                  <a:lnTo>
                    <a:pt x="41" y="28"/>
                  </a:lnTo>
                  <a:lnTo>
                    <a:pt x="21" y="42"/>
                  </a:lnTo>
                  <a:lnTo>
                    <a:pt x="0" y="57"/>
                  </a:lnTo>
                  <a:lnTo>
                    <a:pt x="10" y="48"/>
                  </a:lnTo>
                  <a:lnTo>
                    <a:pt x="20" y="43"/>
                  </a:lnTo>
                  <a:lnTo>
                    <a:pt x="26" y="42"/>
                  </a:lnTo>
                  <a:lnTo>
                    <a:pt x="32" y="39"/>
                  </a:lnTo>
                  <a:lnTo>
                    <a:pt x="32" y="42"/>
                  </a:lnTo>
                  <a:lnTo>
                    <a:pt x="35" y="41"/>
                  </a:lnTo>
                  <a:lnTo>
                    <a:pt x="23" y="47"/>
                  </a:lnTo>
                  <a:lnTo>
                    <a:pt x="22" y="53"/>
                  </a:lnTo>
                  <a:lnTo>
                    <a:pt x="46" y="53"/>
                  </a:lnTo>
                  <a:lnTo>
                    <a:pt x="39" y="64"/>
                  </a:lnTo>
                  <a:lnTo>
                    <a:pt x="50" y="67"/>
                  </a:lnTo>
                  <a:lnTo>
                    <a:pt x="58" y="69"/>
                  </a:lnTo>
                  <a:lnTo>
                    <a:pt x="54" y="72"/>
                  </a:lnTo>
                  <a:lnTo>
                    <a:pt x="64" y="70"/>
                  </a:lnTo>
                  <a:lnTo>
                    <a:pt x="70" y="67"/>
                  </a:lnTo>
                  <a:lnTo>
                    <a:pt x="69" y="65"/>
                  </a:lnTo>
                  <a:lnTo>
                    <a:pt x="86" y="57"/>
                  </a:lnTo>
                  <a:lnTo>
                    <a:pt x="92" y="54"/>
                  </a:lnTo>
                  <a:lnTo>
                    <a:pt x="94" y="49"/>
                  </a:lnTo>
                  <a:lnTo>
                    <a:pt x="95" y="53"/>
                  </a:lnTo>
                  <a:lnTo>
                    <a:pt x="104" y="52"/>
                  </a:lnTo>
                  <a:lnTo>
                    <a:pt x="108" y="49"/>
                  </a:lnTo>
                  <a:lnTo>
                    <a:pt x="119" y="49"/>
                  </a:lnTo>
                  <a:lnTo>
                    <a:pt x="136" y="4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3" name="Freeform 350"/>
            <p:cNvSpPr>
              <a:spLocks/>
            </p:cNvSpPr>
            <p:nvPr/>
          </p:nvSpPr>
          <p:spPr bwMode="auto">
            <a:xfrm>
              <a:off x="4637" y="1628"/>
              <a:ext cx="145" cy="162"/>
            </a:xfrm>
            <a:custGeom>
              <a:avLst/>
              <a:gdLst/>
              <a:ahLst/>
              <a:cxnLst>
                <a:cxn ang="0">
                  <a:pos x="115" y="101"/>
                </a:cxn>
                <a:cxn ang="0">
                  <a:pos x="98" y="85"/>
                </a:cxn>
                <a:cxn ang="0">
                  <a:pos x="80" y="70"/>
                </a:cxn>
                <a:cxn ang="0">
                  <a:pos x="62" y="55"/>
                </a:cxn>
                <a:cxn ang="0">
                  <a:pos x="43" y="40"/>
                </a:cxn>
                <a:cxn ang="0">
                  <a:pos x="40" y="34"/>
                </a:cxn>
                <a:cxn ang="0">
                  <a:pos x="22" y="17"/>
                </a:cxn>
                <a:cxn ang="0">
                  <a:pos x="4" y="0"/>
                </a:cxn>
                <a:cxn ang="0">
                  <a:pos x="0" y="3"/>
                </a:cxn>
                <a:cxn ang="0">
                  <a:pos x="13" y="12"/>
                </a:cxn>
                <a:cxn ang="0">
                  <a:pos x="13" y="18"/>
                </a:cxn>
                <a:cxn ang="0">
                  <a:pos x="6" y="18"/>
                </a:cxn>
                <a:cxn ang="0">
                  <a:pos x="20" y="34"/>
                </a:cxn>
                <a:cxn ang="0">
                  <a:pos x="35" y="49"/>
                </a:cxn>
                <a:cxn ang="0">
                  <a:pos x="49" y="64"/>
                </a:cxn>
                <a:cxn ang="0">
                  <a:pos x="62" y="81"/>
                </a:cxn>
                <a:cxn ang="0">
                  <a:pos x="73" y="99"/>
                </a:cxn>
                <a:cxn ang="0">
                  <a:pos x="85" y="113"/>
                </a:cxn>
                <a:cxn ang="0">
                  <a:pos x="97" y="127"/>
                </a:cxn>
                <a:cxn ang="0">
                  <a:pos x="109" y="145"/>
                </a:cxn>
                <a:cxn ang="0">
                  <a:pos x="113" y="145"/>
                </a:cxn>
                <a:cxn ang="0">
                  <a:pos x="112" y="133"/>
                </a:cxn>
                <a:cxn ang="0">
                  <a:pos x="125" y="139"/>
                </a:cxn>
                <a:cxn ang="0">
                  <a:pos x="131" y="147"/>
                </a:cxn>
                <a:cxn ang="0">
                  <a:pos x="120" y="133"/>
                </a:cxn>
                <a:cxn ang="0">
                  <a:pos x="92" y="112"/>
                </a:cxn>
                <a:cxn ang="0">
                  <a:pos x="86" y="89"/>
                </a:cxn>
                <a:cxn ang="0">
                  <a:pos x="91" y="89"/>
                </a:cxn>
                <a:cxn ang="0">
                  <a:pos x="108" y="95"/>
                </a:cxn>
                <a:cxn ang="0">
                  <a:pos x="115" y="101"/>
                </a:cxn>
              </a:cxnLst>
              <a:rect l="0" t="0" r="r" b="b"/>
              <a:pathLst>
                <a:path w="131" h="147">
                  <a:moveTo>
                    <a:pt x="115" y="101"/>
                  </a:moveTo>
                  <a:lnTo>
                    <a:pt x="98" y="85"/>
                  </a:lnTo>
                  <a:lnTo>
                    <a:pt x="80" y="70"/>
                  </a:lnTo>
                  <a:lnTo>
                    <a:pt x="62" y="55"/>
                  </a:lnTo>
                  <a:lnTo>
                    <a:pt x="43" y="40"/>
                  </a:lnTo>
                  <a:lnTo>
                    <a:pt x="40" y="34"/>
                  </a:lnTo>
                  <a:lnTo>
                    <a:pt x="22" y="17"/>
                  </a:lnTo>
                  <a:lnTo>
                    <a:pt x="4" y="0"/>
                  </a:lnTo>
                  <a:lnTo>
                    <a:pt x="0" y="3"/>
                  </a:lnTo>
                  <a:lnTo>
                    <a:pt x="13" y="12"/>
                  </a:lnTo>
                  <a:lnTo>
                    <a:pt x="13" y="18"/>
                  </a:lnTo>
                  <a:lnTo>
                    <a:pt x="6" y="18"/>
                  </a:lnTo>
                  <a:lnTo>
                    <a:pt x="20" y="34"/>
                  </a:lnTo>
                  <a:lnTo>
                    <a:pt x="35" y="49"/>
                  </a:lnTo>
                  <a:lnTo>
                    <a:pt x="49" y="64"/>
                  </a:lnTo>
                  <a:lnTo>
                    <a:pt x="62" y="81"/>
                  </a:lnTo>
                  <a:lnTo>
                    <a:pt x="73" y="99"/>
                  </a:lnTo>
                  <a:lnTo>
                    <a:pt x="85" y="113"/>
                  </a:lnTo>
                  <a:lnTo>
                    <a:pt x="97" y="127"/>
                  </a:lnTo>
                  <a:lnTo>
                    <a:pt x="109" y="145"/>
                  </a:lnTo>
                  <a:lnTo>
                    <a:pt x="113" y="145"/>
                  </a:lnTo>
                  <a:lnTo>
                    <a:pt x="112" y="133"/>
                  </a:lnTo>
                  <a:lnTo>
                    <a:pt x="125" y="139"/>
                  </a:lnTo>
                  <a:lnTo>
                    <a:pt x="131" y="147"/>
                  </a:lnTo>
                  <a:lnTo>
                    <a:pt x="120" y="133"/>
                  </a:lnTo>
                  <a:lnTo>
                    <a:pt x="92" y="112"/>
                  </a:lnTo>
                  <a:lnTo>
                    <a:pt x="86" y="89"/>
                  </a:lnTo>
                  <a:lnTo>
                    <a:pt x="91" y="89"/>
                  </a:lnTo>
                  <a:lnTo>
                    <a:pt x="108" y="95"/>
                  </a:lnTo>
                  <a:lnTo>
                    <a:pt x="115" y="10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4" name="Freeform 351"/>
            <p:cNvSpPr>
              <a:spLocks/>
            </p:cNvSpPr>
            <p:nvPr/>
          </p:nvSpPr>
          <p:spPr bwMode="auto">
            <a:xfrm>
              <a:off x="3180" y="1239"/>
              <a:ext cx="149" cy="55"/>
            </a:xfrm>
            <a:custGeom>
              <a:avLst/>
              <a:gdLst/>
              <a:ahLst/>
              <a:cxnLst>
                <a:cxn ang="0">
                  <a:pos x="135" y="4"/>
                </a:cxn>
                <a:cxn ang="0">
                  <a:pos x="125" y="10"/>
                </a:cxn>
                <a:cxn ang="0">
                  <a:pos x="95" y="17"/>
                </a:cxn>
                <a:cxn ang="0">
                  <a:pos x="65" y="24"/>
                </a:cxn>
                <a:cxn ang="0">
                  <a:pos x="58" y="25"/>
                </a:cxn>
                <a:cxn ang="0">
                  <a:pos x="61" y="28"/>
                </a:cxn>
                <a:cxn ang="0">
                  <a:pos x="59" y="30"/>
                </a:cxn>
                <a:cxn ang="0">
                  <a:pos x="53" y="31"/>
                </a:cxn>
                <a:cxn ang="0">
                  <a:pos x="54" y="34"/>
                </a:cxn>
                <a:cxn ang="0">
                  <a:pos x="42" y="32"/>
                </a:cxn>
                <a:cxn ang="0">
                  <a:pos x="46" y="37"/>
                </a:cxn>
                <a:cxn ang="0">
                  <a:pos x="41" y="40"/>
                </a:cxn>
                <a:cxn ang="0">
                  <a:pos x="45" y="44"/>
                </a:cxn>
                <a:cxn ang="0">
                  <a:pos x="30" y="42"/>
                </a:cxn>
                <a:cxn ang="0">
                  <a:pos x="43" y="46"/>
                </a:cxn>
                <a:cxn ang="0">
                  <a:pos x="36" y="46"/>
                </a:cxn>
                <a:cxn ang="0">
                  <a:pos x="39" y="50"/>
                </a:cxn>
                <a:cxn ang="0">
                  <a:pos x="7" y="48"/>
                </a:cxn>
                <a:cxn ang="0">
                  <a:pos x="13" y="44"/>
                </a:cxn>
                <a:cxn ang="0">
                  <a:pos x="0" y="44"/>
                </a:cxn>
                <a:cxn ang="0">
                  <a:pos x="13" y="37"/>
                </a:cxn>
                <a:cxn ang="0">
                  <a:pos x="17" y="37"/>
                </a:cxn>
                <a:cxn ang="0">
                  <a:pos x="12" y="35"/>
                </a:cxn>
                <a:cxn ang="0">
                  <a:pos x="15" y="32"/>
                </a:cxn>
                <a:cxn ang="0">
                  <a:pos x="22" y="29"/>
                </a:cxn>
                <a:cxn ang="0">
                  <a:pos x="17" y="28"/>
                </a:cxn>
                <a:cxn ang="0">
                  <a:pos x="19" y="25"/>
                </a:cxn>
                <a:cxn ang="0">
                  <a:pos x="12" y="25"/>
                </a:cxn>
                <a:cxn ang="0">
                  <a:pos x="21" y="22"/>
                </a:cxn>
                <a:cxn ang="0">
                  <a:pos x="28" y="19"/>
                </a:cxn>
                <a:cxn ang="0">
                  <a:pos x="53" y="12"/>
                </a:cxn>
                <a:cxn ang="0">
                  <a:pos x="57" y="10"/>
                </a:cxn>
                <a:cxn ang="0">
                  <a:pos x="103" y="4"/>
                </a:cxn>
                <a:cxn ang="0">
                  <a:pos x="123" y="0"/>
                </a:cxn>
                <a:cxn ang="0">
                  <a:pos x="135" y="4"/>
                </a:cxn>
              </a:cxnLst>
              <a:rect l="0" t="0" r="r" b="b"/>
              <a:pathLst>
                <a:path w="135" h="50">
                  <a:moveTo>
                    <a:pt x="135" y="4"/>
                  </a:moveTo>
                  <a:lnTo>
                    <a:pt x="125" y="10"/>
                  </a:lnTo>
                  <a:lnTo>
                    <a:pt x="95" y="17"/>
                  </a:lnTo>
                  <a:lnTo>
                    <a:pt x="65" y="24"/>
                  </a:lnTo>
                  <a:lnTo>
                    <a:pt x="58" y="25"/>
                  </a:lnTo>
                  <a:lnTo>
                    <a:pt x="61" y="28"/>
                  </a:lnTo>
                  <a:lnTo>
                    <a:pt x="59" y="30"/>
                  </a:lnTo>
                  <a:lnTo>
                    <a:pt x="53" y="31"/>
                  </a:lnTo>
                  <a:lnTo>
                    <a:pt x="54" y="34"/>
                  </a:lnTo>
                  <a:lnTo>
                    <a:pt x="42" y="32"/>
                  </a:lnTo>
                  <a:lnTo>
                    <a:pt x="46" y="37"/>
                  </a:lnTo>
                  <a:lnTo>
                    <a:pt x="41" y="40"/>
                  </a:lnTo>
                  <a:lnTo>
                    <a:pt x="45" y="44"/>
                  </a:lnTo>
                  <a:lnTo>
                    <a:pt x="30" y="42"/>
                  </a:lnTo>
                  <a:lnTo>
                    <a:pt x="43" y="46"/>
                  </a:lnTo>
                  <a:lnTo>
                    <a:pt x="36" y="46"/>
                  </a:lnTo>
                  <a:lnTo>
                    <a:pt x="39" y="50"/>
                  </a:lnTo>
                  <a:lnTo>
                    <a:pt x="7" y="48"/>
                  </a:lnTo>
                  <a:lnTo>
                    <a:pt x="13" y="44"/>
                  </a:lnTo>
                  <a:lnTo>
                    <a:pt x="0" y="44"/>
                  </a:lnTo>
                  <a:lnTo>
                    <a:pt x="13" y="37"/>
                  </a:lnTo>
                  <a:lnTo>
                    <a:pt x="17" y="37"/>
                  </a:lnTo>
                  <a:lnTo>
                    <a:pt x="12" y="35"/>
                  </a:lnTo>
                  <a:lnTo>
                    <a:pt x="15" y="32"/>
                  </a:lnTo>
                  <a:lnTo>
                    <a:pt x="22" y="29"/>
                  </a:lnTo>
                  <a:lnTo>
                    <a:pt x="17" y="28"/>
                  </a:lnTo>
                  <a:lnTo>
                    <a:pt x="19" y="25"/>
                  </a:lnTo>
                  <a:lnTo>
                    <a:pt x="12" y="25"/>
                  </a:lnTo>
                  <a:lnTo>
                    <a:pt x="21" y="22"/>
                  </a:lnTo>
                  <a:lnTo>
                    <a:pt x="28" y="19"/>
                  </a:lnTo>
                  <a:lnTo>
                    <a:pt x="53" y="12"/>
                  </a:lnTo>
                  <a:lnTo>
                    <a:pt x="57" y="10"/>
                  </a:lnTo>
                  <a:lnTo>
                    <a:pt x="103" y="4"/>
                  </a:lnTo>
                  <a:lnTo>
                    <a:pt x="123" y="0"/>
                  </a:lnTo>
                  <a:lnTo>
                    <a:pt x="135"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5" name="Freeform 352"/>
            <p:cNvSpPr>
              <a:spLocks/>
            </p:cNvSpPr>
            <p:nvPr/>
          </p:nvSpPr>
          <p:spPr bwMode="auto">
            <a:xfrm>
              <a:off x="3167" y="1294"/>
              <a:ext cx="88" cy="42"/>
            </a:xfrm>
            <a:custGeom>
              <a:avLst/>
              <a:gdLst/>
              <a:ahLst/>
              <a:cxnLst>
                <a:cxn ang="0">
                  <a:pos x="80" y="38"/>
                </a:cxn>
                <a:cxn ang="0">
                  <a:pos x="50" y="26"/>
                </a:cxn>
                <a:cxn ang="0">
                  <a:pos x="41" y="10"/>
                </a:cxn>
                <a:cxn ang="0">
                  <a:pos x="41" y="8"/>
                </a:cxn>
                <a:cxn ang="0">
                  <a:pos x="42" y="5"/>
                </a:cxn>
                <a:cxn ang="0">
                  <a:pos x="45" y="2"/>
                </a:cxn>
                <a:cxn ang="0">
                  <a:pos x="16" y="0"/>
                </a:cxn>
                <a:cxn ang="0">
                  <a:pos x="11" y="5"/>
                </a:cxn>
                <a:cxn ang="0">
                  <a:pos x="8" y="10"/>
                </a:cxn>
                <a:cxn ang="0">
                  <a:pos x="11" y="11"/>
                </a:cxn>
                <a:cxn ang="0">
                  <a:pos x="6" y="18"/>
                </a:cxn>
                <a:cxn ang="0">
                  <a:pos x="0" y="21"/>
                </a:cxn>
                <a:cxn ang="0">
                  <a:pos x="8" y="27"/>
                </a:cxn>
                <a:cxn ang="0">
                  <a:pos x="17" y="27"/>
                </a:cxn>
                <a:cxn ang="0">
                  <a:pos x="24" y="27"/>
                </a:cxn>
                <a:cxn ang="0">
                  <a:pos x="29" y="28"/>
                </a:cxn>
                <a:cxn ang="0">
                  <a:pos x="35" y="33"/>
                </a:cxn>
                <a:cxn ang="0">
                  <a:pos x="34" y="34"/>
                </a:cxn>
                <a:cxn ang="0">
                  <a:pos x="45" y="38"/>
                </a:cxn>
                <a:cxn ang="0">
                  <a:pos x="53" y="38"/>
                </a:cxn>
                <a:cxn ang="0">
                  <a:pos x="64" y="39"/>
                </a:cxn>
                <a:cxn ang="0">
                  <a:pos x="75" y="39"/>
                </a:cxn>
                <a:cxn ang="0">
                  <a:pos x="80" y="38"/>
                </a:cxn>
              </a:cxnLst>
              <a:rect l="0" t="0" r="r" b="b"/>
              <a:pathLst>
                <a:path w="80" h="39">
                  <a:moveTo>
                    <a:pt x="80" y="38"/>
                  </a:moveTo>
                  <a:lnTo>
                    <a:pt x="50" y="26"/>
                  </a:lnTo>
                  <a:lnTo>
                    <a:pt x="41" y="10"/>
                  </a:lnTo>
                  <a:lnTo>
                    <a:pt x="41" y="8"/>
                  </a:lnTo>
                  <a:lnTo>
                    <a:pt x="42" y="5"/>
                  </a:lnTo>
                  <a:lnTo>
                    <a:pt x="45" y="2"/>
                  </a:lnTo>
                  <a:lnTo>
                    <a:pt x="16" y="0"/>
                  </a:lnTo>
                  <a:lnTo>
                    <a:pt x="11" y="5"/>
                  </a:lnTo>
                  <a:lnTo>
                    <a:pt x="8" y="10"/>
                  </a:lnTo>
                  <a:lnTo>
                    <a:pt x="11" y="11"/>
                  </a:lnTo>
                  <a:lnTo>
                    <a:pt x="6" y="18"/>
                  </a:lnTo>
                  <a:lnTo>
                    <a:pt x="0" y="21"/>
                  </a:lnTo>
                  <a:lnTo>
                    <a:pt x="8" y="27"/>
                  </a:lnTo>
                  <a:lnTo>
                    <a:pt x="17" y="27"/>
                  </a:lnTo>
                  <a:lnTo>
                    <a:pt x="24" y="27"/>
                  </a:lnTo>
                  <a:lnTo>
                    <a:pt x="29" y="28"/>
                  </a:lnTo>
                  <a:lnTo>
                    <a:pt x="35" y="33"/>
                  </a:lnTo>
                  <a:lnTo>
                    <a:pt x="34" y="34"/>
                  </a:lnTo>
                  <a:lnTo>
                    <a:pt x="45" y="38"/>
                  </a:lnTo>
                  <a:lnTo>
                    <a:pt x="53" y="38"/>
                  </a:lnTo>
                  <a:lnTo>
                    <a:pt x="64" y="39"/>
                  </a:lnTo>
                  <a:lnTo>
                    <a:pt x="75" y="39"/>
                  </a:lnTo>
                  <a:lnTo>
                    <a:pt x="80" y="3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6" name="Freeform 353"/>
            <p:cNvSpPr>
              <a:spLocks/>
            </p:cNvSpPr>
            <p:nvPr/>
          </p:nvSpPr>
          <p:spPr bwMode="auto">
            <a:xfrm>
              <a:off x="4140" y="1250"/>
              <a:ext cx="102" cy="24"/>
            </a:xfrm>
            <a:custGeom>
              <a:avLst/>
              <a:gdLst/>
              <a:ahLst/>
              <a:cxnLst>
                <a:cxn ang="0">
                  <a:pos x="94" y="9"/>
                </a:cxn>
                <a:cxn ang="0">
                  <a:pos x="35" y="0"/>
                </a:cxn>
                <a:cxn ang="0">
                  <a:pos x="42" y="2"/>
                </a:cxn>
                <a:cxn ang="0">
                  <a:pos x="35" y="2"/>
                </a:cxn>
                <a:cxn ang="0">
                  <a:pos x="41" y="6"/>
                </a:cxn>
                <a:cxn ang="0">
                  <a:pos x="12" y="1"/>
                </a:cxn>
                <a:cxn ang="0">
                  <a:pos x="1" y="4"/>
                </a:cxn>
                <a:cxn ang="0">
                  <a:pos x="0" y="6"/>
                </a:cxn>
                <a:cxn ang="0">
                  <a:pos x="6" y="9"/>
                </a:cxn>
                <a:cxn ang="0">
                  <a:pos x="10" y="12"/>
                </a:cxn>
                <a:cxn ang="0">
                  <a:pos x="46" y="21"/>
                </a:cxn>
                <a:cxn ang="0">
                  <a:pos x="47" y="18"/>
                </a:cxn>
                <a:cxn ang="0">
                  <a:pos x="76" y="16"/>
                </a:cxn>
                <a:cxn ang="0">
                  <a:pos x="89" y="16"/>
                </a:cxn>
                <a:cxn ang="0">
                  <a:pos x="83" y="15"/>
                </a:cxn>
                <a:cxn ang="0">
                  <a:pos x="93" y="13"/>
                </a:cxn>
                <a:cxn ang="0">
                  <a:pos x="94" y="9"/>
                </a:cxn>
              </a:cxnLst>
              <a:rect l="0" t="0" r="r" b="b"/>
              <a:pathLst>
                <a:path w="94" h="21">
                  <a:moveTo>
                    <a:pt x="94" y="9"/>
                  </a:moveTo>
                  <a:lnTo>
                    <a:pt x="35" y="0"/>
                  </a:lnTo>
                  <a:lnTo>
                    <a:pt x="42" y="2"/>
                  </a:lnTo>
                  <a:lnTo>
                    <a:pt x="35" y="2"/>
                  </a:lnTo>
                  <a:lnTo>
                    <a:pt x="41" y="6"/>
                  </a:lnTo>
                  <a:lnTo>
                    <a:pt x="12" y="1"/>
                  </a:lnTo>
                  <a:lnTo>
                    <a:pt x="1" y="4"/>
                  </a:lnTo>
                  <a:lnTo>
                    <a:pt x="0" y="6"/>
                  </a:lnTo>
                  <a:lnTo>
                    <a:pt x="6" y="9"/>
                  </a:lnTo>
                  <a:lnTo>
                    <a:pt x="10" y="12"/>
                  </a:lnTo>
                  <a:lnTo>
                    <a:pt x="46" y="21"/>
                  </a:lnTo>
                  <a:lnTo>
                    <a:pt x="47" y="18"/>
                  </a:lnTo>
                  <a:lnTo>
                    <a:pt x="76" y="16"/>
                  </a:lnTo>
                  <a:lnTo>
                    <a:pt x="89" y="16"/>
                  </a:lnTo>
                  <a:lnTo>
                    <a:pt x="83" y="15"/>
                  </a:lnTo>
                  <a:lnTo>
                    <a:pt x="93" y="13"/>
                  </a:lnTo>
                  <a:lnTo>
                    <a:pt x="94"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7" name="Freeform 354"/>
            <p:cNvSpPr>
              <a:spLocks/>
            </p:cNvSpPr>
            <p:nvPr/>
          </p:nvSpPr>
          <p:spPr bwMode="auto">
            <a:xfrm>
              <a:off x="3562" y="1192"/>
              <a:ext cx="80" cy="18"/>
            </a:xfrm>
            <a:custGeom>
              <a:avLst/>
              <a:gdLst/>
              <a:ahLst/>
              <a:cxnLst>
                <a:cxn ang="0">
                  <a:pos x="61" y="5"/>
                </a:cxn>
                <a:cxn ang="0">
                  <a:pos x="43" y="2"/>
                </a:cxn>
                <a:cxn ang="0">
                  <a:pos x="36" y="4"/>
                </a:cxn>
                <a:cxn ang="0">
                  <a:pos x="30" y="0"/>
                </a:cxn>
                <a:cxn ang="0">
                  <a:pos x="3" y="2"/>
                </a:cxn>
                <a:cxn ang="0">
                  <a:pos x="0" y="8"/>
                </a:cxn>
                <a:cxn ang="0">
                  <a:pos x="9" y="8"/>
                </a:cxn>
                <a:cxn ang="0">
                  <a:pos x="24" y="14"/>
                </a:cxn>
                <a:cxn ang="0">
                  <a:pos x="72" y="17"/>
                </a:cxn>
                <a:cxn ang="0">
                  <a:pos x="67" y="12"/>
                </a:cxn>
                <a:cxn ang="0">
                  <a:pos x="61" y="5"/>
                </a:cxn>
              </a:cxnLst>
              <a:rect l="0" t="0" r="r" b="b"/>
              <a:pathLst>
                <a:path w="72" h="17">
                  <a:moveTo>
                    <a:pt x="61" y="5"/>
                  </a:moveTo>
                  <a:lnTo>
                    <a:pt x="43" y="2"/>
                  </a:lnTo>
                  <a:lnTo>
                    <a:pt x="36" y="4"/>
                  </a:lnTo>
                  <a:lnTo>
                    <a:pt x="30" y="0"/>
                  </a:lnTo>
                  <a:lnTo>
                    <a:pt x="3" y="2"/>
                  </a:lnTo>
                  <a:lnTo>
                    <a:pt x="0" y="8"/>
                  </a:lnTo>
                  <a:lnTo>
                    <a:pt x="9" y="8"/>
                  </a:lnTo>
                  <a:lnTo>
                    <a:pt x="24" y="14"/>
                  </a:lnTo>
                  <a:lnTo>
                    <a:pt x="72" y="17"/>
                  </a:lnTo>
                  <a:lnTo>
                    <a:pt x="67" y="12"/>
                  </a:lnTo>
                  <a:lnTo>
                    <a:pt x="61"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8" name="Freeform 355"/>
            <p:cNvSpPr>
              <a:spLocks/>
            </p:cNvSpPr>
            <p:nvPr/>
          </p:nvSpPr>
          <p:spPr bwMode="auto">
            <a:xfrm>
              <a:off x="3653" y="1203"/>
              <a:ext cx="60" cy="20"/>
            </a:xfrm>
            <a:custGeom>
              <a:avLst/>
              <a:gdLst/>
              <a:ahLst/>
              <a:cxnLst>
                <a:cxn ang="0">
                  <a:pos x="53" y="10"/>
                </a:cxn>
                <a:cxn ang="0">
                  <a:pos x="26" y="2"/>
                </a:cxn>
                <a:cxn ang="0">
                  <a:pos x="20" y="7"/>
                </a:cxn>
                <a:cxn ang="0">
                  <a:pos x="15" y="0"/>
                </a:cxn>
                <a:cxn ang="0">
                  <a:pos x="8" y="0"/>
                </a:cxn>
                <a:cxn ang="0">
                  <a:pos x="11" y="2"/>
                </a:cxn>
                <a:cxn ang="0">
                  <a:pos x="0" y="2"/>
                </a:cxn>
                <a:cxn ang="0">
                  <a:pos x="3" y="4"/>
                </a:cxn>
                <a:cxn ang="0">
                  <a:pos x="9" y="8"/>
                </a:cxn>
                <a:cxn ang="0">
                  <a:pos x="2" y="10"/>
                </a:cxn>
                <a:cxn ang="0">
                  <a:pos x="6" y="19"/>
                </a:cxn>
                <a:cxn ang="0">
                  <a:pos x="54" y="12"/>
                </a:cxn>
                <a:cxn ang="0">
                  <a:pos x="53" y="10"/>
                </a:cxn>
              </a:cxnLst>
              <a:rect l="0" t="0" r="r" b="b"/>
              <a:pathLst>
                <a:path w="54" h="19">
                  <a:moveTo>
                    <a:pt x="53" y="10"/>
                  </a:moveTo>
                  <a:lnTo>
                    <a:pt x="26" y="2"/>
                  </a:lnTo>
                  <a:lnTo>
                    <a:pt x="20" y="7"/>
                  </a:lnTo>
                  <a:lnTo>
                    <a:pt x="15" y="0"/>
                  </a:lnTo>
                  <a:lnTo>
                    <a:pt x="8" y="0"/>
                  </a:lnTo>
                  <a:lnTo>
                    <a:pt x="11" y="2"/>
                  </a:lnTo>
                  <a:lnTo>
                    <a:pt x="0" y="2"/>
                  </a:lnTo>
                  <a:lnTo>
                    <a:pt x="3" y="4"/>
                  </a:lnTo>
                  <a:lnTo>
                    <a:pt x="9" y="8"/>
                  </a:lnTo>
                  <a:lnTo>
                    <a:pt x="2" y="10"/>
                  </a:lnTo>
                  <a:lnTo>
                    <a:pt x="6" y="19"/>
                  </a:lnTo>
                  <a:lnTo>
                    <a:pt x="54" y="12"/>
                  </a:lnTo>
                  <a:lnTo>
                    <a:pt x="53"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9" name="Freeform 356"/>
            <p:cNvSpPr>
              <a:spLocks/>
            </p:cNvSpPr>
            <p:nvPr/>
          </p:nvSpPr>
          <p:spPr bwMode="auto">
            <a:xfrm>
              <a:off x="3529" y="1181"/>
              <a:ext cx="64" cy="11"/>
            </a:xfrm>
            <a:custGeom>
              <a:avLst/>
              <a:gdLst/>
              <a:ahLst/>
              <a:cxnLst>
                <a:cxn ang="0">
                  <a:pos x="56" y="5"/>
                </a:cxn>
                <a:cxn ang="0">
                  <a:pos x="31" y="0"/>
                </a:cxn>
                <a:cxn ang="0">
                  <a:pos x="2" y="3"/>
                </a:cxn>
                <a:cxn ang="0">
                  <a:pos x="9" y="4"/>
                </a:cxn>
                <a:cxn ang="0">
                  <a:pos x="8" y="7"/>
                </a:cxn>
                <a:cxn ang="0">
                  <a:pos x="0" y="9"/>
                </a:cxn>
                <a:cxn ang="0">
                  <a:pos x="17" y="9"/>
                </a:cxn>
                <a:cxn ang="0">
                  <a:pos x="12" y="11"/>
                </a:cxn>
                <a:cxn ang="0">
                  <a:pos x="56" y="10"/>
                </a:cxn>
                <a:cxn ang="0">
                  <a:pos x="50" y="7"/>
                </a:cxn>
                <a:cxn ang="0">
                  <a:pos x="56" y="5"/>
                </a:cxn>
              </a:cxnLst>
              <a:rect l="0" t="0" r="r" b="b"/>
              <a:pathLst>
                <a:path w="56" h="11">
                  <a:moveTo>
                    <a:pt x="56" y="5"/>
                  </a:moveTo>
                  <a:lnTo>
                    <a:pt x="31" y="0"/>
                  </a:lnTo>
                  <a:lnTo>
                    <a:pt x="2" y="3"/>
                  </a:lnTo>
                  <a:lnTo>
                    <a:pt x="9" y="4"/>
                  </a:lnTo>
                  <a:lnTo>
                    <a:pt x="8" y="7"/>
                  </a:lnTo>
                  <a:lnTo>
                    <a:pt x="0" y="9"/>
                  </a:lnTo>
                  <a:lnTo>
                    <a:pt x="17" y="9"/>
                  </a:lnTo>
                  <a:lnTo>
                    <a:pt x="12" y="11"/>
                  </a:lnTo>
                  <a:lnTo>
                    <a:pt x="56" y="10"/>
                  </a:lnTo>
                  <a:lnTo>
                    <a:pt x="50" y="7"/>
                  </a:lnTo>
                  <a:lnTo>
                    <a:pt x="56" y="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0" name="Freeform 357"/>
            <p:cNvSpPr>
              <a:spLocks/>
            </p:cNvSpPr>
            <p:nvPr/>
          </p:nvSpPr>
          <p:spPr bwMode="auto">
            <a:xfrm>
              <a:off x="4253" y="1259"/>
              <a:ext cx="67" cy="11"/>
            </a:xfrm>
            <a:custGeom>
              <a:avLst/>
              <a:gdLst/>
              <a:ahLst/>
              <a:cxnLst>
                <a:cxn ang="0">
                  <a:pos x="59" y="6"/>
                </a:cxn>
                <a:cxn ang="0">
                  <a:pos x="14" y="2"/>
                </a:cxn>
                <a:cxn ang="0">
                  <a:pos x="0" y="0"/>
                </a:cxn>
                <a:cxn ang="0">
                  <a:pos x="5" y="5"/>
                </a:cxn>
                <a:cxn ang="0">
                  <a:pos x="54" y="11"/>
                </a:cxn>
                <a:cxn ang="0">
                  <a:pos x="59" y="6"/>
                </a:cxn>
              </a:cxnLst>
              <a:rect l="0" t="0" r="r" b="b"/>
              <a:pathLst>
                <a:path w="59" h="11">
                  <a:moveTo>
                    <a:pt x="59" y="6"/>
                  </a:moveTo>
                  <a:lnTo>
                    <a:pt x="14" y="2"/>
                  </a:lnTo>
                  <a:lnTo>
                    <a:pt x="0" y="0"/>
                  </a:lnTo>
                  <a:lnTo>
                    <a:pt x="5" y="5"/>
                  </a:lnTo>
                  <a:lnTo>
                    <a:pt x="54" y="11"/>
                  </a:lnTo>
                  <a:lnTo>
                    <a:pt x="59"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1" name="Freeform 358"/>
            <p:cNvSpPr>
              <a:spLocks/>
            </p:cNvSpPr>
            <p:nvPr/>
          </p:nvSpPr>
          <p:spPr bwMode="auto">
            <a:xfrm>
              <a:off x="2831" y="1616"/>
              <a:ext cx="31" cy="14"/>
            </a:xfrm>
            <a:custGeom>
              <a:avLst/>
              <a:gdLst/>
              <a:ahLst/>
              <a:cxnLst>
                <a:cxn ang="0">
                  <a:pos x="8" y="0"/>
                </a:cxn>
                <a:cxn ang="0">
                  <a:pos x="7" y="3"/>
                </a:cxn>
                <a:cxn ang="0">
                  <a:pos x="0" y="2"/>
                </a:cxn>
                <a:cxn ang="0">
                  <a:pos x="0" y="3"/>
                </a:cxn>
                <a:cxn ang="0">
                  <a:pos x="1" y="5"/>
                </a:cxn>
                <a:cxn ang="0">
                  <a:pos x="2" y="5"/>
                </a:cxn>
                <a:cxn ang="0">
                  <a:pos x="0" y="6"/>
                </a:cxn>
                <a:cxn ang="0">
                  <a:pos x="0" y="8"/>
                </a:cxn>
                <a:cxn ang="0">
                  <a:pos x="6" y="9"/>
                </a:cxn>
                <a:cxn ang="0">
                  <a:pos x="29" y="11"/>
                </a:cxn>
                <a:cxn ang="0">
                  <a:pos x="29" y="3"/>
                </a:cxn>
                <a:cxn ang="0">
                  <a:pos x="17" y="2"/>
                </a:cxn>
                <a:cxn ang="0">
                  <a:pos x="8" y="0"/>
                </a:cxn>
              </a:cxnLst>
              <a:rect l="0" t="0" r="r" b="b"/>
              <a:pathLst>
                <a:path w="29" h="11">
                  <a:moveTo>
                    <a:pt x="8" y="0"/>
                  </a:moveTo>
                  <a:lnTo>
                    <a:pt x="7" y="3"/>
                  </a:lnTo>
                  <a:lnTo>
                    <a:pt x="0" y="2"/>
                  </a:lnTo>
                  <a:lnTo>
                    <a:pt x="0" y="3"/>
                  </a:lnTo>
                  <a:lnTo>
                    <a:pt x="1" y="5"/>
                  </a:lnTo>
                  <a:lnTo>
                    <a:pt x="2" y="5"/>
                  </a:lnTo>
                  <a:lnTo>
                    <a:pt x="0" y="6"/>
                  </a:lnTo>
                  <a:lnTo>
                    <a:pt x="0" y="8"/>
                  </a:lnTo>
                  <a:lnTo>
                    <a:pt x="6" y="9"/>
                  </a:lnTo>
                  <a:lnTo>
                    <a:pt x="29" y="11"/>
                  </a:lnTo>
                  <a:lnTo>
                    <a:pt x="29" y="3"/>
                  </a:lnTo>
                  <a:lnTo>
                    <a:pt x="17" y="2"/>
                  </a:lnTo>
                  <a:lnTo>
                    <a:pt x="8"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2" name="Freeform 359"/>
            <p:cNvSpPr>
              <a:spLocks/>
            </p:cNvSpPr>
            <p:nvPr/>
          </p:nvSpPr>
          <p:spPr bwMode="auto">
            <a:xfrm>
              <a:off x="4224" y="1285"/>
              <a:ext cx="51" cy="11"/>
            </a:xfrm>
            <a:custGeom>
              <a:avLst/>
              <a:gdLst/>
              <a:ahLst/>
              <a:cxnLst>
                <a:cxn ang="0">
                  <a:pos x="46" y="10"/>
                </a:cxn>
                <a:cxn ang="0">
                  <a:pos x="0" y="6"/>
                </a:cxn>
                <a:cxn ang="0">
                  <a:pos x="16" y="0"/>
                </a:cxn>
                <a:cxn ang="0">
                  <a:pos x="41" y="7"/>
                </a:cxn>
                <a:cxn ang="0">
                  <a:pos x="46" y="10"/>
                </a:cxn>
              </a:cxnLst>
              <a:rect l="0" t="0" r="r" b="b"/>
              <a:pathLst>
                <a:path w="46" h="10">
                  <a:moveTo>
                    <a:pt x="46" y="10"/>
                  </a:moveTo>
                  <a:lnTo>
                    <a:pt x="0" y="6"/>
                  </a:lnTo>
                  <a:lnTo>
                    <a:pt x="16" y="0"/>
                  </a:lnTo>
                  <a:lnTo>
                    <a:pt x="41" y="7"/>
                  </a:lnTo>
                  <a:lnTo>
                    <a:pt x="46"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3" name="Freeform 360"/>
            <p:cNvSpPr>
              <a:spLocks/>
            </p:cNvSpPr>
            <p:nvPr/>
          </p:nvSpPr>
          <p:spPr bwMode="auto">
            <a:xfrm>
              <a:off x="3149" y="1356"/>
              <a:ext cx="27" cy="14"/>
            </a:xfrm>
            <a:custGeom>
              <a:avLst/>
              <a:gdLst/>
              <a:ahLst/>
              <a:cxnLst>
                <a:cxn ang="0">
                  <a:pos x="24" y="6"/>
                </a:cxn>
                <a:cxn ang="0">
                  <a:pos x="6" y="12"/>
                </a:cxn>
                <a:cxn ang="0">
                  <a:pos x="0" y="4"/>
                </a:cxn>
                <a:cxn ang="0">
                  <a:pos x="6" y="0"/>
                </a:cxn>
                <a:cxn ang="0">
                  <a:pos x="24" y="6"/>
                </a:cxn>
              </a:cxnLst>
              <a:rect l="0" t="0" r="r" b="b"/>
              <a:pathLst>
                <a:path w="24" h="12">
                  <a:moveTo>
                    <a:pt x="24" y="6"/>
                  </a:moveTo>
                  <a:lnTo>
                    <a:pt x="6" y="12"/>
                  </a:lnTo>
                  <a:lnTo>
                    <a:pt x="0" y="4"/>
                  </a:lnTo>
                  <a:lnTo>
                    <a:pt x="6" y="0"/>
                  </a:lnTo>
                  <a:lnTo>
                    <a:pt x="24"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4" name="Freeform 361"/>
            <p:cNvSpPr>
              <a:spLocks/>
            </p:cNvSpPr>
            <p:nvPr/>
          </p:nvSpPr>
          <p:spPr bwMode="auto">
            <a:xfrm>
              <a:off x="280" y="1323"/>
              <a:ext cx="40" cy="9"/>
            </a:xfrm>
            <a:custGeom>
              <a:avLst/>
              <a:gdLst/>
              <a:ahLst/>
              <a:cxnLst>
                <a:cxn ang="0">
                  <a:pos x="33" y="6"/>
                </a:cxn>
                <a:cxn ang="0">
                  <a:pos x="0" y="8"/>
                </a:cxn>
                <a:cxn ang="0">
                  <a:pos x="18" y="0"/>
                </a:cxn>
                <a:cxn ang="0">
                  <a:pos x="35" y="3"/>
                </a:cxn>
                <a:cxn ang="0">
                  <a:pos x="33" y="6"/>
                </a:cxn>
              </a:cxnLst>
              <a:rect l="0" t="0" r="r" b="b"/>
              <a:pathLst>
                <a:path w="35" h="8">
                  <a:moveTo>
                    <a:pt x="33" y="6"/>
                  </a:moveTo>
                  <a:lnTo>
                    <a:pt x="0" y="8"/>
                  </a:lnTo>
                  <a:lnTo>
                    <a:pt x="18" y="0"/>
                  </a:lnTo>
                  <a:lnTo>
                    <a:pt x="35" y="3"/>
                  </a:lnTo>
                  <a:lnTo>
                    <a:pt x="33"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5" name="Freeform 362"/>
            <p:cNvSpPr>
              <a:spLocks/>
            </p:cNvSpPr>
            <p:nvPr/>
          </p:nvSpPr>
          <p:spPr bwMode="auto">
            <a:xfrm>
              <a:off x="3042" y="1183"/>
              <a:ext cx="49" cy="9"/>
            </a:xfrm>
            <a:custGeom>
              <a:avLst/>
              <a:gdLst/>
              <a:ahLst/>
              <a:cxnLst>
                <a:cxn ang="0">
                  <a:pos x="43" y="1"/>
                </a:cxn>
                <a:cxn ang="0">
                  <a:pos x="17" y="5"/>
                </a:cxn>
                <a:cxn ang="0">
                  <a:pos x="8" y="7"/>
                </a:cxn>
                <a:cxn ang="0">
                  <a:pos x="0" y="7"/>
                </a:cxn>
                <a:cxn ang="0">
                  <a:pos x="8" y="5"/>
                </a:cxn>
                <a:cxn ang="0">
                  <a:pos x="24" y="1"/>
                </a:cxn>
                <a:cxn ang="0">
                  <a:pos x="36" y="0"/>
                </a:cxn>
                <a:cxn ang="0">
                  <a:pos x="43" y="1"/>
                </a:cxn>
              </a:cxnLst>
              <a:rect l="0" t="0" r="r" b="b"/>
              <a:pathLst>
                <a:path w="43" h="7">
                  <a:moveTo>
                    <a:pt x="43" y="1"/>
                  </a:moveTo>
                  <a:lnTo>
                    <a:pt x="17" y="5"/>
                  </a:lnTo>
                  <a:lnTo>
                    <a:pt x="8" y="7"/>
                  </a:lnTo>
                  <a:lnTo>
                    <a:pt x="0" y="7"/>
                  </a:lnTo>
                  <a:lnTo>
                    <a:pt x="8" y="5"/>
                  </a:lnTo>
                  <a:lnTo>
                    <a:pt x="24" y="1"/>
                  </a:lnTo>
                  <a:lnTo>
                    <a:pt x="36" y="0"/>
                  </a:lnTo>
                  <a:lnTo>
                    <a:pt x="43"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6" name="Freeform 363"/>
            <p:cNvSpPr>
              <a:spLocks/>
            </p:cNvSpPr>
            <p:nvPr/>
          </p:nvSpPr>
          <p:spPr bwMode="auto">
            <a:xfrm>
              <a:off x="4860" y="1801"/>
              <a:ext cx="15" cy="20"/>
            </a:xfrm>
            <a:custGeom>
              <a:avLst/>
              <a:gdLst/>
              <a:ahLst/>
              <a:cxnLst>
                <a:cxn ang="0">
                  <a:pos x="15" y="0"/>
                </a:cxn>
                <a:cxn ang="0">
                  <a:pos x="3" y="5"/>
                </a:cxn>
                <a:cxn ang="0">
                  <a:pos x="0" y="18"/>
                </a:cxn>
                <a:cxn ang="0">
                  <a:pos x="6" y="11"/>
                </a:cxn>
                <a:cxn ang="0">
                  <a:pos x="12" y="3"/>
                </a:cxn>
                <a:cxn ang="0">
                  <a:pos x="15" y="0"/>
                </a:cxn>
              </a:cxnLst>
              <a:rect l="0" t="0" r="r" b="b"/>
              <a:pathLst>
                <a:path w="15" h="18">
                  <a:moveTo>
                    <a:pt x="15" y="0"/>
                  </a:moveTo>
                  <a:lnTo>
                    <a:pt x="3" y="5"/>
                  </a:lnTo>
                  <a:lnTo>
                    <a:pt x="0" y="18"/>
                  </a:lnTo>
                  <a:lnTo>
                    <a:pt x="6" y="11"/>
                  </a:lnTo>
                  <a:lnTo>
                    <a:pt x="12" y="3"/>
                  </a:lnTo>
                  <a:lnTo>
                    <a:pt x="15"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7" name="Freeform 364"/>
            <p:cNvSpPr>
              <a:spLocks/>
            </p:cNvSpPr>
            <p:nvPr/>
          </p:nvSpPr>
          <p:spPr bwMode="auto">
            <a:xfrm>
              <a:off x="4762" y="1323"/>
              <a:ext cx="20" cy="11"/>
            </a:xfrm>
            <a:custGeom>
              <a:avLst/>
              <a:gdLst/>
              <a:ahLst/>
              <a:cxnLst>
                <a:cxn ang="0">
                  <a:pos x="3" y="0"/>
                </a:cxn>
                <a:cxn ang="0">
                  <a:pos x="0" y="6"/>
                </a:cxn>
                <a:cxn ang="0">
                  <a:pos x="9" y="10"/>
                </a:cxn>
                <a:cxn ang="0">
                  <a:pos x="17" y="9"/>
                </a:cxn>
                <a:cxn ang="0">
                  <a:pos x="3" y="0"/>
                </a:cxn>
              </a:cxnLst>
              <a:rect l="0" t="0" r="r" b="b"/>
              <a:pathLst>
                <a:path w="17" h="10">
                  <a:moveTo>
                    <a:pt x="3" y="0"/>
                  </a:moveTo>
                  <a:lnTo>
                    <a:pt x="0" y="6"/>
                  </a:lnTo>
                  <a:lnTo>
                    <a:pt x="9" y="10"/>
                  </a:lnTo>
                  <a:lnTo>
                    <a:pt x="17" y="9"/>
                  </a:lnTo>
                  <a:lnTo>
                    <a:pt x="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8" name="Freeform 365"/>
            <p:cNvSpPr>
              <a:spLocks/>
            </p:cNvSpPr>
            <p:nvPr/>
          </p:nvSpPr>
          <p:spPr bwMode="auto">
            <a:xfrm>
              <a:off x="3269" y="1341"/>
              <a:ext cx="31" cy="9"/>
            </a:xfrm>
            <a:custGeom>
              <a:avLst/>
              <a:gdLst/>
              <a:ahLst/>
              <a:cxnLst>
                <a:cxn ang="0">
                  <a:pos x="28" y="9"/>
                </a:cxn>
                <a:cxn ang="0">
                  <a:pos x="3" y="0"/>
                </a:cxn>
                <a:cxn ang="0">
                  <a:pos x="0" y="3"/>
                </a:cxn>
                <a:cxn ang="0">
                  <a:pos x="18" y="9"/>
                </a:cxn>
                <a:cxn ang="0">
                  <a:pos x="28" y="9"/>
                </a:cxn>
              </a:cxnLst>
              <a:rect l="0" t="0" r="r" b="b"/>
              <a:pathLst>
                <a:path w="28" h="9">
                  <a:moveTo>
                    <a:pt x="28" y="9"/>
                  </a:moveTo>
                  <a:lnTo>
                    <a:pt x="3" y="0"/>
                  </a:lnTo>
                  <a:lnTo>
                    <a:pt x="0" y="3"/>
                  </a:lnTo>
                  <a:lnTo>
                    <a:pt x="18" y="9"/>
                  </a:lnTo>
                  <a:lnTo>
                    <a:pt x="28" y="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9" name="Freeform 366"/>
            <p:cNvSpPr>
              <a:spLocks/>
            </p:cNvSpPr>
            <p:nvPr/>
          </p:nvSpPr>
          <p:spPr bwMode="auto">
            <a:xfrm>
              <a:off x="2847" y="1550"/>
              <a:ext cx="17" cy="9"/>
            </a:xfrm>
            <a:custGeom>
              <a:avLst/>
              <a:gdLst/>
              <a:ahLst/>
              <a:cxnLst>
                <a:cxn ang="0">
                  <a:pos x="16" y="1"/>
                </a:cxn>
                <a:cxn ang="0">
                  <a:pos x="2" y="7"/>
                </a:cxn>
                <a:cxn ang="0">
                  <a:pos x="0" y="1"/>
                </a:cxn>
                <a:cxn ang="0">
                  <a:pos x="14" y="0"/>
                </a:cxn>
                <a:cxn ang="0">
                  <a:pos x="16" y="1"/>
                </a:cxn>
              </a:cxnLst>
              <a:rect l="0" t="0" r="r" b="b"/>
              <a:pathLst>
                <a:path w="16" h="7">
                  <a:moveTo>
                    <a:pt x="16" y="1"/>
                  </a:moveTo>
                  <a:lnTo>
                    <a:pt x="2" y="7"/>
                  </a:lnTo>
                  <a:lnTo>
                    <a:pt x="0" y="1"/>
                  </a:lnTo>
                  <a:lnTo>
                    <a:pt x="14" y="0"/>
                  </a:lnTo>
                  <a:lnTo>
                    <a:pt x="16"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0" name="Freeform 367"/>
            <p:cNvSpPr>
              <a:spLocks/>
            </p:cNvSpPr>
            <p:nvPr/>
          </p:nvSpPr>
          <p:spPr bwMode="auto">
            <a:xfrm>
              <a:off x="4860" y="1536"/>
              <a:ext cx="11" cy="14"/>
            </a:xfrm>
            <a:custGeom>
              <a:avLst/>
              <a:gdLst/>
              <a:ahLst/>
              <a:cxnLst>
                <a:cxn ang="0">
                  <a:pos x="11" y="3"/>
                </a:cxn>
                <a:cxn ang="0">
                  <a:pos x="5" y="11"/>
                </a:cxn>
                <a:cxn ang="0">
                  <a:pos x="0" y="5"/>
                </a:cxn>
                <a:cxn ang="0">
                  <a:pos x="5" y="0"/>
                </a:cxn>
                <a:cxn ang="0">
                  <a:pos x="11" y="3"/>
                </a:cxn>
              </a:cxnLst>
              <a:rect l="0" t="0" r="r" b="b"/>
              <a:pathLst>
                <a:path w="11" h="11">
                  <a:moveTo>
                    <a:pt x="11" y="3"/>
                  </a:moveTo>
                  <a:lnTo>
                    <a:pt x="5" y="11"/>
                  </a:lnTo>
                  <a:lnTo>
                    <a:pt x="0" y="5"/>
                  </a:lnTo>
                  <a:lnTo>
                    <a:pt x="5" y="0"/>
                  </a:lnTo>
                  <a:lnTo>
                    <a:pt x="11"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1" name="Freeform 368"/>
            <p:cNvSpPr>
              <a:spLocks/>
            </p:cNvSpPr>
            <p:nvPr/>
          </p:nvSpPr>
          <p:spPr bwMode="auto">
            <a:xfrm>
              <a:off x="4660" y="1350"/>
              <a:ext cx="22" cy="4"/>
            </a:xfrm>
            <a:custGeom>
              <a:avLst/>
              <a:gdLst/>
              <a:ahLst/>
              <a:cxnLst>
                <a:cxn ang="0">
                  <a:pos x="21" y="1"/>
                </a:cxn>
                <a:cxn ang="0">
                  <a:pos x="18" y="3"/>
                </a:cxn>
                <a:cxn ang="0">
                  <a:pos x="0" y="0"/>
                </a:cxn>
                <a:cxn ang="0">
                  <a:pos x="18" y="0"/>
                </a:cxn>
                <a:cxn ang="0">
                  <a:pos x="21" y="1"/>
                </a:cxn>
              </a:cxnLst>
              <a:rect l="0" t="0" r="r" b="b"/>
              <a:pathLst>
                <a:path w="21" h="3">
                  <a:moveTo>
                    <a:pt x="21" y="1"/>
                  </a:moveTo>
                  <a:lnTo>
                    <a:pt x="18" y="3"/>
                  </a:lnTo>
                  <a:lnTo>
                    <a:pt x="0" y="0"/>
                  </a:lnTo>
                  <a:lnTo>
                    <a:pt x="18" y="0"/>
                  </a:lnTo>
                  <a:lnTo>
                    <a:pt x="2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2" name="Freeform 369"/>
            <p:cNvSpPr>
              <a:spLocks/>
            </p:cNvSpPr>
            <p:nvPr/>
          </p:nvSpPr>
          <p:spPr bwMode="auto">
            <a:xfrm>
              <a:off x="3382" y="1292"/>
              <a:ext cx="20" cy="4"/>
            </a:xfrm>
            <a:custGeom>
              <a:avLst/>
              <a:gdLst/>
              <a:ahLst/>
              <a:cxnLst>
                <a:cxn ang="0">
                  <a:pos x="19" y="4"/>
                </a:cxn>
                <a:cxn ang="0">
                  <a:pos x="0" y="5"/>
                </a:cxn>
                <a:cxn ang="0">
                  <a:pos x="2" y="0"/>
                </a:cxn>
                <a:cxn ang="0">
                  <a:pos x="10" y="2"/>
                </a:cxn>
                <a:cxn ang="0">
                  <a:pos x="19" y="4"/>
                </a:cxn>
              </a:cxnLst>
              <a:rect l="0" t="0" r="r" b="b"/>
              <a:pathLst>
                <a:path w="19" h="5">
                  <a:moveTo>
                    <a:pt x="19" y="4"/>
                  </a:moveTo>
                  <a:lnTo>
                    <a:pt x="0" y="5"/>
                  </a:lnTo>
                  <a:lnTo>
                    <a:pt x="2" y="0"/>
                  </a:lnTo>
                  <a:lnTo>
                    <a:pt x="10" y="2"/>
                  </a:lnTo>
                  <a:lnTo>
                    <a:pt x="19"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3" name="Freeform 370"/>
            <p:cNvSpPr>
              <a:spLocks/>
            </p:cNvSpPr>
            <p:nvPr/>
          </p:nvSpPr>
          <p:spPr bwMode="auto">
            <a:xfrm>
              <a:off x="3173" y="1183"/>
              <a:ext cx="34" cy="5"/>
            </a:xfrm>
            <a:custGeom>
              <a:avLst/>
              <a:gdLst/>
              <a:ahLst/>
              <a:cxnLst>
                <a:cxn ang="0">
                  <a:pos x="29" y="0"/>
                </a:cxn>
                <a:cxn ang="0">
                  <a:pos x="0" y="1"/>
                </a:cxn>
                <a:cxn ang="0">
                  <a:pos x="16" y="3"/>
                </a:cxn>
                <a:cxn ang="0">
                  <a:pos x="29" y="0"/>
                </a:cxn>
              </a:cxnLst>
              <a:rect l="0" t="0" r="r" b="b"/>
              <a:pathLst>
                <a:path w="29" h="3">
                  <a:moveTo>
                    <a:pt x="29" y="0"/>
                  </a:moveTo>
                  <a:lnTo>
                    <a:pt x="0" y="1"/>
                  </a:lnTo>
                  <a:lnTo>
                    <a:pt x="16" y="3"/>
                  </a:lnTo>
                  <a:lnTo>
                    <a:pt x="2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4" name="Freeform 371"/>
            <p:cNvSpPr>
              <a:spLocks/>
            </p:cNvSpPr>
            <p:nvPr/>
          </p:nvSpPr>
          <p:spPr bwMode="auto">
            <a:xfrm>
              <a:off x="3207" y="1181"/>
              <a:ext cx="31" cy="2"/>
            </a:xfrm>
            <a:custGeom>
              <a:avLst/>
              <a:gdLst/>
              <a:ahLst/>
              <a:cxnLst>
                <a:cxn ang="0">
                  <a:pos x="28" y="3"/>
                </a:cxn>
                <a:cxn ang="0">
                  <a:pos x="0" y="4"/>
                </a:cxn>
                <a:cxn ang="0">
                  <a:pos x="23" y="0"/>
                </a:cxn>
                <a:cxn ang="0">
                  <a:pos x="28" y="3"/>
                </a:cxn>
              </a:cxnLst>
              <a:rect l="0" t="0" r="r" b="b"/>
              <a:pathLst>
                <a:path w="28" h="4">
                  <a:moveTo>
                    <a:pt x="28" y="3"/>
                  </a:moveTo>
                  <a:lnTo>
                    <a:pt x="0" y="4"/>
                  </a:lnTo>
                  <a:lnTo>
                    <a:pt x="23" y="0"/>
                  </a:lnTo>
                  <a:lnTo>
                    <a:pt x="28"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5" name="Freeform 372"/>
            <p:cNvSpPr>
              <a:spLocks/>
            </p:cNvSpPr>
            <p:nvPr/>
          </p:nvSpPr>
          <p:spPr bwMode="auto">
            <a:xfrm>
              <a:off x="3867" y="1276"/>
              <a:ext cx="22" cy="5"/>
            </a:xfrm>
            <a:custGeom>
              <a:avLst/>
              <a:gdLst/>
              <a:ahLst/>
              <a:cxnLst>
                <a:cxn ang="0">
                  <a:pos x="19" y="0"/>
                </a:cxn>
                <a:cxn ang="0">
                  <a:pos x="0" y="1"/>
                </a:cxn>
                <a:cxn ang="0">
                  <a:pos x="21" y="3"/>
                </a:cxn>
                <a:cxn ang="0">
                  <a:pos x="19" y="0"/>
                </a:cxn>
              </a:cxnLst>
              <a:rect l="0" t="0" r="r" b="b"/>
              <a:pathLst>
                <a:path w="21" h="3">
                  <a:moveTo>
                    <a:pt x="19" y="0"/>
                  </a:moveTo>
                  <a:lnTo>
                    <a:pt x="0" y="1"/>
                  </a:lnTo>
                  <a:lnTo>
                    <a:pt x="21" y="3"/>
                  </a:lnTo>
                  <a:lnTo>
                    <a:pt x="1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6" name="Freeform 373"/>
            <p:cNvSpPr>
              <a:spLocks/>
            </p:cNvSpPr>
            <p:nvPr/>
          </p:nvSpPr>
          <p:spPr bwMode="auto">
            <a:xfrm>
              <a:off x="4904" y="1699"/>
              <a:ext cx="5" cy="11"/>
            </a:xfrm>
            <a:custGeom>
              <a:avLst/>
              <a:gdLst/>
              <a:ahLst/>
              <a:cxnLst>
                <a:cxn ang="0">
                  <a:pos x="5" y="1"/>
                </a:cxn>
                <a:cxn ang="0">
                  <a:pos x="1" y="11"/>
                </a:cxn>
                <a:cxn ang="0">
                  <a:pos x="0" y="0"/>
                </a:cxn>
                <a:cxn ang="0">
                  <a:pos x="5" y="1"/>
                </a:cxn>
              </a:cxnLst>
              <a:rect l="0" t="0" r="r" b="b"/>
              <a:pathLst>
                <a:path w="5" h="11">
                  <a:moveTo>
                    <a:pt x="5" y="1"/>
                  </a:moveTo>
                  <a:lnTo>
                    <a:pt x="1" y="11"/>
                  </a:lnTo>
                  <a:lnTo>
                    <a:pt x="0" y="0"/>
                  </a:lnTo>
                  <a:lnTo>
                    <a:pt x="5"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7" name="Freeform 374"/>
            <p:cNvSpPr>
              <a:spLocks/>
            </p:cNvSpPr>
            <p:nvPr/>
          </p:nvSpPr>
          <p:spPr bwMode="auto">
            <a:xfrm>
              <a:off x="4846" y="1821"/>
              <a:ext cx="7" cy="11"/>
            </a:xfrm>
            <a:custGeom>
              <a:avLst/>
              <a:gdLst/>
              <a:ahLst/>
              <a:cxnLst>
                <a:cxn ang="0">
                  <a:pos x="6" y="0"/>
                </a:cxn>
                <a:cxn ang="0">
                  <a:pos x="0" y="11"/>
                </a:cxn>
                <a:cxn ang="0">
                  <a:pos x="0" y="3"/>
                </a:cxn>
                <a:cxn ang="0">
                  <a:pos x="6" y="0"/>
                </a:cxn>
              </a:cxnLst>
              <a:rect l="0" t="0" r="r" b="b"/>
              <a:pathLst>
                <a:path w="6" h="11">
                  <a:moveTo>
                    <a:pt x="6" y="0"/>
                  </a:moveTo>
                  <a:lnTo>
                    <a:pt x="0" y="11"/>
                  </a:lnTo>
                  <a:lnTo>
                    <a:pt x="0" y="3"/>
                  </a:lnTo>
                  <a:lnTo>
                    <a:pt x="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8" name="Freeform 375"/>
            <p:cNvSpPr>
              <a:spLocks/>
            </p:cNvSpPr>
            <p:nvPr/>
          </p:nvSpPr>
          <p:spPr bwMode="auto">
            <a:xfrm>
              <a:off x="4213" y="1281"/>
              <a:ext cx="9" cy="4"/>
            </a:xfrm>
            <a:custGeom>
              <a:avLst/>
              <a:gdLst/>
              <a:ahLst/>
              <a:cxnLst>
                <a:cxn ang="0">
                  <a:pos x="10" y="0"/>
                </a:cxn>
                <a:cxn ang="0">
                  <a:pos x="0" y="0"/>
                </a:cxn>
                <a:cxn ang="0">
                  <a:pos x="10" y="5"/>
                </a:cxn>
                <a:cxn ang="0">
                  <a:pos x="10" y="0"/>
                </a:cxn>
              </a:cxnLst>
              <a:rect l="0" t="0" r="r" b="b"/>
              <a:pathLst>
                <a:path w="10" h="5">
                  <a:moveTo>
                    <a:pt x="10" y="0"/>
                  </a:moveTo>
                  <a:lnTo>
                    <a:pt x="0" y="0"/>
                  </a:lnTo>
                  <a:lnTo>
                    <a:pt x="10" y="5"/>
                  </a:lnTo>
                  <a:lnTo>
                    <a:pt x="1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9" name="Freeform 376"/>
            <p:cNvSpPr>
              <a:spLocks/>
            </p:cNvSpPr>
            <p:nvPr/>
          </p:nvSpPr>
          <p:spPr bwMode="auto">
            <a:xfrm>
              <a:off x="3029" y="1185"/>
              <a:ext cx="31" cy="3"/>
            </a:xfrm>
            <a:custGeom>
              <a:avLst/>
              <a:gdLst/>
              <a:ahLst/>
              <a:cxnLst>
                <a:cxn ang="0">
                  <a:pos x="27" y="0"/>
                </a:cxn>
                <a:cxn ang="0">
                  <a:pos x="0" y="1"/>
                </a:cxn>
                <a:cxn ang="0">
                  <a:pos x="6" y="0"/>
                </a:cxn>
                <a:cxn ang="0">
                  <a:pos x="27" y="0"/>
                </a:cxn>
              </a:cxnLst>
              <a:rect l="0" t="0" r="r" b="b"/>
              <a:pathLst>
                <a:path w="27" h="1">
                  <a:moveTo>
                    <a:pt x="27" y="0"/>
                  </a:moveTo>
                  <a:lnTo>
                    <a:pt x="0" y="1"/>
                  </a:lnTo>
                  <a:lnTo>
                    <a:pt x="6" y="0"/>
                  </a:lnTo>
                  <a:lnTo>
                    <a:pt x="27"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0" name="Freeform 377"/>
            <p:cNvSpPr>
              <a:spLocks/>
            </p:cNvSpPr>
            <p:nvPr/>
          </p:nvSpPr>
          <p:spPr bwMode="auto">
            <a:xfrm>
              <a:off x="3480" y="1308"/>
              <a:ext cx="13" cy="2"/>
            </a:xfrm>
            <a:custGeom>
              <a:avLst/>
              <a:gdLst/>
              <a:ahLst/>
              <a:cxnLst>
                <a:cxn ang="0">
                  <a:pos x="13" y="0"/>
                </a:cxn>
                <a:cxn ang="0">
                  <a:pos x="1" y="3"/>
                </a:cxn>
                <a:cxn ang="0">
                  <a:pos x="0" y="0"/>
                </a:cxn>
                <a:cxn ang="0">
                  <a:pos x="13" y="0"/>
                </a:cxn>
              </a:cxnLst>
              <a:rect l="0" t="0" r="r" b="b"/>
              <a:pathLst>
                <a:path w="13" h="3">
                  <a:moveTo>
                    <a:pt x="13" y="0"/>
                  </a:moveTo>
                  <a:lnTo>
                    <a:pt x="1" y="3"/>
                  </a:lnTo>
                  <a:lnTo>
                    <a:pt x="0" y="0"/>
                  </a:lnTo>
                  <a:lnTo>
                    <a:pt x="1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1" name="Freeform 378"/>
            <p:cNvSpPr>
              <a:spLocks/>
            </p:cNvSpPr>
            <p:nvPr/>
          </p:nvSpPr>
          <p:spPr bwMode="auto">
            <a:xfrm>
              <a:off x="3156" y="1190"/>
              <a:ext cx="22" cy="2"/>
            </a:xfrm>
            <a:custGeom>
              <a:avLst/>
              <a:gdLst/>
              <a:ahLst/>
              <a:cxnLst>
                <a:cxn ang="0">
                  <a:pos x="20" y="0"/>
                </a:cxn>
                <a:cxn ang="0">
                  <a:pos x="0" y="0"/>
                </a:cxn>
                <a:cxn ang="0">
                  <a:pos x="9" y="2"/>
                </a:cxn>
                <a:cxn ang="0">
                  <a:pos x="20" y="0"/>
                </a:cxn>
              </a:cxnLst>
              <a:rect l="0" t="0" r="r" b="b"/>
              <a:pathLst>
                <a:path w="20" h="2">
                  <a:moveTo>
                    <a:pt x="20" y="0"/>
                  </a:moveTo>
                  <a:lnTo>
                    <a:pt x="0" y="0"/>
                  </a:lnTo>
                  <a:lnTo>
                    <a:pt x="9" y="2"/>
                  </a:lnTo>
                  <a:lnTo>
                    <a:pt x="2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2" name="Freeform 379"/>
            <p:cNvSpPr>
              <a:spLocks/>
            </p:cNvSpPr>
            <p:nvPr/>
          </p:nvSpPr>
          <p:spPr bwMode="auto">
            <a:xfrm>
              <a:off x="4966" y="1610"/>
              <a:ext cx="25" cy="13"/>
            </a:xfrm>
            <a:custGeom>
              <a:avLst/>
              <a:gdLst/>
              <a:ahLst/>
              <a:cxnLst>
                <a:cxn ang="0">
                  <a:pos x="23" y="12"/>
                </a:cxn>
                <a:cxn ang="0">
                  <a:pos x="0" y="0"/>
                </a:cxn>
                <a:cxn ang="0">
                  <a:pos x="19" y="8"/>
                </a:cxn>
                <a:cxn ang="0">
                  <a:pos x="23" y="12"/>
                </a:cxn>
              </a:cxnLst>
              <a:rect l="0" t="0" r="r" b="b"/>
              <a:pathLst>
                <a:path w="23" h="12">
                  <a:moveTo>
                    <a:pt x="23" y="12"/>
                  </a:moveTo>
                  <a:lnTo>
                    <a:pt x="0" y="0"/>
                  </a:lnTo>
                  <a:lnTo>
                    <a:pt x="19" y="8"/>
                  </a:lnTo>
                  <a:lnTo>
                    <a:pt x="23"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3" name="Freeform 380"/>
            <p:cNvSpPr>
              <a:spLocks/>
            </p:cNvSpPr>
            <p:nvPr/>
          </p:nvSpPr>
          <p:spPr bwMode="auto">
            <a:xfrm>
              <a:off x="4120" y="1254"/>
              <a:ext cx="13" cy="7"/>
            </a:xfrm>
            <a:custGeom>
              <a:avLst/>
              <a:gdLst/>
              <a:ahLst/>
              <a:cxnLst>
                <a:cxn ang="0">
                  <a:pos x="11" y="4"/>
                </a:cxn>
                <a:cxn ang="0">
                  <a:pos x="0" y="0"/>
                </a:cxn>
                <a:cxn ang="0">
                  <a:pos x="12" y="6"/>
                </a:cxn>
                <a:cxn ang="0">
                  <a:pos x="11" y="4"/>
                </a:cxn>
              </a:cxnLst>
              <a:rect l="0" t="0" r="r" b="b"/>
              <a:pathLst>
                <a:path w="12" h="6">
                  <a:moveTo>
                    <a:pt x="11" y="4"/>
                  </a:moveTo>
                  <a:lnTo>
                    <a:pt x="0" y="0"/>
                  </a:lnTo>
                  <a:lnTo>
                    <a:pt x="12" y="6"/>
                  </a:lnTo>
                  <a:lnTo>
                    <a:pt x="11"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4" name="Freeform 381"/>
            <p:cNvSpPr>
              <a:spLocks/>
            </p:cNvSpPr>
            <p:nvPr/>
          </p:nvSpPr>
          <p:spPr bwMode="auto">
            <a:xfrm>
              <a:off x="2847" y="1543"/>
              <a:ext cx="13" cy="2"/>
            </a:xfrm>
            <a:custGeom>
              <a:avLst/>
              <a:gdLst/>
              <a:ahLst/>
              <a:cxnLst>
                <a:cxn ang="0">
                  <a:pos x="11" y="1"/>
                </a:cxn>
                <a:cxn ang="0">
                  <a:pos x="0" y="1"/>
                </a:cxn>
                <a:cxn ang="0">
                  <a:pos x="4" y="0"/>
                </a:cxn>
                <a:cxn ang="0">
                  <a:pos x="11" y="1"/>
                </a:cxn>
              </a:cxnLst>
              <a:rect l="0" t="0" r="r" b="b"/>
              <a:pathLst>
                <a:path w="11" h="1">
                  <a:moveTo>
                    <a:pt x="11" y="1"/>
                  </a:moveTo>
                  <a:lnTo>
                    <a:pt x="0" y="1"/>
                  </a:lnTo>
                  <a:lnTo>
                    <a:pt x="4" y="0"/>
                  </a:lnTo>
                  <a:lnTo>
                    <a:pt x="11"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5" name="Rectangle 382"/>
            <p:cNvSpPr>
              <a:spLocks noChangeArrowheads="1"/>
            </p:cNvSpPr>
            <p:nvPr/>
          </p:nvSpPr>
          <p:spPr bwMode="auto">
            <a:xfrm>
              <a:off x="2729" y="1830"/>
              <a:ext cx="0" cy="0"/>
            </a:xfrm>
            <a:prstGeom prst="rect">
              <a:avLst/>
            </a:prstGeom>
            <a:grpFill/>
            <a:ln w="3175">
              <a:solidFill>
                <a:srgbClr val="FFFFFF"/>
              </a:solidFill>
              <a:miter lim="800000"/>
              <a:headEnd/>
              <a:tailEnd/>
            </a:ln>
            <a:effectLst/>
          </p:spPr>
          <p:txBody>
            <a:bodyPr/>
            <a:lstStyle/>
            <a:p>
              <a:pPr>
                <a:lnSpc>
                  <a:spcPct val="90000"/>
                </a:lnSpc>
                <a:buClr>
                  <a:srgbClr val="B40646"/>
                </a:buClr>
                <a:defRPr/>
              </a:pPr>
              <a:endParaRPr lang="en-GB" dirty="0">
                <a:solidFill>
                  <a:srgbClr val="000000"/>
                </a:solidFill>
              </a:endParaRPr>
            </a:p>
          </p:txBody>
        </p:sp>
        <p:sp>
          <p:nvSpPr>
            <p:cNvPr id="386" name="Freeform 383"/>
            <p:cNvSpPr>
              <a:spLocks/>
            </p:cNvSpPr>
            <p:nvPr/>
          </p:nvSpPr>
          <p:spPr bwMode="auto">
            <a:xfrm>
              <a:off x="2787" y="1721"/>
              <a:ext cx="91" cy="33"/>
            </a:xfrm>
            <a:custGeom>
              <a:avLst/>
              <a:gdLst/>
              <a:ahLst/>
              <a:cxnLst>
                <a:cxn ang="0">
                  <a:pos x="30" y="0"/>
                </a:cxn>
                <a:cxn ang="0">
                  <a:pos x="30" y="1"/>
                </a:cxn>
                <a:cxn ang="0">
                  <a:pos x="26" y="5"/>
                </a:cxn>
                <a:cxn ang="0">
                  <a:pos x="22" y="7"/>
                </a:cxn>
                <a:cxn ang="0">
                  <a:pos x="22" y="9"/>
                </a:cxn>
                <a:cxn ang="0">
                  <a:pos x="17" y="13"/>
                </a:cxn>
                <a:cxn ang="0">
                  <a:pos x="10" y="15"/>
                </a:cxn>
                <a:cxn ang="0">
                  <a:pos x="5" y="15"/>
                </a:cxn>
                <a:cxn ang="0">
                  <a:pos x="0" y="15"/>
                </a:cxn>
                <a:cxn ang="0">
                  <a:pos x="10" y="28"/>
                </a:cxn>
                <a:cxn ang="0">
                  <a:pos x="14" y="29"/>
                </a:cxn>
                <a:cxn ang="0">
                  <a:pos x="32" y="30"/>
                </a:cxn>
                <a:cxn ang="0">
                  <a:pos x="54" y="19"/>
                </a:cxn>
                <a:cxn ang="0">
                  <a:pos x="78" y="21"/>
                </a:cxn>
                <a:cxn ang="0">
                  <a:pos x="82" y="9"/>
                </a:cxn>
                <a:cxn ang="0">
                  <a:pos x="60" y="4"/>
                </a:cxn>
                <a:cxn ang="0">
                  <a:pos x="48" y="5"/>
                </a:cxn>
                <a:cxn ang="0">
                  <a:pos x="46" y="1"/>
                </a:cxn>
                <a:cxn ang="0">
                  <a:pos x="30" y="0"/>
                </a:cxn>
              </a:cxnLst>
              <a:rect l="0" t="0" r="r" b="b"/>
              <a:pathLst>
                <a:path w="82" h="30">
                  <a:moveTo>
                    <a:pt x="30" y="0"/>
                  </a:moveTo>
                  <a:lnTo>
                    <a:pt x="30" y="1"/>
                  </a:lnTo>
                  <a:lnTo>
                    <a:pt x="26" y="5"/>
                  </a:lnTo>
                  <a:lnTo>
                    <a:pt x="22" y="7"/>
                  </a:lnTo>
                  <a:lnTo>
                    <a:pt x="22" y="9"/>
                  </a:lnTo>
                  <a:lnTo>
                    <a:pt x="17" y="13"/>
                  </a:lnTo>
                  <a:lnTo>
                    <a:pt x="10" y="15"/>
                  </a:lnTo>
                  <a:lnTo>
                    <a:pt x="5" y="15"/>
                  </a:lnTo>
                  <a:lnTo>
                    <a:pt x="0" y="15"/>
                  </a:lnTo>
                  <a:lnTo>
                    <a:pt x="10" y="28"/>
                  </a:lnTo>
                  <a:lnTo>
                    <a:pt x="14" y="29"/>
                  </a:lnTo>
                  <a:lnTo>
                    <a:pt x="32" y="30"/>
                  </a:lnTo>
                  <a:lnTo>
                    <a:pt x="54" y="19"/>
                  </a:lnTo>
                  <a:lnTo>
                    <a:pt x="78" y="21"/>
                  </a:lnTo>
                  <a:lnTo>
                    <a:pt x="82" y="9"/>
                  </a:lnTo>
                  <a:lnTo>
                    <a:pt x="60" y="4"/>
                  </a:lnTo>
                  <a:lnTo>
                    <a:pt x="48" y="5"/>
                  </a:lnTo>
                  <a:lnTo>
                    <a:pt x="46" y="1"/>
                  </a:lnTo>
                  <a:lnTo>
                    <a:pt x="30"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7" name="Freeform 384"/>
            <p:cNvSpPr>
              <a:spLocks/>
            </p:cNvSpPr>
            <p:nvPr/>
          </p:nvSpPr>
          <p:spPr bwMode="auto">
            <a:xfrm>
              <a:off x="2742" y="1772"/>
              <a:ext cx="47" cy="29"/>
            </a:xfrm>
            <a:custGeom>
              <a:avLst/>
              <a:gdLst/>
              <a:ahLst/>
              <a:cxnLst>
                <a:cxn ang="0">
                  <a:pos x="7" y="25"/>
                </a:cxn>
                <a:cxn ang="0">
                  <a:pos x="13" y="25"/>
                </a:cxn>
                <a:cxn ang="0">
                  <a:pos x="15" y="22"/>
                </a:cxn>
                <a:cxn ang="0">
                  <a:pos x="18" y="24"/>
                </a:cxn>
                <a:cxn ang="0">
                  <a:pos x="19" y="23"/>
                </a:cxn>
                <a:cxn ang="0">
                  <a:pos x="23" y="25"/>
                </a:cxn>
                <a:cxn ang="0">
                  <a:pos x="26" y="25"/>
                </a:cxn>
                <a:cxn ang="0">
                  <a:pos x="25" y="22"/>
                </a:cxn>
                <a:cxn ang="0">
                  <a:pos x="25" y="20"/>
                </a:cxn>
                <a:cxn ang="0">
                  <a:pos x="30" y="18"/>
                </a:cxn>
                <a:cxn ang="0">
                  <a:pos x="32" y="18"/>
                </a:cxn>
                <a:cxn ang="0">
                  <a:pos x="30" y="16"/>
                </a:cxn>
                <a:cxn ang="0">
                  <a:pos x="30" y="14"/>
                </a:cxn>
                <a:cxn ang="0">
                  <a:pos x="29" y="11"/>
                </a:cxn>
                <a:cxn ang="0">
                  <a:pos x="33" y="10"/>
                </a:cxn>
                <a:cxn ang="0">
                  <a:pos x="35" y="8"/>
                </a:cxn>
                <a:cxn ang="0">
                  <a:pos x="39" y="8"/>
                </a:cxn>
                <a:cxn ang="0">
                  <a:pos x="39" y="7"/>
                </a:cxn>
                <a:cxn ang="0">
                  <a:pos x="41" y="6"/>
                </a:cxn>
                <a:cxn ang="0">
                  <a:pos x="42" y="5"/>
                </a:cxn>
                <a:cxn ang="0">
                  <a:pos x="37" y="2"/>
                </a:cxn>
                <a:cxn ang="0">
                  <a:pos x="36" y="0"/>
                </a:cxn>
                <a:cxn ang="0">
                  <a:pos x="8" y="7"/>
                </a:cxn>
                <a:cxn ang="0">
                  <a:pos x="2" y="6"/>
                </a:cxn>
                <a:cxn ang="0">
                  <a:pos x="0" y="12"/>
                </a:cxn>
                <a:cxn ang="0">
                  <a:pos x="3" y="23"/>
                </a:cxn>
                <a:cxn ang="0">
                  <a:pos x="7" y="25"/>
                </a:cxn>
              </a:cxnLst>
              <a:rect l="0" t="0" r="r" b="b"/>
              <a:pathLst>
                <a:path w="42" h="25">
                  <a:moveTo>
                    <a:pt x="7" y="25"/>
                  </a:moveTo>
                  <a:lnTo>
                    <a:pt x="13" y="25"/>
                  </a:lnTo>
                  <a:lnTo>
                    <a:pt x="15" y="22"/>
                  </a:lnTo>
                  <a:lnTo>
                    <a:pt x="18" y="24"/>
                  </a:lnTo>
                  <a:lnTo>
                    <a:pt x="19" y="23"/>
                  </a:lnTo>
                  <a:lnTo>
                    <a:pt x="23" y="25"/>
                  </a:lnTo>
                  <a:lnTo>
                    <a:pt x="26" y="25"/>
                  </a:lnTo>
                  <a:lnTo>
                    <a:pt x="25" y="22"/>
                  </a:lnTo>
                  <a:lnTo>
                    <a:pt x="25" y="20"/>
                  </a:lnTo>
                  <a:lnTo>
                    <a:pt x="30" y="18"/>
                  </a:lnTo>
                  <a:lnTo>
                    <a:pt x="32" y="18"/>
                  </a:lnTo>
                  <a:lnTo>
                    <a:pt x="30" y="16"/>
                  </a:lnTo>
                  <a:lnTo>
                    <a:pt x="30" y="14"/>
                  </a:lnTo>
                  <a:lnTo>
                    <a:pt x="29" y="11"/>
                  </a:lnTo>
                  <a:lnTo>
                    <a:pt x="33" y="10"/>
                  </a:lnTo>
                  <a:lnTo>
                    <a:pt x="35" y="8"/>
                  </a:lnTo>
                  <a:lnTo>
                    <a:pt x="39" y="8"/>
                  </a:lnTo>
                  <a:lnTo>
                    <a:pt x="39" y="7"/>
                  </a:lnTo>
                  <a:lnTo>
                    <a:pt x="41" y="6"/>
                  </a:lnTo>
                  <a:lnTo>
                    <a:pt x="42" y="5"/>
                  </a:lnTo>
                  <a:lnTo>
                    <a:pt x="37" y="2"/>
                  </a:lnTo>
                  <a:lnTo>
                    <a:pt x="36" y="0"/>
                  </a:lnTo>
                  <a:lnTo>
                    <a:pt x="8" y="7"/>
                  </a:lnTo>
                  <a:lnTo>
                    <a:pt x="2" y="6"/>
                  </a:lnTo>
                  <a:lnTo>
                    <a:pt x="0" y="12"/>
                  </a:lnTo>
                  <a:lnTo>
                    <a:pt x="3" y="23"/>
                  </a:lnTo>
                  <a:lnTo>
                    <a:pt x="7" y="2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8" name="Freeform 385"/>
            <p:cNvSpPr>
              <a:spLocks/>
            </p:cNvSpPr>
            <p:nvPr/>
          </p:nvSpPr>
          <p:spPr bwMode="auto">
            <a:xfrm>
              <a:off x="2691" y="1363"/>
              <a:ext cx="162" cy="247"/>
            </a:xfrm>
            <a:custGeom>
              <a:avLst/>
              <a:gdLst/>
              <a:ahLst/>
              <a:cxnLst>
                <a:cxn ang="0">
                  <a:pos x="101" y="85"/>
                </a:cxn>
                <a:cxn ang="0">
                  <a:pos x="84" y="95"/>
                </a:cxn>
                <a:cxn ang="0">
                  <a:pos x="74" y="103"/>
                </a:cxn>
                <a:cxn ang="0">
                  <a:pos x="71" y="115"/>
                </a:cxn>
                <a:cxn ang="0">
                  <a:pos x="90" y="139"/>
                </a:cxn>
                <a:cxn ang="0">
                  <a:pos x="83" y="153"/>
                </a:cxn>
                <a:cxn ang="0">
                  <a:pos x="79" y="151"/>
                </a:cxn>
                <a:cxn ang="0">
                  <a:pos x="91" y="155"/>
                </a:cxn>
                <a:cxn ang="0">
                  <a:pos x="82" y="158"/>
                </a:cxn>
                <a:cxn ang="0">
                  <a:pos x="67" y="165"/>
                </a:cxn>
                <a:cxn ang="0">
                  <a:pos x="71" y="170"/>
                </a:cxn>
                <a:cxn ang="0">
                  <a:pos x="72" y="181"/>
                </a:cxn>
                <a:cxn ang="0">
                  <a:pos x="68" y="193"/>
                </a:cxn>
                <a:cxn ang="0">
                  <a:pos x="44" y="211"/>
                </a:cxn>
                <a:cxn ang="0">
                  <a:pos x="28" y="219"/>
                </a:cxn>
                <a:cxn ang="0">
                  <a:pos x="20" y="195"/>
                </a:cxn>
                <a:cxn ang="0">
                  <a:pos x="8" y="173"/>
                </a:cxn>
                <a:cxn ang="0">
                  <a:pos x="4" y="171"/>
                </a:cxn>
                <a:cxn ang="0">
                  <a:pos x="2" y="161"/>
                </a:cxn>
                <a:cxn ang="0">
                  <a:pos x="12" y="131"/>
                </a:cxn>
                <a:cxn ang="0">
                  <a:pos x="17" y="121"/>
                </a:cxn>
                <a:cxn ang="0">
                  <a:pos x="7" y="99"/>
                </a:cxn>
                <a:cxn ang="0">
                  <a:pos x="17" y="77"/>
                </a:cxn>
                <a:cxn ang="0">
                  <a:pos x="22" y="69"/>
                </a:cxn>
                <a:cxn ang="0">
                  <a:pos x="29" y="45"/>
                </a:cxn>
                <a:cxn ang="0">
                  <a:pos x="46" y="33"/>
                </a:cxn>
                <a:cxn ang="0">
                  <a:pos x="67" y="13"/>
                </a:cxn>
                <a:cxn ang="0">
                  <a:pos x="89" y="8"/>
                </a:cxn>
                <a:cxn ang="0">
                  <a:pos x="94" y="0"/>
                </a:cxn>
                <a:cxn ang="0">
                  <a:pos x="139" y="35"/>
                </a:cxn>
                <a:cxn ang="0">
                  <a:pos x="128" y="49"/>
                </a:cxn>
                <a:cxn ang="0">
                  <a:pos x="122" y="54"/>
                </a:cxn>
                <a:cxn ang="0">
                  <a:pos x="114" y="57"/>
                </a:cxn>
                <a:cxn ang="0">
                  <a:pos x="115" y="73"/>
                </a:cxn>
              </a:cxnLst>
              <a:rect l="0" t="0" r="r" b="b"/>
              <a:pathLst>
                <a:path w="145" h="221">
                  <a:moveTo>
                    <a:pt x="115" y="73"/>
                  </a:moveTo>
                  <a:lnTo>
                    <a:pt x="101" y="85"/>
                  </a:lnTo>
                  <a:lnTo>
                    <a:pt x="90" y="91"/>
                  </a:lnTo>
                  <a:lnTo>
                    <a:pt x="84" y="95"/>
                  </a:lnTo>
                  <a:lnTo>
                    <a:pt x="77" y="96"/>
                  </a:lnTo>
                  <a:lnTo>
                    <a:pt x="74" y="103"/>
                  </a:lnTo>
                  <a:lnTo>
                    <a:pt x="72" y="105"/>
                  </a:lnTo>
                  <a:lnTo>
                    <a:pt x="71" y="115"/>
                  </a:lnTo>
                  <a:lnTo>
                    <a:pt x="76" y="133"/>
                  </a:lnTo>
                  <a:lnTo>
                    <a:pt x="90" y="139"/>
                  </a:lnTo>
                  <a:lnTo>
                    <a:pt x="96" y="146"/>
                  </a:lnTo>
                  <a:lnTo>
                    <a:pt x="83" y="153"/>
                  </a:lnTo>
                  <a:lnTo>
                    <a:pt x="78" y="149"/>
                  </a:lnTo>
                  <a:lnTo>
                    <a:pt x="79" y="151"/>
                  </a:lnTo>
                  <a:lnTo>
                    <a:pt x="62" y="152"/>
                  </a:lnTo>
                  <a:lnTo>
                    <a:pt x="91" y="155"/>
                  </a:lnTo>
                  <a:lnTo>
                    <a:pt x="83" y="161"/>
                  </a:lnTo>
                  <a:lnTo>
                    <a:pt x="82" y="158"/>
                  </a:lnTo>
                  <a:lnTo>
                    <a:pt x="73" y="167"/>
                  </a:lnTo>
                  <a:lnTo>
                    <a:pt x="67" y="165"/>
                  </a:lnTo>
                  <a:lnTo>
                    <a:pt x="72" y="169"/>
                  </a:lnTo>
                  <a:lnTo>
                    <a:pt x="71" y="170"/>
                  </a:lnTo>
                  <a:lnTo>
                    <a:pt x="70" y="176"/>
                  </a:lnTo>
                  <a:lnTo>
                    <a:pt x="72" y="181"/>
                  </a:lnTo>
                  <a:lnTo>
                    <a:pt x="71" y="180"/>
                  </a:lnTo>
                  <a:lnTo>
                    <a:pt x="68" y="193"/>
                  </a:lnTo>
                  <a:lnTo>
                    <a:pt x="66" y="206"/>
                  </a:lnTo>
                  <a:lnTo>
                    <a:pt x="44" y="211"/>
                  </a:lnTo>
                  <a:lnTo>
                    <a:pt x="42" y="221"/>
                  </a:lnTo>
                  <a:lnTo>
                    <a:pt x="28" y="219"/>
                  </a:lnTo>
                  <a:lnTo>
                    <a:pt x="23" y="206"/>
                  </a:lnTo>
                  <a:lnTo>
                    <a:pt x="20" y="195"/>
                  </a:lnTo>
                  <a:lnTo>
                    <a:pt x="7" y="177"/>
                  </a:lnTo>
                  <a:lnTo>
                    <a:pt x="8" y="173"/>
                  </a:lnTo>
                  <a:lnTo>
                    <a:pt x="5" y="171"/>
                  </a:lnTo>
                  <a:lnTo>
                    <a:pt x="4" y="171"/>
                  </a:lnTo>
                  <a:lnTo>
                    <a:pt x="0" y="162"/>
                  </a:lnTo>
                  <a:lnTo>
                    <a:pt x="2" y="161"/>
                  </a:lnTo>
                  <a:lnTo>
                    <a:pt x="10" y="145"/>
                  </a:lnTo>
                  <a:lnTo>
                    <a:pt x="12" y="131"/>
                  </a:lnTo>
                  <a:lnTo>
                    <a:pt x="12" y="126"/>
                  </a:lnTo>
                  <a:lnTo>
                    <a:pt x="17" y="121"/>
                  </a:lnTo>
                  <a:lnTo>
                    <a:pt x="7" y="115"/>
                  </a:lnTo>
                  <a:lnTo>
                    <a:pt x="7" y="99"/>
                  </a:lnTo>
                  <a:lnTo>
                    <a:pt x="6" y="84"/>
                  </a:lnTo>
                  <a:lnTo>
                    <a:pt x="17" y="77"/>
                  </a:lnTo>
                  <a:lnTo>
                    <a:pt x="28" y="75"/>
                  </a:lnTo>
                  <a:lnTo>
                    <a:pt x="22" y="69"/>
                  </a:lnTo>
                  <a:lnTo>
                    <a:pt x="31" y="49"/>
                  </a:lnTo>
                  <a:lnTo>
                    <a:pt x="29" y="45"/>
                  </a:lnTo>
                  <a:lnTo>
                    <a:pt x="40" y="43"/>
                  </a:lnTo>
                  <a:lnTo>
                    <a:pt x="46" y="33"/>
                  </a:lnTo>
                  <a:lnTo>
                    <a:pt x="52" y="18"/>
                  </a:lnTo>
                  <a:lnTo>
                    <a:pt x="67" y="13"/>
                  </a:lnTo>
                  <a:lnTo>
                    <a:pt x="68" y="8"/>
                  </a:lnTo>
                  <a:lnTo>
                    <a:pt x="89" y="8"/>
                  </a:lnTo>
                  <a:lnTo>
                    <a:pt x="88" y="0"/>
                  </a:lnTo>
                  <a:lnTo>
                    <a:pt x="94" y="0"/>
                  </a:lnTo>
                  <a:lnTo>
                    <a:pt x="127" y="14"/>
                  </a:lnTo>
                  <a:lnTo>
                    <a:pt x="139" y="35"/>
                  </a:lnTo>
                  <a:lnTo>
                    <a:pt x="145" y="50"/>
                  </a:lnTo>
                  <a:lnTo>
                    <a:pt x="128" y="49"/>
                  </a:lnTo>
                  <a:lnTo>
                    <a:pt x="124" y="51"/>
                  </a:lnTo>
                  <a:lnTo>
                    <a:pt x="122" y="54"/>
                  </a:lnTo>
                  <a:lnTo>
                    <a:pt x="120" y="53"/>
                  </a:lnTo>
                  <a:lnTo>
                    <a:pt x="114" y="57"/>
                  </a:lnTo>
                  <a:lnTo>
                    <a:pt x="112" y="66"/>
                  </a:lnTo>
                  <a:lnTo>
                    <a:pt x="115" y="7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9" name="Freeform 386"/>
            <p:cNvSpPr>
              <a:spLocks/>
            </p:cNvSpPr>
            <p:nvPr/>
          </p:nvSpPr>
          <p:spPr bwMode="auto">
            <a:xfrm>
              <a:off x="2793" y="1563"/>
              <a:ext cx="9" cy="16"/>
            </a:xfrm>
            <a:custGeom>
              <a:avLst/>
              <a:gdLst/>
              <a:ahLst/>
              <a:cxnLst>
                <a:cxn ang="0">
                  <a:pos x="8" y="0"/>
                </a:cxn>
                <a:cxn ang="0">
                  <a:pos x="8" y="3"/>
                </a:cxn>
                <a:cxn ang="0">
                  <a:pos x="4" y="12"/>
                </a:cxn>
                <a:cxn ang="0">
                  <a:pos x="3" y="13"/>
                </a:cxn>
                <a:cxn ang="0">
                  <a:pos x="0" y="7"/>
                </a:cxn>
                <a:cxn ang="0">
                  <a:pos x="8" y="0"/>
                </a:cxn>
              </a:cxnLst>
              <a:rect l="0" t="0" r="r" b="b"/>
              <a:pathLst>
                <a:path w="8" h="13">
                  <a:moveTo>
                    <a:pt x="8" y="0"/>
                  </a:moveTo>
                  <a:lnTo>
                    <a:pt x="8" y="3"/>
                  </a:lnTo>
                  <a:lnTo>
                    <a:pt x="4" y="12"/>
                  </a:lnTo>
                  <a:lnTo>
                    <a:pt x="3" y="13"/>
                  </a:lnTo>
                  <a:lnTo>
                    <a:pt x="0" y="7"/>
                  </a:lnTo>
                  <a:lnTo>
                    <a:pt x="8"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0" name="Freeform 387"/>
            <p:cNvSpPr>
              <a:spLocks/>
            </p:cNvSpPr>
            <p:nvPr/>
          </p:nvSpPr>
          <p:spPr bwMode="auto">
            <a:xfrm>
              <a:off x="2627" y="1756"/>
              <a:ext cx="69" cy="34"/>
            </a:xfrm>
            <a:custGeom>
              <a:avLst/>
              <a:gdLst/>
              <a:ahLst/>
              <a:cxnLst>
                <a:cxn ang="0">
                  <a:pos x="58" y="18"/>
                </a:cxn>
                <a:cxn ang="0">
                  <a:pos x="56" y="23"/>
                </a:cxn>
                <a:cxn ang="0">
                  <a:pos x="45" y="23"/>
                </a:cxn>
                <a:cxn ang="0">
                  <a:pos x="40" y="30"/>
                </a:cxn>
                <a:cxn ang="0">
                  <a:pos x="30" y="23"/>
                </a:cxn>
                <a:cxn ang="0">
                  <a:pos x="22" y="29"/>
                </a:cxn>
                <a:cxn ang="0">
                  <a:pos x="14" y="30"/>
                </a:cxn>
                <a:cxn ang="0">
                  <a:pos x="5" y="20"/>
                </a:cxn>
                <a:cxn ang="0">
                  <a:pos x="0" y="24"/>
                </a:cxn>
                <a:cxn ang="0">
                  <a:pos x="12" y="6"/>
                </a:cxn>
                <a:cxn ang="0">
                  <a:pos x="16" y="3"/>
                </a:cxn>
                <a:cxn ang="0">
                  <a:pos x="21" y="1"/>
                </a:cxn>
                <a:cxn ang="0">
                  <a:pos x="34" y="0"/>
                </a:cxn>
                <a:cxn ang="0">
                  <a:pos x="48" y="2"/>
                </a:cxn>
                <a:cxn ang="0">
                  <a:pos x="47" y="6"/>
                </a:cxn>
                <a:cxn ang="0">
                  <a:pos x="47" y="8"/>
                </a:cxn>
                <a:cxn ang="0">
                  <a:pos x="47" y="9"/>
                </a:cxn>
                <a:cxn ang="0">
                  <a:pos x="50" y="9"/>
                </a:cxn>
                <a:cxn ang="0">
                  <a:pos x="62" y="13"/>
                </a:cxn>
                <a:cxn ang="0">
                  <a:pos x="62" y="14"/>
                </a:cxn>
                <a:cxn ang="0">
                  <a:pos x="58" y="18"/>
                </a:cxn>
              </a:cxnLst>
              <a:rect l="0" t="0" r="r" b="b"/>
              <a:pathLst>
                <a:path w="62" h="30">
                  <a:moveTo>
                    <a:pt x="58" y="18"/>
                  </a:moveTo>
                  <a:lnTo>
                    <a:pt x="56" y="23"/>
                  </a:lnTo>
                  <a:lnTo>
                    <a:pt x="45" y="23"/>
                  </a:lnTo>
                  <a:lnTo>
                    <a:pt x="40" y="30"/>
                  </a:lnTo>
                  <a:lnTo>
                    <a:pt x="30" y="23"/>
                  </a:lnTo>
                  <a:lnTo>
                    <a:pt x="22" y="29"/>
                  </a:lnTo>
                  <a:lnTo>
                    <a:pt x="14" y="30"/>
                  </a:lnTo>
                  <a:lnTo>
                    <a:pt x="5" y="20"/>
                  </a:lnTo>
                  <a:lnTo>
                    <a:pt x="0" y="24"/>
                  </a:lnTo>
                  <a:lnTo>
                    <a:pt x="12" y="6"/>
                  </a:lnTo>
                  <a:lnTo>
                    <a:pt x="16" y="3"/>
                  </a:lnTo>
                  <a:lnTo>
                    <a:pt x="21" y="1"/>
                  </a:lnTo>
                  <a:lnTo>
                    <a:pt x="34" y="0"/>
                  </a:lnTo>
                  <a:lnTo>
                    <a:pt x="48" y="2"/>
                  </a:lnTo>
                  <a:lnTo>
                    <a:pt x="47" y="6"/>
                  </a:lnTo>
                  <a:lnTo>
                    <a:pt x="47" y="8"/>
                  </a:lnTo>
                  <a:lnTo>
                    <a:pt x="47" y="9"/>
                  </a:lnTo>
                  <a:lnTo>
                    <a:pt x="50" y="9"/>
                  </a:lnTo>
                  <a:lnTo>
                    <a:pt x="62" y="13"/>
                  </a:lnTo>
                  <a:lnTo>
                    <a:pt x="62" y="14"/>
                  </a:lnTo>
                  <a:lnTo>
                    <a:pt x="58"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1" name="Freeform 388"/>
            <p:cNvSpPr>
              <a:spLocks/>
            </p:cNvSpPr>
            <p:nvPr/>
          </p:nvSpPr>
          <p:spPr bwMode="auto">
            <a:xfrm>
              <a:off x="2873" y="1663"/>
              <a:ext cx="285" cy="158"/>
            </a:xfrm>
            <a:custGeom>
              <a:avLst/>
              <a:gdLst/>
              <a:ahLst/>
              <a:cxnLst>
                <a:cxn ang="0">
                  <a:pos x="135" y="0"/>
                </a:cxn>
                <a:cxn ang="0">
                  <a:pos x="124" y="3"/>
                </a:cxn>
                <a:cxn ang="0">
                  <a:pos x="107" y="12"/>
                </a:cxn>
                <a:cxn ang="0">
                  <a:pos x="108" y="19"/>
                </a:cxn>
                <a:cxn ang="0">
                  <a:pos x="84" y="14"/>
                </a:cxn>
                <a:cxn ang="0">
                  <a:pos x="60" y="9"/>
                </a:cxn>
                <a:cxn ang="0">
                  <a:pos x="38" y="9"/>
                </a:cxn>
                <a:cxn ang="0">
                  <a:pos x="14" y="9"/>
                </a:cxn>
                <a:cxn ang="0">
                  <a:pos x="21" y="28"/>
                </a:cxn>
                <a:cxn ang="0">
                  <a:pos x="20" y="37"/>
                </a:cxn>
                <a:cxn ang="0">
                  <a:pos x="6" y="55"/>
                </a:cxn>
                <a:cxn ang="0">
                  <a:pos x="4" y="60"/>
                </a:cxn>
                <a:cxn ang="0">
                  <a:pos x="0" y="72"/>
                </a:cxn>
                <a:cxn ang="0">
                  <a:pos x="11" y="80"/>
                </a:cxn>
                <a:cxn ang="0">
                  <a:pos x="12" y="79"/>
                </a:cxn>
                <a:cxn ang="0">
                  <a:pos x="39" y="81"/>
                </a:cxn>
                <a:cxn ang="0">
                  <a:pos x="63" y="74"/>
                </a:cxn>
                <a:cxn ang="0">
                  <a:pos x="75" y="64"/>
                </a:cxn>
                <a:cxn ang="0">
                  <a:pos x="80" y="66"/>
                </a:cxn>
                <a:cxn ang="0">
                  <a:pos x="90" y="76"/>
                </a:cxn>
                <a:cxn ang="0">
                  <a:pos x="101" y="87"/>
                </a:cxn>
                <a:cxn ang="0">
                  <a:pos x="113" y="97"/>
                </a:cxn>
                <a:cxn ang="0">
                  <a:pos x="124" y="108"/>
                </a:cxn>
                <a:cxn ang="0">
                  <a:pos x="136" y="100"/>
                </a:cxn>
                <a:cxn ang="0">
                  <a:pos x="140" y="103"/>
                </a:cxn>
                <a:cxn ang="0">
                  <a:pos x="138" y="94"/>
                </a:cxn>
                <a:cxn ang="0">
                  <a:pos x="141" y="100"/>
                </a:cxn>
                <a:cxn ang="0">
                  <a:pos x="152" y="103"/>
                </a:cxn>
                <a:cxn ang="0">
                  <a:pos x="137" y="104"/>
                </a:cxn>
                <a:cxn ang="0">
                  <a:pos x="143" y="108"/>
                </a:cxn>
                <a:cxn ang="0">
                  <a:pos x="155" y="111"/>
                </a:cxn>
                <a:cxn ang="0">
                  <a:pos x="167" y="114"/>
                </a:cxn>
                <a:cxn ang="0">
                  <a:pos x="153" y="123"/>
                </a:cxn>
                <a:cxn ang="0">
                  <a:pos x="164" y="128"/>
                </a:cxn>
                <a:cxn ang="0">
                  <a:pos x="170" y="134"/>
                </a:cxn>
                <a:cxn ang="0">
                  <a:pos x="172" y="141"/>
                </a:cxn>
                <a:cxn ang="0">
                  <a:pos x="192" y="133"/>
                </a:cxn>
                <a:cxn ang="0">
                  <a:pos x="202" y="132"/>
                </a:cxn>
                <a:cxn ang="0">
                  <a:pos x="210" y="126"/>
                </a:cxn>
                <a:cxn ang="0">
                  <a:pos x="198" y="126"/>
                </a:cxn>
                <a:cxn ang="0">
                  <a:pos x="185" y="115"/>
                </a:cxn>
                <a:cxn ang="0">
                  <a:pos x="189" y="106"/>
                </a:cxn>
                <a:cxn ang="0">
                  <a:pos x="186" y="111"/>
                </a:cxn>
                <a:cxn ang="0">
                  <a:pos x="191" y="108"/>
                </a:cxn>
                <a:cxn ang="0">
                  <a:pos x="210" y="100"/>
                </a:cxn>
                <a:cxn ang="0">
                  <a:pos x="232" y="92"/>
                </a:cxn>
                <a:cxn ang="0">
                  <a:pos x="240" y="91"/>
                </a:cxn>
                <a:cxn ang="0">
                  <a:pos x="245" y="81"/>
                </a:cxn>
                <a:cxn ang="0">
                  <a:pos x="256" y="75"/>
                </a:cxn>
                <a:cxn ang="0">
                  <a:pos x="248" y="51"/>
                </a:cxn>
                <a:cxn ang="0">
                  <a:pos x="226" y="44"/>
                </a:cxn>
                <a:cxn ang="0">
                  <a:pos x="206" y="38"/>
                </a:cxn>
                <a:cxn ang="0">
                  <a:pos x="196" y="39"/>
                </a:cxn>
                <a:cxn ang="0">
                  <a:pos x="178" y="24"/>
                </a:cxn>
                <a:cxn ang="0">
                  <a:pos x="160" y="8"/>
                </a:cxn>
                <a:cxn ang="0">
                  <a:pos x="158" y="2"/>
                </a:cxn>
                <a:cxn ang="0">
                  <a:pos x="135" y="0"/>
                </a:cxn>
              </a:cxnLst>
              <a:rect l="0" t="0" r="r" b="b"/>
              <a:pathLst>
                <a:path w="256" h="141">
                  <a:moveTo>
                    <a:pt x="135" y="0"/>
                  </a:moveTo>
                  <a:lnTo>
                    <a:pt x="124" y="3"/>
                  </a:lnTo>
                  <a:lnTo>
                    <a:pt x="107" y="12"/>
                  </a:lnTo>
                  <a:lnTo>
                    <a:pt x="108" y="19"/>
                  </a:lnTo>
                  <a:lnTo>
                    <a:pt x="84" y="14"/>
                  </a:lnTo>
                  <a:lnTo>
                    <a:pt x="60" y="9"/>
                  </a:lnTo>
                  <a:lnTo>
                    <a:pt x="38" y="9"/>
                  </a:lnTo>
                  <a:lnTo>
                    <a:pt x="14" y="9"/>
                  </a:lnTo>
                  <a:lnTo>
                    <a:pt x="21" y="28"/>
                  </a:lnTo>
                  <a:lnTo>
                    <a:pt x="20" y="37"/>
                  </a:lnTo>
                  <a:lnTo>
                    <a:pt x="6" y="55"/>
                  </a:lnTo>
                  <a:lnTo>
                    <a:pt x="4" y="60"/>
                  </a:lnTo>
                  <a:lnTo>
                    <a:pt x="0" y="72"/>
                  </a:lnTo>
                  <a:lnTo>
                    <a:pt x="11" y="80"/>
                  </a:lnTo>
                  <a:lnTo>
                    <a:pt x="12" y="79"/>
                  </a:lnTo>
                  <a:lnTo>
                    <a:pt x="39" y="81"/>
                  </a:lnTo>
                  <a:lnTo>
                    <a:pt x="63" y="74"/>
                  </a:lnTo>
                  <a:lnTo>
                    <a:pt x="75" y="64"/>
                  </a:lnTo>
                  <a:lnTo>
                    <a:pt x="80" y="66"/>
                  </a:lnTo>
                  <a:lnTo>
                    <a:pt x="90" y="76"/>
                  </a:lnTo>
                  <a:lnTo>
                    <a:pt x="101" y="87"/>
                  </a:lnTo>
                  <a:lnTo>
                    <a:pt x="113" y="97"/>
                  </a:lnTo>
                  <a:lnTo>
                    <a:pt x="124" y="108"/>
                  </a:lnTo>
                  <a:lnTo>
                    <a:pt x="136" y="100"/>
                  </a:lnTo>
                  <a:lnTo>
                    <a:pt x="140" y="103"/>
                  </a:lnTo>
                  <a:lnTo>
                    <a:pt x="138" y="94"/>
                  </a:lnTo>
                  <a:lnTo>
                    <a:pt x="141" y="100"/>
                  </a:lnTo>
                  <a:lnTo>
                    <a:pt x="152" y="103"/>
                  </a:lnTo>
                  <a:lnTo>
                    <a:pt x="137" y="104"/>
                  </a:lnTo>
                  <a:lnTo>
                    <a:pt x="143" y="108"/>
                  </a:lnTo>
                  <a:lnTo>
                    <a:pt x="155" y="111"/>
                  </a:lnTo>
                  <a:lnTo>
                    <a:pt x="167" y="114"/>
                  </a:lnTo>
                  <a:lnTo>
                    <a:pt x="153" y="123"/>
                  </a:lnTo>
                  <a:lnTo>
                    <a:pt x="164" y="128"/>
                  </a:lnTo>
                  <a:lnTo>
                    <a:pt x="170" y="134"/>
                  </a:lnTo>
                  <a:lnTo>
                    <a:pt x="172" y="141"/>
                  </a:lnTo>
                  <a:lnTo>
                    <a:pt x="192" y="133"/>
                  </a:lnTo>
                  <a:lnTo>
                    <a:pt x="202" y="132"/>
                  </a:lnTo>
                  <a:lnTo>
                    <a:pt x="210" y="126"/>
                  </a:lnTo>
                  <a:lnTo>
                    <a:pt x="198" y="126"/>
                  </a:lnTo>
                  <a:lnTo>
                    <a:pt x="185" y="115"/>
                  </a:lnTo>
                  <a:lnTo>
                    <a:pt x="189" y="106"/>
                  </a:lnTo>
                  <a:lnTo>
                    <a:pt x="186" y="111"/>
                  </a:lnTo>
                  <a:lnTo>
                    <a:pt x="191" y="108"/>
                  </a:lnTo>
                  <a:lnTo>
                    <a:pt x="210" y="100"/>
                  </a:lnTo>
                  <a:lnTo>
                    <a:pt x="232" y="92"/>
                  </a:lnTo>
                  <a:lnTo>
                    <a:pt x="240" y="91"/>
                  </a:lnTo>
                  <a:lnTo>
                    <a:pt x="245" y="81"/>
                  </a:lnTo>
                  <a:lnTo>
                    <a:pt x="256" y="75"/>
                  </a:lnTo>
                  <a:lnTo>
                    <a:pt x="248" y="51"/>
                  </a:lnTo>
                  <a:lnTo>
                    <a:pt x="226" y="44"/>
                  </a:lnTo>
                  <a:lnTo>
                    <a:pt x="206" y="38"/>
                  </a:lnTo>
                  <a:lnTo>
                    <a:pt x="196" y="39"/>
                  </a:lnTo>
                  <a:lnTo>
                    <a:pt x="178" y="24"/>
                  </a:lnTo>
                  <a:lnTo>
                    <a:pt x="160" y="8"/>
                  </a:lnTo>
                  <a:lnTo>
                    <a:pt x="158" y="2"/>
                  </a:lnTo>
                  <a:lnTo>
                    <a:pt x="135"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2" name="Freeform 389"/>
            <p:cNvSpPr>
              <a:spLocks/>
            </p:cNvSpPr>
            <p:nvPr/>
          </p:nvSpPr>
          <p:spPr bwMode="auto">
            <a:xfrm>
              <a:off x="2827" y="1788"/>
              <a:ext cx="69" cy="82"/>
            </a:xfrm>
            <a:custGeom>
              <a:avLst/>
              <a:gdLst/>
              <a:ahLst/>
              <a:cxnLst>
                <a:cxn ang="0">
                  <a:pos x="11" y="16"/>
                </a:cxn>
                <a:cxn ang="0">
                  <a:pos x="11" y="17"/>
                </a:cxn>
                <a:cxn ang="0">
                  <a:pos x="7" y="18"/>
                </a:cxn>
                <a:cxn ang="0">
                  <a:pos x="6" y="22"/>
                </a:cxn>
                <a:cxn ang="0">
                  <a:pos x="10" y="22"/>
                </a:cxn>
                <a:cxn ang="0">
                  <a:pos x="11" y="24"/>
                </a:cxn>
                <a:cxn ang="0">
                  <a:pos x="10" y="27"/>
                </a:cxn>
                <a:cxn ang="0">
                  <a:pos x="7" y="30"/>
                </a:cxn>
                <a:cxn ang="0">
                  <a:pos x="7" y="31"/>
                </a:cxn>
                <a:cxn ang="0">
                  <a:pos x="10" y="34"/>
                </a:cxn>
                <a:cxn ang="0">
                  <a:pos x="16" y="37"/>
                </a:cxn>
                <a:cxn ang="0">
                  <a:pos x="11" y="40"/>
                </a:cxn>
                <a:cxn ang="0">
                  <a:pos x="15" y="42"/>
                </a:cxn>
                <a:cxn ang="0">
                  <a:pos x="15" y="46"/>
                </a:cxn>
                <a:cxn ang="0">
                  <a:pos x="6" y="47"/>
                </a:cxn>
                <a:cxn ang="0">
                  <a:pos x="10" y="51"/>
                </a:cxn>
                <a:cxn ang="0">
                  <a:pos x="9" y="52"/>
                </a:cxn>
                <a:cxn ang="0">
                  <a:pos x="6" y="51"/>
                </a:cxn>
                <a:cxn ang="0">
                  <a:pos x="3" y="55"/>
                </a:cxn>
                <a:cxn ang="0">
                  <a:pos x="0" y="57"/>
                </a:cxn>
                <a:cxn ang="0">
                  <a:pos x="4" y="61"/>
                </a:cxn>
                <a:cxn ang="0">
                  <a:pos x="0" y="63"/>
                </a:cxn>
                <a:cxn ang="0">
                  <a:pos x="0" y="64"/>
                </a:cxn>
                <a:cxn ang="0">
                  <a:pos x="0" y="66"/>
                </a:cxn>
                <a:cxn ang="0">
                  <a:pos x="10" y="71"/>
                </a:cxn>
                <a:cxn ang="0">
                  <a:pos x="16" y="76"/>
                </a:cxn>
                <a:cxn ang="0">
                  <a:pos x="18" y="64"/>
                </a:cxn>
                <a:cxn ang="0">
                  <a:pos x="27" y="66"/>
                </a:cxn>
                <a:cxn ang="0">
                  <a:pos x="31" y="76"/>
                </a:cxn>
                <a:cxn ang="0">
                  <a:pos x="34" y="75"/>
                </a:cxn>
                <a:cxn ang="0">
                  <a:pos x="34" y="72"/>
                </a:cxn>
                <a:cxn ang="0">
                  <a:pos x="39" y="71"/>
                </a:cxn>
                <a:cxn ang="0">
                  <a:pos x="42" y="72"/>
                </a:cxn>
                <a:cxn ang="0">
                  <a:pos x="45" y="69"/>
                </a:cxn>
                <a:cxn ang="0">
                  <a:pos x="47" y="70"/>
                </a:cxn>
                <a:cxn ang="0">
                  <a:pos x="49" y="70"/>
                </a:cxn>
                <a:cxn ang="0">
                  <a:pos x="52" y="69"/>
                </a:cxn>
                <a:cxn ang="0">
                  <a:pos x="57" y="67"/>
                </a:cxn>
                <a:cxn ang="0">
                  <a:pos x="60" y="71"/>
                </a:cxn>
                <a:cxn ang="0">
                  <a:pos x="63" y="70"/>
                </a:cxn>
                <a:cxn ang="0">
                  <a:pos x="58" y="64"/>
                </a:cxn>
                <a:cxn ang="0">
                  <a:pos x="64" y="54"/>
                </a:cxn>
                <a:cxn ang="0">
                  <a:pos x="58" y="45"/>
                </a:cxn>
                <a:cxn ang="0">
                  <a:pos x="59" y="34"/>
                </a:cxn>
                <a:cxn ang="0">
                  <a:pos x="58" y="28"/>
                </a:cxn>
                <a:cxn ang="0">
                  <a:pos x="53" y="27"/>
                </a:cxn>
                <a:cxn ang="0">
                  <a:pos x="48" y="25"/>
                </a:cxn>
                <a:cxn ang="0">
                  <a:pos x="42" y="22"/>
                </a:cxn>
                <a:cxn ang="0">
                  <a:pos x="22" y="0"/>
                </a:cxn>
                <a:cxn ang="0">
                  <a:pos x="1" y="5"/>
                </a:cxn>
                <a:cxn ang="0">
                  <a:pos x="5" y="11"/>
                </a:cxn>
                <a:cxn ang="0">
                  <a:pos x="6" y="11"/>
                </a:cxn>
                <a:cxn ang="0">
                  <a:pos x="5" y="13"/>
                </a:cxn>
                <a:cxn ang="0">
                  <a:pos x="6" y="15"/>
                </a:cxn>
                <a:cxn ang="0">
                  <a:pos x="11" y="16"/>
                </a:cxn>
              </a:cxnLst>
              <a:rect l="0" t="0" r="r" b="b"/>
              <a:pathLst>
                <a:path w="64" h="76">
                  <a:moveTo>
                    <a:pt x="11" y="16"/>
                  </a:moveTo>
                  <a:lnTo>
                    <a:pt x="11" y="17"/>
                  </a:lnTo>
                  <a:lnTo>
                    <a:pt x="7" y="18"/>
                  </a:lnTo>
                  <a:lnTo>
                    <a:pt x="6" y="22"/>
                  </a:lnTo>
                  <a:lnTo>
                    <a:pt x="10" y="22"/>
                  </a:lnTo>
                  <a:lnTo>
                    <a:pt x="11" y="24"/>
                  </a:lnTo>
                  <a:lnTo>
                    <a:pt x="10" y="27"/>
                  </a:lnTo>
                  <a:lnTo>
                    <a:pt x="7" y="30"/>
                  </a:lnTo>
                  <a:lnTo>
                    <a:pt x="7" y="31"/>
                  </a:lnTo>
                  <a:lnTo>
                    <a:pt x="10" y="34"/>
                  </a:lnTo>
                  <a:lnTo>
                    <a:pt x="16" y="37"/>
                  </a:lnTo>
                  <a:lnTo>
                    <a:pt x="11" y="40"/>
                  </a:lnTo>
                  <a:lnTo>
                    <a:pt x="15" y="42"/>
                  </a:lnTo>
                  <a:lnTo>
                    <a:pt x="15" y="46"/>
                  </a:lnTo>
                  <a:lnTo>
                    <a:pt x="6" y="47"/>
                  </a:lnTo>
                  <a:lnTo>
                    <a:pt x="10" y="51"/>
                  </a:lnTo>
                  <a:lnTo>
                    <a:pt x="9" y="52"/>
                  </a:lnTo>
                  <a:lnTo>
                    <a:pt x="6" y="51"/>
                  </a:lnTo>
                  <a:lnTo>
                    <a:pt x="3" y="55"/>
                  </a:lnTo>
                  <a:lnTo>
                    <a:pt x="0" y="57"/>
                  </a:lnTo>
                  <a:lnTo>
                    <a:pt x="4" y="61"/>
                  </a:lnTo>
                  <a:lnTo>
                    <a:pt x="0" y="63"/>
                  </a:lnTo>
                  <a:lnTo>
                    <a:pt x="0" y="64"/>
                  </a:lnTo>
                  <a:lnTo>
                    <a:pt x="0" y="66"/>
                  </a:lnTo>
                  <a:lnTo>
                    <a:pt x="10" y="71"/>
                  </a:lnTo>
                  <a:lnTo>
                    <a:pt x="16" y="76"/>
                  </a:lnTo>
                  <a:lnTo>
                    <a:pt x="18" y="64"/>
                  </a:lnTo>
                  <a:lnTo>
                    <a:pt x="27" y="66"/>
                  </a:lnTo>
                  <a:lnTo>
                    <a:pt x="31" y="76"/>
                  </a:lnTo>
                  <a:lnTo>
                    <a:pt x="34" y="75"/>
                  </a:lnTo>
                  <a:lnTo>
                    <a:pt x="34" y="72"/>
                  </a:lnTo>
                  <a:lnTo>
                    <a:pt x="39" y="71"/>
                  </a:lnTo>
                  <a:lnTo>
                    <a:pt x="42" y="72"/>
                  </a:lnTo>
                  <a:lnTo>
                    <a:pt x="45" y="69"/>
                  </a:lnTo>
                  <a:lnTo>
                    <a:pt x="47" y="70"/>
                  </a:lnTo>
                  <a:lnTo>
                    <a:pt x="49" y="70"/>
                  </a:lnTo>
                  <a:lnTo>
                    <a:pt x="52" y="69"/>
                  </a:lnTo>
                  <a:lnTo>
                    <a:pt x="57" y="67"/>
                  </a:lnTo>
                  <a:lnTo>
                    <a:pt x="60" y="71"/>
                  </a:lnTo>
                  <a:lnTo>
                    <a:pt x="63" y="70"/>
                  </a:lnTo>
                  <a:lnTo>
                    <a:pt x="58" y="64"/>
                  </a:lnTo>
                  <a:lnTo>
                    <a:pt x="64" y="54"/>
                  </a:lnTo>
                  <a:lnTo>
                    <a:pt x="58" y="45"/>
                  </a:lnTo>
                  <a:lnTo>
                    <a:pt x="59" y="34"/>
                  </a:lnTo>
                  <a:lnTo>
                    <a:pt x="58" y="28"/>
                  </a:lnTo>
                  <a:lnTo>
                    <a:pt x="53" y="27"/>
                  </a:lnTo>
                  <a:lnTo>
                    <a:pt x="48" y="25"/>
                  </a:lnTo>
                  <a:lnTo>
                    <a:pt x="42" y="22"/>
                  </a:lnTo>
                  <a:lnTo>
                    <a:pt x="22" y="0"/>
                  </a:lnTo>
                  <a:lnTo>
                    <a:pt x="1" y="5"/>
                  </a:lnTo>
                  <a:lnTo>
                    <a:pt x="5" y="11"/>
                  </a:lnTo>
                  <a:lnTo>
                    <a:pt x="6" y="11"/>
                  </a:lnTo>
                  <a:lnTo>
                    <a:pt x="5" y="13"/>
                  </a:lnTo>
                  <a:lnTo>
                    <a:pt x="6" y="15"/>
                  </a:lnTo>
                  <a:lnTo>
                    <a:pt x="11" y="1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3" name="Freeform 390"/>
            <p:cNvSpPr>
              <a:spLocks/>
            </p:cNvSpPr>
            <p:nvPr/>
          </p:nvSpPr>
          <p:spPr bwMode="auto">
            <a:xfrm>
              <a:off x="554" y="1316"/>
              <a:ext cx="1144" cy="558"/>
            </a:xfrm>
            <a:custGeom>
              <a:avLst/>
              <a:gdLst/>
              <a:ahLst/>
              <a:cxnLst>
                <a:cxn ang="0">
                  <a:pos x="793" y="84"/>
                </a:cxn>
                <a:cxn ang="0">
                  <a:pos x="839" y="34"/>
                </a:cxn>
                <a:cxn ang="0">
                  <a:pos x="756" y="56"/>
                </a:cxn>
                <a:cxn ang="0">
                  <a:pos x="723" y="32"/>
                </a:cxn>
                <a:cxn ang="0">
                  <a:pos x="721" y="2"/>
                </a:cxn>
                <a:cxn ang="0">
                  <a:pos x="709" y="38"/>
                </a:cxn>
                <a:cxn ang="0">
                  <a:pos x="655" y="75"/>
                </a:cxn>
                <a:cxn ang="0">
                  <a:pos x="666" y="55"/>
                </a:cxn>
                <a:cxn ang="0">
                  <a:pos x="627" y="63"/>
                </a:cxn>
                <a:cxn ang="0">
                  <a:pos x="544" y="52"/>
                </a:cxn>
                <a:cxn ang="0">
                  <a:pos x="509" y="64"/>
                </a:cxn>
                <a:cxn ang="0">
                  <a:pos x="437" y="45"/>
                </a:cxn>
                <a:cxn ang="0">
                  <a:pos x="346" y="36"/>
                </a:cxn>
                <a:cxn ang="0">
                  <a:pos x="288" y="28"/>
                </a:cxn>
                <a:cxn ang="0">
                  <a:pos x="124" y="69"/>
                </a:cxn>
                <a:cxn ang="0">
                  <a:pos x="22" y="188"/>
                </a:cxn>
                <a:cxn ang="0">
                  <a:pos x="72" y="254"/>
                </a:cxn>
                <a:cxn ang="0">
                  <a:pos x="47" y="277"/>
                </a:cxn>
                <a:cxn ang="0">
                  <a:pos x="61" y="298"/>
                </a:cxn>
                <a:cxn ang="0">
                  <a:pos x="63" y="321"/>
                </a:cxn>
                <a:cxn ang="0">
                  <a:pos x="37" y="337"/>
                </a:cxn>
                <a:cxn ang="0">
                  <a:pos x="59" y="344"/>
                </a:cxn>
                <a:cxn ang="0">
                  <a:pos x="70" y="358"/>
                </a:cxn>
                <a:cxn ang="0">
                  <a:pos x="75" y="370"/>
                </a:cxn>
                <a:cxn ang="0">
                  <a:pos x="271" y="373"/>
                </a:cxn>
                <a:cxn ang="0">
                  <a:pos x="468" y="367"/>
                </a:cxn>
                <a:cxn ang="0">
                  <a:pos x="582" y="409"/>
                </a:cxn>
                <a:cxn ang="0">
                  <a:pos x="579" y="495"/>
                </a:cxn>
                <a:cxn ang="0">
                  <a:pos x="695" y="457"/>
                </a:cxn>
                <a:cxn ang="0">
                  <a:pos x="820" y="403"/>
                </a:cxn>
                <a:cxn ang="0">
                  <a:pos x="868" y="428"/>
                </a:cxn>
                <a:cxn ang="0">
                  <a:pos x="841" y="451"/>
                </a:cxn>
                <a:cxn ang="0">
                  <a:pos x="913" y="439"/>
                </a:cxn>
                <a:cxn ang="0">
                  <a:pos x="865" y="408"/>
                </a:cxn>
                <a:cxn ang="0">
                  <a:pos x="891" y="378"/>
                </a:cxn>
                <a:cxn ang="0">
                  <a:pos x="809" y="388"/>
                </a:cxn>
                <a:cxn ang="0">
                  <a:pos x="978" y="337"/>
                </a:cxn>
                <a:cxn ang="0">
                  <a:pos x="1031" y="297"/>
                </a:cxn>
                <a:cxn ang="0">
                  <a:pos x="976" y="295"/>
                </a:cxn>
                <a:cxn ang="0">
                  <a:pos x="987" y="272"/>
                </a:cxn>
                <a:cxn ang="0">
                  <a:pos x="981" y="260"/>
                </a:cxn>
                <a:cxn ang="0">
                  <a:pos x="966" y="238"/>
                </a:cxn>
                <a:cxn ang="0">
                  <a:pos x="966" y="218"/>
                </a:cxn>
                <a:cxn ang="0">
                  <a:pos x="965" y="188"/>
                </a:cxn>
                <a:cxn ang="0">
                  <a:pos x="942" y="201"/>
                </a:cxn>
                <a:cxn ang="0">
                  <a:pos x="899" y="219"/>
                </a:cxn>
                <a:cxn ang="0">
                  <a:pos x="893" y="194"/>
                </a:cxn>
                <a:cxn ang="0">
                  <a:pos x="883" y="160"/>
                </a:cxn>
                <a:cxn ang="0">
                  <a:pos x="810" y="163"/>
                </a:cxn>
                <a:cxn ang="0">
                  <a:pos x="772" y="254"/>
                </a:cxn>
                <a:cxn ang="0">
                  <a:pos x="702" y="327"/>
                </a:cxn>
                <a:cxn ang="0">
                  <a:pos x="682" y="284"/>
                </a:cxn>
                <a:cxn ang="0">
                  <a:pos x="599" y="231"/>
                </a:cxn>
                <a:cxn ang="0">
                  <a:pos x="570" y="201"/>
                </a:cxn>
                <a:cxn ang="0">
                  <a:pos x="647" y="140"/>
                </a:cxn>
                <a:cxn ang="0">
                  <a:pos x="685" y="122"/>
                </a:cxn>
                <a:cxn ang="0">
                  <a:pos x="723" y="96"/>
                </a:cxn>
              </a:cxnLst>
              <a:rect l="0" t="0" r="r" b="b"/>
              <a:pathLst>
                <a:path w="1031" h="502">
                  <a:moveTo>
                    <a:pt x="759" y="87"/>
                  </a:moveTo>
                  <a:lnTo>
                    <a:pt x="753" y="81"/>
                  </a:lnTo>
                  <a:lnTo>
                    <a:pt x="769" y="82"/>
                  </a:lnTo>
                  <a:lnTo>
                    <a:pt x="777" y="86"/>
                  </a:lnTo>
                  <a:lnTo>
                    <a:pt x="785" y="85"/>
                  </a:lnTo>
                  <a:lnTo>
                    <a:pt x="779" y="76"/>
                  </a:lnTo>
                  <a:lnTo>
                    <a:pt x="785" y="78"/>
                  </a:lnTo>
                  <a:lnTo>
                    <a:pt x="789" y="79"/>
                  </a:lnTo>
                  <a:lnTo>
                    <a:pt x="793" y="84"/>
                  </a:lnTo>
                  <a:lnTo>
                    <a:pt x="822" y="73"/>
                  </a:lnTo>
                  <a:lnTo>
                    <a:pt x="827" y="66"/>
                  </a:lnTo>
                  <a:lnTo>
                    <a:pt x="826" y="57"/>
                  </a:lnTo>
                  <a:lnTo>
                    <a:pt x="827" y="52"/>
                  </a:lnTo>
                  <a:lnTo>
                    <a:pt x="841" y="48"/>
                  </a:lnTo>
                  <a:lnTo>
                    <a:pt x="833" y="45"/>
                  </a:lnTo>
                  <a:lnTo>
                    <a:pt x="845" y="40"/>
                  </a:lnTo>
                  <a:lnTo>
                    <a:pt x="826" y="36"/>
                  </a:lnTo>
                  <a:lnTo>
                    <a:pt x="839" y="34"/>
                  </a:lnTo>
                  <a:lnTo>
                    <a:pt x="804" y="33"/>
                  </a:lnTo>
                  <a:lnTo>
                    <a:pt x="801" y="42"/>
                  </a:lnTo>
                  <a:lnTo>
                    <a:pt x="802" y="45"/>
                  </a:lnTo>
                  <a:lnTo>
                    <a:pt x="801" y="48"/>
                  </a:lnTo>
                  <a:lnTo>
                    <a:pt x="790" y="48"/>
                  </a:lnTo>
                  <a:lnTo>
                    <a:pt x="763" y="69"/>
                  </a:lnTo>
                  <a:lnTo>
                    <a:pt x="754" y="70"/>
                  </a:lnTo>
                  <a:lnTo>
                    <a:pt x="751" y="58"/>
                  </a:lnTo>
                  <a:lnTo>
                    <a:pt x="756" y="56"/>
                  </a:lnTo>
                  <a:lnTo>
                    <a:pt x="763" y="45"/>
                  </a:lnTo>
                  <a:lnTo>
                    <a:pt x="753" y="40"/>
                  </a:lnTo>
                  <a:lnTo>
                    <a:pt x="731" y="56"/>
                  </a:lnTo>
                  <a:lnTo>
                    <a:pt x="737" y="43"/>
                  </a:lnTo>
                  <a:lnTo>
                    <a:pt x="732" y="39"/>
                  </a:lnTo>
                  <a:lnTo>
                    <a:pt x="744" y="37"/>
                  </a:lnTo>
                  <a:lnTo>
                    <a:pt x="737" y="34"/>
                  </a:lnTo>
                  <a:lnTo>
                    <a:pt x="724" y="33"/>
                  </a:lnTo>
                  <a:lnTo>
                    <a:pt x="723" y="32"/>
                  </a:lnTo>
                  <a:lnTo>
                    <a:pt x="732" y="27"/>
                  </a:lnTo>
                  <a:lnTo>
                    <a:pt x="732" y="25"/>
                  </a:lnTo>
                  <a:lnTo>
                    <a:pt x="738" y="25"/>
                  </a:lnTo>
                  <a:lnTo>
                    <a:pt x="733" y="16"/>
                  </a:lnTo>
                  <a:lnTo>
                    <a:pt x="738" y="7"/>
                  </a:lnTo>
                  <a:lnTo>
                    <a:pt x="731" y="2"/>
                  </a:lnTo>
                  <a:lnTo>
                    <a:pt x="726" y="2"/>
                  </a:lnTo>
                  <a:lnTo>
                    <a:pt x="730" y="0"/>
                  </a:lnTo>
                  <a:lnTo>
                    <a:pt x="721" y="2"/>
                  </a:lnTo>
                  <a:lnTo>
                    <a:pt x="726" y="2"/>
                  </a:lnTo>
                  <a:lnTo>
                    <a:pt x="708" y="6"/>
                  </a:lnTo>
                  <a:lnTo>
                    <a:pt x="711" y="9"/>
                  </a:lnTo>
                  <a:lnTo>
                    <a:pt x="699" y="9"/>
                  </a:lnTo>
                  <a:lnTo>
                    <a:pt x="694" y="19"/>
                  </a:lnTo>
                  <a:lnTo>
                    <a:pt x="696" y="20"/>
                  </a:lnTo>
                  <a:lnTo>
                    <a:pt x="688" y="22"/>
                  </a:lnTo>
                  <a:lnTo>
                    <a:pt x="683" y="31"/>
                  </a:lnTo>
                  <a:lnTo>
                    <a:pt x="709" y="38"/>
                  </a:lnTo>
                  <a:lnTo>
                    <a:pt x="701" y="40"/>
                  </a:lnTo>
                  <a:lnTo>
                    <a:pt x="702" y="38"/>
                  </a:lnTo>
                  <a:lnTo>
                    <a:pt x="696" y="42"/>
                  </a:lnTo>
                  <a:lnTo>
                    <a:pt x="689" y="48"/>
                  </a:lnTo>
                  <a:lnTo>
                    <a:pt x="701" y="44"/>
                  </a:lnTo>
                  <a:lnTo>
                    <a:pt x="695" y="50"/>
                  </a:lnTo>
                  <a:lnTo>
                    <a:pt x="671" y="58"/>
                  </a:lnTo>
                  <a:lnTo>
                    <a:pt x="661" y="69"/>
                  </a:lnTo>
                  <a:lnTo>
                    <a:pt x="655" y="75"/>
                  </a:lnTo>
                  <a:lnTo>
                    <a:pt x="647" y="75"/>
                  </a:lnTo>
                  <a:lnTo>
                    <a:pt x="648" y="79"/>
                  </a:lnTo>
                  <a:lnTo>
                    <a:pt x="647" y="75"/>
                  </a:lnTo>
                  <a:lnTo>
                    <a:pt x="648" y="75"/>
                  </a:lnTo>
                  <a:lnTo>
                    <a:pt x="657" y="74"/>
                  </a:lnTo>
                  <a:lnTo>
                    <a:pt x="653" y="72"/>
                  </a:lnTo>
                  <a:lnTo>
                    <a:pt x="657" y="68"/>
                  </a:lnTo>
                  <a:lnTo>
                    <a:pt x="651" y="69"/>
                  </a:lnTo>
                  <a:lnTo>
                    <a:pt x="666" y="55"/>
                  </a:lnTo>
                  <a:lnTo>
                    <a:pt x="655" y="57"/>
                  </a:lnTo>
                  <a:lnTo>
                    <a:pt x="658" y="55"/>
                  </a:lnTo>
                  <a:lnTo>
                    <a:pt x="645" y="52"/>
                  </a:lnTo>
                  <a:lnTo>
                    <a:pt x="635" y="56"/>
                  </a:lnTo>
                  <a:lnTo>
                    <a:pt x="637" y="61"/>
                  </a:lnTo>
                  <a:lnTo>
                    <a:pt x="646" y="62"/>
                  </a:lnTo>
                  <a:lnTo>
                    <a:pt x="634" y="63"/>
                  </a:lnTo>
                  <a:lnTo>
                    <a:pt x="630" y="58"/>
                  </a:lnTo>
                  <a:lnTo>
                    <a:pt x="627" y="63"/>
                  </a:lnTo>
                  <a:lnTo>
                    <a:pt x="603" y="62"/>
                  </a:lnTo>
                  <a:lnTo>
                    <a:pt x="580" y="62"/>
                  </a:lnTo>
                  <a:lnTo>
                    <a:pt x="573" y="58"/>
                  </a:lnTo>
                  <a:lnTo>
                    <a:pt x="563" y="57"/>
                  </a:lnTo>
                  <a:lnTo>
                    <a:pt x="559" y="51"/>
                  </a:lnTo>
                  <a:lnTo>
                    <a:pt x="556" y="45"/>
                  </a:lnTo>
                  <a:lnTo>
                    <a:pt x="519" y="54"/>
                  </a:lnTo>
                  <a:lnTo>
                    <a:pt x="526" y="56"/>
                  </a:lnTo>
                  <a:lnTo>
                    <a:pt x="544" y="52"/>
                  </a:lnTo>
                  <a:lnTo>
                    <a:pt x="556" y="51"/>
                  </a:lnTo>
                  <a:lnTo>
                    <a:pt x="533" y="58"/>
                  </a:lnTo>
                  <a:lnTo>
                    <a:pt x="522" y="60"/>
                  </a:lnTo>
                  <a:lnTo>
                    <a:pt x="515" y="78"/>
                  </a:lnTo>
                  <a:lnTo>
                    <a:pt x="510" y="74"/>
                  </a:lnTo>
                  <a:lnTo>
                    <a:pt x="508" y="85"/>
                  </a:lnTo>
                  <a:lnTo>
                    <a:pt x="503" y="73"/>
                  </a:lnTo>
                  <a:lnTo>
                    <a:pt x="511" y="73"/>
                  </a:lnTo>
                  <a:lnTo>
                    <a:pt x="509" y="64"/>
                  </a:lnTo>
                  <a:lnTo>
                    <a:pt x="502" y="68"/>
                  </a:lnTo>
                  <a:lnTo>
                    <a:pt x="502" y="63"/>
                  </a:lnTo>
                  <a:lnTo>
                    <a:pt x="493" y="60"/>
                  </a:lnTo>
                  <a:lnTo>
                    <a:pt x="449" y="64"/>
                  </a:lnTo>
                  <a:lnTo>
                    <a:pt x="432" y="60"/>
                  </a:lnTo>
                  <a:lnTo>
                    <a:pt x="450" y="55"/>
                  </a:lnTo>
                  <a:lnTo>
                    <a:pt x="456" y="54"/>
                  </a:lnTo>
                  <a:lnTo>
                    <a:pt x="444" y="44"/>
                  </a:lnTo>
                  <a:lnTo>
                    <a:pt x="437" y="45"/>
                  </a:lnTo>
                  <a:lnTo>
                    <a:pt x="406" y="38"/>
                  </a:lnTo>
                  <a:lnTo>
                    <a:pt x="377" y="31"/>
                  </a:lnTo>
                  <a:lnTo>
                    <a:pt x="360" y="38"/>
                  </a:lnTo>
                  <a:lnTo>
                    <a:pt x="354" y="37"/>
                  </a:lnTo>
                  <a:lnTo>
                    <a:pt x="359" y="33"/>
                  </a:lnTo>
                  <a:lnTo>
                    <a:pt x="363" y="26"/>
                  </a:lnTo>
                  <a:lnTo>
                    <a:pt x="358" y="28"/>
                  </a:lnTo>
                  <a:lnTo>
                    <a:pt x="353" y="33"/>
                  </a:lnTo>
                  <a:lnTo>
                    <a:pt x="346" y="36"/>
                  </a:lnTo>
                  <a:lnTo>
                    <a:pt x="340" y="39"/>
                  </a:lnTo>
                  <a:lnTo>
                    <a:pt x="335" y="28"/>
                  </a:lnTo>
                  <a:lnTo>
                    <a:pt x="330" y="21"/>
                  </a:lnTo>
                  <a:lnTo>
                    <a:pt x="331" y="25"/>
                  </a:lnTo>
                  <a:lnTo>
                    <a:pt x="306" y="33"/>
                  </a:lnTo>
                  <a:lnTo>
                    <a:pt x="307" y="31"/>
                  </a:lnTo>
                  <a:lnTo>
                    <a:pt x="281" y="34"/>
                  </a:lnTo>
                  <a:lnTo>
                    <a:pt x="307" y="26"/>
                  </a:lnTo>
                  <a:lnTo>
                    <a:pt x="288" y="28"/>
                  </a:lnTo>
                  <a:lnTo>
                    <a:pt x="259" y="36"/>
                  </a:lnTo>
                  <a:lnTo>
                    <a:pt x="229" y="44"/>
                  </a:lnTo>
                  <a:lnTo>
                    <a:pt x="226" y="48"/>
                  </a:lnTo>
                  <a:lnTo>
                    <a:pt x="216" y="46"/>
                  </a:lnTo>
                  <a:lnTo>
                    <a:pt x="214" y="49"/>
                  </a:lnTo>
                  <a:lnTo>
                    <a:pt x="190" y="42"/>
                  </a:lnTo>
                  <a:lnTo>
                    <a:pt x="167" y="33"/>
                  </a:lnTo>
                  <a:lnTo>
                    <a:pt x="145" y="51"/>
                  </a:lnTo>
                  <a:lnTo>
                    <a:pt x="124" y="69"/>
                  </a:lnTo>
                  <a:lnTo>
                    <a:pt x="102" y="87"/>
                  </a:lnTo>
                  <a:lnTo>
                    <a:pt x="81" y="105"/>
                  </a:lnTo>
                  <a:lnTo>
                    <a:pt x="61" y="124"/>
                  </a:lnTo>
                  <a:lnTo>
                    <a:pt x="41" y="144"/>
                  </a:lnTo>
                  <a:lnTo>
                    <a:pt x="21" y="163"/>
                  </a:lnTo>
                  <a:lnTo>
                    <a:pt x="0" y="181"/>
                  </a:lnTo>
                  <a:lnTo>
                    <a:pt x="25" y="181"/>
                  </a:lnTo>
                  <a:lnTo>
                    <a:pt x="19" y="184"/>
                  </a:lnTo>
                  <a:lnTo>
                    <a:pt x="22" y="188"/>
                  </a:lnTo>
                  <a:lnTo>
                    <a:pt x="22" y="205"/>
                  </a:lnTo>
                  <a:lnTo>
                    <a:pt x="34" y="200"/>
                  </a:lnTo>
                  <a:lnTo>
                    <a:pt x="43" y="195"/>
                  </a:lnTo>
                  <a:lnTo>
                    <a:pt x="61" y="189"/>
                  </a:lnTo>
                  <a:lnTo>
                    <a:pt x="66" y="207"/>
                  </a:lnTo>
                  <a:lnTo>
                    <a:pt x="63" y="223"/>
                  </a:lnTo>
                  <a:lnTo>
                    <a:pt x="59" y="238"/>
                  </a:lnTo>
                  <a:lnTo>
                    <a:pt x="66" y="247"/>
                  </a:lnTo>
                  <a:lnTo>
                    <a:pt x="72" y="254"/>
                  </a:lnTo>
                  <a:lnTo>
                    <a:pt x="58" y="270"/>
                  </a:lnTo>
                  <a:lnTo>
                    <a:pt x="71" y="259"/>
                  </a:lnTo>
                  <a:lnTo>
                    <a:pt x="71" y="262"/>
                  </a:lnTo>
                  <a:lnTo>
                    <a:pt x="59" y="270"/>
                  </a:lnTo>
                  <a:lnTo>
                    <a:pt x="61" y="270"/>
                  </a:lnTo>
                  <a:lnTo>
                    <a:pt x="54" y="276"/>
                  </a:lnTo>
                  <a:lnTo>
                    <a:pt x="49" y="276"/>
                  </a:lnTo>
                  <a:lnTo>
                    <a:pt x="49" y="282"/>
                  </a:lnTo>
                  <a:lnTo>
                    <a:pt x="47" y="277"/>
                  </a:lnTo>
                  <a:lnTo>
                    <a:pt x="46" y="284"/>
                  </a:lnTo>
                  <a:lnTo>
                    <a:pt x="53" y="284"/>
                  </a:lnTo>
                  <a:lnTo>
                    <a:pt x="48" y="284"/>
                  </a:lnTo>
                  <a:lnTo>
                    <a:pt x="48" y="288"/>
                  </a:lnTo>
                  <a:lnTo>
                    <a:pt x="45" y="285"/>
                  </a:lnTo>
                  <a:lnTo>
                    <a:pt x="47" y="297"/>
                  </a:lnTo>
                  <a:lnTo>
                    <a:pt x="65" y="286"/>
                  </a:lnTo>
                  <a:lnTo>
                    <a:pt x="58" y="296"/>
                  </a:lnTo>
                  <a:lnTo>
                    <a:pt x="61" y="298"/>
                  </a:lnTo>
                  <a:lnTo>
                    <a:pt x="54" y="296"/>
                  </a:lnTo>
                  <a:lnTo>
                    <a:pt x="52" y="307"/>
                  </a:lnTo>
                  <a:lnTo>
                    <a:pt x="55" y="306"/>
                  </a:lnTo>
                  <a:lnTo>
                    <a:pt x="45" y="316"/>
                  </a:lnTo>
                  <a:lnTo>
                    <a:pt x="51" y="313"/>
                  </a:lnTo>
                  <a:lnTo>
                    <a:pt x="49" y="318"/>
                  </a:lnTo>
                  <a:lnTo>
                    <a:pt x="70" y="307"/>
                  </a:lnTo>
                  <a:lnTo>
                    <a:pt x="64" y="315"/>
                  </a:lnTo>
                  <a:lnTo>
                    <a:pt x="63" y="321"/>
                  </a:lnTo>
                  <a:lnTo>
                    <a:pt x="60" y="315"/>
                  </a:lnTo>
                  <a:lnTo>
                    <a:pt x="45" y="325"/>
                  </a:lnTo>
                  <a:lnTo>
                    <a:pt x="45" y="328"/>
                  </a:lnTo>
                  <a:lnTo>
                    <a:pt x="49" y="326"/>
                  </a:lnTo>
                  <a:lnTo>
                    <a:pt x="59" y="327"/>
                  </a:lnTo>
                  <a:lnTo>
                    <a:pt x="43" y="331"/>
                  </a:lnTo>
                  <a:lnTo>
                    <a:pt x="40" y="332"/>
                  </a:lnTo>
                  <a:lnTo>
                    <a:pt x="46" y="333"/>
                  </a:lnTo>
                  <a:lnTo>
                    <a:pt x="37" y="337"/>
                  </a:lnTo>
                  <a:lnTo>
                    <a:pt x="48" y="340"/>
                  </a:lnTo>
                  <a:lnTo>
                    <a:pt x="52" y="338"/>
                  </a:lnTo>
                  <a:lnTo>
                    <a:pt x="55" y="339"/>
                  </a:lnTo>
                  <a:lnTo>
                    <a:pt x="51" y="342"/>
                  </a:lnTo>
                  <a:lnTo>
                    <a:pt x="57" y="342"/>
                  </a:lnTo>
                  <a:lnTo>
                    <a:pt x="52" y="344"/>
                  </a:lnTo>
                  <a:lnTo>
                    <a:pt x="64" y="340"/>
                  </a:lnTo>
                  <a:lnTo>
                    <a:pt x="66" y="338"/>
                  </a:lnTo>
                  <a:lnTo>
                    <a:pt x="59" y="344"/>
                  </a:lnTo>
                  <a:lnTo>
                    <a:pt x="53" y="344"/>
                  </a:lnTo>
                  <a:lnTo>
                    <a:pt x="52" y="348"/>
                  </a:lnTo>
                  <a:lnTo>
                    <a:pt x="61" y="344"/>
                  </a:lnTo>
                  <a:lnTo>
                    <a:pt x="61" y="348"/>
                  </a:lnTo>
                  <a:lnTo>
                    <a:pt x="71" y="342"/>
                  </a:lnTo>
                  <a:lnTo>
                    <a:pt x="66" y="350"/>
                  </a:lnTo>
                  <a:lnTo>
                    <a:pt x="76" y="346"/>
                  </a:lnTo>
                  <a:lnTo>
                    <a:pt x="63" y="355"/>
                  </a:lnTo>
                  <a:lnTo>
                    <a:pt x="70" y="358"/>
                  </a:lnTo>
                  <a:lnTo>
                    <a:pt x="77" y="351"/>
                  </a:lnTo>
                  <a:lnTo>
                    <a:pt x="72" y="362"/>
                  </a:lnTo>
                  <a:lnTo>
                    <a:pt x="75" y="362"/>
                  </a:lnTo>
                  <a:lnTo>
                    <a:pt x="69" y="362"/>
                  </a:lnTo>
                  <a:lnTo>
                    <a:pt x="75" y="364"/>
                  </a:lnTo>
                  <a:lnTo>
                    <a:pt x="81" y="362"/>
                  </a:lnTo>
                  <a:lnTo>
                    <a:pt x="76" y="367"/>
                  </a:lnTo>
                  <a:lnTo>
                    <a:pt x="81" y="368"/>
                  </a:lnTo>
                  <a:lnTo>
                    <a:pt x="75" y="370"/>
                  </a:lnTo>
                  <a:lnTo>
                    <a:pt x="79" y="373"/>
                  </a:lnTo>
                  <a:lnTo>
                    <a:pt x="103" y="373"/>
                  </a:lnTo>
                  <a:lnTo>
                    <a:pt x="127" y="373"/>
                  </a:lnTo>
                  <a:lnTo>
                    <a:pt x="151" y="373"/>
                  </a:lnTo>
                  <a:lnTo>
                    <a:pt x="175" y="373"/>
                  </a:lnTo>
                  <a:lnTo>
                    <a:pt x="199" y="373"/>
                  </a:lnTo>
                  <a:lnTo>
                    <a:pt x="223" y="373"/>
                  </a:lnTo>
                  <a:lnTo>
                    <a:pt x="247" y="373"/>
                  </a:lnTo>
                  <a:lnTo>
                    <a:pt x="271" y="373"/>
                  </a:lnTo>
                  <a:lnTo>
                    <a:pt x="295" y="373"/>
                  </a:lnTo>
                  <a:lnTo>
                    <a:pt x="319" y="373"/>
                  </a:lnTo>
                  <a:lnTo>
                    <a:pt x="342" y="373"/>
                  </a:lnTo>
                  <a:lnTo>
                    <a:pt x="366" y="373"/>
                  </a:lnTo>
                  <a:lnTo>
                    <a:pt x="390" y="373"/>
                  </a:lnTo>
                  <a:lnTo>
                    <a:pt x="414" y="373"/>
                  </a:lnTo>
                  <a:lnTo>
                    <a:pt x="438" y="373"/>
                  </a:lnTo>
                  <a:lnTo>
                    <a:pt x="462" y="373"/>
                  </a:lnTo>
                  <a:lnTo>
                    <a:pt x="468" y="367"/>
                  </a:lnTo>
                  <a:lnTo>
                    <a:pt x="467" y="376"/>
                  </a:lnTo>
                  <a:lnTo>
                    <a:pt x="483" y="380"/>
                  </a:lnTo>
                  <a:lnTo>
                    <a:pt x="503" y="388"/>
                  </a:lnTo>
                  <a:lnTo>
                    <a:pt x="515" y="386"/>
                  </a:lnTo>
                  <a:lnTo>
                    <a:pt x="527" y="391"/>
                  </a:lnTo>
                  <a:lnTo>
                    <a:pt x="546" y="386"/>
                  </a:lnTo>
                  <a:lnTo>
                    <a:pt x="558" y="394"/>
                  </a:lnTo>
                  <a:lnTo>
                    <a:pt x="570" y="402"/>
                  </a:lnTo>
                  <a:lnTo>
                    <a:pt x="582" y="409"/>
                  </a:lnTo>
                  <a:lnTo>
                    <a:pt x="594" y="417"/>
                  </a:lnTo>
                  <a:lnTo>
                    <a:pt x="595" y="424"/>
                  </a:lnTo>
                  <a:lnTo>
                    <a:pt x="600" y="423"/>
                  </a:lnTo>
                  <a:lnTo>
                    <a:pt x="599" y="428"/>
                  </a:lnTo>
                  <a:lnTo>
                    <a:pt x="610" y="436"/>
                  </a:lnTo>
                  <a:lnTo>
                    <a:pt x="606" y="452"/>
                  </a:lnTo>
                  <a:lnTo>
                    <a:pt x="604" y="469"/>
                  </a:lnTo>
                  <a:lnTo>
                    <a:pt x="597" y="478"/>
                  </a:lnTo>
                  <a:lnTo>
                    <a:pt x="579" y="495"/>
                  </a:lnTo>
                  <a:lnTo>
                    <a:pt x="583" y="502"/>
                  </a:lnTo>
                  <a:lnTo>
                    <a:pt x="599" y="496"/>
                  </a:lnTo>
                  <a:lnTo>
                    <a:pt x="613" y="492"/>
                  </a:lnTo>
                  <a:lnTo>
                    <a:pt x="629" y="487"/>
                  </a:lnTo>
                  <a:lnTo>
                    <a:pt x="645" y="482"/>
                  </a:lnTo>
                  <a:lnTo>
                    <a:pt x="646" y="470"/>
                  </a:lnTo>
                  <a:lnTo>
                    <a:pt x="663" y="469"/>
                  </a:lnTo>
                  <a:lnTo>
                    <a:pt x="681" y="468"/>
                  </a:lnTo>
                  <a:lnTo>
                    <a:pt x="695" y="457"/>
                  </a:lnTo>
                  <a:lnTo>
                    <a:pt x="709" y="446"/>
                  </a:lnTo>
                  <a:lnTo>
                    <a:pt x="737" y="445"/>
                  </a:lnTo>
                  <a:lnTo>
                    <a:pt x="765" y="442"/>
                  </a:lnTo>
                  <a:lnTo>
                    <a:pt x="774" y="436"/>
                  </a:lnTo>
                  <a:lnTo>
                    <a:pt x="787" y="426"/>
                  </a:lnTo>
                  <a:lnTo>
                    <a:pt x="799" y="412"/>
                  </a:lnTo>
                  <a:lnTo>
                    <a:pt x="813" y="400"/>
                  </a:lnTo>
                  <a:lnTo>
                    <a:pt x="814" y="403"/>
                  </a:lnTo>
                  <a:lnTo>
                    <a:pt x="820" y="403"/>
                  </a:lnTo>
                  <a:lnTo>
                    <a:pt x="829" y="406"/>
                  </a:lnTo>
                  <a:lnTo>
                    <a:pt x="823" y="428"/>
                  </a:lnTo>
                  <a:lnTo>
                    <a:pt x="827" y="440"/>
                  </a:lnTo>
                  <a:lnTo>
                    <a:pt x="831" y="442"/>
                  </a:lnTo>
                  <a:lnTo>
                    <a:pt x="844" y="436"/>
                  </a:lnTo>
                  <a:lnTo>
                    <a:pt x="843" y="438"/>
                  </a:lnTo>
                  <a:lnTo>
                    <a:pt x="863" y="432"/>
                  </a:lnTo>
                  <a:lnTo>
                    <a:pt x="867" y="424"/>
                  </a:lnTo>
                  <a:lnTo>
                    <a:pt x="868" y="428"/>
                  </a:lnTo>
                  <a:lnTo>
                    <a:pt x="871" y="428"/>
                  </a:lnTo>
                  <a:lnTo>
                    <a:pt x="861" y="435"/>
                  </a:lnTo>
                  <a:lnTo>
                    <a:pt x="882" y="436"/>
                  </a:lnTo>
                  <a:lnTo>
                    <a:pt x="869" y="441"/>
                  </a:lnTo>
                  <a:lnTo>
                    <a:pt x="868" y="438"/>
                  </a:lnTo>
                  <a:lnTo>
                    <a:pt x="846" y="448"/>
                  </a:lnTo>
                  <a:lnTo>
                    <a:pt x="850" y="447"/>
                  </a:lnTo>
                  <a:lnTo>
                    <a:pt x="837" y="453"/>
                  </a:lnTo>
                  <a:lnTo>
                    <a:pt x="841" y="451"/>
                  </a:lnTo>
                  <a:lnTo>
                    <a:pt x="834" y="459"/>
                  </a:lnTo>
                  <a:lnTo>
                    <a:pt x="839" y="469"/>
                  </a:lnTo>
                  <a:lnTo>
                    <a:pt x="847" y="466"/>
                  </a:lnTo>
                  <a:lnTo>
                    <a:pt x="868" y="450"/>
                  </a:lnTo>
                  <a:lnTo>
                    <a:pt x="870" y="452"/>
                  </a:lnTo>
                  <a:lnTo>
                    <a:pt x="875" y="450"/>
                  </a:lnTo>
                  <a:lnTo>
                    <a:pt x="877" y="451"/>
                  </a:lnTo>
                  <a:lnTo>
                    <a:pt x="895" y="445"/>
                  </a:lnTo>
                  <a:lnTo>
                    <a:pt x="913" y="439"/>
                  </a:lnTo>
                  <a:lnTo>
                    <a:pt x="909" y="436"/>
                  </a:lnTo>
                  <a:lnTo>
                    <a:pt x="913" y="435"/>
                  </a:lnTo>
                  <a:lnTo>
                    <a:pt x="906" y="428"/>
                  </a:lnTo>
                  <a:lnTo>
                    <a:pt x="900" y="430"/>
                  </a:lnTo>
                  <a:lnTo>
                    <a:pt x="888" y="429"/>
                  </a:lnTo>
                  <a:lnTo>
                    <a:pt x="879" y="424"/>
                  </a:lnTo>
                  <a:lnTo>
                    <a:pt x="871" y="422"/>
                  </a:lnTo>
                  <a:lnTo>
                    <a:pt x="871" y="409"/>
                  </a:lnTo>
                  <a:lnTo>
                    <a:pt x="865" y="408"/>
                  </a:lnTo>
                  <a:lnTo>
                    <a:pt x="876" y="396"/>
                  </a:lnTo>
                  <a:lnTo>
                    <a:pt x="864" y="397"/>
                  </a:lnTo>
                  <a:lnTo>
                    <a:pt x="863" y="393"/>
                  </a:lnTo>
                  <a:lnTo>
                    <a:pt x="850" y="391"/>
                  </a:lnTo>
                  <a:lnTo>
                    <a:pt x="853" y="390"/>
                  </a:lnTo>
                  <a:lnTo>
                    <a:pt x="868" y="390"/>
                  </a:lnTo>
                  <a:lnTo>
                    <a:pt x="886" y="384"/>
                  </a:lnTo>
                  <a:lnTo>
                    <a:pt x="887" y="378"/>
                  </a:lnTo>
                  <a:lnTo>
                    <a:pt x="891" y="378"/>
                  </a:lnTo>
                  <a:lnTo>
                    <a:pt x="889" y="374"/>
                  </a:lnTo>
                  <a:lnTo>
                    <a:pt x="874" y="368"/>
                  </a:lnTo>
                  <a:lnTo>
                    <a:pt x="853" y="374"/>
                  </a:lnTo>
                  <a:lnTo>
                    <a:pt x="833" y="380"/>
                  </a:lnTo>
                  <a:lnTo>
                    <a:pt x="819" y="390"/>
                  </a:lnTo>
                  <a:lnTo>
                    <a:pt x="803" y="399"/>
                  </a:lnTo>
                  <a:lnTo>
                    <a:pt x="781" y="411"/>
                  </a:lnTo>
                  <a:lnTo>
                    <a:pt x="796" y="399"/>
                  </a:lnTo>
                  <a:lnTo>
                    <a:pt x="809" y="388"/>
                  </a:lnTo>
                  <a:lnTo>
                    <a:pt x="793" y="382"/>
                  </a:lnTo>
                  <a:lnTo>
                    <a:pt x="808" y="388"/>
                  </a:lnTo>
                  <a:lnTo>
                    <a:pt x="828" y="374"/>
                  </a:lnTo>
                  <a:lnTo>
                    <a:pt x="850" y="367"/>
                  </a:lnTo>
                  <a:lnTo>
                    <a:pt x="865" y="352"/>
                  </a:lnTo>
                  <a:lnTo>
                    <a:pt x="895" y="352"/>
                  </a:lnTo>
                  <a:lnTo>
                    <a:pt x="925" y="351"/>
                  </a:lnTo>
                  <a:lnTo>
                    <a:pt x="953" y="351"/>
                  </a:lnTo>
                  <a:lnTo>
                    <a:pt x="978" y="337"/>
                  </a:lnTo>
                  <a:lnTo>
                    <a:pt x="1002" y="331"/>
                  </a:lnTo>
                  <a:lnTo>
                    <a:pt x="1029" y="318"/>
                  </a:lnTo>
                  <a:lnTo>
                    <a:pt x="1021" y="314"/>
                  </a:lnTo>
                  <a:lnTo>
                    <a:pt x="1029" y="313"/>
                  </a:lnTo>
                  <a:lnTo>
                    <a:pt x="1019" y="310"/>
                  </a:lnTo>
                  <a:lnTo>
                    <a:pt x="1026" y="309"/>
                  </a:lnTo>
                  <a:lnTo>
                    <a:pt x="1026" y="307"/>
                  </a:lnTo>
                  <a:lnTo>
                    <a:pt x="1029" y="302"/>
                  </a:lnTo>
                  <a:lnTo>
                    <a:pt x="1031" y="297"/>
                  </a:lnTo>
                  <a:lnTo>
                    <a:pt x="1021" y="292"/>
                  </a:lnTo>
                  <a:lnTo>
                    <a:pt x="1023" y="291"/>
                  </a:lnTo>
                  <a:lnTo>
                    <a:pt x="1013" y="294"/>
                  </a:lnTo>
                  <a:lnTo>
                    <a:pt x="1015" y="284"/>
                  </a:lnTo>
                  <a:lnTo>
                    <a:pt x="1003" y="285"/>
                  </a:lnTo>
                  <a:lnTo>
                    <a:pt x="1009" y="285"/>
                  </a:lnTo>
                  <a:lnTo>
                    <a:pt x="988" y="292"/>
                  </a:lnTo>
                  <a:lnTo>
                    <a:pt x="970" y="298"/>
                  </a:lnTo>
                  <a:lnTo>
                    <a:pt x="976" y="295"/>
                  </a:lnTo>
                  <a:lnTo>
                    <a:pt x="969" y="291"/>
                  </a:lnTo>
                  <a:lnTo>
                    <a:pt x="978" y="292"/>
                  </a:lnTo>
                  <a:lnTo>
                    <a:pt x="1003" y="283"/>
                  </a:lnTo>
                  <a:lnTo>
                    <a:pt x="987" y="286"/>
                  </a:lnTo>
                  <a:lnTo>
                    <a:pt x="1018" y="277"/>
                  </a:lnTo>
                  <a:lnTo>
                    <a:pt x="999" y="270"/>
                  </a:lnTo>
                  <a:lnTo>
                    <a:pt x="994" y="270"/>
                  </a:lnTo>
                  <a:lnTo>
                    <a:pt x="999" y="266"/>
                  </a:lnTo>
                  <a:lnTo>
                    <a:pt x="987" y="272"/>
                  </a:lnTo>
                  <a:lnTo>
                    <a:pt x="993" y="267"/>
                  </a:lnTo>
                  <a:lnTo>
                    <a:pt x="991" y="266"/>
                  </a:lnTo>
                  <a:lnTo>
                    <a:pt x="984" y="268"/>
                  </a:lnTo>
                  <a:lnTo>
                    <a:pt x="987" y="265"/>
                  </a:lnTo>
                  <a:lnTo>
                    <a:pt x="978" y="268"/>
                  </a:lnTo>
                  <a:lnTo>
                    <a:pt x="982" y="266"/>
                  </a:lnTo>
                  <a:lnTo>
                    <a:pt x="984" y="262"/>
                  </a:lnTo>
                  <a:lnTo>
                    <a:pt x="985" y="256"/>
                  </a:lnTo>
                  <a:lnTo>
                    <a:pt x="981" y="260"/>
                  </a:lnTo>
                  <a:lnTo>
                    <a:pt x="982" y="258"/>
                  </a:lnTo>
                  <a:lnTo>
                    <a:pt x="976" y="250"/>
                  </a:lnTo>
                  <a:lnTo>
                    <a:pt x="967" y="248"/>
                  </a:lnTo>
                  <a:lnTo>
                    <a:pt x="975" y="248"/>
                  </a:lnTo>
                  <a:lnTo>
                    <a:pt x="970" y="244"/>
                  </a:lnTo>
                  <a:lnTo>
                    <a:pt x="973" y="243"/>
                  </a:lnTo>
                  <a:lnTo>
                    <a:pt x="969" y="242"/>
                  </a:lnTo>
                  <a:lnTo>
                    <a:pt x="972" y="242"/>
                  </a:lnTo>
                  <a:lnTo>
                    <a:pt x="966" y="238"/>
                  </a:lnTo>
                  <a:lnTo>
                    <a:pt x="969" y="238"/>
                  </a:lnTo>
                  <a:lnTo>
                    <a:pt x="973" y="241"/>
                  </a:lnTo>
                  <a:lnTo>
                    <a:pt x="983" y="235"/>
                  </a:lnTo>
                  <a:lnTo>
                    <a:pt x="978" y="230"/>
                  </a:lnTo>
                  <a:lnTo>
                    <a:pt x="975" y="228"/>
                  </a:lnTo>
                  <a:lnTo>
                    <a:pt x="979" y="223"/>
                  </a:lnTo>
                  <a:lnTo>
                    <a:pt x="975" y="219"/>
                  </a:lnTo>
                  <a:lnTo>
                    <a:pt x="973" y="217"/>
                  </a:lnTo>
                  <a:lnTo>
                    <a:pt x="966" y="218"/>
                  </a:lnTo>
                  <a:lnTo>
                    <a:pt x="976" y="214"/>
                  </a:lnTo>
                  <a:lnTo>
                    <a:pt x="975" y="211"/>
                  </a:lnTo>
                  <a:lnTo>
                    <a:pt x="963" y="214"/>
                  </a:lnTo>
                  <a:lnTo>
                    <a:pt x="976" y="206"/>
                  </a:lnTo>
                  <a:lnTo>
                    <a:pt x="971" y="202"/>
                  </a:lnTo>
                  <a:lnTo>
                    <a:pt x="966" y="202"/>
                  </a:lnTo>
                  <a:lnTo>
                    <a:pt x="971" y="198"/>
                  </a:lnTo>
                  <a:lnTo>
                    <a:pt x="969" y="195"/>
                  </a:lnTo>
                  <a:lnTo>
                    <a:pt x="965" y="188"/>
                  </a:lnTo>
                  <a:lnTo>
                    <a:pt x="965" y="184"/>
                  </a:lnTo>
                  <a:lnTo>
                    <a:pt x="960" y="186"/>
                  </a:lnTo>
                  <a:lnTo>
                    <a:pt x="964" y="182"/>
                  </a:lnTo>
                  <a:lnTo>
                    <a:pt x="955" y="186"/>
                  </a:lnTo>
                  <a:lnTo>
                    <a:pt x="955" y="190"/>
                  </a:lnTo>
                  <a:lnTo>
                    <a:pt x="948" y="190"/>
                  </a:lnTo>
                  <a:lnTo>
                    <a:pt x="952" y="195"/>
                  </a:lnTo>
                  <a:lnTo>
                    <a:pt x="947" y="198"/>
                  </a:lnTo>
                  <a:lnTo>
                    <a:pt x="942" y="201"/>
                  </a:lnTo>
                  <a:lnTo>
                    <a:pt x="935" y="208"/>
                  </a:lnTo>
                  <a:lnTo>
                    <a:pt x="933" y="213"/>
                  </a:lnTo>
                  <a:lnTo>
                    <a:pt x="930" y="206"/>
                  </a:lnTo>
                  <a:lnTo>
                    <a:pt x="917" y="213"/>
                  </a:lnTo>
                  <a:lnTo>
                    <a:pt x="907" y="220"/>
                  </a:lnTo>
                  <a:lnTo>
                    <a:pt x="909" y="214"/>
                  </a:lnTo>
                  <a:lnTo>
                    <a:pt x="904" y="217"/>
                  </a:lnTo>
                  <a:lnTo>
                    <a:pt x="906" y="211"/>
                  </a:lnTo>
                  <a:lnTo>
                    <a:pt x="899" y="219"/>
                  </a:lnTo>
                  <a:lnTo>
                    <a:pt x="885" y="223"/>
                  </a:lnTo>
                  <a:lnTo>
                    <a:pt x="904" y="214"/>
                  </a:lnTo>
                  <a:lnTo>
                    <a:pt x="901" y="204"/>
                  </a:lnTo>
                  <a:lnTo>
                    <a:pt x="885" y="207"/>
                  </a:lnTo>
                  <a:lnTo>
                    <a:pt x="881" y="207"/>
                  </a:lnTo>
                  <a:lnTo>
                    <a:pt x="887" y="204"/>
                  </a:lnTo>
                  <a:lnTo>
                    <a:pt x="892" y="205"/>
                  </a:lnTo>
                  <a:lnTo>
                    <a:pt x="897" y="196"/>
                  </a:lnTo>
                  <a:lnTo>
                    <a:pt x="893" y="194"/>
                  </a:lnTo>
                  <a:lnTo>
                    <a:pt x="898" y="187"/>
                  </a:lnTo>
                  <a:lnTo>
                    <a:pt x="882" y="184"/>
                  </a:lnTo>
                  <a:lnTo>
                    <a:pt x="901" y="183"/>
                  </a:lnTo>
                  <a:lnTo>
                    <a:pt x="904" y="175"/>
                  </a:lnTo>
                  <a:lnTo>
                    <a:pt x="906" y="171"/>
                  </a:lnTo>
                  <a:lnTo>
                    <a:pt x="901" y="171"/>
                  </a:lnTo>
                  <a:lnTo>
                    <a:pt x="883" y="164"/>
                  </a:lnTo>
                  <a:lnTo>
                    <a:pt x="888" y="159"/>
                  </a:lnTo>
                  <a:lnTo>
                    <a:pt x="883" y="160"/>
                  </a:lnTo>
                  <a:lnTo>
                    <a:pt x="879" y="154"/>
                  </a:lnTo>
                  <a:lnTo>
                    <a:pt x="880" y="152"/>
                  </a:lnTo>
                  <a:lnTo>
                    <a:pt x="868" y="146"/>
                  </a:lnTo>
                  <a:lnTo>
                    <a:pt x="853" y="151"/>
                  </a:lnTo>
                  <a:lnTo>
                    <a:pt x="839" y="151"/>
                  </a:lnTo>
                  <a:lnTo>
                    <a:pt x="844" y="150"/>
                  </a:lnTo>
                  <a:lnTo>
                    <a:pt x="820" y="146"/>
                  </a:lnTo>
                  <a:lnTo>
                    <a:pt x="809" y="158"/>
                  </a:lnTo>
                  <a:lnTo>
                    <a:pt x="810" y="163"/>
                  </a:lnTo>
                  <a:lnTo>
                    <a:pt x="802" y="174"/>
                  </a:lnTo>
                  <a:lnTo>
                    <a:pt x="805" y="174"/>
                  </a:lnTo>
                  <a:lnTo>
                    <a:pt x="802" y="186"/>
                  </a:lnTo>
                  <a:lnTo>
                    <a:pt x="796" y="192"/>
                  </a:lnTo>
                  <a:lnTo>
                    <a:pt x="793" y="193"/>
                  </a:lnTo>
                  <a:lnTo>
                    <a:pt x="773" y="210"/>
                  </a:lnTo>
                  <a:lnTo>
                    <a:pt x="787" y="225"/>
                  </a:lnTo>
                  <a:lnTo>
                    <a:pt x="779" y="240"/>
                  </a:lnTo>
                  <a:lnTo>
                    <a:pt x="772" y="254"/>
                  </a:lnTo>
                  <a:lnTo>
                    <a:pt x="753" y="264"/>
                  </a:lnTo>
                  <a:lnTo>
                    <a:pt x="733" y="272"/>
                  </a:lnTo>
                  <a:lnTo>
                    <a:pt x="724" y="276"/>
                  </a:lnTo>
                  <a:lnTo>
                    <a:pt x="725" y="288"/>
                  </a:lnTo>
                  <a:lnTo>
                    <a:pt x="720" y="312"/>
                  </a:lnTo>
                  <a:lnTo>
                    <a:pt x="713" y="321"/>
                  </a:lnTo>
                  <a:lnTo>
                    <a:pt x="708" y="330"/>
                  </a:lnTo>
                  <a:lnTo>
                    <a:pt x="705" y="333"/>
                  </a:lnTo>
                  <a:lnTo>
                    <a:pt x="702" y="327"/>
                  </a:lnTo>
                  <a:lnTo>
                    <a:pt x="693" y="338"/>
                  </a:lnTo>
                  <a:lnTo>
                    <a:pt x="695" y="343"/>
                  </a:lnTo>
                  <a:lnTo>
                    <a:pt x="685" y="332"/>
                  </a:lnTo>
                  <a:lnTo>
                    <a:pt x="675" y="338"/>
                  </a:lnTo>
                  <a:lnTo>
                    <a:pt x="685" y="330"/>
                  </a:lnTo>
                  <a:lnTo>
                    <a:pt x="675" y="318"/>
                  </a:lnTo>
                  <a:lnTo>
                    <a:pt x="677" y="313"/>
                  </a:lnTo>
                  <a:lnTo>
                    <a:pt x="676" y="301"/>
                  </a:lnTo>
                  <a:lnTo>
                    <a:pt x="682" y="284"/>
                  </a:lnTo>
                  <a:lnTo>
                    <a:pt x="689" y="267"/>
                  </a:lnTo>
                  <a:lnTo>
                    <a:pt x="672" y="266"/>
                  </a:lnTo>
                  <a:lnTo>
                    <a:pt x="655" y="266"/>
                  </a:lnTo>
                  <a:lnTo>
                    <a:pt x="651" y="268"/>
                  </a:lnTo>
                  <a:lnTo>
                    <a:pt x="657" y="264"/>
                  </a:lnTo>
                  <a:lnTo>
                    <a:pt x="645" y="258"/>
                  </a:lnTo>
                  <a:lnTo>
                    <a:pt x="631" y="252"/>
                  </a:lnTo>
                  <a:lnTo>
                    <a:pt x="617" y="237"/>
                  </a:lnTo>
                  <a:lnTo>
                    <a:pt x="599" y="231"/>
                  </a:lnTo>
                  <a:lnTo>
                    <a:pt x="576" y="237"/>
                  </a:lnTo>
                  <a:lnTo>
                    <a:pt x="577" y="236"/>
                  </a:lnTo>
                  <a:lnTo>
                    <a:pt x="574" y="237"/>
                  </a:lnTo>
                  <a:lnTo>
                    <a:pt x="585" y="217"/>
                  </a:lnTo>
                  <a:lnTo>
                    <a:pt x="583" y="207"/>
                  </a:lnTo>
                  <a:lnTo>
                    <a:pt x="571" y="210"/>
                  </a:lnTo>
                  <a:lnTo>
                    <a:pt x="567" y="216"/>
                  </a:lnTo>
                  <a:lnTo>
                    <a:pt x="571" y="207"/>
                  </a:lnTo>
                  <a:lnTo>
                    <a:pt x="570" y="201"/>
                  </a:lnTo>
                  <a:lnTo>
                    <a:pt x="588" y="177"/>
                  </a:lnTo>
                  <a:lnTo>
                    <a:pt x="616" y="159"/>
                  </a:lnTo>
                  <a:lnTo>
                    <a:pt x="617" y="154"/>
                  </a:lnTo>
                  <a:lnTo>
                    <a:pt x="630" y="150"/>
                  </a:lnTo>
                  <a:lnTo>
                    <a:pt x="628" y="148"/>
                  </a:lnTo>
                  <a:lnTo>
                    <a:pt x="633" y="150"/>
                  </a:lnTo>
                  <a:lnTo>
                    <a:pt x="639" y="145"/>
                  </a:lnTo>
                  <a:lnTo>
                    <a:pt x="646" y="144"/>
                  </a:lnTo>
                  <a:lnTo>
                    <a:pt x="647" y="140"/>
                  </a:lnTo>
                  <a:lnTo>
                    <a:pt x="667" y="136"/>
                  </a:lnTo>
                  <a:lnTo>
                    <a:pt x="669" y="132"/>
                  </a:lnTo>
                  <a:lnTo>
                    <a:pt x="654" y="128"/>
                  </a:lnTo>
                  <a:lnTo>
                    <a:pt x="657" y="127"/>
                  </a:lnTo>
                  <a:lnTo>
                    <a:pt x="642" y="124"/>
                  </a:lnTo>
                  <a:lnTo>
                    <a:pt x="642" y="120"/>
                  </a:lnTo>
                  <a:lnTo>
                    <a:pt x="660" y="123"/>
                  </a:lnTo>
                  <a:lnTo>
                    <a:pt x="679" y="127"/>
                  </a:lnTo>
                  <a:lnTo>
                    <a:pt x="685" y="122"/>
                  </a:lnTo>
                  <a:lnTo>
                    <a:pt x="689" y="120"/>
                  </a:lnTo>
                  <a:lnTo>
                    <a:pt x="696" y="122"/>
                  </a:lnTo>
                  <a:lnTo>
                    <a:pt x="696" y="118"/>
                  </a:lnTo>
                  <a:lnTo>
                    <a:pt x="703" y="121"/>
                  </a:lnTo>
                  <a:lnTo>
                    <a:pt x="731" y="106"/>
                  </a:lnTo>
                  <a:lnTo>
                    <a:pt x="735" y="102"/>
                  </a:lnTo>
                  <a:lnTo>
                    <a:pt x="709" y="98"/>
                  </a:lnTo>
                  <a:lnTo>
                    <a:pt x="694" y="91"/>
                  </a:lnTo>
                  <a:lnTo>
                    <a:pt x="723" y="96"/>
                  </a:lnTo>
                  <a:lnTo>
                    <a:pt x="731" y="100"/>
                  </a:lnTo>
                  <a:lnTo>
                    <a:pt x="759" y="8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4" name="Freeform 391"/>
            <p:cNvSpPr>
              <a:spLocks/>
            </p:cNvSpPr>
            <p:nvPr/>
          </p:nvSpPr>
          <p:spPr bwMode="auto">
            <a:xfrm>
              <a:off x="1414" y="1288"/>
              <a:ext cx="313" cy="202"/>
            </a:xfrm>
            <a:custGeom>
              <a:avLst/>
              <a:gdLst/>
              <a:ahLst/>
              <a:cxnLst>
                <a:cxn ang="0">
                  <a:pos x="205" y="41"/>
                </a:cxn>
                <a:cxn ang="0">
                  <a:pos x="195" y="33"/>
                </a:cxn>
                <a:cxn ang="0">
                  <a:pos x="183" y="33"/>
                </a:cxn>
                <a:cxn ang="0">
                  <a:pos x="163" y="39"/>
                </a:cxn>
                <a:cxn ang="0">
                  <a:pos x="168" y="27"/>
                </a:cxn>
                <a:cxn ang="0">
                  <a:pos x="177" y="22"/>
                </a:cxn>
                <a:cxn ang="0">
                  <a:pos x="133" y="23"/>
                </a:cxn>
                <a:cxn ang="0">
                  <a:pos x="130" y="25"/>
                </a:cxn>
                <a:cxn ang="0">
                  <a:pos x="120" y="23"/>
                </a:cxn>
                <a:cxn ang="0">
                  <a:pos x="109" y="22"/>
                </a:cxn>
                <a:cxn ang="0">
                  <a:pos x="94" y="6"/>
                </a:cxn>
                <a:cxn ang="0">
                  <a:pos x="75" y="12"/>
                </a:cxn>
                <a:cxn ang="0">
                  <a:pos x="69" y="21"/>
                </a:cxn>
                <a:cxn ang="0">
                  <a:pos x="61" y="34"/>
                </a:cxn>
                <a:cxn ang="0">
                  <a:pos x="47" y="27"/>
                </a:cxn>
                <a:cxn ang="0">
                  <a:pos x="24" y="15"/>
                </a:cxn>
                <a:cxn ang="0">
                  <a:pos x="5" y="48"/>
                </a:cxn>
                <a:cxn ang="0">
                  <a:pos x="31" y="55"/>
                </a:cxn>
                <a:cxn ang="0">
                  <a:pos x="76" y="53"/>
                </a:cxn>
                <a:cxn ang="0">
                  <a:pos x="115" y="51"/>
                </a:cxn>
                <a:cxn ang="0">
                  <a:pos x="126" y="61"/>
                </a:cxn>
                <a:cxn ang="0">
                  <a:pos x="123" y="76"/>
                </a:cxn>
                <a:cxn ang="0">
                  <a:pos x="153" y="75"/>
                </a:cxn>
                <a:cxn ang="0">
                  <a:pos x="144" y="106"/>
                </a:cxn>
                <a:cxn ang="0">
                  <a:pos x="178" y="114"/>
                </a:cxn>
                <a:cxn ang="0">
                  <a:pos x="137" y="108"/>
                </a:cxn>
                <a:cxn ang="0">
                  <a:pos x="99" y="133"/>
                </a:cxn>
                <a:cxn ang="0">
                  <a:pos x="61" y="139"/>
                </a:cxn>
                <a:cxn ang="0">
                  <a:pos x="103" y="139"/>
                </a:cxn>
                <a:cxn ang="0">
                  <a:pos x="117" y="138"/>
                </a:cxn>
                <a:cxn ang="0">
                  <a:pos x="127" y="154"/>
                </a:cxn>
                <a:cxn ang="0">
                  <a:pos x="148" y="169"/>
                </a:cxn>
                <a:cxn ang="0">
                  <a:pos x="175" y="163"/>
                </a:cxn>
                <a:cxn ang="0">
                  <a:pos x="189" y="163"/>
                </a:cxn>
                <a:cxn ang="0">
                  <a:pos x="205" y="171"/>
                </a:cxn>
                <a:cxn ang="0">
                  <a:pos x="215" y="157"/>
                </a:cxn>
                <a:cxn ang="0">
                  <a:pos x="214" y="144"/>
                </a:cxn>
                <a:cxn ang="0">
                  <a:pos x="208" y="136"/>
                </a:cxn>
                <a:cxn ang="0">
                  <a:pos x="201" y="131"/>
                </a:cxn>
                <a:cxn ang="0">
                  <a:pos x="196" y="120"/>
                </a:cxn>
                <a:cxn ang="0">
                  <a:pos x="205" y="115"/>
                </a:cxn>
                <a:cxn ang="0">
                  <a:pos x="215" y="109"/>
                </a:cxn>
                <a:cxn ang="0">
                  <a:pos x="243" y="112"/>
                </a:cxn>
                <a:cxn ang="0">
                  <a:pos x="226" y="126"/>
                </a:cxn>
                <a:cxn ang="0">
                  <a:pos x="237" y="131"/>
                </a:cxn>
                <a:cxn ang="0">
                  <a:pos x="250" y="118"/>
                </a:cxn>
                <a:cxn ang="0">
                  <a:pos x="259" y="117"/>
                </a:cxn>
                <a:cxn ang="0">
                  <a:pos x="276" y="111"/>
                </a:cxn>
                <a:cxn ang="0">
                  <a:pos x="273" y="102"/>
                </a:cxn>
                <a:cxn ang="0">
                  <a:pos x="257" y="106"/>
                </a:cxn>
                <a:cxn ang="0">
                  <a:pos x="246" y="100"/>
                </a:cxn>
                <a:cxn ang="0">
                  <a:pos x="246" y="96"/>
                </a:cxn>
                <a:cxn ang="0">
                  <a:pos x="246" y="90"/>
                </a:cxn>
                <a:cxn ang="0">
                  <a:pos x="235" y="89"/>
                </a:cxn>
                <a:cxn ang="0">
                  <a:pos x="229" y="84"/>
                </a:cxn>
                <a:cxn ang="0">
                  <a:pos x="210" y="76"/>
                </a:cxn>
                <a:cxn ang="0">
                  <a:pos x="219" y="72"/>
                </a:cxn>
                <a:cxn ang="0">
                  <a:pos x="214" y="67"/>
                </a:cxn>
                <a:cxn ang="0">
                  <a:pos x="221" y="61"/>
                </a:cxn>
                <a:cxn ang="0">
                  <a:pos x="215" y="58"/>
                </a:cxn>
                <a:cxn ang="0">
                  <a:pos x="234" y="47"/>
                </a:cxn>
                <a:cxn ang="0">
                  <a:pos x="202" y="48"/>
                </a:cxn>
              </a:cxnLst>
              <a:rect l="0" t="0" r="r" b="b"/>
              <a:pathLst>
                <a:path w="282" h="183">
                  <a:moveTo>
                    <a:pt x="197" y="48"/>
                  </a:moveTo>
                  <a:lnTo>
                    <a:pt x="193" y="48"/>
                  </a:lnTo>
                  <a:lnTo>
                    <a:pt x="213" y="42"/>
                  </a:lnTo>
                  <a:lnTo>
                    <a:pt x="205" y="41"/>
                  </a:lnTo>
                  <a:lnTo>
                    <a:pt x="190" y="45"/>
                  </a:lnTo>
                  <a:lnTo>
                    <a:pt x="199" y="39"/>
                  </a:lnTo>
                  <a:lnTo>
                    <a:pt x="209" y="37"/>
                  </a:lnTo>
                  <a:lnTo>
                    <a:pt x="195" y="33"/>
                  </a:lnTo>
                  <a:lnTo>
                    <a:pt x="183" y="40"/>
                  </a:lnTo>
                  <a:lnTo>
                    <a:pt x="184" y="36"/>
                  </a:lnTo>
                  <a:lnTo>
                    <a:pt x="178" y="40"/>
                  </a:lnTo>
                  <a:lnTo>
                    <a:pt x="183" y="33"/>
                  </a:lnTo>
                  <a:lnTo>
                    <a:pt x="177" y="36"/>
                  </a:lnTo>
                  <a:lnTo>
                    <a:pt x="183" y="30"/>
                  </a:lnTo>
                  <a:lnTo>
                    <a:pt x="180" y="31"/>
                  </a:lnTo>
                  <a:lnTo>
                    <a:pt x="163" y="39"/>
                  </a:lnTo>
                  <a:lnTo>
                    <a:pt x="171" y="33"/>
                  </a:lnTo>
                  <a:lnTo>
                    <a:pt x="166" y="33"/>
                  </a:lnTo>
                  <a:lnTo>
                    <a:pt x="183" y="27"/>
                  </a:lnTo>
                  <a:lnTo>
                    <a:pt x="168" y="27"/>
                  </a:lnTo>
                  <a:lnTo>
                    <a:pt x="162" y="30"/>
                  </a:lnTo>
                  <a:lnTo>
                    <a:pt x="168" y="24"/>
                  </a:lnTo>
                  <a:lnTo>
                    <a:pt x="157" y="29"/>
                  </a:lnTo>
                  <a:lnTo>
                    <a:pt x="177" y="22"/>
                  </a:lnTo>
                  <a:lnTo>
                    <a:pt x="169" y="18"/>
                  </a:lnTo>
                  <a:lnTo>
                    <a:pt x="142" y="18"/>
                  </a:lnTo>
                  <a:lnTo>
                    <a:pt x="150" y="23"/>
                  </a:lnTo>
                  <a:lnTo>
                    <a:pt x="133" y="23"/>
                  </a:lnTo>
                  <a:lnTo>
                    <a:pt x="138" y="29"/>
                  </a:lnTo>
                  <a:lnTo>
                    <a:pt x="130" y="27"/>
                  </a:lnTo>
                  <a:lnTo>
                    <a:pt x="131" y="28"/>
                  </a:lnTo>
                  <a:lnTo>
                    <a:pt x="130" y="25"/>
                  </a:lnTo>
                  <a:lnTo>
                    <a:pt x="130" y="21"/>
                  </a:lnTo>
                  <a:lnTo>
                    <a:pt x="126" y="22"/>
                  </a:lnTo>
                  <a:lnTo>
                    <a:pt x="120" y="22"/>
                  </a:lnTo>
                  <a:lnTo>
                    <a:pt x="120" y="23"/>
                  </a:lnTo>
                  <a:lnTo>
                    <a:pt x="115" y="23"/>
                  </a:lnTo>
                  <a:lnTo>
                    <a:pt x="109" y="25"/>
                  </a:lnTo>
                  <a:lnTo>
                    <a:pt x="113" y="19"/>
                  </a:lnTo>
                  <a:lnTo>
                    <a:pt x="109" y="22"/>
                  </a:lnTo>
                  <a:lnTo>
                    <a:pt x="124" y="15"/>
                  </a:lnTo>
                  <a:lnTo>
                    <a:pt x="121" y="1"/>
                  </a:lnTo>
                  <a:lnTo>
                    <a:pt x="91" y="4"/>
                  </a:lnTo>
                  <a:lnTo>
                    <a:pt x="94" y="6"/>
                  </a:lnTo>
                  <a:lnTo>
                    <a:pt x="83" y="7"/>
                  </a:lnTo>
                  <a:lnTo>
                    <a:pt x="76" y="9"/>
                  </a:lnTo>
                  <a:lnTo>
                    <a:pt x="88" y="11"/>
                  </a:lnTo>
                  <a:lnTo>
                    <a:pt x="75" y="12"/>
                  </a:lnTo>
                  <a:lnTo>
                    <a:pt x="83" y="16"/>
                  </a:lnTo>
                  <a:lnTo>
                    <a:pt x="66" y="13"/>
                  </a:lnTo>
                  <a:lnTo>
                    <a:pt x="65" y="21"/>
                  </a:lnTo>
                  <a:lnTo>
                    <a:pt x="69" y="21"/>
                  </a:lnTo>
                  <a:lnTo>
                    <a:pt x="71" y="27"/>
                  </a:lnTo>
                  <a:lnTo>
                    <a:pt x="58" y="24"/>
                  </a:lnTo>
                  <a:lnTo>
                    <a:pt x="55" y="28"/>
                  </a:lnTo>
                  <a:lnTo>
                    <a:pt x="61" y="34"/>
                  </a:lnTo>
                  <a:lnTo>
                    <a:pt x="52" y="40"/>
                  </a:lnTo>
                  <a:lnTo>
                    <a:pt x="35" y="40"/>
                  </a:lnTo>
                  <a:lnTo>
                    <a:pt x="57" y="35"/>
                  </a:lnTo>
                  <a:lnTo>
                    <a:pt x="47" y="27"/>
                  </a:lnTo>
                  <a:lnTo>
                    <a:pt x="66" y="9"/>
                  </a:lnTo>
                  <a:lnTo>
                    <a:pt x="84" y="0"/>
                  </a:lnTo>
                  <a:lnTo>
                    <a:pt x="46" y="4"/>
                  </a:lnTo>
                  <a:lnTo>
                    <a:pt x="24" y="15"/>
                  </a:lnTo>
                  <a:lnTo>
                    <a:pt x="0" y="35"/>
                  </a:lnTo>
                  <a:lnTo>
                    <a:pt x="25" y="41"/>
                  </a:lnTo>
                  <a:lnTo>
                    <a:pt x="3" y="41"/>
                  </a:lnTo>
                  <a:lnTo>
                    <a:pt x="5" y="48"/>
                  </a:lnTo>
                  <a:lnTo>
                    <a:pt x="19" y="51"/>
                  </a:lnTo>
                  <a:lnTo>
                    <a:pt x="21" y="51"/>
                  </a:lnTo>
                  <a:lnTo>
                    <a:pt x="25" y="49"/>
                  </a:lnTo>
                  <a:lnTo>
                    <a:pt x="31" y="55"/>
                  </a:lnTo>
                  <a:lnTo>
                    <a:pt x="75" y="57"/>
                  </a:lnTo>
                  <a:lnTo>
                    <a:pt x="64" y="51"/>
                  </a:lnTo>
                  <a:lnTo>
                    <a:pt x="84" y="59"/>
                  </a:lnTo>
                  <a:lnTo>
                    <a:pt x="76" y="53"/>
                  </a:lnTo>
                  <a:lnTo>
                    <a:pt x="109" y="57"/>
                  </a:lnTo>
                  <a:lnTo>
                    <a:pt x="107" y="49"/>
                  </a:lnTo>
                  <a:lnTo>
                    <a:pt x="115" y="46"/>
                  </a:lnTo>
                  <a:lnTo>
                    <a:pt x="115" y="51"/>
                  </a:lnTo>
                  <a:lnTo>
                    <a:pt x="124" y="53"/>
                  </a:lnTo>
                  <a:lnTo>
                    <a:pt x="120" y="58"/>
                  </a:lnTo>
                  <a:lnTo>
                    <a:pt x="130" y="59"/>
                  </a:lnTo>
                  <a:lnTo>
                    <a:pt x="126" y="61"/>
                  </a:lnTo>
                  <a:lnTo>
                    <a:pt x="132" y="60"/>
                  </a:lnTo>
                  <a:lnTo>
                    <a:pt x="135" y="70"/>
                  </a:lnTo>
                  <a:lnTo>
                    <a:pt x="124" y="72"/>
                  </a:lnTo>
                  <a:lnTo>
                    <a:pt x="123" y="76"/>
                  </a:lnTo>
                  <a:lnTo>
                    <a:pt x="137" y="71"/>
                  </a:lnTo>
                  <a:lnTo>
                    <a:pt x="143" y="72"/>
                  </a:lnTo>
                  <a:lnTo>
                    <a:pt x="149" y="78"/>
                  </a:lnTo>
                  <a:lnTo>
                    <a:pt x="153" y="75"/>
                  </a:lnTo>
                  <a:lnTo>
                    <a:pt x="150" y="82"/>
                  </a:lnTo>
                  <a:lnTo>
                    <a:pt x="157" y="83"/>
                  </a:lnTo>
                  <a:lnTo>
                    <a:pt x="155" y="100"/>
                  </a:lnTo>
                  <a:lnTo>
                    <a:pt x="144" y="106"/>
                  </a:lnTo>
                  <a:lnTo>
                    <a:pt x="162" y="107"/>
                  </a:lnTo>
                  <a:lnTo>
                    <a:pt x="171" y="101"/>
                  </a:lnTo>
                  <a:lnTo>
                    <a:pt x="183" y="109"/>
                  </a:lnTo>
                  <a:lnTo>
                    <a:pt x="178" y="114"/>
                  </a:lnTo>
                  <a:lnTo>
                    <a:pt x="165" y="114"/>
                  </a:lnTo>
                  <a:lnTo>
                    <a:pt x="159" y="115"/>
                  </a:lnTo>
                  <a:lnTo>
                    <a:pt x="162" y="109"/>
                  </a:lnTo>
                  <a:lnTo>
                    <a:pt x="137" y="108"/>
                  </a:lnTo>
                  <a:lnTo>
                    <a:pt x="120" y="115"/>
                  </a:lnTo>
                  <a:lnTo>
                    <a:pt x="124" y="124"/>
                  </a:lnTo>
                  <a:lnTo>
                    <a:pt x="96" y="130"/>
                  </a:lnTo>
                  <a:lnTo>
                    <a:pt x="99" y="133"/>
                  </a:lnTo>
                  <a:lnTo>
                    <a:pt x="96" y="136"/>
                  </a:lnTo>
                  <a:lnTo>
                    <a:pt x="96" y="129"/>
                  </a:lnTo>
                  <a:lnTo>
                    <a:pt x="76" y="127"/>
                  </a:lnTo>
                  <a:lnTo>
                    <a:pt x="61" y="139"/>
                  </a:lnTo>
                  <a:lnTo>
                    <a:pt x="76" y="144"/>
                  </a:lnTo>
                  <a:lnTo>
                    <a:pt x="90" y="142"/>
                  </a:lnTo>
                  <a:lnTo>
                    <a:pt x="93" y="139"/>
                  </a:lnTo>
                  <a:lnTo>
                    <a:pt x="103" y="139"/>
                  </a:lnTo>
                  <a:lnTo>
                    <a:pt x="106" y="133"/>
                  </a:lnTo>
                  <a:lnTo>
                    <a:pt x="109" y="138"/>
                  </a:lnTo>
                  <a:lnTo>
                    <a:pt x="109" y="143"/>
                  </a:lnTo>
                  <a:lnTo>
                    <a:pt x="117" y="138"/>
                  </a:lnTo>
                  <a:lnTo>
                    <a:pt x="121" y="139"/>
                  </a:lnTo>
                  <a:lnTo>
                    <a:pt x="119" y="145"/>
                  </a:lnTo>
                  <a:lnTo>
                    <a:pt x="126" y="150"/>
                  </a:lnTo>
                  <a:lnTo>
                    <a:pt x="127" y="154"/>
                  </a:lnTo>
                  <a:lnTo>
                    <a:pt x="136" y="155"/>
                  </a:lnTo>
                  <a:lnTo>
                    <a:pt x="127" y="159"/>
                  </a:lnTo>
                  <a:lnTo>
                    <a:pt x="133" y="163"/>
                  </a:lnTo>
                  <a:lnTo>
                    <a:pt x="148" y="169"/>
                  </a:lnTo>
                  <a:lnTo>
                    <a:pt x="167" y="177"/>
                  </a:lnTo>
                  <a:lnTo>
                    <a:pt x="186" y="183"/>
                  </a:lnTo>
                  <a:lnTo>
                    <a:pt x="186" y="175"/>
                  </a:lnTo>
                  <a:lnTo>
                    <a:pt x="175" y="163"/>
                  </a:lnTo>
                  <a:lnTo>
                    <a:pt x="165" y="153"/>
                  </a:lnTo>
                  <a:lnTo>
                    <a:pt x="178" y="159"/>
                  </a:lnTo>
                  <a:lnTo>
                    <a:pt x="180" y="154"/>
                  </a:lnTo>
                  <a:lnTo>
                    <a:pt x="189" y="163"/>
                  </a:lnTo>
                  <a:lnTo>
                    <a:pt x="190" y="161"/>
                  </a:lnTo>
                  <a:lnTo>
                    <a:pt x="195" y="165"/>
                  </a:lnTo>
                  <a:lnTo>
                    <a:pt x="203" y="168"/>
                  </a:lnTo>
                  <a:lnTo>
                    <a:pt x="205" y="171"/>
                  </a:lnTo>
                  <a:lnTo>
                    <a:pt x="207" y="166"/>
                  </a:lnTo>
                  <a:lnTo>
                    <a:pt x="210" y="165"/>
                  </a:lnTo>
                  <a:lnTo>
                    <a:pt x="213" y="154"/>
                  </a:lnTo>
                  <a:lnTo>
                    <a:pt x="215" y="157"/>
                  </a:lnTo>
                  <a:lnTo>
                    <a:pt x="217" y="153"/>
                  </a:lnTo>
                  <a:lnTo>
                    <a:pt x="219" y="148"/>
                  </a:lnTo>
                  <a:lnTo>
                    <a:pt x="215" y="147"/>
                  </a:lnTo>
                  <a:lnTo>
                    <a:pt x="214" y="144"/>
                  </a:lnTo>
                  <a:lnTo>
                    <a:pt x="215" y="141"/>
                  </a:lnTo>
                  <a:lnTo>
                    <a:pt x="214" y="138"/>
                  </a:lnTo>
                  <a:lnTo>
                    <a:pt x="210" y="137"/>
                  </a:lnTo>
                  <a:lnTo>
                    <a:pt x="208" y="136"/>
                  </a:lnTo>
                  <a:lnTo>
                    <a:pt x="204" y="132"/>
                  </a:lnTo>
                  <a:lnTo>
                    <a:pt x="202" y="133"/>
                  </a:lnTo>
                  <a:lnTo>
                    <a:pt x="204" y="130"/>
                  </a:lnTo>
                  <a:lnTo>
                    <a:pt x="201" y="131"/>
                  </a:lnTo>
                  <a:lnTo>
                    <a:pt x="202" y="126"/>
                  </a:lnTo>
                  <a:lnTo>
                    <a:pt x="202" y="123"/>
                  </a:lnTo>
                  <a:lnTo>
                    <a:pt x="193" y="123"/>
                  </a:lnTo>
                  <a:lnTo>
                    <a:pt x="196" y="120"/>
                  </a:lnTo>
                  <a:lnTo>
                    <a:pt x="195" y="117"/>
                  </a:lnTo>
                  <a:lnTo>
                    <a:pt x="192" y="112"/>
                  </a:lnTo>
                  <a:lnTo>
                    <a:pt x="202" y="119"/>
                  </a:lnTo>
                  <a:lnTo>
                    <a:pt x="205" y="115"/>
                  </a:lnTo>
                  <a:lnTo>
                    <a:pt x="204" y="111"/>
                  </a:lnTo>
                  <a:lnTo>
                    <a:pt x="210" y="109"/>
                  </a:lnTo>
                  <a:lnTo>
                    <a:pt x="209" y="108"/>
                  </a:lnTo>
                  <a:lnTo>
                    <a:pt x="215" y="109"/>
                  </a:lnTo>
                  <a:lnTo>
                    <a:pt x="226" y="114"/>
                  </a:lnTo>
                  <a:lnTo>
                    <a:pt x="229" y="112"/>
                  </a:lnTo>
                  <a:lnTo>
                    <a:pt x="221" y="118"/>
                  </a:lnTo>
                  <a:lnTo>
                    <a:pt x="243" y="112"/>
                  </a:lnTo>
                  <a:lnTo>
                    <a:pt x="233" y="117"/>
                  </a:lnTo>
                  <a:lnTo>
                    <a:pt x="223" y="123"/>
                  </a:lnTo>
                  <a:lnTo>
                    <a:pt x="227" y="123"/>
                  </a:lnTo>
                  <a:lnTo>
                    <a:pt x="226" y="126"/>
                  </a:lnTo>
                  <a:lnTo>
                    <a:pt x="232" y="126"/>
                  </a:lnTo>
                  <a:lnTo>
                    <a:pt x="229" y="131"/>
                  </a:lnTo>
                  <a:lnTo>
                    <a:pt x="233" y="127"/>
                  </a:lnTo>
                  <a:lnTo>
                    <a:pt x="237" y="131"/>
                  </a:lnTo>
                  <a:lnTo>
                    <a:pt x="244" y="132"/>
                  </a:lnTo>
                  <a:lnTo>
                    <a:pt x="244" y="125"/>
                  </a:lnTo>
                  <a:lnTo>
                    <a:pt x="245" y="124"/>
                  </a:lnTo>
                  <a:lnTo>
                    <a:pt x="250" y="118"/>
                  </a:lnTo>
                  <a:lnTo>
                    <a:pt x="255" y="123"/>
                  </a:lnTo>
                  <a:lnTo>
                    <a:pt x="257" y="119"/>
                  </a:lnTo>
                  <a:lnTo>
                    <a:pt x="263" y="118"/>
                  </a:lnTo>
                  <a:lnTo>
                    <a:pt x="259" y="117"/>
                  </a:lnTo>
                  <a:lnTo>
                    <a:pt x="268" y="115"/>
                  </a:lnTo>
                  <a:lnTo>
                    <a:pt x="262" y="113"/>
                  </a:lnTo>
                  <a:lnTo>
                    <a:pt x="268" y="111"/>
                  </a:lnTo>
                  <a:lnTo>
                    <a:pt x="276" y="111"/>
                  </a:lnTo>
                  <a:lnTo>
                    <a:pt x="276" y="109"/>
                  </a:lnTo>
                  <a:lnTo>
                    <a:pt x="275" y="107"/>
                  </a:lnTo>
                  <a:lnTo>
                    <a:pt x="282" y="107"/>
                  </a:lnTo>
                  <a:lnTo>
                    <a:pt x="273" y="102"/>
                  </a:lnTo>
                  <a:lnTo>
                    <a:pt x="269" y="105"/>
                  </a:lnTo>
                  <a:lnTo>
                    <a:pt x="265" y="105"/>
                  </a:lnTo>
                  <a:lnTo>
                    <a:pt x="265" y="102"/>
                  </a:lnTo>
                  <a:lnTo>
                    <a:pt x="257" y="106"/>
                  </a:lnTo>
                  <a:lnTo>
                    <a:pt x="256" y="105"/>
                  </a:lnTo>
                  <a:lnTo>
                    <a:pt x="263" y="97"/>
                  </a:lnTo>
                  <a:lnTo>
                    <a:pt x="258" y="100"/>
                  </a:lnTo>
                  <a:lnTo>
                    <a:pt x="246" y="100"/>
                  </a:lnTo>
                  <a:lnTo>
                    <a:pt x="255" y="97"/>
                  </a:lnTo>
                  <a:lnTo>
                    <a:pt x="245" y="99"/>
                  </a:lnTo>
                  <a:lnTo>
                    <a:pt x="252" y="97"/>
                  </a:lnTo>
                  <a:lnTo>
                    <a:pt x="246" y="96"/>
                  </a:lnTo>
                  <a:lnTo>
                    <a:pt x="256" y="94"/>
                  </a:lnTo>
                  <a:lnTo>
                    <a:pt x="256" y="93"/>
                  </a:lnTo>
                  <a:lnTo>
                    <a:pt x="249" y="90"/>
                  </a:lnTo>
                  <a:lnTo>
                    <a:pt x="246" y="90"/>
                  </a:lnTo>
                  <a:lnTo>
                    <a:pt x="250" y="85"/>
                  </a:lnTo>
                  <a:lnTo>
                    <a:pt x="243" y="90"/>
                  </a:lnTo>
                  <a:lnTo>
                    <a:pt x="240" y="87"/>
                  </a:lnTo>
                  <a:lnTo>
                    <a:pt x="235" y="89"/>
                  </a:lnTo>
                  <a:lnTo>
                    <a:pt x="238" y="85"/>
                  </a:lnTo>
                  <a:lnTo>
                    <a:pt x="231" y="89"/>
                  </a:lnTo>
                  <a:lnTo>
                    <a:pt x="235" y="84"/>
                  </a:lnTo>
                  <a:lnTo>
                    <a:pt x="229" y="84"/>
                  </a:lnTo>
                  <a:lnTo>
                    <a:pt x="225" y="82"/>
                  </a:lnTo>
                  <a:lnTo>
                    <a:pt x="219" y="82"/>
                  </a:lnTo>
                  <a:lnTo>
                    <a:pt x="228" y="79"/>
                  </a:lnTo>
                  <a:lnTo>
                    <a:pt x="210" y="76"/>
                  </a:lnTo>
                  <a:lnTo>
                    <a:pt x="220" y="76"/>
                  </a:lnTo>
                  <a:lnTo>
                    <a:pt x="210" y="73"/>
                  </a:lnTo>
                  <a:lnTo>
                    <a:pt x="223" y="75"/>
                  </a:lnTo>
                  <a:lnTo>
                    <a:pt x="219" y="72"/>
                  </a:lnTo>
                  <a:lnTo>
                    <a:pt x="227" y="71"/>
                  </a:lnTo>
                  <a:lnTo>
                    <a:pt x="214" y="70"/>
                  </a:lnTo>
                  <a:lnTo>
                    <a:pt x="219" y="67"/>
                  </a:lnTo>
                  <a:lnTo>
                    <a:pt x="214" y="67"/>
                  </a:lnTo>
                  <a:lnTo>
                    <a:pt x="223" y="66"/>
                  </a:lnTo>
                  <a:lnTo>
                    <a:pt x="215" y="65"/>
                  </a:lnTo>
                  <a:lnTo>
                    <a:pt x="240" y="67"/>
                  </a:lnTo>
                  <a:lnTo>
                    <a:pt x="221" y="61"/>
                  </a:lnTo>
                  <a:lnTo>
                    <a:pt x="207" y="61"/>
                  </a:lnTo>
                  <a:lnTo>
                    <a:pt x="239" y="59"/>
                  </a:lnTo>
                  <a:lnTo>
                    <a:pt x="233" y="51"/>
                  </a:lnTo>
                  <a:lnTo>
                    <a:pt x="215" y="58"/>
                  </a:lnTo>
                  <a:lnTo>
                    <a:pt x="205" y="60"/>
                  </a:lnTo>
                  <a:lnTo>
                    <a:pt x="226" y="52"/>
                  </a:lnTo>
                  <a:lnTo>
                    <a:pt x="207" y="55"/>
                  </a:lnTo>
                  <a:lnTo>
                    <a:pt x="234" y="47"/>
                  </a:lnTo>
                  <a:lnTo>
                    <a:pt x="219" y="45"/>
                  </a:lnTo>
                  <a:lnTo>
                    <a:pt x="213" y="46"/>
                  </a:lnTo>
                  <a:lnTo>
                    <a:pt x="220" y="42"/>
                  </a:lnTo>
                  <a:lnTo>
                    <a:pt x="202" y="48"/>
                  </a:lnTo>
                  <a:lnTo>
                    <a:pt x="192" y="55"/>
                  </a:lnTo>
                  <a:lnTo>
                    <a:pt x="197" y="4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5" name="Freeform 392"/>
            <p:cNvSpPr>
              <a:spLocks/>
            </p:cNvSpPr>
            <p:nvPr/>
          </p:nvSpPr>
          <p:spPr bwMode="auto">
            <a:xfrm>
              <a:off x="1505" y="1159"/>
              <a:ext cx="382" cy="86"/>
            </a:xfrm>
            <a:custGeom>
              <a:avLst/>
              <a:gdLst/>
              <a:ahLst/>
              <a:cxnLst>
                <a:cxn ang="0">
                  <a:pos x="85" y="56"/>
                </a:cxn>
                <a:cxn ang="0">
                  <a:pos x="64" y="65"/>
                </a:cxn>
                <a:cxn ang="0">
                  <a:pos x="52" y="59"/>
                </a:cxn>
                <a:cxn ang="0">
                  <a:pos x="62" y="55"/>
                </a:cxn>
                <a:cxn ang="0">
                  <a:pos x="42" y="52"/>
                </a:cxn>
                <a:cxn ang="0">
                  <a:pos x="95" y="46"/>
                </a:cxn>
                <a:cxn ang="0">
                  <a:pos x="71" y="30"/>
                </a:cxn>
                <a:cxn ang="0">
                  <a:pos x="103" y="29"/>
                </a:cxn>
                <a:cxn ang="0">
                  <a:pos x="116" y="35"/>
                </a:cxn>
                <a:cxn ang="0">
                  <a:pos x="108" y="28"/>
                </a:cxn>
                <a:cxn ang="0">
                  <a:pos x="157" y="22"/>
                </a:cxn>
                <a:cxn ang="0">
                  <a:pos x="182" y="16"/>
                </a:cxn>
                <a:cxn ang="0">
                  <a:pos x="131" y="20"/>
                </a:cxn>
                <a:cxn ang="0">
                  <a:pos x="78" y="24"/>
                </a:cxn>
                <a:cxn ang="0">
                  <a:pos x="124" y="19"/>
                </a:cxn>
                <a:cxn ang="0">
                  <a:pos x="71" y="25"/>
                </a:cxn>
                <a:cxn ang="0">
                  <a:pos x="55" y="22"/>
                </a:cxn>
                <a:cxn ang="0">
                  <a:pos x="104" y="18"/>
                </a:cxn>
                <a:cxn ang="0">
                  <a:pos x="52" y="18"/>
                </a:cxn>
                <a:cxn ang="0">
                  <a:pos x="84" y="16"/>
                </a:cxn>
                <a:cxn ang="0">
                  <a:pos x="43" y="13"/>
                </a:cxn>
                <a:cxn ang="0">
                  <a:pos x="97" y="8"/>
                </a:cxn>
                <a:cxn ang="0">
                  <a:pos x="164" y="12"/>
                </a:cxn>
                <a:cxn ang="0">
                  <a:pos x="156" y="1"/>
                </a:cxn>
                <a:cxn ang="0">
                  <a:pos x="210" y="4"/>
                </a:cxn>
                <a:cxn ang="0">
                  <a:pos x="198" y="0"/>
                </a:cxn>
                <a:cxn ang="0">
                  <a:pos x="270" y="4"/>
                </a:cxn>
                <a:cxn ang="0">
                  <a:pos x="344" y="7"/>
                </a:cxn>
                <a:cxn ang="0">
                  <a:pos x="295" y="13"/>
                </a:cxn>
                <a:cxn ang="0">
                  <a:pos x="246" y="19"/>
                </a:cxn>
                <a:cxn ang="0">
                  <a:pos x="304" y="16"/>
                </a:cxn>
                <a:cxn ang="0">
                  <a:pos x="251" y="25"/>
                </a:cxn>
                <a:cxn ang="0">
                  <a:pos x="198" y="35"/>
                </a:cxn>
                <a:cxn ang="0">
                  <a:pos x="149" y="40"/>
                </a:cxn>
                <a:cxn ang="0">
                  <a:pos x="176" y="44"/>
                </a:cxn>
                <a:cxn ang="0">
                  <a:pos x="138" y="47"/>
                </a:cxn>
                <a:cxn ang="0">
                  <a:pos x="169" y="49"/>
                </a:cxn>
                <a:cxn ang="0">
                  <a:pos x="126" y="59"/>
                </a:cxn>
                <a:cxn ang="0">
                  <a:pos x="122" y="65"/>
                </a:cxn>
                <a:cxn ang="0">
                  <a:pos x="86" y="67"/>
                </a:cxn>
                <a:cxn ang="0">
                  <a:pos x="115" y="76"/>
                </a:cxn>
                <a:cxn ang="0">
                  <a:pos x="79" y="78"/>
                </a:cxn>
                <a:cxn ang="0">
                  <a:pos x="40" y="78"/>
                </a:cxn>
                <a:cxn ang="0">
                  <a:pos x="0" y="77"/>
                </a:cxn>
                <a:cxn ang="0">
                  <a:pos x="28" y="67"/>
                </a:cxn>
                <a:cxn ang="0">
                  <a:pos x="22" y="61"/>
                </a:cxn>
                <a:cxn ang="0">
                  <a:pos x="64" y="66"/>
                </a:cxn>
                <a:cxn ang="0">
                  <a:pos x="85" y="56"/>
                </a:cxn>
              </a:cxnLst>
              <a:rect l="0" t="0" r="r" b="b"/>
              <a:pathLst>
                <a:path w="344" h="78">
                  <a:moveTo>
                    <a:pt x="85" y="56"/>
                  </a:moveTo>
                  <a:lnTo>
                    <a:pt x="64" y="65"/>
                  </a:lnTo>
                  <a:lnTo>
                    <a:pt x="52" y="59"/>
                  </a:lnTo>
                  <a:lnTo>
                    <a:pt x="62" y="55"/>
                  </a:lnTo>
                  <a:lnTo>
                    <a:pt x="42" y="52"/>
                  </a:lnTo>
                  <a:lnTo>
                    <a:pt x="95" y="46"/>
                  </a:lnTo>
                  <a:lnTo>
                    <a:pt x="71" y="30"/>
                  </a:lnTo>
                  <a:lnTo>
                    <a:pt x="103" y="29"/>
                  </a:lnTo>
                  <a:lnTo>
                    <a:pt x="116" y="35"/>
                  </a:lnTo>
                  <a:lnTo>
                    <a:pt x="108" y="28"/>
                  </a:lnTo>
                  <a:lnTo>
                    <a:pt x="157" y="22"/>
                  </a:lnTo>
                  <a:lnTo>
                    <a:pt x="182" y="16"/>
                  </a:lnTo>
                  <a:lnTo>
                    <a:pt x="131" y="20"/>
                  </a:lnTo>
                  <a:lnTo>
                    <a:pt x="78" y="24"/>
                  </a:lnTo>
                  <a:lnTo>
                    <a:pt x="124" y="19"/>
                  </a:lnTo>
                  <a:lnTo>
                    <a:pt x="71" y="25"/>
                  </a:lnTo>
                  <a:lnTo>
                    <a:pt x="55" y="22"/>
                  </a:lnTo>
                  <a:lnTo>
                    <a:pt x="104" y="18"/>
                  </a:lnTo>
                  <a:lnTo>
                    <a:pt x="52" y="18"/>
                  </a:lnTo>
                  <a:lnTo>
                    <a:pt x="84" y="16"/>
                  </a:lnTo>
                  <a:lnTo>
                    <a:pt x="43" y="13"/>
                  </a:lnTo>
                  <a:lnTo>
                    <a:pt x="97" y="8"/>
                  </a:lnTo>
                  <a:lnTo>
                    <a:pt x="164" y="12"/>
                  </a:lnTo>
                  <a:lnTo>
                    <a:pt x="156" y="1"/>
                  </a:lnTo>
                  <a:lnTo>
                    <a:pt x="210" y="4"/>
                  </a:lnTo>
                  <a:lnTo>
                    <a:pt x="198" y="0"/>
                  </a:lnTo>
                  <a:lnTo>
                    <a:pt x="270" y="4"/>
                  </a:lnTo>
                  <a:lnTo>
                    <a:pt x="344" y="7"/>
                  </a:lnTo>
                  <a:lnTo>
                    <a:pt x="295" y="13"/>
                  </a:lnTo>
                  <a:lnTo>
                    <a:pt x="246" y="19"/>
                  </a:lnTo>
                  <a:lnTo>
                    <a:pt x="304" y="16"/>
                  </a:lnTo>
                  <a:lnTo>
                    <a:pt x="251" y="25"/>
                  </a:lnTo>
                  <a:lnTo>
                    <a:pt x="198" y="35"/>
                  </a:lnTo>
                  <a:lnTo>
                    <a:pt x="149" y="40"/>
                  </a:lnTo>
                  <a:lnTo>
                    <a:pt x="176" y="44"/>
                  </a:lnTo>
                  <a:lnTo>
                    <a:pt x="138" y="47"/>
                  </a:lnTo>
                  <a:lnTo>
                    <a:pt x="169" y="49"/>
                  </a:lnTo>
                  <a:lnTo>
                    <a:pt x="126" y="59"/>
                  </a:lnTo>
                  <a:lnTo>
                    <a:pt x="122" y="65"/>
                  </a:lnTo>
                  <a:lnTo>
                    <a:pt x="86" y="67"/>
                  </a:lnTo>
                  <a:lnTo>
                    <a:pt x="115" y="76"/>
                  </a:lnTo>
                  <a:lnTo>
                    <a:pt x="79" y="78"/>
                  </a:lnTo>
                  <a:lnTo>
                    <a:pt x="40" y="78"/>
                  </a:lnTo>
                  <a:lnTo>
                    <a:pt x="0" y="77"/>
                  </a:lnTo>
                  <a:lnTo>
                    <a:pt x="28" y="67"/>
                  </a:lnTo>
                  <a:lnTo>
                    <a:pt x="22" y="61"/>
                  </a:lnTo>
                  <a:lnTo>
                    <a:pt x="64" y="66"/>
                  </a:lnTo>
                  <a:lnTo>
                    <a:pt x="85" y="5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6" name="Freeform 393"/>
            <p:cNvSpPr>
              <a:spLocks/>
            </p:cNvSpPr>
            <p:nvPr/>
          </p:nvSpPr>
          <p:spPr bwMode="auto">
            <a:xfrm>
              <a:off x="1043" y="1294"/>
              <a:ext cx="213" cy="80"/>
            </a:xfrm>
            <a:custGeom>
              <a:avLst/>
              <a:gdLst/>
              <a:ahLst/>
              <a:cxnLst>
                <a:cxn ang="0">
                  <a:pos x="125" y="65"/>
                </a:cxn>
                <a:cxn ang="0">
                  <a:pos x="117" y="60"/>
                </a:cxn>
                <a:cxn ang="0">
                  <a:pos x="114" y="59"/>
                </a:cxn>
                <a:cxn ang="0">
                  <a:pos x="93" y="66"/>
                </a:cxn>
                <a:cxn ang="0">
                  <a:pos x="61" y="69"/>
                </a:cxn>
                <a:cxn ang="0">
                  <a:pos x="29" y="72"/>
                </a:cxn>
                <a:cxn ang="0">
                  <a:pos x="30" y="64"/>
                </a:cxn>
                <a:cxn ang="0">
                  <a:pos x="0" y="55"/>
                </a:cxn>
                <a:cxn ang="0">
                  <a:pos x="6" y="47"/>
                </a:cxn>
                <a:cxn ang="0">
                  <a:pos x="39" y="46"/>
                </a:cxn>
                <a:cxn ang="0">
                  <a:pos x="73" y="45"/>
                </a:cxn>
                <a:cxn ang="0">
                  <a:pos x="42" y="40"/>
                </a:cxn>
                <a:cxn ang="0">
                  <a:pos x="9" y="39"/>
                </a:cxn>
                <a:cxn ang="0">
                  <a:pos x="6" y="35"/>
                </a:cxn>
                <a:cxn ang="0">
                  <a:pos x="48" y="27"/>
                </a:cxn>
                <a:cxn ang="0">
                  <a:pos x="17" y="28"/>
                </a:cxn>
                <a:cxn ang="0">
                  <a:pos x="25" y="25"/>
                </a:cxn>
                <a:cxn ang="0">
                  <a:pos x="11" y="25"/>
                </a:cxn>
                <a:cxn ang="0">
                  <a:pos x="32" y="16"/>
                </a:cxn>
                <a:cxn ang="0">
                  <a:pos x="30" y="13"/>
                </a:cxn>
                <a:cxn ang="0">
                  <a:pos x="60" y="6"/>
                </a:cxn>
                <a:cxn ang="0">
                  <a:pos x="89" y="0"/>
                </a:cxn>
                <a:cxn ang="0">
                  <a:pos x="91" y="4"/>
                </a:cxn>
                <a:cxn ang="0">
                  <a:pos x="78" y="11"/>
                </a:cxn>
                <a:cxn ang="0">
                  <a:pos x="89" y="10"/>
                </a:cxn>
                <a:cxn ang="0">
                  <a:pos x="99" y="5"/>
                </a:cxn>
                <a:cxn ang="0">
                  <a:pos x="111" y="12"/>
                </a:cxn>
                <a:cxn ang="0">
                  <a:pos x="104" y="16"/>
                </a:cxn>
                <a:cxn ang="0">
                  <a:pos x="109" y="15"/>
                </a:cxn>
                <a:cxn ang="0">
                  <a:pos x="125" y="13"/>
                </a:cxn>
                <a:cxn ang="0">
                  <a:pos x="126" y="10"/>
                </a:cxn>
                <a:cxn ang="0">
                  <a:pos x="128" y="5"/>
                </a:cxn>
                <a:cxn ang="0">
                  <a:pos x="140" y="12"/>
                </a:cxn>
                <a:cxn ang="0">
                  <a:pos x="133" y="25"/>
                </a:cxn>
                <a:cxn ang="0">
                  <a:pos x="145" y="21"/>
                </a:cxn>
                <a:cxn ang="0">
                  <a:pos x="156" y="3"/>
                </a:cxn>
                <a:cxn ang="0">
                  <a:pos x="175" y="3"/>
                </a:cxn>
                <a:cxn ang="0">
                  <a:pos x="177" y="12"/>
                </a:cxn>
                <a:cxn ang="0">
                  <a:pos x="167" y="31"/>
                </a:cxn>
                <a:cxn ang="0">
                  <a:pos x="168" y="41"/>
                </a:cxn>
                <a:cxn ang="0">
                  <a:pos x="171" y="41"/>
                </a:cxn>
                <a:cxn ang="0">
                  <a:pos x="191" y="47"/>
                </a:cxn>
                <a:cxn ang="0">
                  <a:pos x="188" y="51"/>
                </a:cxn>
                <a:cxn ang="0">
                  <a:pos x="180" y="54"/>
                </a:cxn>
                <a:cxn ang="0">
                  <a:pos x="181" y="51"/>
                </a:cxn>
                <a:cxn ang="0">
                  <a:pos x="174" y="53"/>
                </a:cxn>
                <a:cxn ang="0">
                  <a:pos x="169" y="53"/>
                </a:cxn>
                <a:cxn ang="0">
                  <a:pos x="161" y="57"/>
                </a:cxn>
                <a:cxn ang="0">
                  <a:pos x="156" y="57"/>
                </a:cxn>
                <a:cxn ang="0">
                  <a:pos x="151" y="63"/>
                </a:cxn>
                <a:cxn ang="0">
                  <a:pos x="169" y="58"/>
                </a:cxn>
                <a:cxn ang="0">
                  <a:pos x="167" y="60"/>
                </a:cxn>
                <a:cxn ang="0">
                  <a:pos x="161" y="65"/>
                </a:cxn>
                <a:cxn ang="0">
                  <a:pos x="125" y="65"/>
                </a:cxn>
              </a:cxnLst>
              <a:rect l="0" t="0" r="r" b="b"/>
              <a:pathLst>
                <a:path w="191" h="72">
                  <a:moveTo>
                    <a:pt x="125" y="65"/>
                  </a:moveTo>
                  <a:lnTo>
                    <a:pt x="117" y="60"/>
                  </a:lnTo>
                  <a:lnTo>
                    <a:pt x="114" y="59"/>
                  </a:lnTo>
                  <a:lnTo>
                    <a:pt x="93" y="66"/>
                  </a:lnTo>
                  <a:lnTo>
                    <a:pt x="61" y="69"/>
                  </a:lnTo>
                  <a:lnTo>
                    <a:pt x="29" y="72"/>
                  </a:lnTo>
                  <a:lnTo>
                    <a:pt x="30" y="64"/>
                  </a:lnTo>
                  <a:lnTo>
                    <a:pt x="0" y="55"/>
                  </a:lnTo>
                  <a:lnTo>
                    <a:pt x="6" y="47"/>
                  </a:lnTo>
                  <a:lnTo>
                    <a:pt x="39" y="46"/>
                  </a:lnTo>
                  <a:lnTo>
                    <a:pt x="73" y="45"/>
                  </a:lnTo>
                  <a:lnTo>
                    <a:pt x="42" y="40"/>
                  </a:lnTo>
                  <a:lnTo>
                    <a:pt x="9" y="39"/>
                  </a:lnTo>
                  <a:lnTo>
                    <a:pt x="6" y="35"/>
                  </a:lnTo>
                  <a:lnTo>
                    <a:pt x="48" y="27"/>
                  </a:lnTo>
                  <a:lnTo>
                    <a:pt x="17" y="28"/>
                  </a:lnTo>
                  <a:lnTo>
                    <a:pt x="25" y="25"/>
                  </a:lnTo>
                  <a:lnTo>
                    <a:pt x="11" y="25"/>
                  </a:lnTo>
                  <a:lnTo>
                    <a:pt x="32" y="16"/>
                  </a:lnTo>
                  <a:lnTo>
                    <a:pt x="30" y="13"/>
                  </a:lnTo>
                  <a:lnTo>
                    <a:pt x="60" y="6"/>
                  </a:lnTo>
                  <a:lnTo>
                    <a:pt x="89" y="0"/>
                  </a:lnTo>
                  <a:lnTo>
                    <a:pt x="91" y="4"/>
                  </a:lnTo>
                  <a:lnTo>
                    <a:pt x="78" y="11"/>
                  </a:lnTo>
                  <a:lnTo>
                    <a:pt x="89" y="10"/>
                  </a:lnTo>
                  <a:lnTo>
                    <a:pt x="99" y="5"/>
                  </a:lnTo>
                  <a:lnTo>
                    <a:pt x="111" y="12"/>
                  </a:lnTo>
                  <a:lnTo>
                    <a:pt x="104" y="16"/>
                  </a:lnTo>
                  <a:lnTo>
                    <a:pt x="109" y="15"/>
                  </a:lnTo>
                  <a:lnTo>
                    <a:pt x="125" y="13"/>
                  </a:lnTo>
                  <a:lnTo>
                    <a:pt x="126" y="10"/>
                  </a:lnTo>
                  <a:lnTo>
                    <a:pt x="128" y="5"/>
                  </a:lnTo>
                  <a:lnTo>
                    <a:pt x="140" y="12"/>
                  </a:lnTo>
                  <a:lnTo>
                    <a:pt x="133" y="25"/>
                  </a:lnTo>
                  <a:lnTo>
                    <a:pt x="145" y="21"/>
                  </a:lnTo>
                  <a:lnTo>
                    <a:pt x="156" y="3"/>
                  </a:lnTo>
                  <a:lnTo>
                    <a:pt x="175" y="3"/>
                  </a:lnTo>
                  <a:lnTo>
                    <a:pt x="177" y="12"/>
                  </a:lnTo>
                  <a:lnTo>
                    <a:pt x="167" y="31"/>
                  </a:lnTo>
                  <a:lnTo>
                    <a:pt x="168" y="41"/>
                  </a:lnTo>
                  <a:lnTo>
                    <a:pt x="171" y="41"/>
                  </a:lnTo>
                  <a:lnTo>
                    <a:pt x="191" y="47"/>
                  </a:lnTo>
                  <a:lnTo>
                    <a:pt x="188" y="51"/>
                  </a:lnTo>
                  <a:lnTo>
                    <a:pt x="180" y="54"/>
                  </a:lnTo>
                  <a:lnTo>
                    <a:pt x="181" y="51"/>
                  </a:lnTo>
                  <a:lnTo>
                    <a:pt x="174" y="53"/>
                  </a:lnTo>
                  <a:lnTo>
                    <a:pt x="169" y="53"/>
                  </a:lnTo>
                  <a:lnTo>
                    <a:pt x="161" y="57"/>
                  </a:lnTo>
                  <a:lnTo>
                    <a:pt x="156" y="57"/>
                  </a:lnTo>
                  <a:lnTo>
                    <a:pt x="151" y="63"/>
                  </a:lnTo>
                  <a:lnTo>
                    <a:pt x="169" y="58"/>
                  </a:lnTo>
                  <a:lnTo>
                    <a:pt x="167" y="60"/>
                  </a:lnTo>
                  <a:lnTo>
                    <a:pt x="161" y="65"/>
                  </a:lnTo>
                  <a:lnTo>
                    <a:pt x="125" y="6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7" name="Freeform 394"/>
            <p:cNvSpPr>
              <a:spLocks/>
            </p:cNvSpPr>
            <p:nvPr/>
          </p:nvSpPr>
          <p:spPr bwMode="auto">
            <a:xfrm>
              <a:off x="980" y="1276"/>
              <a:ext cx="156" cy="54"/>
            </a:xfrm>
            <a:custGeom>
              <a:avLst/>
              <a:gdLst/>
              <a:ahLst/>
              <a:cxnLst>
                <a:cxn ang="0">
                  <a:pos x="64" y="33"/>
                </a:cxn>
                <a:cxn ang="0">
                  <a:pos x="42" y="44"/>
                </a:cxn>
                <a:cxn ang="0">
                  <a:pos x="11" y="49"/>
                </a:cxn>
                <a:cxn ang="0">
                  <a:pos x="6" y="38"/>
                </a:cxn>
                <a:cxn ang="0">
                  <a:pos x="0" y="33"/>
                </a:cxn>
                <a:cxn ang="0">
                  <a:pos x="21" y="25"/>
                </a:cxn>
                <a:cxn ang="0">
                  <a:pos x="28" y="20"/>
                </a:cxn>
                <a:cxn ang="0">
                  <a:pos x="52" y="9"/>
                </a:cxn>
                <a:cxn ang="0">
                  <a:pos x="51" y="2"/>
                </a:cxn>
                <a:cxn ang="0">
                  <a:pos x="94" y="0"/>
                </a:cxn>
                <a:cxn ang="0">
                  <a:pos x="104" y="3"/>
                </a:cxn>
                <a:cxn ang="0">
                  <a:pos x="107" y="6"/>
                </a:cxn>
                <a:cxn ang="0">
                  <a:pos x="129" y="3"/>
                </a:cxn>
                <a:cxn ang="0">
                  <a:pos x="140" y="14"/>
                </a:cxn>
                <a:cxn ang="0">
                  <a:pos x="108" y="21"/>
                </a:cxn>
                <a:cxn ang="0">
                  <a:pos x="77" y="28"/>
                </a:cxn>
                <a:cxn ang="0">
                  <a:pos x="64" y="33"/>
                </a:cxn>
              </a:cxnLst>
              <a:rect l="0" t="0" r="r" b="b"/>
              <a:pathLst>
                <a:path w="140" h="49">
                  <a:moveTo>
                    <a:pt x="64" y="33"/>
                  </a:moveTo>
                  <a:lnTo>
                    <a:pt x="42" y="44"/>
                  </a:lnTo>
                  <a:lnTo>
                    <a:pt x="11" y="49"/>
                  </a:lnTo>
                  <a:lnTo>
                    <a:pt x="6" y="38"/>
                  </a:lnTo>
                  <a:lnTo>
                    <a:pt x="0" y="33"/>
                  </a:lnTo>
                  <a:lnTo>
                    <a:pt x="21" y="25"/>
                  </a:lnTo>
                  <a:lnTo>
                    <a:pt x="28" y="20"/>
                  </a:lnTo>
                  <a:lnTo>
                    <a:pt x="52" y="9"/>
                  </a:lnTo>
                  <a:lnTo>
                    <a:pt x="51" y="2"/>
                  </a:lnTo>
                  <a:lnTo>
                    <a:pt x="94" y="0"/>
                  </a:lnTo>
                  <a:lnTo>
                    <a:pt x="104" y="3"/>
                  </a:lnTo>
                  <a:lnTo>
                    <a:pt x="107" y="6"/>
                  </a:lnTo>
                  <a:lnTo>
                    <a:pt x="129" y="3"/>
                  </a:lnTo>
                  <a:lnTo>
                    <a:pt x="140" y="14"/>
                  </a:lnTo>
                  <a:lnTo>
                    <a:pt x="108" y="21"/>
                  </a:lnTo>
                  <a:lnTo>
                    <a:pt x="77" y="28"/>
                  </a:lnTo>
                  <a:lnTo>
                    <a:pt x="64" y="3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8" name="Freeform 395"/>
            <p:cNvSpPr>
              <a:spLocks/>
            </p:cNvSpPr>
            <p:nvPr/>
          </p:nvSpPr>
          <p:spPr bwMode="auto">
            <a:xfrm>
              <a:off x="1611" y="1683"/>
              <a:ext cx="103" cy="93"/>
            </a:xfrm>
            <a:custGeom>
              <a:avLst/>
              <a:gdLst/>
              <a:ahLst/>
              <a:cxnLst>
                <a:cxn ang="0">
                  <a:pos x="47" y="67"/>
                </a:cxn>
                <a:cxn ang="0">
                  <a:pos x="48" y="64"/>
                </a:cxn>
                <a:cxn ang="0">
                  <a:pos x="22" y="68"/>
                </a:cxn>
                <a:cxn ang="0">
                  <a:pos x="0" y="66"/>
                </a:cxn>
                <a:cxn ang="0">
                  <a:pos x="5" y="58"/>
                </a:cxn>
                <a:cxn ang="0">
                  <a:pos x="16" y="51"/>
                </a:cxn>
                <a:cxn ang="0">
                  <a:pos x="5" y="51"/>
                </a:cxn>
                <a:cxn ang="0">
                  <a:pos x="10" y="49"/>
                </a:cxn>
                <a:cxn ang="0">
                  <a:pos x="23" y="42"/>
                </a:cxn>
                <a:cxn ang="0">
                  <a:pos x="24" y="43"/>
                </a:cxn>
                <a:cxn ang="0">
                  <a:pos x="26" y="39"/>
                </a:cxn>
                <a:cxn ang="0">
                  <a:pos x="23" y="36"/>
                </a:cxn>
                <a:cxn ang="0">
                  <a:pos x="29" y="33"/>
                </a:cxn>
                <a:cxn ang="0">
                  <a:pos x="43" y="14"/>
                </a:cxn>
                <a:cxn ang="0">
                  <a:pos x="60" y="1"/>
                </a:cxn>
                <a:cxn ang="0">
                  <a:pos x="67" y="0"/>
                </a:cxn>
                <a:cxn ang="0">
                  <a:pos x="73" y="0"/>
                </a:cxn>
                <a:cxn ang="0">
                  <a:pos x="64" y="4"/>
                </a:cxn>
                <a:cxn ang="0">
                  <a:pos x="66" y="7"/>
                </a:cxn>
                <a:cxn ang="0">
                  <a:pos x="60" y="13"/>
                </a:cxn>
                <a:cxn ang="0">
                  <a:pos x="43" y="33"/>
                </a:cxn>
                <a:cxn ang="0">
                  <a:pos x="56" y="24"/>
                </a:cxn>
                <a:cxn ang="0">
                  <a:pos x="54" y="27"/>
                </a:cxn>
                <a:cxn ang="0">
                  <a:pos x="64" y="26"/>
                </a:cxn>
                <a:cxn ang="0">
                  <a:pos x="55" y="31"/>
                </a:cxn>
                <a:cxn ang="0">
                  <a:pos x="55" y="34"/>
                </a:cxn>
                <a:cxn ang="0">
                  <a:pos x="65" y="37"/>
                </a:cxn>
                <a:cxn ang="0">
                  <a:pos x="62" y="40"/>
                </a:cxn>
                <a:cxn ang="0">
                  <a:pos x="76" y="34"/>
                </a:cxn>
                <a:cxn ang="0">
                  <a:pos x="74" y="38"/>
                </a:cxn>
                <a:cxn ang="0">
                  <a:pos x="88" y="37"/>
                </a:cxn>
                <a:cxn ang="0">
                  <a:pos x="78" y="46"/>
                </a:cxn>
                <a:cxn ang="0">
                  <a:pos x="80" y="50"/>
                </a:cxn>
                <a:cxn ang="0">
                  <a:pos x="76" y="54"/>
                </a:cxn>
                <a:cxn ang="0">
                  <a:pos x="92" y="50"/>
                </a:cxn>
                <a:cxn ang="0">
                  <a:pos x="77" y="60"/>
                </a:cxn>
                <a:cxn ang="0">
                  <a:pos x="78" y="62"/>
                </a:cxn>
                <a:cxn ang="0">
                  <a:pos x="77" y="62"/>
                </a:cxn>
                <a:cxn ang="0">
                  <a:pos x="77" y="68"/>
                </a:cxn>
                <a:cxn ang="0">
                  <a:pos x="91" y="57"/>
                </a:cxn>
                <a:cxn ang="0">
                  <a:pos x="84" y="68"/>
                </a:cxn>
                <a:cxn ang="0">
                  <a:pos x="91" y="64"/>
                </a:cxn>
                <a:cxn ang="0">
                  <a:pos x="92" y="69"/>
                </a:cxn>
                <a:cxn ang="0">
                  <a:pos x="80" y="85"/>
                </a:cxn>
                <a:cxn ang="0">
                  <a:pos x="74" y="82"/>
                </a:cxn>
                <a:cxn ang="0">
                  <a:pos x="74" y="76"/>
                </a:cxn>
                <a:cxn ang="0">
                  <a:pos x="67" y="80"/>
                </a:cxn>
                <a:cxn ang="0">
                  <a:pos x="74" y="68"/>
                </a:cxn>
                <a:cxn ang="0">
                  <a:pos x="71" y="63"/>
                </a:cxn>
                <a:cxn ang="0">
                  <a:pos x="64" y="72"/>
                </a:cxn>
                <a:cxn ang="0">
                  <a:pos x="67" y="68"/>
                </a:cxn>
                <a:cxn ang="0">
                  <a:pos x="44" y="81"/>
                </a:cxn>
                <a:cxn ang="0">
                  <a:pos x="44" y="76"/>
                </a:cxn>
                <a:cxn ang="0">
                  <a:pos x="62" y="67"/>
                </a:cxn>
                <a:cxn ang="0">
                  <a:pos x="58" y="68"/>
                </a:cxn>
                <a:cxn ang="0">
                  <a:pos x="61" y="64"/>
                </a:cxn>
                <a:cxn ang="0">
                  <a:pos x="54" y="67"/>
                </a:cxn>
                <a:cxn ang="0">
                  <a:pos x="48" y="70"/>
                </a:cxn>
                <a:cxn ang="0">
                  <a:pos x="42" y="69"/>
                </a:cxn>
                <a:cxn ang="0">
                  <a:pos x="47" y="67"/>
                </a:cxn>
              </a:cxnLst>
              <a:rect l="0" t="0" r="r" b="b"/>
              <a:pathLst>
                <a:path w="92" h="85">
                  <a:moveTo>
                    <a:pt x="47" y="67"/>
                  </a:moveTo>
                  <a:lnTo>
                    <a:pt x="48" y="64"/>
                  </a:lnTo>
                  <a:lnTo>
                    <a:pt x="22" y="68"/>
                  </a:lnTo>
                  <a:lnTo>
                    <a:pt x="0" y="66"/>
                  </a:lnTo>
                  <a:lnTo>
                    <a:pt x="5" y="58"/>
                  </a:lnTo>
                  <a:lnTo>
                    <a:pt x="16" y="51"/>
                  </a:lnTo>
                  <a:lnTo>
                    <a:pt x="5" y="51"/>
                  </a:lnTo>
                  <a:lnTo>
                    <a:pt x="10" y="49"/>
                  </a:lnTo>
                  <a:lnTo>
                    <a:pt x="23" y="42"/>
                  </a:lnTo>
                  <a:lnTo>
                    <a:pt x="24" y="43"/>
                  </a:lnTo>
                  <a:lnTo>
                    <a:pt x="26" y="39"/>
                  </a:lnTo>
                  <a:lnTo>
                    <a:pt x="23" y="36"/>
                  </a:lnTo>
                  <a:lnTo>
                    <a:pt x="29" y="33"/>
                  </a:lnTo>
                  <a:lnTo>
                    <a:pt x="43" y="14"/>
                  </a:lnTo>
                  <a:lnTo>
                    <a:pt x="60" y="1"/>
                  </a:lnTo>
                  <a:lnTo>
                    <a:pt x="67" y="0"/>
                  </a:lnTo>
                  <a:lnTo>
                    <a:pt x="73" y="0"/>
                  </a:lnTo>
                  <a:lnTo>
                    <a:pt x="64" y="4"/>
                  </a:lnTo>
                  <a:lnTo>
                    <a:pt x="66" y="7"/>
                  </a:lnTo>
                  <a:lnTo>
                    <a:pt x="60" y="13"/>
                  </a:lnTo>
                  <a:lnTo>
                    <a:pt x="43" y="33"/>
                  </a:lnTo>
                  <a:lnTo>
                    <a:pt x="56" y="24"/>
                  </a:lnTo>
                  <a:lnTo>
                    <a:pt x="54" y="27"/>
                  </a:lnTo>
                  <a:lnTo>
                    <a:pt x="64" y="26"/>
                  </a:lnTo>
                  <a:lnTo>
                    <a:pt x="55" y="31"/>
                  </a:lnTo>
                  <a:lnTo>
                    <a:pt x="55" y="34"/>
                  </a:lnTo>
                  <a:lnTo>
                    <a:pt x="65" y="37"/>
                  </a:lnTo>
                  <a:lnTo>
                    <a:pt x="62" y="40"/>
                  </a:lnTo>
                  <a:lnTo>
                    <a:pt x="76" y="34"/>
                  </a:lnTo>
                  <a:lnTo>
                    <a:pt x="74" y="38"/>
                  </a:lnTo>
                  <a:lnTo>
                    <a:pt x="88" y="37"/>
                  </a:lnTo>
                  <a:lnTo>
                    <a:pt x="78" y="46"/>
                  </a:lnTo>
                  <a:lnTo>
                    <a:pt x="80" y="50"/>
                  </a:lnTo>
                  <a:lnTo>
                    <a:pt x="76" y="54"/>
                  </a:lnTo>
                  <a:lnTo>
                    <a:pt x="92" y="50"/>
                  </a:lnTo>
                  <a:lnTo>
                    <a:pt x="77" y="60"/>
                  </a:lnTo>
                  <a:lnTo>
                    <a:pt x="78" y="62"/>
                  </a:lnTo>
                  <a:lnTo>
                    <a:pt x="77" y="62"/>
                  </a:lnTo>
                  <a:lnTo>
                    <a:pt x="77" y="68"/>
                  </a:lnTo>
                  <a:lnTo>
                    <a:pt x="91" y="57"/>
                  </a:lnTo>
                  <a:lnTo>
                    <a:pt x="84" y="68"/>
                  </a:lnTo>
                  <a:lnTo>
                    <a:pt x="91" y="64"/>
                  </a:lnTo>
                  <a:lnTo>
                    <a:pt x="92" y="69"/>
                  </a:lnTo>
                  <a:lnTo>
                    <a:pt x="80" y="85"/>
                  </a:lnTo>
                  <a:lnTo>
                    <a:pt x="74" y="82"/>
                  </a:lnTo>
                  <a:lnTo>
                    <a:pt x="74" y="76"/>
                  </a:lnTo>
                  <a:lnTo>
                    <a:pt x="67" y="80"/>
                  </a:lnTo>
                  <a:lnTo>
                    <a:pt x="74" y="68"/>
                  </a:lnTo>
                  <a:lnTo>
                    <a:pt x="71" y="63"/>
                  </a:lnTo>
                  <a:lnTo>
                    <a:pt x="64" y="72"/>
                  </a:lnTo>
                  <a:lnTo>
                    <a:pt x="67" y="68"/>
                  </a:lnTo>
                  <a:lnTo>
                    <a:pt x="44" y="81"/>
                  </a:lnTo>
                  <a:lnTo>
                    <a:pt x="44" y="76"/>
                  </a:lnTo>
                  <a:lnTo>
                    <a:pt x="62" y="67"/>
                  </a:lnTo>
                  <a:lnTo>
                    <a:pt x="58" y="68"/>
                  </a:lnTo>
                  <a:lnTo>
                    <a:pt x="61" y="64"/>
                  </a:lnTo>
                  <a:lnTo>
                    <a:pt x="54" y="67"/>
                  </a:lnTo>
                  <a:lnTo>
                    <a:pt x="48" y="70"/>
                  </a:lnTo>
                  <a:lnTo>
                    <a:pt x="42" y="69"/>
                  </a:lnTo>
                  <a:lnTo>
                    <a:pt x="47" y="6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9" name="Freeform 396"/>
            <p:cNvSpPr>
              <a:spLocks/>
            </p:cNvSpPr>
            <p:nvPr/>
          </p:nvSpPr>
          <p:spPr bwMode="auto">
            <a:xfrm>
              <a:off x="1414" y="1241"/>
              <a:ext cx="180" cy="31"/>
            </a:xfrm>
            <a:custGeom>
              <a:avLst/>
              <a:gdLst/>
              <a:ahLst/>
              <a:cxnLst>
                <a:cxn ang="0">
                  <a:pos x="65" y="15"/>
                </a:cxn>
                <a:cxn ang="0">
                  <a:pos x="48" y="9"/>
                </a:cxn>
                <a:cxn ang="0">
                  <a:pos x="72" y="9"/>
                </a:cxn>
                <a:cxn ang="0">
                  <a:pos x="29" y="6"/>
                </a:cxn>
                <a:cxn ang="0">
                  <a:pos x="37" y="0"/>
                </a:cxn>
                <a:cxn ang="0">
                  <a:pos x="0" y="1"/>
                </a:cxn>
                <a:cxn ang="0">
                  <a:pos x="34" y="6"/>
                </a:cxn>
                <a:cxn ang="0">
                  <a:pos x="28" y="17"/>
                </a:cxn>
                <a:cxn ang="0">
                  <a:pos x="22" y="29"/>
                </a:cxn>
                <a:cxn ang="0">
                  <a:pos x="57" y="28"/>
                </a:cxn>
                <a:cxn ang="0">
                  <a:pos x="90" y="28"/>
                </a:cxn>
                <a:cxn ang="0">
                  <a:pos x="125" y="27"/>
                </a:cxn>
                <a:cxn ang="0">
                  <a:pos x="159" y="27"/>
                </a:cxn>
                <a:cxn ang="0">
                  <a:pos x="163" y="19"/>
                </a:cxn>
                <a:cxn ang="0">
                  <a:pos x="137" y="13"/>
                </a:cxn>
                <a:cxn ang="0">
                  <a:pos x="101" y="15"/>
                </a:cxn>
                <a:cxn ang="0">
                  <a:pos x="65" y="15"/>
                </a:cxn>
              </a:cxnLst>
              <a:rect l="0" t="0" r="r" b="b"/>
              <a:pathLst>
                <a:path w="163" h="29">
                  <a:moveTo>
                    <a:pt x="65" y="15"/>
                  </a:moveTo>
                  <a:lnTo>
                    <a:pt x="48" y="9"/>
                  </a:lnTo>
                  <a:lnTo>
                    <a:pt x="72" y="9"/>
                  </a:lnTo>
                  <a:lnTo>
                    <a:pt x="29" y="6"/>
                  </a:lnTo>
                  <a:lnTo>
                    <a:pt x="37" y="0"/>
                  </a:lnTo>
                  <a:lnTo>
                    <a:pt x="0" y="1"/>
                  </a:lnTo>
                  <a:lnTo>
                    <a:pt x="34" y="6"/>
                  </a:lnTo>
                  <a:lnTo>
                    <a:pt x="28" y="17"/>
                  </a:lnTo>
                  <a:lnTo>
                    <a:pt x="22" y="29"/>
                  </a:lnTo>
                  <a:lnTo>
                    <a:pt x="57" y="28"/>
                  </a:lnTo>
                  <a:lnTo>
                    <a:pt x="90" y="28"/>
                  </a:lnTo>
                  <a:lnTo>
                    <a:pt x="125" y="27"/>
                  </a:lnTo>
                  <a:lnTo>
                    <a:pt x="159" y="27"/>
                  </a:lnTo>
                  <a:lnTo>
                    <a:pt x="163" y="19"/>
                  </a:lnTo>
                  <a:lnTo>
                    <a:pt x="137" y="13"/>
                  </a:lnTo>
                  <a:lnTo>
                    <a:pt x="101" y="15"/>
                  </a:lnTo>
                  <a:lnTo>
                    <a:pt x="65" y="1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0" name="Freeform 397"/>
            <p:cNvSpPr>
              <a:spLocks/>
            </p:cNvSpPr>
            <p:nvPr/>
          </p:nvSpPr>
          <p:spPr bwMode="auto">
            <a:xfrm>
              <a:off x="1476" y="1181"/>
              <a:ext cx="113" cy="40"/>
            </a:xfrm>
            <a:custGeom>
              <a:avLst/>
              <a:gdLst/>
              <a:ahLst/>
              <a:cxnLst>
                <a:cxn ang="0">
                  <a:pos x="21" y="11"/>
                </a:cxn>
                <a:cxn ang="0">
                  <a:pos x="13" y="6"/>
                </a:cxn>
                <a:cxn ang="0">
                  <a:pos x="48" y="0"/>
                </a:cxn>
                <a:cxn ang="0">
                  <a:pos x="92" y="9"/>
                </a:cxn>
                <a:cxn ang="0">
                  <a:pos x="81" y="18"/>
                </a:cxn>
                <a:cxn ang="0">
                  <a:pos x="103" y="22"/>
                </a:cxn>
                <a:cxn ang="0">
                  <a:pos x="66" y="29"/>
                </a:cxn>
                <a:cxn ang="0">
                  <a:pos x="49" y="36"/>
                </a:cxn>
                <a:cxn ang="0">
                  <a:pos x="43" y="31"/>
                </a:cxn>
                <a:cxn ang="0">
                  <a:pos x="42" y="36"/>
                </a:cxn>
                <a:cxn ang="0">
                  <a:pos x="6" y="27"/>
                </a:cxn>
                <a:cxn ang="0">
                  <a:pos x="48" y="22"/>
                </a:cxn>
                <a:cxn ang="0">
                  <a:pos x="0" y="17"/>
                </a:cxn>
                <a:cxn ang="0">
                  <a:pos x="21" y="11"/>
                </a:cxn>
              </a:cxnLst>
              <a:rect l="0" t="0" r="r" b="b"/>
              <a:pathLst>
                <a:path w="103" h="36">
                  <a:moveTo>
                    <a:pt x="21" y="11"/>
                  </a:moveTo>
                  <a:lnTo>
                    <a:pt x="13" y="6"/>
                  </a:lnTo>
                  <a:lnTo>
                    <a:pt x="48" y="0"/>
                  </a:lnTo>
                  <a:lnTo>
                    <a:pt x="92" y="9"/>
                  </a:lnTo>
                  <a:lnTo>
                    <a:pt x="81" y="18"/>
                  </a:lnTo>
                  <a:lnTo>
                    <a:pt x="103" y="22"/>
                  </a:lnTo>
                  <a:lnTo>
                    <a:pt x="66" y="29"/>
                  </a:lnTo>
                  <a:lnTo>
                    <a:pt x="49" y="36"/>
                  </a:lnTo>
                  <a:lnTo>
                    <a:pt x="43" y="31"/>
                  </a:lnTo>
                  <a:lnTo>
                    <a:pt x="42" y="36"/>
                  </a:lnTo>
                  <a:lnTo>
                    <a:pt x="6" y="27"/>
                  </a:lnTo>
                  <a:lnTo>
                    <a:pt x="48" y="22"/>
                  </a:lnTo>
                  <a:lnTo>
                    <a:pt x="0" y="17"/>
                  </a:lnTo>
                  <a:lnTo>
                    <a:pt x="21" y="1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1" name="Freeform 398"/>
            <p:cNvSpPr>
              <a:spLocks/>
            </p:cNvSpPr>
            <p:nvPr/>
          </p:nvSpPr>
          <p:spPr bwMode="auto">
            <a:xfrm>
              <a:off x="1142" y="1241"/>
              <a:ext cx="154" cy="35"/>
            </a:xfrm>
            <a:custGeom>
              <a:avLst/>
              <a:gdLst/>
              <a:ahLst/>
              <a:cxnLst>
                <a:cxn ang="0">
                  <a:pos x="37" y="34"/>
                </a:cxn>
                <a:cxn ang="0">
                  <a:pos x="22" y="29"/>
                </a:cxn>
                <a:cxn ang="0">
                  <a:pos x="68" y="22"/>
                </a:cxn>
                <a:cxn ang="0">
                  <a:pos x="33" y="21"/>
                </a:cxn>
                <a:cxn ang="0">
                  <a:pos x="0" y="21"/>
                </a:cxn>
                <a:cxn ang="0">
                  <a:pos x="32" y="16"/>
                </a:cxn>
                <a:cxn ang="0">
                  <a:pos x="18" y="15"/>
                </a:cxn>
                <a:cxn ang="0">
                  <a:pos x="39" y="12"/>
                </a:cxn>
                <a:cxn ang="0">
                  <a:pos x="30" y="9"/>
                </a:cxn>
                <a:cxn ang="0">
                  <a:pos x="69" y="11"/>
                </a:cxn>
                <a:cxn ang="0">
                  <a:pos x="96" y="18"/>
                </a:cxn>
                <a:cxn ang="0">
                  <a:pos x="97" y="6"/>
                </a:cxn>
                <a:cxn ang="0">
                  <a:pos x="121" y="0"/>
                </a:cxn>
                <a:cxn ang="0">
                  <a:pos x="112" y="15"/>
                </a:cxn>
                <a:cxn ang="0">
                  <a:pos x="139" y="13"/>
                </a:cxn>
                <a:cxn ang="0">
                  <a:pos x="117" y="24"/>
                </a:cxn>
                <a:cxn ang="0">
                  <a:pos x="100" y="23"/>
                </a:cxn>
                <a:cxn ang="0">
                  <a:pos x="69" y="28"/>
                </a:cxn>
                <a:cxn ang="0">
                  <a:pos x="37" y="34"/>
                </a:cxn>
              </a:cxnLst>
              <a:rect l="0" t="0" r="r" b="b"/>
              <a:pathLst>
                <a:path w="139" h="34">
                  <a:moveTo>
                    <a:pt x="37" y="34"/>
                  </a:moveTo>
                  <a:lnTo>
                    <a:pt x="22" y="29"/>
                  </a:lnTo>
                  <a:lnTo>
                    <a:pt x="68" y="22"/>
                  </a:lnTo>
                  <a:lnTo>
                    <a:pt x="33" y="21"/>
                  </a:lnTo>
                  <a:lnTo>
                    <a:pt x="0" y="21"/>
                  </a:lnTo>
                  <a:lnTo>
                    <a:pt x="32" y="16"/>
                  </a:lnTo>
                  <a:lnTo>
                    <a:pt x="18" y="15"/>
                  </a:lnTo>
                  <a:lnTo>
                    <a:pt x="39" y="12"/>
                  </a:lnTo>
                  <a:lnTo>
                    <a:pt x="30" y="9"/>
                  </a:lnTo>
                  <a:lnTo>
                    <a:pt x="69" y="11"/>
                  </a:lnTo>
                  <a:lnTo>
                    <a:pt x="96" y="18"/>
                  </a:lnTo>
                  <a:lnTo>
                    <a:pt x="97" y="6"/>
                  </a:lnTo>
                  <a:lnTo>
                    <a:pt x="121" y="0"/>
                  </a:lnTo>
                  <a:lnTo>
                    <a:pt x="112" y="15"/>
                  </a:lnTo>
                  <a:lnTo>
                    <a:pt x="139" y="13"/>
                  </a:lnTo>
                  <a:lnTo>
                    <a:pt x="117" y="24"/>
                  </a:lnTo>
                  <a:lnTo>
                    <a:pt x="100" y="23"/>
                  </a:lnTo>
                  <a:lnTo>
                    <a:pt x="69" y="28"/>
                  </a:lnTo>
                  <a:lnTo>
                    <a:pt x="37" y="3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2" name="Freeform 399"/>
            <p:cNvSpPr>
              <a:spLocks/>
            </p:cNvSpPr>
            <p:nvPr/>
          </p:nvSpPr>
          <p:spPr bwMode="auto">
            <a:xfrm>
              <a:off x="1347" y="1419"/>
              <a:ext cx="95" cy="49"/>
            </a:xfrm>
            <a:custGeom>
              <a:avLst/>
              <a:gdLst/>
              <a:ahLst/>
              <a:cxnLst>
                <a:cxn ang="0">
                  <a:pos x="62" y="32"/>
                </a:cxn>
                <a:cxn ang="0">
                  <a:pos x="53" y="30"/>
                </a:cxn>
                <a:cxn ang="0">
                  <a:pos x="54" y="28"/>
                </a:cxn>
                <a:cxn ang="0">
                  <a:pos x="47" y="30"/>
                </a:cxn>
                <a:cxn ang="0">
                  <a:pos x="18" y="43"/>
                </a:cxn>
                <a:cxn ang="0">
                  <a:pos x="18" y="35"/>
                </a:cxn>
                <a:cxn ang="0">
                  <a:pos x="0" y="35"/>
                </a:cxn>
                <a:cxn ang="0">
                  <a:pos x="18" y="26"/>
                </a:cxn>
                <a:cxn ang="0">
                  <a:pos x="29" y="13"/>
                </a:cxn>
                <a:cxn ang="0">
                  <a:pos x="41" y="0"/>
                </a:cxn>
                <a:cxn ang="0">
                  <a:pos x="48" y="4"/>
                </a:cxn>
                <a:cxn ang="0">
                  <a:pos x="46" y="10"/>
                </a:cxn>
                <a:cxn ang="0">
                  <a:pos x="53" y="7"/>
                </a:cxn>
                <a:cxn ang="0">
                  <a:pos x="76" y="22"/>
                </a:cxn>
                <a:cxn ang="0">
                  <a:pos x="68" y="30"/>
                </a:cxn>
                <a:cxn ang="0">
                  <a:pos x="86" y="30"/>
                </a:cxn>
                <a:cxn ang="0">
                  <a:pos x="87" y="34"/>
                </a:cxn>
                <a:cxn ang="0">
                  <a:pos x="72" y="38"/>
                </a:cxn>
                <a:cxn ang="0">
                  <a:pos x="62" y="32"/>
                </a:cxn>
              </a:cxnLst>
              <a:rect l="0" t="0" r="r" b="b"/>
              <a:pathLst>
                <a:path w="87" h="43">
                  <a:moveTo>
                    <a:pt x="62" y="32"/>
                  </a:moveTo>
                  <a:lnTo>
                    <a:pt x="53" y="30"/>
                  </a:lnTo>
                  <a:lnTo>
                    <a:pt x="54" y="28"/>
                  </a:lnTo>
                  <a:lnTo>
                    <a:pt x="47" y="30"/>
                  </a:lnTo>
                  <a:lnTo>
                    <a:pt x="18" y="43"/>
                  </a:lnTo>
                  <a:lnTo>
                    <a:pt x="18" y="35"/>
                  </a:lnTo>
                  <a:lnTo>
                    <a:pt x="0" y="35"/>
                  </a:lnTo>
                  <a:lnTo>
                    <a:pt x="18" y="26"/>
                  </a:lnTo>
                  <a:lnTo>
                    <a:pt x="29" y="13"/>
                  </a:lnTo>
                  <a:lnTo>
                    <a:pt x="41" y="0"/>
                  </a:lnTo>
                  <a:lnTo>
                    <a:pt x="48" y="4"/>
                  </a:lnTo>
                  <a:lnTo>
                    <a:pt x="46" y="10"/>
                  </a:lnTo>
                  <a:lnTo>
                    <a:pt x="53" y="7"/>
                  </a:lnTo>
                  <a:lnTo>
                    <a:pt x="76" y="22"/>
                  </a:lnTo>
                  <a:lnTo>
                    <a:pt x="68" y="30"/>
                  </a:lnTo>
                  <a:lnTo>
                    <a:pt x="86" y="30"/>
                  </a:lnTo>
                  <a:lnTo>
                    <a:pt x="87" y="34"/>
                  </a:lnTo>
                  <a:lnTo>
                    <a:pt x="72" y="38"/>
                  </a:lnTo>
                  <a:lnTo>
                    <a:pt x="62" y="3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3" name="Freeform 400"/>
            <p:cNvSpPr>
              <a:spLocks/>
            </p:cNvSpPr>
            <p:nvPr/>
          </p:nvSpPr>
          <p:spPr bwMode="auto">
            <a:xfrm>
              <a:off x="1276" y="1288"/>
              <a:ext cx="84" cy="35"/>
            </a:xfrm>
            <a:custGeom>
              <a:avLst/>
              <a:gdLst/>
              <a:ahLst/>
              <a:cxnLst>
                <a:cxn ang="0">
                  <a:pos x="76" y="0"/>
                </a:cxn>
                <a:cxn ang="0">
                  <a:pos x="32" y="0"/>
                </a:cxn>
                <a:cxn ang="0">
                  <a:pos x="37" y="8"/>
                </a:cxn>
                <a:cxn ang="0">
                  <a:pos x="27" y="14"/>
                </a:cxn>
                <a:cxn ang="0">
                  <a:pos x="0" y="14"/>
                </a:cxn>
                <a:cxn ang="0">
                  <a:pos x="15" y="23"/>
                </a:cxn>
                <a:cxn ang="0">
                  <a:pos x="32" y="33"/>
                </a:cxn>
                <a:cxn ang="0">
                  <a:pos x="36" y="28"/>
                </a:cxn>
                <a:cxn ang="0">
                  <a:pos x="56" y="27"/>
                </a:cxn>
                <a:cxn ang="0">
                  <a:pos x="66" y="14"/>
                </a:cxn>
                <a:cxn ang="0">
                  <a:pos x="76" y="0"/>
                </a:cxn>
              </a:cxnLst>
              <a:rect l="0" t="0" r="r" b="b"/>
              <a:pathLst>
                <a:path w="76" h="33">
                  <a:moveTo>
                    <a:pt x="76" y="0"/>
                  </a:moveTo>
                  <a:lnTo>
                    <a:pt x="32" y="0"/>
                  </a:lnTo>
                  <a:lnTo>
                    <a:pt x="37" y="8"/>
                  </a:lnTo>
                  <a:lnTo>
                    <a:pt x="27" y="14"/>
                  </a:lnTo>
                  <a:lnTo>
                    <a:pt x="0" y="14"/>
                  </a:lnTo>
                  <a:lnTo>
                    <a:pt x="15" y="23"/>
                  </a:lnTo>
                  <a:lnTo>
                    <a:pt x="32" y="33"/>
                  </a:lnTo>
                  <a:lnTo>
                    <a:pt x="36" y="28"/>
                  </a:lnTo>
                  <a:lnTo>
                    <a:pt x="56" y="27"/>
                  </a:lnTo>
                  <a:lnTo>
                    <a:pt x="66" y="14"/>
                  </a:lnTo>
                  <a:lnTo>
                    <a:pt x="76"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4" name="Freeform 401"/>
            <p:cNvSpPr>
              <a:spLocks/>
            </p:cNvSpPr>
            <p:nvPr/>
          </p:nvSpPr>
          <p:spPr bwMode="auto">
            <a:xfrm>
              <a:off x="1356" y="1281"/>
              <a:ext cx="89" cy="35"/>
            </a:xfrm>
            <a:custGeom>
              <a:avLst/>
              <a:gdLst/>
              <a:ahLst/>
              <a:cxnLst>
                <a:cxn ang="0">
                  <a:pos x="49" y="18"/>
                </a:cxn>
                <a:cxn ang="0">
                  <a:pos x="22" y="20"/>
                </a:cxn>
                <a:cxn ang="0">
                  <a:pos x="26" y="23"/>
                </a:cxn>
                <a:cxn ang="0">
                  <a:pos x="14" y="30"/>
                </a:cxn>
                <a:cxn ang="0">
                  <a:pos x="0" y="32"/>
                </a:cxn>
                <a:cxn ang="0">
                  <a:pos x="2" y="29"/>
                </a:cxn>
                <a:cxn ang="0">
                  <a:pos x="16" y="9"/>
                </a:cxn>
                <a:cxn ang="0">
                  <a:pos x="26" y="8"/>
                </a:cxn>
                <a:cxn ang="0">
                  <a:pos x="25" y="4"/>
                </a:cxn>
                <a:cxn ang="0">
                  <a:pos x="34" y="0"/>
                </a:cxn>
                <a:cxn ang="0">
                  <a:pos x="80" y="4"/>
                </a:cxn>
                <a:cxn ang="0">
                  <a:pos x="68" y="9"/>
                </a:cxn>
                <a:cxn ang="0">
                  <a:pos x="49" y="18"/>
                </a:cxn>
              </a:cxnLst>
              <a:rect l="0" t="0" r="r" b="b"/>
              <a:pathLst>
                <a:path w="80" h="32">
                  <a:moveTo>
                    <a:pt x="49" y="18"/>
                  </a:moveTo>
                  <a:lnTo>
                    <a:pt x="22" y="20"/>
                  </a:lnTo>
                  <a:lnTo>
                    <a:pt x="26" y="23"/>
                  </a:lnTo>
                  <a:lnTo>
                    <a:pt x="14" y="30"/>
                  </a:lnTo>
                  <a:lnTo>
                    <a:pt x="0" y="32"/>
                  </a:lnTo>
                  <a:lnTo>
                    <a:pt x="2" y="29"/>
                  </a:lnTo>
                  <a:lnTo>
                    <a:pt x="16" y="9"/>
                  </a:lnTo>
                  <a:lnTo>
                    <a:pt x="26" y="8"/>
                  </a:lnTo>
                  <a:lnTo>
                    <a:pt x="25" y="4"/>
                  </a:lnTo>
                  <a:lnTo>
                    <a:pt x="34" y="0"/>
                  </a:lnTo>
                  <a:lnTo>
                    <a:pt x="80" y="4"/>
                  </a:lnTo>
                  <a:lnTo>
                    <a:pt x="68" y="9"/>
                  </a:lnTo>
                  <a:lnTo>
                    <a:pt x="49" y="18"/>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5" name="Freeform 402"/>
            <p:cNvSpPr>
              <a:spLocks/>
            </p:cNvSpPr>
            <p:nvPr/>
          </p:nvSpPr>
          <p:spPr bwMode="auto">
            <a:xfrm>
              <a:off x="578" y="1696"/>
              <a:ext cx="49" cy="47"/>
            </a:xfrm>
            <a:custGeom>
              <a:avLst/>
              <a:gdLst/>
              <a:ahLst/>
              <a:cxnLst>
                <a:cxn ang="0">
                  <a:pos x="30" y="27"/>
                </a:cxn>
                <a:cxn ang="0">
                  <a:pos x="28" y="30"/>
                </a:cxn>
                <a:cxn ang="0">
                  <a:pos x="16" y="29"/>
                </a:cxn>
                <a:cxn ang="0">
                  <a:pos x="19" y="26"/>
                </a:cxn>
                <a:cxn ang="0">
                  <a:pos x="14" y="25"/>
                </a:cxn>
                <a:cxn ang="0">
                  <a:pos x="8" y="23"/>
                </a:cxn>
                <a:cxn ang="0">
                  <a:pos x="18" y="19"/>
                </a:cxn>
                <a:cxn ang="0">
                  <a:pos x="8" y="15"/>
                </a:cxn>
                <a:cxn ang="0">
                  <a:pos x="8" y="12"/>
                </a:cxn>
                <a:cxn ang="0">
                  <a:pos x="2" y="11"/>
                </a:cxn>
                <a:cxn ang="0">
                  <a:pos x="1" y="8"/>
                </a:cxn>
                <a:cxn ang="0">
                  <a:pos x="8" y="3"/>
                </a:cxn>
                <a:cxn ang="0">
                  <a:pos x="5" y="5"/>
                </a:cxn>
                <a:cxn ang="0">
                  <a:pos x="0" y="0"/>
                </a:cxn>
                <a:cxn ang="0">
                  <a:pos x="14" y="2"/>
                </a:cxn>
                <a:cxn ang="0">
                  <a:pos x="30" y="6"/>
                </a:cxn>
                <a:cxn ang="0">
                  <a:pos x="34" y="14"/>
                </a:cxn>
                <a:cxn ang="0">
                  <a:pos x="41" y="25"/>
                </a:cxn>
                <a:cxn ang="0">
                  <a:pos x="42" y="37"/>
                </a:cxn>
                <a:cxn ang="0">
                  <a:pos x="43" y="41"/>
                </a:cxn>
                <a:cxn ang="0">
                  <a:pos x="22" y="35"/>
                </a:cxn>
                <a:cxn ang="0">
                  <a:pos x="30" y="27"/>
                </a:cxn>
              </a:cxnLst>
              <a:rect l="0" t="0" r="r" b="b"/>
              <a:pathLst>
                <a:path w="43" h="41">
                  <a:moveTo>
                    <a:pt x="30" y="27"/>
                  </a:moveTo>
                  <a:lnTo>
                    <a:pt x="28" y="30"/>
                  </a:lnTo>
                  <a:lnTo>
                    <a:pt x="16" y="29"/>
                  </a:lnTo>
                  <a:lnTo>
                    <a:pt x="19" y="26"/>
                  </a:lnTo>
                  <a:lnTo>
                    <a:pt x="14" y="25"/>
                  </a:lnTo>
                  <a:lnTo>
                    <a:pt x="8" y="23"/>
                  </a:lnTo>
                  <a:lnTo>
                    <a:pt x="18" y="19"/>
                  </a:lnTo>
                  <a:lnTo>
                    <a:pt x="8" y="15"/>
                  </a:lnTo>
                  <a:lnTo>
                    <a:pt x="8" y="12"/>
                  </a:lnTo>
                  <a:lnTo>
                    <a:pt x="2" y="11"/>
                  </a:lnTo>
                  <a:lnTo>
                    <a:pt x="1" y="8"/>
                  </a:lnTo>
                  <a:lnTo>
                    <a:pt x="8" y="3"/>
                  </a:lnTo>
                  <a:lnTo>
                    <a:pt x="5" y="5"/>
                  </a:lnTo>
                  <a:lnTo>
                    <a:pt x="0" y="0"/>
                  </a:lnTo>
                  <a:lnTo>
                    <a:pt x="14" y="2"/>
                  </a:lnTo>
                  <a:lnTo>
                    <a:pt x="30" y="6"/>
                  </a:lnTo>
                  <a:lnTo>
                    <a:pt x="34" y="14"/>
                  </a:lnTo>
                  <a:lnTo>
                    <a:pt x="41" y="25"/>
                  </a:lnTo>
                  <a:lnTo>
                    <a:pt x="42" y="37"/>
                  </a:lnTo>
                  <a:lnTo>
                    <a:pt x="43" y="41"/>
                  </a:lnTo>
                  <a:lnTo>
                    <a:pt x="22" y="35"/>
                  </a:lnTo>
                  <a:lnTo>
                    <a:pt x="30" y="2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6" name="Freeform 403"/>
            <p:cNvSpPr>
              <a:spLocks/>
            </p:cNvSpPr>
            <p:nvPr/>
          </p:nvSpPr>
          <p:spPr bwMode="auto">
            <a:xfrm>
              <a:off x="1100" y="1230"/>
              <a:ext cx="111" cy="24"/>
            </a:xfrm>
            <a:custGeom>
              <a:avLst/>
              <a:gdLst/>
              <a:ahLst/>
              <a:cxnLst>
                <a:cxn ang="0">
                  <a:pos x="60" y="12"/>
                </a:cxn>
                <a:cxn ang="0">
                  <a:pos x="63" y="9"/>
                </a:cxn>
                <a:cxn ang="0">
                  <a:pos x="49" y="13"/>
                </a:cxn>
                <a:cxn ang="0">
                  <a:pos x="39" y="17"/>
                </a:cxn>
                <a:cxn ang="0">
                  <a:pos x="36" y="15"/>
                </a:cxn>
                <a:cxn ang="0">
                  <a:pos x="29" y="20"/>
                </a:cxn>
                <a:cxn ang="0">
                  <a:pos x="19" y="21"/>
                </a:cxn>
                <a:cxn ang="0">
                  <a:pos x="19" y="18"/>
                </a:cxn>
                <a:cxn ang="0">
                  <a:pos x="11" y="20"/>
                </a:cxn>
                <a:cxn ang="0">
                  <a:pos x="0" y="19"/>
                </a:cxn>
                <a:cxn ang="0">
                  <a:pos x="6" y="15"/>
                </a:cxn>
                <a:cxn ang="0">
                  <a:pos x="43" y="7"/>
                </a:cxn>
                <a:cxn ang="0">
                  <a:pos x="69" y="1"/>
                </a:cxn>
                <a:cxn ang="0">
                  <a:pos x="85" y="0"/>
                </a:cxn>
                <a:cxn ang="0">
                  <a:pos x="101" y="2"/>
                </a:cxn>
                <a:cxn ang="0">
                  <a:pos x="87" y="6"/>
                </a:cxn>
                <a:cxn ang="0">
                  <a:pos x="89" y="7"/>
                </a:cxn>
                <a:cxn ang="0">
                  <a:pos x="85" y="8"/>
                </a:cxn>
                <a:cxn ang="0">
                  <a:pos x="69" y="12"/>
                </a:cxn>
                <a:cxn ang="0">
                  <a:pos x="60" y="17"/>
                </a:cxn>
                <a:cxn ang="0">
                  <a:pos x="60" y="12"/>
                </a:cxn>
              </a:cxnLst>
              <a:rect l="0" t="0" r="r" b="b"/>
              <a:pathLst>
                <a:path w="101" h="21">
                  <a:moveTo>
                    <a:pt x="60" y="12"/>
                  </a:moveTo>
                  <a:lnTo>
                    <a:pt x="63" y="9"/>
                  </a:lnTo>
                  <a:lnTo>
                    <a:pt x="49" y="13"/>
                  </a:lnTo>
                  <a:lnTo>
                    <a:pt x="39" y="17"/>
                  </a:lnTo>
                  <a:lnTo>
                    <a:pt x="36" y="15"/>
                  </a:lnTo>
                  <a:lnTo>
                    <a:pt x="29" y="20"/>
                  </a:lnTo>
                  <a:lnTo>
                    <a:pt x="19" y="21"/>
                  </a:lnTo>
                  <a:lnTo>
                    <a:pt x="19" y="18"/>
                  </a:lnTo>
                  <a:lnTo>
                    <a:pt x="11" y="20"/>
                  </a:lnTo>
                  <a:lnTo>
                    <a:pt x="0" y="19"/>
                  </a:lnTo>
                  <a:lnTo>
                    <a:pt x="6" y="15"/>
                  </a:lnTo>
                  <a:lnTo>
                    <a:pt x="43" y="7"/>
                  </a:lnTo>
                  <a:lnTo>
                    <a:pt x="69" y="1"/>
                  </a:lnTo>
                  <a:lnTo>
                    <a:pt x="85" y="0"/>
                  </a:lnTo>
                  <a:lnTo>
                    <a:pt x="101" y="2"/>
                  </a:lnTo>
                  <a:lnTo>
                    <a:pt x="87" y="6"/>
                  </a:lnTo>
                  <a:lnTo>
                    <a:pt x="89" y="7"/>
                  </a:lnTo>
                  <a:lnTo>
                    <a:pt x="85" y="8"/>
                  </a:lnTo>
                  <a:lnTo>
                    <a:pt x="69" y="12"/>
                  </a:lnTo>
                  <a:lnTo>
                    <a:pt x="60" y="17"/>
                  </a:lnTo>
                  <a:lnTo>
                    <a:pt x="60"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7" name="Freeform 404"/>
            <p:cNvSpPr>
              <a:spLocks/>
            </p:cNvSpPr>
            <p:nvPr/>
          </p:nvSpPr>
          <p:spPr bwMode="auto">
            <a:xfrm>
              <a:off x="1327" y="1243"/>
              <a:ext cx="67" cy="25"/>
            </a:xfrm>
            <a:custGeom>
              <a:avLst/>
              <a:gdLst/>
              <a:ahLst/>
              <a:cxnLst>
                <a:cxn ang="0">
                  <a:pos x="29" y="7"/>
                </a:cxn>
                <a:cxn ang="0">
                  <a:pos x="19" y="4"/>
                </a:cxn>
                <a:cxn ang="0">
                  <a:pos x="23" y="6"/>
                </a:cxn>
                <a:cxn ang="0">
                  <a:pos x="16" y="7"/>
                </a:cxn>
                <a:cxn ang="0">
                  <a:pos x="16" y="9"/>
                </a:cxn>
                <a:cxn ang="0">
                  <a:pos x="15" y="10"/>
                </a:cxn>
                <a:cxn ang="0">
                  <a:pos x="0" y="13"/>
                </a:cxn>
                <a:cxn ang="0">
                  <a:pos x="40" y="13"/>
                </a:cxn>
                <a:cxn ang="0">
                  <a:pos x="16" y="18"/>
                </a:cxn>
                <a:cxn ang="0">
                  <a:pos x="15" y="19"/>
                </a:cxn>
                <a:cxn ang="0">
                  <a:pos x="39" y="21"/>
                </a:cxn>
                <a:cxn ang="0">
                  <a:pos x="41" y="19"/>
                </a:cxn>
                <a:cxn ang="0">
                  <a:pos x="45" y="16"/>
                </a:cxn>
                <a:cxn ang="0">
                  <a:pos x="53" y="16"/>
                </a:cxn>
                <a:cxn ang="0">
                  <a:pos x="55" y="13"/>
                </a:cxn>
                <a:cxn ang="0">
                  <a:pos x="51" y="12"/>
                </a:cxn>
                <a:cxn ang="0">
                  <a:pos x="61" y="4"/>
                </a:cxn>
                <a:cxn ang="0">
                  <a:pos x="59" y="0"/>
                </a:cxn>
                <a:cxn ang="0">
                  <a:pos x="49" y="2"/>
                </a:cxn>
                <a:cxn ang="0">
                  <a:pos x="31" y="2"/>
                </a:cxn>
                <a:cxn ang="0">
                  <a:pos x="39" y="7"/>
                </a:cxn>
                <a:cxn ang="0">
                  <a:pos x="33" y="8"/>
                </a:cxn>
                <a:cxn ang="0">
                  <a:pos x="29" y="7"/>
                </a:cxn>
              </a:cxnLst>
              <a:rect l="0" t="0" r="r" b="b"/>
              <a:pathLst>
                <a:path w="61" h="21">
                  <a:moveTo>
                    <a:pt x="29" y="7"/>
                  </a:moveTo>
                  <a:lnTo>
                    <a:pt x="19" y="4"/>
                  </a:lnTo>
                  <a:lnTo>
                    <a:pt x="23" y="6"/>
                  </a:lnTo>
                  <a:lnTo>
                    <a:pt x="16" y="7"/>
                  </a:lnTo>
                  <a:lnTo>
                    <a:pt x="16" y="9"/>
                  </a:lnTo>
                  <a:lnTo>
                    <a:pt x="15" y="10"/>
                  </a:lnTo>
                  <a:lnTo>
                    <a:pt x="0" y="13"/>
                  </a:lnTo>
                  <a:lnTo>
                    <a:pt x="40" y="13"/>
                  </a:lnTo>
                  <a:lnTo>
                    <a:pt x="16" y="18"/>
                  </a:lnTo>
                  <a:lnTo>
                    <a:pt x="15" y="19"/>
                  </a:lnTo>
                  <a:lnTo>
                    <a:pt x="39" y="21"/>
                  </a:lnTo>
                  <a:lnTo>
                    <a:pt x="41" y="19"/>
                  </a:lnTo>
                  <a:lnTo>
                    <a:pt x="45" y="16"/>
                  </a:lnTo>
                  <a:lnTo>
                    <a:pt x="53" y="16"/>
                  </a:lnTo>
                  <a:lnTo>
                    <a:pt x="55" y="13"/>
                  </a:lnTo>
                  <a:lnTo>
                    <a:pt x="51" y="12"/>
                  </a:lnTo>
                  <a:lnTo>
                    <a:pt x="61" y="4"/>
                  </a:lnTo>
                  <a:lnTo>
                    <a:pt x="59" y="0"/>
                  </a:lnTo>
                  <a:lnTo>
                    <a:pt x="49" y="2"/>
                  </a:lnTo>
                  <a:lnTo>
                    <a:pt x="31" y="2"/>
                  </a:lnTo>
                  <a:lnTo>
                    <a:pt x="39" y="7"/>
                  </a:lnTo>
                  <a:lnTo>
                    <a:pt x="33" y="8"/>
                  </a:lnTo>
                  <a:lnTo>
                    <a:pt x="29"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8" name="Freeform 405"/>
            <p:cNvSpPr>
              <a:spLocks/>
            </p:cNvSpPr>
            <p:nvPr/>
          </p:nvSpPr>
          <p:spPr bwMode="auto">
            <a:xfrm>
              <a:off x="1351" y="1205"/>
              <a:ext cx="63" cy="23"/>
            </a:xfrm>
            <a:custGeom>
              <a:avLst/>
              <a:gdLst/>
              <a:ahLst/>
              <a:cxnLst>
                <a:cxn ang="0">
                  <a:pos x="35" y="4"/>
                </a:cxn>
                <a:cxn ang="0">
                  <a:pos x="36" y="2"/>
                </a:cxn>
                <a:cxn ang="0">
                  <a:pos x="49" y="4"/>
                </a:cxn>
                <a:cxn ang="0">
                  <a:pos x="54" y="5"/>
                </a:cxn>
                <a:cxn ang="0">
                  <a:pos x="52" y="10"/>
                </a:cxn>
                <a:cxn ang="0">
                  <a:pos x="55" y="16"/>
                </a:cxn>
                <a:cxn ang="0">
                  <a:pos x="41" y="19"/>
                </a:cxn>
                <a:cxn ang="0">
                  <a:pos x="26" y="12"/>
                </a:cxn>
                <a:cxn ang="0">
                  <a:pos x="0" y="11"/>
                </a:cxn>
                <a:cxn ang="0">
                  <a:pos x="6" y="8"/>
                </a:cxn>
                <a:cxn ang="0">
                  <a:pos x="19" y="7"/>
                </a:cxn>
                <a:cxn ang="0">
                  <a:pos x="18" y="4"/>
                </a:cxn>
                <a:cxn ang="0">
                  <a:pos x="10" y="4"/>
                </a:cxn>
                <a:cxn ang="0">
                  <a:pos x="6" y="0"/>
                </a:cxn>
                <a:cxn ang="0">
                  <a:pos x="35" y="0"/>
                </a:cxn>
                <a:cxn ang="0">
                  <a:pos x="35" y="4"/>
                </a:cxn>
              </a:cxnLst>
              <a:rect l="0" t="0" r="r" b="b"/>
              <a:pathLst>
                <a:path w="55" h="19">
                  <a:moveTo>
                    <a:pt x="35" y="4"/>
                  </a:moveTo>
                  <a:lnTo>
                    <a:pt x="36" y="2"/>
                  </a:lnTo>
                  <a:lnTo>
                    <a:pt x="49" y="4"/>
                  </a:lnTo>
                  <a:lnTo>
                    <a:pt x="54" y="5"/>
                  </a:lnTo>
                  <a:lnTo>
                    <a:pt x="52" y="10"/>
                  </a:lnTo>
                  <a:lnTo>
                    <a:pt x="55" y="16"/>
                  </a:lnTo>
                  <a:lnTo>
                    <a:pt x="41" y="19"/>
                  </a:lnTo>
                  <a:lnTo>
                    <a:pt x="26" y="12"/>
                  </a:lnTo>
                  <a:lnTo>
                    <a:pt x="0" y="11"/>
                  </a:lnTo>
                  <a:lnTo>
                    <a:pt x="6" y="8"/>
                  </a:lnTo>
                  <a:lnTo>
                    <a:pt x="19" y="7"/>
                  </a:lnTo>
                  <a:lnTo>
                    <a:pt x="18" y="4"/>
                  </a:lnTo>
                  <a:lnTo>
                    <a:pt x="10" y="4"/>
                  </a:lnTo>
                  <a:lnTo>
                    <a:pt x="6" y="0"/>
                  </a:lnTo>
                  <a:lnTo>
                    <a:pt x="35" y="0"/>
                  </a:lnTo>
                  <a:lnTo>
                    <a:pt x="35"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9" name="Freeform 406"/>
            <p:cNvSpPr>
              <a:spLocks/>
            </p:cNvSpPr>
            <p:nvPr/>
          </p:nvSpPr>
          <p:spPr bwMode="auto">
            <a:xfrm>
              <a:off x="1256" y="1350"/>
              <a:ext cx="53" cy="24"/>
            </a:xfrm>
            <a:custGeom>
              <a:avLst/>
              <a:gdLst/>
              <a:ahLst/>
              <a:cxnLst>
                <a:cxn ang="0">
                  <a:pos x="42" y="12"/>
                </a:cxn>
                <a:cxn ang="0">
                  <a:pos x="43" y="9"/>
                </a:cxn>
                <a:cxn ang="0">
                  <a:pos x="30" y="0"/>
                </a:cxn>
                <a:cxn ang="0">
                  <a:pos x="22" y="6"/>
                </a:cxn>
                <a:cxn ang="0">
                  <a:pos x="21" y="4"/>
                </a:cxn>
                <a:cxn ang="0">
                  <a:pos x="18" y="9"/>
                </a:cxn>
                <a:cxn ang="0">
                  <a:pos x="0" y="14"/>
                </a:cxn>
                <a:cxn ang="0">
                  <a:pos x="28" y="22"/>
                </a:cxn>
                <a:cxn ang="0">
                  <a:pos x="49" y="16"/>
                </a:cxn>
                <a:cxn ang="0">
                  <a:pos x="43" y="16"/>
                </a:cxn>
                <a:cxn ang="0">
                  <a:pos x="42" y="12"/>
                </a:cxn>
              </a:cxnLst>
              <a:rect l="0" t="0" r="r" b="b"/>
              <a:pathLst>
                <a:path w="49" h="22">
                  <a:moveTo>
                    <a:pt x="42" y="12"/>
                  </a:moveTo>
                  <a:lnTo>
                    <a:pt x="43" y="9"/>
                  </a:lnTo>
                  <a:lnTo>
                    <a:pt x="30" y="0"/>
                  </a:lnTo>
                  <a:lnTo>
                    <a:pt x="22" y="6"/>
                  </a:lnTo>
                  <a:lnTo>
                    <a:pt x="21" y="4"/>
                  </a:lnTo>
                  <a:lnTo>
                    <a:pt x="18" y="9"/>
                  </a:lnTo>
                  <a:lnTo>
                    <a:pt x="0" y="14"/>
                  </a:lnTo>
                  <a:lnTo>
                    <a:pt x="28" y="22"/>
                  </a:lnTo>
                  <a:lnTo>
                    <a:pt x="49" y="16"/>
                  </a:lnTo>
                  <a:lnTo>
                    <a:pt x="43" y="16"/>
                  </a:lnTo>
                  <a:lnTo>
                    <a:pt x="42"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0" name="Freeform 407"/>
            <p:cNvSpPr>
              <a:spLocks/>
            </p:cNvSpPr>
            <p:nvPr/>
          </p:nvSpPr>
          <p:spPr bwMode="auto">
            <a:xfrm>
              <a:off x="1549" y="1290"/>
              <a:ext cx="53" cy="13"/>
            </a:xfrm>
            <a:custGeom>
              <a:avLst/>
              <a:gdLst/>
              <a:ahLst/>
              <a:cxnLst>
                <a:cxn ang="0">
                  <a:pos x="33" y="0"/>
                </a:cxn>
                <a:cxn ang="0">
                  <a:pos x="2" y="0"/>
                </a:cxn>
                <a:cxn ang="0">
                  <a:pos x="0" y="4"/>
                </a:cxn>
                <a:cxn ang="0">
                  <a:pos x="5" y="8"/>
                </a:cxn>
                <a:cxn ang="0">
                  <a:pos x="9" y="13"/>
                </a:cxn>
                <a:cxn ang="0">
                  <a:pos x="48" y="10"/>
                </a:cxn>
                <a:cxn ang="0">
                  <a:pos x="33" y="0"/>
                </a:cxn>
              </a:cxnLst>
              <a:rect l="0" t="0" r="r" b="b"/>
              <a:pathLst>
                <a:path w="48" h="13">
                  <a:moveTo>
                    <a:pt x="33" y="0"/>
                  </a:moveTo>
                  <a:lnTo>
                    <a:pt x="2" y="0"/>
                  </a:lnTo>
                  <a:lnTo>
                    <a:pt x="0" y="4"/>
                  </a:lnTo>
                  <a:lnTo>
                    <a:pt x="5" y="8"/>
                  </a:lnTo>
                  <a:lnTo>
                    <a:pt x="9" y="13"/>
                  </a:lnTo>
                  <a:lnTo>
                    <a:pt x="48" y="10"/>
                  </a:lnTo>
                  <a:lnTo>
                    <a:pt x="33"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1" name="Freeform 408"/>
            <p:cNvSpPr>
              <a:spLocks/>
            </p:cNvSpPr>
            <p:nvPr/>
          </p:nvSpPr>
          <p:spPr bwMode="auto">
            <a:xfrm>
              <a:off x="1527" y="1376"/>
              <a:ext cx="33" cy="20"/>
            </a:xfrm>
            <a:custGeom>
              <a:avLst/>
              <a:gdLst/>
              <a:ahLst/>
              <a:cxnLst>
                <a:cxn ang="0">
                  <a:pos x="27" y="11"/>
                </a:cxn>
                <a:cxn ang="0">
                  <a:pos x="4" y="17"/>
                </a:cxn>
                <a:cxn ang="0">
                  <a:pos x="0" y="8"/>
                </a:cxn>
                <a:cxn ang="0">
                  <a:pos x="19" y="0"/>
                </a:cxn>
                <a:cxn ang="0">
                  <a:pos x="30" y="3"/>
                </a:cxn>
                <a:cxn ang="0">
                  <a:pos x="27" y="11"/>
                </a:cxn>
              </a:cxnLst>
              <a:rect l="0" t="0" r="r" b="b"/>
              <a:pathLst>
                <a:path w="30" h="17">
                  <a:moveTo>
                    <a:pt x="27" y="11"/>
                  </a:moveTo>
                  <a:lnTo>
                    <a:pt x="4" y="17"/>
                  </a:lnTo>
                  <a:lnTo>
                    <a:pt x="0" y="8"/>
                  </a:lnTo>
                  <a:lnTo>
                    <a:pt x="19" y="0"/>
                  </a:lnTo>
                  <a:lnTo>
                    <a:pt x="30" y="3"/>
                  </a:lnTo>
                  <a:lnTo>
                    <a:pt x="27" y="1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2" name="Freeform 409"/>
            <p:cNvSpPr>
              <a:spLocks/>
            </p:cNvSpPr>
            <p:nvPr/>
          </p:nvSpPr>
          <p:spPr bwMode="auto">
            <a:xfrm>
              <a:off x="1427" y="1212"/>
              <a:ext cx="38" cy="16"/>
            </a:xfrm>
            <a:custGeom>
              <a:avLst/>
              <a:gdLst/>
              <a:ahLst/>
              <a:cxnLst>
                <a:cxn ang="0">
                  <a:pos x="0" y="6"/>
                </a:cxn>
                <a:cxn ang="0">
                  <a:pos x="4" y="0"/>
                </a:cxn>
                <a:cxn ang="0">
                  <a:pos x="34" y="5"/>
                </a:cxn>
                <a:cxn ang="0">
                  <a:pos x="29" y="8"/>
                </a:cxn>
                <a:cxn ang="0">
                  <a:pos x="4" y="13"/>
                </a:cxn>
                <a:cxn ang="0">
                  <a:pos x="0" y="8"/>
                </a:cxn>
                <a:cxn ang="0">
                  <a:pos x="0" y="6"/>
                </a:cxn>
              </a:cxnLst>
              <a:rect l="0" t="0" r="r" b="b"/>
              <a:pathLst>
                <a:path w="34" h="13">
                  <a:moveTo>
                    <a:pt x="0" y="6"/>
                  </a:moveTo>
                  <a:lnTo>
                    <a:pt x="4" y="0"/>
                  </a:lnTo>
                  <a:lnTo>
                    <a:pt x="34" y="5"/>
                  </a:lnTo>
                  <a:lnTo>
                    <a:pt x="29" y="8"/>
                  </a:lnTo>
                  <a:lnTo>
                    <a:pt x="4" y="13"/>
                  </a:lnTo>
                  <a:lnTo>
                    <a:pt x="0" y="8"/>
                  </a:lnTo>
                  <a:lnTo>
                    <a:pt x="0"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3" name="Freeform 410"/>
            <p:cNvSpPr>
              <a:spLocks/>
            </p:cNvSpPr>
            <p:nvPr/>
          </p:nvSpPr>
          <p:spPr bwMode="auto">
            <a:xfrm>
              <a:off x="1385" y="1259"/>
              <a:ext cx="37" cy="11"/>
            </a:xfrm>
            <a:custGeom>
              <a:avLst/>
              <a:gdLst/>
              <a:ahLst/>
              <a:cxnLst>
                <a:cxn ang="0">
                  <a:pos x="10" y="11"/>
                </a:cxn>
                <a:cxn ang="0">
                  <a:pos x="0" y="8"/>
                </a:cxn>
                <a:cxn ang="0">
                  <a:pos x="26" y="0"/>
                </a:cxn>
                <a:cxn ang="0">
                  <a:pos x="35" y="7"/>
                </a:cxn>
                <a:cxn ang="0">
                  <a:pos x="31" y="11"/>
                </a:cxn>
                <a:cxn ang="0">
                  <a:pos x="10" y="11"/>
                </a:cxn>
              </a:cxnLst>
              <a:rect l="0" t="0" r="r" b="b"/>
              <a:pathLst>
                <a:path w="35" h="11">
                  <a:moveTo>
                    <a:pt x="10" y="11"/>
                  </a:moveTo>
                  <a:lnTo>
                    <a:pt x="0" y="8"/>
                  </a:lnTo>
                  <a:lnTo>
                    <a:pt x="26" y="0"/>
                  </a:lnTo>
                  <a:lnTo>
                    <a:pt x="35" y="7"/>
                  </a:lnTo>
                  <a:lnTo>
                    <a:pt x="31" y="11"/>
                  </a:lnTo>
                  <a:lnTo>
                    <a:pt x="10" y="1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4" name="Freeform 411"/>
            <p:cNvSpPr>
              <a:spLocks/>
            </p:cNvSpPr>
            <p:nvPr/>
          </p:nvSpPr>
          <p:spPr bwMode="auto">
            <a:xfrm>
              <a:off x="1236" y="1288"/>
              <a:ext cx="31" cy="13"/>
            </a:xfrm>
            <a:custGeom>
              <a:avLst/>
              <a:gdLst/>
              <a:ahLst/>
              <a:cxnLst>
                <a:cxn ang="0">
                  <a:pos x="8" y="12"/>
                </a:cxn>
                <a:cxn ang="0">
                  <a:pos x="0" y="4"/>
                </a:cxn>
                <a:cxn ang="0">
                  <a:pos x="24" y="0"/>
                </a:cxn>
                <a:cxn ang="0">
                  <a:pos x="28" y="3"/>
                </a:cxn>
                <a:cxn ang="0">
                  <a:pos x="8" y="12"/>
                </a:cxn>
              </a:cxnLst>
              <a:rect l="0" t="0" r="r" b="b"/>
              <a:pathLst>
                <a:path w="28" h="12">
                  <a:moveTo>
                    <a:pt x="8" y="12"/>
                  </a:moveTo>
                  <a:lnTo>
                    <a:pt x="0" y="4"/>
                  </a:lnTo>
                  <a:lnTo>
                    <a:pt x="24" y="0"/>
                  </a:lnTo>
                  <a:lnTo>
                    <a:pt x="28" y="3"/>
                  </a:lnTo>
                  <a:lnTo>
                    <a:pt x="8" y="1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5" name="Freeform 412"/>
            <p:cNvSpPr>
              <a:spLocks/>
            </p:cNvSpPr>
            <p:nvPr/>
          </p:nvSpPr>
          <p:spPr bwMode="auto">
            <a:xfrm>
              <a:off x="1711" y="1152"/>
              <a:ext cx="691" cy="371"/>
            </a:xfrm>
            <a:custGeom>
              <a:avLst/>
              <a:gdLst/>
              <a:ahLst/>
              <a:cxnLst>
                <a:cxn ang="0">
                  <a:pos x="106" y="264"/>
                </a:cxn>
                <a:cxn ang="0">
                  <a:pos x="126" y="259"/>
                </a:cxn>
                <a:cxn ang="0">
                  <a:pos x="110" y="276"/>
                </a:cxn>
                <a:cxn ang="0">
                  <a:pos x="119" y="287"/>
                </a:cxn>
                <a:cxn ang="0">
                  <a:pos x="126" y="304"/>
                </a:cxn>
                <a:cxn ang="0">
                  <a:pos x="131" y="311"/>
                </a:cxn>
                <a:cxn ang="0">
                  <a:pos x="140" y="320"/>
                </a:cxn>
                <a:cxn ang="0">
                  <a:pos x="162" y="324"/>
                </a:cxn>
                <a:cxn ang="0">
                  <a:pos x="170" y="334"/>
                </a:cxn>
                <a:cxn ang="0">
                  <a:pos x="197" y="324"/>
                </a:cxn>
                <a:cxn ang="0">
                  <a:pos x="202" y="314"/>
                </a:cxn>
                <a:cxn ang="0">
                  <a:pos x="214" y="300"/>
                </a:cxn>
                <a:cxn ang="0">
                  <a:pos x="223" y="282"/>
                </a:cxn>
                <a:cxn ang="0">
                  <a:pos x="234" y="272"/>
                </a:cxn>
                <a:cxn ang="0">
                  <a:pos x="257" y="246"/>
                </a:cxn>
                <a:cxn ang="0">
                  <a:pos x="288" y="239"/>
                </a:cxn>
                <a:cxn ang="0">
                  <a:pos x="343" y="217"/>
                </a:cxn>
                <a:cxn ang="0">
                  <a:pos x="394" y="204"/>
                </a:cxn>
                <a:cxn ang="0">
                  <a:pos x="482" y="175"/>
                </a:cxn>
                <a:cxn ang="0">
                  <a:pos x="424" y="162"/>
                </a:cxn>
                <a:cxn ang="0">
                  <a:pos x="424" y="146"/>
                </a:cxn>
                <a:cxn ang="0">
                  <a:pos x="492" y="168"/>
                </a:cxn>
                <a:cxn ang="0">
                  <a:pos x="486" y="148"/>
                </a:cxn>
                <a:cxn ang="0">
                  <a:pos x="440" y="136"/>
                </a:cxn>
                <a:cxn ang="0">
                  <a:pos x="460" y="127"/>
                </a:cxn>
                <a:cxn ang="0">
                  <a:pos x="499" y="128"/>
                </a:cxn>
                <a:cxn ang="0">
                  <a:pos x="532" y="113"/>
                </a:cxn>
                <a:cxn ang="0">
                  <a:pos x="505" y="95"/>
                </a:cxn>
                <a:cxn ang="0">
                  <a:pos x="509" y="85"/>
                </a:cxn>
                <a:cxn ang="0">
                  <a:pos x="544" y="68"/>
                </a:cxn>
                <a:cxn ang="0">
                  <a:pos x="540" y="48"/>
                </a:cxn>
                <a:cxn ang="0">
                  <a:pos x="580" y="31"/>
                </a:cxn>
                <a:cxn ang="0">
                  <a:pos x="545" y="22"/>
                </a:cxn>
                <a:cxn ang="0">
                  <a:pos x="479" y="23"/>
                </a:cxn>
                <a:cxn ang="0">
                  <a:pos x="503" y="7"/>
                </a:cxn>
                <a:cxn ang="0">
                  <a:pos x="383" y="4"/>
                </a:cxn>
                <a:cxn ang="0">
                  <a:pos x="342" y="7"/>
                </a:cxn>
                <a:cxn ang="0">
                  <a:pos x="314" y="16"/>
                </a:cxn>
                <a:cxn ang="0">
                  <a:pos x="221" y="20"/>
                </a:cxn>
                <a:cxn ang="0">
                  <a:pos x="148" y="24"/>
                </a:cxn>
                <a:cxn ang="0">
                  <a:pos x="95" y="41"/>
                </a:cxn>
                <a:cxn ang="0">
                  <a:pos x="19" y="68"/>
                </a:cxn>
                <a:cxn ang="0">
                  <a:pos x="38" y="74"/>
                </a:cxn>
                <a:cxn ang="0">
                  <a:pos x="42" y="89"/>
                </a:cxn>
                <a:cxn ang="0">
                  <a:pos x="132" y="109"/>
                </a:cxn>
                <a:cxn ang="0">
                  <a:pos x="136" y="132"/>
                </a:cxn>
                <a:cxn ang="0">
                  <a:pos x="136" y="152"/>
                </a:cxn>
                <a:cxn ang="0">
                  <a:pos x="160" y="155"/>
                </a:cxn>
                <a:cxn ang="0">
                  <a:pos x="162" y="164"/>
                </a:cxn>
                <a:cxn ang="0">
                  <a:pos x="158" y="184"/>
                </a:cxn>
                <a:cxn ang="0">
                  <a:pos x="152" y="194"/>
                </a:cxn>
                <a:cxn ang="0">
                  <a:pos x="125" y="204"/>
                </a:cxn>
                <a:cxn ang="0">
                  <a:pos x="137" y="210"/>
                </a:cxn>
                <a:cxn ang="0">
                  <a:pos x="126" y="211"/>
                </a:cxn>
                <a:cxn ang="0">
                  <a:pos x="119" y="223"/>
                </a:cxn>
                <a:cxn ang="0">
                  <a:pos x="124" y="228"/>
                </a:cxn>
                <a:cxn ang="0">
                  <a:pos x="104" y="241"/>
                </a:cxn>
              </a:cxnLst>
              <a:rect l="0" t="0" r="r" b="b"/>
              <a:pathLst>
                <a:path w="622" h="334">
                  <a:moveTo>
                    <a:pt x="131" y="242"/>
                  </a:moveTo>
                  <a:lnTo>
                    <a:pt x="115" y="246"/>
                  </a:lnTo>
                  <a:lnTo>
                    <a:pt x="109" y="251"/>
                  </a:lnTo>
                  <a:lnTo>
                    <a:pt x="108" y="254"/>
                  </a:lnTo>
                  <a:lnTo>
                    <a:pt x="119" y="253"/>
                  </a:lnTo>
                  <a:lnTo>
                    <a:pt x="113" y="256"/>
                  </a:lnTo>
                  <a:lnTo>
                    <a:pt x="106" y="264"/>
                  </a:lnTo>
                  <a:lnTo>
                    <a:pt x="115" y="262"/>
                  </a:lnTo>
                  <a:lnTo>
                    <a:pt x="122" y="258"/>
                  </a:lnTo>
                  <a:lnTo>
                    <a:pt x="125" y="250"/>
                  </a:lnTo>
                  <a:lnTo>
                    <a:pt x="127" y="254"/>
                  </a:lnTo>
                  <a:lnTo>
                    <a:pt x="132" y="256"/>
                  </a:lnTo>
                  <a:lnTo>
                    <a:pt x="134" y="263"/>
                  </a:lnTo>
                  <a:lnTo>
                    <a:pt x="126" y="259"/>
                  </a:lnTo>
                  <a:lnTo>
                    <a:pt x="127" y="263"/>
                  </a:lnTo>
                  <a:lnTo>
                    <a:pt x="113" y="266"/>
                  </a:lnTo>
                  <a:lnTo>
                    <a:pt x="125" y="265"/>
                  </a:lnTo>
                  <a:lnTo>
                    <a:pt x="128" y="265"/>
                  </a:lnTo>
                  <a:lnTo>
                    <a:pt x="109" y="269"/>
                  </a:lnTo>
                  <a:lnTo>
                    <a:pt x="115" y="271"/>
                  </a:lnTo>
                  <a:lnTo>
                    <a:pt x="110" y="276"/>
                  </a:lnTo>
                  <a:lnTo>
                    <a:pt x="116" y="275"/>
                  </a:lnTo>
                  <a:lnTo>
                    <a:pt x="113" y="277"/>
                  </a:lnTo>
                  <a:lnTo>
                    <a:pt x="112" y="278"/>
                  </a:lnTo>
                  <a:lnTo>
                    <a:pt x="119" y="280"/>
                  </a:lnTo>
                  <a:lnTo>
                    <a:pt x="112" y="281"/>
                  </a:lnTo>
                  <a:lnTo>
                    <a:pt x="120" y="283"/>
                  </a:lnTo>
                  <a:lnTo>
                    <a:pt x="119" y="287"/>
                  </a:lnTo>
                  <a:lnTo>
                    <a:pt x="124" y="286"/>
                  </a:lnTo>
                  <a:lnTo>
                    <a:pt x="120" y="289"/>
                  </a:lnTo>
                  <a:lnTo>
                    <a:pt x="118" y="292"/>
                  </a:lnTo>
                  <a:lnTo>
                    <a:pt x="124" y="298"/>
                  </a:lnTo>
                  <a:lnTo>
                    <a:pt x="122" y="300"/>
                  </a:lnTo>
                  <a:lnTo>
                    <a:pt x="128" y="300"/>
                  </a:lnTo>
                  <a:lnTo>
                    <a:pt x="126" y="304"/>
                  </a:lnTo>
                  <a:lnTo>
                    <a:pt x="130" y="302"/>
                  </a:lnTo>
                  <a:lnTo>
                    <a:pt x="128" y="306"/>
                  </a:lnTo>
                  <a:lnTo>
                    <a:pt x="131" y="307"/>
                  </a:lnTo>
                  <a:lnTo>
                    <a:pt x="126" y="308"/>
                  </a:lnTo>
                  <a:lnTo>
                    <a:pt x="132" y="308"/>
                  </a:lnTo>
                  <a:lnTo>
                    <a:pt x="130" y="311"/>
                  </a:lnTo>
                  <a:lnTo>
                    <a:pt x="131" y="311"/>
                  </a:lnTo>
                  <a:lnTo>
                    <a:pt x="130" y="314"/>
                  </a:lnTo>
                  <a:lnTo>
                    <a:pt x="136" y="313"/>
                  </a:lnTo>
                  <a:lnTo>
                    <a:pt x="137" y="317"/>
                  </a:lnTo>
                  <a:lnTo>
                    <a:pt x="134" y="318"/>
                  </a:lnTo>
                  <a:lnTo>
                    <a:pt x="136" y="318"/>
                  </a:lnTo>
                  <a:lnTo>
                    <a:pt x="136" y="319"/>
                  </a:lnTo>
                  <a:lnTo>
                    <a:pt x="140" y="320"/>
                  </a:lnTo>
                  <a:lnTo>
                    <a:pt x="149" y="319"/>
                  </a:lnTo>
                  <a:lnTo>
                    <a:pt x="163" y="314"/>
                  </a:lnTo>
                  <a:lnTo>
                    <a:pt x="163" y="317"/>
                  </a:lnTo>
                  <a:lnTo>
                    <a:pt x="169" y="314"/>
                  </a:lnTo>
                  <a:lnTo>
                    <a:pt x="161" y="320"/>
                  </a:lnTo>
                  <a:lnTo>
                    <a:pt x="167" y="319"/>
                  </a:lnTo>
                  <a:lnTo>
                    <a:pt x="162" y="324"/>
                  </a:lnTo>
                  <a:lnTo>
                    <a:pt x="169" y="323"/>
                  </a:lnTo>
                  <a:lnTo>
                    <a:pt x="168" y="325"/>
                  </a:lnTo>
                  <a:lnTo>
                    <a:pt x="173" y="324"/>
                  </a:lnTo>
                  <a:lnTo>
                    <a:pt x="168" y="330"/>
                  </a:lnTo>
                  <a:lnTo>
                    <a:pt x="175" y="326"/>
                  </a:lnTo>
                  <a:lnTo>
                    <a:pt x="168" y="331"/>
                  </a:lnTo>
                  <a:lnTo>
                    <a:pt x="170" y="334"/>
                  </a:lnTo>
                  <a:lnTo>
                    <a:pt x="181" y="329"/>
                  </a:lnTo>
                  <a:lnTo>
                    <a:pt x="191" y="332"/>
                  </a:lnTo>
                  <a:lnTo>
                    <a:pt x="192" y="330"/>
                  </a:lnTo>
                  <a:lnTo>
                    <a:pt x="190" y="328"/>
                  </a:lnTo>
                  <a:lnTo>
                    <a:pt x="181" y="324"/>
                  </a:lnTo>
                  <a:lnTo>
                    <a:pt x="194" y="325"/>
                  </a:lnTo>
                  <a:lnTo>
                    <a:pt x="197" y="324"/>
                  </a:lnTo>
                  <a:lnTo>
                    <a:pt x="194" y="322"/>
                  </a:lnTo>
                  <a:lnTo>
                    <a:pt x="196" y="320"/>
                  </a:lnTo>
                  <a:lnTo>
                    <a:pt x="194" y="319"/>
                  </a:lnTo>
                  <a:lnTo>
                    <a:pt x="202" y="319"/>
                  </a:lnTo>
                  <a:lnTo>
                    <a:pt x="194" y="317"/>
                  </a:lnTo>
                  <a:lnTo>
                    <a:pt x="202" y="317"/>
                  </a:lnTo>
                  <a:lnTo>
                    <a:pt x="202" y="314"/>
                  </a:lnTo>
                  <a:lnTo>
                    <a:pt x="202" y="313"/>
                  </a:lnTo>
                  <a:lnTo>
                    <a:pt x="205" y="312"/>
                  </a:lnTo>
                  <a:lnTo>
                    <a:pt x="203" y="310"/>
                  </a:lnTo>
                  <a:lnTo>
                    <a:pt x="209" y="308"/>
                  </a:lnTo>
                  <a:lnTo>
                    <a:pt x="208" y="306"/>
                  </a:lnTo>
                  <a:lnTo>
                    <a:pt x="212" y="301"/>
                  </a:lnTo>
                  <a:lnTo>
                    <a:pt x="214" y="300"/>
                  </a:lnTo>
                  <a:lnTo>
                    <a:pt x="210" y="295"/>
                  </a:lnTo>
                  <a:lnTo>
                    <a:pt x="212" y="295"/>
                  </a:lnTo>
                  <a:lnTo>
                    <a:pt x="208" y="290"/>
                  </a:lnTo>
                  <a:lnTo>
                    <a:pt x="217" y="287"/>
                  </a:lnTo>
                  <a:lnTo>
                    <a:pt x="226" y="286"/>
                  </a:lnTo>
                  <a:lnTo>
                    <a:pt x="223" y="284"/>
                  </a:lnTo>
                  <a:lnTo>
                    <a:pt x="223" y="282"/>
                  </a:lnTo>
                  <a:lnTo>
                    <a:pt x="228" y="282"/>
                  </a:lnTo>
                  <a:lnTo>
                    <a:pt x="229" y="278"/>
                  </a:lnTo>
                  <a:lnTo>
                    <a:pt x="233" y="280"/>
                  </a:lnTo>
                  <a:lnTo>
                    <a:pt x="230" y="278"/>
                  </a:lnTo>
                  <a:lnTo>
                    <a:pt x="234" y="277"/>
                  </a:lnTo>
                  <a:lnTo>
                    <a:pt x="239" y="275"/>
                  </a:lnTo>
                  <a:lnTo>
                    <a:pt x="234" y="272"/>
                  </a:lnTo>
                  <a:lnTo>
                    <a:pt x="244" y="272"/>
                  </a:lnTo>
                  <a:lnTo>
                    <a:pt x="241" y="266"/>
                  </a:lnTo>
                  <a:lnTo>
                    <a:pt x="234" y="264"/>
                  </a:lnTo>
                  <a:lnTo>
                    <a:pt x="246" y="262"/>
                  </a:lnTo>
                  <a:lnTo>
                    <a:pt x="246" y="252"/>
                  </a:lnTo>
                  <a:lnTo>
                    <a:pt x="258" y="251"/>
                  </a:lnTo>
                  <a:lnTo>
                    <a:pt x="257" y="246"/>
                  </a:lnTo>
                  <a:lnTo>
                    <a:pt x="265" y="245"/>
                  </a:lnTo>
                  <a:lnTo>
                    <a:pt x="270" y="244"/>
                  </a:lnTo>
                  <a:lnTo>
                    <a:pt x="283" y="241"/>
                  </a:lnTo>
                  <a:lnTo>
                    <a:pt x="281" y="240"/>
                  </a:lnTo>
                  <a:lnTo>
                    <a:pt x="289" y="233"/>
                  </a:lnTo>
                  <a:lnTo>
                    <a:pt x="295" y="234"/>
                  </a:lnTo>
                  <a:lnTo>
                    <a:pt x="288" y="239"/>
                  </a:lnTo>
                  <a:lnTo>
                    <a:pt x="295" y="240"/>
                  </a:lnTo>
                  <a:lnTo>
                    <a:pt x="313" y="235"/>
                  </a:lnTo>
                  <a:lnTo>
                    <a:pt x="314" y="232"/>
                  </a:lnTo>
                  <a:lnTo>
                    <a:pt x="319" y="233"/>
                  </a:lnTo>
                  <a:lnTo>
                    <a:pt x="330" y="229"/>
                  </a:lnTo>
                  <a:lnTo>
                    <a:pt x="332" y="227"/>
                  </a:lnTo>
                  <a:lnTo>
                    <a:pt x="343" y="217"/>
                  </a:lnTo>
                  <a:lnTo>
                    <a:pt x="361" y="209"/>
                  </a:lnTo>
                  <a:lnTo>
                    <a:pt x="361" y="204"/>
                  </a:lnTo>
                  <a:lnTo>
                    <a:pt x="364" y="199"/>
                  </a:lnTo>
                  <a:lnTo>
                    <a:pt x="377" y="206"/>
                  </a:lnTo>
                  <a:lnTo>
                    <a:pt x="384" y="204"/>
                  </a:lnTo>
                  <a:lnTo>
                    <a:pt x="390" y="203"/>
                  </a:lnTo>
                  <a:lnTo>
                    <a:pt x="394" y="204"/>
                  </a:lnTo>
                  <a:lnTo>
                    <a:pt x="419" y="198"/>
                  </a:lnTo>
                  <a:lnTo>
                    <a:pt x="444" y="192"/>
                  </a:lnTo>
                  <a:lnTo>
                    <a:pt x="452" y="188"/>
                  </a:lnTo>
                  <a:lnTo>
                    <a:pt x="462" y="184"/>
                  </a:lnTo>
                  <a:lnTo>
                    <a:pt x="467" y="181"/>
                  </a:lnTo>
                  <a:lnTo>
                    <a:pt x="474" y="178"/>
                  </a:lnTo>
                  <a:lnTo>
                    <a:pt x="482" y="175"/>
                  </a:lnTo>
                  <a:lnTo>
                    <a:pt x="448" y="172"/>
                  </a:lnTo>
                  <a:lnTo>
                    <a:pt x="419" y="176"/>
                  </a:lnTo>
                  <a:lnTo>
                    <a:pt x="418" y="174"/>
                  </a:lnTo>
                  <a:lnTo>
                    <a:pt x="438" y="169"/>
                  </a:lnTo>
                  <a:lnTo>
                    <a:pt x="409" y="169"/>
                  </a:lnTo>
                  <a:lnTo>
                    <a:pt x="424" y="163"/>
                  </a:lnTo>
                  <a:lnTo>
                    <a:pt x="424" y="162"/>
                  </a:lnTo>
                  <a:lnTo>
                    <a:pt x="425" y="161"/>
                  </a:lnTo>
                  <a:lnTo>
                    <a:pt x="451" y="160"/>
                  </a:lnTo>
                  <a:lnTo>
                    <a:pt x="450" y="155"/>
                  </a:lnTo>
                  <a:lnTo>
                    <a:pt x="449" y="155"/>
                  </a:lnTo>
                  <a:lnTo>
                    <a:pt x="426" y="154"/>
                  </a:lnTo>
                  <a:lnTo>
                    <a:pt x="433" y="151"/>
                  </a:lnTo>
                  <a:lnTo>
                    <a:pt x="424" y="146"/>
                  </a:lnTo>
                  <a:lnTo>
                    <a:pt x="446" y="154"/>
                  </a:lnTo>
                  <a:lnTo>
                    <a:pt x="466" y="161"/>
                  </a:lnTo>
                  <a:lnTo>
                    <a:pt x="473" y="170"/>
                  </a:lnTo>
                  <a:lnTo>
                    <a:pt x="482" y="168"/>
                  </a:lnTo>
                  <a:lnTo>
                    <a:pt x="485" y="164"/>
                  </a:lnTo>
                  <a:lnTo>
                    <a:pt x="486" y="169"/>
                  </a:lnTo>
                  <a:lnTo>
                    <a:pt x="492" y="168"/>
                  </a:lnTo>
                  <a:lnTo>
                    <a:pt x="492" y="162"/>
                  </a:lnTo>
                  <a:lnTo>
                    <a:pt x="493" y="155"/>
                  </a:lnTo>
                  <a:lnTo>
                    <a:pt x="486" y="156"/>
                  </a:lnTo>
                  <a:lnTo>
                    <a:pt x="490" y="152"/>
                  </a:lnTo>
                  <a:lnTo>
                    <a:pt x="485" y="152"/>
                  </a:lnTo>
                  <a:lnTo>
                    <a:pt x="482" y="151"/>
                  </a:lnTo>
                  <a:lnTo>
                    <a:pt x="486" y="148"/>
                  </a:lnTo>
                  <a:lnTo>
                    <a:pt x="460" y="142"/>
                  </a:lnTo>
                  <a:lnTo>
                    <a:pt x="456" y="144"/>
                  </a:lnTo>
                  <a:lnTo>
                    <a:pt x="456" y="140"/>
                  </a:lnTo>
                  <a:lnTo>
                    <a:pt x="466" y="138"/>
                  </a:lnTo>
                  <a:lnTo>
                    <a:pt x="450" y="137"/>
                  </a:lnTo>
                  <a:lnTo>
                    <a:pt x="443" y="137"/>
                  </a:lnTo>
                  <a:lnTo>
                    <a:pt x="440" y="136"/>
                  </a:lnTo>
                  <a:lnTo>
                    <a:pt x="463" y="132"/>
                  </a:lnTo>
                  <a:lnTo>
                    <a:pt x="439" y="131"/>
                  </a:lnTo>
                  <a:lnTo>
                    <a:pt x="438" y="133"/>
                  </a:lnTo>
                  <a:lnTo>
                    <a:pt x="438" y="131"/>
                  </a:lnTo>
                  <a:lnTo>
                    <a:pt x="445" y="128"/>
                  </a:lnTo>
                  <a:lnTo>
                    <a:pt x="443" y="126"/>
                  </a:lnTo>
                  <a:lnTo>
                    <a:pt x="460" y="127"/>
                  </a:lnTo>
                  <a:lnTo>
                    <a:pt x="466" y="124"/>
                  </a:lnTo>
                  <a:lnTo>
                    <a:pt x="463" y="121"/>
                  </a:lnTo>
                  <a:lnTo>
                    <a:pt x="472" y="124"/>
                  </a:lnTo>
                  <a:lnTo>
                    <a:pt x="482" y="122"/>
                  </a:lnTo>
                  <a:lnTo>
                    <a:pt x="491" y="125"/>
                  </a:lnTo>
                  <a:lnTo>
                    <a:pt x="478" y="124"/>
                  </a:lnTo>
                  <a:lnTo>
                    <a:pt x="499" y="128"/>
                  </a:lnTo>
                  <a:lnTo>
                    <a:pt x="516" y="124"/>
                  </a:lnTo>
                  <a:lnTo>
                    <a:pt x="517" y="120"/>
                  </a:lnTo>
                  <a:lnTo>
                    <a:pt x="502" y="120"/>
                  </a:lnTo>
                  <a:lnTo>
                    <a:pt x="500" y="121"/>
                  </a:lnTo>
                  <a:lnTo>
                    <a:pt x="497" y="115"/>
                  </a:lnTo>
                  <a:lnTo>
                    <a:pt x="503" y="110"/>
                  </a:lnTo>
                  <a:lnTo>
                    <a:pt x="532" y="113"/>
                  </a:lnTo>
                  <a:lnTo>
                    <a:pt x="529" y="108"/>
                  </a:lnTo>
                  <a:lnTo>
                    <a:pt x="517" y="108"/>
                  </a:lnTo>
                  <a:lnTo>
                    <a:pt x="515" y="103"/>
                  </a:lnTo>
                  <a:lnTo>
                    <a:pt x="504" y="103"/>
                  </a:lnTo>
                  <a:lnTo>
                    <a:pt x="516" y="101"/>
                  </a:lnTo>
                  <a:lnTo>
                    <a:pt x="504" y="97"/>
                  </a:lnTo>
                  <a:lnTo>
                    <a:pt x="505" y="95"/>
                  </a:lnTo>
                  <a:lnTo>
                    <a:pt x="530" y="101"/>
                  </a:lnTo>
                  <a:lnTo>
                    <a:pt x="529" y="91"/>
                  </a:lnTo>
                  <a:lnTo>
                    <a:pt x="510" y="91"/>
                  </a:lnTo>
                  <a:lnTo>
                    <a:pt x="532" y="89"/>
                  </a:lnTo>
                  <a:lnTo>
                    <a:pt x="520" y="88"/>
                  </a:lnTo>
                  <a:lnTo>
                    <a:pt x="512" y="85"/>
                  </a:lnTo>
                  <a:lnTo>
                    <a:pt x="509" y="85"/>
                  </a:lnTo>
                  <a:lnTo>
                    <a:pt x="503" y="80"/>
                  </a:lnTo>
                  <a:lnTo>
                    <a:pt x="520" y="79"/>
                  </a:lnTo>
                  <a:lnTo>
                    <a:pt x="550" y="79"/>
                  </a:lnTo>
                  <a:lnTo>
                    <a:pt x="548" y="72"/>
                  </a:lnTo>
                  <a:lnTo>
                    <a:pt x="532" y="72"/>
                  </a:lnTo>
                  <a:lnTo>
                    <a:pt x="524" y="68"/>
                  </a:lnTo>
                  <a:lnTo>
                    <a:pt x="544" y="68"/>
                  </a:lnTo>
                  <a:lnTo>
                    <a:pt x="523" y="65"/>
                  </a:lnTo>
                  <a:lnTo>
                    <a:pt x="518" y="68"/>
                  </a:lnTo>
                  <a:lnTo>
                    <a:pt x="515" y="66"/>
                  </a:lnTo>
                  <a:lnTo>
                    <a:pt x="523" y="55"/>
                  </a:lnTo>
                  <a:lnTo>
                    <a:pt x="539" y="52"/>
                  </a:lnTo>
                  <a:lnTo>
                    <a:pt x="546" y="47"/>
                  </a:lnTo>
                  <a:lnTo>
                    <a:pt x="540" y="48"/>
                  </a:lnTo>
                  <a:lnTo>
                    <a:pt x="548" y="41"/>
                  </a:lnTo>
                  <a:lnTo>
                    <a:pt x="560" y="40"/>
                  </a:lnTo>
                  <a:lnTo>
                    <a:pt x="562" y="36"/>
                  </a:lnTo>
                  <a:lnTo>
                    <a:pt x="539" y="40"/>
                  </a:lnTo>
                  <a:lnTo>
                    <a:pt x="535" y="37"/>
                  </a:lnTo>
                  <a:lnTo>
                    <a:pt x="557" y="35"/>
                  </a:lnTo>
                  <a:lnTo>
                    <a:pt x="580" y="31"/>
                  </a:lnTo>
                  <a:lnTo>
                    <a:pt x="538" y="31"/>
                  </a:lnTo>
                  <a:lnTo>
                    <a:pt x="596" y="28"/>
                  </a:lnTo>
                  <a:lnTo>
                    <a:pt x="594" y="25"/>
                  </a:lnTo>
                  <a:lnTo>
                    <a:pt x="622" y="20"/>
                  </a:lnTo>
                  <a:lnTo>
                    <a:pt x="586" y="17"/>
                  </a:lnTo>
                  <a:lnTo>
                    <a:pt x="566" y="20"/>
                  </a:lnTo>
                  <a:lnTo>
                    <a:pt x="545" y="22"/>
                  </a:lnTo>
                  <a:lnTo>
                    <a:pt x="544" y="20"/>
                  </a:lnTo>
                  <a:lnTo>
                    <a:pt x="504" y="31"/>
                  </a:lnTo>
                  <a:lnTo>
                    <a:pt x="518" y="24"/>
                  </a:lnTo>
                  <a:lnTo>
                    <a:pt x="528" y="17"/>
                  </a:lnTo>
                  <a:lnTo>
                    <a:pt x="512" y="16"/>
                  </a:lnTo>
                  <a:lnTo>
                    <a:pt x="508" y="18"/>
                  </a:lnTo>
                  <a:lnTo>
                    <a:pt x="479" y="23"/>
                  </a:lnTo>
                  <a:lnTo>
                    <a:pt x="493" y="19"/>
                  </a:lnTo>
                  <a:lnTo>
                    <a:pt x="497" y="16"/>
                  </a:lnTo>
                  <a:lnTo>
                    <a:pt x="428" y="19"/>
                  </a:lnTo>
                  <a:lnTo>
                    <a:pt x="449" y="14"/>
                  </a:lnTo>
                  <a:lnTo>
                    <a:pt x="488" y="14"/>
                  </a:lnTo>
                  <a:lnTo>
                    <a:pt x="535" y="11"/>
                  </a:lnTo>
                  <a:lnTo>
                    <a:pt x="503" y="7"/>
                  </a:lnTo>
                  <a:lnTo>
                    <a:pt x="504" y="5"/>
                  </a:lnTo>
                  <a:lnTo>
                    <a:pt x="410" y="6"/>
                  </a:lnTo>
                  <a:lnTo>
                    <a:pt x="422" y="6"/>
                  </a:lnTo>
                  <a:lnTo>
                    <a:pt x="494" y="4"/>
                  </a:lnTo>
                  <a:lnTo>
                    <a:pt x="466" y="0"/>
                  </a:lnTo>
                  <a:lnTo>
                    <a:pt x="377" y="1"/>
                  </a:lnTo>
                  <a:lnTo>
                    <a:pt x="383" y="4"/>
                  </a:lnTo>
                  <a:lnTo>
                    <a:pt x="376" y="5"/>
                  </a:lnTo>
                  <a:lnTo>
                    <a:pt x="373" y="6"/>
                  </a:lnTo>
                  <a:lnTo>
                    <a:pt x="350" y="5"/>
                  </a:lnTo>
                  <a:lnTo>
                    <a:pt x="319" y="4"/>
                  </a:lnTo>
                  <a:lnTo>
                    <a:pt x="324" y="6"/>
                  </a:lnTo>
                  <a:lnTo>
                    <a:pt x="301" y="5"/>
                  </a:lnTo>
                  <a:lnTo>
                    <a:pt x="342" y="7"/>
                  </a:lnTo>
                  <a:lnTo>
                    <a:pt x="361" y="11"/>
                  </a:lnTo>
                  <a:lnTo>
                    <a:pt x="343" y="8"/>
                  </a:lnTo>
                  <a:lnTo>
                    <a:pt x="343" y="10"/>
                  </a:lnTo>
                  <a:lnTo>
                    <a:pt x="314" y="8"/>
                  </a:lnTo>
                  <a:lnTo>
                    <a:pt x="326" y="13"/>
                  </a:lnTo>
                  <a:lnTo>
                    <a:pt x="317" y="13"/>
                  </a:lnTo>
                  <a:lnTo>
                    <a:pt x="314" y="16"/>
                  </a:lnTo>
                  <a:lnTo>
                    <a:pt x="314" y="18"/>
                  </a:lnTo>
                  <a:lnTo>
                    <a:pt x="262" y="11"/>
                  </a:lnTo>
                  <a:lnTo>
                    <a:pt x="258" y="17"/>
                  </a:lnTo>
                  <a:lnTo>
                    <a:pt x="258" y="19"/>
                  </a:lnTo>
                  <a:lnTo>
                    <a:pt x="235" y="16"/>
                  </a:lnTo>
                  <a:lnTo>
                    <a:pt x="224" y="20"/>
                  </a:lnTo>
                  <a:lnTo>
                    <a:pt x="221" y="20"/>
                  </a:lnTo>
                  <a:lnTo>
                    <a:pt x="224" y="13"/>
                  </a:lnTo>
                  <a:lnTo>
                    <a:pt x="173" y="16"/>
                  </a:lnTo>
                  <a:lnTo>
                    <a:pt x="188" y="22"/>
                  </a:lnTo>
                  <a:lnTo>
                    <a:pt x="175" y="19"/>
                  </a:lnTo>
                  <a:lnTo>
                    <a:pt x="151" y="18"/>
                  </a:lnTo>
                  <a:lnTo>
                    <a:pt x="151" y="20"/>
                  </a:lnTo>
                  <a:lnTo>
                    <a:pt x="148" y="24"/>
                  </a:lnTo>
                  <a:lnTo>
                    <a:pt x="128" y="24"/>
                  </a:lnTo>
                  <a:lnTo>
                    <a:pt x="126" y="28"/>
                  </a:lnTo>
                  <a:lnTo>
                    <a:pt x="124" y="25"/>
                  </a:lnTo>
                  <a:lnTo>
                    <a:pt x="74" y="35"/>
                  </a:lnTo>
                  <a:lnTo>
                    <a:pt x="106" y="36"/>
                  </a:lnTo>
                  <a:lnTo>
                    <a:pt x="97" y="37"/>
                  </a:lnTo>
                  <a:lnTo>
                    <a:pt x="95" y="41"/>
                  </a:lnTo>
                  <a:lnTo>
                    <a:pt x="84" y="47"/>
                  </a:lnTo>
                  <a:lnTo>
                    <a:pt x="46" y="52"/>
                  </a:lnTo>
                  <a:lnTo>
                    <a:pt x="5" y="58"/>
                  </a:lnTo>
                  <a:lnTo>
                    <a:pt x="1" y="60"/>
                  </a:lnTo>
                  <a:lnTo>
                    <a:pt x="1" y="64"/>
                  </a:lnTo>
                  <a:lnTo>
                    <a:pt x="23" y="66"/>
                  </a:lnTo>
                  <a:lnTo>
                    <a:pt x="19" y="68"/>
                  </a:lnTo>
                  <a:lnTo>
                    <a:pt x="18" y="70"/>
                  </a:lnTo>
                  <a:lnTo>
                    <a:pt x="34" y="71"/>
                  </a:lnTo>
                  <a:lnTo>
                    <a:pt x="56" y="68"/>
                  </a:lnTo>
                  <a:lnTo>
                    <a:pt x="53" y="73"/>
                  </a:lnTo>
                  <a:lnTo>
                    <a:pt x="26" y="73"/>
                  </a:lnTo>
                  <a:lnTo>
                    <a:pt x="47" y="76"/>
                  </a:lnTo>
                  <a:lnTo>
                    <a:pt x="38" y="74"/>
                  </a:lnTo>
                  <a:lnTo>
                    <a:pt x="0" y="77"/>
                  </a:lnTo>
                  <a:lnTo>
                    <a:pt x="13" y="78"/>
                  </a:lnTo>
                  <a:lnTo>
                    <a:pt x="24" y="82"/>
                  </a:lnTo>
                  <a:lnTo>
                    <a:pt x="12" y="85"/>
                  </a:lnTo>
                  <a:lnTo>
                    <a:pt x="38" y="91"/>
                  </a:lnTo>
                  <a:lnTo>
                    <a:pt x="35" y="89"/>
                  </a:lnTo>
                  <a:lnTo>
                    <a:pt x="42" y="89"/>
                  </a:lnTo>
                  <a:lnTo>
                    <a:pt x="48" y="89"/>
                  </a:lnTo>
                  <a:lnTo>
                    <a:pt x="66" y="86"/>
                  </a:lnTo>
                  <a:lnTo>
                    <a:pt x="74" y="86"/>
                  </a:lnTo>
                  <a:lnTo>
                    <a:pt x="121" y="95"/>
                  </a:lnTo>
                  <a:lnTo>
                    <a:pt x="118" y="100"/>
                  </a:lnTo>
                  <a:lnTo>
                    <a:pt x="128" y="106"/>
                  </a:lnTo>
                  <a:lnTo>
                    <a:pt x="132" y="109"/>
                  </a:lnTo>
                  <a:lnTo>
                    <a:pt x="128" y="113"/>
                  </a:lnTo>
                  <a:lnTo>
                    <a:pt x="124" y="115"/>
                  </a:lnTo>
                  <a:lnTo>
                    <a:pt x="132" y="115"/>
                  </a:lnTo>
                  <a:lnTo>
                    <a:pt x="132" y="121"/>
                  </a:lnTo>
                  <a:lnTo>
                    <a:pt x="133" y="126"/>
                  </a:lnTo>
                  <a:lnTo>
                    <a:pt x="132" y="130"/>
                  </a:lnTo>
                  <a:lnTo>
                    <a:pt x="136" y="132"/>
                  </a:lnTo>
                  <a:lnTo>
                    <a:pt x="133" y="139"/>
                  </a:lnTo>
                  <a:lnTo>
                    <a:pt x="127" y="142"/>
                  </a:lnTo>
                  <a:lnTo>
                    <a:pt x="124" y="146"/>
                  </a:lnTo>
                  <a:lnTo>
                    <a:pt x="131" y="146"/>
                  </a:lnTo>
                  <a:lnTo>
                    <a:pt x="116" y="151"/>
                  </a:lnTo>
                  <a:lnTo>
                    <a:pt x="122" y="156"/>
                  </a:lnTo>
                  <a:lnTo>
                    <a:pt x="136" y="152"/>
                  </a:lnTo>
                  <a:lnTo>
                    <a:pt x="143" y="142"/>
                  </a:lnTo>
                  <a:lnTo>
                    <a:pt x="144" y="150"/>
                  </a:lnTo>
                  <a:lnTo>
                    <a:pt x="151" y="148"/>
                  </a:lnTo>
                  <a:lnTo>
                    <a:pt x="149" y="150"/>
                  </a:lnTo>
                  <a:lnTo>
                    <a:pt x="160" y="152"/>
                  </a:lnTo>
                  <a:lnTo>
                    <a:pt x="149" y="155"/>
                  </a:lnTo>
                  <a:lnTo>
                    <a:pt x="160" y="155"/>
                  </a:lnTo>
                  <a:lnTo>
                    <a:pt x="151" y="158"/>
                  </a:lnTo>
                  <a:lnTo>
                    <a:pt x="157" y="157"/>
                  </a:lnTo>
                  <a:lnTo>
                    <a:pt x="154" y="158"/>
                  </a:lnTo>
                  <a:lnTo>
                    <a:pt x="162" y="162"/>
                  </a:lnTo>
                  <a:lnTo>
                    <a:pt x="155" y="161"/>
                  </a:lnTo>
                  <a:lnTo>
                    <a:pt x="163" y="164"/>
                  </a:lnTo>
                  <a:lnTo>
                    <a:pt x="162" y="164"/>
                  </a:lnTo>
                  <a:lnTo>
                    <a:pt x="162" y="168"/>
                  </a:lnTo>
                  <a:lnTo>
                    <a:pt x="163" y="170"/>
                  </a:lnTo>
                  <a:lnTo>
                    <a:pt x="127" y="164"/>
                  </a:lnTo>
                  <a:lnTo>
                    <a:pt x="125" y="169"/>
                  </a:lnTo>
                  <a:lnTo>
                    <a:pt x="163" y="178"/>
                  </a:lnTo>
                  <a:lnTo>
                    <a:pt x="157" y="181"/>
                  </a:lnTo>
                  <a:lnTo>
                    <a:pt x="158" y="184"/>
                  </a:lnTo>
                  <a:lnTo>
                    <a:pt x="154" y="186"/>
                  </a:lnTo>
                  <a:lnTo>
                    <a:pt x="156" y="188"/>
                  </a:lnTo>
                  <a:lnTo>
                    <a:pt x="160" y="190"/>
                  </a:lnTo>
                  <a:lnTo>
                    <a:pt x="160" y="192"/>
                  </a:lnTo>
                  <a:lnTo>
                    <a:pt x="154" y="190"/>
                  </a:lnTo>
                  <a:lnTo>
                    <a:pt x="148" y="193"/>
                  </a:lnTo>
                  <a:lnTo>
                    <a:pt x="152" y="194"/>
                  </a:lnTo>
                  <a:lnTo>
                    <a:pt x="122" y="202"/>
                  </a:lnTo>
                  <a:lnTo>
                    <a:pt x="125" y="204"/>
                  </a:lnTo>
                  <a:lnTo>
                    <a:pt x="143" y="202"/>
                  </a:lnTo>
                  <a:lnTo>
                    <a:pt x="149" y="199"/>
                  </a:lnTo>
                  <a:lnTo>
                    <a:pt x="144" y="204"/>
                  </a:lnTo>
                  <a:lnTo>
                    <a:pt x="149" y="208"/>
                  </a:lnTo>
                  <a:lnTo>
                    <a:pt x="125" y="204"/>
                  </a:lnTo>
                  <a:lnTo>
                    <a:pt x="120" y="204"/>
                  </a:lnTo>
                  <a:lnTo>
                    <a:pt x="130" y="208"/>
                  </a:lnTo>
                  <a:lnTo>
                    <a:pt x="118" y="206"/>
                  </a:lnTo>
                  <a:lnTo>
                    <a:pt x="109" y="212"/>
                  </a:lnTo>
                  <a:lnTo>
                    <a:pt x="132" y="209"/>
                  </a:lnTo>
                  <a:lnTo>
                    <a:pt x="130" y="209"/>
                  </a:lnTo>
                  <a:lnTo>
                    <a:pt x="137" y="210"/>
                  </a:lnTo>
                  <a:lnTo>
                    <a:pt x="143" y="209"/>
                  </a:lnTo>
                  <a:lnTo>
                    <a:pt x="148" y="209"/>
                  </a:lnTo>
                  <a:lnTo>
                    <a:pt x="142" y="211"/>
                  </a:lnTo>
                  <a:lnTo>
                    <a:pt x="150" y="211"/>
                  </a:lnTo>
                  <a:lnTo>
                    <a:pt x="145" y="212"/>
                  </a:lnTo>
                  <a:lnTo>
                    <a:pt x="148" y="215"/>
                  </a:lnTo>
                  <a:lnTo>
                    <a:pt x="126" y="211"/>
                  </a:lnTo>
                  <a:lnTo>
                    <a:pt x="106" y="217"/>
                  </a:lnTo>
                  <a:lnTo>
                    <a:pt x="133" y="217"/>
                  </a:lnTo>
                  <a:lnTo>
                    <a:pt x="140" y="220"/>
                  </a:lnTo>
                  <a:lnTo>
                    <a:pt x="133" y="218"/>
                  </a:lnTo>
                  <a:lnTo>
                    <a:pt x="104" y="220"/>
                  </a:lnTo>
                  <a:lnTo>
                    <a:pt x="108" y="222"/>
                  </a:lnTo>
                  <a:lnTo>
                    <a:pt x="119" y="223"/>
                  </a:lnTo>
                  <a:lnTo>
                    <a:pt x="113" y="226"/>
                  </a:lnTo>
                  <a:lnTo>
                    <a:pt x="112" y="227"/>
                  </a:lnTo>
                  <a:lnTo>
                    <a:pt x="108" y="227"/>
                  </a:lnTo>
                  <a:lnTo>
                    <a:pt x="115" y="229"/>
                  </a:lnTo>
                  <a:lnTo>
                    <a:pt x="104" y="230"/>
                  </a:lnTo>
                  <a:lnTo>
                    <a:pt x="102" y="234"/>
                  </a:lnTo>
                  <a:lnTo>
                    <a:pt x="124" y="228"/>
                  </a:lnTo>
                  <a:lnTo>
                    <a:pt x="145" y="222"/>
                  </a:lnTo>
                  <a:lnTo>
                    <a:pt x="139" y="224"/>
                  </a:lnTo>
                  <a:lnTo>
                    <a:pt x="102" y="238"/>
                  </a:lnTo>
                  <a:lnTo>
                    <a:pt x="107" y="238"/>
                  </a:lnTo>
                  <a:lnTo>
                    <a:pt x="102" y="239"/>
                  </a:lnTo>
                  <a:lnTo>
                    <a:pt x="121" y="236"/>
                  </a:lnTo>
                  <a:lnTo>
                    <a:pt x="104" y="241"/>
                  </a:lnTo>
                  <a:lnTo>
                    <a:pt x="106" y="244"/>
                  </a:lnTo>
                  <a:lnTo>
                    <a:pt x="108" y="245"/>
                  </a:lnTo>
                  <a:lnTo>
                    <a:pt x="116" y="245"/>
                  </a:lnTo>
                  <a:lnTo>
                    <a:pt x="131" y="24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6" name="Freeform 413"/>
            <p:cNvSpPr>
              <a:spLocks/>
            </p:cNvSpPr>
            <p:nvPr/>
          </p:nvSpPr>
          <p:spPr bwMode="auto">
            <a:xfrm>
              <a:off x="1838" y="1343"/>
              <a:ext cx="35" cy="18"/>
            </a:xfrm>
            <a:custGeom>
              <a:avLst/>
              <a:gdLst/>
              <a:ahLst/>
              <a:cxnLst>
                <a:cxn ang="0">
                  <a:pos x="31" y="10"/>
                </a:cxn>
                <a:cxn ang="0">
                  <a:pos x="7" y="0"/>
                </a:cxn>
                <a:cxn ang="0">
                  <a:pos x="0" y="4"/>
                </a:cxn>
                <a:cxn ang="0">
                  <a:pos x="1" y="4"/>
                </a:cxn>
                <a:cxn ang="0">
                  <a:pos x="0" y="8"/>
                </a:cxn>
                <a:cxn ang="0">
                  <a:pos x="2" y="10"/>
                </a:cxn>
                <a:cxn ang="0">
                  <a:pos x="8" y="13"/>
                </a:cxn>
                <a:cxn ang="0">
                  <a:pos x="5" y="15"/>
                </a:cxn>
                <a:cxn ang="0">
                  <a:pos x="31" y="10"/>
                </a:cxn>
              </a:cxnLst>
              <a:rect l="0" t="0" r="r" b="b"/>
              <a:pathLst>
                <a:path w="31" h="15">
                  <a:moveTo>
                    <a:pt x="31" y="10"/>
                  </a:moveTo>
                  <a:lnTo>
                    <a:pt x="7" y="0"/>
                  </a:lnTo>
                  <a:lnTo>
                    <a:pt x="0" y="4"/>
                  </a:lnTo>
                  <a:lnTo>
                    <a:pt x="1" y="4"/>
                  </a:lnTo>
                  <a:lnTo>
                    <a:pt x="0" y="8"/>
                  </a:lnTo>
                  <a:lnTo>
                    <a:pt x="2" y="10"/>
                  </a:lnTo>
                  <a:lnTo>
                    <a:pt x="8" y="13"/>
                  </a:lnTo>
                  <a:lnTo>
                    <a:pt x="5" y="15"/>
                  </a:lnTo>
                  <a:lnTo>
                    <a:pt x="31"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7" name="Freeform 414"/>
            <p:cNvSpPr>
              <a:spLocks/>
            </p:cNvSpPr>
            <p:nvPr/>
          </p:nvSpPr>
          <p:spPr bwMode="auto">
            <a:xfrm>
              <a:off x="2207" y="1408"/>
              <a:ext cx="142" cy="53"/>
            </a:xfrm>
            <a:custGeom>
              <a:avLst/>
              <a:gdLst/>
              <a:ahLst/>
              <a:cxnLst>
                <a:cxn ang="0">
                  <a:pos x="99" y="0"/>
                </a:cxn>
                <a:cxn ang="0">
                  <a:pos x="96" y="4"/>
                </a:cxn>
                <a:cxn ang="0">
                  <a:pos x="86" y="8"/>
                </a:cxn>
                <a:cxn ang="0">
                  <a:pos x="77" y="5"/>
                </a:cxn>
                <a:cxn ang="0">
                  <a:pos x="76" y="12"/>
                </a:cxn>
                <a:cxn ang="0">
                  <a:pos x="75" y="10"/>
                </a:cxn>
                <a:cxn ang="0">
                  <a:pos x="64" y="6"/>
                </a:cxn>
                <a:cxn ang="0">
                  <a:pos x="60" y="10"/>
                </a:cxn>
                <a:cxn ang="0">
                  <a:pos x="53" y="6"/>
                </a:cxn>
                <a:cxn ang="0">
                  <a:pos x="46" y="15"/>
                </a:cxn>
                <a:cxn ang="0">
                  <a:pos x="39" y="18"/>
                </a:cxn>
                <a:cxn ang="0">
                  <a:pos x="34" y="14"/>
                </a:cxn>
                <a:cxn ang="0">
                  <a:pos x="38" y="10"/>
                </a:cxn>
                <a:cxn ang="0">
                  <a:pos x="21" y="0"/>
                </a:cxn>
                <a:cxn ang="0">
                  <a:pos x="23" y="4"/>
                </a:cxn>
                <a:cxn ang="0">
                  <a:pos x="26" y="10"/>
                </a:cxn>
                <a:cxn ang="0">
                  <a:pos x="16" y="5"/>
                </a:cxn>
                <a:cxn ang="0">
                  <a:pos x="12" y="8"/>
                </a:cxn>
                <a:cxn ang="0">
                  <a:pos x="12" y="10"/>
                </a:cxn>
                <a:cxn ang="0">
                  <a:pos x="15" y="11"/>
                </a:cxn>
                <a:cxn ang="0">
                  <a:pos x="14" y="11"/>
                </a:cxn>
                <a:cxn ang="0">
                  <a:pos x="4" y="11"/>
                </a:cxn>
                <a:cxn ang="0">
                  <a:pos x="8" y="14"/>
                </a:cxn>
                <a:cxn ang="0">
                  <a:pos x="0" y="15"/>
                </a:cxn>
                <a:cxn ang="0">
                  <a:pos x="28" y="16"/>
                </a:cxn>
                <a:cxn ang="0">
                  <a:pos x="23" y="20"/>
                </a:cxn>
                <a:cxn ang="0">
                  <a:pos x="27" y="22"/>
                </a:cxn>
                <a:cxn ang="0">
                  <a:pos x="3" y="24"/>
                </a:cxn>
                <a:cxn ang="0">
                  <a:pos x="22" y="29"/>
                </a:cxn>
                <a:cxn ang="0">
                  <a:pos x="28" y="30"/>
                </a:cxn>
                <a:cxn ang="0">
                  <a:pos x="24" y="33"/>
                </a:cxn>
                <a:cxn ang="0">
                  <a:pos x="28" y="33"/>
                </a:cxn>
                <a:cxn ang="0">
                  <a:pos x="26" y="35"/>
                </a:cxn>
                <a:cxn ang="0">
                  <a:pos x="15" y="40"/>
                </a:cxn>
                <a:cxn ang="0">
                  <a:pos x="24" y="42"/>
                </a:cxn>
                <a:cxn ang="0">
                  <a:pos x="41" y="44"/>
                </a:cxn>
                <a:cxn ang="0">
                  <a:pos x="69" y="48"/>
                </a:cxn>
                <a:cxn ang="0">
                  <a:pos x="88" y="41"/>
                </a:cxn>
                <a:cxn ang="0">
                  <a:pos x="107" y="35"/>
                </a:cxn>
                <a:cxn ang="0">
                  <a:pos x="119" y="28"/>
                </a:cxn>
                <a:cxn ang="0">
                  <a:pos x="125" y="24"/>
                </a:cxn>
                <a:cxn ang="0">
                  <a:pos x="129" y="23"/>
                </a:cxn>
                <a:cxn ang="0">
                  <a:pos x="123" y="21"/>
                </a:cxn>
                <a:cxn ang="0">
                  <a:pos x="129" y="18"/>
                </a:cxn>
                <a:cxn ang="0">
                  <a:pos x="129" y="16"/>
                </a:cxn>
                <a:cxn ang="0">
                  <a:pos x="118" y="16"/>
                </a:cxn>
                <a:cxn ang="0">
                  <a:pos x="120" y="14"/>
                </a:cxn>
                <a:cxn ang="0">
                  <a:pos x="114" y="12"/>
                </a:cxn>
                <a:cxn ang="0">
                  <a:pos x="114" y="8"/>
                </a:cxn>
                <a:cxn ang="0">
                  <a:pos x="119" y="2"/>
                </a:cxn>
                <a:cxn ang="0">
                  <a:pos x="110" y="4"/>
                </a:cxn>
                <a:cxn ang="0">
                  <a:pos x="99" y="0"/>
                </a:cxn>
              </a:cxnLst>
              <a:rect l="0" t="0" r="r" b="b"/>
              <a:pathLst>
                <a:path w="129" h="48">
                  <a:moveTo>
                    <a:pt x="99" y="0"/>
                  </a:moveTo>
                  <a:lnTo>
                    <a:pt x="96" y="4"/>
                  </a:lnTo>
                  <a:lnTo>
                    <a:pt x="86" y="8"/>
                  </a:lnTo>
                  <a:lnTo>
                    <a:pt x="77" y="5"/>
                  </a:lnTo>
                  <a:lnTo>
                    <a:pt x="76" y="12"/>
                  </a:lnTo>
                  <a:lnTo>
                    <a:pt x="75" y="10"/>
                  </a:lnTo>
                  <a:lnTo>
                    <a:pt x="64" y="6"/>
                  </a:lnTo>
                  <a:lnTo>
                    <a:pt x="60" y="10"/>
                  </a:lnTo>
                  <a:lnTo>
                    <a:pt x="53" y="6"/>
                  </a:lnTo>
                  <a:lnTo>
                    <a:pt x="46" y="15"/>
                  </a:lnTo>
                  <a:lnTo>
                    <a:pt x="39" y="18"/>
                  </a:lnTo>
                  <a:lnTo>
                    <a:pt x="34" y="14"/>
                  </a:lnTo>
                  <a:lnTo>
                    <a:pt x="38" y="10"/>
                  </a:lnTo>
                  <a:lnTo>
                    <a:pt x="21" y="0"/>
                  </a:lnTo>
                  <a:lnTo>
                    <a:pt x="23" y="4"/>
                  </a:lnTo>
                  <a:lnTo>
                    <a:pt x="26" y="10"/>
                  </a:lnTo>
                  <a:lnTo>
                    <a:pt x="16" y="5"/>
                  </a:lnTo>
                  <a:lnTo>
                    <a:pt x="12" y="8"/>
                  </a:lnTo>
                  <a:lnTo>
                    <a:pt x="12" y="10"/>
                  </a:lnTo>
                  <a:lnTo>
                    <a:pt x="15" y="11"/>
                  </a:lnTo>
                  <a:lnTo>
                    <a:pt x="14" y="11"/>
                  </a:lnTo>
                  <a:lnTo>
                    <a:pt x="4" y="11"/>
                  </a:lnTo>
                  <a:lnTo>
                    <a:pt x="8" y="14"/>
                  </a:lnTo>
                  <a:lnTo>
                    <a:pt x="0" y="15"/>
                  </a:lnTo>
                  <a:lnTo>
                    <a:pt x="28" y="16"/>
                  </a:lnTo>
                  <a:lnTo>
                    <a:pt x="23" y="20"/>
                  </a:lnTo>
                  <a:lnTo>
                    <a:pt x="27" y="22"/>
                  </a:lnTo>
                  <a:lnTo>
                    <a:pt x="3" y="24"/>
                  </a:lnTo>
                  <a:lnTo>
                    <a:pt x="22" y="29"/>
                  </a:lnTo>
                  <a:lnTo>
                    <a:pt x="28" y="30"/>
                  </a:lnTo>
                  <a:lnTo>
                    <a:pt x="24" y="33"/>
                  </a:lnTo>
                  <a:lnTo>
                    <a:pt x="28" y="33"/>
                  </a:lnTo>
                  <a:lnTo>
                    <a:pt x="26" y="35"/>
                  </a:lnTo>
                  <a:lnTo>
                    <a:pt x="15" y="40"/>
                  </a:lnTo>
                  <a:lnTo>
                    <a:pt x="24" y="42"/>
                  </a:lnTo>
                  <a:lnTo>
                    <a:pt x="41" y="44"/>
                  </a:lnTo>
                  <a:lnTo>
                    <a:pt x="69" y="48"/>
                  </a:lnTo>
                  <a:lnTo>
                    <a:pt x="88" y="41"/>
                  </a:lnTo>
                  <a:lnTo>
                    <a:pt x="107" y="35"/>
                  </a:lnTo>
                  <a:lnTo>
                    <a:pt x="119" y="28"/>
                  </a:lnTo>
                  <a:lnTo>
                    <a:pt x="125" y="24"/>
                  </a:lnTo>
                  <a:lnTo>
                    <a:pt x="129" y="23"/>
                  </a:lnTo>
                  <a:lnTo>
                    <a:pt x="123" y="21"/>
                  </a:lnTo>
                  <a:lnTo>
                    <a:pt x="129" y="18"/>
                  </a:lnTo>
                  <a:lnTo>
                    <a:pt x="129" y="16"/>
                  </a:lnTo>
                  <a:lnTo>
                    <a:pt x="118" y="16"/>
                  </a:lnTo>
                  <a:lnTo>
                    <a:pt x="120" y="14"/>
                  </a:lnTo>
                  <a:lnTo>
                    <a:pt x="114" y="12"/>
                  </a:lnTo>
                  <a:lnTo>
                    <a:pt x="114" y="8"/>
                  </a:lnTo>
                  <a:lnTo>
                    <a:pt x="119" y="2"/>
                  </a:lnTo>
                  <a:lnTo>
                    <a:pt x="110" y="4"/>
                  </a:lnTo>
                  <a:lnTo>
                    <a:pt x="99"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8" name="Freeform 415"/>
            <p:cNvSpPr>
              <a:spLocks/>
            </p:cNvSpPr>
            <p:nvPr/>
          </p:nvSpPr>
          <p:spPr bwMode="auto">
            <a:xfrm>
              <a:off x="2376" y="1610"/>
              <a:ext cx="62" cy="71"/>
            </a:xfrm>
            <a:custGeom>
              <a:avLst/>
              <a:gdLst/>
              <a:ahLst/>
              <a:cxnLst>
                <a:cxn ang="0">
                  <a:pos x="55" y="47"/>
                </a:cxn>
                <a:cxn ang="0">
                  <a:pos x="55" y="33"/>
                </a:cxn>
                <a:cxn ang="0">
                  <a:pos x="55" y="20"/>
                </a:cxn>
                <a:cxn ang="0">
                  <a:pos x="48" y="17"/>
                </a:cxn>
                <a:cxn ang="0">
                  <a:pos x="44" y="18"/>
                </a:cxn>
                <a:cxn ang="0">
                  <a:pos x="33" y="15"/>
                </a:cxn>
                <a:cxn ang="0">
                  <a:pos x="43" y="3"/>
                </a:cxn>
                <a:cxn ang="0">
                  <a:pos x="45" y="0"/>
                </a:cxn>
                <a:cxn ang="0">
                  <a:pos x="39" y="2"/>
                </a:cxn>
                <a:cxn ang="0">
                  <a:pos x="35" y="2"/>
                </a:cxn>
                <a:cxn ang="0">
                  <a:pos x="24" y="8"/>
                </a:cxn>
                <a:cxn ang="0">
                  <a:pos x="29" y="11"/>
                </a:cxn>
                <a:cxn ang="0">
                  <a:pos x="24" y="17"/>
                </a:cxn>
                <a:cxn ang="0">
                  <a:pos x="7" y="18"/>
                </a:cxn>
                <a:cxn ang="0">
                  <a:pos x="8" y="24"/>
                </a:cxn>
                <a:cxn ang="0">
                  <a:pos x="2" y="30"/>
                </a:cxn>
                <a:cxn ang="0">
                  <a:pos x="18" y="35"/>
                </a:cxn>
                <a:cxn ang="0">
                  <a:pos x="7" y="45"/>
                </a:cxn>
                <a:cxn ang="0">
                  <a:pos x="18" y="43"/>
                </a:cxn>
                <a:cxn ang="0">
                  <a:pos x="6" y="49"/>
                </a:cxn>
                <a:cxn ang="0">
                  <a:pos x="0" y="53"/>
                </a:cxn>
                <a:cxn ang="0">
                  <a:pos x="3" y="54"/>
                </a:cxn>
                <a:cxn ang="0">
                  <a:pos x="0" y="57"/>
                </a:cxn>
                <a:cxn ang="0">
                  <a:pos x="6" y="60"/>
                </a:cxn>
                <a:cxn ang="0">
                  <a:pos x="3" y="61"/>
                </a:cxn>
                <a:cxn ang="0">
                  <a:pos x="8" y="61"/>
                </a:cxn>
                <a:cxn ang="0">
                  <a:pos x="8" y="63"/>
                </a:cxn>
                <a:cxn ang="0">
                  <a:pos x="23" y="62"/>
                </a:cxn>
                <a:cxn ang="0">
                  <a:pos x="36" y="55"/>
                </a:cxn>
                <a:cxn ang="0">
                  <a:pos x="50" y="54"/>
                </a:cxn>
                <a:cxn ang="0">
                  <a:pos x="55" y="47"/>
                </a:cxn>
              </a:cxnLst>
              <a:rect l="0" t="0" r="r" b="b"/>
              <a:pathLst>
                <a:path w="55" h="63">
                  <a:moveTo>
                    <a:pt x="55" y="47"/>
                  </a:moveTo>
                  <a:lnTo>
                    <a:pt x="55" y="33"/>
                  </a:lnTo>
                  <a:lnTo>
                    <a:pt x="55" y="20"/>
                  </a:lnTo>
                  <a:lnTo>
                    <a:pt x="48" y="17"/>
                  </a:lnTo>
                  <a:lnTo>
                    <a:pt x="44" y="18"/>
                  </a:lnTo>
                  <a:lnTo>
                    <a:pt x="33" y="15"/>
                  </a:lnTo>
                  <a:lnTo>
                    <a:pt x="43" y="3"/>
                  </a:lnTo>
                  <a:lnTo>
                    <a:pt x="45" y="0"/>
                  </a:lnTo>
                  <a:lnTo>
                    <a:pt x="39" y="2"/>
                  </a:lnTo>
                  <a:lnTo>
                    <a:pt x="35" y="2"/>
                  </a:lnTo>
                  <a:lnTo>
                    <a:pt x="24" y="8"/>
                  </a:lnTo>
                  <a:lnTo>
                    <a:pt x="29" y="11"/>
                  </a:lnTo>
                  <a:lnTo>
                    <a:pt x="24" y="17"/>
                  </a:lnTo>
                  <a:lnTo>
                    <a:pt x="7" y="18"/>
                  </a:lnTo>
                  <a:lnTo>
                    <a:pt x="8" y="24"/>
                  </a:lnTo>
                  <a:lnTo>
                    <a:pt x="2" y="30"/>
                  </a:lnTo>
                  <a:lnTo>
                    <a:pt x="18" y="35"/>
                  </a:lnTo>
                  <a:lnTo>
                    <a:pt x="7" y="45"/>
                  </a:lnTo>
                  <a:lnTo>
                    <a:pt x="18" y="43"/>
                  </a:lnTo>
                  <a:lnTo>
                    <a:pt x="6" y="49"/>
                  </a:lnTo>
                  <a:lnTo>
                    <a:pt x="0" y="53"/>
                  </a:lnTo>
                  <a:lnTo>
                    <a:pt x="3" y="54"/>
                  </a:lnTo>
                  <a:lnTo>
                    <a:pt x="0" y="57"/>
                  </a:lnTo>
                  <a:lnTo>
                    <a:pt x="6" y="60"/>
                  </a:lnTo>
                  <a:lnTo>
                    <a:pt x="3" y="61"/>
                  </a:lnTo>
                  <a:lnTo>
                    <a:pt x="8" y="61"/>
                  </a:lnTo>
                  <a:lnTo>
                    <a:pt x="8" y="63"/>
                  </a:lnTo>
                  <a:lnTo>
                    <a:pt x="23" y="62"/>
                  </a:lnTo>
                  <a:lnTo>
                    <a:pt x="36" y="55"/>
                  </a:lnTo>
                  <a:lnTo>
                    <a:pt x="50" y="54"/>
                  </a:lnTo>
                  <a:lnTo>
                    <a:pt x="55" y="4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9" name="Freeform 416"/>
            <p:cNvSpPr>
              <a:spLocks/>
            </p:cNvSpPr>
            <p:nvPr/>
          </p:nvSpPr>
          <p:spPr bwMode="auto">
            <a:xfrm>
              <a:off x="2445" y="1550"/>
              <a:ext cx="113" cy="160"/>
            </a:xfrm>
            <a:custGeom>
              <a:avLst/>
              <a:gdLst/>
              <a:ahLst/>
              <a:cxnLst>
                <a:cxn ang="0">
                  <a:pos x="8" y="43"/>
                </a:cxn>
                <a:cxn ang="0">
                  <a:pos x="16" y="44"/>
                </a:cxn>
                <a:cxn ang="0">
                  <a:pos x="12" y="57"/>
                </a:cxn>
                <a:cxn ang="0">
                  <a:pos x="20" y="63"/>
                </a:cxn>
                <a:cxn ang="0">
                  <a:pos x="31" y="66"/>
                </a:cxn>
                <a:cxn ang="0">
                  <a:pos x="38" y="87"/>
                </a:cxn>
                <a:cxn ang="0">
                  <a:pos x="16" y="96"/>
                </a:cxn>
                <a:cxn ang="0">
                  <a:pos x="23" y="102"/>
                </a:cxn>
                <a:cxn ang="0">
                  <a:pos x="8" y="115"/>
                </a:cxn>
                <a:cxn ang="0">
                  <a:pos x="29" y="121"/>
                </a:cxn>
                <a:cxn ang="0">
                  <a:pos x="38" y="122"/>
                </a:cxn>
                <a:cxn ang="0">
                  <a:pos x="13" y="134"/>
                </a:cxn>
                <a:cxn ang="0">
                  <a:pos x="5" y="144"/>
                </a:cxn>
                <a:cxn ang="0">
                  <a:pos x="25" y="141"/>
                </a:cxn>
                <a:cxn ang="0">
                  <a:pos x="42" y="134"/>
                </a:cxn>
                <a:cxn ang="0">
                  <a:pos x="82" y="133"/>
                </a:cxn>
                <a:cxn ang="0">
                  <a:pos x="85" y="120"/>
                </a:cxn>
                <a:cxn ang="0">
                  <a:pos x="102" y="103"/>
                </a:cxn>
                <a:cxn ang="0">
                  <a:pos x="82" y="97"/>
                </a:cxn>
                <a:cxn ang="0">
                  <a:pos x="72" y="82"/>
                </a:cxn>
                <a:cxn ang="0">
                  <a:pos x="76" y="76"/>
                </a:cxn>
                <a:cxn ang="0">
                  <a:pos x="50" y="45"/>
                </a:cxn>
                <a:cxn ang="0">
                  <a:pos x="43" y="39"/>
                </a:cxn>
                <a:cxn ang="0">
                  <a:pos x="41" y="36"/>
                </a:cxn>
                <a:cxn ang="0">
                  <a:pos x="29" y="16"/>
                </a:cxn>
                <a:cxn ang="0">
                  <a:pos x="28" y="13"/>
                </a:cxn>
                <a:cxn ang="0">
                  <a:pos x="17" y="0"/>
                </a:cxn>
                <a:cxn ang="0">
                  <a:pos x="11" y="10"/>
                </a:cxn>
                <a:cxn ang="0">
                  <a:pos x="5" y="18"/>
                </a:cxn>
                <a:cxn ang="0">
                  <a:pos x="5" y="22"/>
                </a:cxn>
                <a:cxn ang="0">
                  <a:pos x="2" y="32"/>
                </a:cxn>
                <a:cxn ang="0">
                  <a:pos x="10" y="31"/>
                </a:cxn>
                <a:cxn ang="0">
                  <a:pos x="1" y="55"/>
                </a:cxn>
              </a:cxnLst>
              <a:rect l="0" t="0" r="r" b="b"/>
              <a:pathLst>
                <a:path w="102" h="144">
                  <a:moveTo>
                    <a:pt x="1" y="55"/>
                  </a:moveTo>
                  <a:lnTo>
                    <a:pt x="8" y="43"/>
                  </a:lnTo>
                  <a:lnTo>
                    <a:pt x="13" y="43"/>
                  </a:lnTo>
                  <a:lnTo>
                    <a:pt x="16" y="44"/>
                  </a:lnTo>
                  <a:lnTo>
                    <a:pt x="14" y="49"/>
                  </a:lnTo>
                  <a:lnTo>
                    <a:pt x="12" y="57"/>
                  </a:lnTo>
                  <a:lnTo>
                    <a:pt x="13" y="66"/>
                  </a:lnTo>
                  <a:lnTo>
                    <a:pt x="20" y="63"/>
                  </a:lnTo>
                  <a:lnTo>
                    <a:pt x="35" y="60"/>
                  </a:lnTo>
                  <a:lnTo>
                    <a:pt x="31" y="66"/>
                  </a:lnTo>
                  <a:lnTo>
                    <a:pt x="37" y="73"/>
                  </a:lnTo>
                  <a:lnTo>
                    <a:pt x="38" y="87"/>
                  </a:lnTo>
                  <a:lnTo>
                    <a:pt x="34" y="88"/>
                  </a:lnTo>
                  <a:lnTo>
                    <a:pt x="16" y="96"/>
                  </a:lnTo>
                  <a:lnTo>
                    <a:pt x="19" y="96"/>
                  </a:lnTo>
                  <a:lnTo>
                    <a:pt x="23" y="102"/>
                  </a:lnTo>
                  <a:lnTo>
                    <a:pt x="11" y="111"/>
                  </a:lnTo>
                  <a:lnTo>
                    <a:pt x="8" y="115"/>
                  </a:lnTo>
                  <a:lnTo>
                    <a:pt x="23" y="117"/>
                  </a:lnTo>
                  <a:lnTo>
                    <a:pt x="29" y="121"/>
                  </a:lnTo>
                  <a:lnTo>
                    <a:pt x="44" y="116"/>
                  </a:lnTo>
                  <a:lnTo>
                    <a:pt x="38" y="122"/>
                  </a:lnTo>
                  <a:lnTo>
                    <a:pt x="26" y="124"/>
                  </a:lnTo>
                  <a:lnTo>
                    <a:pt x="13" y="134"/>
                  </a:lnTo>
                  <a:lnTo>
                    <a:pt x="0" y="142"/>
                  </a:lnTo>
                  <a:lnTo>
                    <a:pt x="5" y="144"/>
                  </a:lnTo>
                  <a:lnTo>
                    <a:pt x="8" y="144"/>
                  </a:lnTo>
                  <a:lnTo>
                    <a:pt x="25" y="141"/>
                  </a:lnTo>
                  <a:lnTo>
                    <a:pt x="30" y="136"/>
                  </a:lnTo>
                  <a:lnTo>
                    <a:pt x="42" y="134"/>
                  </a:lnTo>
                  <a:lnTo>
                    <a:pt x="58" y="133"/>
                  </a:lnTo>
                  <a:lnTo>
                    <a:pt x="82" y="133"/>
                  </a:lnTo>
                  <a:lnTo>
                    <a:pt x="97" y="123"/>
                  </a:lnTo>
                  <a:lnTo>
                    <a:pt x="85" y="120"/>
                  </a:lnTo>
                  <a:lnTo>
                    <a:pt x="90" y="116"/>
                  </a:lnTo>
                  <a:lnTo>
                    <a:pt x="102" y="103"/>
                  </a:lnTo>
                  <a:lnTo>
                    <a:pt x="97" y="97"/>
                  </a:lnTo>
                  <a:lnTo>
                    <a:pt x="82" y="97"/>
                  </a:lnTo>
                  <a:lnTo>
                    <a:pt x="83" y="92"/>
                  </a:lnTo>
                  <a:lnTo>
                    <a:pt x="72" y="82"/>
                  </a:lnTo>
                  <a:lnTo>
                    <a:pt x="77" y="84"/>
                  </a:lnTo>
                  <a:lnTo>
                    <a:pt x="76" y="76"/>
                  </a:lnTo>
                  <a:lnTo>
                    <a:pt x="65" y="67"/>
                  </a:lnTo>
                  <a:lnTo>
                    <a:pt x="50" y="45"/>
                  </a:lnTo>
                  <a:lnTo>
                    <a:pt x="32" y="43"/>
                  </a:lnTo>
                  <a:lnTo>
                    <a:pt x="43" y="39"/>
                  </a:lnTo>
                  <a:lnTo>
                    <a:pt x="36" y="37"/>
                  </a:lnTo>
                  <a:lnTo>
                    <a:pt x="41" y="36"/>
                  </a:lnTo>
                  <a:lnTo>
                    <a:pt x="55" y="16"/>
                  </a:lnTo>
                  <a:lnTo>
                    <a:pt x="29" y="16"/>
                  </a:lnTo>
                  <a:lnTo>
                    <a:pt x="23" y="15"/>
                  </a:lnTo>
                  <a:lnTo>
                    <a:pt x="28" y="13"/>
                  </a:lnTo>
                  <a:lnTo>
                    <a:pt x="38" y="1"/>
                  </a:lnTo>
                  <a:lnTo>
                    <a:pt x="17" y="0"/>
                  </a:lnTo>
                  <a:lnTo>
                    <a:pt x="12" y="4"/>
                  </a:lnTo>
                  <a:lnTo>
                    <a:pt x="11" y="10"/>
                  </a:lnTo>
                  <a:lnTo>
                    <a:pt x="6" y="12"/>
                  </a:lnTo>
                  <a:lnTo>
                    <a:pt x="5" y="18"/>
                  </a:lnTo>
                  <a:lnTo>
                    <a:pt x="5" y="20"/>
                  </a:lnTo>
                  <a:lnTo>
                    <a:pt x="5" y="22"/>
                  </a:lnTo>
                  <a:lnTo>
                    <a:pt x="0" y="30"/>
                  </a:lnTo>
                  <a:lnTo>
                    <a:pt x="2" y="32"/>
                  </a:lnTo>
                  <a:lnTo>
                    <a:pt x="0" y="33"/>
                  </a:lnTo>
                  <a:lnTo>
                    <a:pt x="10" y="31"/>
                  </a:lnTo>
                  <a:lnTo>
                    <a:pt x="8" y="32"/>
                  </a:lnTo>
                  <a:lnTo>
                    <a:pt x="1" y="55"/>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0" name="Freeform 417"/>
            <p:cNvSpPr>
              <a:spLocks/>
            </p:cNvSpPr>
            <p:nvPr/>
          </p:nvSpPr>
          <p:spPr bwMode="auto">
            <a:xfrm>
              <a:off x="2413" y="1612"/>
              <a:ext cx="36" cy="22"/>
            </a:xfrm>
            <a:custGeom>
              <a:avLst/>
              <a:gdLst/>
              <a:ahLst/>
              <a:cxnLst>
                <a:cxn ang="0">
                  <a:pos x="32" y="13"/>
                </a:cxn>
                <a:cxn ang="0">
                  <a:pos x="29" y="10"/>
                </a:cxn>
                <a:cxn ang="0">
                  <a:pos x="21" y="0"/>
                </a:cxn>
                <a:cxn ang="0">
                  <a:pos x="10" y="2"/>
                </a:cxn>
                <a:cxn ang="0">
                  <a:pos x="0" y="14"/>
                </a:cxn>
                <a:cxn ang="0">
                  <a:pos x="11" y="17"/>
                </a:cxn>
                <a:cxn ang="0">
                  <a:pos x="15" y="16"/>
                </a:cxn>
                <a:cxn ang="0">
                  <a:pos x="22" y="19"/>
                </a:cxn>
                <a:cxn ang="0">
                  <a:pos x="32" y="13"/>
                </a:cxn>
              </a:cxnLst>
              <a:rect l="0" t="0" r="r" b="b"/>
              <a:pathLst>
                <a:path w="32" h="19">
                  <a:moveTo>
                    <a:pt x="32" y="13"/>
                  </a:moveTo>
                  <a:lnTo>
                    <a:pt x="29" y="10"/>
                  </a:lnTo>
                  <a:lnTo>
                    <a:pt x="21" y="0"/>
                  </a:lnTo>
                  <a:lnTo>
                    <a:pt x="10" y="2"/>
                  </a:lnTo>
                  <a:lnTo>
                    <a:pt x="0" y="14"/>
                  </a:lnTo>
                  <a:lnTo>
                    <a:pt x="11" y="17"/>
                  </a:lnTo>
                  <a:lnTo>
                    <a:pt x="15" y="16"/>
                  </a:lnTo>
                  <a:lnTo>
                    <a:pt x="22" y="19"/>
                  </a:lnTo>
                  <a:lnTo>
                    <a:pt x="32" y="1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1" name="Freeform 418"/>
            <p:cNvSpPr>
              <a:spLocks/>
            </p:cNvSpPr>
            <p:nvPr/>
          </p:nvSpPr>
          <p:spPr bwMode="auto">
            <a:xfrm>
              <a:off x="2436" y="1568"/>
              <a:ext cx="13" cy="8"/>
            </a:xfrm>
            <a:custGeom>
              <a:avLst/>
              <a:gdLst/>
              <a:ahLst/>
              <a:cxnLst>
                <a:cxn ang="0">
                  <a:pos x="7" y="2"/>
                </a:cxn>
                <a:cxn ang="0">
                  <a:pos x="3" y="0"/>
                </a:cxn>
                <a:cxn ang="0">
                  <a:pos x="0" y="4"/>
                </a:cxn>
                <a:cxn ang="0">
                  <a:pos x="10" y="9"/>
                </a:cxn>
                <a:cxn ang="0">
                  <a:pos x="13" y="6"/>
                </a:cxn>
                <a:cxn ang="0">
                  <a:pos x="7" y="2"/>
                </a:cxn>
              </a:cxnLst>
              <a:rect l="0" t="0" r="r" b="b"/>
              <a:pathLst>
                <a:path w="13" h="9">
                  <a:moveTo>
                    <a:pt x="7" y="2"/>
                  </a:moveTo>
                  <a:lnTo>
                    <a:pt x="3" y="0"/>
                  </a:lnTo>
                  <a:lnTo>
                    <a:pt x="0" y="4"/>
                  </a:lnTo>
                  <a:lnTo>
                    <a:pt x="10" y="9"/>
                  </a:lnTo>
                  <a:lnTo>
                    <a:pt x="13" y="6"/>
                  </a:lnTo>
                  <a:lnTo>
                    <a:pt x="7"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2" name="Freeform 419"/>
            <p:cNvSpPr>
              <a:spLocks/>
            </p:cNvSpPr>
            <p:nvPr/>
          </p:nvSpPr>
          <p:spPr bwMode="auto">
            <a:xfrm>
              <a:off x="2431" y="1554"/>
              <a:ext cx="11" cy="9"/>
            </a:xfrm>
            <a:custGeom>
              <a:avLst/>
              <a:gdLst/>
              <a:ahLst/>
              <a:cxnLst>
                <a:cxn ang="0">
                  <a:pos x="11" y="3"/>
                </a:cxn>
                <a:cxn ang="0">
                  <a:pos x="11" y="0"/>
                </a:cxn>
                <a:cxn ang="0">
                  <a:pos x="2" y="4"/>
                </a:cxn>
                <a:cxn ang="0">
                  <a:pos x="0" y="9"/>
                </a:cxn>
                <a:cxn ang="0">
                  <a:pos x="11" y="3"/>
                </a:cxn>
              </a:cxnLst>
              <a:rect l="0" t="0" r="r" b="b"/>
              <a:pathLst>
                <a:path w="11" h="9">
                  <a:moveTo>
                    <a:pt x="11" y="3"/>
                  </a:moveTo>
                  <a:lnTo>
                    <a:pt x="11" y="0"/>
                  </a:lnTo>
                  <a:lnTo>
                    <a:pt x="2" y="4"/>
                  </a:lnTo>
                  <a:lnTo>
                    <a:pt x="0" y="9"/>
                  </a:lnTo>
                  <a:lnTo>
                    <a:pt x="11"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3" name="Freeform 420"/>
            <p:cNvSpPr>
              <a:spLocks/>
            </p:cNvSpPr>
            <p:nvPr/>
          </p:nvSpPr>
          <p:spPr bwMode="auto">
            <a:xfrm>
              <a:off x="2511" y="1514"/>
              <a:ext cx="5" cy="9"/>
            </a:xfrm>
            <a:custGeom>
              <a:avLst/>
              <a:gdLst/>
              <a:ahLst/>
              <a:cxnLst>
                <a:cxn ang="0">
                  <a:pos x="1" y="0"/>
                </a:cxn>
                <a:cxn ang="0">
                  <a:pos x="1" y="3"/>
                </a:cxn>
                <a:cxn ang="0">
                  <a:pos x="0" y="5"/>
                </a:cxn>
                <a:cxn ang="0">
                  <a:pos x="1" y="8"/>
                </a:cxn>
                <a:cxn ang="0">
                  <a:pos x="5" y="0"/>
                </a:cxn>
                <a:cxn ang="0">
                  <a:pos x="1" y="0"/>
                </a:cxn>
              </a:cxnLst>
              <a:rect l="0" t="0" r="r" b="b"/>
              <a:pathLst>
                <a:path w="5" h="8">
                  <a:moveTo>
                    <a:pt x="1" y="0"/>
                  </a:moveTo>
                  <a:lnTo>
                    <a:pt x="1" y="3"/>
                  </a:lnTo>
                  <a:lnTo>
                    <a:pt x="0" y="5"/>
                  </a:lnTo>
                  <a:lnTo>
                    <a:pt x="1" y="8"/>
                  </a:lnTo>
                  <a:lnTo>
                    <a:pt x="5" y="0"/>
                  </a:lnTo>
                  <a:lnTo>
                    <a:pt x="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4" name="Freeform 421"/>
            <p:cNvSpPr>
              <a:spLocks/>
            </p:cNvSpPr>
            <p:nvPr/>
          </p:nvSpPr>
          <p:spPr bwMode="auto">
            <a:xfrm>
              <a:off x="2442" y="1588"/>
              <a:ext cx="7" cy="4"/>
            </a:xfrm>
            <a:custGeom>
              <a:avLst/>
              <a:gdLst/>
              <a:ahLst/>
              <a:cxnLst>
                <a:cxn ang="0">
                  <a:pos x="0" y="4"/>
                </a:cxn>
                <a:cxn ang="0">
                  <a:pos x="7" y="2"/>
                </a:cxn>
                <a:cxn ang="0">
                  <a:pos x="0" y="0"/>
                </a:cxn>
                <a:cxn ang="0">
                  <a:pos x="0" y="4"/>
                </a:cxn>
              </a:cxnLst>
              <a:rect l="0" t="0" r="r" b="b"/>
              <a:pathLst>
                <a:path w="7" h="4">
                  <a:moveTo>
                    <a:pt x="0" y="4"/>
                  </a:moveTo>
                  <a:lnTo>
                    <a:pt x="7" y="2"/>
                  </a:lnTo>
                  <a:lnTo>
                    <a:pt x="0" y="0"/>
                  </a:lnTo>
                  <a:lnTo>
                    <a:pt x="0"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5" name="Freeform 422"/>
            <p:cNvSpPr>
              <a:spLocks/>
            </p:cNvSpPr>
            <p:nvPr/>
          </p:nvSpPr>
          <p:spPr bwMode="auto">
            <a:xfrm>
              <a:off x="2465" y="1648"/>
              <a:ext cx="4" cy="2"/>
            </a:xfrm>
            <a:custGeom>
              <a:avLst/>
              <a:gdLst/>
              <a:ahLst/>
              <a:cxnLst>
                <a:cxn ang="0">
                  <a:pos x="5" y="3"/>
                </a:cxn>
                <a:cxn ang="0">
                  <a:pos x="1" y="0"/>
                </a:cxn>
                <a:cxn ang="0">
                  <a:pos x="0" y="4"/>
                </a:cxn>
                <a:cxn ang="0">
                  <a:pos x="5" y="3"/>
                </a:cxn>
              </a:cxnLst>
              <a:rect l="0" t="0" r="r" b="b"/>
              <a:pathLst>
                <a:path w="5" h="4">
                  <a:moveTo>
                    <a:pt x="5" y="3"/>
                  </a:moveTo>
                  <a:lnTo>
                    <a:pt x="1" y="0"/>
                  </a:lnTo>
                  <a:lnTo>
                    <a:pt x="0" y="4"/>
                  </a:lnTo>
                  <a:lnTo>
                    <a:pt x="5" y="3"/>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6" name="Freeform 423"/>
            <p:cNvSpPr>
              <a:spLocks/>
            </p:cNvSpPr>
            <p:nvPr/>
          </p:nvSpPr>
          <p:spPr bwMode="auto">
            <a:xfrm>
              <a:off x="2556" y="1856"/>
              <a:ext cx="4" cy="3"/>
            </a:xfrm>
            <a:custGeom>
              <a:avLst/>
              <a:gdLst/>
              <a:ahLst/>
              <a:cxnLst>
                <a:cxn ang="0">
                  <a:pos x="4" y="0"/>
                </a:cxn>
                <a:cxn ang="0">
                  <a:pos x="0" y="0"/>
                </a:cxn>
                <a:cxn ang="0">
                  <a:pos x="0" y="1"/>
                </a:cxn>
                <a:cxn ang="0">
                  <a:pos x="3" y="2"/>
                </a:cxn>
                <a:cxn ang="0">
                  <a:pos x="4" y="0"/>
                </a:cxn>
              </a:cxnLst>
              <a:rect l="0" t="0" r="r" b="b"/>
              <a:pathLst>
                <a:path w="4" h="2">
                  <a:moveTo>
                    <a:pt x="4" y="0"/>
                  </a:moveTo>
                  <a:lnTo>
                    <a:pt x="0" y="0"/>
                  </a:lnTo>
                  <a:lnTo>
                    <a:pt x="0" y="1"/>
                  </a:lnTo>
                  <a:lnTo>
                    <a:pt x="3" y="2"/>
                  </a:lnTo>
                  <a:lnTo>
                    <a:pt x="4"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7" name="Freeform 424"/>
            <p:cNvSpPr>
              <a:spLocks/>
            </p:cNvSpPr>
            <p:nvPr/>
          </p:nvSpPr>
          <p:spPr bwMode="auto">
            <a:xfrm>
              <a:off x="1442" y="2059"/>
              <a:ext cx="5" cy="2"/>
            </a:xfrm>
            <a:custGeom>
              <a:avLst/>
              <a:gdLst/>
              <a:ahLst/>
              <a:cxnLst>
                <a:cxn ang="0">
                  <a:pos x="2" y="0"/>
                </a:cxn>
                <a:cxn ang="0">
                  <a:pos x="1" y="1"/>
                </a:cxn>
                <a:cxn ang="0">
                  <a:pos x="1" y="2"/>
                </a:cxn>
                <a:cxn ang="0">
                  <a:pos x="0" y="2"/>
                </a:cxn>
                <a:cxn ang="0">
                  <a:pos x="1" y="2"/>
                </a:cxn>
                <a:cxn ang="0">
                  <a:pos x="2" y="1"/>
                </a:cxn>
                <a:cxn ang="0">
                  <a:pos x="2" y="0"/>
                </a:cxn>
              </a:cxnLst>
              <a:rect l="0" t="0" r="r" b="b"/>
              <a:pathLst>
                <a:path w="2" h="2">
                  <a:moveTo>
                    <a:pt x="2" y="0"/>
                  </a:moveTo>
                  <a:lnTo>
                    <a:pt x="1" y="1"/>
                  </a:lnTo>
                  <a:lnTo>
                    <a:pt x="1" y="2"/>
                  </a:lnTo>
                  <a:lnTo>
                    <a:pt x="0" y="2"/>
                  </a:lnTo>
                  <a:lnTo>
                    <a:pt x="1" y="2"/>
                  </a:lnTo>
                  <a:lnTo>
                    <a:pt x="2" y="1"/>
                  </a:lnTo>
                  <a:lnTo>
                    <a:pt x="2"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8" name="Freeform 425"/>
            <p:cNvSpPr>
              <a:spLocks/>
            </p:cNvSpPr>
            <p:nvPr/>
          </p:nvSpPr>
          <p:spPr bwMode="auto">
            <a:xfrm>
              <a:off x="2376" y="1867"/>
              <a:ext cx="53" cy="100"/>
            </a:xfrm>
            <a:custGeom>
              <a:avLst/>
              <a:gdLst/>
              <a:ahLst/>
              <a:cxnLst>
                <a:cxn ang="0">
                  <a:pos x="21" y="0"/>
                </a:cxn>
                <a:cxn ang="0">
                  <a:pos x="13" y="0"/>
                </a:cxn>
                <a:cxn ang="0">
                  <a:pos x="13" y="22"/>
                </a:cxn>
                <a:cxn ang="0">
                  <a:pos x="8" y="34"/>
                </a:cxn>
                <a:cxn ang="0">
                  <a:pos x="2" y="47"/>
                </a:cxn>
                <a:cxn ang="0">
                  <a:pos x="0" y="59"/>
                </a:cxn>
                <a:cxn ang="0">
                  <a:pos x="7" y="63"/>
                </a:cxn>
                <a:cxn ang="0">
                  <a:pos x="9" y="64"/>
                </a:cxn>
                <a:cxn ang="0">
                  <a:pos x="8" y="89"/>
                </a:cxn>
                <a:cxn ang="0">
                  <a:pos x="30" y="87"/>
                </a:cxn>
                <a:cxn ang="0">
                  <a:pos x="29" y="82"/>
                </a:cxn>
                <a:cxn ang="0">
                  <a:pos x="35" y="71"/>
                </a:cxn>
                <a:cxn ang="0">
                  <a:pos x="33" y="66"/>
                </a:cxn>
                <a:cxn ang="0">
                  <a:pos x="35" y="57"/>
                </a:cxn>
                <a:cxn ang="0">
                  <a:pos x="29" y="42"/>
                </a:cxn>
                <a:cxn ang="0">
                  <a:pos x="35" y="41"/>
                </a:cxn>
                <a:cxn ang="0">
                  <a:pos x="39" y="20"/>
                </a:cxn>
                <a:cxn ang="0">
                  <a:pos x="48" y="11"/>
                </a:cxn>
                <a:cxn ang="0">
                  <a:pos x="45" y="3"/>
                </a:cxn>
                <a:cxn ang="0">
                  <a:pos x="26" y="2"/>
                </a:cxn>
                <a:cxn ang="0">
                  <a:pos x="21" y="0"/>
                </a:cxn>
              </a:cxnLst>
              <a:rect l="0" t="0" r="r" b="b"/>
              <a:pathLst>
                <a:path w="48" h="89">
                  <a:moveTo>
                    <a:pt x="21" y="0"/>
                  </a:moveTo>
                  <a:lnTo>
                    <a:pt x="13" y="0"/>
                  </a:lnTo>
                  <a:lnTo>
                    <a:pt x="13" y="22"/>
                  </a:lnTo>
                  <a:lnTo>
                    <a:pt x="8" y="34"/>
                  </a:lnTo>
                  <a:lnTo>
                    <a:pt x="2" y="47"/>
                  </a:lnTo>
                  <a:lnTo>
                    <a:pt x="0" y="59"/>
                  </a:lnTo>
                  <a:lnTo>
                    <a:pt x="7" y="63"/>
                  </a:lnTo>
                  <a:lnTo>
                    <a:pt x="9" y="64"/>
                  </a:lnTo>
                  <a:lnTo>
                    <a:pt x="8" y="89"/>
                  </a:lnTo>
                  <a:lnTo>
                    <a:pt x="30" y="87"/>
                  </a:lnTo>
                  <a:lnTo>
                    <a:pt x="29" y="82"/>
                  </a:lnTo>
                  <a:lnTo>
                    <a:pt x="35" y="71"/>
                  </a:lnTo>
                  <a:lnTo>
                    <a:pt x="33" y="66"/>
                  </a:lnTo>
                  <a:lnTo>
                    <a:pt x="35" y="57"/>
                  </a:lnTo>
                  <a:lnTo>
                    <a:pt x="29" y="42"/>
                  </a:lnTo>
                  <a:lnTo>
                    <a:pt x="35" y="41"/>
                  </a:lnTo>
                  <a:lnTo>
                    <a:pt x="39" y="20"/>
                  </a:lnTo>
                  <a:lnTo>
                    <a:pt x="48" y="11"/>
                  </a:lnTo>
                  <a:lnTo>
                    <a:pt x="45" y="3"/>
                  </a:lnTo>
                  <a:lnTo>
                    <a:pt x="26" y="2"/>
                  </a:lnTo>
                  <a:lnTo>
                    <a:pt x="21" y="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9" name="Freeform 426"/>
            <p:cNvSpPr>
              <a:spLocks/>
            </p:cNvSpPr>
            <p:nvPr/>
          </p:nvSpPr>
          <p:spPr bwMode="auto">
            <a:xfrm>
              <a:off x="2387" y="1834"/>
              <a:ext cx="195" cy="149"/>
            </a:xfrm>
            <a:custGeom>
              <a:avLst/>
              <a:gdLst/>
              <a:ahLst/>
              <a:cxnLst>
                <a:cxn ang="0">
                  <a:pos x="36" y="34"/>
                </a:cxn>
                <a:cxn ang="0">
                  <a:pos x="17" y="33"/>
                </a:cxn>
                <a:cxn ang="0">
                  <a:pos x="12" y="31"/>
                </a:cxn>
                <a:cxn ang="0">
                  <a:pos x="4" y="31"/>
                </a:cxn>
                <a:cxn ang="0">
                  <a:pos x="3" y="27"/>
                </a:cxn>
                <a:cxn ang="0">
                  <a:pos x="2" y="23"/>
                </a:cxn>
                <a:cxn ang="0">
                  <a:pos x="2" y="21"/>
                </a:cxn>
                <a:cxn ang="0">
                  <a:pos x="0" y="17"/>
                </a:cxn>
                <a:cxn ang="0">
                  <a:pos x="0" y="10"/>
                </a:cxn>
                <a:cxn ang="0">
                  <a:pos x="22" y="0"/>
                </a:cxn>
                <a:cxn ang="0">
                  <a:pos x="40" y="3"/>
                </a:cxn>
                <a:cxn ang="0">
                  <a:pos x="56" y="4"/>
                </a:cxn>
                <a:cxn ang="0">
                  <a:pos x="72" y="5"/>
                </a:cxn>
                <a:cxn ang="0">
                  <a:pos x="88" y="5"/>
                </a:cxn>
                <a:cxn ang="0">
                  <a:pos x="105" y="6"/>
                </a:cxn>
                <a:cxn ang="0">
                  <a:pos x="112" y="12"/>
                </a:cxn>
                <a:cxn ang="0">
                  <a:pos x="152" y="21"/>
                </a:cxn>
                <a:cxn ang="0">
                  <a:pos x="152" y="22"/>
                </a:cxn>
                <a:cxn ang="0">
                  <a:pos x="155" y="23"/>
                </a:cxn>
                <a:cxn ang="0">
                  <a:pos x="177" y="23"/>
                </a:cxn>
                <a:cxn ang="0">
                  <a:pos x="173" y="36"/>
                </a:cxn>
                <a:cxn ang="0">
                  <a:pos x="158" y="45"/>
                </a:cxn>
                <a:cxn ang="0">
                  <a:pos x="142" y="53"/>
                </a:cxn>
                <a:cxn ang="0">
                  <a:pos x="134" y="65"/>
                </a:cxn>
                <a:cxn ang="0">
                  <a:pos x="125" y="78"/>
                </a:cxn>
                <a:cxn ang="0">
                  <a:pos x="131" y="91"/>
                </a:cxn>
                <a:cxn ang="0">
                  <a:pos x="119" y="106"/>
                </a:cxn>
                <a:cxn ang="0">
                  <a:pos x="116" y="111"/>
                </a:cxn>
                <a:cxn ang="0">
                  <a:pos x="104" y="117"/>
                </a:cxn>
                <a:cxn ang="0">
                  <a:pos x="96" y="124"/>
                </a:cxn>
                <a:cxn ang="0">
                  <a:pos x="80" y="126"/>
                </a:cxn>
                <a:cxn ang="0">
                  <a:pos x="62" y="129"/>
                </a:cxn>
                <a:cxn ang="0">
                  <a:pos x="51" y="136"/>
                </a:cxn>
                <a:cxn ang="0">
                  <a:pos x="50" y="136"/>
                </a:cxn>
                <a:cxn ang="0">
                  <a:pos x="40" y="135"/>
                </a:cxn>
                <a:cxn ang="0">
                  <a:pos x="36" y="123"/>
                </a:cxn>
                <a:cxn ang="0">
                  <a:pos x="26" y="117"/>
                </a:cxn>
                <a:cxn ang="0">
                  <a:pos x="21" y="118"/>
                </a:cxn>
                <a:cxn ang="0">
                  <a:pos x="20" y="113"/>
                </a:cxn>
                <a:cxn ang="0">
                  <a:pos x="26" y="102"/>
                </a:cxn>
                <a:cxn ang="0">
                  <a:pos x="24" y="97"/>
                </a:cxn>
                <a:cxn ang="0">
                  <a:pos x="26" y="88"/>
                </a:cxn>
                <a:cxn ang="0">
                  <a:pos x="20" y="73"/>
                </a:cxn>
                <a:cxn ang="0">
                  <a:pos x="26" y="72"/>
                </a:cxn>
                <a:cxn ang="0">
                  <a:pos x="30" y="51"/>
                </a:cxn>
                <a:cxn ang="0">
                  <a:pos x="39" y="42"/>
                </a:cxn>
                <a:cxn ang="0">
                  <a:pos x="36" y="34"/>
                </a:cxn>
              </a:cxnLst>
              <a:rect l="0" t="0" r="r" b="b"/>
              <a:pathLst>
                <a:path w="177" h="136">
                  <a:moveTo>
                    <a:pt x="36" y="34"/>
                  </a:moveTo>
                  <a:lnTo>
                    <a:pt x="17" y="33"/>
                  </a:lnTo>
                  <a:lnTo>
                    <a:pt x="12" y="31"/>
                  </a:lnTo>
                  <a:lnTo>
                    <a:pt x="4" y="31"/>
                  </a:lnTo>
                  <a:lnTo>
                    <a:pt x="3" y="27"/>
                  </a:lnTo>
                  <a:lnTo>
                    <a:pt x="2" y="23"/>
                  </a:lnTo>
                  <a:lnTo>
                    <a:pt x="2" y="21"/>
                  </a:lnTo>
                  <a:lnTo>
                    <a:pt x="0" y="17"/>
                  </a:lnTo>
                  <a:lnTo>
                    <a:pt x="0" y="10"/>
                  </a:lnTo>
                  <a:lnTo>
                    <a:pt x="22" y="0"/>
                  </a:lnTo>
                  <a:lnTo>
                    <a:pt x="40" y="3"/>
                  </a:lnTo>
                  <a:lnTo>
                    <a:pt x="56" y="4"/>
                  </a:lnTo>
                  <a:lnTo>
                    <a:pt x="72" y="5"/>
                  </a:lnTo>
                  <a:lnTo>
                    <a:pt x="88" y="5"/>
                  </a:lnTo>
                  <a:lnTo>
                    <a:pt x="105" y="6"/>
                  </a:lnTo>
                  <a:lnTo>
                    <a:pt x="112" y="12"/>
                  </a:lnTo>
                  <a:lnTo>
                    <a:pt x="152" y="21"/>
                  </a:lnTo>
                  <a:lnTo>
                    <a:pt x="152" y="22"/>
                  </a:lnTo>
                  <a:lnTo>
                    <a:pt x="155" y="23"/>
                  </a:lnTo>
                  <a:lnTo>
                    <a:pt x="177" y="23"/>
                  </a:lnTo>
                  <a:lnTo>
                    <a:pt x="173" y="36"/>
                  </a:lnTo>
                  <a:lnTo>
                    <a:pt x="158" y="45"/>
                  </a:lnTo>
                  <a:lnTo>
                    <a:pt x="142" y="53"/>
                  </a:lnTo>
                  <a:lnTo>
                    <a:pt x="134" y="65"/>
                  </a:lnTo>
                  <a:lnTo>
                    <a:pt x="125" y="78"/>
                  </a:lnTo>
                  <a:lnTo>
                    <a:pt x="131" y="91"/>
                  </a:lnTo>
                  <a:lnTo>
                    <a:pt x="119" y="106"/>
                  </a:lnTo>
                  <a:lnTo>
                    <a:pt x="116" y="111"/>
                  </a:lnTo>
                  <a:lnTo>
                    <a:pt x="104" y="117"/>
                  </a:lnTo>
                  <a:lnTo>
                    <a:pt x="96" y="124"/>
                  </a:lnTo>
                  <a:lnTo>
                    <a:pt x="80" y="126"/>
                  </a:lnTo>
                  <a:lnTo>
                    <a:pt x="62" y="129"/>
                  </a:lnTo>
                  <a:lnTo>
                    <a:pt x="51" y="136"/>
                  </a:lnTo>
                  <a:lnTo>
                    <a:pt x="50" y="136"/>
                  </a:lnTo>
                  <a:lnTo>
                    <a:pt x="40" y="135"/>
                  </a:lnTo>
                  <a:lnTo>
                    <a:pt x="36" y="123"/>
                  </a:lnTo>
                  <a:lnTo>
                    <a:pt x="26" y="117"/>
                  </a:lnTo>
                  <a:lnTo>
                    <a:pt x="21" y="118"/>
                  </a:lnTo>
                  <a:lnTo>
                    <a:pt x="20" y="113"/>
                  </a:lnTo>
                  <a:lnTo>
                    <a:pt x="26" y="102"/>
                  </a:lnTo>
                  <a:lnTo>
                    <a:pt x="24" y="97"/>
                  </a:lnTo>
                  <a:lnTo>
                    <a:pt x="26" y="88"/>
                  </a:lnTo>
                  <a:lnTo>
                    <a:pt x="20" y="73"/>
                  </a:lnTo>
                  <a:lnTo>
                    <a:pt x="26" y="72"/>
                  </a:lnTo>
                  <a:lnTo>
                    <a:pt x="30" y="51"/>
                  </a:lnTo>
                  <a:lnTo>
                    <a:pt x="39" y="42"/>
                  </a:lnTo>
                  <a:lnTo>
                    <a:pt x="36" y="3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0" name="Freeform 427"/>
            <p:cNvSpPr>
              <a:spLocks/>
            </p:cNvSpPr>
            <p:nvPr/>
          </p:nvSpPr>
          <p:spPr bwMode="auto">
            <a:xfrm>
              <a:off x="2571" y="1910"/>
              <a:ext cx="18" cy="11"/>
            </a:xfrm>
            <a:custGeom>
              <a:avLst/>
              <a:gdLst/>
              <a:ahLst/>
              <a:cxnLst>
                <a:cxn ang="0">
                  <a:pos x="16" y="2"/>
                </a:cxn>
                <a:cxn ang="0">
                  <a:pos x="7" y="8"/>
                </a:cxn>
                <a:cxn ang="0">
                  <a:pos x="0" y="2"/>
                </a:cxn>
                <a:cxn ang="0">
                  <a:pos x="10" y="0"/>
                </a:cxn>
                <a:cxn ang="0">
                  <a:pos x="16" y="2"/>
                </a:cxn>
              </a:cxnLst>
              <a:rect l="0" t="0" r="r" b="b"/>
              <a:pathLst>
                <a:path w="16" h="8">
                  <a:moveTo>
                    <a:pt x="16" y="2"/>
                  </a:moveTo>
                  <a:lnTo>
                    <a:pt x="7" y="8"/>
                  </a:lnTo>
                  <a:lnTo>
                    <a:pt x="0" y="2"/>
                  </a:lnTo>
                  <a:lnTo>
                    <a:pt x="10" y="0"/>
                  </a:lnTo>
                  <a:lnTo>
                    <a:pt x="16" y="2"/>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1" name="Freeform 428"/>
            <p:cNvSpPr>
              <a:spLocks/>
            </p:cNvSpPr>
            <p:nvPr/>
          </p:nvSpPr>
          <p:spPr bwMode="auto">
            <a:xfrm>
              <a:off x="514" y="1723"/>
              <a:ext cx="960" cy="480"/>
            </a:xfrm>
            <a:custGeom>
              <a:avLst/>
              <a:gdLst/>
              <a:ahLst/>
              <a:cxnLst>
                <a:cxn ang="0">
                  <a:pos x="855" y="36"/>
                </a:cxn>
                <a:cxn ang="0">
                  <a:pos x="809" y="69"/>
                </a:cxn>
                <a:cxn ang="0">
                  <a:pos x="716" y="101"/>
                </a:cxn>
                <a:cxn ang="0">
                  <a:pos x="648" y="125"/>
                </a:cxn>
                <a:cxn ang="0">
                  <a:pos x="639" y="102"/>
                </a:cxn>
                <a:cxn ang="0">
                  <a:pos x="630" y="57"/>
                </a:cxn>
                <a:cxn ang="0">
                  <a:pos x="581" y="19"/>
                </a:cxn>
                <a:cxn ang="0">
                  <a:pos x="502" y="9"/>
                </a:cxn>
                <a:cxn ang="0">
                  <a:pos x="425" y="6"/>
                </a:cxn>
                <a:cxn ang="0">
                  <a:pos x="306" y="6"/>
                </a:cxn>
                <a:cxn ang="0">
                  <a:pos x="186" y="6"/>
                </a:cxn>
                <a:cxn ang="0">
                  <a:pos x="102" y="35"/>
                </a:cxn>
                <a:cxn ang="0">
                  <a:pos x="93" y="35"/>
                </a:cxn>
                <a:cxn ang="0">
                  <a:pos x="76" y="41"/>
                </a:cxn>
                <a:cxn ang="0">
                  <a:pos x="66" y="54"/>
                </a:cxn>
                <a:cxn ang="0">
                  <a:pos x="27" y="111"/>
                </a:cxn>
                <a:cxn ang="0">
                  <a:pos x="0" y="176"/>
                </a:cxn>
                <a:cxn ang="0">
                  <a:pos x="10" y="200"/>
                </a:cxn>
                <a:cxn ang="0">
                  <a:pos x="10" y="219"/>
                </a:cxn>
                <a:cxn ang="0">
                  <a:pos x="17" y="264"/>
                </a:cxn>
                <a:cxn ang="0">
                  <a:pos x="86" y="296"/>
                </a:cxn>
                <a:cxn ang="0">
                  <a:pos x="154" y="320"/>
                </a:cxn>
                <a:cxn ang="0">
                  <a:pos x="222" y="348"/>
                </a:cxn>
                <a:cxn ang="0">
                  <a:pos x="280" y="367"/>
                </a:cxn>
                <a:cxn ang="0">
                  <a:pos x="320" y="396"/>
                </a:cxn>
                <a:cxn ang="0">
                  <a:pos x="328" y="380"/>
                </a:cxn>
                <a:cxn ang="0">
                  <a:pos x="345" y="372"/>
                </a:cxn>
                <a:cxn ang="0">
                  <a:pos x="374" y="353"/>
                </a:cxn>
                <a:cxn ang="0">
                  <a:pos x="412" y="350"/>
                </a:cxn>
                <a:cxn ang="0">
                  <a:pos x="441" y="351"/>
                </a:cxn>
                <a:cxn ang="0">
                  <a:pos x="454" y="345"/>
                </a:cxn>
                <a:cxn ang="0">
                  <a:pos x="476" y="338"/>
                </a:cxn>
                <a:cxn ang="0">
                  <a:pos x="490" y="338"/>
                </a:cxn>
                <a:cxn ang="0">
                  <a:pos x="515" y="344"/>
                </a:cxn>
                <a:cxn ang="0">
                  <a:pos x="552" y="366"/>
                </a:cxn>
                <a:cxn ang="0">
                  <a:pos x="550" y="392"/>
                </a:cxn>
                <a:cxn ang="0">
                  <a:pos x="557" y="408"/>
                </a:cxn>
                <a:cxn ang="0">
                  <a:pos x="586" y="399"/>
                </a:cxn>
                <a:cxn ang="0">
                  <a:pos x="581" y="354"/>
                </a:cxn>
                <a:cxn ang="0">
                  <a:pos x="591" y="311"/>
                </a:cxn>
                <a:cxn ang="0">
                  <a:pos x="624" y="285"/>
                </a:cxn>
                <a:cxn ang="0">
                  <a:pos x="664" y="252"/>
                </a:cxn>
                <a:cxn ang="0">
                  <a:pos x="687" y="237"/>
                </a:cxn>
                <a:cxn ang="0">
                  <a:pos x="681" y="235"/>
                </a:cxn>
                <a:cxn ang="0">
                  <a:pos x="686" y="219"/>
                </a:cxn>
                <a:cxn ang="0">
                  <a:pos x="687" y="213"/>
                </a:cxn>
                <a:cxn ang="0">
                  <a:pos x="684" y="186"/>
                </a:cxn>
                <a:cxn ang="0">
                  <a:pos x="694" y="179"/>
                </a:cxn>
                <a:cxn ang="0">
                  <a:pos x="699" y="197"/>
                </a:cxn>
                <a:cxn ang="0">
                  <a:pos x="710" y="193"/>
                </a:cxn>
                <a:cxn ang="0">
                  <a:pos x="714" y="183"/>
                </a:cxn>
                <a:cxn ang="0">
                  <a:pos x="741" y="150"/>
                </a:cxn>
                <a:cxn ang="0">
                  <a:pos x="784" y="135"/>
                </a:cxn>
                <a:cxn ang="0">
                  <a:pos x="803" y="133"/>
                </a:cxn>
                <a:cxn ang="0">
                  <a:pos x="819" y="96"/>
                </a:cxn>
                <a:cxn ang="0">
                  <a:pos x="845" y="87"/>
                </a:cxn>
              </a:cxnLst>
              <a:rect l="0" t="0" r="r" b="b"/>
              <a:pathLst>
                <a:path w="864" h="431">
                  <a:moveTo>
                    <a:pt x="863" y="79"/>
                  </a:moveTo>
                  <a:lnTo>
                    <a:pt x="862" y="73"/>
                  </a:lnTo>
                  <a:lnTo>
                    <a:pt x="858" y="61"/>
                  </a:lnTo>
                  <a:lnTo>
                    <a:pt x="864" y="39"/>
                  </a:lnTo>
                  <a:lnTo>
                    <a:pt x="855" y="36"/>
                  </a:lnTo>
                  <a:lnTo>
                    <a:pt x="849" y="36"/>
                  </a:lnTo>
                  <a:lnTo>
                    <a:pt x="848" y="33"/>
                  </a:lnTo>
                  <a:lnTo>
                    <a:pt x="834" y="45"/>
                  </a:lnTo>
                  <a:lnTo>
                    <a:pt x="822" y="59"/>
                  </a:lnTo>
                  <a:lnTo>
                    <a:pt x="809" y="69"/>
                  </a:lnTo>
                  <a:lnTo>
                    <a:pt x="800" y="75"/>
                  </a:lnTo>
                  <a:lnTo>
                    <a:pt x="772" y="78"/>
                  </a:lnTo>
                  <a:lnTo>
                    <a:pt x="744" y="79"/>
                  </a:lnTo>
                  <a:lnTo>
                    <a:pt x="730" y="90"/>
                  </a:lnTo>
                  <a:lnTo>
                    <a:pt x="716" y="101"/>
                  </a:lnTo>
                  <a:lnTo>
                    <a:pt x="698" y="102"/>
                  </a:lnTo>
                  <a:lnTo>
                    <a:pt x="681" y="103"/>
                  </a:lnTo>
                  <a:lnTo>
                    <a:pt x="680" y="115"/>
                  </a:lnTo>
                  <a:lnTo>
                    <a:pt x="664" y="120"/>
                  </a:lnTo>
                  <a:lnTo>
                    <a:pt x="648" y="125"/>
                  </a:lnTo>
                  <a:lnTo>
                    <a:pt x="634" y="129"/>
                  </a:lnTo>
                  <a:lnTo>
                    <a:pt x="618" y="135"/>
                  </a:lnTo>
                  <a:lnTo>
                    <a:pt x="614" y="128"/>
                  </a:lnTo>
                  <a:lnTo>
                    <a:pt x="632" y="111"/>
                  </a:lnTo>
                  <a:lnTo>
                    <a:pt x="639" y="102"/>
                  </a:lnTo>
                  <a:lnTo>
                    <a:pt x="641" y="85"/>
                  </a:lnTo>
                  <a:lnTo>
                    <a:pt x="645" y="69"/>
                  </a:lnTo>
                  <a:lnTo>
                    <a:pt x="634" y="61"/>
                  </a:lnTo>
                  <a:lnTo>
                    <a:pt x="635" y="56"/>
                  </a:lnTo>
                  <a:lnTo>
                    <a:pt x="630" y="57"/>
                  </a:lnTo>
                  <a:lnTo>
                    <a:pt x="629" y="50"/>
                  </a:lnTo>
                  <a:lnTo>
                    <a:pt x="617" y="42"/>
                  </a:lnTo>
                  <a:lnTo>
                    <a:pt x="605" y="35"/>
                  </a:lnTo>
                  <a:lnTo>
                    <a:pt x="593" y="27"/>
                  </a:lnTo>
                  <a:lnTo>
                    <a:pt x="581" y="19"/>
                  </a:lnTo>
                  <a:lnTo>
                    <a:pt x="562" y="24"/>
                  </a:lnTo>
                  <a:lnTo>
                    <a:pt x="550" y="19"/>
                  </a:lnTo>
                  <a:lnTo>
                    <a:pt x="538" y="21"/>
                  </a:lnTo>
                  <a:lnTo>
                    <a:pt x="518" y="13"/>
                  </a:lnTo>
                  <a:lnTo>
                    <a:pt x="502" y="9"/>
                  </a:lnTo>
                  <a:lnTo>
                    <a:pt x="503" y="0"/>
                  </a:lnTo>
                  <a:lnTo>
                    <a:pt x="497" y="6"/>
                  </a:lnTo>
                  <a:lnTo>
                    <a:pt x="473" y="6"/>
                  </a:lnTo>
                  <a:lnTo>
                    <a:pt x="449" y="6"/>
                  </a:lnTo>
                  <a:lnTo>
                    <a:pt x="425" y="6"/>
                  </a:lnTo>
                  <a:lnTo>
                    <a:pt x="401" y="6"/>
                  </a:lnTo>
                  <a:lnTo>
                    <a:pt x="377" y="6"/>
                  </a:lnTo>
                  <a:lnTo>
                    <a:pt x="354" y="6"/>
                  </a:lnTo>
                  <a:lnTo>
                    <a:pt x="330" y="6"/>
                  </a:lnTo>
                  <a:lnTo>
                    <a:pt x="306" y="6"/>
                  </a:lnTo>
                  <a:lnTo>
                    <a:pt x="282" y="6"/>
                  </a:lnTo>
                  <a:lnTo>
                    <a:pt x="258" y="6"/>
                  </a:lnTo>
                  <a:lnTo>
                    <a:pt x="234" y="6"/>
                  </a:lnTo>
                  <a:lnTo>
                    <a:pt x="210" y="6"/>
                  </a:lnTo>
                  <a:lnTo>
                    <a:pt x="186" y="6"/>
                  </a:lnTo>
                  <a:lnTo>
                    <a:pt x="162" y="6"/>
                  </a:lnTo>
                  <a:lnTo>
                    <a:pt x="138" y="6"/>
                  </a:lnTo>
                  <a:lnTo>
                    <a:pt x="114" y="6"/>
                  </a:lnTo>
                  <a:lnTo>
                    <a:pt x="110" y="20"/>
                  </a:lnTo>
                  <a:lnTo>
                    <a:pt x="102" y="35"/>
                  </a:lnTo>
                  <a:lnTo>
                    <a:pt x="92" y="39"/>
                  </a:lnTo>
                  <a:lnTo>
                    <a:pt x="94" y="36"/>
                  </a:lnTo>
                  <a:lnTo>
                    <a:pt x="95" y="38"/>
                  </a:lnTo>
                  <a:lnTo>
                    <a:pt x="106" y="25"/>
                  </a:lnTo>
                  <a:lnTo>
                    <a:pt x="93" y="35"/>
                  </a:lnTo>
                  <a:lnTo>
                    <a:pt x="92" y="35"/>
                  </a:lnTo>
                  <a:lnTo>
                    <a:pt x="100" y="27"/>
                  </a:lnTo>
                  <a:lnTo>
                    <a:pt x="105" y="21"/>
                  </a:lnTo>
                  <a:lnTo>
                    <a:pt x="83" y="17"/>
                  </a:lnTo>
                  <a:lnTo>
                    <a:pt x="76" y="41"/>
                  </a:lnTo>
                  <a:lnTo>
                    <a:pt x="74" y="43"/>
                  </a:lnTo>
                  <a:lnTo>
                    <a:pt x="72" y="47"/>
                  </a:lnTo>
                  <a:lnTo>
                    <a:pt x="71" y="49"/>
                  </a:lnTo>
                  <a:lnTo>
                    <a:pt x="70" y="47"/>
                  </a:lnTo>
                  <a:lnTo>
                    <a:pt x="66" y="54"/>
                  </a:lnTo>
                  <a:lnTo>
                    <a:pt x="76" y="56"/>
                  </a:lnTo>
                  <a:lnTo>
                    <a:pt x="69" y="56"/>
                  </a:lnTo>
                  <a:lnTo>
                    <a:pt x="62" y="65"/>
                  </a:lnTo>
                  <a:lnTo>
                    <a:pt x="44" y="87"/>
                  </a:lnTo>
                  <a:lnTo>
                    <a:pt x="27" y="111"/>
                  </a:lnTo>
                  <a:lnTo>
                    <a:pt x="22" y="126"/>
                  </a:lnTo>
                  <a:lnTo>
                    <a:pt x="17" y="140"/>
                  </a:lnTo>
                  <a:lnTo>
                    <a:pt x="2" y="157"/>
                  </a:lnTo>
                  <a:lnTo>
                    <a:pt x="3" y="163"/>
                  </a:lnTo>
                  <a:lnTo>
                    <a:pt x="0" y="176"/>
                  </a:lnTo>
                  <a:lnTo>
                    <a:pt x="3" y="188"/>
                  </a:lnTo>
                  <a:lnTo>
                    <a:pt x="5" y="199"/>
                  </a:lnTo>
                  <a:lnTo>
                    <a:pt x="4" y="197"/>
                  </a:lnTo>
                  <a:lnTo>
                    <a:pt x="3" y="200"/>
                  </a:lnTo>
                  <a:lnTo>
                    <a:pt x="10" y="200"/>
                  </a:lnTo>
                  <a:lnTo>
                    <a:pt x="14" y="200"/>
                  </a:lnTo>
                  <a:lnTo>
                    <a:pt x="11" y="210"/>
                  </a:lnTo>
                  <a:lnTo>
                    <a:pt x="8" y="207"/>
                  </a:lnTo>
                  <a:lnTo>
                    <a:pt x="5" y="210"/>
                  </a:lnTo>
                  <a:lnTo>
                    <a:pt x="10" y="219"/>
                  </a:lnTo>
                  <a:lnTo>
                    <a:pt x="5" y="227"/>
                  </a:lnTo>
                  <a:lnTo>
                    <a:pt x="9" y="236"/>
                  </a:lnTo>
                  <a:lnTo>
                    <a:pt x="12" y="247"/>
                  </a:lnTo>
                  <a:lnTo>
                    <a:pt x="9" y="263"/>
                  </a:lnTo>
                  <a:lnTo>
                    <a:pt x="17" y="264"/>
                  </a:lnTo>
                  <a:lnTo>
                    <a:pt x="33" y="272"/>
                  </a:lnTo>
                  <a:lnTo>
                    <a:pt x="48" y="284"/>
                  </a:lnTo>
                  <a:lnTo>
                    <a:pt x="48" y="299"/>
                  </a:lnTo>
                  <a:lnTo>
                    <a:pt x="66" y="297"/>
                  </a:lnTo>
                  <a:lnTo>
                    <a:pt x="86" y="296"/>
                  </a:lnTo>
                  <a:lnTo>
                    <a:pt x="96" y="302"/>
                  </a:lnTo>
                  <a:lnTo>
                    <a:pt x="108" y="308"/>
                  </a:lnTo>
                  <a:lnTo>
                    <a:pt x="120" y="314"/>
                  </a:lnTo>
                  <a:lnTo>
                    <a:pt x="132" y="320"/>
                  </a:lnTo>
                  <a:lnTo>
                    <a:pt x="154" y="320"/>
                  </a:lnTo>
                  <a:lnTo>
                    <a:pt x="176" y="320"/>
                  </a:lnTo>
                  <a:lnTo>
                    <a:pt x="179" y="312"/>
                  </a:lnTo>
                  <a:lnTo>
                    <a:pt x="204" y="312"/>
                  </a:lnTo>
                  <a:lnTo>
                    <a:pt x="218" y="330"/>
                  </a:lnTo>
                  <a:lnTo>
                    <a:pt x="222" y="348"/>
                  </a:lnTo>
                  <a:lnTo>
                    <a:pt x="231" y="355"/>
                  </a:lnTo>
                  <a:lnTo>
                    <a:pt x="240" y="362"/>
                  </a:lnTo>
                  <a:lnTo>
                    <a:pt x="251" y="349"/>
                  </a:lnTo>
                  <a:lnTo>
                    <a:pt x="273" y="351"/>
                  </a:lnTo>
                  <a:lnTo>
                    <a:pt x="280" y="367"/>
                  </a:lnTo>
                  <a:lnTo>
                    <a:pt x="286" y="384"/>
                  </a:lnTo>
                  <a:lnTo>
                    <a:pt x="292" y="405"/>
                  </a:lnTo>
                  <a:lnTo>
                    <a:pt x="302" y="414"/>
                  </a:lnTo>
                  <a:lnTo>
                    <a:pt x="321" y="416"/>
                  </a:lnTo>
                  <a:lnTo>
                    <a:pt x="320" y="396"/>
                  </a:lnTo>
                  <a:lnTo>
                    <a:pt x="318" y="393"/>
                  </a:lnTo>
                  <a:lnTo>
                    <a:pt x="317" y="390"/>
                  </a:lnTo>
                  <a:lnTo>
                    <a:pt x="322" y="392"/>
                  </a:lnTo>
                  <a:lnTo>
                    <a:pt x="324" y="383"/>
                  </a:lnTo>
                  <a:lnTo>
                    <a:pt x="328" y="380"/>
                  </a:lnTo>
                  <a:lnTo>
                    <a:pt x="336" y="374"/>
                  </a:lnTo>
                  <a:lnTo>
                    <a:pt x="341" y="371"/>
                  </a:lnTo>
                  <a:lnTo>
                    <a:pt x="341" y="368"/>
                  </a:lnTo>
                  <a:lnTo>
                    <a:pt x="348" y="368"/>
                  </a:lnTo>
                  <a:lnTo>
                    <a:pt x="345" y="372"/>
                  </a:lnTo>
                  <a:lnTo>
                    <a:pt x="353" y="367"/>
                  </a:lnTo>
                  <a:lnTo>
                    <a:pt x="350" y="367"/>
                  </a:lnTo>
                  <a:lnTo>
                    <a:pt x="368" y="355"/>
                  </a:lnTo>
                  <a:lnTo>
                    <a:pt x="370" y="350"/>
                  </a:lnTo>
                  <a:lnTo>
                    <a:pt x="374" y="353"/>
                  </a:lnTo>
                  <a:lnTo>
                    <a:pt x="372" y="354"/>
                  </a:lnTo>
                  <a:lnTo>
                    <a:pt x="384" y="347"/>
                  </a:lnTo>
                  <a:lnTo>
                    <a:pt x="387" y="347"/>
                  </a:lnTo>
                  <a:lnTo>
                    <a:pt x="399" y="349"/>
                  </a:lnTo>
                  <a:lnTo>
                    <a:pt x="412" y="350"/>
                  </a:lnTo>
                  <a:lnTo>
                    <a:pt x="419" y="349"/>
                  </a:lnTo>
                  <a:lnTo>
                    <a:pt x="424" y="355"/>
                  </a:lnTo>
                  <a:lnTo>
                    <a:pt x="434" y="357"/>
                  </a:lnTo>
                  <a:lnTo>
                    <a:pt x="442" y="359"/>
                  </a:lnTo>
                  <a:lnTo>
                    <a:pt x="441" y="351"/>
                  </a:lnTo>
                  <a:lnTo>
                    <a:pt x="453" y="360"/>
                  </a:lnTo>
                  <a:lnTo>
                    <a:pt x="450" y="363"/>
                  </a:lnTo>
                  <a:lnTo>
                    <a:pt x="455" y="357"/>
                  </a:lnTo>
                  <a:lnTo>
                    <a:pt x="449" y="349"/>
                  </a:lnTo>
                  <a:lnTo>
                    <a:pt x="454" y="345"/>
                  </a:lnTo>
                  <a:lnTo>
                    <a:pt x="452" y="344"/>
                  </a:lnTo>
                  <a:lnTo>
                    <a:pt x="450" y="343"/>
                  </a:lnTo>
                  <a:lnTo>
                    <a:pt x="440" y="341"/>
                  </a:lnTo>
                  <a:lnTo>
                    <a:pt x="450" y="341"/>
                  </a:lnTo>
                  <a:lnTo>
                    <a:pt x="476" y="338"/>
                  </a:lnTo>
                  <a:lnTo>
                    <a:pt x="479" y="331"/>
                  </a:lnTo>
                  <a:lnTo>
                    <a:pt x="478" y="339"/>
                  </a:lnTo>
                  <a:lnTo>
                    <a:pt x="485" y="338"/>
                  </a:lnTo>
                  <a:lnTo>
                    <a:pt x="494" y="336"/>
                  </a:lnTo>
                  <a:lnTo>
                    <a:pt x="490" y="338"/>
                  </a:lnTo>
                  <a:lnTo>
                    <a:pt x="504" y="337"/>
                  </a:lnTo>
                  <a:lnTo>
                    <a:pt x="501" y="337"/>
                  </a:lnTo>
                  <a:lnTo>
                    <a:pt x="509" y="339"/>
                  </a:lnTo>
                  <a:lnTo>
                    <a:pt x="513" y="339"/>
                  </a:lnTo>
                  <a:lnTo>
                    <a:pt x="515" y="344"/>
                  </a:lnTo>
                  <a:lnTo>
                    <a:pt x="512" y="342"/>
                  </a:lnTo>
                  <a:lnTo>
                    <a:pt x="515" y="350"/>
                  </a:lnTo>
                  <a:lnTo>
                    <a:pt x="537" y="343"/>
                  </a:lnTo>
                  <a:lnTo>
                    <a:pt x="545" y="354"/>
                  </a:lnTo>
                  <a:lnTo>
                    <a:pt x="552" y="366"/>
                  </a:lnTo>
                  <a:lnTo>
                    <a:pt x="549" y="386"/>
                  </a:lnTo>
                  <a:lnTo>
                    <a:pt x="548" y="383"/>
                  </a:lnTo>
                  <a:lnTo>
                    <a:pt x="549" y="386"/>
                  </a:lnTo>
                  <a:lnTo>
                    <a:pt x="552" y="381"/>
                  </a:lnTo>
                  <a:lnTo>
                    <a:pt x="550" y="392"/>
                  </a:lnTo>
                  <a:lnTo>
                    <a:pt x="554" y="399"/>
                  </a:lnTo>
                  <a:lnTo>
                    <a:pt x="556" y="401"/>
                  </a:lnTo>
                  <a:lnTo>
                    <a:pt x="556" y="407"/>
                  </a:lnTo>
                  <a:lnTo>
                    <a:pt x="560" y="403"/>
                  </a:lnTo>
                  <a:lnTo>
                    <a:pt x="557" y="408"/>
                  </a:lnTo>
                  <a:lnTo>
                    <a:pt x="560" y="417"/>
                  </a:lnTo>
                  <a:lnTo>
                    <a:pt x="567" y="431"/>
                  </a:lnTo>
                  <a:lnTo>
                    <a:pt x="576" y="428"/>
                  </a:lnTo>
                  <a:lnTo>
                    <a:pt x="581" y="414"/>
                  </a:lnTo>
                  <a:lnTo>
                    <a:pt x="586" y="399"/>
                  </a:lnTo>
                  <a:lnTo>
                    <a:pt x="584" y="384"/>
                  </a:lnTo>
                  <a:lnTo>
                    <a:pt x="581" y="368"/>
                  </a:lnTo>
                  <a:lnTo>
                    <a:pt x="584" y="383"/>
                  </a:lnTo>
                  <a:lnTo>
                    <a:pt x="582" y="368"/>
                  </a:lnTo>
                  <a:lnTo>
                    <a:pt x="581" y="354"/>
                  </a:lnTo>
                  <a:lnTo>
                    <a:pt x="580" y="339"/>
                  </a:lnTo>
                  <a:lnTo>
                    <a:pt x="579" y="325"/>
                  </a:lnTo>
                  <a:lnTo>
                    <a:pt x="584" y="321"/>
                  </a:lnTo>
                  <a:lnTo>
                    <a:pt x="585" y="319"/>
                  </a:lnTo>
                  <a:lnTo>
                    <a:pt x="591" y="311"/>
                  </a:lnTo>
                  <a:lnTo>
                    <a:pt x="596" y="302"/>
                  </a:lnTo>
                  <a:lnTo>
                    <a:pt x="597" y="301"/>
                  </a:lnTo>
                  <a:lnTo>
                    <a:pt x="602" y="300"/>
                  </a:lnTo>
                  <a:lnTo>
                    <a:pt x="622" y="285"/>
                  </a:lnTo>
                  <a:lnTo>
                    <a:pt x="624" y="285"/>
                  </a:lnTo>
                  <a:lnTo>
                    <a:pt x="640" y="275"/>
                  </a:lnTo>
                  <a:lnTo>
                    <a:pt x="646" y="272"/>
                  </a:lnTo>
                  <a:lnTo>
                    <a:pt x="657" y="261"/>
                  </a:lnTo>
                  <a:lnTo>
                    <a:pt x="675" y="255"/>
                  </a:lnTo>
                  <a:lnTo>
                    <a:pt x="664" y="252"/>
                  </a:lnTo>
                  <a:lnTo>
                    <a:pt x="671" y="253"/>
                  </a:lnTo>
                  <a:lnTo>
                    <a:pt x="674" y="249"/>
                  </a:lnTo>
                  <a:lnTo>
                    <a:pt x="666" y="245"/>
                  </a:lnTo>
                  <a:lnTo>
                    <a:pt x="682" y="246"/>
                  </a:lnTo>
                  <a:lnTo>
                    <a:pt x="687" y="237"/>
                  </a:lnTo>
                  <a:lnTo>
                    <a:pt x="683" y="240"/>
                  </a:lnTo>
                  <a:lnTo>
                    <a:pt x="678" y="236"/>
                  </a:lnTo>
                  <a:lnTo>
                    <a:pt x="674" y="234"/>
                  </a:lnTo>
                  <a:lnTo>
                    <a:pt x="675" y="234"/>
                  </a:lnTo>
                  <a:lnTo>
                    <a:pt x="681" y="235"/>
                  </a:lnTo>
                  <a:lnTo>
                    <a:pt x="686" y="234"/>
                  </a:lnTo>
                  <a:lnTo>
                    <a:pt x="688" y="235"/>
                  </a:lnTo>
                  <a:lnTo>
                    <a:pt x="689" y="224"/>
                  </a:lnTo>
                  <a:lnTo>
                    <a:pt x="690" y="240"/>
                  </a:lnTo>
                  <a:lnTo>
                    <a:pt x="686" y="219"/>
                  </a:lnTo>
                  <a:lnTo>
                    <a:pt x="680" y="218"/>
                  </a:lnTo>
                  <a:lnTo>
                    <a:pt x="675" y="212"/>
                  </a:lnTo>
                  <a:lnTo>
                    <a:pt x="686" y="217"/>
                  </a:lnTo>
                  <a:lnTo>
                    <a:pt x="681" y="209"/>
                  </a:lnTo>
                  <a:lnTo>
                    <a:pt x="687" y="213"/>
                  </a:lnTo>
                  <a:lnTo>
                    <a:pt x="680" y="199"/>
                  </a:lnTo>
                  <a:lnTo>
                    <a:pt x="689" y="205"/>
                  </a:lnTo>
                  <a:lnTo>
                    <a:pt x="682" y="193"/>
                  </a:lnTo>
                  <a:lnTo>
                    <a:pt x="677" y="193"/>
                  </a:lnTo>
                  <a:lnTo>
                    <a:pt x="684" y="186"/>
                  </a:lnTo>
                  <a:lnTo>
                    <a:pt x="682" y="193"/>
                  </a:lnTo>
                  <a:lnTo>
                    <a:pt x="690" y="198"/>
                  </a:lnTo>
                  <a:lnTo>
                    <a:pt x="688" y="188"/>
                  </a:lnTo>
                  <a:lnTo>
                    <a:pt x="692" y="194"/>
                  </a:lnTo>
                  <a:lnTo>
                    <a:pt x="694" y="179"/>
                  </a:lnTo>
                  <a:lnTo>
                    <a:pt x="704" y="175"/>
                  </a:lnTo>
                  <a:lnTo>
                    <a:pt x="698" y="185"/>
                  </a:lnTo>
                  <a:lnTo>
                    <a:pt x="695" y="189"/>
                  </a:lnTo>
                  <a:lnTo>
                    <a:pt x="694" y="194"/>
                  </a:lnTo>
                  <a:lnTo>
                    <a:pt x="699" y="197"/>
                  </a:lnTo>
                  <a:lnTo>
                    <a:pt x="696" y="201"/>
                  </a:lnTo>
                  <a:lnTo>
                    <a:pt x="698" y="205"/>
                  </a:lnTo>
                  <a:lnTo>
                    <a:pt x="694" y="207"/>
                  </a:lnTo>
                  <a:lnTo>
                    <a:pt x="690" y="213"/>
                  </a:lnTo>
                  <a:lnTo>
                    <a:pt x="710" y="193"/>
                  </a:lnTo>
                  <a:lnTo>
                    <a:pt x="708" y="175"/>
                  </a:lnTo>
                  <a:lnTo>
                    <a:pt x="717" y="167"/>
                  </a:lnTo>
                  <a:lnTo>
                    <a:pt x="710" y="171"/>
                  </a:lnTo>
                  <a:lnTo>
                    <a:pt x="716" y="179"/>
                  </a:lnTo>
                  <a:lnTo>
                    <a:pt x="714" y="183"/>
                  </a:lnTo>
                  <a:lnTo>
                    <a:pt x="732" y="167"/>
                  </a:lnTo>
                  <a:lnTo>
                    <a:pt x="732" y="169"/>
                  </a:lnTo>
                  <a:lnTo>
                    <a:pt x="735" y="157"/>
                  </a:lnTo>
                  <a:lnTo>
                    <a:pt x="742" y="144"/>
                  </a:lnTo>
                  <a:lnTo>
                    <a:pt x="741" y="150"/>
                  </a:lnTo>
                  <a:lnTo>
                    <a:pt x="746" y="147"/>
                  </a:lnTo>
                  <a:lnTo>
                    <a:pt x="762" y="144"/>
                  </a:lnTo>
                  <a:lnTo>
                    <a:pt x="778" y="140"/>
                  </a:lnTo>
                  <a:lnTo>
                    <a:pt x="782" y="135"/>
                  </a:lnTo>
                  <a:lnTo>
                    <a:pt x="784" y="135"/>
                  </a:lnTo>
                  <a:lnTo>
                    <a:pt x="790" y="139"/>
                  </a:lnTo>
                  <a:lnTo>
                    <a:pt x="794" y="140"/>
                  </a:lnTo>
                  <a:lnTo>
                    <a:pt x="803" y="135"/>
                  </a:lnTo>
                  <a:lnTo>
                    <a:pt x="802" y="128"/>
                  </a:lnTo>
                  <a:lnTo>
                    <a:pt x="803" y="133"/>
                  </a:lnTo>
                  <a:lnTo>
                    <a:pt x="795" y="129"/>
                  </a:lnTo>
                  <a:lnTo>
                    <a:pt x="796" y="120"/>
                  </a:lnTo>
                  <a:lnTo>
                    <a:pt x="797" y="116"/>
                  </a:lnTo>
                  <a:lnTo>
                    <a:pt x="814" y="98"/>
                  </a:lnTo>
                  <a:lnTo>
                    <a:pt x="819" y="96"/>
                  </a:lnTo>
                  <a:lnTo>
                    <a:pt x="821" y="97"/>
                  </a:lnTo>
                  <a:lnTo>
                    <a:pt x="834" y="85"/>
                  </a:lnTo>
                  <a:lnTo>
                    <a:pt x="834" y="86"/>
                  </a:lnTo>
                  <a:lnTo>
                    <a:pt x="838" y="86"/>
                  </a:lnTo>
                  <a:lnTo>
                    <a:pt x="845" y="87"/>
                  </a:lnTo>
                  <a:lnTo>
                    <a:pt x="863" y="79"/>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2" name="Freeform 429"/>
            <p:cNvSpPr>
              <a:spLocks/>
            </p:cNvSpPr>
            <p:nvPr/>
          </p:nvSpPr>
          <p:spPr bwMode="auto">
            <a:xfrm>
              <a:off x="127" y="1328"/>
              <a:ext cx="611" cy="293"/>
            </a:xfrm>
            <a:custGeom>
              <a:avLst/>
              <a:gdLst/>
              <a:ahLst/>
              <a:cxnLst>
                <a:cxn ang="0">
                  <a:pos x="442" y="229"/>
                </a:cxn>
                <a:cxn ang="0">
                  <a:pos x="426" y="186"/>
                </a:cxn>
                <a:cxn ang="0">
                  <a:pos x="402" y="175"/>
                </a:cxn>
                <a:cxn ang="0">
                  <a:pos x="424" y="135"/>
                </a:cxn>
                <a:cxn ang="0">
                  <a:pos x="507" y="60"/>
                </a:cxn>
                <a:cxn ang="0">
                  <a:pos x="500" y="16"/>
                </a:cxn>
                <a:cxn ang="0">
                  <a:pos x="429" y="6"/>
                </a:cxn>
                <a:cxn ang="0">
                  <a:pos x="413" y="1"/>
                </a:cxn>
                <a:cxn ang="0">
                  <a:pos x="356" y="10"/>
                </a:cxn>
                <a:cxn ang="0">
                  <a:pos x="324" y="16"/>
                </a:cxn>
                <a:cxn ang="0">
                  <a:pos x="230" y="45"/>
                </a:cxn>
                <a:cxn ang="0">
                  <a:pos x="250" y="72"/>
                </a:cxn>
                <a:cxn ang="0">
                  <a:pos x="242" y="76"/>
                </a:cxn>
                <a:cxn ang="0">
                  <a:pos x="222" y="72"/>
                </a:cxn>
                <a:cxn ang="0">
                  <a:pos x="155" y="94"/>
                </a:cxn>
                <a:cxn ang="0">
                  <a:pos x="220" y="97"/>
                </a:cxn>
                <a:cxn ang="0">
                  <a:pos x="180" y="121"/>
                </a:cxn>
                <a:cxn ang="0">
                  <a:pos x="129" y="135"/>
                </a:cxn>
                <a:cxn ang="0">
                  <a:pos x="96" y="148"/>
                </a:cxn>
                <a:cxn ang="0">
                  <a:pos x="108" y="151"/>
                </a:cxn>
                <a:cxn ang="0">
                  <a:pos x="105" y="163"/>
                </a:cxn>
                <a:cxn ang="0">
                  <a:pos x="81" y="169"/>
                </a:cxn>
                <a:cxn ang="0">
                  <a:pos x="110" y="177"/>
                </a:cxn>
                <a:cxn ang="0">
                  <a:pos x="88" y="199"/>
                </a:cxn>
                <a:cxn ang="0">
                  <a:pos x="137" y="193"/>
                </a:cxn>
                <a:cxn ang="0">
                  <a:pos x="159" y="193"/>
                </a:cxn>
                <a:cxn ang="0">
                  <a:pos x="124" y="217"/>
                </a:cxn>
                <a:cxn ang="0">
                  <a:pos x="57" y="246"/>
                </a:cxn>
                <a:cxn ang="0">
                  <a:pos x="38" y="246"/>
                </a:cxn>
                <a:cxn ang="0">
                  <a:pos x="14" y="258"/>
                </a:cxn>
                <a:cxn ang="0">
                  <a:pos x="34" y="252"/>
                </a:cxn>
                <a:cxn ang="0">
                  <a:pos x="81" y="244"/>
                </a:cxn>
                <a:cxn ang="0">
                  <a:pos x="168" y="210"/>
                </a:cxn>
                <a:cxn ang="0">
                  <a:pos x="228" y="179"/>
                </a:cxn>
                <a:cxn ang="0">
                  <a:pos x="297" y="153"/>
                </a:cxn>
                <a:cxn ang="0">
                  <a:pos x="258" y="166"/>
                </a:cxn>
                <a:cxn ang="0">
                  <a:pos x="238" y="190"/>
                </a:cxn>
                <a:cxn ang="0">
                  <a:pos x="261" y="183"/>
                </a:cxn>
                <a:cxn ang="0">
                  <a:pos x="280" y="178"/>
                </a:cxn>
                <a:cxn ang="0">
                  <a:pos x="294" y="165"/>
                </a:cxn>
                <a:cxn ang="0">
                  <a:pos x="312" y="161"/>
                </a:cxn>
                <a:cxn ang="0">
                  <a:pos x="324" y="163"/>
                </a:cxn>
                <a:cxn ang="0">
                  <a:pos x="323" y="169"/>
                </a:cxn>
                <a:cxn ang="0">
                  <a:pos x="340" y="174"/>
                </a:cxn>
                <a:cxn ang="0">
                  <a:pos x="393" y="178"/>
                </a:cxn>
                <a:cxn ang="0">
                  <a:pos x="389" y="184"/>
                </a:cxn>
                <a:cxn ang="0">
                  <a:pos x="411" y="195"/>
                </a:cxn>
                <a:cxn ang="0">
                  <a:pos x="420" y="201"/>
                </a:cxn>
                <a:cxn ang="0">
                  <a:pos x="434" y="199"/>
                </a:cxn>
                <a:cxn ang="0">
                  <a:pos x="436" y="211"/>
                </a:cxn>
                <a:cxn ang="0">
                  <a:pos x="435" y="215"/>
                </a:cxn>
                <a:cxn ang="0">
                  <a:pos x="435" y="232"/>
                </a:cxn>
                <a:cxn ang="0">
                  <a:pos x="428" y="249"/>
                </a:cxn>
                <a:cxn ang="0">
                  <a:pos x="441" y="255"/>
                </a:cxn>
              </a:cxnLst>
              <a:rect l="0" t="0" r="r" b="b"/>
              <a:pathLst>
                <a:path w="550" h="264">
                  <a:moveTo>
                    <a:pt x="447" y="256"/>
                  </a:moveTo>
                  <a:lnTo>
                    <a:pt x="455" y="245"/>
                  </a:lnTo>
                  <a:lnTo>
                    <a:pt x="449" y="238"/>
                  </a:lnTo>
                  <a:lnTo>
                    <a:pt x="442" y="229"/>
                  </a:lnTo>
                  <a:lnTo>
                    <a:pt x="446" y="214"/>
                  </a:lnTo>
                  <a:lnTo>
                    <a:pt x="449" y="198"/>
                  </a:lnTo>
                  <a:lnTo>
                    <a:pt x="444" y="180"/>
                  </a:lnTo>
                  <a:lnTo>
                    <a:pt x="426" y="186"/>
                  </a:lnTo>
                  <a:lnTo>
                    <a:pt x="417" y="191"/>
                  </a:lnTo>
                  <a:lnTo>
                    <a:pt x="405" y="196"/>
                  </a:lnTo>
                  <a:lnTo>
                    <a:pt x="405" y="179"/>
                  </a:lnTo>
                  <a:lnTo>
                    <a:pt x="402" y="175"/>
                  </a:lnTo>
                  <a:lnTo>
                    <a:pt x="408" y="172"/>
                  </a:lnTo>
                  <a:lnTo>
                    <a:pt x="383" y="172"/>
                  </a:lnTo>
                  <a:lnTo>
                    <a:pt x="404" y="154"/>
                  </a:lnTo>
                  <a:lnTo>
                    <a:pt x="424" y="135"/>
                  </a:lnTo>
                  <a:lnTo>
                    <a:pt x="444" y="115"/>
                  </a:lnTo>
                  <a:lnTo>
                    <a:pt x="464" y="96"/>
                  </a:lnTo>
                  <a:lnTo>
                    <a:pt x="485" y="78"/>
                  </a:lnTo>
                  <a:lnTo>
                    <a:pt x="507" y="60"/>
                  </a:lnTo>
                  <a:lnTo>
                    <a:pt x="528" y="42"/>
                  </a:lnTo>
                  <a:lnTo>
                    <a:pt x="550" y="24"/>
                  </a:lnTo>
                  <a:lnTo>
                    <a:pt x="524" y="18"/>
                  </a:lnTo>
                  <a:lnTo>
                    <a:pt x="500" y="16"/>
                  </a:lnTo>
                  <a:lnTo>
                    <a:pt x="474" y="13"/>
                  </a:lnTo>
                  <a:lnTo>
                    <a:pt x="443" y="11"/>
                  </a:lnTo>
                  <a:lnTo>
                    <a:pt x="441" y="9"/>
                  </a:lnTo>
                  <a:lnTo>
                    <a:pt x="429" y="6"/>
                  </a:lnTo>
                  <a:lnTo>
                    <a:pt x="422" y="6"/>
                  </a:lnTo>
                  <a:lnTo>
                    <a:pt x="418" y="4"/>
                  </a:lnTo>
                  <a:lnTo>
                    <a:pt x="406" y="6"/>
                  </a:lnTo>
                  <a:lnTo>
                    <a:pt x="413" y="1"/>
                  </a:lnTo>
                  <a:lnTo>
                    <a:pt x="406" y="0"/>
                  </a:lnTo>
                  <a:lnTo>
                    <a:pt x="372" y="7"/>
                  </a:lnTo>
                  <a:lnTo>
                    <a:pt x="366" y="7"/>
                  </a:lnTo>
                  <a:lnTo>
                    <a:pt x="356" y="10"/>
                  </a:lnTo>
                  <a:lnTo>
                    <a:pt x="354" y="12"/>
                  </a:lnTo>
                  <a:lnTo>
                    <a:pt x="347" y="16"/>
                  </a:lnTo>
                  <a:lnTo>
                    <a:pt x="352" y="11"/>
                  </a:lnTo>
                  <a:lnTo>
                    <a:pt x="324" y="16"/>
                  </a:lnTo>
                  <a:lnTo>
                    <a:pt x="296" y="25"/>
                  </a:lnTo>
                  <a:lnTo>
                    <a:pt x="268" y="36"/>
                  </a:lnTo>
                  <a:lnTo>
                    <a:pt x="244" y="36"/>
                  </a:lnTo>
                  <a:lnTo>
                    <a:pt x="230" y="45"/>
                  </a:lnTo>
                  <a:lnTo>
                    <a:pt x="240" y="60"/>
                  </a:lnTo>
                  <a:lnTo>
                    <a:pt x="236" y="64"/>
                  </a:lnTo>
                  <a:lnTo>
                    <a:pt x="255" y="66"/>
                  </a:lnTo>
                  <a:lnTo>
                    <a:pt x="250" y="72"/>
                  </a:lnTo>
                  <a:lnTo>
                    <a:pt x="264" y="73"/>
                  </a:lnTo>
                  <a:lnTo>
                    <a:pt x="245" y="72"/>
                  </a:lnTo>
                  <a:lnTo>
                    <a:pt x="244" y="67"/>
                  </a:lnTo>
                  <a:lnTo>
                    <a:pt x="242" y="76"/>
                  </a:lnTo>
                  <a:lnTo>
                    <a:pt x="246" y="79"/>
                  </a:lnTo>
                  <a:lnTo>
                    <a:pt x="238" y="79"/>
                  </a:lnTo>
                  <a:lnTo>
                    <a:pt x="210" y="78"/>
                  </a:lnTo>
                  <a:lnTo>
                    <a:pt x="222" y="72"/>
                  </a:lnTo>
                  <a:lnTo>
                    <a:pt x="191" y="77"/>
                  </a:lnTo>
                  <a:lnTo>
                    <a:pt x="152" y="88"/>
                  </a:lnTo>
                  <a:lnTo>
                    <a:pt x="165" y="93"/>
                  </a:lnTo>
                  <a:lnTo>
                    <a:pt x="155" y="94"/>
                  </a:lnTo>
                  <a:lnTo>
                    <a:pt x="153" y="103"/>
                  </a:lnTo>
                  <a:lnTo>
                    <a:pt x="186" y="103"/>
                  </a:lnTo>
                  <a:lnTo>
                    <a:pt x="191" y="106"/>
                  </a:lnTo>
                  <a:lnTo>
                    <a:pt x="220" y="97"/>
                  </a:lnTo>
                  <a:lnTo>
                    <a:pt x="214" y="105"/>
                  </a:lnTo>
                  <a:lnTo>
                    <a:pt x="208" y="106"/>
                  </a:lnTo>
                  <a:lnTo>
                    <a:pt x="202" y="115"/>
                  </a:lnTo>
                  <a:lnTo>
                    <a:pt x="180" y="121"/>
                  </a:lnTo>
                  <a:lnTo>
                    <a:pt x="149" y="129"/>
                  </a:lnTo>
                  <a:lnTo>
                    <a:pt x="155" y="125"/>
                  </a:lnTo>
                  <a:lnTo>
                    <a:pt x="143" y="127"/>
                  </a:lnTo>
                  <a:lnTo>
                    <a:pt x="129" y="135"/>
                  </a:lnTo>
                  <a:lnTo>
                    <a:pt x="131" y="135"/>
                  </a:lnTo>
                  <a:lnTo>
                    <a:pt x="125" y="137"/>
                  </a:lnTo>
                  <a:lnTo>
                    <a:pt x="104" y="147"/>
                  </a:lnTo>
                  <a:lnTo>
                    <a:pt x="96" y="148"/>
                  </a:lnTo>
                  <a:lnTo>
                    <a:pt x="99" y="150"/>
                  </a:lnTo>
                  <a:lnTo>
                    <a:pt x="90" y="153"/>
                  </a:lnTo>
                  <a:lnTo>
                    <a:pt x="93" y="157"/>
                  </a:lnTo>
                  <a:lnTo>
                    <a:pt x="108" y="151"/>
                  </a:lnTo>
                  <a:lnTo>
                    <a:pt x="94" y="159"/>
                  </a:lnTo>
                  <a:lnTo>
                    <a:pt x="95" y="161"/>
                  </a:lnTo>
                  <a:lnTo>
                    <a:pt x="110" y="162"/>
                  </a:lnTo>
                  <a:lnTo>
                    <a:pt x="105" y="163"/>
                  </a:lnTo>
                  <a:lnTo>
                    <a:pt x="107" y="166"/>
                  </a:lnTo>
                  <a:lnTo>
                    <a:pt x="98" y="166"/>
                  </a:lnTo>
                  <a:lnTo>
                    <a:pt x="92" y="163"/>
                  </a:lnTo>
                  <a:lnTo>
                    <a:pt x="81" y="169"/>
                  </a:lnTo>
                  <a:lnTo>
                    <a:pt x="87" y="180"/>
                  </a:lnTo>
                  <a:lnTo>
                    <a:pt x="110" y="174"/>
                  </a:lnTo>
                  <a:lnTo>
                    <a:pt x="124" y="167"/>
                  </a:lnTo>
                  <a:lnTo>
                    <a:pt x="110" y="177"/>
                  </a:lnTo>
                  <a:lnTo>
                    <a:pt x="100" y="187"/>
                  </a:lnTo>
                  <a:lnTo>
                    <a:pt x="96" y="192"/>
                  </a:lnTo>
                  <a:lnTo>
                    <a:pt x="96" y="193"/>
                  </a:lnTo>
                  <a:lnTo>
                    <a:pt x="88" y="199"/>
                  </a:lnTo>
                  <a:lnTo>
                    <a:pt x="114" y="195"/>
                  </a:lnTo>
                  <a:lnTo>
                    <a:pt x="122" y="196"/>
                  </a:lnTo>
                  <a:lnTo>
                    <a:pt x="122" y="204"/>
                  </a:lnTo>
                  <a:lnTo>
                    <a:pt x="137" y="193"/>
                  </a:lnTo>
                  <a:lnTo>
                    <a:pt x="142" y="193"/>
                  </a:lnTo>
                  <a:lnTo>
                    <a:pt x="132" y="197"/>
                  </a:lnTo>
                  <a:lnTo>
                    <a:pt x="135" y="201"/>
                  </a:lnTo>
                  <a:lnTo>
                    <a:pt x="159" y="193"/>
                  </a:lnTo>
                  <a:lnTo>
                    <a:pt x="136" y="207"/>
                  </a:lnTo>
                  <a:lnTo>
                    <a:pt x="140" y="207"/>
                  </a:lnTo>
                  <a:lnTo>
                    <a:pt x="137" y="207"/>
                  </a:lnTo>
                  <a:lnTo>
                    <a:pt x="124" y="217"/>
                  </a:lnTo>
                  <a:lnTo>
                    <a:pt x="117" y="219"/>
                  </a:lnTo>
                  <a:lnTo>
                    <a:pt x="95" y="231"/>
                  </a:lnTo>
                  <a:lnTo>
                    <a:pt x="60" y="241"/>
                  </a:lnTo>
                  <a:lnTo>
                    <a:pt x="57" y="246"/>
                  </a:lnTo>
                  <a:lnTo>
                    <a:pt x="51" y="246"/>
                  </a:lnTo>
                  <a:lnTo>
                    <a:pt x="48" y="249"/>
                  </a:lnTo>
                  <a:lnTo>
                    <a:pt x="48" y="246"/>
                  </a:lnTo>
                  <a:lnTo>
                    <a:pt x="38" y="246"/>
                  </a:lnTo>
                  <a:lnTo>
                    <a:pt x="0" y="262"/>
                  </a:lnTo>
                  <a:lnTo>
                    <a:pt x="3" y="261"/>
                  </a:lnTo>
                  <a:lnTo>
                    <a:pt x="5" y="262"/>
                  </a:lnTo>
                  <a:lnTo>
                    <a:pt x="14" y="258"/>
                  </a:lnTo>
                  <a:lnTo>
                    <a:pt x="15" y="259"/>
                  </a:lnTo>
                  <a:lnTo>
                    <a:pt x="32" y="252"/>
                  </a:lnTo>
                  <a:lnTo>
                    <a:pt x="39" y="252"/>
                  </a:lnTo>
                  <a:lnTo>
                    <a:pt x="34" y="252"/>
                  </a:lnTo>
                  <a:lnTo>
                    <a:pt x="51" y="250"/>
                  </a:lnTo>
                  <a:lnTo>
                    <a:pt x="62" y="249"/>
                  </a:lnTo>
                  <a:lnTo>
                    <a:pt x="65" y="247"/>
                  </a:lnTo>
                  <a:lnTo>
                    <a:pt x="81" y="244"/>
                  </a:lnTo>
                  <a:lnTo>
                    <a:pt x="86" y="243"/>
                  </a:lnTo>
                  <a:lnTo>
                    <a:pt x="89" y="239"/>
                  </a:lnTo>
                  <a:lnTo>
                    <a:pt x="131" y="223"/>
                  </a:lnTo>
                  <a:lnTo>
                    <a:pt x="168" y="210"/>
                  </a:lnTo>
                  <a:lnTo>
                    <a:pt x="201" y="196"/>
                  </a:lnTo>
                  <a:lnTo>
                    <a:pt x="194" y="192"/>
                  </a:lnTo>
                  <a:lnTo>
                    <a:pt x="222" y="180"/>
                  </a:lnTo>
                  <a:lnTo>
                    <a:pt x="228" y="179"/>
                  </a:lnTo>
                  <a:lnTo>
                    <a:pt x="232" y="173"/>
                  </a:lnTo>
                  <a:lnTo>
                    <a:pt x="256" y="163"/>
                  </a:lnTo>
                  <a:lnTo>
                    <a:pt x="280" y="156"/>
                  </a:lnTo>
                  <a:lnTo>
                    <a:pt x="297" y="153"/>
                  </a:lnTo>
                  <a:lnTo>
                    <a:pt x="286" y="157"/>
                  </a:lnTo>
                  <a:lnTo>
                    <a:pt x="290" y="162"/>
                  </a:lnTo>
                  <a:lnTo>
                    <a:pt x="284" y="161"/>
                  </a:lnTo>
                  <a:lnTo>
                    <a:pt x="258" y="166"/>
                  </a:lnTo>
                  <a:lnTo>
                    <a:pt x="236" y="183"/>
                  </a:lnTo>
                  <a:lnTo>
                    <a:pt x="248" y="180"/>
                  </a:lnTo>
                  <a:lnTo>
                    <a:pt x="230" y="187"/>
                  </a:lnTo>
                  <a:lnTo>
                    <a:pt x="238" y="190"/>
                  </a:lnTo>
                  <a:lnTo>
                    <a:pt x="256" y="181"/>
                  </a:lnTo>
                  <a:lnTo>
                    <a:pt x="251" y="185"/>
                  </a:lnTo>
                  <a:lnTo>
                    <a:pt x="257" y="183"/>
                  </a:lnTo>
                  <a:lnTo>
                    <a:pt x="261" y="183"/>
                  </a:lnTo>
                  <a:lnTo>
                    <a:pt x="263" y="179"/>
                  </a:lnTo>
                  <a:lnTo>
                    <a:pt x="264" y="181"/>
                  </a:lnTo>
                  <a:lnTo>
                    <a:pt x="272" y="177"/>
                  </a:lnTo>
                  <a:lnTo>
                    <a:pt x="280" y="178"/>
                  </a:lnTo>
                  <a:lnTo>
                    <a:pt x="296" y="171"/>
                  </a:lnTo>
                  <a:lnTo>
                    <a:pt x="293" y="169"/>
                  </a:lnTo>
                  <a:lnTo>
                    <a:pt x="298" y="167"/>
                  </a:lnTo>
                  <a:lnTo>
                    <a:pt x="294" y="165"/>
                  </a:lnTo>
                  <a:lnTo>
                    <a:pt x="303" y="162"/>
                  </a:lnTo>
                  <a:lnTo>
                    <a:pt x="316" y="156"/>
                  </a:lnTo>
                  <a:lnTo>
                    <a:pt x="305" y="162"/>
                  </a:lnTo>
                  <a:lnTo>
                    <a:pt x="312" y="161"/>
                  </a:lnTo>
                  <a:lnTo>
                    <a:pt x="311" y="162"/>
                  </a:lnTo>
                  <a:lnTo>
                    <a:pt x="330" y="159"/>
                  </a:lnTo>
                  <a:lnTo>
                    <a:pt x="326" y="160"/>
                  </a:lnTo>
                  <a:lnTo>
                    <a:pt x="324" y="163"/>
                  </a:lnTo>
                  <a:lnTo>
                    <a:pt x="321" y="165"/>
                  </a:lnTo>
                  <a:lnTo>
                    <a:pt x="327" y="165"/>
                  </a:lnTo>
                  <a:lnTo>
                    <a:pt x="328" y="166"/>
                  </a:lnTo>
                  <a:lnTo>
                    <a:pt x="323" y="169"/>
                  </a:lnTo>
                  <a:lnTo>
                    <a:pt x="328" y="172"/>
                  </a:lnTo>
                  <a:lnTo>
                    <a:pt x="341" y="167"/>
                  </a:lnTo>
                  <a:lnTo>
                    <a:pt x="336" y="171"/>
                  </a:lnTo>
                  <a:lnTo>
                    <a:pt x="340" y="174"/>
                  </a:lnTo>
                  <a:lnTo>
                    <a:pt x="357" y="175"/>
                  </a:lnTo>
                  <a:lnTo>
                    <a:pt x="375" y="177"/>
                  </a:lnTo>
                  <a:lnTo>
                    <a:pt x="375" y="181"/>
                  </a:lnTo>
                  <a:lnTo>
                    <a:pt x="393" y="178"/>
                  </a:lnTo>
                  <a:lnTo>
                    <a:pt x="400" y="180"/>
                  </a:lnTo>
                  <a:lnTo>
                    <a:pt x="394" y="183"/>
                  </a:lnTo>
                  <a:lnTo>
                    <a:pt x="398" y="178"/>
                  </a:lnTo>
                  <a:lnTo>
                    <a:pt x="389" y="184"/>
                  </a:lnTo>
                  <a:lnTo>
                    <a:pt x="398" y="195"/>
                  </a:lnTo>
                  <a:lnTo>
                    <a:pt x="407" y="205"/>
                  </a:lnTo>
                  <a:lnTo>
                    <a:pt x="413" y="205"/>
                  </a:lnTo>
                  <a:lnTo>
                    <a:pt x="411" y="195"/>
                  </a:lnTo>
                  <a:lnTo>
                    <a:pt x="417" y="197"/>
                  </a:lnTo>
                  <a:lnTo>
                    <a:pt x="423" y="195"/>
                  </a:lnTo>
                  <a:lnTo>
                    <a:pt x="424" y="196"/>
                  </a:lnTo>
                  <a:lnTo>
                    <a:pt x="420" y="201"/>
                  </a:lnTo>
                  <a:lnTo>
                    <a:pt x="420" y="203"/>
                  </a:lnTo>
                  <a:lnTo>
                    <a:pt x="422" y="207"/>
                  </a:lnTo>
                  <a:lnTo>
                    <a:pt x="436" y="190"/>
                  </a:lnTo>
                  <a:lnTo>
                    <a:pt x="434" y="199"/>
                  </a:lnTo>
                  <a:lnTo>
                    <a:pt x="436" y="207"/>
                  </a:lnTo>
                  <a:lnTo>
                    <a:pt x="440" y="205"/>
                  </a:lnTo>
                  <a:lnTo>
                    <a:pt x="441" y="209"/>
                  </a:lnTo>
                  <a:lnTo>
                    <a:pt x="436" y="211"/>
                  </a:lnTo>
                  <a:lnTo>
                    <a:pt x="444" y="213"/>
                  </a:lnTo>
                  <a:lnTo>
                    <a:pt x="440" y="213"/>
                  </a:lnTo>
                  <a:lnTo>
                    <a:pt x="440" y="217"/>
                  </a:lnTo>
                  <a:lnTo>
                    <a:pt x="435" y="215"/>
                  </a:lnTo>
                  <a:lnTo>
                    <a:pt x="436" y="221"/>
                  </a:lnTo>
                  <a:lnTo>
                    <a:pt x="431" y="222"/>
                  </a:lnTo>
                  <a:lnTo>
                    <a:pt x="432" y="225"/>
                  </a:lnTo>
                  <a:lnTo>
                    <a:pt x="435" y="232"/>
                  </a:lnTo>
                  <a:lnTo>
                    <a:pt x="441" y="240"/>
                  </a:lnTo>
                  <a:lnTo>
                    <a:pt x="435" y="240"/>
                  </a:lnTo>
                  <a:lnTo>
                    <a:pt x="422" y="251"/>
                  </a:lnTo>
                  <a:lnTo>
                    <a:pt x="428" y="249"/>
                  </a:lnTo>
                  <a:lnTo>
                    <a:pt x="446" y="243"/>
                  </a:lnTo>
                  <a:lnTo>
                    <a:pt x="435" y="256"/>
                  </a:lnTo>
                  <a:lnTo>
                    <a:pt x="430" y="257"/>
                  </a:lnTo>
                  <a:lnTo>
                    <a:pt x="441" y="255"/>
                  </a:lnTo>
                  <a:lnTo>
                    <a:pt x="434" y="259"/>
                  </a:lnTo>
                  <a:lnTo>
                    <a:pt x="430" y="264"/>
                  </a:lnTo>
                  <a:lnTo>
                    <a:pt x="447" y="25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3" name="Freeform 430"/>
            <p:cNvSpPr>
              <a:spLocks/>
            </p:cNvSpPr>
            <p:nvPr/>
          </p:nvSpPr>
          <p:spPr bwMode="auto">
            <a:xfrm>
              <a:off x="300" y="1561"/>
              <a:ext cx="43" cy="22"/>
            </a:xfrm>
            <a:custGeom>
              <a:avLst/>
              <a:gdLst/>
              <a:ahLst/>
              <a:cxnLst>
                <a:cxn ang="0">
                  <a:pos x="40" y="6"/>
                </a:cxn>
                <a:cxn ang="0">
                  <a:pos x="36" y="5"/>
                </a:cxn>
                <a:cxn ang="0">
                  <a:pos x="37" y="3"/>
                </a:cxn>
                <a:cxn ang="0">
                  <a:pos x="35" y="3"/>
                </a:cxn>
                <a:cxn ang="0">
                  <a:pos x="31" y="0"/>
                </a:cxn>
                <a:cxn ang="0">
                  <a:pos x="29" y="4"/>
                </a:cxn>
                <a:cxn ang="0">
                  <a:pos x="24" y="4"/>
                </a:cxn>
                <a:cxn ang="0">
                  <a:pos x="18" y="5"/>
                </a:cxn>
                <a:cxn ang="0">
                  <a:pos x="13" y="12"/>
                </a:cxn>
                <a:cxn ang="0">
                  <a:pos x="12" y="6"/>
                </a:cxn>
                <a:cxn ang="0">
                  <a:pos x="1" y="12"/>
                </a:cxn>
                <a:cxn ang="0">
                  <a:pos x="1" y="18"/>
                </a:cxn>
                <a:cxn ang="0">
                  <a:pos x="3" y="16"/>
                </a:cxn>
                <a:cxn ang="0">
                  <a:pos x="7" y="16"/>
                </a:cxn>
                <a:cxn ang="0">
                  <a:pos x="0" y="22"/>
                </a:cxn>
                <a:cxn ang="0">
                  <a:pos x="9" y="16"/>
                </a:cxn>
                <a:cxn ang="0">
                  <a:pos x="25" y="11"/>
                </a:cxn>
                <a:cxn ang="0">
                  <a:pos x="28" y="10"/>
                </a:cxn>
                <a:cxn ang="0">
                  <a:pos x="40" y="6"/>
                </a:cxn>
              </a:cxnLst>
              <a:rect l="0" t="0" r="r" b="b"/>
              <a:pathLst>
                <a:path w="40" h="22">
                  <a:moveTo>
                    <a:pt x="40" y="6"/>
                  </a:moveTo>
                  <a:lnTo>
                    <a:pt x="36" y="5"/>
                  </a:lnTo>
                  <a:lnTo>
                    <a:pt x="37" y="3"/>
                  </a:lnTo>
                  <a:lnTo>
                    <a:pt x="35" y="3"/>
                  </a:lnTo>
                  <a:lnTo>
                    <a:pt x="31" y="0"/>
                  </a:lnTo>
                  <a:lnTo>
                    <a:pt x="29" y="4"/>
                  </a:lnTo>
                  <a:lnTo>
                    <a:pt x="24" y="4"/>
                  </a:lnTo>
                  <a:lnTo>
                    <a:pt x="18" y="5"/>
                  </a:lnTo>
                  <a:lnTo>
                    <a:pt x="13" y="12"/>
                  </a:lnTo>
                  <a:lnTo>
                    <a:pt x="12" y="6"/>
                  </a:lnTo>
                  <a:lnTo>
                    <a:pt x="1" y="12"/>
                  </a:lnTo>
                  <a:lnTo>
                    <a:pt x="1" y="18"/>
                  </a:lnTo>
                  <a:lnTo>
                    <a:pt x="3" y="16"/>
                  </a:lnTo>
                  <a:lnTo>
                    <a:pt x="7" y="16"/>
                  </a:lnTo>
                  <a:lnTo>
                    <a:pt x="0" y="22"/>
                  </a:lnTo>
                  <a:lnTo>
                    <a:pt x="9" y="16"/>
                  </a:lnTo>
                  <a:lnTo>
                    <a:pt x="25" y="11"/>
                  </a:lnTo>
                  <a:lnTo>
                    <a:pt x="28" y="10"/>
                  </a:lnTo>
                  <a:lnTo>
                    <a:pt x="40"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4" name="Freeform 431"/>
            <p:cNvSpPr>
              <a:spLocks/>
            </p:cNvSpPr>
            <p:nvPr/>
          </p:nvSpPr>
          <p:spPr bwMode="auto">
            <a:xfrm>
              <a:off x="196" y="1456"/>
              <a:ext cx="38" cy="14"/>
            </a:xfrm>
            <a:custGeom>
              <a:avLst/>
              <a:gdLst/>
              <a:ahLst/>
              <a:cxnLst>
                <a:cxn ang="0">
                  <a:pos x="33" y="6"/>
                </a:cxn>
                <a:cxn ang="0">
                  <a:pos x="16" y="11"/>
                </a:cxn>
                <a:cxn ang="0">
                  <a:pos x="10" y="3"/>
                </a:cxn>
                <a:cxn ang="0">
                  <a:pos x="13" y="7"/>
                </a:cxn>
                <a:cxn ang="0">
                  <a:pos x="0" y="6"/>
                </a:cxn>
                <a:cxn ang="0">
                  <a:pos x="4" y="0"/>
                </a:cxn>
                <a:cxn ang="0">
                  <a:pos x="18" y="0"/>
                </a:cxn>
                <a:cxn ang="0">
                  <a:pos x="33" y="6"/>
                </a:cxn>
              </a:cxnLst>
              <a:rect l="0" t="0" r="r" b="b"/>
              <a:pathLst>
                <a:path w="33" h="11">
                  <a:moveTo>
                    <a:pt x="33" y="6"/>
                  </a:moveTo>
                  <a:lnTo>
                    <a:pt x="16" y="11"/>
                  </a:lnTo>
                  <a:lnTo>
                    <a:pt x="10" y="3"/>
                  </a:lnTo>
                  <a:lnTo>
                    <a:pt x="13" y="7"/>
                  </a:lnTo>
                  <a:lnTo>
                    <a:pt x="0" y="6"/>
                  </a:lnTo>
                  <a:lnTo>
                    <a:pt x="4" y="0"/>
                  </a:lnTo>
                  <a:lnTo>
                    <a:pt x="18" y="0"/>
                  </a:lnTo>
                  <a:lnTo>
                    <a:pt x="33"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5" name="Freeform 432"/>
            <p:cNvSpPr>
              <a:spLocks/>
            </p:cNvSpPr>
            <p:nvPr/>
          </p:nvSpPr>
          <p:spPr bwMode="auto">
            <a:xfrm>
              <a:off x="576" y="1590"/>
              <a:ext cx="18" cy="33"/>
            </a:xfrm>
            <a:custGeom>
              <a:avLst/>
              <a:gdLst/>
              <a:ahLst/>
              <a:cxnLst>
                <a:cxn ang="0">
                  <a:pos x="9" y="26"/>
                </a:cxn>
                <a:cxn ang="0">
                  <a:pos x="7" y="29"/>
                </a:cxn>
                <a:cxn ang="0">
                  <a:pos x="6" y="21"/>
                </a:cxn>
                <a:cxn ang="0">
                  <a:pos x="0" y="18"/>
                </a:cxn>
                <a:cxn ang="0">
                  <a:pos x="6" y="17"/>
                </a:cxn>
                <a:cxn ang="0">
                  <a:pos x="9" y="12"/>
                </a:cxn>
                <a:cxn ang="0">
                  <a:pos x="3" y="13"/>
                </a:cxn>
                <a:cxn ang="0">
                  <a:pos x="10" y="8"/>
                </a:cxn>
                <a:cxn ang="0">
                  <a:pos x="9" y="2"/>
                </a:cxn>
                <a:cxn ang="0">
                  <a:pos x="14" y="0"/>
                </a:cxn>
                <a:cxn ang="0">
                  <a:pos x="16" y="14"/>
                </a:cxn>
                <a:cxn ang="0">
                  <a:pos x="14" y="12"/>
                </a:cxn>
                <a:cxn ang="0">
                  <a:pos x="13" y="15"/>
                </a:cxn>
                <a:cxn ang="0">
                  <a:pos x="9" y="26"/>
                </a:cxn>
              </a:cxnLst>
              <a:rect l="0" t="0" r="r" b="b"/>
              <a:pathLst>
                <a:path w="16" h="29">
                  <a:moveTo>
                    <a:pt x="9" y="26"/>
                  </a:moveTo>
                  <a:lnTo>
                    <a:pt x="7" y="29"/>
                  </a:lnTo>
                  <a:lnTo>
                    <a:pt x="6" y="21"/>
                  </a:lnTo>
                  <a:lnTo>
                    <a:pt x="0" y="18"/>
                  </a:lnTo>
                  <a:lnTo>
                    <a:pt x="6" y="17"/>
                  </a:lnTo>
                  <a:lnTo>
                    <a:pt x="9" y="12"/>
                  </a:lnTo>
                  <a:lnTo>
                    <a:pt x="3" y="13"/>
                  </a:lnTo>
                  <a:lnTo>
                    <a:pt x="10" y="8"/>
                  </a:lnTo>
                  <a:lnTo>
                    <a:pt x="9" y="2"/>
                  </a:lnTo>
                  <a:lnTo>
                    <a:pt x="14" y="0"/>
                  </a:lnTo>
                  <a:lnTo>
                    <a:pt x="16" y="14"/>
                  </a:lnTo>
                  <a:lnTo>
                    <a:pt x="14" y="12"/>
                  </a:lnTo>
                  <a:lnTo>
                    <a:pt x="13" y="15"/>
                  </a:lnTo>
                  <a:lnTo>
                    <a:pt x="9" y="2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6" name="Freeform 433"/>
            <p:cNvSpPr>
              <a:spLocks/>
            </p:cNvSpPr>
            <p:nvPr/>
          </p:nvSpPr>
          <p:spPr bwMode="auto">
            <a:xfrm>
              <a:off x="587" y="1556"/>
              <a:ext cx="20" cy="23"/>
            </a:xfrm>
            <a:custGeom>
              <a:avLst/>
              <a:gdLst/>
              <a:ahLst/>
              <a:cxnLst>
                <a:cxn ang="0">
                  <a:pos x="17" y="10"/>
                </a:cxn>
                <a:cxn ang="0">
                  <a:pos x="12" y="12"/>
                </a:cxn>
                <a:cxn ang="0">
                  <a:pos x="0" y="20"/>
                </a:cxn>
                <a:cxn ang="0">
                  <a:pos x="3" y="15"/>
                </a:cxn>
                <a:cxn ang="0">
                  <a:pos x="14" y="0"/>
                </a:cxn>
                <a:cxn ang="0">
                  <a:pos x="18" y="1"/>
                </a:cxn>
                <a:cxn ang="0">
                  <a:pos x="17" y="10"/>
                </a:cxn>
              </a:cxnLst>
              <a:rect l="0" t="0" r="r" b="b"/>
              <a:pathLst>
                <a:path w="18" h="20">
                  <a:moveTo>
                    <a:pt x="17" y="10"/>
                  </a:moveTo>
                  <a:lnTo>
                    <a:pt x="12" y="12"/>
                  </a:lnTo>
                  <a:lnTo>
                    <a:pt x="0" y="20"/>
                  </a:lnTo>
                  <a:lnTo>
                    <a:pt x="3" y="15"/>
                  </a:lnTo>
                  <a:lnTo>
                    <a:pt x="14" y="0"/>
                  </a:lnTo>
                  <a:lnTo>
                    <a:pt x="18" y="1"/>
                  </a:lnTo>
                  <a:lnTo>
                    <a:pt x="17" y="10"/>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7" name="Freeform 434"/>
            <p:cNvSpPr>
              <a:spLocks/>
            </p:cNvSpPr>
            <p:nvPr/>
          </p:nvSpPr>
          <p:spPr bwMode="auto">
            <a:xfrm>
              <a:off x="96" y="1616"/>
              <a:ext cx="29" cy="9"/>
            </a:xfrm>
            <a:custGeom>
              <a:avLst/>
              <a:gdLst/>
              <a:ahLst/>
              <a:cxnLst>
                <a:cxn ang="0">
                  <a:pos x="26" y="6"/>
                </a:cxn>
                <a:cxn ang="0">
                  <a:pos x="21" y="0"/>
                </a:cxn>
                <a:cxn ang="0">
                  <a:pos x="0" y="7"/>
                </a:cxn>
                <a:cxn ang="0">
                  <a:pos x="6" y="8"/>
                </a:cxn>
                <a:cxn ang="0">
                  <a:pos x="26" y="6"/>
                </a:cxn>
              </a:cxnLst>
              <a:rect l="0" t="0" r="r" b="b"/>
              <a:pathLst>
                <a:path w="26" h="8">
                  <a:moveTo>
                    <a:pt x="26" y="6"/>
                  </a:moveTo>
                  <a:lnTo>
                    <a:pt x="21" y="0"/>
                  </a:lnTo>
                  <a:lnTo>
                    <a:pt x="0" y="7"/>
                  </a:lnTo>
                  <a:lnTo>
                    <a:pt x="6" y="8"/>
                  </a:lnTo>
                  <a:lnTo>
                    <a:pt x="26" y="6"/>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8" name="Freeform 435"/>
            <p:cNvSpPr>
              <a:spLocks/>
            </p:cNvSpPr>
            <p:nvPr/>
          </p:nvSpPr>
          <p:spPr bwMode="auto">
            <a:xfrm>
              <a:off x="180" y="1516"/>
              <a:ext cx="20" cy="9"/>
            </a:xfrm>
            <a:custGeom>
              <a:avLst/>
              <a:gdLst/>
              <a:ahLst/>
              <a:cxnLst>
                <a:cxn ang="0">
                  <a:pos x="19" y="7"/>
                </a:cxn>
                <a:cxn ang="0">
                  <a:pos x="12" y="8"/>
                </a:cxn>
                <a:cxn ang="0">
                  <a:pos x="0" y="4"/>
                </a:cxn>
                <a:cxn ang="0">
                  <a:pos x="19" y="0"/>
                </a:cxn>
                <a:cxn ang="0">
                  <a:pos x="19" y="7"/>
                </a:cxn>
              </a:cxnLst>
              <a:rect l="0" t="0" r="r" b="b"/>
              <a:pathLst>
                <a:path w="19" h="8">
                  <a:moveTo>
                    <a:pt x="19" y="7"/>
                  </a:moveTo>
                  <a:lnTo>
                    <a:pt x="12" y="8"/>
                  </a:lnTo>
                  <a:lnTo>
                    <a:pt x="0" y="4"/>
                  </a:lnTo>
                  <a:lnTo>
                    <a:pt x="19" y="0"/>
                  </a:lnTo>
                  <a:lnTo>
                    <a:pt x="19"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9" name="Freeform 436"/>
            <p:cNvSpPr>
              <a:spLocks/>
            </p:cNvSpPr>
            <p:nvPr/>
          </p:nvSpPr>
          <p:spPr bwMode="auto">
            <a:xfrm>
              <a:off x="574" y="1554"/>
              <a:ext cx="20" cy="16"/>
            </a:xfrm>
            <a:custGeom>
              <a:avLst/>
              <a:gdLst/>
              <a:ahLst/>
              <a:cxnLst>
                <a:cxn ang="0">
                  <a:pos x="15" y="14"/>
                </a:cxn>
                <a:cxn ang="0">
                  <a:pos x="12" y="10"/>
                </a:cxn>
                <a:cxn ang="0">
                  <a:pos x="9" y="5"/>
                </a:cxn>
                <a:cxn ang="0">
                  <a:pos x="18" y="9"/>
                </a:cxn>
                <a:cxn ang="0">
                  <a:pos x="17" y="6"/>
                </a:cxn>
                <a:cxn ang="0">
                  <a:pos x="12" y="5"/>
                </a:cxn>
                <a:cxn ang="0">
                  <a:pos x="15" y="0"/>
                </a:cxn>
                <a:cxn ang="0">
                  <a:pos x="6" y="4"/>
                </a:cxn>
                <a:cxn ang="0">
                  <a:pos x="5" y="8"/>
                </a:cxn>
                <a:cxn ang="0">
                  <a:pos x="0" y="9"/>
                </a:cxn>
                <a:cxn ang="0">
                  <a:pos x="4" y="15"/>
                </a:cxn>
                <a:cxn ang="0">
                  <a:pos x="6" y="9"/>
                </a:cxn>
                <a:cxn ang="0">
                  <a:pos x="15" y="14"/>
                </a:cxn>
              </a:cxnLst>
              <a:rect l="0" t="0" r="r" b="b"/>
              <a:pathLst>
                <a:path w="18" h="15">
                  <a:moveTo>
                    <a:pt x="15" y="14"/>
                  </a:moveTo>
                  <a:lnTo>
                    <a:pt x="12" y="10"/>
                  </a:lnTo>
                  <a:lnTo>
                    <a:pt x="9" y="5"/>
                  </a:lnTo>
                  <a:lnTo>
                    <a:pt x="18" y="9"/>
                  </a:lnTo>
                  <a:lnTo>
                    <a:pt x="17" y="6"/>
                  </a:lnTo>
                  <a:lnTo>
                    <a:pt x="12" y="5"/>
                  </a:lnTo>
                  <a:lnTo>
                    <a:pt x="15" y="0"/>
                  </a:lnTo>
                  <a:lnTo>
                    <a:pt x="6" y="4"/>
                  </a:lnTo>
                  <a:lnTo>
                    <a:pt x="5" y="8"/>
                  </a:lnTo>
                  <a:lnTo>
                    <a:pt x="0" y="9"/>
                  </a:lnTo>
                  <a:lnTo>
                    <a:pt x="4" y="15"/>
                  </a:lnTo>
                  <a:lnTo>
                    <a:pt x="6" y="9"/>
                  </a:lnTo>
                  <a:lnTo>
                    <a:pt x="15" y="1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0" name="Freeform 437"/>
            <p:cNvSpPr>
              <a:spLocks/>
            </p:cNvSpPr>
            <p:nvPr/>
          </p:nvSpPr>
          <p:spPr bwMode="auto">
            <a:xfrm>
              <a:off x="571" y="1570"/>
              <a:ext cx="14" cy="24"/>
            </a:xfrm>
            <a:custGeom>
              <a:avLst/>
              <a:gdLst/>
              <a:ahLst/>
              <a:cxnLst>
                <a:cxn ang="0">
                  <a:pos x="0" y="21"/>
                </a:cxn>
                <a:cxn ang="0">
                  <a:pos x="12" y="0"/>
                </a:cxn>
                <a:cxn ang="0">
                  <a:pos x="4" y="4"/>
                </a:cxn>
                <a:cxn ang="0">
                  <a:pos x="0" y="21"/>
                </a:cxn>
              </a:cxnLst>
              <a:rect l="0" t="0" r="r" b="b"/>
              <a:pathLst>
                <a:path w="12" h="21">
                  <a:moveTo>
                    <a:pt x="0" y="21"/>
                  </a:moveTo>
                  <a:lnTo>
                    <a:pt x="12" y="0"/>
                  </a:lnTo>
                  <a:lnTo>
                    <a:pt x="4" y="4"/>
                  </a:lnTo>
                  <a:lnTo>
                    <a:pt x="0" y="2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1" name="Freeform 438"/>
            <p:cNvSpPr>
              <a:spLocks/>
            </p:cNvSpPr>
            <p:nvPr/>
          </p:nvSpPr>
          <p:spPr bwMode="auto">
            <a:xfrm>
              <a:off x="591" y="1576"/>
              <a:ext cx="14" cy="14"/>
            </a:xfrm>
            <a:custGeom>
              <a:avLst/>
              <a:gdLst/>
              <a:ahLst/>
              <a:cxnLst>
                <a:cxn ang="0">
                  <a:pos x="11" y="7"/>
                </a:cxn>
                <a:cxn ang="0">
                  <a:pos x="12" y="5"/>
                </a:cxn>
                <a:cxn ang="0">
                  <a:pos x="5" y="0"/>
                </a:cxn>
                <a:cxn ang="0">
                  <a:pos x="0" y="8"/>
                </a:cxn>
                <a:cxn ang="0">
                  <a:pos x="5" y="11"/>
                </a:cxn>
                <a:cxn ang="0">
                  <a:pos x="7" y="6"/>
                </a:cxn>
                <a:cxn ang="0">
                  <a:pos x="11" y="7"/>
                </a:cxn>
              </a:cxnLst>
              <a:rect l="0" t="0" r="r" b="b"/>
              <a:pathLst>
                <a:path w="12" h="11">
                  <a:moveTo>
                    <a:pt x="11" y="7"/>
                  </a:moveTo>
                  <a:lnTo>
                    <a:pt x="12" y="5"/>
                  </a:lnTo>
                  <a:lnTo>
                    <a:pt x="5" y="0"/>
                  </a:lnTo>
                  <a:lnTo>
                    <a:pt x="0" y="8"/>
                  </a:lnTo>
                  <a:lnTo>
                    <a:pt x="5" y="11"/>
                  </a:lnTo>
                  <a:lnTo>
                    <a:pt x="7" y="6"/>
                  </a:lnTo>
                  <a:lnTo>
                    <a:pt x="11" y="7"/>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2" name="Freeform 439"/>
            <p:cNvSpPr>
              <a:spLocks/>
            </p:cNvSpPr>
            <p:nvPr/>
          </p:nvSpPr>
          <p:spPr bwMode="auto">
            <a:xfrm>
              <a:off x="578" y="1581"/>
              <a:ext cx="13" cy="13"/>
            </a:xfrm>
            <a:custGeom>
              <a:avLst/>
              <a:gdLst/>
              <a:ahLst/>
              <a:cxnLst>
                <a:cxn ang="0">
                  <a:pos x="12" y="4"/>
                </a:cxn>
                <a:cxn ang="0">
                  <a:pos x="0" y="12"/>
                </a:cxn>
                <a:cxn ang="0">
                  <a:pos x="6" y="0"/>
                </a:cxn>
                <a:cxn ang="0">
                  <a:pos x="12" y="4"/>
                </a:cxn>
              </a:cxnLst>
              <a:rect l="0" t="0" r="r" b="b"/>
              <a:pathLst>
                <a:path w="12" h="12">
                  <a:moveTo>
                    <a:pt x="12" y="4"/>
                  </a:moveTo>
                  <a:lnTo>
                    <a:pt x="0" y="12"/>
                  </a:lnTo>
                  <a:lnTo>
                    <a:pt x="6" y="0"/>
                  </a:lnTo>
                  <a:lnTo>
                    <a:pt x="12" y="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3" name="Freeform 440"/>
            <p:cNvSpPr>
              <a:spLocks/>
            </p:cNvSpPr>
            <p:nvPr/>
          </p:nvSpPr>
          <p:spPr bwMode="auto">
            <a:xfrm>
              <a:off x="1334" y="1885"/>
              <a:ext cx="37" cy="9"/>
            </a:xfrm>
            <a:custGeom>
              <a:avLst/>
              <a:gdLst/>
              <a:ahLst/>
              <a:cxnLst>
                <a:cxn ang="0">
                  <a:pos x="35" y="1"/>
                </a:cxn>
                <a:cxn ang="0">
                  <a:pos x="25" y="4"/>
                </a:cxn>
                <a:cxn ang="0">
                  <a:pos x="27" y="0"/>
                </a:cxn>
                <a:cxn ang="0">
                  <a:pos x="0" y="8"/>
                </a:cxn>
                <a:cxn ang="0">
                  <a:pos x="17" y="5"/>
                </a:cxn>
                <a:cxn ang="0">
                  <a:pos x="35" y="1"/>
                </a:cxn>
              </a:cxnLst>
              <a:rect l="0" t="0" r="r" b="b"/>
              <a:pathLst>
                <a:path w="35" h="8">
                  <a:moveTo>
                    <a:pt x="35" y="1"/>
                  </a:moveTo>
                  <a:lnTo>
                    <a:pt x="25" y="4"/>
                  </a:lnTo>
                  <a:lnTo>
                    <a:pt x="27" y="0"/>
                  </a:lnTo>
                  <a:lnTo>
                    <a:pt x="0" y="8"/>
                  </a:lnTo>
                  <a:lnTo>
                    <a:pt x="17" y="5"/>
                  </a:lnTo>
                  <a:lnTo>
                    <a:pt x="35" y="1"/>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4" name="Freeform 441"/>
            <p:cNvSpPr>
              <a:spLocks/>
            </p:cNvSpPr>
            <p:nvPr/>
          </p:nvSpPr>
          <p:spPr bwMode="auto">
            <a:xfrm>
              <a:off x="2236" y="2154"/>
              <a:ext cx="146" cy="136"/>
            </a:xfrm>
            <a:custGeom>
              <a:avLst/>
              <a:gdLst/>
              <a:ahLst/>
              <a:cxnLst>
                <a:cxn ang="0">
                  <a:pos x="2" y="114"/>
                </a:cxn>
                <a:cxn ang="0">
                  <a:pos x="0" y="124"/>
                </a:cxn>
                <a:cxn ang="0">
                  <a:pos x="0" y="114"/>
                </a:cxn>
                <a:cxn ang="0">
                  <a:pos x="11" y="91"/>
                </a:cxn>
                <a:cxn ang="0">
                  <a:pos x="21" y="70"/>
                </a:cxn>
                <a:cxn ang="0">
                  <a:pos x="18" y="72"/>
                </a:cxn>
                <a:cxn ang="0">
                  <a:pos x="31" y="58"/>
                </a:cxn>
                <a:cxn ang="0">
                  <a:pos x="36" y="43"/>
                </a:cxn>
                <a:cxn ang="0">
                  <a:pos x="42" y="30"/>
                </a:cxn>
                <a:cxn ang="0">
                  <a:pos x="54" y="18"/>
                </a:cxn>
                <a:cxn ang="0">
                  <a:pos x="63" y="0"/>
                </a:cxn>
                <a:cxn ang="0">
                  <a:pos x="80" y="0"/>
                </a:cxn>
                <a:cxn ang="0">
                  <a:pos x="98" y="0"/>
                </a:cxn>
                <a:cxn ang="0">
                  <a:pos x="115" y="0"/>
                </a:cxn>
                <a:cxn ang="0">
                  <a:pos x="132" y="0"/>
                </a:cxn>
                <a:cxn ang="0">
                  <a:pos x="132" y="7"/>
                </a:cxn>
                <a:cxn ang="0">
                  <a:pos x="132" y="30"/>
                </a:cxn>
                <a:cxn ang="0">
                  <a:pos x="119" y="30"/>
                </a:cxn>
                <a:cxn ang="0">
                  <a:pos x="107" y="30"/>
                </a:cxn>
                <a:cxn ang="0">
                  <a:pos x="93" y="30"/>
                </a:cxn>
                <a:cxn ang="0">
                  <a:pos x="80" y="30"/>
                </a:cxn>
                <a:cxn ang="0">
                  <a:pos x="80" y="53"/>
                </a:cxn>
                <a:cxn ang="0">
                  <a:pos x="79" y="76"/>
                </a:cxn>
                <a:cxn ang="0">
                  <a:pos x="63" y="84"/>
                </a:cxn>
                <a:cxn ang="0">
                  <a:pos x="63" y="99"/>
                </a:cxn>
                <a:cxn ang="0">
                  <a:pos x="63" y="114"/>
                </a:cxn>
                <a:cxn ang="0">
                  <a:pos x="48" y="114"/>
                </a:cxn>
                <a:cxn ang="0">
                  <a:pos x="32" y="114"/>
                </a:cxn>
                <a:cxn ang="0">
                  <a:pos x="17" y="114"/>
                </a:cxn>
                <a:cxn ang="0">
                  <a:pos x="2" y="114"/>
                </a:cxn>
              </a:cxnLst>
              <a:rect l="0" t="0" r="r" b="b"/>
              <a:pathLst>
                <a:path w="132" h="124">
                  <a:moveTo>
                    <a:pt x="2" y="114"/>
                  </a:moveTo>
                  <a:lnTo>
                    <a:pt x="0" y="124"/>
                  </a:lnTo>
                  <a:lnTo>
                    <a:pt x="0" y="114"/>
                  </a:lnTo>
                  <a:lnTo>
                    <a:pt x="11" y="91"/>
                  </a:lnTo>
                  <a:lnTo>
                    <a:pt x="21" y="70"/>
                  </a:lnTo>
                  <a:lnTo>
                    <a:pt x="18" y="72"/>
                  </a:lnTo>
                  <a:lnTo>
                    <a:pt x="31" y="58"/>
                  </a:lnTo>
                  <a:lnTo>
                    <a:pt x="36" y="43"/>
                  </a:lnTo>
                  <a:lnTo>
                    <a:pt x="42" y="30"/>
                  </a:lnTo>
                  <a:lnTo>
                    <a:pt x="54" y="18"/>
                  </a:lnTo>
                  <a:lnTo>
                    <a:pt x="63" y="0"/>
                  </a:lnTo>
                  <a:lnTo>
                    <a:pt x="80" y="0"/>
                  </a:lnTo>
                  <a:lnTo>
                    <a:pt x="98" y="0"/>
                  </a:lnTo>
                  <a:lnTo>
                    <a:pt x="115" y="0"/>
                  </a:lnTo>
                  <a:lnTo>
                    <a:pt x="132" y="0"/>
                  </a:lnTo>
                  <a:lnTo>
                    <a:pt x="132" y="7"/>
                  </a:lnTo>
                  <a:lnTo>
                    <a:pt x="132" y="30"/>
                  </a:lnTo>
                  <a:lnTo>
                    <a:pt x="119" y="30"/>
                  </a:lnTo>
                  <a:lnTo>
                    <a:pt x="107" y="30"/>
                  </a:lnTo>
                  <a:lnTo>
                    <a:pt x="93" y="30"/>
                  </a:lnTo>
                  <a:lnTo>
                    <a:pt x="80" y="30"/>
                  </a:lnTo>
                  <a:lnTo>
                    <a:pt x="80" y="53"/>
                  </a:lnTo>
                  <a:lnTo>
                    <a:pt x="79" y="76"/>
                  </a:lnTo>
                  <a:lnTo>
                    <a:pt x="63" y="84"/>
                  </a:lnTo>
                  <a:lnTo>
                    <a:pt x="63" y="99"/>
                  </a:lnTo>
                  <a:lnTo>
                    <a:pt x="63" y="114"/>
                  </a:lnTo>
                  <a:lnTo>
                    <a:pt x="48" y="114"/>
                  </a:lnTo>
                  <a:lnTo>
                    <a:pt x="32" y="114"/>
                  </a:lnTo>
                  <a:lnTo>
                    <a:pt x="17" y="114"/>
                  </a:lnTo>
                  <a:lnTo>
                    <a:pt x="2" y="114"/>
                  </a:lnTo>
                  <a:close/>
                </a:path>
              </a:pathLst>
            </a:custGeom>
            <a:grp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grpSp>
    </p:spTree>
    <p:extLst>
      <p:ext uri="{BB962C8B-B14F-4D97-AF65-F5344CB8AC3E}">
        <p14:creationId xmlns:p14="http://schemas.microsoft.com/office/powerpoint/2010/main" val="16216095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5" name="Groupe 334"/>
          <p:cNvGrpSpPr>
            <a:grpSpLocks noChangeAspect="1"/>
          </p:cNvGrpSpPr>
          <p:nvPr/>
        </p:nvGrpSpPr>
        <p:grpSpPr>
          <a:xfrm>
            <a:off x="2201990" y="804140"/>
            <a:ext cx="7361190" cy="5323107"/>
            <a:chOff x="1058990" y="1236401"/>
            <a:chExt cx="7361190" cy="5323107"/>
          </a:xfrm>
          <a:solidFill>
            <a:schemeClr val="accent3"/>
          </a:solidFill>
        </p:grpSpPr>
        <p:sp>
          <p:nvSpPr>
            <p:cNvPr id="12293" name="Freeform 8"/>
            <p:cNvSpPr>
              <a:spLocks/>
            </p:cNvSpPr>
            <p:nvPr/>
          </p:nvSpPr>
          <p:spPr bwMode="auto">
            <a:xfrm>
              <a:off x="4803448" y="3889175"/>
              <a:ext cx="724317" cy="573573"/>
            </a:xfrm>
            <a:custGeom>
              <a:avLst/>
              <a:gdLst>
                <a:gd name="T0" fmla="*/ 32762828 w 448"/>
                <a:gd name="T1" fmla="*/ 385584679 h 392"/>
                <a:gd name="T2" fmla="*/ 231854411 w 448"/>
                <a:gd name="T3" fmla="*/ 201612487 h 392"/>
                <a:gd name="T4" fmla="*/ 448587889 w 448"/>
                <a:gd name="T5" fmla="*/ 30241878 h 392"/>
                <a:gd name="T6" fmla="*/ 635079400 w 448"/>
                <a:gd name="T7" fmla="*/ 0 h 392"/>
                <a:gd name="T8" fmla="*/ 819051550 w 448"/>
                <a:gd name="T9" fmla="*/ 45362811 h 392"/>
                <a:gd name="T10" fmla="*/ 1005543260 w 448"/>
                <a:gd name="T11" fmla="*/ 93246571 h 392"/>
                <a:gd name="T12" fmla="*/ 990422327 w 448"/>
                <a:gd name="T13" fmla="*/ 340221881 h 392"/>
                <a:gd name="T14" fmla="*/ 1129030089 w 448"/>
                <a:gd name="T15" fmla="*/ 539313468 h 392"/>
                <a:gd name="T16" fmla="*/ 1081147927 w 448"/>
                <a:gd name="T17" fmla="*/ 602316561 h 392"/>
                <a:gd name="T18" fmla="*/ 1081147927 w 448"/>
                <a:gd name="T19" fmla="*/ 803930586 h 392"/>
                <a:gd name="T20" fmla="*/ 927417644 w 448"/>
                <a:gd name="T21" fmla="*/ 909777314 h 392"/>
                <a:gd name="T22" fmla="*/ 912296711 w 448"/>
                <a:gd name="T23" fmla="*/ 987901339 h 392"/>
                <a:gd name="T24" fmla="*/ 710684067 w 448"/>
                <a:gd name="T25" fmla="*/ 927417608 h 392"/>
                <a:gd name="T26" fmla="*/ 496471638 w 448"/>
                <a:gd name="T27" fmla="*/ 879535448 h 392"/>
                <a:gd name="T28" fmla="*/ 279738160 w 448"/>
                <a:gd name="T29" fmla="*/ 879535448 h 392"/>
                <a:gd name="T30" fmla="*/ 63004708 w 448"/>
                <a:gd name="T31" fmla="*/ 879535448 h 392"/>
                <a:gd name="T32" fmla="*/ 78124054 w 448"/>
                <a:gd name="T33" fmla="*/ 864414515 h 392"/>
                <a:gd name="T34" fmla="*/ 63004708 w 448"/>
                <a:gd name="T35" fmla="*/ 864414515 h 392"/>
                <a:gd name="T36" fmla="*/ 63004708 w 448"/>
                <a:gd name="T37" fmla="*/ 849293582 h 392"/>
                <a:gd name="T38" fmla="*/ 47883762 w 448"/>
                <a:gd name="T39" fmla="*/ 849293582 h 392"/>
                <a:gd name="T40" fmla="*/ 47883762 w 448"/>
                <a:gd name="T41" fmla="*/ 834172650 h 392"/>
                <a:gd name="T42" fmla="*/ 32762828 w 448"/>
                <a:gd name="T43" fmla="*/ 834172650 h 392"/>
                <a:gd name="T44" fmla="*/ 32762828 w 448"/>
                <a:gd name="T45" fmla="*/ 819051518 h 392"/>
                <a:gd name="T46" fmla="*/ 32762828 w 448"/>
                <a:gd name="T47" fmla="*/ 834172650 h 392"/>
                <a:gd name="T48" fmla="*/ 32762828 w 448"/>
                <a:gd name="T49" fmla="*/ 819051518 h 392"/>
                <a:gd name="T50" fmla="*/ 17641889 w 448"/>
                <a:gd name="T51" fmla="*/ 819051518 h 392"/>
                <a:gd name="T52" fmla="*/ 32762828 w 448"/>
                <a:gd name="T53" fmla="*/ 819051518 h 392"/>
                <a:gd name="T54" fmla="*/ 17641889 w 448"/>
                <a:gd name="T55" fmla="*/ 819051518 h 392"/>
                <a:gd name="T56" fmla="*/ 17641889 w 448"/>
                <a:gd name="T57" fmla="*/ 803930586 h 392"/>
                <a:gd name="T58" fmla="*/ 0 w 448"/>
                <a:gd name="T59" fmla="*/ 803930586 h 392"/>
                <a:gd name="T60" fmla="*/ 17641889 w 448"/>
                <a:gd name="T61" fmla="*/ 786288704 h 392"/>
                <a:gd name="T62" fmla="*/ 17641889 w 448"/>
                <a:gd name="T63" fmla="*/ 771167771 h 392"/>
                <a:gd name="T64" fmla="*/ 32762828 w 448"/>
                <a:gd name="T65" fmla="*/ 756046838 h 392"/>
                <a:gd name="T66" fmla="*/ 47883762 w 448"/>
                <a:gd name="T67" fmla="*/ 740925905 h 392"/>
                <a:gd name="T68" fmla="*/ 93246574 w 448"/>
                <a:gd name="T69" fmla="*/ 725804972 h 392"/>
                <a:gd name="T70" fmla="*/ 108367533 w 448"/>
                <a:gd name="T71" fmla="*/ 662801880 h 392"/>
                <a:gd name="T72" fmla="*/ 108367533 w 448"/>
                <a:gd name="T73" fmla="*/ 647680947 h 392"/>
                <a:gd name="T74" fmla="*/ 93246574 w 448"/>
                <a:gd name="T75" fmla="*/ 647680947 h 392"/>
                <a:gd name="T76" fmla="*/ 93246574 w 448"/>
                <a:gd name="T77" fmla="*/ 632558426 h 392"/>
                <a:gd name="T78" fmla="*/ 93246574 w 448"/>
                <a:gd name="T79" fmla="*/ 617437494 h 392"/>
                <a:gd name="T80" fmla="*/ 93246574 w 448"/>
                <a:gd name="T81" fmla="*/ 602316561 h 392"/>
                <a:gd name="T82" fmla="*/ 78124054 w 448"/>
                <a:gd name="T83" fmla="*/ 587195628 h 392"/>
                <a:gd name="T84" fmla="*/ 78124054 w 448"/>
                <a:gd name="T85" fmla="*/ 539313468 h 392"/>
                <a:gd name="T86" fmla="*/ 63004708 w 448"/>
                <a:gd name="T87" fmla="*/ 539313468 h 392"/>
                <a:gd name="T88" fmla="*/ 63004708 w 448"/>
                <a:gd name="T89" fmla="*/ 524192535 h 392"/>
                <a:gd name="T90" fmla="*/ 63004708 w 448"/>
                <a:gd name="T91" fmla="*/ 509071602 h 392"/>
                <a:gd name="T92" fmla="*/ 63004708 w 448"/>
                <a:gd name="T93" fmla="*/ 493950670 h 392"/>
                <a:gd name="T94" fmla="*/ 63004708 w 448"/>
                <a:gd name="T95" fmla="*/ 478829737 h 392"/>
                <a:gd name="T96" fmla="*/ 63004708 w 448"/>
                <a:gd name="T97" fmla="*/ 463708804 h 392"/>
                <a:gd name="T98" fmla="*/ 47883762 w 448"/>
                <a:gd name="T99" fmla="*/ 463708804 h 392"/>
                <a:gd name="T100" fmla="*/ 47883762 w 448"/>
                <a:gd name="T101" fmla="*/ 448587871 h 392"/>
                <a:gd name="T102" fmla="*/ 47883762 w 448"/>
                <a:gd name="T103" fmla="*/ 433466938 h 392"/>
                <a:gd name="T104" fmla="*/ 47883762 w 448"/>
                <a:gd name="T105" fmla="*/ 415826545 h 392"/>
                <a:gd name="T106" fmla="*/ 47883762 w 448"/>
                <a:gd name="T107" fmla="*/ 400705612 h 392"/>
                <a:gd name="T108" fmla="*/ 32762828 w 448"/>
                <a:gd name="T109" fmla="*/ 385584679 h 3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8"/>
                <a:gd name="T166" fmla="*/ 0 h 392"/>
                <a:gd name="T167" fmla="*/ 448 w 448"/>
                <a:gd name="T168" fmla="*/ 392 h 3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8" h="392">
                  <a:moveTo>
                    <a:pt x="13" y="153"/>
                  </a:moveTo>
                  <a:lnTo>
                    <a:pt x="92" y="80"/>
                  </a:lnTo>
                  <a:lnTo>
                    <a:pt x="178" y="12"/>
                  </a:lnTo>
                  <a:lnTo>
                    <a:pt x="252" y="0"/>
                  </a:lnTo>
                  <a:lnTo>
                    <a:pt x="325" y="18"/>
                  </a:lnTo>
                  <a:lnTo>
                    <a:pt x="399" y="37"/>
                  </a:lnTo>
                  <a:lnTo>
                    <a:pt x="393" y="135"/>
                  </a:lnTo>
                  <a:lnTo>
                    <a:pt x="448" y="214"/>
                  </a:lnTo>
                  <a:lnTo>
                    <a:pt x="429" y="239"/>
                  </a:lnTo>
                  <a:lnTo>
                    <a:pt x="429" y="319"/>
                  </a:lnTo>
                  <a:lnTo>
                    <a:pt x="368" y="361"/>
                  </a:lnTo>
                  <a:lnTo>
                    <a:pt x="362" y="392"/>
                  </a:lnTo>
                  <a:lnTo>
                    <a:pt x="282" y="368"/>
                  </a:lnTo>
                  <a:lnTo>
                    <a:pt x="197" y="349"/>
                  </a:lnTo>
                  <a:lnTo>
                    <a:pt x="111" y="349"/>
                  </a:lnTo>
                  <a:lnTo>
                    <a:pt x="25" y="349"/>
                  </a:lnTo>
                  <a:lnTo>
                    <a:pt x="31" y="343"/>
                  </a:lnTo>
                  <a:lnTo>
                    <a:pt x="25" y="343"/>
                  </a:lnTo>
                  <a:lnTo>
                    <a:pt x="25" y="337"/>
                  </a:lnTo>
                  <a:lnTo>
                    <a:pt x="19" y="337"/>
                  </a:lnTo>
                  <a:lnTo>
                    <a:pt x="19" y="331"/>
                  </a:lnTo>
                  <a:lnTo>
                    <a:pt x="13" y="331"/>
                  </a:lnTo>
                  <a:lnTo>
                    <a:pt x="13" y="325"/>
                  </a:lnTo>
                  <a:lnTo>
                    <a:pt x="13" y="331"/>
                  </a:lnTo>
                  <a:lnTo>
                    <a:pt x="13" y="325"/>
                  </a:lnTo>
                  <a:lnTo>
                    <a:pt x="7" y="325"/>
                  </a:lnTo>
                  <a:lnTo>
                    <a:pt x="13" y="325"/>
                  </a:lnTo>
                  <a:lnTo>
                    <a:pt x="7" y="325"/>
                  </a:lnTo>
                  <a:lnTo>
                    <a:pt x="7" y="319"/>
                  </a:lnTo>
                  <a:lnTo>
                    <a:pt x="0" y="319"/>
                  </a:lnTo>
                  <a:lnTo>
                    <a:pt x="7" y="312"/>
                  </a:lnTo>
                  <a:lnTo>
                    <a:pt x="7" y="306"/>
                  </a:lnTo>
                  <a:lnTo>
                    <a:pt x="13" y="300"/>
                  </a:lnTo>
                  <a:lnTo>
                    <a:pt x="19" y="294"/>
                  </a:lnTo>
                  <a:lnTo>
                    <a:pt x="37" y="288"/>
                  </a:lnTo>
                  <a:lnTo>
                    <a:pt x="43" y="263"/>
                  </a:lnTo>
                  <a:lnTo>
                    <a:pt x="43" y="257"/>
                  </a:lnTo>
                  <a:lnTo>
                    <a:pt x="37" y="257"/>
                  </a:lnTo>
                  <a:lnTo>
                    <a:pt x="37" y="251"/>
                  </a:lnTo>
                  <a:lnTo>
                    <a:pt x="37" y="245"/>
                  </a:lnTo>
                  <a:lnTo>
                    <a:pt x="37" y="239"/>
                  </a:lnTo>
                  <a:lnTo>
                    <a:pt x="31" y="233"/>
                  </a:lnTo>
                  <a:lnTo>
                    <a:pt x="31" y="214"/>
                  </a:lnTo>
                  <a:lnTo>
                    <a:pt x="25" y="214"/>
                  </a:lnTo>
                  <a:lnTo>
                    <a:pt x="25" y="208"/>
                  </a:lnTo>
                  <a:lnTo>
                    <a:pt x="25" y="202"/>
                  </a:lnTo>
                  <a:lnTo>
                    <a:pt x="25" y="196"/>
                  </a:lnTo>
                  <a:lnTo>
                    <a:pt x="25" y="190"/>
                  </a:lnTo>
                  <a:lnTo>
                    <a:pt x="25" y="184"/>
                  </a:lnTo>
                  <a:lnTo>
                    <a:pt x="19" y="184"/>
                  </a:lnTo>
                  <a:lnTo>
                    <a:pt x="19" y="178"/>
                  </a:lnTo>
                  <a:lnTo>
                    <a:pt x="19" y="172"/>
                  </a:lnTo>
                  <a:lnTo>
                    <a:pt x="19" y="165"/>
                  </a:lnTo>
                  <a:lnTo>
                    <a:pt x="19" y="159"/>
                  </a:lnTo>
                  <a:lnTo>
                    <a:pt x="13" y="15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4" name="Freeform 9"/>
            <p:cNvSpPr>
              <a:spLocks/>
            </p:cNvSpPr>
            <p:nvPr/>
          </p:nvSpPr>
          <p:spPr bwMode="auto">
            <a:xfrm>
              <a:off x="4635304" y="3808699"/>
              <a:ext cx="455931" cy="304345"/>
            </a:xfrm>
            <a:custGeom>
              <a:avLst/>
              <a:gdLst>
                <a:gd name="T0" fmla="*/ 186491531 w 282"/>
                <a:gd name="T1" fmla="*/ 493950678 h 208"/>
                <a:gd name="T2" fmla="*/ 186491531 w 282"/>
                <a:gd name="T3" fmla="*/ 415826552 h 208"/>
                <a:gd name="T4" fmla="*/ 78124041 w 282"/>
                <a:gd name="T5" fmla="*/ 400705619 h 208"/>
                <a:gd name="T6" fmla="*/ 0 w 282"/>
                <a:gd name="T7" fmla="*/ 370463753 h 208"/>
                <a:gd name="T8" fmla="*/ 0 w 282"/>
                <a:gd name="T9" fmla="*/ 78124052 h 208"/>
                <a:gd name="T10" fmla="*/ 32761236 w 282"/>
                <a:gd name="T11" fmla="*/ 78124052 h 208"/>
                <a:gd name="T12" fmla="*/ 246975305 w 282"/>
                <a:gd name="T13" fmla="*/ 30241879 h 208"/>
                <a:gd name="T14" fmla="*/ 463708748 w 282"/>
                <a:gd name="T15" fmla="*/ 0 h 208"/>
                <a:gd name="T16" fmla="*/ 710683953 w 282"/>
                <a:gd name="T17" fmla="*/ 168851263 h 208"/>
                <a:gd name="T18" fmla="*/ 493950610 w 282"/>
                <a:gd name="T19" fmla="*/ 340221887 h 208"/>
                <a:gd name="T20" fmla="*/ 294857459 w 282"/>
                <a:gd name="T21" fmla="*/ 524192545 h 208"/>
                <a:gd name="T22" fmla="*/ 279736528 w 282"/>
                <a:gd name="T23" fmla="*/ 509071612 h 208"/>
                <a:gd name="T24" fmla="*/ 262096236 w 282"/>
                <a:gd name="T25" fmla="*/ 509071612 h 208"/>
                <a:gd name="T26" fmla="*/ 246975305 w 282"/>
                <a:gd name="T27" fmla="*/ 509071612 h 208"/>
                <a:gd name="T28" fmla="*/ 262096236 w 282"/>
                <a:gd name="T29" fmla="*/ 493950678 h 208"/>
                <a:gd name="T30" fmla="*/ 246975305 w 282"/>
                <a:gd name="T31" fmla="*/ 493950678 h 208"/>
                <a:gd name="T32" fmla="*/ 246975305 w 282"/>
                <a:gd name="T33" fmla="*/ 478829745 h 208"/>
                <a:gd name="T34" fmla="*/ 246975305 w 282"/>
                <a:gd name="T35" fmla="*/ 493950678 h 208"/>
                <a:gd name="T36" fmla="*/ 231854374 w 282"/>
                <a:gd name="T37" fmla="*/ 478829745 h 208"/>
                <a:gd name="T38" fmla="*/ 216733443 w 282"/>
                <a:gd name="T39" fmla="*/ 478829745 h 208"/>
                <a:gd name="T40" fmla="*/ 231854374 w 282"/>
                <a:gd name="T41" fmla="*/ 478829745 h 208"/>
                <a:gd name="T42" fmla="*/ 231854374 w 282"/>
                <a:gd name="T43" fmla="*/ 493950678 h 208"/>
                <a:gd name="T44" fmla="*/ 216733443 w 282"/>
                <a:gd name="T45" fmla="*/ 493950678 h 208"/>
                <a:gd name="T46" fmla="*/ 201612462 w 282"/>
                <a:gd name="T47" fmla="*/ 493950678 h 208"/>
                <a:gd name="T48" fmla="*/ 186491531 w 282"/>
                <a:gd name="T49" fmla="*/ 49395067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2"/>
                <a:gd name="T76" fmla="*/ 0 h 208"/>
                <a:gd name="T77" fmla="*/ 282 w 282"/>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2" h="208">
                  <a:moveTo>
                    <a:pt x="74" y="196"/>
                  </a:moveTo>
                  <a:lnTo>
                    <a:pt x="74" y="165"/>
                  </a:lnTo>
                  <a:lnTo>
                    <a:pt x="31" y="159"/>
                  </a:lnTo>
                  <a:lnTo>
                    <a:pt x="0" y="147"/>
                  </a:lnTo>
                  <a:lnTo>
                    <a:pt x="0" y="31"/>
                  </a:lnTo>
                  <a:lnTo>
                    <a:pt x="13" y="31"/>
                  </a:lnTo>
                  <a:lnTo>
                    <a:pt x="98" y="12"/>
                  </a:lnTo>
                  <a:lnTo>
                    <a:pt x="184" y="0"/>
                  </a:lnTo>
                  <a:lnTo>
                    <a:pt x="282" y="67"/>
                  </a:lnTo>
                  <a:lnTo>
                    <a:pt x="196" y="135"/>
                  </a:lnTo>
                  <a:lnTo>
                    <a:pt x="117" y="208"/>
                  </a:lnTo>
                  <a:lnTo>
                    <a:pt x="111" y="202"/>
                  </a:lnTo>
                  <a:lnTo>
                    <a:pt x="104" y="202"/>
                  </a:lnTo>
                  <a:lnTo>
                    <a:pt x="98" y="202"/>
                  </a:lnTo>
                  <a:lnTo>
                    <a:pt x="104" y="196"/>
                  </a:lnTo>
                  <a:lnTo>
                    <a:pt x="98" y="196"/>
                  </a:lnTo>
                  <a:lnTo>
                    <a:pt x="98" y="190"/>
                  </a:lnTo>
                  <a:lnTo>
                    <a:pt x="98" y="196"/>
                  </a:lnTo>
                  <a:lnTo>
                    <a:pt x="92" y="190"/>
                  </a:lnTo>
                  <a:lnTo>
                    <a:pt x="86" y="190"/>
                  </a:lnTo>
                  <a:lnTo>
                    <a:pt x="92" y="190"/>
                  </a:lnTo>
                  <a:lnTo>
                    <a:pt x="92" y="196"/>
                  </a:lnTo>
                  <a:lnTo>
                    <a:pt x="86" y="196"/>
                  </a:lnTo>
                  <a:lnTo>
                    <a:pt x="80" y="196"/>
                  </a:lnTo>
                  <a:lnTo>
                    <a:pt x="74" y="19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5" name="Freeform 10"/>
            <p:cNvSpPr>
              <a:spLocks/>
            </p:cNvSpPr>
            <p:nvPr/>
          </p:nvSpPr>
          <p:spPr bwMode="auto">
            <a:xfrm>
              <a:off x="2160016" y="3969651"/>
              <a:ext cx="345991" cy="493097"/>
            </a:xfrm>
            <a:custGeom>
              <a:avLst/>
              <a:gdLst>
                <a:gd name="T0" fmla="*/ 30241879 w 214"/>
                <a:gd name="T1" fmla="*/ 665320586 h 337"/>
                <a:gd name="T2" fmla="*/ 75604691 w 214"/>
                <a:gd name="T3" fmla="*/ 680441504 h 337"/>
                <a:gd name="T4" fmla="*/ 90725624 w 214"/>
                <a:gd name="T5" fmla="*/ 602315967 h 337"/>
                <a:gd name="T6" fmla="*/ 183972197 w 214"/>
                <a:gd name="T7" fmla="*/ 572074132 h 337"/>
                <a:gd name="T8" fmla="*/ 138607810 w 214"/>
                <a:gd name="T9" fmla="*/ 602315967 h 337"/>
                <a:gd name="T10" fmla="*/ 90725624 w 214"/>
                <a:gd name="T11" fmla="*/ 602315967 h 337"/>
                <a:gd name="T12" fmla="*/ 105846582 w 214"/>
                <a:gd name="T13" fmla="*/ 556953214 h 337"/>
                <a:gd name="T14" fmla="*/ 168851264 w 214"/>
                <a:gd name="T15" fmla="*/ 478829265 h 337"/>
                <a:gd name="T16" fmla="*/ 168851264 w 214"/>
                <a:gd name="T17" fmla="*/ 463708347 h 337"/>
                <a:gd name="T18" fmla="*/ 105846582 w 214"/>
                <a:gd name="T19" fmla="*/ 448587429 h 337"/>
                <a:gd name="T20" fmla="*/ 60483758 w 214"/>
                <a:gd name="T21" fmla="*/ 433466511 h 337"/>
                <a:gd name="T22" fmla="*/ 30241879 w 214"/>
                <a:gd name="T23" fmla="*/ 418345593 h 337"/>
                <a:gd name="T24" fmla="*/ 45362812 w 214"/>
                <a:gd name="T25" fmla="*/ 370461794 h 337"/>
                <a:gd name="T26" fmla="*/ 90725624 w 214"/>
                <a:gd name="T27" fmla="*/ 325099040 h 337"/>
                <a:gd name="T28" fmla="*/ 75604691 w 214"/>
                <a:gd name="T29" fmla="*/ 294857204 h 337"/>
                <a:gd name="T30" fmla="*/ 60483758 w 214"/>
                <a:gd name="T31" fmla="*/ 246975091 h 337"/>
                <a:gd name="T32" fmla="*/ 45362812 w 214"/>
                <a:gd name="T33" fmla="*/ 246975091 h 337"/>
                <a:gd name="T34" fmla="*/ 60483758 w 214"/>
                <a:gd name="T35" fmla="*/ 231854174 h 337"/>
                <a:gd name="T36" fmla="*/ 138607810 w 214"/>
                <a:gd name="T37" fmla="*/ 231854174 h 337"/>
                <a:gd name="T38" fmla="*/ 168851264 w 214"/>
                <a:gd name="T39" fmla="*/ 231854174 h 337"/>
                <a:gd name="T40" fmla="*/ 229335046 w 214"/>
                <a:gd name="T41" fmla="*/ 231854174 h 337"/>
                <a:gd name="T42" fmla="*/ 277217208 w 214"/>
                <a:gd name="T43" fmla="*/ 186491370 h 337"/>
                <a:gd name="T44" fmla="*/ 246975341 w 214"/>
                <a:gd name="T45" fmla="*/ 171370452 h 337"/>
                <a:gd name="T46" fmla="*/ 246975341 w 214"/>
                <a:gd name="T47" fmla="*/ 123486752 h 337"/>
                <a:gd name="T48" fmla="*/ 246975341 w 214"/>
                <a:gd name="T49" fmla="*/ 78123973 h 337"/>
                <a:gd name="T50" fmla="*/ 307459074 w 214"/>
                <a:gd name="T51" fmla="*/ 47882125 h 337"/>
                <a:gd name="T52" fmla="*/ 337700940 w 214"/>
                <a:gd name="T53" fmla="*/ 15120924 h 337"/>
                <a:gd name="T54" fmla="*/ 352821874 w 214"/>
                <a:gd name="T55" fmla="*/ 47882125 h 337"/>
                <a:gd name="T56" fmla="*/ 352821874 w 214"/>
                <a:gd name="T57" fmla="*/ 15120924 h 337"/>
                <a:gd name="T58" fmla="*/ 430947588 w 214"/>
                <a:gd name="T59" fmla="*/ 15120924 h 337"/>
                <a:gd name="T60" fmla="*/ 337700940 w 214"/>
                <a:gd name="T61" fmla="*/ 123486752 h 337"/>
                <a:gd name="T62" fmla="*/ 292338141 w 214"/>
                <a:gd name="T63" fmla="*/ 171370452 h 337"/>
                <a:gd name="T64" fmla="*/ 322580007 w 214"/>
                <a:gd name="T65" fmla="*/ 246975091 h 337"/>
                <a:gd name="T66" fmla="*/ 385584689 w 214"/>
                <a:gd name="T67" fmla="*/ 262096009 h 337"/>
                <a:gd name="T68" fmla="*/ 400705622 w 214"/>
                <a:gd name="T69" fmla="*/ 231854174 h 337"/>
                <a:gd name="T70" fmla="*/ 493950683 w 214"/>
                <a:gd name="T71" fmla="*/ 277216927 h 337"/>
                <a:gd name="T72" fmla="*/ 509071616 w 214"/>
                <a:gd name="T73" fmla="*/ 294857204 h 337"/>
                <a:gd name="T74" fmla="*/ 524192549 w 214"/>
                <a:gd name="T75" fmla="*/ 385582712 h 337"/>
                <a:gd name="T76" fmla="*/ 524192549 w 214"/>
                <a:gd name="T77" fmla="*/ 433466511 h 337"/>
                <a:gd name="T78" fmla="*/ 539313482 w 214"/>
                <a:gd name="T79" fmla="*/ 478829265 h 337"/>
                <a:gd name="T80" fmla="*/ 524192549 w 214"/>
                <a:gd name="T81" fmla="*/ 572074132 h 337"/>
                <a:gd name="T82" fmla="*/ 493950683 w 214"/>
                <a:gd name="T83" fmla="*/ 665320586 h 337"/>
                <a:gd name="T84" fmla="*/ 476310388 w 214"/>
                <a:gd name="T85" fmla="*/ 680441504 h 337"/>
                <a:gd name="T86" fmla="*/ 430947588 w 214"/>
                <a:gd name="T87" fmla="*/ 695562421 h 337"/>
                <a:gd name="T88" fmla="*/ 352821874 w 214"/>
                <a:gd name="T89" fmla="*/ 710683339 h 337"/>
                <a:gd name="T90" fmla="*/ 307459074 w 214"/>
                <a:gd name="T91" fmla="*/ 740925175 h 337"/>
                <a:gd name="T92" fmla="*/ 262096274 w 214"/>
                <a:gd name="T93" fmla="*/ 771167011 h 337"/>
                <a:gd name="T94" fmla="*/ 229335046 w 214"/>
                <a:gd name="T95" fmla="*/ 819049124 h 337"/>
                <a:gd name="T96" fmla="*/ 183972197 w 214"/>
                <a:gd name="T97" fmla="*/ 834170240 h 337"/>
                <a:gd name="T98" fmla="*/ 138607810 w 214"/>
                <a:gd name="T99" fmla="*/ 849291158 h 337"/>
                <a:gd name="T100" fmla="*/ 90725624 w 214"/>
                <a:gd name="T101" fmla="*/ 834170240 h 337"/>
                <a:gd name="T102" fmla="*/ 105846582 w 214"/>
                <a:gd name="T103" fmla="*/ 803928206 h 337"/>
                <a:gd name="T104" fmla="*/ 105846582 w 214"/>
                <a:gd name="T105" fmla="*/ 788807288 h 337"/>
                <a:gd name="T106" fmla="*/ 30241879 w 214"/>
                <a:gd name="T107" fmla="*/ 819049124 h 337"/>
                <a:gd name="T108" fmla="*/ 30241879 w 214"/>
                <a:gd name="T109" fmla="*/ 771167011 h 337"/>
                <a:gd name="T110" fmla="*/ 15120939 w 214"/>
                <a:gd name="T111" fmla="*/ 725804257 h 337"/>
                <a:gd name="T112" fmla="*/ 60483758 w 214"/>
                <a:gd name="T113" fmla="*/ 710683339 h 337"/>
                <a:gd name="T114" fmla="*/ 15120939 w 214"/>
                <a:gd name="T115" fmla="*/ 710683339 h 3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4"/>
                <a:gd name="T175" fmla="*/ 0 h 337"/>
                <a:gd name="T176" fmla="*/ 214 w 214"/>
                <a:gd name="T177" fmla="*/ 337 h 3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4" h="337">
                  <a:moveTo>
                    <a:pt x="0" y="282"/>
                  </a:moveTo>
                  <a:lnTo>
                    <a:pt x="0" y="270"/>
                  </a:lnTo>
                  <a:lnTo>
                    <a:pt x="0" y="276"/>
                  </a:lnTo>
                  <a:lnTo>
                    <a:pt x="0" y="270"/>
                  </a:lnTo>
                  <a:lnTo>
                    <a:pt x="12" y="264"/>
                  </a:lnTo>
                  <a:lnTo>
                    <a:pt x="12" y="270"/>
                  </a:lnTo>
                  <a:lnTo>
                    <a:pt x="18" y="270"/>
                  </a:lnTo>
                  <a:lnTo>
                    <a:pt x="18" y="264"/>
                  </a:lnTo>
                  <a:lnTo>
                    <a:pt x="24" y="270"/>
                  </a:lnTo>
                  <a:lnTo>
                    <a:pt x="30" y="270"/>
                  </a:lnTo>
                  <a:lnTo>
                    <a:pt x="24" y="264"/>
                  </a:lnTo>
                  <a:lnTo>
                    <a:pt x="30" y="257"/>
                  </a:lnTo>
                  <a:lnTo>
                    <a:pt x="24" y="251"/>
                  </a:lnTo>
                  <a:lnTo>
                    <a:pt x="36" y="245"/>
                  </a:lnTo>
                  <a:lnTo>
                    <a:pt x="36" y="239"/>
                  </a:lnTo>
                  <a:lnTo>
                    <a:pt x="55" y="239"/>
                  </a:lnTo>
                  <a:lnTo>
                    <a:pt x="67" y="239"/>
                  </a:lnTo>
                  <a:lnTo>
                    <a:pt x="73" y="233"/>
                  </a:lnTo>
                  <a:lnTo>
                    <a:pt x="79" y="233"/>
                  </a:lnTo>
                  <a:lnTo>
                    <a:pt x="73" y="227"/>
                  </a:lnTo>
                  <a:lnTo>
                    <a:pt x="67" y="221"/>
                  </a:lnTo>
                  <a:lnTo>
                    <a:pt x="67" y="227"/>
                  </a:lnTo>
                  <a:lnTo>
                    <a:pt x="61" y="233"/>
                  </a:lnTo>
                  <a:lnTo>
                    <a:pt x="55" y="233"/>
                  </a:lnTo>
                  <a:lnTo>
                    <a:pt x="55" y="239"/>
                  </a:lnTo>
                  <a:lnTo>
                    <a:pt x="55" y="233"/>
                  </a:lnTo>
                  <a:lnTo>
                    <a:pt x="49" y="239"/>
                  </a:lnTo>
                  <a:lnTo>
                    <a:pt x="42" y="233"/>
                  </a:lnTo>
                  <a:lnTo>
                    <a:pt x="36" y="233"/>
                  </a:lnTo>
                  <a:lnTo>
                    <a:pt x="36" y="239"/>
                  </a:lnTo>
                  <a:lnTo>
                    <a:pt x="24" y="239"/>
                  </a:lnTo>
                  <a:lnTo>
                    <a:pt x="36" y="227"/>
                  </a:lnTo>
                  <a:lnTo>
                    <a:pt x="42" y="227"/>
                  </a:lnTo>
                  <a:lnTo>
                    <a:pt x="49" y="221"/>
                  </a:lnTo>
                  <a:lnTo>
                    <a:pt x="42" y="221"/>
                  </a:lnTo>
                  <a:lnTo>
                    <a:pt x="49" y="215"/>
                  </a:lnTo>
                  <a:lnTo>
                    <a:pt x="55" y="208"/>
                  </a:lnTo>
                  <a:lnTo>
                    <a:pt x="49" y="208"/>
                  </a:lnTo>
                  <a:lnTo>
                    <a:pt x="55" y="190"/>
                  </a:lnTo>
                  <a:lnTo>
                    <a:pt x="67" y="190"/>
                  </a:lnTo>
                  <a:lnTo>
                    <a:pt x="61" y="190"/>
                  </a:lnTo>
                  <a:lnTo>
                    <a:pt x="73" y="184"/>
                  </a:lnTo>
                  <a:lnTo>
                    <a:pt x="73" y="190"/>
                  </a:lnTo>
                  <a:lnTo>
                    <a:pt x="73" y="184"/>
                  </a:lnTo>
                  <a:lnTo>
                    <a:pt x="67" y="184"/>
                  </a:lnTo>
                  <a:lnTo>
                    <a:pt x="73" y="178"/>
                  </a:lnTo>
                  <a:lnTo>
                    <a:pt x="42" y="184"/>
                  </a:lnTo>
                  <a:lnTo>
                    <a:pt x="42" y="178"/>
                  </a:lnTo>
                  <a:lnTo>
                    <a:pt x="36" y="184"/>
                  </a:lnTo>
                  <a:lnTo>
                    <a:pt x="42" y="178"/>
                  </a:lnTo>
                  <a:lnTo>
                    <a:pt x="36" y="172"/>
                  </a:lnTo>
                  <a:lnTo>
                    <a:pt x="42" y="172"/>
                  </a:lnTo>
                  <a:lnTo>
                    <a:pt x="36" y="166"/>
                  </a:lnTo>
                  <a:lnTo>
                    <a:pt x="30" y="178"/>
                  </a:lnTo>
                  <a:lnTo>
                    <a:pt x="24" y="172"/>
                  </a:lnTo>
                  <a:lnTo>
                    <a:pt x="30" y="166"/>
                  </a:lnTo>
                  <a:lnTo>
                    <a:pt x="24" y="166"/>
                  </a:lnTo>
                  <a:lnTo>
                    <a:pt x="24" y="172"/>
                  </a:lnTo>
                  <a:lnTo>
                    <a:pt x="18" y="166"/>
                  </a:lnTo>
                  <a:lnTo>
                    <a:pt x="12" y="166"/>
                  </a:lnTo>
                  <a:lnTo>
                    <a:pt x="18" y="166"/>
                  </a:lnTo>
                  <a:lnTo>
                    <a:pt x="18" y="159"/>
                  </a:lnTo>
                  <a:lnTo>
                    <a:pt x="12" y="153"/>
                  </a:lnTo>
                  <a:lnTo>
                    <a:pt x="18" y="153"/>
                  </a:lnTo>
                  <a:lnTo>
                    <a:pt x="18" y="147"/>
                  </a:lnTo>
                  <a:lnTo>
                    <a:pt x="30" y="147"/>
                  </a:lnTo>
                  <a:lnTo>
                    <a:pt x="24" y="147"/>
                  </a:lnTo>
                  <a:lnTo>
                    <a:pt x="24" y="135"/>
                  </a:lnTo>
                  <a:lnTo>
                    <a:pt x="42" y="135"/>
                  </a:lnTo>
                  <a:lnTo>
                    <a:pt x="36" y="129"/>
                  </a:lnTo>
                  <a:lnTo>
                    <a:pt x="42" y="129"/>
                  </a:lnTo>
                  <a:lnTo>
                    <a:pt x="24" y="129"/>
                  </a:lnTo>
                  <a:lnTo>
                    <a:pt x="24" y="123"/>
                  </a:lnTo>
                  <a:lnTo>
                    <a:pt x="30" y="123"/>
                  </a:lnTo>
                  <a:lnTo>
                    <a:pt x="30" y="117"/>
                  </a:lnTo>
                  <a:lnTo>
                    <a:pt x="24" y="117"/>
                  </a:lnTo>
                  <a:lnTo>
                    <a:pt x="30" y="104"/>
                  </a:lnTo>
                  <a:lnTo>
                    <a:pt x="24" y="110"/>
                  </a:lnTo>
                  <a:lnTo>
                    <a:pt x="24" y="104"/>
                  </a:lnTo>
                  <a:lnTo>
                    <a:pt x="24" y="98"/>
                  </a:lnTo>
                  <a:lnTo>
                    <a:pt x="18" y="98"/>
                  </a:lnTo>
                  <a:lnTo>
                    <a:pt x="18" y="104"/>
                  </a:lnTo>
                  <a:lnTo>
                    <a:pt x="18" y="110"/>
                  </a:lnTo>
                  <a:lnTo>
                    <a:pt x="12" y="110"/>
                  </a:lnTo>
                  <a:lnTo>
                    <a:pt x="18" y="98"/>
                  </a:lnTo>
                  <a:lnTo>
                    <a:pt x="18" y="92"/>
                  </a:lnTo>
                  <a:lnTo>
                    <a:pt x="24" y="92"/>
                  </a:lnTo>
                  <a:lnTo>
                    <a:pt x="24" y="98"/>
                  </a:lnTo>
                  <a:lnTo>
                    <a:pt x="30" y="98"/>
                  </a:lnTo>
                  <a:lnTo>
                    <a:pt x="24" y="92"/>
                  </a:lnTo>
                  <a:lnTo>
                    <a:pt x="30" y="92"/>
                  </a:lnTo>
                  <a:lnTo>
                    <a:pt x="30" y="86"/>
                  </a:lnTo>
                  <a:lnTo>
                    <a:pt x="49" y="92"/>
                  </a:lnTo>
                  <a:lnTo>
                    <a:pt x="55" y="86"/>
                  </a:lnTo>
                  <a:lnTo>
                    <a:pt x="55" y="92"/>
                  </a:lnTo>
                  <a:lnTo>
                    <a:pt x="61" y="92"/>
                  </a:lnTo>
                  <a:lnTo>
                    <a:pt x="61" y="98"/>
                  </a:lnTo>
                  <a:lnTo>
                    <a:pt x="61" y="104"/>
                  </a:lnTo>
                  <a:lnTo>
                    <a:pt x="61" y="98"/>
                  </a:lnTo>
                  <a:lnTo>
                    <a:pt x="67" y="92"/>
                  </a:lnTo>
                  <a:lnTo>
                    <a:pt x="79" y="92"/>
                  </a:lnTo>
                  <a:lnTo>
                    <a:pt x="85" y="92"/>
                  </a:lnTo>
                  <a:lnTo>
                    <a:pt x="91" y="98"/>
                  </a:lnTo>
                  <a:lnTo>
                    <a:pt x="85" y="92"/>
                  </a:lnTo>
                  <a:lnTo>
                    <a:pt x="91" y="92"/>
                  </a:lnTo>
                  <a:lnTo>
                    <a:pt x="91" y="86"/>
                  </a:lnTo>
                  <a:lnTo>
                    <a:pt x="85" y="86"/>
                  </a:lnTo>
                  <a:lnTo>
                    <a:pt x="98" y="74"/>
                  </a:lnTo>
                  <a:lnTo>
                    <a:pt x="104" y="74"/>
                  </a:lnTo>
                  <a:lnTo>
                    <a:pt x="110" y="74"/>
                  </a:lnTo>
                  <a:lnTo>
                    <a:pt x="104" y="74"/>
                  </a:lnTo>
                  <a:lnTo>
                    <a:pt x="110" y="68"/>
                  </a:lnTo>
                  <a:lnTo>
                    <a:pt x="110" y="61"/>
                  </a:lnTo>
                  <a:lnTo>
                    <a:pt x="104" y="61"/>
                  </a:lnTo>
                  <a:lnTo>
                    <a:pt x="98" y="68"/>
                  </a:lnTo>
                  <a:lnTo>
                    <a:pt x="98" y="61"/>
                  </a:lnTo>
                  <a:lnTo>
                    <a:pt x="91" y="61"/>
                  </a:lnTo>
                  <a:lnTo>
                    <a:pt x="79" y="61"/>
                  </a:lnTo>
                  <a:lnTo>
                    <a:pt x="79" y="55"/>
                  </a:lnTo>
                  <a:lnTo>
                    <a:pt x="98" y="49"/>
                  </a:lnTo>
                  <a:lnTo>
                    <a:pt x="91" y="43"/>
                  </a:lnTo>
                  <a:lnTo>
                    <a:pt x="98" y="43"/>
                  </a:lnTo>
                  <a:lnTo>
                    <a:pt x="104" y="43"/>
                  </a:lnTo>
                  <a:lnTo>
                    <a:pt x="98" y="37"/>
                  </a:lnTo>
                  <a:lnTo>
                    <a:pt x="98" y="31"/>
                  </a:lnTo>
                  <a:lnTo>
                    <a:pt x="98" y="25"/>
                  </a:lnTo>
                  <a:lnTo>
                    <a:pt x="104" y="19"/>
                  </a:lnTo>
                  <a:lnTo>
                    <a:pt x="116" y="12"/>
                  </a:lnTo>
                  <a:lnTo>
                    <a:pt x="122" y="12"/>
                  </a:lnTo>
                  <a:lnTo>
                    <a:pt x="122" y="19"/>
                  </a:lnTo>
                  <a:lnTo>
                    <a:pt x="122" y="12"/>
                  </a:lnTo>
                  <a:lnTo>
                    <a:pt x="128" y="6"/>
                  </a:lnTo>
                  <a:lnTo>
                    <a:pt x="128" y="12"/>
                  </a:lnTo>
                  <a:lnTo>
                    <a:pt x="134" y="19"/>
                  </a:lnTo>
                  <a:lnTo>
                    <a:pt x="134" y="6"/>
                  </a:lnTo>
                  <a:lnTo>
                    <a:pt x="128" y="12"/>
                  </a:lnTo>
                  <a:lnTo>
                    <a:pt x="128" y="6"/>
                  </a:lnTo>
                  <a:lnTo>
                    <a:pt x="134" y="6"/>
                  </a:lnTo>
                  <a:lnTo>
                    <a:pt x="134" y="12"/>
                  </a:lnTo>
                  <a:lnTo>
                    <a:pt x="140" y="19"/>
                  </a:lnTo>
                  <a:lnTo>
                    <a:pt x="134" y="25"/>
                  </a:lnTo>
                  <a:lnTo>
                    <a:pt x="134" y="31"/>
                  </a:lnTo>
                  <a:lnTo>
                    <a:pt x="147" y="19"/>
                  </a:lnTo>
                  <a:lnTo>
                    <a:pt x="140" y="12"/>
                  </a:lnTo>
                  <a:lnTo>
                    <a:pt x="140" y="6"/>
                  </a:lnTo>
                  <a:lnTo>
                    <a:pt x="147" y="6"/>
                  </a:lnTo>
                  <a:lnTo>
                    <a:pt x="147" y="0"/>
                  </a:lnTo>
                  <a:lnTo>
                    <a:pt x="159" y="0"/>
                  </a:lnTo>
                  <a:lnTo>
                    <a:pt x="159" y="6"/>
                  </a:lnTo>
                  <a:lnTo>
                    <a:pt x="171" y="6"/>
                  </a:lnTo>
                  <a:lnTo>
                    <a:pt x="159" y="19"/>
                  </a:lnTo>
                  <a:lnTo>
                    <a:pt x="153" y="25"/>
                  </a:lnTo>
                  <a:lnTo>
                    <a:pt x="147" y="37"/>
                  </a:lnTo>
                  <a:lnTo>
                    <a:pt x="140" y="49"/>
                  </a:lnTo>
                  <a:lnTo>
                    <a:pt x="134" y="49"/>
                  </a:lnTo>
                  <a:lnTo>
                    <a:pt x="128" y="55"/>
                  </a:lnTo>
                  <a:lnTo>
                    <a:pt x="122" y="61"/>
                  </a:lnTo>
                  <a:lnTo>
                    <a:pt x="134" y="61"/>
                  </a:lnTo>
                  <a:lnTo>
                    <a:pt x="128" y="68"/>
                  </a:lnTo>
                  <a:lnTo>
                    <a:pt x="116" y="68"/>
                  </a:lnTo>
                  <a:lnTo>
                    <a:pt x="116" y="74"/>
                  </a:lnTo>
                  <a:lnTo>
                    <a:pt x="110" y="74"/>
                  </a:lnTo>
                  <a:lnTo>
                    <a:pt x="110" y="80"/>
                  </a:lnTo>
                  <a:lnTo>
                    <a:pt x="122" y="92"/>
                  </a:lnTo>
                  <a:lnTo>
                    <a:pt x="128" y="98"/>
                  </a:lnTo>
                  <a:lnTo>
                    <a:pt x="134" y="98"/>
                  </a:lnTo>
                  <a:lnTo>
                    <a:pt x="134" y="104"/>
                  </a:lnTo>
                  <a:lnTo>
                    <a:pt x="140" y="104"/>
                  </a:lnTo>
                  <a:lnTo>
                    <a:pt x="147" y="104"/>
                  </a:lnTo>
                  <a:lnTo>
                    <a:pt x="153" y="104"/>
                  </a:lnTo>
                  <a:lnTo>
                    <a:pt x="153" y="98"/>
                  </a:lnTo>
                  <a:lnTo>
                    <a:pt x="153" y="104"/>
                  </a:lnTo>
                  <a:lnTo>
                    <a:pt x="153" y="98"/>
                  </a:lnTo>
                  <a:lnTo>
                    <a:pt x="159" y="98"/>
                  </a:lnTo>
                  <a:lnTo>
                    <a:pt x="159" y="92"/>
                  </a:lnTo>
                  <a:lnTo>
                    <a:pt x="165" y="80"/>
                  </a:lnTo>
                  <a:lnTo>
                    <a:pt x="177" y="98"/>
                  </a:lnTo>
                  <a:lnTo>
                    <a:pt x="183" y="98"/>
                  </a:lnTo>
                  <a:lnTo>
                    <a:pt x="183" y="110"/>
                  </a:lnTo>
                  <a:lnTo>
                    <a:pt x="196" y="110"/>
                  </a:lnTo>
                  <a:lnTo>
                    <a:pt x="196" y="104"/>
                  </a:lnTo>
                  <a:lnTo>
                    <a:pt x="202" y="104"/>
                  </a:lnTo>
                  <a:lnTo>
                    <a:pt x="208" y="110"/>
                  </a:lnTo>
                  <a:lnTo>
                    <a:pt x="208" y="117"/>
                  </a:lnTo>
                  <a:lnTo>
                    <a:pt x="202" y="117"/>
                  </a:lnTo>
                  <a:lnTo>
                    <a:pt x="196" y="123"/>
                  </a:lnTo>
                  <a:lnTo>
                    <a:pt x="202" y="129"/>
                  </a:lnTo>
                  <a:lnTo>
                    <a:pt x="202" y="135"/>
                  </a:lnTo>
                  <a:lnTo>
                    <a:pt x="202" y="141"/>
                  </a:lnTo>
                  <a:lnTo>
                    <a:pt x="208" y="153"/>
                  </a:lnTo>
                  <a:lnTo>
                    <a:pt x="208" y="166"/>
                  </a:lnTo>
                  <a:lnTo>
                    <a:pt x="214" y="172"/>
                  </a:lnTo>
                  <a:lnTo>
                    <a:pt x="208" y="172"/>
                  </a:lnTo>
                  <a:lnTo>
                    <a:pt x="202" y="172"/>
                  </a:lnTo>
                  <a:lnTo>
                    <a:pt x="208" y="172"/>
                  </a:lnTo>
                  <a:lnTo>
                    <a:pt x="202" y="172"/>
                  </a:lnTo>
                  <a:lnTo>
                    <a:pt x="202" y="178"/>
                  </a:lnTo>
                  <a:lnTo>
                    <a:pt x="208" y="178"/>
                  </a:lnTo>
                  <a:lnTo>
                    <a:pt x="208" y="184"/>
                  </a:lnTo>
                  <a:lnTo>
                    <a:pt x="214" y="190"/>
                  </a:lnTo>
                  <a:lnTo>
                    <a:pt x="214" y="202"/>
                  </a:lnTo>
                  <a:lnTo>
                    <a:pt x="214" y="208"/>
                  </a:lnTo>
                  <a:lnTo>
                    <a:pt x="214" y="215"/>
                  </a:lnTo>
                  <a:lnTo>
                    <a:pt x="208" y="221"/>
                  </a:lnTo>
                  <a:lnTo>
                    <a:pt x="208" y="227"/>
                  </a:lnTo>
                  <a:lnTo>
                    <a:pt x="202" y="233"/>
                  </a:lnTo>
                  <a:lnTo>
                    <a:pt x="208" y="239"/>
                  </a:lnTo>
                  <a:lnTo>
                    <a:pt x="196" y="257"/>
                  </a:lnTo>
                  <a:lnTo>
                    <a:pt x="189" y="257"/>
                  </a:lnTo>
                  <a:lnTo>
                    <a:pt x="196" y="264"/>
                  </a:lnTo>
                  <a:lnTo>
                    <a:pt x="196" y="257"/>
                  </a:lnTo>
                  <a:lnTo>
                    <a:pt x="196" y="264"/>
                  </a:lnTo>
                  <a:lnTo>
                    <a:pt x="202" y="270"/>
                  </a:lnTo>
                  <a:lnTo>
                    <a:pt x="196" y="276"/>
                  </a:lnTo>
                  <a:lnTo>
                    <a:pt x="189" y="270"/>
                  </a:lnTo>
                  <a:lnTo>
                    <a:pt x="183" y="276"/>
                  </a:lnTo>
                  <a:lnTo>
                    <a:pt x="183" y="270"/>
                  </a:lnTo>
                  <a:lnTo>
                    <a:pt x="177" y="270"/>
                  </a:lnTo>
                  <a:lnTo>
                    <a:pt x="171" y="270"/>
                  </a:lnTo>
                  <a:lnTo>
                    <a:pt x="171" y="276"/>
                  </a:lnTo>
                  <a:lnTo>
                    <a:pt x="165" y="270"/>
                  </a:lnTo>
                  <a:lnTo>
                    <a:pt x="165" y="276"/>
                  </a:lnTo>
                  <a:lnTo>
                    <a:pt x="159" y="276"/>
                  </a:lnTo>
                  <a:lnTo>
                    <a:pt x="147" y="276"/>
                  </a:lnTo>
                  <a:lnTo>
                    <a:pt x="140" y="282"/>
                  </a:lnTo>
                  <a:lnTo>
                    <a:pt x="134" y="282"/>
                  </a:lnTo>
                  <a:lnTo>
                    <a:pt x="140" y="282"/>
                  </a:lnTo>
                  <a:lnTo>
                    <a:pt x="134" y="288"/>
                  </a:lnTo>
                  <a:lnTo>
                    <a:pt x="128" y="294"/>
                  </a:lnTo>
                  <a:lnTo>
                    <a:pt x="122" y="294"/>
                  </a:lnTo>
                  <a:lnTo>
                    <a:pt x="122" y="300"/>
                  </a:lnTo>
                  <a:lnTo>
                    <a:pt x="116" y="300"/>
                  </a:lnTo>
                  <a:lnTo>
                    <a:pt x="116" y="306"/>
                  </a:lnTo>
                  <a:lnTo>
                    <a:pt x="110" y="306"/>
                  </a:lnTo>
                  <a:lnTo>
                    <a:pt x="104" y="306"/>
                  </a:lnTo>
                  <a:lnTo>
                    <a:pt x="110" y="300"/>
                  </a:lnTo>
                  <a:lnTo>
                    <a:pt x="98" y="294"/>
                  </a:lnTo>
                  <a:lnTo>
                    <a:pt x="104" y="313"/>
                  </a:lnTo>
                  <a:lnTo>
                    <a:pt x="91" y="319"/>
                  </a:lnTo>
                  <a:lnTo>
                    <a:pt x="91" y="325"/>
                  </a:lnTo>
                  <a:lnTo>
                    <a:pt x="91" y="319"/>
                  </a:lnTo>
                  <a:lnTo>
                    <a:pt x="85" y="319"/>
                  </a:lnTo>
                  <a:lnTo>
                    <a:pt x="79" y="325"/>
                  </a:lnTo>
                  <a:lnTo>
                    <a:pt x="73" y="325"/>
                  </a:lnTo>
                  <a:lnTo>
                    <a:pt x="73" y="331"/>
                  </a:lnTo>
                  <a:lnTo>
                    <a:pt x="73" y="325"/>
                  </a:lnTo>
                  <a:lnTo>
                    <a:pt x="67" y="325"/>
                  </a:lnTo>
                  <a:lnTo>
                    <a:pt x="61" y="331"/>
                  </a:lnTo>
                  <a:lnTo>
                    <a:pt x="55" y="331"/>
                  </a:lnTo>
                  <a:lnTo>
                    <a:pt x="55" y="337"/>
                  </a:lnTo>
                  <a:lnTo>
                    <a:pt x="49" y="337"/>
                  </a:lnTo>
                  <a:lnTo>
                    <a:pt x="49" y="331"/>
                  </a:lnTo>
                  <a:lnTo>
                    <a:pt x="49" y="325"/>
                  </a:lnTo>
                  <a:lnTo>
                    <a:pt x="49" y="331"/>
                  </a:lnTo>
                  <a:lnTo>
                    <a:pt x="36" y="331"/>
                  </a:lnTo>
                  <a:lnTo>
                    <a:pt x="36" y="337"/>
                  </a:lnTo>
                  <a:lnTo>
                    <a:pt x="30" y="337"/>
                  </a:lnTo>
                  <a:lnTo>
                    <a:pt x="30" y="331"/>
                  </a:lnTo>
                  <a:lnTo>
                    <a:pt x="36" y="331"/>
                  </a:lnTo>
                  <a:lnTo>
                    <a:pt x="42" y="319"/>
                  </a:lnTo>
                  <a:lnTo>
                    <a:pt x="30" y="331"/>
                  </a:lnTo>
                  <a:lnTo>
                    <a:pt x="36" y="319"/>
                  </a:lnTo>
                  <a:lnTo>
                    <a:pt x="49" y="319"/>
                  </a:lnTo>
                  <a:lnTo>
                    <a:pt x="49" y="313"/>
                  </a:lnTo>
                  <a:lnTo>
                    <a:pt x="42" y="313"/>
                  </a:lnTo>
                  <a:lnTo>
                    <a:pt x="36" y="319"/>
                  </a:lnTo>
                  <a:lnTo>
                    <a:pt x="30" y="319"/>
                  </a:lnTo>
                  <a:lnTo>
                    <a:pt x="24" y="319"/>
                  </a:lnTo>
                  <a:lnTo>
                    <a:pt x="24" y="325"/>
                  </a:lnTo>
                  <a:lnTo>
                    <a:pt x="12" y="325"/>
                  </a:lnTo>
                  <a:lnTo>
                    <a:pt x="18" y="319"/>
                  </a:lnTo>
                  <a:lnTo>
                    <a:pt x="30" y="300"/>
                  </a:lnTo>
                  <a:lnTo>
                    <a:pt x="42" y="300"/>
                  </a:lnTo>
                  <a:lnTo>
                    <a:pt x="12" y="313"/>
                  </a:lnTo>
                  <a:lnTo>
                    <a:pt x="12" y="306"/>
                  </a:lnTo>
                  <a:lnTo>
                    <a:pt x="12" y="300"/>
                  </a:lnTo>
                  <a:lnTo>
                    <a:pt x="6" y="306"/>
                  </a:lnTo>
                  <a:lnTo>
                    <a:pt x="0" y="300"/>
                  </a:lnTo>
                  <a:lnTo>
                    <a:pt x="6" y="300"/>
                  </a:lnTo>
                  <a:lnTo>
                    <a:pt x="6" y="288"/>
                  </a:lnTo>
                  <a:lnTo>
                    <a:pt x="24" y="282"/>
                  </a:lnTo>
                  <a:lnTo>
                    <a:pt x="24" y="276"/>
                  </a:lnTo>
                  <a:lnTo>
                    <a:pt x="30" y="276"/>
                  </a:lnTo>
                  <a:lnTo>
                    <a:pt x="24" y="276"/>
                  </a:lnTo>
                  <a:lnTo>
                    <a:pt x="24" y="282"/>
                  </a:lnTo>
                  <a:lnTo>
                    <a:pt x="18" y="276"/>
                  </a:lnTo>
                  <a:lnTo>
                    <a:pt x="12" y="282"/>
                  </a:lnTo>
                  <a:lnTo>
                    <a:pt x="12" y="276"/>
                  </a:lnTo>
                  <a:lnTo>
                    <a:pt x="6" y="276"/>
                  </a:lnTo>
                  <a:lnTo>
                    <a:pt x="6" y="282"/>
                  </a:lnTo>
                  <a:lnTo>
                    <a:pt x="0" y="276"/>
                  </a:lnTo>
                  <a:lnTo>
                    <a:pt x="0" y="28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6" name="Freeform 11"/>
            <p:cNvSpPr>
              <a:spLocks/>
            </p:cNvSpPr>
            <p:nvPr/>
          </p:nvSpPr>
          <p:spPr bwMode="auto">
            <a:xfrm>
              <a:off x="2179417" y="4140845"/>
              <a:ext cx="19401" cy="17558"/>
            </a:xfrm>
            <a:custGeom>
              <a:avLst/>
              <a:gdLst>
                <a:gd name="T0" fmla="*/ 0 w 12"/>
                <a:gd name="T1" fmla="*/ 0 h 12"/>
                <a:gd name="T2" fmla="*/ 15120939 w 12"/>
                <a:gd name="T3" fmla="*/ 0 h 12"/>
                <a:gd name="T4" fmla="*/ 15120939 w 12"/>
                <a:gd name="T5" fmla="*/ 15120939 h 12"/>
                <a:gd name="T6" fmla="*/ 30241878 w 12"/>
                <a:gd name="T7" fmla="*/ 30241878 h 12"/>
                <a:gd name="T8" fmla="*/ 30241878 w 12"/>
                <a:gd name="T9" fmla="*/ 0 h 12"/>
                <a:gd name="T10" fmla="*/ 0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0" y="0"/>
                  </a:moveTo>
                  <a:lnTo>
                    <a:pt x="6" y="0"/>
                  </a:lnTo>
                  <a:lnTo>
                    <a:pt x="6" y="6"/>
                  </a:lnTo>
                  <a:lnTo>
                    <a:pt x="12" y="12"/>
                  </a:lnTo>
                  <a:lnTo>
                    <a:pt x="12"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7" name="Freeform 12"/>
            <p:cNvSpPr>
              <a:spLocks/>
            </p:cNvSpPr>
            <p:nvPr/>
          </p:nvSpPr>
          <p:spPr bwMode="auto">
            <a:xfrm>
              <a:off x="2218220" y="4230101"/>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8" name="Freeform 13"/>
            <p:cNvSpPr>
              <a:spLocks/>
            </p:cNvSpPr>
            <p:nvPr/>
          </p:nvSpPr>
          <p:spPr bwMode="auto">
            <a:xfrm>
              <a:off x="2208519" y="4247659"/>
              <a:ext cx="9701" cy="8779"/>
            </a:xfrm>
            <a:custGeom>
              <a:avLst/>
              <a:gdLst>
                <a:gd name="T0" fmla="*/ 0 w 6"/>
                <a:gd name="T1" fmla="*/ 0 h 6"/>
                <a:gd name="T2" fmla="*/ 15120939 w 6"/>
                <a:gd name="T3" fmla="*/ 15120939 h 6"/>
                <a:gd name="T4" fmla="*/ 15120939 w 6"/>
                <a:gd name="T5" fmla="*/ 0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299" name="Freeform 14"/>
            <p:cNvSpPr>
              <a:spLocks/>
            </p:cNvSpPr>
            <p:nvPr/>
          </p:nvSpPr>
          <p:spPr bwMode="auto">
            <a:xfrm>
              <a:off x="2189118" y="4158404"/>
              <a:ext cx="9701" cy="8779"/>
            </a:xfrm>
            <a:custGeom>
              <a:avLst/>
              <a:gdLst>
                <a:gd name="T0" fmla="*/ 0 w 6"/>
                <a:gd name="T1" fmla="*/ 15120939 h 6"/>
                <a:gd name="T2" fmla="*/ 15120939 w 6"/>
                <a:gd name="T3" fmla="*/ 0 h 6"/>
                <a:gd name="T4" fmla="*/ 15120939 w 6"/>
                <a:gd name="T5" fmla="*/ 15120939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0" name="Freeform 15"/>
            <p:cNvSpPr>
              <a:spLocks/>
            </p:cNvSpPr>
            <p:nvPr/>
          </p:nvSpPr>
          <p:spPr bwMode="auto">
            <a:xfrm>
              <a:off x="2198819" y="4436411"/>
              <a:ext cx="9701" cy="8779"/>
            </a:xfrm>
            <a:custGeom>
              <a:avLst/>
              <a:gdLst>
                <a:gd name="T0" fmla="*/ 0 w 6"/>
                <a:gd name="T1" fmla="*/ 0 h 6"/>
                <a:gd name="T2" fmla="*/ 15120939 w 6"/>
                <a:gd name="T3" fmla="*/ 0 h 6"/>
                <a:gd name="T4" fmla="*/ 0 w 6"/>
                <a:gd name="T5" fmla="*/ 15120939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1" name="Freeform 16"/>
            <p:cNvSpPr>
              <a:spLocks/>
            </p:cNvSpPr>
            <p:nvPr/>
          </p:nvSpPr>
          <p:spPr bwMode="auto">
            <a:xfrm>
              <a:off x="2160016" y="4399831"/>
              <a:ext cx="9701" cy="8779"/>
            </a:xfrm>
            <a:custGeom>
              <a:avLst/>
              <a:gdLst>
                <a:gd name="T0" fmla="*/ 0 w 6"/>
                <a:gd name="T1" fmla="*/ 15120939 h 6"/>
                <a:gd name="T2" fmla="*/ 15120939 w 6"/>
                <a:gd name="T3" fmla="*/ 0 h 6"/>
                <a:gd name="T4" fmla="*/ 0 w 6"/>
                <a:gd name="T5" fmla="*/ 15120939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6"/>
                  </a:move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2" name="Freeform 17"/>
            <p:cNvSpPr>
              <a:spLocks/>
            </p:cNvSpPr>
            <p:nvPr/>
          </p:nvSpPr>
          <p:spPr bwMode="auto">
            <a:xfrm>
              <a:off x="2218220" y="4256438"/>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3" name="Freeform 18"/>
            <p:cNvSpPr>
              <a:spLocks/>
            </p:cNvSpPr>
            <p:nvPr/>
          </p:nvSpPr>
          <p:spPr bwMode="auto">
            <a:xfrm>
              <a:off x="2169717" y="4445189"/>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4" name="Freeform 19"/>
            <p:cNvSpPr>
              <a:spLocks/>
            </p:cNvSpPr>
            <p:nvPr/>
          </p:nvSpPr>
          <p:spPr bwMode="auto">
            <a:xfrm>
              <a:off x="2179417" y="4175961"/>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5" name="Freeform 20"/>
            <p:cNvSpPr>
              <a:spLocks/>
            </p:cNvSpPr>
            <p:nvPr/>
          </p:nvSpPr>
          <p:spPr bwMode="auto">
            <a:xfrm>
              <a:off x="2227921" y="4462748"/>
              <a:ext cx="11318" cy="1464"/>
            </a:xfrm>
            <a:custGeom>
              <a:avLst/>
              <a:gdLst>
                <a:gd name="T0" fmla="*/ 0 w 7"/>
                <a:gd name="T1" fmla="*/ 0 h 1588"/>
                <a:gd name="T2" fmla="*/ 17642683 w 7"/>
                <a:gd name="T3" fmla="*/ 0 h 1588"/>
                <a:gd name="T4" fmla="*/ 0 w 7"/>
                <a:gd name="T5" fmla="*/ 0 h 1588"/>
                <a:gd name="T6" fmla="*/ 0 60000 65536"/>
                <a:gd name="T7" fmla="*/ 0 60000 65536"/>
                <a:gd name="T8" fmla="*/ 0 60000 65536"/>
                <a:gd name="T9" fmla="*/ 0 w 7"/>
                <a:gd name="T10" fmla="*/ 0 h 1588"/>
                <a:gd name="T11" fmla="*/ 7 w 7"/>
                <a:gd name="T12" fmla="*/ 1588 h 1588"/>
              </a:gdLst>
              <a:ahLst/>
              <a:cxnLst>
                <a:cxn ang="T6">
                  <a:pos x="T0" y="T1"/>
                </a:cxn>
                <a:cxn ang="T7">
                  <a:pos x="T2" y="T3"/>
                </a:cxn>
                <a:cxn ang="T8">
                  <a:pos x="T4" y="T5"/>
                </a:cxn>
              </a:cxnLst>
              <a:rect l="T9" t="T10" r="T11" b="T12"/>
              <a:pathLst>
                <a:path w="7" h="1588">
                  <a:moveTo>
                    <a:pt x="0" y="0"/>
                  </a:move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6" name="Freeform 21"/>
            <p:cNvSpPr>
              <a:spLocks/>
            </p:cNvSpPr>
            <p:nvPr/>
          </p:nvSpPr>
          <p:spPr bwMode="auto">
            <a:xfrm>
              <a:off x="2169717" y="4184740"/>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7" name="Freeform 22"/>
            <p:cNvSpPr>
              <a:spLocks/>
            </p:cNvSpPr>
            <p:nvPr/>
          </p:nvSpPr>
          <p:spPr bwMode="auto">
            <a:xfrm>
              <a:off x="2328161" y="3978431"/>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8" name="Freeform 23"/>
            <p:cNvSpPr>
              <a:spLocks/>
            </p:cNvSpPr>
            <p:nvPr/>
          </p:nvSpPr>
          <p:spPr bwMode="auto">
            <a:xfrm>
              <a:off x="3089664" y="5574777"/>
              <a:ext cx="30718" cy="26338"/>
            </a:xfrm>
            <a:custGeom>
              <a:avLst/>
              <a:gdLst>
                <a:gd name="T0" fmla="*/ 17640007 w 19"/>
                <a:gd name="T1" fmla="*/ 15120937 h 18"/>
                <a:gd name="T2" fmla="*/ 0 w 19"/>
                <a:gd name="T3" fmla="*/ 15120937 h 18"/>
                <a:gd name="T4" fmla="*/ 17640007 w 19"/>
                <a:gd name="T5" fmla="*/ 15120937 h 18"/>
                <a:gd name="T6" fmla="*/ 0 w 19"/>
                <a:gd name="T7" fmla="*/ 30241875 h 18"/>
                <a:gd name="T8" fmla="*/ 17640007 w 19"/>
                <a:gd name="T9" fmla="*/ 30241875 h 18"/>
                <a:gd name="T10" fmla="*/ 0 w 19"/>
                <a:gd name="T11" fmla="*/ 45362806 h 18"/>
                <a:gd name="T12" fmla="*/ 17640007 w 19"/>
                <a:gd name="T13" fmla="*/ 45362806 h 18"/>
                <a:gd name="T14" fmla="*/ 32760694 w 19"/>
                <a:gd name="T15" fmla="*/ 45362806 h 18"/>
                <a:gd name="T16" fmla="*/ 47881374 w 19"/>
                <a:gd name="T17" fmla="*/ 30241875 h 18"/>
                <a:gd name="T18" fmla="*/ 47881374 w 19"/>
                <a:gd name="T19" fmla="*/ 15120937 h 18"/>
                <a:gd name="T20" fmla="*/ 32760694 w 19"/>
                <a:gd name="T21" fmla="*/ 15120937 h 18"/>
                <a:gd name="T22" fmla="*/ 17640007 w 19"/>
                <a:gd name="T23" fmla="*/ 0 h 18"/>
                <a:gd name="T24" fmla="*/ 17640007 w 19"/>
                <a:gd name="T25" fmla="*/ 1512093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8"/>
                <a:gd name="T41" fmla="*/ 19 w 19"/>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8">
                  <a:moveTo>
                    <a:pt x="7" y="6"/>
                  </a:moveTo>
                  <a:lnTo>
                    <a:pt x="0" y="6"/>
                  </a:lnTo>
                  <a:lnTo>
                    <a:pt x="7" y="6"/>
                  </a:lnTo>
                  <a:lnTo>
                    <a:pt x="0" y="12"/>
                  </a:lnTo>
                  <a:lnTo>
                    <a:pt x="7" y="12"/>
                  </a:lnTo>
                  <a:lnTo>
                    <a:pt x="0" y="18"/>
                  </a:lnTo>
                  <a:lnTo>
                    <a:pt x="7" y="18"/>
                  </a:lnTo>
                  <a:lnTo>
                    <a:pt x="13" y="18"/>
                  </a:lnTo>
                  <a:lnTo>
                    <a:pt x="19" y="12"/>
                  </a:lnTo>
                  <a:lnTo>
                    <a:pt x="19" y="6"/>
                  </a:lnTo>
                  <a:lnTo>
                    <a:pt x="13" y="6"/>
                  </a:lnTo>
                  <a:lnTo>
                    <a:pt x="7" y="0"/>
                  </a:lnTo>
                  <a:lnTo>
                    <a:pt x="7"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09" name="Freeform 24"/>
            <p:cNvSpPr>
              <a:spLocks/>
            </p:cNvSpPr>
            <p:nvPr/>
          </p:nvSpPr>
          <p:spPr bwMode="auto">
            <a:xfrm>
              <a:off x="2604630" y="4508108"/>
              <a:ext cx="1020186" cy="1101786"/>
            </a:xfrm>
            <a:custGeom>
              <a:avLst/>
              <a:gdLst>
                <a:gd name="T0" fmla="*/ 1451609111 w 631"/>
                <a:gd name="T1" fmla="*/ 1234876042 h 753"/>
                <a:gd name="T2" fmla="*/ 1436488187 w 631"/>
                <a:gd name="T3" fmla="*/ 1078626471 h 753"/>
                <a:gd name="T4" fmla="*/ 1376004490 w 631"/>
                <a:gd name="T5" fmla="*/ 1018142766 h 753"/>
                <a:gd name="T6" fmla="*/ 1328120770 w 631"/>
                <a:gd name="T7" fmla="*/ 1063505545 h 753"/>
                <a:gd name="T8" fmla="*/ 1376004490 w 631"/>
                <a:gd name="T9" fmla="*/ 894654408 h 753"/>
                <a:gd name="T10" fmla="*/ 1436488187 w 631"/>
                <a:gd name="T11" fmla="*/ 786288365 h 753"/>
                <a:gd name="T12" fmla="*/ 1514612167 w 631"/>
                <a:gd name="T13" fmla="*/ 725804660 h 753"/>
                <a:gd name="T14" fmla="*/ 1544854016 w 631"/>
                <a:gd name="T15" fmla="*/ 539313235 h 753"/>
                <a:gd name="T16" fmla="*/ 1514612167 w 631"/>
                <a:gd name="T17" fmla="*/ 430945803 h 753"/>
                <a:gd name="T18" fmla="*/ 1391125414 w 631"/>
                <a:gd name="T19" fmla="*/ 370461999 h 753"/>
                <a:gd name="T20" fmla="*/ 1282757998 w 631"/>
                <a:gd name="T21" fmla="*/ 355341073 h 753"/>
                <a:gd name="T22" fmla="*/ 1189513093 w 631"/>
                <a:gd name="T23" fmla="*/ 277217081 h 753"/>
                <a:gd name="T24" fmla="*/ 1189513093 w 631"/>
                <a:gd name="T25" fmla="*/ 199091452 h 753"/>
                <a:gd name="T26" fmla="*/ 1096266601 w 631"/>
                <a:gd name="T27" fmla="*/ 214212428 h 753"/>
                <a:gd name="T28" fmla="*/ 1035782904 w 631"/>
                <a:gd name="T29" fmla="*/ 123486820 h 753"/>
                <a:gd name="T30" fmla="*/ 987900772 w 631"/>
                <a:gd name="T31" fmla="*/ 75604656 h 753"/>
                <a:gd name="T32" fmla="*/ 912296151 w 631"/>
                <a:gd name="T33" fmla="*/ 45362791 h 753"/>
                <a:gd name="T34" fmla="*/ 788807612 w 631"/>
                <a:gd name="T35" fmla="*/ 45362791 h 753"/>
                <a:gd name="T36" fmla="*/ 773686688 w 631"/>
                <a:gd name="T37" fmla="*/ 183970526 h 753"/>
                <a:gd name="T38" fmla="*/ 680441783 w 631"/>
                <a:gd name="T39" fmla="*/ 262096155 h 753"/>
                <a:gd name="T40" fmla="*/ 587195291 w 631"/>
                <a:gd name="T41" fmla="*/ 385582925 h 753"/>
                <a:gd name="T42" fmla="*/ 433466689 w 631"/>
                <a:gd name="T43" fmla="*/ 322579860 h 753"/>
                <a:gd name="T44" fmla="*/ 355341022 w 631"/>
                <a:gd name="T45" fmla="*/ 355341073 h 753"/>
                <a:gd name="T46" fmla="*/ 385582870 w 631"/>
                <a:gd name="T47" fmla="*/ 493950457 h 753"/>
                <a:gd name="T48" fmla="*/ 340220098 w 631"/>
                <a:gd name="T49" fmla="*/ 524192309 h 753"/>
                <a:gd name="T50" fmla="*/ 246975193 w 631"/>
                <a:gd name="T51" fmla="*/ 569555088 h 753"/>
                <a:gd name="T52" fmla="*/ 186491447 w 631"/>
                <a:gd name="T53" fmla="*/ 509071383 h 753"/>
                <a:gd name="T54" fmla="*/ 93244930 w 631"/>
                <a:gd name="T55" fmla="*/ 524192309 h 753"/>
                <a:gd name="T56" fmla="*/ 15120930 w 631"/>
                <a:gd name="T57" fmla="*/ 602316301 h 753"/>
                <a:gd name="T58" fmla="*/ 15120930 w 631"/>
                <a:gd name="T59" fmla="*/ 617437227 h 753"/>
                <a:gd name="T60" fmla="*/ 47882145 w 631"/>
                <a:gd name="T61" fmla="*/ 693041859 h 753"/>
                <a:gd name="T62" fmla="*/ 93244930 w 631"/>
                <a:gd name="T63" fmla="*/ 708162785 h 753"/>
                <a:gd name="T64" fmla="*/ 186491447 w 631"/>
                <a:gd name="T65" fmla="*/ 725804660 h 753"/>
                <a:gd name="T66" fmla="*/ 201612371 w 631"/>
                <a:gd name="T67" fmla="*/ 786288365 h 753"/>
                <a:gd name="T68" fmla="*/ 231854269 w 631"/>
                <a:gd name="T69" fmla="*/ 771167438 h 753"/>
                <a:gd name="T70" fmla="*/ 279736401 w 631"/>
                <a:gd name="T71" fmla="*/ 831651143 h 753"/>
                <a:gd name="T72" fmla="*/ 309978250 w 631"/>
                <a:gd name="T73" fmla="*/ 864412555 h 753"/>
                <a:gd name="T74" fmla="*/ 355341022 w 631"/>
                <a:gd name="T75" fmla="*/ 972779987 h 753"/>
                <a:gd name="T76" fmla="*/ 448587613 w 631"/>
                <a:gd name="T77" fmla="*/ 1048384618 h 753"/>
                <a:gd name="T78" fmla="*/ 463708538 w 631"/>
                <a:gd name="T79" fmla="*/ 1171871389 h 753"/>
                <a:gd name="T80" fmla="*/ 509071310 w 631"/>
                <a:gd name="T81" fmla="*/ 1325601600 h 753"/>
                <a:gd name="T82" fmla="*/ 448587613 w 631"/>
                <a:gd name="T83" fmla="*/ 1295359748 h 753"/>
                <a:gd name="T84" fmla="*/ 433466689 w 631"/>
                <a:gd name="T85" fmla="*/ 1449088371 h 753"/>
                <a:gd name="T86" fmla="*/ 385582870 w 631"/>
                <a:gd name="T87" fmla="*/ 1696063897 h 753"/>
                <a:gd name="T88" fmla="*/ 448587613 w 631"/>
                <a:gd name="T89" fmla="*/ 1759068550 h 753"/>
                <a:gd name="T90" fmla="*/ 572074367 w 631"/>
                <a:gd name="T91" fmla="*/ 1819552255 h 753"/>
                <a:gd name="T92" fmla="*/ 665320859 w 631"/>
                <a:gd name="T93" fmla="*/ 1789310403 h 753"/>
                <a:gd name="T94" fmla="*/ 773686688 w 631"/>
                <a:gd name="T95" fmla="*/ 1852313468 h 753"/>
                <a:gd name="T96" fmla="*/ 864412431 w 631"/>
                <a:gd name="T97" fmla="*/ 1882555321 h 753"/>
                <a:gd name="T98" fmla="*/ 957658923 w 631"/>
                <a:gd name="T99" fmla="*/ 1804431329 h 753"/>
                <a:gd name="T100" fmla="*/ 1050903828 w 631"/>
                <a:gd name="T101" fmla="*/ 1680942971 h 753"/>
                <a:gd name="T102" fmla="*/ 1174392169 w 631"/>
                <a:gd name="T103" fmla="*/ 1696063897 h 753"/>
                <a:gd name="T104" fmla="*/ 1234875865 w 631"/>
                <a:gd name="T105" fmla="*/ 1680942971 h 753"/>
                <a:gd name="T106" fmla="*/ 1328120770 w 631"/>
                <a:gd name="T107" fmla="*/ 1743947624 h 753"/>
                <a:gd name="T108" fmla="*/ 1436488187 w 631"/>
                <a:gd name="T109" fmla="*/ 1680942971 h 753"/>
                <a:gd name="T110" fmla="*/ 1514612167 w 631"/>
                <a:gd name="T111" fmla="*/ 1572576729 h 753"/>
                <a:gd name="T112" fmla="*/ 1451609111 w 631"/>
                <a:gd name="T113" fmla="*/ 1496972098 h 753"/>
                <a:gd name="T114" fmla="*/ 1421367262 w 631"/>
                <a:gd name="T115" fmla="*/ 1358362813 h 75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31"/>
                <a:gd name="T175" fmla="*/ 0 h 753"/>
                <a:gd name="T176" fmla="*/ 631 w 631"/>
                <a:gd name="T177" fmla="*/ 753 h 75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31" h="753">
                  <a:moveTo>
                    <a:pt x="558" y="520"/>
                  </a:moveTo>
                  <a:lnTo>
                    <a:pt x="564" y="514"/>
                  </a:lnTo>
                  <a:lnTo>
                    <a:pt x="570" y="520"/>
                  </a:lnTo>
                  <a:lnTo>
                    <a:pt x="570" y="514"/>
                  </a:lnTo>
                  <a:lnTo>
                    <a:pt x="570" y="508"/>
                  </a:lnTo>
                  <a:lnTo>
                    <a:pt x="576" y="508"/>
                  </a:lnTo>
                  <a:lnTo>
                    <a:pt x="582" y="508"/>
                  </a:lnTo>
                  <a:lnTo>
                    <a:pt x="582" y="502"/>
                  </a:lnTo>
                  <a:lnTo>
                    <a:pt x="582" y="496"/>
                  </a:lnTo>
                  <a:lnTo>
                    <a:pt x="582" y="490"/>
                  </a:lnTo>
                  <a:lnTo>
                    <a:pt x="576" y="490"/>
                  </a:lnTo>
                  <a:lnTo>
                    <a:pt x="576" y="484"/>
                  </a:lnTo>
                  <a:lnTo>
                    <a:pt x="576" y="471"/>
                  </a:lnTo>
                  <a:lnTo>
                    <a:pt x="570" y="471"/>
                  </a:lnTo>
                  <a:lnTo>
                    <a:pt x="564" y="465"/>
                  </a:lnTo>
                  <a:lnTo>
                    <a:pt x="564" y="459"/>
                  </a:lnTo>
                  <a:lnTo>
                    <a:pt x="570" y="459"/>
                  </a:lnTo>
                  <a:lnTo>
                    <a:pt x="570" y="453"/>
                  </a:lnTo>
                  <a:lnTo>
                    <a:pt x="576" y="447"/>
                  </a:lnTo>
                  <a:lnTo>
                    <a:pt x="576" y="441"/>
                  </a:lnTo>
                  <a:lnTo>
                    <a:pt x="570" y="435"/>
                  </a:lnTo>
                  <a:lnTo>
                    <a:pt x="570" y="428"/>
                  </a:lnTo>
                  <a:lnTo>
                    <a:pt x="564" y="428"/>
                  </a:lnTo>
                  <a:lnTo>
                    <a:pt x="564" y="422"/>
                  </a:lnTo>
                  <a:lnTo>
                    <a:pt x="564" y="416"/>
                  </a:lnTo>
                  <a:lnTo>
                    <a:pt x="570" y="416"/>
                  </a:lnTo>
                  <a:lnTo>
                    <a:pt x="564" y="416"/>
                  </a:lnTo>
                  <a:lnTo>
                    <a:pt x="564" y="410"/>
                  </a:lnTo>
                  <a:lnTo>
                    <a:pt x="564" y="404"/>
                  </a:lnTo>
                  <a:lnTo>
                    <a:pt x="558" y="404"/>
                  </a:lnTo>
                  <a:lnTo>
                    <a:pt x="558" y="398"/>
                  </a:lnTo>
                  <a:lnTo>
                    <a:pt x="552" y="404"/>
                  </a:lnTo>
                  <a:lnTo>
                    <a:pt x="546" y="404"/>
                  </a:lnTo>
                  <a:lnTo>
                    <a:pt x="539" y="404"/>
                  </a:lnTo>
                  <a:lnTo>
                    <a:pt x="539" y="410"/>
                  </a:lnTo>
                  <a:lnTo>
                    <a:pt x="533" y="416"/>
                  </a:lnTo>
                  <a:lnTo>
                    <a:pt x="539" y="416"/>
                  </a:lnTo>
                  <a:lnTo>
                    <a:pt x="533" y="416"/>
                  </a:lnTo>
                  <a:lnTo>
                    <a:pt x="539" y="416"/>
                  </a:lnTo>
                  <a:lnTo>
                    <a:pt x="533" y="428"/>
                  </a:lnTo>
                  <a:lnTo>
                    <a:pt x="527" y="428"/>
                  </a:lnTo>
                  <a:lnTo>
                    <a:pt x="521" y="428"/>
                  </a:lnTo>
                  <a:lnTo>
                    <a:pt x="521" y="422"/>
                  </a:lnTo>
                  <a:lnTo>
                    <a:pt x="527" y="422"/>
                  </a:lnTo>
                  <a:lnTo>
                    <a:pt x="527" y="416"/>
                  </a:lnTo>
                  <a:lnTo>
                    <a:pt x="533" y="410"/>
                  </a:lnTo>
                  <a:lnTo>
                    <a:pt x="527" y="404"/>
                  </a:lnTo>
                  <a:lnTo>
                    <a:pt x="527" y="398"/>
                  </a:lnTo>
                  <a:lnTo>
                    <a:pt x="533" y="398"/>
                  </a:lnTo>
                  <a:lnTo>
                    <a:pt x="533" y="392"/>
                  </a:lnTo>
                  <a:lnTo>
                    <a:pt x="539" y="379"/>
                  </a:lnTo>
                  <a:lnTo>
                    <a:pt x="546" y="373"/>
                  </a:lnTo>
                  <a:lnTo>
                    <a:pt x="546" y="367"/>
                  </a:lnTo>
                  <a:lnTo>
                    <a:pt x="546" y="361"/>
                  </a:lnTo>
                  <a:lnTo>
                    <a:pt x="546" y="355"/>
                  </a:lnTo>
                  <a:lnTo>
                    <a:pt x="558" y="355"/>
                  </a:lnTo>
                  <a:lnTo>
                    <a:pt x="558" y="349"/>
                  </a:lnTo>
                  <a:lnTo>
                    <a:pt x="564" y="343"/>
                  </a:lnTo>
                  <a:lnTo>
                    <a:pt x="570" y="337"/>
                  </a:lnTo>
                  <a:lnTo>
                    <a:pt x="570" y="330"/>
                  </a:lnTo>
                  <a:lnTo>
                    <a:pt x="576" y="330"/>
                  </a:lnTo>
                  <a:lnTo>
                    <a:pt x="576" y="324"/>
                  </a:lnTo>
                  <a:lnTo>
                    <a:pt x="576" y="318"/>
                  </a:lnTo>
                  <a:lnTo>
                    <a:pt x="570" y="324"/>
                  </a:lnTo>
                  <a:lnTo>
                    <a:pt x="570" y="318"/>
                  </a:lnTo>
                  <a:lnTo>
                    <a:pt x="570" y="312"/>
                  </a:lnTo>
                  <a:lnTo>
                    <a:pt x="576" y="312"/>
                  </a:lnTo>
                  <a:lnTo>
                    <a:pt x="582" y="312"/>
                  </a:lnTo>
                  <a:lnTo>
                    <a:pt x="582" y="318"/>
                  </a:lnTo>
                  <a:lnTo>
                    <a:pt x="588" y="318"/>
                  </a:lnTo>
                  <a:lnTo>
                    <a:pt x="595" y="318"/>
                  </a:lnTo>
                  <a:lnTo>
                    <a:pt x="595" y="312"/>
                  </a:lnTo>
                  <a:lnTo>
                    <a:pt x="601" y="312"/>
                  </a:lnTo>
                  <a:lnTo>
                    <a:pt x="601" y="306"/>
                  </a:lnTo>
                  <a:lnTo>
                    <a:pt x="601" y="300"/>
                  </a:lnTo>
                  <a:lnTo>
                    <a:pt x="601" y="294"/>
                  </a:lnTo>
                  <a:lnTo>
                    <a:pt x="601" y="288"/>
                  </a:lnTo>
                  <a:lnTo>
                    <a:pt x="601" y="281"/>
                  </a:lnTo>
                  <a:lnTo>
                    <a:pt x="601" y="275"/>
                  </a:lnTo>
                  <a:lnTo>
                    <a:pt x="607" y="269"/>
                  </a:lnTo>
                  <a:lnTo>
                    <a:pt x="601" y="263"/>
                  </a:lnTo>
                  <a:lnTo>
                    <a:pt x="601" y="257"/>
                  </a:lnTo>
                  <a:lnTo>
                    <a:pt x="607" y="251"/>
                  </a:lnTo>
                  <a:lnTo>
                    <a:pt x="607" y="245"/>
                  </a:lnTo>
                  <a:lnTo>
                    <a:pt x="607" y="239"/>
                  </a:lnTo>
                  <a:lnTo>
                    <a:pt x="613" y="232"/>
                  </a:lnTo>
                  <a:lnTo>
                    <a:pt x="613" y="220"/>
                  </a:lnTo>
                  <a:lnTo>
                    <a:pt x="613" y="214"/>
                  </a:lnTo>
                  <a:lnTo>
                    <a:pt x="619" y="214"/>
                  </a:lnTo>
                  <a:lnTo>
                    <a:pt x="619" y="208"/>
                  </a:lnTo>
                  <a:lnTo>
                    <a:pt x="619" y="202"/>
                  </a:lnTo>
                  <a:lnTo>
                    <a:pt x="625" y="202"/>
                  </a:lnTo>
                  <a:lnTo>
                    <a:pt x="631" y="190"/>
                  </a:lnTo>
                  <a:lnTo>
                    <a:pt x="631" y="183"/>
                  </a:lnTo>
                  <a:lnTo>
                    <a:pt x="619" y="177"/>
                  </a:lnTo>
                  <a:lnTo>
                    <a:pt x="613" y="177"/>
                  </a:lnTo>
                  <a:lnTo>
                    <a:pt x="607" y="177"/>
                  </a:lnTo>
                  <a:lnTo>
                    <a:pt x="601" y="177"/>
                  </a:lnTo>
                  <a:lnTo>
                    <a:pt x="601" y="171"/>
                  </a:lnTo>
                  <a:lnTo>
                    <a:pt x="595" y="171"/>
                  </a:lnTo>
                  <a:lnTo>
                    <a:pt x="588" y="171"/>
                  </a:lnTo>
                  <a:lnTo>
                    <a:pt x="582" y="171"/>
                  </a:lnTo>
                  <a:lnTo>
                    <a:pt x="576" y="171"/>
                  </a:lnTo>
                  <a:lnTo>
                    <a:pt x="570" y="165"/>
                  </a:lnTo>
                  <a:lnTo>
                    <a:pt x="564" y="165"/>
                  </a:lnTo>
                  <a:lnTo>
                    <a:pt x="558" y="165"/>
                  </a:lnTo>
                  <a:lnTo>
                    <a:pt x="558" y="159"/>
                  </a:lnTo>
                  <a:lnTo>
                    <a:pt x="558" y="153"/>
                  </a:lnTo>
                  <a:lnTo>
                    <a:pt x="552" y="153"/>
                  </a:lnTo>
                  <a:lnTo>
                    <a:pt x="552" y="147"/>
                  </a:lnTo>
                  <a:lnTo>
                    <a:pt x="546" y="141"/>
                  </a:lnTo>
                  <a:lnTo>
                    <a:pt x="539" y="147"/>
                  </a:lnTo>
                  <a:lnTo>
                    <a:pt x="539" y="141"/>
                  </a:lnTo>
                  <a:lnTo>
                    <a:pt x="533" y="141"/>
                  </a:lnTo>
                  <a:lnTo>
                    <a:pt x="527" y="147"/>
                  </a:lnTo>
                  <a:lnTo>
                    <a:pt x="527" y="141"/>
                  </a:lnTo>
                  <a:lnTo>
                    <a:pt x="521" y="141"/>
                  </a:lnTo>
                  <a:lnTo>
                    <a:pt x="515" y="141"/>
                  </a:lnTo>
                  <a:lnTo>
                    <a:pt x="515" y="134"/>
                  </a:lnTo>
                  <a:lnTo>
                    <a:pt x="509" y="134"/>
                  </a:lnTo>
                  <a:lnTo>
                    <a:pt x="509" y="141"/>
                  </a:lnTo>
                  <a:lnTo>
                    <a:pt x="503" y="141"/>
                  </a:lnTo>
                  <a:lnTo>
                    <a:pt x="497" y="141"/>
                  </a:lnTo>
                  <a:lnTo>
                    <a:pt x="497" y="134"/>
                  </a:lnTo>
                  <a:lnTo>
                    <a:pt x="497" y="128"/>
                  </a:lnTo>
                  <a:lnTo>
                    <a:pt x="490" y="128"/>
                  </a:lnTo>
                  <a:lnTo>
                    <a:pt x="490" y="122"/>
                  </a:lnTo>
                  <a:lnTo>
                    <a:pt x="484" y="122"/>
                  </a:lnTo>
                  <a:lnTo>
                    <a:pt x="484" y="116"/>
                  </a:lnTo>
                  <a:lnTo>
                    <a:pt x="478" y="116"/>
                  </a:lnTo>
                  <a:lnTo>
                    <a:pt x="478" y="110"/>
                  </a:lnTo>
                  <a:lnTo>
                    <a:pt x="472" y="110"/>
                  </a:lnTo>
                  <a:lnTo>
                    <a:pt x="472" y="116"/>
                  </a:lnTo>
                  <a:lnTo>
                    <a:pt x="472" y="110"/>
                  </a:lnTo>
                  <a:lnTo>
                    <a:pt x="472" y="104"/>
                  </a:lnTo>
                  <a:lnTo>
                    <a:pt x="472" y="98"/>
                  </a:lnTo>
                  <a:lnTo>
                    <a:pt x="466" y="98"/>
                  </a:lnTo>
                  <a:lnTo>
                    <a:pt x="466" y="92"/>
                  </a:lnTo>
                  <a:lnTo>
                    <a:pt x="472" y="92"/>
                  </a:lnTo>
                  <a:lnTo>
                    <a:pt x="466" y="92"/>
                  </a:lnTo>
                  <a:lnTo>
                    <a:pt x="466" y="85"/>
                  </a:lnTo>
                  <a:lnTo>
                    <a:pt x="472" y="85"/>
                  </a:lnTo>
                  <a:lnTo>
                    <a:pt x="472" y="79"/>
                  </a:lnTo>
                  <a:lnTo>
                    <a:pt x="466" y="79"/>
                  </a:lnTo>
                  <a:lnTo>
                    <a:pt x="466" y="85"/>
                  </a:lnTo>
                  <a:lnTo>
                    <a:pt x="460" y="85"/>
                  </a:lnTo>
                  <a:lnTo>
                    <a:pt x="460" y="92"/>
                  </a:lnTo>
                  <a:lnTo>
                    <a:pt x="460" y="98"/>
                  </a:lnTo>
                  <a:lnTo>
                    <a:pt x="448" y="98"/>
                  </a:lnTo>
                  <a:lnTo>
                    <a:pt x="441" y="98"/>
                  </a:lnTo>
                  <a:lnTo>
                    <a:pt x="435" y="98"/>
                  </a:lnTo>
                  <a:lnTo>
                    <a:pt x="435" y="92"/>
                  </a:lnTo>
                  <a:lnTo>
                    <a:pt x="441" y="92"/>
                  </a:lnTo>
                  <a:lnTo>
                    <a:pt x="435" y="85"/>
                  </a:lnTo>
                  <a:lnTo>
                    <a:pt x="435" y="79"/>
                  </a:lnTo>
                  <a:lnTo>
                    <a:pt x="441" y="73"/>
                  </a:lnTo>
                  <a:lnTo>
                    <a:pt x="435" y="73"/>
                  </a:lnTo>
                  <a:lnTo>
                    <a:pt x="435" y="67"/>
                  </a:lnTo>
                  <a:lnTo>
                    <a:pt x="429" y="67"/>
                  </a:lnTo>
                  <a:lnTo>
                    <a:pt x="423" y="67"/>
                  </a:lnTo>
                  <a:lnTo>
                    <a:pt x="417" y="67"/>
                  </a:lnTo>
                  <a:lnTo>
                    <a:pt x="411" y="67"/>
                  </a:lnTo>
                  <a:lnTo>
                    <a:pt x="411" y="61"/>
                  </a:lnTo>
                  <a:lnTo>
                    <a:pt x="411" y="55"/>
                  </a:lnTo>
                  <a:lnTo>
                    <a:pt x="411" y="49"/>
                  </a:lnTo>
                  <a:lnTo>
                    <a:pt x="405" y="55"/>
                  </a:lnTo>
                  <a:lnTo>
                    <a:pt x="405" y="49"/>
                  </a:lnTo>
                  <a:lnTo>
                    <a:pt x="405" y="55"/>
                  </a:lnTo>
                  <a:lnTo>
                    <a:pt x="405" y="49"/>
                  </a:lnTo>
                  <a:lnTo>
                    <a:pt x="399" y="49"/>
                  </a:lnTo>
                  <a:lnTo>
                    <a:pt x="399" y="55"/>
                  </a:lnTo>
                  <a:lnTo>
                    <a:pt x="399" y="49"/>
                  </a:lnTo>
                  <a:lnTo>
                    <a:pt x="392" y="49"/>
                  </a:lnTo>
                  <a:lnTo>
                    <a:pt x="392" y="43"/>
                  </a:lnTo>
                  <a:lnTo>
                    <a:pt x="392" y="36"/>
                  </a:lnTo>
                  <a:lnTo>
                    <a:pt x="392" y="30"/>
                  </a:lnTo>
                  <a:lnTo>
                    <a:pt x="386" y="30"/>
                  </a:lnTo>
                  <a:lnTo>
                    <a:pt x="386" y="24"/>
                  </a:lnTo>
                  <a:lnTo>
                    <a:pt x="386" y="30"/>
                  </a:lnTo>
                  <a:lnTo>
                    <a:pt x="380" y="30"/>
                  </a:lnTo>
                  <a:lnTo>
                    <a:pt x="374" y="30"/>
                  </a:lnTo>
                  <a:lnTo>
                    <a:pt x="374" y="36"/>
                  </a:lnTo>
                  <a:lnTo>
                    <a:pt x="374" y="30"/>
                  </a:lnTo>
                  <a:lnTo>
                    <a:pt x="368" y="30"/>
                  </a:lnTo>
                  <a:lnTo>
                    <a:pt x="368" y="24"/>
                  </a:lnTo>
                  <a:lnTo>
                    <a:pt x="362" y="24"/>
                  </a:lnTo>
                  <a:lnTo>
                    <a:pt x="362" y="18"/>
                  </a:lnTo>
                  <a:lnTo>
                    <a:pt x="362" y="12"/>
                  </a:lnTo>
                  <a:lnTo>
                    <a:pt x="362" y="6"/>
                  </a:lnTo>
                  <a:lnTo>
                    <a:pt x="356" y="6"/>
                  </a:lnTo>
                  <a:lnTo>
                    <a:pt x="356" y="0"/>
                  </a:lnTo>
                  <a:lnTo>
                    <a:pt x="350" y="0"/>
                  </a:lnTo>
                  <a:lnTo>
                    <a:pt x="337" y="6"/>
                  </a:lnTo>
                  <a:lnTo>
                    <a:pt x="325" y="6"/>
                  </a:lnTo>
                  <a:lnTo>
                    <a:pt x="325" y="12"/>
                  </a:lnTo>
                  <a:lnTo>
                    <a:pt x="319" y="12"/>
                  </a:lnTo>
                  <a:lnTo>
                    <a:pt x="313" y="12"/>
                  </a:lnTo>
                  <a:lnTo>
                    <a:pt x="313" y="18"/>
                  </a:lnTo>
                  <a:lnTo>
                    <a:pt x="313" y="24"/>
                  </a:lnTo>
                  <a:lnTo>
                    <a:pt x="313" y="30"/>
                  </a:lnTo>
                  <a:lnTo>
                    <a:pt x="307" y="30"/>
                  </a:lnTo>
                  <a:lnTo>
                    <a:pt x="313" y="36"/>
                  </a:lnTo>
                  <a:lnTo>
                    <a:pt x="307" y="43"/>
                  </a:lnTo>
                  <a:lnTo>
                    <a:pt x="313" y="49"/>
                  </a:lnTo>
                  <a:lnTo>
                    <a:pt x="307" y="61"/>
                  </a:lnTo>
                  <a:lnTo>
                    <a:pt x="313" y="61"/>
                  </a:lnTo>
                  <a:lnTo>
                    <a:pt x="307" y="61"/>
                  </a:lnTo>
                  <a:lnTo>
                    <a:pt x="307" y="67"/>
                  </a:lnTo>
                  <a:lnTo>
                    <a:pt x="307" y="73"/>
                  </a:lnTo>
                  <a:lnTo>
                    <a:pt x="313" y="73"/>
                  </a:lnTo>
                  <a:lnTo>
                    <a:pt x="313" y="79"/>
                  </a:lnTo>
                  <a:lnTo>
                    <a:pt x="307" y="73"/>
                  </a:lnTo>
                  <a:lnTo>
                    <a:pt x="307" y="79"/>
                  </a:lnTo>
                  <a:lnTo>
                    <a:pt x="307" y="85"/>
                  </a:lnTo>
                  <a:lnTo>
                    <a:pt x="300" y="85"/>
                  </a:lnTo>
                  <a:lnTo>
                    <a:pt x="294" y="92"/>
                  </a:lnTo>
                  <a:lnTo>
                    <a:pt x="288" y="98"/>
                  </a:lnTo>
                  <a:lnTo>
                    <a:pt x="282" y="104"/>
                  </a:lnTo>
                  <a:lnTo>
                    <a:pt x="276" y="104"/>
                  </a:lnTo>
                  <a:lnTo>
                    <a:pt x="270" y="104"/>
                  </a:lnTo>
                  <a:lnTo>
                    <a:pt x="264" y="110"/>
                  </a:lnTo>
                  <a:lnTo>
                    <a:pt x="258" y="110"/>
                  </a:lnTo>
                  <a:lnTo>
                    <a:pt x="245" y="122"/>
                  </a:lnTo>
                  <a:lnTo>
                    <a:pt x="239" y="122"/>
                  </a:lnTo>
                  <a:lnTo>
                    <a:pt x="239" y="134"/>
                  </a:lnTo>
                  <a:lnTo>
                    <a:pt x="239" y="141"/>
                  </a:lnTo>
                  <a:lnTo>
                    <a:pt x="251" y="141"/>
                  </a:lnTo>
                  <a:lnTo>
                    <a:pt x="251" y="147"/>
                  </a:lnTo>
                  <a:lnTo>
                    <a:pt x="245" y="147"/>
                  </a:lnTo>
                  <a:lnTo>
                    <a:pt x="239" y="147"/>
                  </a:lnTo>
                  <a:lnTo>
                    <a:pt x="233" y="153"/>
                  </a:lnTo>
                  <a:lnTo>
                    <a:pt x="221" y="159"/>
                  </a:lnTo>
                  <a:lnTo>
                    <a:pt x="215" y="153"/>
                  </a:lnTo>
                  <a:lnTo>
                    <a:pt x="202" y="153"/>
                  </a:lnTo>
                  <a:lnTo>
                    <a:pt x="190" y="153"/>
                  </a:lnTo>
                  <a:lnTo>
                    <a:pt x="190" y="147"/>
                  </a:lnTo>
                  <a:lnTo>
                    <a:pt x="178" y="147"/>
                  </a:lnTo>
                  <a:lnTo>
                    <a:pt x="178" y="153"/>
                  </a:lnTo>
                  <a:lnTo>
                    <a:pt x="178" y="147"/>
                  </a:lnTo>
                  <a:lnTo>
                    <a:pt x="172" y="141"/>
                  </a:lnTo>
                  <a:lnTo>
                    <a:pt x="172" y="134"/>
                  </a:lnTo>
                  <a:lnTo>
                    <a:pt x="172" y="128"/>
                  </a:lnTo>
                  <a:lnTo>
                    <a:pt x="172" y="122"/>
                  </a:lnTo>
                  <a:lnTo>
                    <a:pt x="166" y="122"/>
                  </a:lnTo>
                  <a:lnTo>
                    <a:pt x="160" y="122"/>
                  </a:lnTo>
                  <a:lnTo>
                    <a:pt x="153" y="128"/>
                  </a:lnTo>
                  <a:lnTo>
                    <a:pt x="153" y="122"/>
                  </a:lnTo>
                  <a:lnTo>
                    <a:pt x="147" y="122"/>
                  </a:lnTo>
                  <a:lnTo>
                    <a:pt x="141" y="122"/>
                  </a:lnTo>
                  <a:lnTo>
                    <a:pt x="135" y="122"/>
                  </a:lnTo>
                  <a:lnTo>
                    <a:pt x="141" y="128"/>
                  </a:lnTo>
                  <a:lnTo>
                    <a:pt x="141" y="134"/>
                  </a:lnTo>
                  <a:lnTo>
                    <a:pt x="141" y="141"/>
                  </a:lnTo>
                  <a:lnTo>
                    <a:pt x="147" y="147"/>
                  </a:lnTo>
                  <a:lnTo>
                    <a:pt x="147" y="153"/>
                  </a:lnTo>
                  <a:lnTo>
                    <a:pt x="153" y="159"/>
                  </a:lnTo>
                  <a:lnTo>
                    <a:pt x="153" y="165"/>
                  </a:lnTo>
                  <a:lnTo>
                    <a:pt x="153" y="159"/>
                  </a:lnTo>
                  <a:lnTo>
                    <a:pt x="153" y="165"/>
                  </a:lnTo>
                  <a:lnTo>
                    <a:pt x="153" y="177"/>
                  </a:lnTo>
                  <a:lnTo>
                    <a:pt x="153" y="183"/>
                  </a:lnTo>
                  <a:lnTo>
                    <a:pt x="160" y="177"/>
                  </a:lnTo>
                  <a:lnTo>
                    <a:pt x="160" y="196"/>
                  </a:lnTo>
                  <a:lnTo>
                    <a:pt x="153" y="196"/>
                  </a:lnTo>
                  <a:lnTo>
                    <a:pt x="160" y="196"/>
                  </a:lnTo>
                  <a:lnTo>
                    <a:pt x="160" y="202"/>
                  </a:lnTo>
                  <a:lnTo>
                    <a:pt x="160" y="208"/>
                  </a:lnTo>
                  <a:lnTo>
                    <a:pt x="166" y="208"/>
                  </a:lnTo>
                  <a:lnTo>
                    <a:pt x="166" y="214"/>
                  </a:lnTo>
                  <a:lnTo>
                    <a:pt x="160" y="214"/>
                  </a:lnTo>
                  <a:lnTo>
                    <a:pt x="147" y="214"/>
                  </a:lnTo>
                  <a:lnTo>
                    <a:pt x="141" y="214"/>
                  </a:lnTo>
                  <a:lnTo>
                    <a:pt x="147" y="208"/>
                  </a:lnTo>
                  <a:lnTo>
                    <a:pt x="141" y="208"/>
                  </a:lnTo>
                  <a:lnTo>
                    <a:pt x="135" y="208"/>
                  </a:lnTo>
                  <a:lnTo>
                    <a:pt x="135" y="214"/>
                  </a:lnTo>
                  <a:lnTo>
                    <a:pt x="135" y="220"/>
                  </a:lnTo>
                  <a:lnTo>
                    <a:pt x="135" y="214"/>
                  </a:lnTo>
                  <a:lnTo>
                    <a:pt x="129" y="214"/>
                  </a:lnTo>
                  <a:lnTo>
                    <a:pt x="129" y="220"/>
                  </a:lnTo>
                  <a:lnTo>
                    <a:pt x="123" y="214"/>
                  </a:lnTo>
                  <a:lnTo>
                    <a:pt x="123" y="208"/>
                  </a:lnTo>
                  <a:lnTo>
                    <a:pt x="117" y="214"/>
                  </a:lnTo>
                  <a:lnTo>
                    <a:pt x="111" y="214"/>
                  </a:lnTo>
                  <a:lnTo>
                    <a:pt x="104" y="226"/>
                  </a:lnTo>
                  <a:lnTo>
                    <a:pt x="98" y="226"/>
                  </a:lnTo>
                  <a:lnTo>
                    <a:pt x="98" y="220"/>
                  </a:lnTo>
                  <a:lnTo>
                    <a:pt x="98" y="214"/>
                  </a:lnTo>
                  <a:lnTo>
                    <a:pt x="92" y="208"/>
                  </a:lnTo>
                  <a:lnTo>
                    <a:pt x="92" y="202"/>
                  </a:lnTo>
                  <a:lnTo>
                    <a:pt x="86" y="202"/>
                  </a:lnTo>
                  <a:lnTo>
                    <a:pt x="86" y="196"/>
                  </a:lnTo>
                  <a:lnTo>
                    <a:pt x="80" y="202"/>
                  </a:lnTo>
                  <a:lnTo>
                    <a:pt x="80" y="196"/>
                  </a:lnTo>
                  <a:lnTo>
                    <a:pt x="86" y="196"/>
                  </a:lnTo>
                  <a:lnTo>
                    <a:pt x="80" y="196"/>
                  </a:lnTo>
                  <a:lnTo>
                    <a:pt x="74" y="202"/>
                  </a:lnTo>
                  <a:lnTo>
                    <a:pt x="74" y="196"/>
                  </a:lnTo>
                  <a:lnTo>
                    <a:pt x="68" y="196"/>
                  </a:lnTo>
                  <a:lnTo>
                    <a:pt x="68" y="202"/>
                  </a:lnTo>
                  <a:lnTo>
                    <a:pt x="62" y="196"/>
                  </a:lnTo>
                  <a:lnTo>
                    <a:pt x="62" y="202"/>
                  </a:lnTo>
                  <a:lnTo>
                    <a:pt x="62" y="208"/>
                  </a:lnTo>
                  <a:lnTo>
                    <a:pt x="55" y="208"/>
                  </a:lnTo>
                  <a:lnTo>
                    <a:pt x="49" y="208"/>
                  </a:lnTo>
                  <a:lnTo>
                    <a:pt x="43" y="208"/>
                  </a:lnTo>
                  <a:lnTo>
                    <a:pt x="43" y="214"/>
                  </a:lnTo>
                  <a:lnTo>
                    <a:pt x="37" y="208"/>
                  </a:lnTo>
                  <a:lnTo>
                    <a:pt x="31" y="208"/>
                  </a:lnTo>
                  <a:lnTo>
                    <a:pt x="25" y="214"/>
                  </a:lnTo>
                  <a:lnTo>
                    <a:pt x="19" y="214"/>
                  </a:lnTo>
                  <a:lnTo>
                    <a:pt x="13" y="214"/>
                  </a:lnTo>
                  <a:lnTo>
                    <a:pt x="13" y="220"/>
                  </a:lnTo>
                  <a:lnTo>
                    <a:pt x="6" y="220"/>
                  </a:lnTo>
                  <a:lnTo>
                    <a:pt x="0" y="220"/>
                  </a:lnTo>
                  <a:lnTo>
                    <a:pt x="0" y="226"/>
                  </a:lnTo>
                  <a:lnTo>
                    <a:pt x="0" y="232"/>
                  </a:lnTo>
                  <a:lnTo>
                    <a:pt x="0" y="239"/>
                  </a:lnTo>
                  <a:lnTo>
                    <a:pt x="6" y="239"/>
                  </a:lnTo>
                  <a:lnTo>
                    <a:pt x="13" y="239"/>
                  </a:lnTo>
                  <a:lnTo>
                    <a:pt x="19" y="239"/>
                  </a:lnTo>
                  <a:lnTo>
                    <a:pt x="25" y="232"/>
                  </a:lnTo>
                  <a:lnTo>
                    <a:pt x="19" y="239"/>
                  </a:lnTo>
                  <a:lnTo>
                    <a:pt x="25" y="239"/>
                  </a:lnTo>
                  <a:lnTo>
                    <a:pt x="25" y="245"/>
                  </a:lnTo>
                  <a:lnTo>
                    <a:pt x="19" y="245"/>
                  </a:lnTo>
                  <a:lnTo>
                    <a:pt x="13" y="245"/>
                  </a:lnTo>
                  <a:lnTo>
                    <a:pt x="13" y="239"/>
                  </a:lnTo>
                  <a:lnTo>
                    <a:pt x="13" y="245"/>
                  </a:lnTo>
                  <a:lnTo>
                    <a:pt x="6" y="245"/>
                  </a:lnTo>
                  <a:lnTo>
                    <a:pt x="13" y="245"/>
                  </a:lnTo>
                  <a:lnTo>
                    <a:pt x="13" y="251"/>
                  </a:lnTo>
                  <a:lnTo>
                    <a:pt x="13" y="257"/>
                  </a:lnTo>
                  <a:lnTo>
                    <a:pt x="13" y="251"/>
                  </a:lnTo>
                  <a:lnTo>
                    <a:pt x="25" y="251"/>
                  </a:lnTo>
                  <a:lnTo>
                    <a:pt x="25" y="257"/>
                  </a:lnTo>
                  <a:lnTo>
                    <a:pt x="19" y="257"/>
                  </a:lnTo>
                  <a:lnTo>
                    <a:pt x="6" y="263"/>
                  </a:lnTo>
                  <a:lnTo>
                    <a:pt x="0" y="269"/>
                  </a:lnTo>
                  <a:lnTo>
                    <a:pt x="13" y="269"/>
                  </a:lnTo>
                  <a:lnTo>
                    <a:pt x="19" y="275"/>
                  </a:lnTo>
                  <a:lnTo>
                    <a:pt x="25" y="281"/>
                  </a:lnTo>
                  <a:lnTo>
                    <a:pt x="19" y="281"/>
                  </a:lnTo>
                  <a:lnTo>
                    <a:pt x="19" y="288"/>
                  </a:lnTo>
                  <a:lnTo>
                    <a:pt x="31" y="288"/>
                  </a:lnTo>
                  <a:lnTo>
                    <a:pt x="31" y="281"/>
                  </a:lnTo>
                  <a:lnTo>
                    <a:pt x="31" y="275"/>
                  </a:lnTo>
                  <a:lnTo>
                    <a:pt x="31" y="281"/>
                  </a:lnTo>
                  <a:lnTo>
                    <a:pt x="31" y="275"/>
                  </a:lnTo>
                  <a:lnTo>
                    <a:pt x="37" y="269"/>
                  </a:lnTo>
                  <a:lnTo>
                    <a:pt x="37" y="275"/>
                  </a:lnTo>
                  <a:lnTo>
                    <a:pt x="37" y="281"/>
                  </a:lnTo>
                  <a:lnTo>
                    <a:pt x="43" y="275"/>
                  </a:lnTo>
                  <a:lnTo>
                    <a:pt x="43" y="288"/>
                  </a:lnTo>
                  <a:lnTo>
                    <a:pt x="49" y="288"/>
                  </a:lnTo>
                  <a:lnTo>
                    <a:pt x="49" y="281"/>
                  </a:lnTo>
                  <a:lnTo>
                    <a:pt x="49" y="288"/>
                  </a:lnTo>
                  <a:lnTo>
                    <a:pt x="55" y="281"/>
                  </a:lnTo>
                  <a:lnTo>
                    <a:pt x="55" y="288"/>
                  </a:lnTo>
                  <a:lnTo>
                    <a:pt x="62" y="288"/>
                  </a:lnTo>
                  <a:lnTo>
                    <a:pt x="62" y="294"/>
                  </a:lnTo>
                  <a:lnTo>
                    <a:pt x="68" y="294"/>
                  </a:lnTo>
                  <a:lnTo>
                    <a:pt x="74" y="288"/>
                  </a:lnTo>
                  <a:lnTo>
                    <a:pt x="74" y="294"/>
                  </a:lnTo>
                  <a:lnTo>
                    <a:pt x="68" y="294"/>
                  </a:lnTo>
                  <a:lnTo>
                    <a:pt x="74" y="294"/>
                  </a:lnTo>
                  <a:lnTo>
                    <a:pt x="74" y="300"/>
                  </a:lnTo>
                  <a:lnTo>
                    <a:pt x="74" y="294"/>
                  </a:lnTo>
                  <a:lnTo>
                    <a:pt x="80" y="294"/>
                  </a:lnTo>
                  <a:lnTo>
                    <a:pt x="80" y="300"/>
                  </a:lnTo>
                  <a:lnTo>
                    <a:pt x="80" y="306"/>
                  </a:lnTo>
                  <a:lnTo>
                    <a:pt x="80" y="312"/>
                  </a:lnTo>
                  <a:lnTo>
                    <a:pt x="86" y="312"/>
                  </a:lnTo>
                  <a:lnTo>
                    <a:pt x="80" y="312"/>
                  </a:lnTo>
                  <a:lnTo>
                    <a:pt x="80" y="306"/>
                  </a:lnTo>
                  <a:lnTo>
                    <a:pt x="86" y="306"/>
                  </a:lnTo>
                  <a:lnTo>
                    <a:pt x="92" y="306"/>
                  </a:lnTo>
                  <a:lnTo>
                    <a:pt x="86" y="300"/>
                  </a:lnTo>
                  <a:lnTo>
                    <a:pt x="92" y="306"/>
                  </a:lnTo>
                  <a:lnTo>
                    <a:pt x="92" y="300"/>
                  </a:lnTo>
                  <a:lnTo>
                    <a:pt x="98" y="300"/>
                  </a:lnTo>
                  <a:lnTo>
                    <a:pt x="104" y="300"/>
                  </a:lnTo>
                  <a:lnTo>
                    <a:pt x="104" y="306"/>
                  </a:lnTo>
                  <a:lnTo>
                    <a:pt x="98" y="306"/>
                  </a:lnTo>
                  <a:lnTo>
                    <a:pt x="92" y="306"/>
                  </a:lnTo>
                  <a:lnTo>
                    <a:pt x="92" y="312"/>
                  </a:lnTo>
                  <a:lnTo>
                    <a:pt x="98" y="312"/>
                  </a:lnTo>
                  <a:lnTo>
                    <a:pt x="104" y="312"/>
                  </a:lnTo>
                  <a:lnTo>
                    <a:pt x="111" y="312"/>
                  </a:lnTo>
                  <a:lnTo>
                    <a:pt x="117" y="312"/>
                  </a:lnTo>
                  <a:lnTo>
                    <a:pt x="111" y="312"/>
                  </a:lnTo>
                  <a:lnTo>
                    <a:pt x="111" y="318"/>
                  </a:lnTo>
                  <a:lnTo>
                    <a:pt x="117" y="318"/>
                  </a:lnTo>
                  <a:lnTo>
                    <a:pt x="111" y="318"/>
                  </a:lnTo>
                  <a:lnTo>
                    <a:pt x="111" y="324"/>
                  </a:lnTo>
                  <a:lnTo>
                    <a:pt x="111" y="330"/>
                  </a:lnTo>
                  <a:lnTo>
                    <a:pt x="117" y="330"/>
                  </a:lnTo>
                  <a:lnTo>
                    <a:pt x="123" y="337"/>
                  </a:lnTo>
                  <a:lnTo>
                    <a:pt x="123" y="330"/>
                  </a:lnTo>
                  <a:lnTo>
                    <a:pt x="129" y="330"/>
                  </a:lnTo>
                  <a:lnTo>
                    <a:pt x="135" y="330"/>
                  </a:lnTo>
                  <a:lnTo>
                    <a:pt x="141" y="330"/>
                  </a:lnTo>
                  <a:lnTo>
                    <a:pt x="135" y="330"/>
                  </a:lnTo>
                  <a:lnTo>
                    <a:pt x="129" y="330"/>
                  </a:lnTo>
                  <a:lnTo>
                    <a:pt x="129" y="337"/>
                  </a:lnTo>
                  <a:lnTo>
                    <a:pt x="129" y="343"/>
                  </a:lnTo>
                  <a:lnTo>
                    <a:pt x="123" y="343"/>
                  </a:lnTo>
                  <a:lnTo>
                    <a:pt x="129" y="343"/>
                  </a:lnTo>
                  <a:lnTo>
                    <a:pt x="129" y="349"/>
                  </a:lnTo>
                  <a:lnTo>
                    <a:pt x="135" y="355"/>
                  </a:lnTo>
                  <a:lnTo>
                    <a:pt x="135" y="361"/>
                  </a:lnTo>
                  <a:lnTo>
                    <a:pt x="129" y="361"/>
                  </a:lnTo>
                  <a:lnTo>
                    <a:pt x="129" y="367"/>
                  </a:lnTo>
                  <a:lnTo>
                    <a:pt x="129" y="373"/>
                  </a:lnTo>
                  <a:lnTo>
                    <a:pt x="135" y="373"/>
                  </a:lnTo>
                  <a:lnTo>
                    <a:pt x="135" y="379"/>
                  </a:lnTo>
                  <a:lnTo>
                    <a:pt x="141" y="379"/>
                  </a:lnTo>
                  <a:lnTo>
                    <a:pt x="141" y="386"/>
                  </a:lnTo>
                  <a:lnTo>
                    <a:pt x="141" y="392"/>
                  </a:lnTo>
                  <a:lnTo>
                    <a:pt x="147" y="398"/>
                  </a:lnTo>
                  <a:lnTo>
                    <a:pt x="147" y="404"/>
                  </a:lnTo>
                  <a:lnTo>
                    <a:pt x="153" y="404"/>
                  </a:lnTo>
                  <a:lnTo>
                    <a:pt x="160" y="404"/>
                  </a:lnTo>
                  <a:lnTo>
                    <a:pt x="160" y="410"/>
                  </a:lnTo>
                  <a:lnTo>
                    <a:pt x="166" y="410"/>
                  </a:lnTo>
                  <a:lnTo>
                    <a:pt x="172" y="416"/>
                  </a:lnTo>
                  <a:lnTo>
                    <a:pt x="178" y="416"/>
                  </a:lnTo>
                  <a:lnTo>
                    <a:pt x="172" y="416"/>
                  </a:lnTo>
                  <a:lnTo>
                    <a:pt x="178" y="416"/>
                  </a:lnTo>
                  <a:lnTo>
                    <a:pt x="178" y="422"/>
                  </a:lnTo>
                  <a:lnTo>
                    <a:pt x="172" y="428"/>
                  </a:lnTo>
                  <a:lnTo>
                    <a:pt x="178" y="428"/>
                  </a:lnTo>
                  <a:lnTo>
                    <a:pt x="184" y="435"/>
                  </a:lnTo>
                  <a:lnTo>
                    <a:pt x="184" y="441"/>
                  </a:lnTo>
                  <a:lnTo>
                    <a:pt x="178" y="441"/>
                  </a:lnTo>
                  <a:lnTo>
                    <a:pt x="184" y="447"/>
                  </a:lnTo>
                  <a:lnTo>
                    <a:pt x="178" y="447"/>
                  </a:lnTo>
                  <a:lnTo>
                    <a:pt x="178" y="453"/>
                  </a:lnTo>
                  <a:lnTo>
                    <a:pt x="178" y="459"/>
                  </a:lnTo>
                  <a:lnTo>
                    <a:pt x="184" y="465"/>
                  </a:lnTo>
                  <a:lnTo>
                    <a:pt x="178" y="459"/>
                  </a:lnTo>
                  <a:lnTo>
                    <a:pt x="172" y="459"/>
                  </a:lnTo>
                  <a:lnTo>
                    <a:pt x="172" y="471"/>
                  </a:lnTo>
                  <a:lnTo>
                    <a:pt x="178" y="471"/>
                  </a:lnTo>
                  <a:lnTo>
                    <a:pt x="184" y="477"/>
                  </a:lnTo>
                  <a:lnTo>
                    <a:pt x="190" y="484"/>
                  </a:lnTo>
                  <a:lnTo>
                    <a:pt x="196" y="490"/>
                  </a:lnTo>
                  <a:lnTo>
                    <a:pt x="196" y="496"/>
                  </a:lnTo>
                  <a:lnTo>
                    <a:pt x="196" y="502"/>
                  </a:lnTo>
                  <a:lnTo>
                    <a:pt x="202" y="520"/>
                  </a:lnTo>
                  <a:lnTo>
                    <a:pt x="202" y="526"/>
                  </a:lnTo>
                  <a:lnTo>
                    <a:pt x="209" y="526"/>
                  </a:lnTo>
                  <a:lnTo>
                    <a:pt x="202" y="526"/>
                  </a:lnTo>
                  <a:lnTo>
                    <a:pt x="196" y="520"/>
                  </a:lnTo>
                  <a:lnTo>
                    <a:pt x="196" y="514"/>
                  </a:lnTo>
                  <a:lnTo>
                    <a:pt x="196" y="502"/>
                  </a:lnTo>
                  <a:lnTo>
                    <a:pt x="190" y="496"/>
                  </a:lnTo>
                  <a:lnTo>
                    <a:pt x="190" y="490"/>
                  </a:lnTo>
                  <a:lnTo>
                    <a:pt x="184" y="484"/>
                  </a:lnTo>
                  <a:lnTo>
                    <a:pt x="178" y="477"/>
                  </a:lnTo>
                  <a:lnTo>
                    <a:pt x="178" y="484"/>
                  </a:lnTo>
                  <a:lnTo>
                    <a:pt x="178" y="514"/>
                  </a:lnTo>
                  <a:lnTo>
                    <a:pt x="172" y="557"/>
                  </a:lnTo>
                  <a:lnTo>
                    <a:pt x="172" y="563"/>
                  </a:lnTo>
                  <a:lnTo>
                    <a:pt x="172" y="557"/>
                  </a:lnTo>
                  <a:lnTo>
                    <a:pt x="178" y="551"/>
                  </a:lnTo>
                  <a:lnTo>
                    <a:pt x="184" y="551"/>
                  </a:lnTo>
                  <a:lnTo>
                    <a:pt x="184" y="557"/>
                  </a:lnTo>
                  <a:lnTo>
                    <a:pt x="178" y="557"/>
                  </a:lnTo>
                  <a:lnTo>
                    <a:pt x="172" y="557"/>
                  </a:lnTo>
                  <a:lnTo>
                    <a:pt x="172" y="563"/>
                  </a:lnTo>
                  <a:lnTo>
                    <a:pt x="172" y="569"/>
                  </a:lnTo>
                  <a:lnTo>
                    <a:pt x="172" y="575"/>
                  </a:lnTo>
                  <a:lnTo>
                    <a:pt x="172" y="594"/>
                  </a:lnTo>
                  <a:lnTo>
                    <a:pt x="166" y="612"/>
                  </a:lnTo>
                  <a:lnTo>
                    <a:pt x="166" y="643"/>
                  </a:lnTo>
                  <a:lnTo>
                    <a:pt x="160" y="649"/>
                  </a:lnTo>
                  <a:lnTo>
                    <a:pt x="160" y="655"/>
                  </a:lnTo>
                  <a:lnTo>
                    <a:pt x="160" y="661"/>
                  </a:lnTo>
                  <a:lnTo>
                    <a:pt x="153" y="661"/>
                  </a:lnTo>
                  <a:lnTo>
                    <a:pt x="153" y="667"/>
                  </a:lnTo>
                  <a:lnTo>
                    <a:pt x="147" y="667"/>
                  </a:lnTo>
                  <a:lnTo>
                    <a:pt x="147" y="673"/>
                  </a:lnTo>
                  <a:lnTo>
                    <a:pt x="153" y="673"/>
                  </a:lnTo>
                  <a:lnTo>
                    <a:pt x="153" y="680"/>
                  </a:lnTo>
                  <a:lnTo>
                    <a:pt x="160" y="673"/>
                  </a:lnTo>
                  <a:lnTo>
                    <a:pt x="166" y="680"/>
                  </a:lnTo>
                  <a:lnTo>
                    <a:pt x="166" y="692"/>
                  </a:lnTo>
                  <a:lnTo>
                    <a:pt x="160" y="692"/>
                  </a:lnTo>
                  <a:lnTo>
                    <a:pt x="160" y="698"/>
                  </a:lnTo>
                  <a:lnTo>
                    <a:pt x="166" y="698"/>
                  </a:lnTo>
                  <a:lnTo>
                    <a:pt x="166" y="692"/>
                  </a:lnTo>
                  <a:lnTo>
                    <a:pt x="172" y="692"/>
                  </a:lnTo>
                  <a:lnTo>
                    <a:pt x="172" y="698"/>
                  </a:lnTo>
                  <a:lnTo>
                    <a:pt x="178" y="698"/>
                  </a:lnTo>
                  <a:lnTo>
                    <a:pt x="184" y="704"/>
                  </a:lnTo>
                  <a:lnTo>
                    <a:pt x="190" y="704"/>
                  </a:lnTo>
                  <a:lnTo>
                    <a:pt x="196" y="704"/>
                  </a:lnTo>
                  <a:lnTo>
                    <a:pt x="196" y="710"/>
                  </a:lnTo>
                  <a:lnTo>
                    <a:pt x="202" y="710"/>
                  </a:lnTo>
                  <a:lnTo>
                    <a:pt x="202" y="716"/>
                  </a:lnTo>
                  <a:lnTo>
                    <a:pt x="209" y="716"/>
                  </a:lnTo>
                  <a:lnTo>
                    <a:pt x="215" y="716"/>
                  </a:lnTo>
                  <a:lnTo>
                    <a:pt x="221" y="716"/>
                  </a:lnTo>
                  <a:lnTo>
                    <a:pt x="227" y="716"/>
                  </a:lnTo>
                  <a:lnTo>
                    <a:pt x="227" y="722"/>
                  </a:lnTo>
                  <a:lnTo>
                    <a:pt x="233" y="729"/>
                  </a:lnTo>
                  <a:lnTo>
                    <a:pt x="239" y="722"/>
                  </a:lnTo>
                  <a:lnTo>
                    <a:pt x="245" y="722"/>
                  </a:lnTo>
                  <a:lnTo>
                    <a:pt x="245" y="729"/>
                  </a:lnTo>
                  <a:lnTo>
                    <a:pt x="251" y="722"/>
                  </a:lnTo>
                  <a:lnTo>
                    <a:pt x="251" y="729"/>
                  </a:lnTo>
                  <a:lnTo>
                    <a:pt x="258" y="729"/>
                  </a:lnTo>
                  <a:lnTo>
                    <a:pt x="264" y="729"/>
                  </a:lnTo>
                  <a:lnTo>
                    <a:pt x="264" y="722"/>
                  </a:lnTo>
                  <a:lnTo>
                    <a:pt x="264" y="716"/>
                  </a:lnTo>
                  <a:lnTo>
                    <a:pt x="264" y="710"/>
                  </a:lnTo>
                  <a:lnTo>
                    <a:pt x="270" y="716"/>
                  </a:lnTo>
                  <a:lnTo>
                    <a:pt x="276" y="716"/>
                  </a:lnTo>
                  <a:lnTo>
                    <a:pt x="282" y="716"/>
                  </a:lnTo>
                  <a:lnTo>
                    <a:pt x="282" y="722"/>
                  </a:lnTo>
                  <a:lnTo>
                    <a:pt x="288" y="722"/>
                  </a:lnTo>
                  <a:lnTo>
                    <a:pt x="288" y="729"/>
                  </a:lnTo>
                  <a:lnTo>
                    <a:pt x="294" y="722"/>
                  </a:lnTo>
                  <a:lnTo>
                    <a:pt x="300" y="722"/>
                  </a:lnTo>
                  <a:lnTo>
                    <a:pt x="300" y="729"/>
                  </a:lnTo>
                  <a:lnTo>
                    <a:pt x="300" y="735"/>
                  </a:lnTo>
                  <a:lnTo>
                    <a:pt x="307" y="735"/>
                  </a:lnTo>
                  <a:lnTo>
                    <a:pt x="307" y="729"/>
                  </a:lnTo>
                  <a:lnTo>
                    <a:pt x="313" y="735"/>
                  </a:lnTo>
                  <a:lnTo>
                    <a:pt x="319" y="735"/>
                  </a:lnTo>
                  <a:lnTo>
                    <a:pt x="319" y="741"/>
                  </a:lnTo>
                  <a:lnTo>
                    <a:pt x="319" y="747"/>
                  </a:lnTo>
                  <a:lnTo>
                    <a:pt x="325" y="747"/>
                  </a:lnTo>
                  <a:lnTo>
                    <a:pt x="325" y="753"/>
                  </a:lnTo>
                  <a:lnTo>
                    <a:pt x="331" y="753"/>
                  </a:lnTo>
                  <a:lnTo>
                    <a:pt x="337" y="753"/>
                  </a:lnTo>
                  <a:lnTo>
                    <a:pt x="343" y="753"/>
                  </a:lnTo>
                  <a:lnTo>
                    <a:pt x="343" y="747"/>
                  </a:lnTo>
                  <a:lnTo>
                    <a:pt x="350" y="753"/>
                  </a:lnTo>
                  <a:lnTo>
                    <a:pt x="356" y="753"/>
                  </a:lnTo>
                  <a:lnTo>
                    <a:pt x="362" y="753"/>
                  </a:lnTo>
                  <a:lnTo>
                    <a:pt x="368" y="753"/>
                  </a:lnTo>
                  <a:lnTo>
                    <a:pt x="374" y="747"/>
                  </a:lnTo>
                  <a:lnTo>
                    <a:pt x="380" y="747"/>
                  </a:lnTo>
                  <a:lnTo>
                    <a:pt x="386" y="747"/>
                  </a:lnTo>
                  <a:lnTo>
                    <a:pt x="386" y="741"/>
                  </a:lnTo>
                  <a:lnTo>
                    <a:pt x="380" y="741"/>
                  </a:lnTo>
                  <a:lnTo>
                    <a:pt x="380" y="729"/>
                  </a:lnTo>
                  <a:lnTo>
                    <a:pt x="380" y="716"/>
                  </a:lnTo>
                  <a:lnTo>
                    <a:pt x="380" y="710"/>
                  </a:lnTo>
                  <a:lnTo>
                    <a:pt x="380" y="704"/>
                  </a:lnTo>
                  <a:lnTo>
                    <a:pt x="380" y="698"/>
                  </a:lnTo>
                  <a:lnTo>
                    <a:pt x="380" y="692"/>
                  </a:lnTo>
                  <a:lnTo>
                    <a:pt x="386" y="692"/>
                  </a:lnTo>
                  <a:lnTo>
                    <a:pt x="386" y="686"/>
                  </a:lnTo>
                  <a:lnTo>
                    <a:pt x="392" y="680"/>
                  </a:lnTo>
                  <a:lnTo>
                    <a:pt x="399" y="673"/>
                  </a:lnTo>
                  <a:lnTo>
                    <a:pt x="405" y="680"/>
                  </a:lnTo>
                  <a:lnTo>
                    <a:pt x="411" y="667"/>
                  </a:lnTo>
                  <a:lnTo>
                    <a:pt x="417" y="667"/>
                  </a:lnTo>
                  <a:lnTo>
                    <a:pt x="417" y="661"/>
                  </a:lnTo>
                  <a:lnTo>
                    <a:pt x="429" y="655"/>
                  </a:lnTo>
                  <a:lnTo>
                    <a:pt x="435" y="655"/>
                  </a:lnTo>
                  <a:lnTo>
                    <a:pt x="435" y="661"/>
                  </a:lnTo>
                  <a:lnTo>
                    <a:pt x="441" y="661"/>
                  </a:lnTo>
                  <a:lnTo>
                    <a:pt x="448" y="661"/>
                  </a:lnTo>
                  <a:lnTo>
                    <a:pt x="454" y="661"/>
                  </a:lnTo>
                  <a:lnTo>
                    <a:pt x="460" y="667"/>
                  </a:lnTo>
                  <a:lnTo>
                    <a:pt x="454" y="667"/>
                  </a:lnTo>
                  <a:lnTo>
                    <a:pt x="460" y="673"/>
                  </a:lnTo>
                  <a:lnTo>
                    <a:pt x="466" y="673"/>
                  </a:lnTo>
                  <a:lnTo>
                    <a:pt x="466" y="667"/>
                  </a:lnTo>
                  <a:lnTo>
                    <a:pt x="472" y="667"/>
                  </a:lnTo>
                  <a:lnTo>
                    <a:pt x="466" y="667"/>
                  </a:lnTo>
                  <a:lnTo>
                    <a:pt x="472" y="667"/>
                  </a:lnTo>
                  <a:lnTo>
                    <a:pt x="472" y="661"/>
                  </a:lnTo>
                  <a:lnTo>
                    <a:pt x="472" y="667"/>
                  </a:lnTo>
                  <a:lnTo>
                    <a:pt x="478" y="667"/>
                  </a:lnTo>
                  <a:lnTo>
                    <a:pt x="478" y="673"/>
                  </a:lnTo>
                  <a:lnTo>
                    <a:pt x="484" y="673"/>
                  </a:lnTo>
                  <a:lnTo>
                    <a:pt x="490" y="673"/>
                  </a:lnTo>
                  <a:lnTo>
                    <a:pt x="490" y="667"/>
                  </a:lnTo>
                  <a:lnTo>
                    <a:pt x="490" y="673"/>
                  </a:lnTo>
                  <a:lnTo>
                    <a:pt x="497" y="680"/>
                  </a:lnTo>
                  <a:lnTo>
                    <a:pt x="490" y="680"/>
                  </a:lnTo>
                  <a:lnTo>
                    <a:pt x="497" y="680"/>
                  </a:lnTo>
                  <a:lnTo>
                    <a:pt x="497" y="686"/>
                  </a:lnTo>
                  <a:lnTo>
                    <a:pt x="503" y="686"/>
                  </a:lnTo>
                  <a:lnTo>
                    <a:pt x="509" y="686"/>
                  </a:lnTo>
                  <a:lnTo>
                    <a:pt x="515" y="692"/>
                  </a:lnTo>
                  <a:lnTo>
                    <a:pt x="521" y="698"/>
                  </a:lnTo>
                  <a:lnTo>
                    <a:pt x="521" y="692"/>
                  </a:lnTo>
                  <a:lnTo>
                    <a:pt x="527" y="692"/>
                  </a:lnTo>
                  <a:lnTo>
                    <a:pt x="533" y="698"/>
                  </a:lnTo>
                  <a:lnTo>
                    <a:pt x="533" y="692"/>
                  </a:lnTo>
                  <a:lnTo>
                    <a:pt x="539" y="692"/>
                  </a:lnTo>
                  <a:lnTo>
                    <a:pt x="546" y="692"/>
                  </a:lnTo>
                  <a:lnTo>
                    <a:pt x="552" y="686"/>
                  </a:lnTo>
                  <a:lnTo>
                    <a:pt x="558" y="686"/>
                  </a:lnTo>
                  <a:lnTo>
                    <a:pt x="558" y="680"/>
                  </a:lnTo>
                  <a:lnTo>
                    <a:pt x="552" y="680"/>
                  </a:lnTo>
                  <a:lnTo>
                    <a:pt x="558" y="673"/>
                  </a:lnTo>
                  <a:lnTo>
                    <a:pt x="564" y="667"/>
                  </a:lnTo>
                  <a:lnTo>
                    <a:pt x="570" y="667"/>
                  </a:lnTo>
                  <a:lnTo>
                    <a:pt x="570" y="661"/>
                  </a:lnTo>
                  <a:lnTo>
                    <a:pt x="570" y="655"/>
                  </a:lnTo>
                  <a:lnTo>
                    <a:pt x="576" y="655"/>
                  </a:lnTo>
                  <a:lnTo>
                    <a:pt x="582" y="655"/>
                  </a:lnTo>
                  <a:lnTo>
                    <a:pt x="582" y="649"/>
                  </a:lnTo>
                  <a:lnTo>
                    <a:pt x="588" y="643"/>
                  </a:lnTo>
                  <a:lnTo>
                    <a:pt x="595" y="643"/>
                  </a:lnTo>
                  <a:lnTo>
                    <a:pt x="595" y="637"/>
                  </a:lnTo>
                  <a:lnTo>
                    <a:pt x="601" y="637"/>
                  </a:lnTo>
                  <a:lnTo>
                    <a:pt x="601" y="631"/>
                  </a:lnTo>
                  <a:lnTo>
                    <a:pt x="601" y="624"/>
                  </a:lnTo>
                  <a:lnTo>
                    <a:pt x="601" y="618"/>
                  </a:lnTo>
                  <a:lnTo>
                    <a:pt x="607" y="618"/>
                  </a:lnTo>
                  <a:lnTo>
                    <a:pt x="607" y="612"/>
                  </a:lnTo>
                  <a:lnTo>
                    <a:pt x="613" y="612"/>
                  </a:lnTo>
                  <a:lnTo>
                    <a:pt x="607" y="606"/>
                  </a:lnTo>
                  <a:lnTo>
                    <a:pt x="607" y="600"/>
                  </a:lnTo>
                  <a:lnTo>
                    <a:pt x="601" y="600"/>
                  </a:lnTo>
                  <a:lnTo>
                    <a:pt x="595" y="600"/>
                  </a:lnTo>
                  <a:lnTo>
                    <a:pt x="588" y="600"/>
                  </a:lnTo>
                  <a:lnTo>
                    <a:pt x="582" y="600"/>
                  </a:lnTo>
                  <a:lnTo>
                    <a:pt x="576" y="594"/>
                  </a:lnTo>
                  <a:lnTo>
                    <a:pt x="576" y="588"/>
                  </a:lnTo>
                  <a:lnTo>
                    <a:pt x="570" y="582"/>
                  </a:lnTo>
                  <a:lnTo>
                    <a:pt x="570" y="575"/>
                  </a:lnTo>
                  <a:lnTo>
                    <a:pt x="570" y="569"/>
                  </a:lnTo>
                  <a:lnTo>
                    <a:pt x="570" y="563"/>
                  </a:lnTo>
                  <a:lnTo>
                    <a:pt x="570" y="557"/>
                  </a:lnTo>
                  <a:lnTo>
                    <a:pt x="576" y="557"/>
                  </a:lnTo>
                  <a:lnTo>
                    <a:pt x="576" y="551"/>
                  </a:lnTo>
                  <a:lnTo>
                    <a:pt x="576" y="545"/>
                  </a:lnTo>
                  <a:lnTo>
                    <a:pt x="570" y="539"/>
                  </a:lnTo>
                  <a:lnTo>
                    <a:pt x="564" y="539"/>
                  </a:lnTo>
                  <a:lnTo>
                    <a:pt x="564" y="533"/>
                  </a:lnTo>
                  <a:lnTo>
                    <a:pt x="564" y="526"/>
                  </a:lnTo>
                  <a:lnTo>
                    <a:pt x="558" y="526"/>
                  </a:lnTo>
                  <a:lnTo>
                    <a:pt x="558" y="52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0" name="Freeform 25"/>
            <p:cNvSpPr>
              <a:spLocks/>
            </p:cNvSpPr>
            <p:nvPr/>
          </p:nvSpPr>
          <p:spPr bwMode="auto">
            <a:xfrm>
              <a:off x="2604630" y="4508108"/>
              <a:ext cx="1020186" cy="1101786"/>
            </a:xfrm>
            <a:custGeom>
              <a:avLst/>
              <a:gdLst>
                <a:gd name="T0" fmla="*/ 1376004490 w 631"/>
                <a:gd name="T1" fmla="*/ 924896260 h 753"/>
                <a:gd name="T2" fmla="*/ 1451609111 w 631"/>
                <a:gd name="T3" fmla="*/ 801409291 h 753"/>
                <a:gd name="T4" fmla="*/ 1514612167 w 631"/>
                <a:gd name="T5" fmla="*/ 786288365 h 753"/>
                <a:gd name="T6" fmla="*/ 1529733091 w 631"/>
                <a:gd name="T7" fmla="*/ 632558154 h 753"/>
                <a:gd name="T8" fmla="*/ 1590216788 w 631"/>
                <a:gd name="T9" fmla="*/ 478829530 h 753"/>
                <a:gd name="T10" fmla="*/ 1451609111 w 631"/>
                <a:gd name="T11" fmla="*/ 430945803 h 753"/>
                <a:gd name="T12" fmla="*/ 1358362618 w 631"/>
                <a:gd name="T13" fmla="*/ 355341073 h 753"/>
                <a:gd name="T14" fmla="*/ 1252516150 w 631"/>
                <a:gd name="T15" fmla="*/ 355341073 h 753"/>
                <a:gd name="T16" fmla="*/ 1189513093 w 631"/>
                <a:gd name="T17" fmla="*/ 292338007 h 753"/>
                <a:gd name="T18" fmla="*/ 1189513093 w 631"/>
                <a:gd name="T19" fmla="*/ 199091452 h 753"/>
                <a:gd name="T20" fmla="*/ 1111387525 w 631"/>
                <a:gd name="T21" fmla="*/ 231854302 h 753"/>
                <a:gd name="T22" fmla="*/ 1035782904 w 631"/>
                <a:gd name="T23" fmla="*/ 153728673 h 753"/>
                <a:gd name="T24" fmla="*/ 987900772 w 631"/>
                <a:gd name="T25" fmla="*/ 123486820 h 753"/>
                <a:gd name="T26" fmla="*/ 942537999 w 631"/>
                <a:gd name="T27" fmla="*/ 75604656 h 753"/>
                <a:gd name="T28" fmla="*/ 849291507 w 631"/>
                <a:gd name="T29" fmla="*/ 15120932 h 753"/>
                <a:gd name="T30" fmla="*/ 773686688 w 631"/>
                <a:gd name="T31" fmla="*/ 108365894 h 753"/>
                <a:gd name="T32" fmla="*/ 773686688 w 631"/>
                <a:gd name="T33" fmla="*/ 199091452 h 753"/>
                <a:gd name="T34" fmla="*/ 617437139 w 631"/>
                <a:gd name="T35" fmla="*/ 307458933 h 753"/>
                <a:gd name="T36" fmla="*/ 541832518 w 631"/>
                <a:gd name="T37" fmla="*/ 385582925 h 753"/>
                <a:gd name="T38" fmla="*/ 433466689 w 631"/>
                <a:gd name="T39" fmla="*/ 307458933 h 753"/>
                <a:gd name="T40" fmla="*/ 355341022 w 631"/>
                <a:gd name="T41" fmla="*/ 355341073 h 753"/>
                <a:gd name="T42" fmla="*/ 403224742 w 631"/>
                <a:gd name="T43" fmla="*/ 493950457 h 753"/>
                <a:gd name="T44" fmla="*/ 370461946 w 631"/>
                <a:gd name="T45" fmla="*/ 524192309 h 753"/>
                <a:gd name="T46" fmla="*/ 294857325 w 631"/>
                <a:gd name="T47" fmla="*/ 539313235 h 753"/>
                <a:gd name="T48" fmla="*/ 201612371 w 631"/>
                <a:gd name="T49" fmla="*/ 509071383 h 753"/>
                <a:gd name="T50" fmla="*/ 156249599 w 631"/>
                <a:gd name="T51" fmla="*/ 524192309 h 753"/>
                <a:gd name="T52" fmla="*/ 32761221 w 631"/>
                <a:gd name="T53" fmla="*/ 554434162 h 753"/>
                <a:gd name="T54" fmla="*/ 47882145 w 631"/>
                <a:gd name="T55" fmla="*/ 602316301 h 753"/>
                <a:gd name="T56" fmla="*/ 32761221 w 631"/>
                <a:gd name="T57" fmla="*/ 647679080 h 753"/>
                <a:gd name="T58" fmla="*/ 47882145 w 631"/>
                <a:gd name="T59" fmla="*/ 708162785 h 753"/>
                <a:gd name="T60" fmla="*/ 108365879 w 631"/>
                <a:gd name="T61" fmla="*/ 693041859 h 753"/>
                <a:gd name="T62" fmla="*/ 186491447 w 631"/>
                <a:gd name="T63" fmla="*/ 725804660 h 753"/>
                <a:gd name="T64" fmla="*/ 216733345 w 631"/>
                <a:gd name="T65" fmla="*/ 786288365 h 753"/>
                <a:gd name="T66" fmla="*/ 262096117 w 631"/>
                <a:gd name="T67" fmla="*/ 771167438 h 753"/>
                <a:gd name="T68" fmla="*/ 294857325 w 631"/>
                <a:gd name="T69" fmla="*/ 801409291 h 753"/>
                <a:gd name="T70" fmla="*/ 340220098 w 631"/>
                <a:gd name="T71" fmla="*/ 831651143 h 753"/>
                <a:gd name="T72" fmla="*/ 325099174 w 631"/>
                <a:gd name="T73" fmla="*/ 924896260 h 753"/>
                <a:gd name="T74" fmla="*/ 403224742 w 631"/>
                <a:gd name="T75" fmla="*/ 1018142766 h 753"/>
                <a:gd name="T76" fmla="*/ 463708538 w 631"/>
                <a:gd name="T77" fmla="*/ 1096266758 h 753"/>
                <a:gd name="T78" fmla="*/ 433466689 w 631"/>
                <a:gd name="T79" fmla="*/ 1186992316 h 753"/>
                <a:gd name="T80" fmla="*/ 509071310 w 631"/>
                <a:gd name="T81" fmla="*/ 1325601600 h 753"/>
                <a:gd name="T82" fmla="*/ 433466689 w 631"/>
                <a:gd name="T83" fmla="*/ 1403725592 h 753"/>
                <a:gd name="T84" fmla="*/ 433466689 w 631"/>
                <a:gd name="T85" fmla="*/ 1449088371 h 753"/>
                <a:gd name="T86" fmla="*/ 370461946 w 631"/>
                <a:gd name="T87" fmla="*/ 1696063897 h 753"/>
                <a:gd name="T88" fmla="*/ 433466689 w 631"/>
                <a:gd name="T89" fmla="*/ 1743947624 h 753"/>
                <a:gd name="T90" fmla="*/ 541832518 w 631"/>
                <a:gd name="T91" fmla="*/ 1804431329 h 753"/>
                <a:gd name="T92" fmla="*/ 650199935 w 631"/>
                <a:gd name="T93" fmla="*/ 1837192542 h 753"/>
                <a:gd name="T94" fmla="*/ 725804555 w 631"/>
                <a:gd name="T95" fmla="*/ 1837192542 h 753"/>
                <a:gd name="T96" fmla="*/ 803928536 w 631"/>
                <a:gd name="T97" fmla="*/ 1882555321 h 753"/>
                <a:gd name="T98" fmla="*/ 927417075 w 631"/>
                <a:gd name="T99" fmla="*/ 1897676247 h 753"/>
                <a:gd name="T100" fmla="*/ 957658923 w 631"/>
                <a:gd name="T101" fmla="*/ 1759068550 h 753"/>
                <a:gd name="T102" fmla="*/ 1081145676 w 631"/>
                <a:gd name="T103" fmla="*/ 1650700721 h 753"/>
                <a:gd name="T104" fmla="*/ 1174392169 w 631"/>
                <a:gd name="T105" fmla="*/ 1680942971 h 753"/>
                <a:gd name="T106" fmla="*/ 1234875865 w 631"/>
                <a:gd name="T107" fmla="*/ 1680942971 h 753"/>
                <a:gd name="T108" fmla="*/ 1312999846 w 631"/>
                <a:gd name="T109" fmla="*/ 1743947624 h 753"/>
                <a:gd name="T110" fmla="*/ 1406246338 w 631"/>
                <a:gd name="T111" fmla="*/ 1696063897 h 753"/>
                <a:gd name="T112" fmla="*/ 1499491243 w 631"/>
                <a:gd name="T113" fmla="*/ 1605337942 h 753"/>
                <a:gd name="T114" fmla="*/ 1514612167 w 631"/>
                <a:gd name="T115" fmla="*/ 1512093024 h 753"/>
                <a:gd name="T116" fmla="*/ 1436488187 w 631"/>
                <a:gd name="T117" fmla="*/ 1403725592 h 7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1"/>
                <a:gd name="T178" fmla="*/ 0 h 753"/>
                <a:gd name="T179" fmla="*/ 631 w 631"/>
                <a:gd name="T180" fmla="*/ 753 h 7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1" h="753">
                  <a:moveTo>
                    <a:pt x="527" y="422"/>
                  </a:moveTo>
                  <a:lnTo>
                    <a:pt x="527" y="416"/>
                  </a:lnTo>
                  <a:lnTo>
                    <a:pt x="533" y="410"/>
                  </a:lnTo>
                  <a:lnTo>
                    <a:pt x="527" y="404"/>
                  </a:lnTo>
                  <a:lnTo>
                    <a:pt x="527" y="398"/>
                  </a:lnTo>
                  <a:lnTo>
                    <a:pt x="533" y="398"/>
                  </a:lnTo>
                  <a:lnTo>
                    <a:pt x="533" y="392"/>
                  </a:lnTo>
                  <a:lnTo>
                    <a:pt x="539" y="379"/>
                  </a:lnTo>
                  <a:lnTo>
                    <a:pt x="546" y="373"/>
                  </a:lnTo>
                  <a:lnTo>
                    <a:pt x="546" y="367"/>
                  </a:lnTo>
                  <a:lnTo>
                    <a:pt x="546" y="361"/>
                  </a:lnTo>
                  <a:lnTo>
                    <a:pt x="546" y="355"/>
                  </a:lnTo>
                  <a:lnTo>
                    <a:pt x="558" y="355"/>
                  </a:lnTo>
                  <a:lnTo>
                    <a:pt x="558" y="349"/>
                  </a:lnTo>
                  <a:lnTo>
                    <a:pt x="564" y="343"/>
                  </a:lnTo>
                  <a:lnTo>
                    <a:pt x="570" y="337"/>
                  </a:lnTo>
                  <a:lnTo>
                    <a:pt x="570" y="330"/>
                  </a:lnTo>
                  <a:lnTo>
                    <a:pt x="576" y="330"/>
                  </a:lnTo>
                  <a:lnTo>
                    <a:pt x="576" y="324"/>
                  </a:lnTo>
                  <a:lnTo>
                    <a:pt x="576" y="318"/>
                  </a:lnTo>
                  <a:lnTo>
                    <a:pt x="570" y="324"/>
                  </a:lnTo>
                  <a:lnTo>
                    <a:pt x="570" y="318"/>
                  </a:lnTo>
                  <a:lnTo>
                    <a:pt x="570" y="312"/>
                  </a:lnTo>
                  <a:lnTo>
                    <a:pt x="576" y="312"/>
                  </a:lnTo>
                  <a:lnTo>
                    <a:pt x="582" y="312"/>
                  </a:lnTo>
                  <a:lnTo>
                    <a:pt x="582" y="318"/>
                  </a:lnTo>
                  <a:lnTo>
                    <a:pt x="588" y="318"/>
                  </a:lnTo>
                  <a:lnTo>
                    <a:pt x="595" y="318"/>
                  </a:lnTo>
                  <a:lnTo>
                    <a:pt x="595" y="312"/>
                  </a:lnTo>
                  <a:lnTo>
                    <a:pt x="601" y="312"/>
                  </a:lnTo>
                  <a:lnTo>
                    <a:pt x="601" y="306"/>
                  </a:lnTo>
                  <a:lnTo>
                    <a:pt x="601" y="300"/>
                  </a:lnTo>
                  <a:lnTo>
                    <a:pt x="601" y="294"/>
                  </a:lnTo>
                  <a:lnTo>
                    <a:pt x="601" y="288"/>
                  </a:lnTo>
                  <a:lnTo>
                    <a:pt x="601" y="281"/>
                  </a:lnTo>
                  <a:lnTo>
                    <a:pt x="601" y="275"/>
                  </a:lnTo>
                  <a:lnTo>
                    <a:pt x="607" y="269"/>
                  </a:lnTo>
                  <a:lnTo>
                    <a:pt x="601" y="263"/>
                  </a:lnTo>
                  <a:lnTo>
                    <a:pt x="601" y="257"/>
                  </a:lnTo>
                  <a:lnTo>
                    <a:pt x="607" y="251"/>
                  </a:lnTo>
                  <a:lnTo>
                    <a:pt x="607" y="245"/>
                  </a:lnTo>
                  <a:lnTo>
                    <a:pt x="607" y="239"/>
                  </a:lnTo>
                  <a:lnTo>
                    <a:pt x="613" y="232"/>
                  </a:lnTo>
                  <a:lnTo>
                    <a:pt x="613" y="220"/>
                  </a:lnTo>
                  <a:lnTo>
                    <a:pt x="613" y="214"/>
                  </a:lnTo>
                  <a:lnTo>
                    <a:pt x="619" y="214"/>
                  </a:lnTo>
                  <a:lnTo>
                    <a:pt x="619" y="208"/>
                  </a:lnTo>
                  <a:lnTo>
                    <a:pt x="619" y="202"/>
                  </a:lnTo>
                  <a:lnTo>
                    <a:pt x="625" y="202"/>
                  </a:lnTo>
                  <a:lnTo>
                    <a:pt x="631" y="190"/>
                  </a:lnTo>
                  <a:lnTo>
                    <a:pt x="631" y="183"/>
                  </a:lnTo>
                  <a:lnTo>
                    <a:pt x="619" y="177"/>
                  </a:lnTo>
                  <a:lnTo>
                    <a:pt x="613" y="177"/>
                  </a:lnTo>
                  <a:lnTo>
                    <a:pt x="607" y="177"/>
                  </a:lnTo>
                  <a:lnTo>
                    <a:pt x="601" y="177"/>
                  </a:lnTo>
                  <a:lnTo>
                    <a:pt x="601" y="171"/>
                  </a:lnTo>
                  <a:lnTo>
                    <a:pt x="595" y="171"/>
                  </a:lnTo>
                  <a:lnTo>
                    <a:pt x="588" y="171"/>
                  </a:lnTo>
                  <a:lnTo>
                    <a:pt x="582" y="171"/>
                  </a:lnTo>
                  <a:lnTo>
                    <a:pt x="576" y="171"/>
                  </a:lnTo>
                  <a:lnTo>
                    <a:pt x="570" y="165"/>
                  </a:lnTo>
                  <a:lnTo>
                    <a:pt x="564" y="165"/>
                  </a:lnTo>
                  <a:lnTo>
                    <a:pt x="558" y="165"/>
                  </a:lnTo>
                  <a:lnTo>
                    <a:pt x="558" y="159"/>
                  </a:lnTo>
                  <a:lnTo>
                    <a:pt x="558" y="153"/>
                  </a:lnTo>
                  <a:lnTo>
                    <a:pt x="552" y="153"/>
                  </a:lnTo>
                  <a:lnTo>
                    <a:pt x="552" y="147"/>
                  </a:lnTo>
                  <a:lnTo>
                    <a:pt x="546" y="141"/>
                  </a:lnTo>
                  <a:lnTo>
                    <a:pt x="539" y="147"/>
                  </a:lnTo>
                  <a:lnTo>
                    <a:pt x="539" y="141"/>
                  </a:lnTo>
                  <a:lnTo>
                    <a:pt x="533" y="141"/>
                  </a:lnTo>
                  <a:lnTo>
                    <a:pt x="527" y="147"/>
                  </a:lnTo>
                  <a:lnTo>
                    <a:pt x="527" y="141"/>
                  </a:lnTo>
                  <a:lnTo>
                    <a:pt x="521" y="141"/>
                  </a:lnTo>
                  <a:lnTo>
                    <a:pt x="515" y="141"/>
                  </a:lnTo>
                  <a:lnTo>
                    <a:pt x="515" y="134"/>
                  </a:lnTo>
                  <a:lnTo>
                    <a:pt x="509" y="134"/>
                  </a:lnTo>
                  <a:lnTo>
                    <a:pt x="509" y="141"/>
                  </a:lnTo>
                  <a:lnTo>
                    <a:pt x="503" y="141"/>
                  </a:lnTo>
                  <a:lnTo>
                    <a:pt x="497" y="141"/>
                  </a:lnTo>
                  <a:lnTo>
                    <a:pt x="497" y="134"/>
                  </a:lnTo>
                  <a:lnTo>
                    <a:pt x="497" y="128"/>
                  </a:lnTo>
                  <a:lnTo>
                    <a:pt x="490" y="128"/>
                  </a:lnTo>
                  <a:lnTo>
                    <a:pt x="490" y="122"/>
                  </a:lnTo>
                  <a:lnTo>
                    <a:pt x="484" y="122"/>
                  </a:lnTo>
                  <a:lnTo>
                    <a:pt x="484" y="116"/>
                  </a:lnTo>
                  <a:lnTo>
                    <a:pt x="478" y="116"/>
                  </a:lnTo>
                  <a:lnTo>
                    <a:pt x="478" y="110"/>
                  </a:lnTo>
                  <a:lnTo>
                    <a:pt x="472" y="110"/>
                  </a:lnTo>
                  <a:lnTo>
                    <a:pt x="472" y="116"/>
                  </a:lnTo>
                  <a:lnTo>
                    <a:pt x="472" y="110"/>
                  </a:lnTo>
                  <a:lnTo>
                    <a:pt x="472" y="104"/>
                  </a:lnTo>
                  <a:lnTo>
                    <a:pt x="472" y="98"/>
                  </a:lnTo>
                  <a:lnTo>
                    <a:pt x="466" y="98"/>
                  </a:lnTo>
                  <a:lnTo>
                    <a:pt x="466" y="92"/>
                  </a:lnTo>
                  <a:lnTo>
                    <a:pt x="472" y="92"/>
                  </a:lnTo>
                  <a:lnTo>
                    <a:pt x="466" y="92"/>
                  </a:lnTo>
                  <a:lnTo>
                    <a:pt x="466" y="85"/>
                  </a:lnTo>
                  <a:lnTo>
                    <a:pt x="472" y="85"/>
                  </a:lnTo>
                  <a:lnTo>
                    <a:pt x="472" y="79"/>
                  </a:lnTo>
                  <a:lnTo>
                    <a:pt x="466" y="79"/>
                  </a:lnTo>
                  <a:lnTo>
                    <a:pt x="466" y="85"/>
                  </a:lnTo>
                  <a:lnTo>
                    <a:pt x="460" y="85"/>
                  </a:lnTo>
                  <a:lnTo>
                    <a:pt x="460" y="92"/>
                  </a:lnTo>
                  <a:lnTo>
                    <a:pt x="460" y="98"/>
                  </a:lnTo>
                  <a:lnTo>
                    <a:pt x="448" y="98"/>
                  </a:lnTo>
                  <a:lnTo>
                    <a:pt x="441" y="98"/>
                  </a:lnTo>
                  <a:lnTo>
                    <a:pt x="435" y="98"/>
                  </a:lnTo>
                  <a:lnTo>
                    <a:pt x="435" y="92"/>
                  </a:lnTo>
                  <a:lnTo>
                    <a:pt x="441" y="92"/>
                  </a:lnTo>
                  <a:lnTo>
                    <a:pt x="435" y="85"/>
                  </a:lnTo>
                  <a:lnTo>
                    <a:pt x="435" y="79"/>
                  </a:lnTo>
                  <a:lnTo>
                    <a:pt x="441" y="73"/>
                  </a:lnTo>
                  <a:lnTo>
                    <a:pt x="435" y="73"/>
                  </a:lnTo>
                  <a:lnTo>
                    <a:pt x="435" y="67"/>
                  </a:lnTo>
                  <a:lnTo>
                    <a:pt x="429" y="67"/>
                  </a:lnTo>
                  <a:lnTo>
                    <a:pt x="423" y="67"/>
                  </a:lnTo>
                  <a:lnTo>
                    <a:pt x="417" y="67"/>
                  </a:lnTo>
                  <a:lnTo>
                    <a:pt x="411" y="67"/>
                  </a:lnTo>
                  <a:lnTo>
                    <a:pt x="411" y="61"/>
                  </a:lnTo>
                  <a:lnTo>
                    <a:pt x="411" y="55"/>
                  </a:lnTo>
                  <a:lnTo>
                    <a:pt x="411" y="49"/>
                  </a:lnTo>
                  <a:lnTo>
                    <a:pt x="405" y="55"/>
                  </a:lnTo>
                  <a:lnTo>
                    <a:pt x="405" y="49"/>
                  </a:lnTo>
                  <a:lnTo>
                    <a:pt x="405" y="55"/>
                  </a:lnTo>
                  <a:lnTo>
                    <a:pt x="405" y="49"/>
                  </a:lnTo>
                  <a:lnTo>
                    <a:pt x="399" y="49"/>
                  </a:lnTo>
                  <a:lnTo>
                    <a:pt x="399" y="55"/>
                  </a:lnTo>
                  <a:lnTo>
                    <a:pt x="399" y="49"/>
                  </a:lnTo>
                  <a:lnTo>
                    <a:pt x="392" y="49"/>
                  </a:lnTo>
                  <a:lnTo>
                    <a:pt x="392" y="43"/>
                  </a:lnTo>
                  <a:lnTo>
                    <a:pt x="392" y="36"/>
                  </a:lnTo>
                  <a:lnTo>
                    <a:pt x="392" y="30"/>
                  </a:lnTo>
                  <a:lnTo>
                    <a:pt x="386" y="30"/>
                  </a:lnTo>
                  <a:lnTo>
                    <a:pt x="386" y="24"/>
                  </a:lnTo>
                  <a:lnTo>
                    <a:pt x="386" y="30"/>
                  </a:lnTo>
                  <a:lnTo>
                    <a:pt x="380" y="30"/>
                  </a:lnTo>
                  <a:lnTo>
                    <a:pt x="374" y="30"/>
                  </a:lnTo>
                  <a:lnTo>
                    <a:pt x="374" y="36"/>
                  </a:lnTo>
                  <a:lnTo>
                    <a:pt x="374" y="30"/>
                  </a:lnTo>
                  <a:lnTo>
                    <a:pt x="368" y="30"/>
                  </a:lnTo>
                  <a:lnTo>
                    <a:pt x="368" y="24"/>
                  </a:lnTo>
                  <a:lnTo>
                    <a:pt x="362" y="24"/>
                  </a:lnTo>
                  <a:lnTo>
                    <a:pt x="362" y="18"/>
                  </a:lnTo>
                  <a:lnTo>
                    <a:pt x="362" y="12"/>
                  </a:lnTo>
                  <a:lnTo>
                    <a:pt x="362" y="6"/>
                  </a:lnTo>
                  <a:lnTo>
                    <a:pt x="356" y="6"/>
                  </a:lnTo>
                  <a:lnTo>
                    <a:pt x="356" y="0"/>
                  </a:lnTo>
                  <a:lnTo>
                    <a:pt x="350" y="0"/>
                  </a:lnTo>
                  <a:lnTo>
                    <a:pt x="337" y="6"/>
                  </a:lnTo>
                  <a:lnTo>
                    <a:pt x="325" y="6"/>
                  </a:lnTo>
                  <a:lnTo>
                    <a:pt x="325" y="12"/>
                  </a:lnTo>
                  <a:lnTo>
                    <a:pt x="319" y="12"/>
                  </a:lnTo>
                  <a:lnTo>
                    <a:pt x="313" y="12"/>
                  </a:lnTo>
                  <a:lnTo>
                    <a:pt x="313" y="18"/>
                  </a:lnTo>
                  <a:lnTo>
                    <a:pt x="313" y="24"/>
                  </a:lnTo>
                  <a:lnTo>
                    <a:pt x="313" y="30"/>
                  </a:lnTo>
                  <a:lnTo>
                    <a:pt x="307" y="30"/>
                  </a:lnTo>
                  <a:lnTo>
                    <a:pt x="313" y="36"/>
                  </a:lnTo>
                  <a:lnTo>
                    <a:pt x="307" y="43"/>
                  </a:lnTo>
                  <a:lnTo>
                    <a:pt x="313" y="49"/>
                  </a:lnTo>
                  <a:lnTo>
                    <a:pt x="307" y="61"/>
                  </a:lnTo>
                  <a:lnTo>
                    <a:pt x="313" y="61"/>
                  </a:lnTo>
                  <a:lnTo>
                    <a:pt x="307" y="61"/>
                  </a:lnTo>
                  <a:lnTo>
                    <a:pt x="307" y="67"/>
                  </a:lnTo>
                  <a:lnTo>
                    <a:pt x="307" y="73"/>
                  </a:lnTo>
                  <a:lnTo>
                    <a:pt x="313" y="73"/>
                  </a:lnTo>
                  <a:lnTo>
                    <a:pt x="313" y="79"/>
                  </a:lnTo>
                  <a:lnTo>
                    <a:pt x="307" y="73"/>
                  </a:lnTo>
                  <a:lnTo>
                    <a:pt x="307" y="79"/>
                  </a:lnTo>
                  <a:lnTo>
                    <a:pt x="307" y="85"/>
                  </a:lnTo>
                  <a:lnTo>
                    <a:pt x="300" y="85"/>
                  </a:lnTo>
                  <a:lnTo>
                    <a:pt x="294" y="92"/>
                  </a:lnTo>
                  <a:lnTo>
                    <a:pt x="288" y="98"/>
                  </a:lnTo>
                  <a:lnTo>
                    <a:pt x="282" y="104"/>
                  </a:lnTo>
                  <a:lnTo>
                    <a:pt x="276" y="104"/>
                  </a:lnTo>
                  <a:lnTo>
                    <a:pt x="270" y="104"/>
                  </a:lnTo>
                  <a:lnTo>
                    <a:pt x="264" y="110"/>
                  </a:lnTo>
                  <a:lnTo>
                    <a:pt x="258" y="110"/>
                  </a:lnTo>
                  <a:lnTo>
                    <a:pt x="245" y="122"/>
                  </a:lnTo>
                  <a:lnTo>
                    <a:pt x="239" y="122"/>
                  </a:lnTo>
                  <a:lnTo>
                    <a:pt x="239" y="134"/>
                  </a:lnTo>
                  <a:lnTo>
                    <a:pt x="239" y="141"/>
                  </a:lnTo>
                  <a:lnTo>
                    <a:pt x="251" y="141"/>
                  </a:lnTo>
                  <a:lnTo>
                    <a:pt x="251" y="147"/>
                  </a:lnTo>
                  <a:lnTo>
                    <a:pt x="245" y="147"/>
                  </a:lnTo>
                  <a:lnTo>
                    <a:pt x="239" y="147"/>
                  </a:lnTo>
                  <a:lnTo>
                    <a:pt x="233" y="153"/>
                  </a:lnTo>
                  <a:lnTo>
                    <a:pt x="221" y="159"/>
                  </a:lnTo>
                  <a:lnTo>
                    <a:pt x="215" y="153"/>
                  </a:lnTo>
                  <a:lnTo>
                    <a:pt x="202" y="153"/>
                  </a:lnTo>
                  <a:lnTo>
                    <a:pt x="190" y="153"/>
                  </a:lnTo>
                  <a:lnTo>
                    <a:pt x="190" y="147"/>
                  </a:lnTo>
                  <a:lnTo>
                    <a:pt x="178" y="147"/>
                  </a:lnTo>
                  <a:lnTo>
                    <a:pt x="178" y="153"/>
                  </a:lnTo>
                  <a:lnTo>
                    <a:pt x="178" y="147"/>
                  </a:lnTo>
                  <a:lnTo>
                    <a:pt x="172" y="141"/>
                  </a:lnTo>
                  <a:lnTo>
                    <a:pt x="172" y="134"/>
                  </a:lnTo>
                  <a:lnTo>
                    <a:pt x="172" y="128"/>
                  </a:lnTo>
                  <a:lnTo>
                    <a:pt x="172" y="122"/>
                  </a:lnTo>
                  <a:lnTo>
                    <a:pt x="166" y="122"/>
                  </a:lnTo>
                  <a:lnTo>
                    <a:pt x="160" y="122"/>
                  </a:lnTo>
                  <a:lnTo>
                    <a:pt x="153" y="128"/>
                  </a:lnTo>
                  <a:lnTo>
                    <a:pt x="153" y="122"/>
                  </a:lnTo>
                  <a:lnTo>
                    <a:pt x="147" y="122"/>
                  </a:lnTo>
                  <a:lnTo>
                    <a:pt x="141" y="122"/>
                  </a:lnTo>
                  <a:lnTo>
                    <a:pt x="135" y="122"/>
                  </a:lnTo>
                  <a:lnTo>
                    <a:pt x="141" y="128"/>
                  </a:lnTo>
                  <a:lnTo>
                    <a:pt x="141" y="134"/>
                  </a:lnTo>
                  <a:lnTo>
                    <a:pt x="141" y="141"/>
                  </a:lnTo>
                  <a:lnTo>
                    <a:pt x="147" y="147"/>
                  </a:lnTo>
                  <a:lnTo>
                    <a:pt x="147" y="153"/>
                  </a:lnTo>
                  <a:lnTo>
                    <a:pt x="153" y="159"/>
                  </a:lnTo>
                  <a:lnTo>
                    <a:pt x="153" y="165"/>
                  </a:lnTo>
                  <a:lnTo>
                    <a:pt x="153" y="159"/>
                  </a:lnTo>
                  <a:lnTo>
                    <a:pt x="153" y="165"/>
                  </a:lnTo>
                  <a:lnTo>
                    <a:pt x="153" y="177"/>
                  </a:lnTo>
                  <a:lnTo>
                    <a:pt x="153" y="183"/>
                  </a:lnTo>
                  <a:lnTo>
                    <a:pt x="160" y="177"/>
                  </a:lnTo>
                  <a:lnTo>
                    <a:pt x="160" y="196"/>
                  </a:lnTo>
                  <a:lnTo>
                    <a:pt x="153" y="196"/>
                  </a:lnTo>
                  <a:lnTo>
                    <a:pt x="160" y="196"/>
                  </a:lnTo>
                  <a:lnTo>
                    <a:pt x="160" y="202"/>
                  </a:lnTo>
                  <a:lnTo>
                    <a:pt x="160" y="208"/>
                  </a:lnTo>
                  <a:lnTo>
                    <a:pt x="166" y="208"/>
                  </a:lnTo>
                  <a:lnTo>
                    <a:pt x="166" y="214"/>
                  </a:lnTo>
                  <a:lnTo>
                    <a:pt x="160" y="214"/>
                  </a:lnTo>
                  <a:lnTo>
                    <a:pt x="147" y="214"/>
                  </a:lnTo>
                  <a:lnTo>
                    <a:pt x="141" y="214"/>
                  </a:lnTo>
                  <a:lnTo>
                    <a:pt x="147" y="208"/>
                  </a:lnTo>
                  <a:lnTo>
                    <a:pt x="141" y="208"/>
                  </a:lnTo>
                  <a:lnTo>
                    <a:pt x="135" y="208"/>
                  </a:lnTo>
                  <a:lnTo>
                    <a:pt x="135" y="214"/>
                  </a:lnTo>
                  <a:lnTo>
                    <a:pt x="135" y="220"/>
                  </a:lnTo>
                  <a:lnTo>
                    <a:pt x="135" y="214"/>
                  </a:lnTo>
                  <a:lnTo>
                    <a:pt x="129" y="214"/>
                  </a:lnTo>
                  <a:lnTo>
                    <a:pt x="129" y="220"/>
                  </a:lnTo>
                  <a:lnTo>
                    <a:pt x="123" y="214"/>
                  </a:lnTo>
                  <a:lnTo>
                    <a:pt x="123" y="208"/>
                  </a:lnTo>
                  <a:lnTo>
                    <a:pt x="117" y="214"/>
                  </a:lnTo>
                  <a:lnTo>
                    <a:pt x="111" y="214"/>
                  </a:lnTo>
                  <a:lnTo>
                    <a:pt x="104" y="226"/>
                  </a:lnTo>
                  <a:lnTo>
                    <a:pt x="98" y="226"/>
                  </a:lnTo>
                  <a:lnTo>
                    <a:pt x="98" y="220"/>
                  </a:lnTo>
                  <a:lnTo>
                    <a:pt x="98" y="214"/>
                  </a:lnTo>
                  <a:lnTo>
                    <a:pt x="92" y="208"/>
                  </a:lnTo>
                  <a:lnTo>
                    <a:pt x="92" y="202"/>
                  </a:lnTo>
                  <a:lnTo>
                    <a:pt x="86" y="202"/>
                  </a:lnTo>
                  <a:lnTo>
                    <a:pt x="86" y="196"/>
                  </a:lnTo>
                  <a:lnTo>
                    <a:pt x="80" y="202"/>
                  </a:lnTo>
                  <a:lnTo>
                    <a:pt x="80" y="196"/>
                  </a:lnTo>
                  <a:lnTo>
                    <a:pt x="86" y="196"/>
                  </a:lnTo>
                  <a:lnTo>
                    <a:pt x="80" y="196"/>
                  </a:lnTo>
                  <a:lnTo>
                    <a:pt x="74" y="202"/>
                  </a:lnTo>
                  <a:lnTo>
                    <a:pt x="74" y="196"/>
                  </a:lnTo>
                  <a:lnTo>
                    <a:pt x="68" y="196"/>
                  </a:lnTo>
                  <a:lnTo>
                    <a:pt x="68" y="202"/>
                  </a:lnTo>
                  <a:lnTo>
                    <a:pt x="62" y="196"/>
                  </a:lnTo>
                  <a:lnTo>
                    <a:pt x="62" y="202"/>
                  </a:lnTo>
                  <a:lnTo>
                    <a:pt x="62" y="208"/>
                  </a:lnTo>
                  <a:lnTo>
                    <a:pt x="55" y="208"/>
                  </a:lnTo>
                  <a:lnTo>
                    <a:pt x="49" y="208"/>
                  </a:lnTo>
                  <a:lnTo>
                    <a:pt x="43" y="208"/>
                  </a:lnTo>
                  <a:lnTo>
                    <a:pt x="43" y="214"/>
                  </a:lnTo>
                  <a:lnTo>
                    <a:pt x="37" y="208"/>
                  </a:lnTo>
                  <a:lnTo>
                    <a:pt x="31" y="208"/>
                  </a:lnTo>
                  <a:lnTo>
                    <a:pt x="25" y="214"/>
                  </a:lnTo>
                  <a:lnTo>
                    <a:pt x="19" y="214"/>
                  </a:lnTo>
                  <a:lnTo>
                    <a:pt x="13" y="214"/>
                  </a:lnTo>
                  <a:lnTo>
                    <a:pt x="13" y="220"/>
                  </a:lnTo>
                  <a:lnTo>
                    <a:pt x="6" y="220"/>
                  </a:lnTo>
                  <a:lnTo>
                    <a:pt x="0" y="220"/>
                  </a:lnTo>
                  <a:lnTo>
                    <a:pt x="0" y="226"/>
                  </a:lnTo>
                  <a:lnTo>
                    <a:pt x="0" y="232"/>
                  </a:lnTo>
                  <a:lnTo>
                    <a:pt x="0" y="239"/>
                  </a:lnTo>
                  <a:lnTo>
                    <a:pt x="6" y="239"/>
                  </a:lnTo>
                  <a:lnTo>
                    <a:pt x="13" y="239"/>
                  </a:lnTo>
                  <a:lnTo>
                    <a:pt x="19" y="239"/>
                  </a:lnTo>
                  <a:lnTo>
                    <a:pt x="25" y="232"/>
                  </a:lnTo>
                  <a:lnTo>
                    <a:pt x="19" y="239"/>
                  </a:lnTo>
                  <a:lnTo>
                    <a:pt x="25" y="239"/>
                  </a:lnTo>
                  <a:lnTo>
                    <a:pt x="25" y="245"/>
                  </a:lnTo>
                  <a:lnTo>
                    <a:pt x="19" y="245"/>
                  </a:lnTo>
                  <a:lnTo>
                    <a:pt x="13" y="245"/>
                  </a:lnTo>
                  <a:lnTo>
                    <a:pt x="13" y="239"/>
                  </a:lnTo>
                  <a:lnTo>
                    <a:pt x="13" y="245"/>
                  </a:lnTo>
                  <a:lnTo>
                    <a:pt x="6" y="245"/>
                  </a:lnTo>
                  <a:lnTo>
                    <a:pt x="13" y="245"/>
                  </a:lnTo>
                  <a:lnTo>
                    <a:pt x="13" y="251"/>
                  </a:lnTo>
                  <a:lnTo>
                    <a:pt x="13" y="257"/>
                  </a:lnTo>
                  <a:lnTo>
                    <a:pt x="13" y="251"/>
                  </a:lnTo>
                  <a:lnTo>
                    <a:pt x="25" y="251"/>
                  </a:lnTo>
                  <a:lnTo>
                    <a:pt x="25" y="257"/>
                  </a:lnTo>
                  <a:lnTo>
                    <a:pt x="19" y="257"/>
                  </a:lnTo>
                  <a:lnTo>
                    <a:pt x="6" y="263"/>
                  </a:lnTo>
                  <a:lnTo>
                    <a:pt x="0" y="269"/>
                  </a:lnTo>
                  <a:lnTo>
                    <a:pt x="13" y="269"/>
                  </a:lnTo>
                  <a:lnTo>
                    <a:pt x="19" y="275"/>
                  </a:lnTo>
                  <a:lnTo>
                    <a:pt x="25" y="281"/>
                  </a:lnTo>
                  <a:lnTo>
                    <a:pt x="19" y="281"/>
                  </a:lnTo>
                  <a:lnTo>
                    <a:pt x="19" y="288"/>
                  </a:lnTo>
                  <a:lnTo>
                    <a:pt x="31" y="288"/>
                  </a:lnTo>
                  <a:lnTo>
                    <a:pt x="31" y="281"/>
                  </a:lnTo>
                  <a:lnTo>
                    <a:pt x="31" y="275"/>
                  </a:lnTo>
                  <a:lnTo>
                    <a:pt x="31" y="281"/>
                  </a:lnTo>
                  <a:lnTo>
                    <a:pt x="31" y="275"/>
                  </a:lnTo>
                  <a:lnTo>
                    <a:pt x="37" y="269"/>
                  </a:lnTo>
                  <a:lnTo>
                    <a:pt x="37" y="275"/>
                  </a:lnTo>
                  <a:lnTo>
                    <a:pt x="37" y="281"/>
                  </a:lnTo>
                  <a:lnTo>
                    <a:pt x="43" y="275"/>
                  </a:lnTo>
                  <a:lnTo>
                    <a:pt x="43" y="288"/>
                  </a:lnTo>
                  <a:lnTo>
                    <a:pt x="49" y="288"/>
                  </a:lnTo>
                  <a:lnTo>
                    <a:pt x="49" y="281"/>
                  </a:lnTo>
                  <a:lnTo>
                    <a:pt x="49" y="288"/>
                  </a:lnTo>
                  <a:lnTo>
                    <a:pt x="55" y="281"/>
                  </a:lnTo>
                  <a:lnTo>
                    <a:pt x="55" y="288"/>
                  </a:lnTo>
                  <a:lnTo>
                    <a:pt x="62" y="288"/>
                  </a:lnTo>
                  <a:lnTo>
                    <a:pt x="62" y="294"/>
                  </a:lnTo>
                  <a:lnTo>
                    <a:pt x="68" y="294"/>
                  </a:lnTo>
                  <a:lnTo>
                    <a:pt x="74" y="288"/>
                  </a:lnTo>
                  <a:lnTo>
                    <a:pt x="74" y="294"/>
                  </a:lnTo>
                  <a:lnTo>
                    <a:pt x="68" y="294"/>
                  </a:lnTo>
                  <a:lnTo>
                    <a:pt x="74" y="294"/>
                  </a:lnTo>
                  <a:lnTo>
                    <a:pt x="74" y="300"/>
                  </a:lnTo>
                  <a:lnTo>
                    <a:pt x="74" y="294"/>
                  </a:lnTo>
                  <a:lnTo>
                    <a:pt x="80" y="294"/>
                  </a:lnTo>
                  <a:lnTo>
                    <a:pt x="80" y="300"/>
                  </a:lnTo>
                  <a:lnTo>
                    <a:pt x="80" y="306"/>
                  </a:lnTo>
                  <a:lnTo>
                    <a:pt x="80" y="312"/>
                  </a:lnTo>
                  <a:lnTo>
                    <a:pt x="86" y="312"/>
                  </a:lnTo>
                  <a:lnTo>
                    <a:pt x="80" y="312"/>
                  </a:lnTo>
                  <a:lnTo>
                    <a:pt x="80" y="306"/>
                  </a:lnTo>
                  <a:lnTo>
                    <a:pt x="86" y="306"/>
                  </a:lnTo>
                  <a:lnTo>
                    <a:pt x="92" y="306"/>
                  </a:lnTo>
                  <a:lnTo>
                    <a:pt x="86" y="300"/>
                  </a:lnTo>
                  <a:lnTo>
                    <a:pt x="92" y="306"/>
                  </a:lnTo>
                  <a:lnTo>
                    <a:pt x="92" y="300"/>
                  </a:lnTo>
                  <a:lnTo>
                    <a:pt x="98" y="300"/>
                  </a:lnTo>
                  <a:lnTo>
                    <a:pt x="104" y="300"/>
                  </a:lnTo>
                  <a:lnTo>
                    <a:pt x="104" y="306"/>
                  </a:lnTo>
                  <a:lnTo>
                    <a:pt x="98" y="306"/>
                  </a:lnTo>
                  <a:lnTo>
                    <a:pt x="92" y="306"/>
                  </a:lnTo>
                  <a:lnTo>
                    <a:pt x="92" y="312"/>
                  </a:lnTo>
                  <a:lnTo>
                    <a:pt x="98" y="312"/>
                  </a:lnTo>
                  <a:lnTo>
                    <a:pt x="104" y="312"/>
                  </a:lnTo>
                  <a:lnTo>
                    <a:pt x="111" y="312"/>
                  </a:lnTo>
                  <a:lnTo>
                    <a:pt x="117" y="312"/>
                  </a:lnTo>
                  <a:lnTo>
                    <a:pt x="111" y="312"/>
                  </a:lnTo>
                  <a:lnTo>
                    <a:pt x="111" y="318"/>
                  </a:lnTo>
                  <a:lnTo>
                    <a:pt x="117" y="318"/>
                  </a:lnTo>
                  <a:lnTo>
                    <a:pt x="111" y="318"/>
                  </a:lnTo>
                  <a:lnTo>
                    <a:pt x="111" y="324"/>
                  </a:lnTo>
                  <a:lnTo>
                    <a:pt x="111" y="330"/>
                  </a:lnTo>
                  <a:lnTo>
                    <a:pt x="117" y="330"/>
                  </a:lnTo>
                  <a:lnTo>
                    <a:pt x="123" y="337"/>
                  </a:lnTo>
                  <a:lnTo>
                    <a:pt x="123" y="330"/>
                  </a:lnTo>
                  <a:lnTo>
                    <a:pt x="129" y="330"/>
                  </a:lnTo>
                  <a:lnTo>
                    <a:pt x="135" y="330"/>
                  </a:lnTo>
                  <a:lnTo>
                    <a:pt x="141" y="330"/>
                  </a:lnTo>
                  <a:lnTo>
                    <a:pt x="135" y="330"/>
                  </a:lnTo>
                  <a:lnTo>
                    <a:pt x="129" y="330"/>
                  </a:lnTo>
                  <a:lnTo>
                    <a:pt x="129" y="337"/>
                  </a:lnTo>
                  <a:lnTo>
                    <a:pt x="129" y="343"/>
                  </a:lnTo>
                  <a:lnTo>
                    <a:pt x="123" y="343"/>
                  </a:lnTo>
                  <a:lnTo>
                    <a:pt x="129" y="343"/>
                  </a:lnTo>
                  <a:lnTo>
                    <a:pt x="129" y="349"/>
                  </a:lnTo>
                  <a:lnTo>
                    <a:pt x="135" y="355"/>
                  </a:lnTo>
                  <a:lnTo>
                    <a:pt x="135" y="361"/>
                  </a:lnTo>
                  <a:lnTo>
                    <a:pt x="129" y="361"/>
                  </a:lnTo>
                  <a:lnTo>
                    <a:pt x="129" y="367"/>
                  </a:lnTo>
                  <a:lnTo>
                    <a:pt x="129" y="373"/>
                  </a:lnTo>
                  <a:lnTo>
                    <a:pt x="135" y="373"/>
                  </a:lnTo>
                  <a:lnTo>
                    <a:pt x="135" y="379"/>
                  </a:lnTo>
                  <a:lnTo>
                    <a:pt x="141" y="379"/>
                  </a:lnTo>
                  <a:lnTo>
                    <a:pt x="141" y="386"/>
                  </a:lnTo>
                  <a:lnTo>
                    <a:pt x="141" y="392"/>
                  </a:lnTo>
                  <a:lnTo>
                    <a:pt x="147" y="398"/>
                  </a:lnTo>
                  <a:lnTo>
                    <a:pt x="147" y="404"/>
                  </a:lnTo>
                  <a:lnTo>
                    <a:pt x="153" y="404"/>
                  </a:lnTo>
                  <a:lnTo>
                    <a:pt x="160" y="404"/>
                  </a:lnTo>
                  <a:lnTo>
                    <a:pt x="160" y="410"/>
                  </a:lnTo>
                  <a:lnTo>
                    <a:pt x="166" y="410"/>
                  </a:lnTo>
                  <a:lnTo>
                    <a:pt x="172" y="416"/>
                  </a:lnTo>
                  <a:lnTo>
                    <a:pt x="178" y="416"/>
                  </a:lnTo>
                  <a:lnTo>
                    <a:pt x="172" y="416"/>
                  </a:lnTo>
                  <a:lnTo>
                    <a:pt x="178" y="416"/>
                  </a:lnTo>
                  <a:lnTo>
                    <a:pt x="178" y="422"/>
                  </a:lnTo>
                  <a:lnTo>
                    <a:pt x="172" y="428"/>
                  </a:lnTo>
                  <a:lnTo>
                    <a:pt x="178" y="428"/>
                  </a:lnTo>
                  <a:lnTo>
                    <a:pt x="184" y="435"/>
                  </a:lnTo>
                  <a:lnTo>
                    <a:pt x="184" y="441"/>
                  </a:lnTo>
                  <a:lnTo>
                    <a:pt x="178" y="441"/>
                  </a:lnTo>
                  <a:lnTo>
                    <a:pt x="184" y="447"/>
                  </a:lnTo>
                  <a:lnTo>
                    <a:pt x="178" y="447"/>
                  </a:lnTo>
                  <a:lnTo>
                    <a:pt x="178" y="453"/>
                  </a:lnTo>
                  <a:lnTo>
                    <a:pt x="178" y="459"/>
                  </a:lnTo>
                  <a:lnTo>
                    <a:pt x="184" y="465"/>
                  </a:lnTo>
                  <a:lnTo>
                    <a:pt x="178" y="459"/>
                  </a:lnTo>
                  <a:lnTo>
                    <a:pt x="172" y="459"/>
                  </a:lnTo>
                  <a:lnTo>
                    <a:pt x="172" y="471"/>
                  </a:lnTo>
                  <a:lnTo>
                    <a:pt x="178" y="471"/>
                  </a:lnTo>
                  <a:lnTo>
                    <a:pt x="184" y="477"/>
                  </a:lnTo>
                  <a:lnTo>
                    <a:pt x="190" y="484"/>
                  </a:lnTo>
                  <a:lnTo>
                    <a:pt x="196" y="490"/>
                  </a:lnTo>
                  <a:lnTo>
                    <a:pt x="196" y="496"/>
                  </a:lnTo>
                  <a:lnTo>
                    <a:pt x="196" y="502"/>
                  </a:lnTo>
                  <a:lnTo>
                    <a:pt x="202" y="520"/>
                  </a:lnTo>
                  <a:lnTo>
                    <a:pt x="202" y="526"/>
                  </a:lnTo>
                  <a:lnTo>
                    <a:pt x="209" y="526"/>
                  </a:lnTo>
                  <a:lnTo>
                    <a:pt x="202" y="526"/>
                  </a:lnTo>
                  <a:lnTo>
                    <a:pt x="196" y="520"/>
                  </a:lnTo>
                  <a:lnTo>
                    <a:pt x="196" y="514"/>
                  </a:lnTo>
                  <a:lnTo>
                    <a:pt x="196" y="502"/>
                  </a:lnTo>
                  <a:lnTo>
                    <a:pt x="190" y="496"/>
                  </a:lnTo>
                  <a:lnTo>
                    <a:pt x="190" y="490"/>
                  </a:lnTo>
                  <a:lnTo>
                    <a:pt x="184" y="484"/>
                  </a:lnTo>
                  <a:lnTo>
                    <a:pt x="178" y="477"/>
                  </a:lnTo>
                  <a:lnTo>
                    <a:pt x="178" y="484"/>
                  </a:lnTo>
                  <a:lnTo>
                    <a:pt x="178" y="514"/>
                  </a:lnTo>
                  <a:lnTo>
                    <a:pt x="172" y="557"/>
                  </a:lnTo>
                  <a:lnTo>
                    <a:pt x="172" y="563"/>
                  </a:lnTo>
                  <a:lnTo>
                    <a:pt x="172" y="557"/>
                  </a:lnTo>
                  <a:lnTo>
                    <a:pt x="178" y="551"/>
                  </a:lnTo>
                  <a:lnTo>
                    <a:pt x="184" y="551"/>
                  </a:lnTo>
                  <a:lnTo>
                    <a:pt x="184" y="557"/>
                  </a:lnTo>
                  <a:lnTo>
                    <a:pt x="178" y="557"/>
                  </a:lnTo>
                  <a:lnTo>
                    <a:pt x="172" y="557"/>
                  </a:lnTo>
                  <a:lnTo>
                    <a:pt x="172" y="563"/>
                  </a:lnTo>
                  <a:lnTo>
                    <a:pt x="172" y="569"/>
                  </a:lnTo>
                  <a:lnTo>
                    <a:pt x="172" y="575"/>
                  </a:lnTo>
                  <a:lnTo>
                    <a:pt x="172" y="594"/>
                  </a:lnTo>
                  <a:lnTo>
                    <a:pt x="166" y="612"/>
                  </a:lnTo>
                  <a:lnTo>
                    <a:pt x="166" y="643"/>
                  </a:lnTo>
                  <a:lnTo>
                    <a:pt x="160" y="649"/>
                  </a:lnTo>
                  <a:lnTo>
                    <a:pt x="160" y="655"/>
                  </a:lnTo>
                  <a:lnTo>
                    <a:pt x="160" y="661"/>
                  </a:lnTo>
                  <a:lnTo>
                    <a:pt x="153" y="661"/>
                  </a:lnTo>
                  <a:lnTo>
                    <a:pt x="153" y="667"/>
                  </a:lnTo>
                  <a:lnTo>
                    <a:pt x="147" y="667"/>
                  </a:lnTo>
                  <a:lnTo>
                    <a:pt x="147" y="673"/>
                  </a:lnTo>
                  <a:lnTo>
                    <a:pt x="153" y="673"/>
                  </a:lnTo>
                  <a:lnTo>
                    <a:pt x="153" y="680"/>
                  </a:lnTo>
                  <a:lnTo>
                    <a:pt x="160" y="673"/>
                  </a:lnTo>
                  <a:lnTo>
                    <a:pt x="166" y="680"/>
                  </a:lnTo>
                  <a:lnTo>
                    <a:pt x="166" y="692"/>
                  </a:lnTo>
                  <a:lnTo>
                    <a:pt x="160" y="692"/>
                  </a:lnTo>
                  <a:lnTo>
                    <a:pt x="160" y="698"/>
                  </a:lnTo>
                  <a:lnTo>
                    <a:pt x="166" y="698"/>
                  </a:lnTo>
                  <a:lnTo>
                    <a:pt x="166" y="692"/>
                  </a:lnTo>
                  <a:lnTo>
                    <a:pt x="172" y="692"/>
                  </a:lnTo>
                  <a:lnTo>
                    <a:pt x="172" y="698"/>
                  </a:lnTo>
                  <a:lnTo>
                    <a:pt x="178" y="698"/>
                  </a:lnTo>
                  <a:lnTo>
                    <a:pt x="184" y="704"/>
                  </a:lnTo>
                  <a:lnTo>
                    <a:pt x="190" y="704"/>
                  </a:lnTo>
                  <a:lnTo>
                    <a:pt x="196" y="704"/>
                  </a:lnTo>
                  <a:lnTo>
                    <a:pt x="196" y="710"/>
                  </a:lnTo>
                  <a:lnTo>
                    <a:pt x="202" y="710"/>
                  </a:lnTo>
                  <a:lnTo>
                    <a:pt x="202" y="716"/>
                  </a:lnTo>
                  <a:lnTo>
                    <a:pt x="209" y="716"/>
                  </a:lnTo>
                  <a:lnTo>
                    <a:pt x="215" y="716"/>
                  </a:lnTo>
                  <a:lnTo>
                    <a:pt x="221" y="716"/>
                  </a:lnTo>
                  <a:lnTo>
                    <a:pt x="227" y="716"/>
                  </a:lnTo>
                  <a:lnTo>
                    <a:pt x="227" y="722"/>
                  </a:lnTo>
                  <a:lnTo>
                    <a:pt x="233" y="729"/>
                  </a:lnTo>
                  <a:lnTo>
                    <a:pt x="239" y="722"/>
                  </a:lnTo>
                  <a:lnTo>
                    <a:pt x="245" y="722"/>
                  </a:lnTo>
                  <a:lnTo>
                    <a:pt x="245" y="729"/>
                  </a:lnTo>
                  <a:lnTo>
                    <a:pt x="251" y="722"/>
                  </a:lnTo>
                  <a:lnTo>
                    <a:pt x="251" y="729"/>
                  </a:lnTo>
                  <a:lnTo>
                    <a:pt x="258" y="729"/>
                  </a:lnTo>
                  <a:lnTo>
                    <a:pt x="264" y="729"/>
                  </a:lnTo>
                  <a:lnTo>
                    <a:pt x="264" y="722"/>
                  </a:lnTo>
                  <a:lnTo>
                    <a:pt x="264" y="716"/>
                  </a:lnTo>
                  <a:lnTo>
                    <a:pt x="264" y="710"/>
                  </a:lnTo>
                  <a:lnTo>
                    <a:pt x="270" y="716"/>
                  </a:lnTo>
                  <a:lnTo>
                    <a:pt x="276" y="716"/>
                  </a:lnTo>
                  <a:lnTo>
                    <a:pt x="282" y="716"/>
                  </a:lnTo>
                  <a:lnTo>
                    <a:pt x="282" y="722"/>
                  </a:lnTo>
                  <a:lnTo>
                    <a:pt x="288" y="722"/>
                  </a:lnTo>
                  <a:lnTo>
                    <a:pt x="288" y="729"/>
                  </a:lnTo>
                  <a:lnTo>
                    <a:pt x="294" y="722"/>
                  </a:lnTo>
                  <a:lnTo>
                    <a:pt x="300" y="722"/>
                  </a:lnTo>
                  <a:lnTo>
                    <a:pt x="300" y="729"/>
                  </a:lnTo>
                  <a:lnTo>
                    <a:pt x="300" y="735"/>
                  </a:lnTo>
                  <a:lnTo>
                    <a:pt x="307" y="735"/>
                  </a:lnTo>
                  <a:lnTo>
                    <a:pt x="307" y="729"/>
                  </a:lnTo>
                  <a:lnTo>
                    <a:pt x="313" y="735"/>
                  </a:lnTo>
                  <a:lnTo>
                    <a:pt x="319" y="735"/>
                  </a:lnTo>
                  <a:lnTo>
                    <a:pt x="319" y="741"/>
                  </a:lnTo>
                  <a:lnTo>
                    <a:pt x="319" y="747"/>
                  </a:lnTo>
                  <a:lnTo>
                    <a:pt x="325" y="747"/>
                  </a:lnTo>
                  <a:lnTo>
                    <a:pt x="325" y="753"/>
                  </a:lnTo>
                  <a:lnTo>
                    <a:pt x="331" y="753"/>
                  </a:lnTo>
                  <a:lnTo>
                    <a:pt x="337" y="753"/>
                  </a:lnTo>
                  <a:lnTo>
                    <a:pt x="343" y="753"/>
                  </a:lnTo>
                  <a:lnTo>
                    <a:pt x="343" y="747"/>
                  </a:lnTo>
                  <a:lnTo>
                    <a:pt x="350" y="753"/>
                  </a:lnTo>
                  <a:lnTo>
                    <a:pt x="356" y="753"/>
                  </a:lnTo>
                  <a:lnTo>
                    <a:pt x="362" y="753"/>
                  </a:lnTo>
                  <a:lnTo>
                    <a:pt x="368" y="753"/>
                  </a:lnTo>
                  <a:lnTo>
                    <a:pt x="374" y="747"/>
                  </a:lnTo>
                  <a:lnTo>
                    <a:pt x="380" y="747"/>
                  </a:lnTo>
                  <a:lnTo>
                    <a:pt x="386" y="747"/>
                  </a:lnTo>
                  <a:lnTo>
                    <a:pt x="386" y="741"/>
                  </a:lnTo>
                  <a:lnTo>
                    <a:pt x="380" y="741"/>
                  </a:lnTo>
                  <a:lnTo>
                    <a:pt x="380" y="729"/>
                  </a:lnTo>
                  <a:lnTo>
                    <a:pt x="380" y="716"/>
                  </a:lnTo>
                  <a:lnTo>
                    <a:pt x="380" y="710"/>
                  </a:lnTo>
                  <a:lnTo>
                    <a:pt x="380" y="704"/>
                  </a:lnTo>
                  <a:lnTo>
                    <a:pt x="380" y="698"/>
                  </a:lnTo>
                  <a:lnTo>
                    <a:pt x="380" y="692"/>
                  </a:lnTo>
                  <a:lnTo>
                    <a:pt x="386" y="692"/>
                  </a:lnTo>
                  <a:lnTo>
                    <a:pt x="386" y="686"/>
                  </a:lnTo>
                  <a:lnTo>
                    <a:pt x="392" y="680"/>
                  </a:lnTo>
                  <a:lnTo>
                    <a:pt x="399" y="673"/>
                  </a:lnTo>
                  <a:lnTo>
                    <a:pt x="405" y="680"/>
                  </a:lnTo>
                  <a:lnTo>
                    <a:pt x="411" y="667"/>
                  </a:lnTo>
                  <a:lnTo>
                    <a:pt x="417" y="667"/>
                  </a:lnTo>
                  <a:lnTo>
                    <a:pt x="417" y="661"/>
                  </a:lnTo>
                  <a:lnTo>
                    <a:pt x="429" y="655"/>
                  </a:lnTo>
                  <a:lnTo>
                    <a:pt x="435" y="655"/>
                  </a:lnTo>
                  <a:lnTo>
                    <a:pt x="435" y="661"/>
                  </a:lnTo>
                  <a:lnTo>
                    <a:pt x="441" y="661"/>
                  </a:lnTo>
                  <a:lnTo>
                    <a:pt x="448" y="661"/>
                  </a:lnTo>
                  <a:lnTo>
                    <a:pt x="454" y="661"/>
                  </a:lnTo>
                  <a:lnTo>
                    <a:pt x="460" y="667"/>
                  </a:lnTo>
                  <a:lnTo>
                    <a:pt x="454" y="667"/>
                  </a:lnTo>
                  <a:lnTo>
                    <a:pt x="460" y="673"/>
                  </a:lnTo>
                  <a:lnTo>
                    <a:pt x="466" y="673"/>
                  </a:lnTo>
                  <a:lnTo>
                    <a:pt x="466" y="667"/>
                  </a:lnTo>
                  <a:lnTo>
                    <a:pt x="472" y="667"/>
                  </a:lnTo>
                  <a:lnTo>
                    <a:pt x="466" y="667"/>
                  </a:lnTo>
                  <a:lnTo>
                    <a:pt x="472" y="667"/>
                  </a:lnTo>
                  <a:lnTo>
                    <a:pt x="472" y="661"/>
                  </a:lnTo>
                  <a:lnTo>
                    <a:pt x="472" y="667"/>
                  </a:lnTo>
                  <a:lnTo>
                    <a:pt x="478" y="667"/>
                  </a:lnTo>
                  <a:lnTo>
                    <a:pt x="478" y="673"/>
                  </a:lnTo>
                  <a:lnTo>
                    <a:pt x="484" y="673"/>
                  </a:lnTo>
                  <a:lnTo>
                    <a:pt x="490" y="673"/>
                  </a:lnTo>
                  <a:lnTo>
                    <a:pt x="490" y="667"/>
                  </a:lnTo>
                  <a:lnTo>
                    <a:pt x="490" y="673"/>
                  </a:lnTo>
                  <a:lnTo>
                    <a:pt x="497" y="680"/>
                  </a:lnTo>
                  <a:lnTo>
                    <a:pt x="490" y="680"/>
                  </a:lnTo>
                  <a:lnTo>
                    <a:pt x="497" y="680"/>
                  </a:lnTo>
                  <a:lnTo>
                    <a:pt x="497" y="686"/>
                  </a:lnTo>
                  <a:lnTo>
                    <a:pt x="503" y="686"/>
                  </a:lnTo>
                  <a:lnTo>
                    <a:pt x="509" y="686"/>
                  </a:lnTo>
                  <a:lnTo>
                    <a:pt x="515" y="692"/>
                  </a:lnTo>
                  <a:lnTo>
                    <a:pt x="521" y="698"/>
                  </a:lnTo>
                  <a:lnTo>
                    <a:pt x="521" y="692"/>
                  </a:lnTo>
                  <a:lnTo>
                    <a:pt x="527" y="692"/>
                  </a:lnTo>
                  <a:lnTo>
                    <a:pt x="533" y="698"/>
                  </a:lnTo>
                  <a:lnTo>
                    <a:pt x="533" y="692"/>
                  </a:lnTo>
                  <a:lnTo>
                    <a:pt x="539" y="692"/>
                  </a:lnTo>
                  <a:lnTo>
                    <a:pt x="546" y="692"/>
                  </a:lnTo>
                  <a:lnTo>
                    <a:pt x="552" y="686"/>
                  </a:lnTo>
                  <a:lnTo>
                    <a:pt x="558" y="686"/>
                  </a:lnTo>
                  <a:lnTo>
                    <a:pt x="558" y="680"/>
                  </a:lnTo>
                  <a:lnTo>
                    <a:pt x="552" y="680"/>
                  </a:lnTo>
                  <a:lnTo>
                    <a:pt x="558" y="673"/>
                  </a:lnTo>
                  <a:lnTo>
                    <a:pt x="564" y="667"/>
                  </a:lnTo>
                  <a:lnTo>
                    <a:pt x="570" y="667"/>
                  </a:lnTo>
                  <a:lnTo>
                    <a:pt x="570" y="661"/>
                  </a:lnTo>
                  <a:lnTo>
                    <a:pt x="570" y="655"/>
                  </a:lnTo>
                  <a:lnTo>
                    <a:pt x="576" y="655"/>
                  </a:lnTo>
                  <a:lnTo>
                    <a:pt x="582" y="655"/>
                  </a:lnTo>
                  <a:lnTo>
                    <a:pt x="582" y="649"/>
                  </a:lnTo>
                  <a:lnTo>
                    <a:pt x="588" y="643"/>
                  </a:lnTo>
                  <a:lnTo>
                    <a:pt x="595" y="643"/>
                  </a:lnTo>
                  <a:lnTo>
                    <a:pt x="595" y="637"/>
                  </a:lnTo>
                  <a:lnTo>
                    <a:pt x="601" y="637"/>
                  </a:lnTo>
                  <a:lnTo>
                    <a:pt x="601" y="631"/>
                  </a:lnTo>
                  <a:lnTo>
                    <a:pt x="601" y="624"/>
                  </a:lnTo>
                  <a:lnTo>
                    <a:pt x="601" y="618"/>
                  </a:lnTo>
                  <a:lnTo>
                    <a:pt x="607" y="618"/>
                  </a:lnTo>
                  <a:lnTo>
                    <a:pt x="607" y="612"/>
                  </a:lnTo>
                  <a:lnTo>
                    <a:pt x="613" y="612"/>
                  </a:lnTo>
                  <a:lnTo>
                    <a:pt x="607" y="606"/>
                  </a:lnTo>
                  <a:lnTo>
                    <a:pt x="607" y="600"/>
                  </a:lnTo>
                  <a:lnTo>
                    <a:pt x="601" y="600"/>
                  </a:lnTo>
                  <a:lnTo>
                    <a:pt x="595" y="600"/>
                  </a:lnTo>
                  <a:lnTo>
                    <a:pt x="588" y="600"/>
                  </a:lnTo>
                  <a:lnTo>
                    <a:pt x="582" y="600"/>
                  </a:lnTo>
                  <a:lnTo>
                    <a:pt x="576" y="594"/>
                  </a:lnTo>
                  <a:lnTo>
                    <a:pt x="576" y="588"/>
                  </a:lnTo>
                  <a:lnTo>
                    <a:pt x="570" y="582"/>
                  </a:lnTo>
                  <a:lnTo>
                    <a:pt x="570" y="575"/>
                  </a:lnTo>
                  <a:lnTo>
                    <a:pt x="570" y="569"/>
                  </a:lnTo>
                  <a:lnTo>
                    <a:pt x="570" y="563"/>
                  </a:lnTo>
                  <a:lnTo>
                    <a:pt x="570" y="557"/>
                  </a:lnTo>
                  <a:lnTo>
                    <a:pt x="576" y="557"/>
                  </a:lnTo>
                  <a:lnTo>
                    <a:pt x="576" y="551"/>
                  </a:lnTo>
                  <a:lnTo>
                    <a:pt x="576" y="545"/>
                  </a:lnTo>
                  <a:lnTo>
                    <a:pt x="570" y="539"/>
                  </a:lnTo>
                  <a:lnTo>
                    <a:pt x="564" y="539"/>
                  </a:lnTo>
                  <a:lnTo>
                    <a:pt x="564" y="533"/>
                  </a:lnTo>
                  <a:lnTo>
                    <a:pt x="564" y="526"/>
                  </a:lnTo>
                  <a:lnTo>
                    <a:pt x="558" y="526"/>
                  </a:lnTo>
                  <a:lnTo>
                    <a:pt x="558" y="520"/>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1" name="Freeform 26"/>
            <p:cNvSpPr>
              <a:spLocks/>
            </p:cNvSpPr>
            <p:nvPr/>
          </p:nvSpPr>
          <p:spPr bwMode="auto">
            <a:xfrm>
              <a:off x="3446971" y="5090460"/>
              <a:ext cx="98624" cy="178510"/>
            </a:xfrm>
            <a:custGeom>
              <a:avLst/>
              <a:gdLst>
                <a:gd name="T0" fmla="*/ 93247058 w 61"/>
                <a:gd name="T1" fmla="*/ 307459085 h 122"/>
                <a:gd name="T2" fmla="*/ 108368095 w 61"/>
                <a:gd name="T3" fmla="*/ 292338151 h 122"/>
                <a:gd name="T4" fmla="*/ 123489106 w 61"/>
                <a:gd name="T5" fmla="*/ 307459085 h 122"/>
                <a:gd name="T6" fmla="*/ 123489106 w 61"/>
                <a:gd name="T7" fmla="*/ 292338151 h 122"/>
                <a:gd name="T8" fmla="*/ 123489106 w 61"/>
                <a:gd name="T9" fmla="*/ 277217217 h 122"/>
                <a:gd name="T10" fmla="*/ 138610118 w 61"/>
                <a:gd name="T11" fmla="*/ 277217217 h 122"/>
                <a:gd name="T12" fmla="*/ 153731130 w 61"/>
                <a:gd name="T13" fmla="*/ 277217217 h 122"/>
                <a:gd name="T14" fmla="*/ 153731130 w 61"/>
                <a:gd name="T15" fmla="*/ 262096284 h 122"/>
                <a:gd name="T16" fmla="*/ 153731130 w 61"/>
                <a:gd name="T17" fmla="*/ 246975350 h 122"/>
                <a:gd name="T18" fmla="*/ 153731130 w 61"/>
                <a:gd name="T19" fmla="*/ 231854416 h 122"/>
                <a:gd name="T20" fmla="*/ 138610118 w 61"/>
                <a:gd name="T21" fmla="*/ 231854416 h 122"/>
                <a:gd name="T22" fmla="*/ 138610118 w 61"/>
                <a:gd name="T23" fmla="*/ 216733483 h 122"/>
                <a:gd name="T24" fmla="*/ 138610118 w 61"/>
                <a:gd name="T25" fmla="*/ 183972204 h 122"/>
                <a:gd name="T26" fmla="*/ 123489106 w 61"/>
                <a:gd name="T27" fmla="*/ 183972204 h 122"/>
                <a:gd name="T28" fmla="*/ 108368095 w 61"/>
                <a:gd name="T29" fmla="*/ 168851270 h 122"/>
                <a:gd name="T30" fmla="*/ 108368095 w 61"/>
                <a:gd name="T31" fmla="*/ 153730336 h 122"/>
                <a:gd name="T32" fmla="*/ 123489106 w 61"/>
                <a:gd name="T33" fmla="*/ 153730336 h 122"/>
                <a:gd name="T34" fmla="*/ 123489106 w 61"/>
                <a:gd name="T35" fmla="*/ 138609402 h 122"/>
                <a:gd name="T36" fmla="*/ 138610118 w 61"/>
                <a:gd name="T37" fmla="*/ 123488469 h 122"/>
                <a:gd name="T38" fmla="*/ 138610118 w 61"/>
                <a:gd name="T39" fmla="*/ 108367535 h 122"/>
                <a:gd name="T40" fmla="*/ 123489106 w 61"/>
                <a:gd name="T41" fmla="*/ 93246576 h 122"/>
                <a:gd name="T42" fmla="*/ 123489106 w 61"/>
                <a:gd name="T43" fmla="*/ 75604693 h 122"/>
                <a:gd name="T44" fmla="*/ 108368095 w 61"/>
                <a:gd name="T45" fmla="*/ 75604693 h 122"/>
                <a:gd name="T46" fmla="*/ 108368095 w 61"/>
                <a:gd name="T47" fmla="*/ 60483760 h 122"/>
                <a:gd name="T48" fmla="*/ 108368095 w 61"/>
                <a:gd name="T49" fmla="*/ 45362814 h 122"/>
                <a:gd name="T50" fmla="*/ 123489106 w 61"/>
                <a:gd name="T51" fmla="*/ 45362814 h 122"/>
                <a:gd name="T52" fmla="*/ 108368095 w 61"/>
                <a:gd name="T53" fmla="*/ 45362814 h 122"/>
                <a:gd name="T54" fmla="*/ 108368095 w 61"/>
                <a:gd name="T55" fmla="*/ 30241880 h 122"/>
                <a:gd name="T56" fmla="*/ 108368095 w 61"/>
                <a:gd name="T57" fmla="*/ 15120940 h 122"/>
                <a:gd name="T58" fmla="*/ 93247058 w 61"/>
                <a:gd name="T59" fmla="*/ 15120940 h 122"/>
                <a:gd name="T60" fmla="*/ 93247058 w 61"/>
                <a:gd name="T61" fmla="*/ 0 h 122"/>
                <a:gd name="T62" fmla="*/ 78126046 w 61"/>
                <a:gd name="T63" fmla="*/ 15120940 h 122"/>
                <a:gd name="T64" fmla="*/ 63005034 w 61"/>
                <a:gd name="T65" fmla="*/ 15120940 h 122"/>
                <a:gd name="T66" fmla="*/ 45363048 w 61"/>
                <a:gd name="T67" fmla="*/ 15120940 h 122"/>
                <a:gd name="T68" fmla="*/ 45363048 w 61"/>
                <a:gd name="T69" fmla="*/ 30241880 h 122"/>
                <a:gd name="T70" fmla="*/ 30242036 w 61"/>
                <a:gd name="T71" fmla="*/ 45362814 h 122"/>
                <a:gd name="T72" fmla="*/ 45363048 w 61"/>
                <a:gd name="T73" fmla="*/ 45362814 h 122"/>
                <a:gd name="T74" fmla="*/ 30242036 w 61"/>
                <a:gd name="T75" fmla="*/ 45362814 h 122"/>
                <a:gd name="T76" fmla="*/ 45363048 w 61"/>
                <a:gd name="T77" fmla="*/ 45362814 h 122"/>
                <a:gd name="T78" fmla="*/ 30242036 w 61"/>
                <a:gd name="T79" fmla="*/ 75604693 h 122"/>
                <a:gd name="T80" fmla="*/ 15121018 w 61"/>
                <a:gd name="T81" fmla="*/ 75604693 h 122"/>
                <a:gd name="T82" fmla="*/ 0 w 61"/>
                <a:gd name="T83" fmla="*/ 75604693 h 122"/>
                <a:gd name="T84" fmla="*/ 0 w 61"/>
                <a:gd name="T85" fmla="*/ 60483760 h 122"/>
                <a:gd name="T86" fmla="*/ 15121018 w 61"/>
                <a:gd name="T87" fmla="*/ 60483760 h 1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1"/>
                <a:gd name="T133" fmla="*/ 0 h 122"/>
                <a:gd name="T134" fmla="*/ 61 w 61"/>
                <a:gd name="T135" fmla="*/ 122 h 1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1" h="122">
                  <a:moveTo>
                    <a:pt x="37" y="122"/>
                  </a:moveTo>
                  <a:lnTo>
                    <a:pt x="43" y="116"/>
                  </a:lnTo>
                  <a:lnTo>
                    <a:pt x="49" y="122"/>
                  </a:lnTo>
                  <a:lnTo>
                    <a:pt x="49" y="116"/>
                  </a:lnTo>
                  <a:lnTo>
                    <a:pt x="49" y="110"/>
                  </a:lnTo>
                  <a:lnTo>
                    <a:pt x="55" y="110"/>
                  </a:lnTo>
                  <a:lnTo>
                    <a:pt x="61" y="110"/>
                  </a:lnTo>
                  <a:lnTo>
                    <a:pt x="61" y="104"/>
                  </a:lnTo>
                  <a:lnTo>
                    <a:pt x="61" y="98"/>
                  </a:lnTo>
                  <a:lnTo>
                    <a:pt x="61" y="92"/>
                  </a:lnTo>
                  <a:lnTo>
                    <a:pt x="55" y="92"/>
                  </a:lnTo>
                  <a:lnTo>
                    <a:pt x="55" y="86"/>
                  </a:lnTo>
                  <a:lnTo>
                    <a:pt x="55" y="73"/>
                  </a:lnTo>
                  <a:lnTo>
                    <a:pt x="49" y="73"/>
                  </a:lnTo>
                  <a:lnTo>
                    <a:pt x="43" y="67"/>
                  </a:lnTo>
                  <a:lnTo>
                    <a:pt x="43" y="61"/>
                  </a:lnTo>
                  <a:lnTo>
                    <a:pt x="49" y="61"/>
                  </a:lnTo>
                  <a:lnTo>
                    <a:pt x="49" y="55"/>
                  </a:lnTo>
                  <a:lnTo>
                    <a:pt x="55" y="49"/>
                  </a:lnTo>
                  <a:lnTo>
                    <a:pt x="55" y="43"/>
                  </a:lnTo>
                  <a:lnTo>
                    <a:pt x="49" y="37"/>
                  </a:lnTo>
                  <a:lnTo>
                    <a:pt x="49" y="30"/>
                  </a:lnTo>
                  <a:lnTo>
                    <a:pt x="43" y="30"/>
                  </a:lnTo>
                  <a:lnTo>
                    <a:pt x="43" y="24"/>
                  </a:lnTo>
                  <a:lnTo>
                    <a:pt x="43" y="18"/>
                  </a:lnTo>
                  <a:lnTo>
                    <a:pt x="49" y="18"/>
                  </a:lnTo>
                  <a:lnTo>
                    <a:pt x="43" y="18"/>
                  </a:lnTo>
                  <a:lnTo>
                    <a:pt x="43" y="12"/>
                  </a:lnTo>
                  <a:lnTo>
                    <a:pt x="43" y="6"/>
                  </a:lnTo>
                  <a:lnTo>
                    <a:pt x="37" y="6"/>
                  </a:lnTo>
                  <a:lnTo>
                    <a:pt x="37" y="0"/>
                  </a:lnTo>
                  <a:lnTo>
                    <a:pt x="31" y="6"/>
                  </a:lnTo>
                  <a:lnTo>
                    <a:pt x="25" y="6"/>
                  </a:lnTo>
                  <a:lnTo>
                    <a:pt x="18" y="6"/>
                  </a:lnTo>
                  <a:lnTo>
                    <a:pt x="18" y="12"/>
                  </a:lnTo>
                  <a:lnTo>
                    <a:pt x="12" y="18"/>
                  </a:lnTo>
                  <a:lnTo>
                    <a:pt x="18" y="18"/>
                  </a:lnTo>
                  <a:lnTo>
                    <a:pt x="12" y="18"/>
                  </a:lnTo>
                  <a:lnTo>
                    <a:pt x="18" y="18"/>
                  </a:lnTo>
                  <a:lnTo>
                    <a:pt x="12" y="30"/>
                  </a:lnTo>
                  <a:lnTo>
                    <a:pt x="6" y="30"/>
                  </a:lnTo>
                  <a:lnTo>
                    <a:pt x="0" y="30"/>
                  </a:lnTo>
                  <a:lnTo>
                    <a:pt x="0" y="24"/>
                  </a:lnTo>
                  <a:lnTo>
                    <a:pt x="6" y="24"/>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2" name="Freeform 27"/>
            <p:cNvSpPr>
              <a:spLocks/>
            </p:cNvSpPr>
            <p:nvPr/>
          </p:nvSpPr>
          <p:spPr bwMode="auto">
            <a:xfrm>
              <a:off x="3655536" y="5538198"/>
              <a:ext cx="79222" cy="206310"/>
            </a:xfrm>
            <a:custGeom>
              <a:avLst/>
              <a:gdLst>
                <a:gd name="T0" fmla="*/ 0 w 49"/>
                <a:gd name="T1" fmla="*/ 138607480 h 141"/>
                <a:gd name="T2" fmla="*/ 15120842 w 49"/>
                <a:gd name="T3" fmla="*/ 153728377 h 141"/>
                <a:gd name="T4" fmla="*/ 0 w 49"/>
                <a:gd name="T5" fmla="*/ 168849274 h 141"/>
                <a:gd name="T6" fmla="*/ 15120842 w 49"/>
                <a:gd name="T7" fmla="*/ 201612012 h 141"/>
                <a:gd name="T8" fmla="*/ 0 w 49"/>
                <a:gd name="T9" fmla="*/ 216732959 h 141"/>
                <a:gd name="T10" fmla="*/ 15120842 w 49"/>
                <a:gd name="T11" fmla="*/ 231853856 h 141"/>
                <a:gd name="T12" fmla="*/ 30241684 w 49"/>
                <a:gd name="T13" fmla="*/ 246974753 h 141"/>
                <a:gd name="T14" fmla="*/ 30241684 w 49"/>
                <a:gd name="T15" fmla="*/ 246974753 h 141"/>
                <a:gd name="T16" fmla="*/ 15120842 w 49"/>
                <a:gd name="T17" fmla="*/ 262095650 h 141"/>
                <a:gd name="T18" fmla="*/ 30241684 w 49"/>
                <a:gd name="T19" fmla="*/ 277216547 h 141"/>
                <a:gd name="T20" fmla="*/ 30241684 w 49"/>
                <a:gd name="T21" fmla="*/ 292337445 h 141"/>
                <a:gd name="T22" fmla="*/ 30241684 w 49"/>
                <a:gd name="T23" fmla="*/ 309977698 h 141"/>
                <a:gd name="T24" fmla="*/ 45362519 w 49"/>
                <a:gd name="T25" fmla="*/ 325098595 h 141"/>
                <a:gd name="T26" fmla="*/ 60483367 w 49"/>
                <a:gd name="T27" fmla="*/ 340219492 h 141"/>
                <a:gd name="T28" fmla="*/ 75604203 w 49"/>
                <a:gd name="T29" fmla="*/ 355340389 h 141"/>
                <a:gd name="T30" fmla="*/ 93244384 w 49"/>
                <a:gd name="T31" fmla="*/ 309977698 h 141"/>
                <a:gd name="T32" fmla="*/ 108365244 w 49"/>
                <a:gd name="T33" fmla="*/ 292337445 h 141"/>
                <a:gd name="T34" fmla="*/ 108365244 w 49"/>
                <a:gd name="T35" fmla="*/ 231853856 h 141"/>
                <a:gd name="T36" fmla="*/ 123486080 w 49"/>
                <a:gd name="T37" fmla="*/ 201612012 h 141"/>
                <a:gd name="T38" fmla="*/ 123486080 w 49"/>
                <a:gd name="T39" fmla="*/ 153728377 h 141"/>
                <a:gd name="T40" fmla="*/ 108365244 w 49"/>
                <a:gd name="T41" fmla="*/ 78123866 h 141"/>
                <a:gd name="T42" fmla="*/ 123486080 w 49"/>
                <a:gd name="T43" fmla="*/ 30241807 h 141"/>
                <a:gd name="T44" fmla="*/ 108365244 w 49"/>
                <a:gd name="T45" fmla="*/ 0 h 141"/>
                <a:gd name="T46" fmla="*/ 93244384 w 49"/>
                <a:gd name="T47" fmla="*/ 15120903 h 141"/>
                <a:gd name="T48" fmla="*/ 108365244 w 49"/>
                <a:gd name="T49" fmla="*/ 45362704 h 141"/>
                <a:gd name="T50" fmla="*/ 93244384 w 49"/>
                <a:gd name="T51" fmla="*/ 63002969 h 141"/>
                <a:gd name="T52" fmla="*/ 75604203 w 49"/>
                <a:gd name="T53" fmla="*/ 45362704 h 141"/>
                <a:gd name="T54" fmla="*/ 60483367 w 49"/>
                <a:gd name="T55" fmla="*/ 78123866 h 141"/>
                <a:gd name="T56" fmla="*/ 30241684 w 49"/>
                <a:gd name="T57" fmla="*/ 78123866 h 141"/>
                <a:gd name="T58" fmla="*/ 30241684 w 49"/>
                <a:gd name="T59" fmla="*/ 78123866 h 141"/>
                <a:gd name="T60" fmla="*/ 15120842 w 49"/>
                <a:gd name="T61" fmla="*/ 93244764 h 141"/>
                <a:gd name="T62" fmla="*/ 15120842 w 49"/>
                <a:gd name="T63" fmla="*/ 123486583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
                <a:gd name="T97" fmla="*/ 0 h 141"/>
                <a:gd name="T98" fmla="*/ 49 w 49"/>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 h="141">
                  <a:moveTo>
                    <a:pt x="0" y="49"/>
                  </a:moveTo>
                  <a:lnTo>
                    <a:pt x="0" y="55"/>
                  </a:lnTo>
                  <a:lnTo>
                    <a:pt x="6" y="55"/>
                  </a:lnTo>
                  <a:lnTo>
                    <a:pt x="6" y="61"/>
                  </a:lnTo>
                  <a:lnTo>
                    <a:pt x="0" y="61"/>
                  </a:lnTo>
                  <a:lnTo>
                    <a:pt x="0" y="67"/>
                  </a:lnTo>
                  <a:lnTo>
                    <a:pt x="6" y="74"/>
                  </a:lnTo>
                  <a:lnTo>
                    <a:pt x="6" y="80"/>
                  </a:lnTo>
                  <a:lnTo>
                    <a:pt x="6" y="86"/>
                  </a:lnTo>
                  <a:lnTo>
                    <a:pt x="0" y="86"/>
                  </a:lnTo>
                  <a:lnTo>
                    <a:pt x="0" y="92"/>
                  </a:lnTo>
                  <a:lnTo>
                    <a:pt x="6" y="92"/>
                  </a:lnTo>
                  <a:lnTo>
                    <a:pt x="12" y="92"/>
                  </a:lnTo>
                  <a:lnTo>
                    <a:pt x="12" y="98"/>
                  </a:lnTo>
                  <a:lnTo>
                    <a:pt x="6" y="98"/>
                  </a:lnTo>
                  <a:lnTo>
                    <a:pt x="12" y="98"/>
                  </a:lnTo>
                  <a:lnTo>
                    <a:pt x="6" y="98"/>
                  </a:lnTo>
                  <a:lnTo>
                    <a:pt x="6" y="104"/>
                  </a:lnTo>
                  <a:lnTo>
                    <a:pt x="6" y="110"/>
                  </a:lnTo>
                  <a:lnTo>
                    <a:pt x="12" y="110"/>
                  </a:lnTo>
                  <a:lnTo>
                    <a:pt x="18" y="110"/>
                  </a:lnTo>
                  <a:lnTo>
                    <a:pt x="12" y="116"/>
                  </a:lnTo>
                  <a:lnTo>
                    <a:pt x="6" y="116"/>
                  </a:lnTo>
                  <a:lnTo>
                    <a:pt x="12" y="123"/>
                  </a:lnTo>
                  <a:lnTo>
                    <a:pt x="12" y="129"/>
                  </a:lnTo>
                  <a:lnTo>
                    <a:pt x="18" y="129"/>
                  </a:lnTo>
                  <a:lnTo>
                    <a:pt x="24" y="129"/>
                  </a:lnTo>
                  <a:lnTo>
                    <a:pt x="24" y="135"/>
                  </a:lnTo>
                  <a:lnTo>
                    <a:pt x="24" y="141"/>
                  </a:lnTo>
                  <a:lnTo>
                    <a:pt x="30" y="141"/>
                  </a:lnTo>
                  <a:lnTo>
                    <a:pt x="30" y="135"/>
                  </a:lnTo>
                  <a:lnTo>
                    <a:pt x="37" y="123"/>
                  </a:lnTo>
                  <a:lnTo>
                    <a:pt x="37" y="116"/>
                  </a:lnTo>
                  <a:lnTo>
                    <a:pt x="43" y="116"/>
                  </a:lnTo>
                  <a:lnTo>
                    <a:pt x="43" y="98"/>
                  </a:lnTo>
                  <a:lnTo>
                    <a:pt x="43" y="92"/>
                  </a:lnTo>
                  <a:lnTo>
                    <a:pt x="43" y="86"/>
                  </a:lnTo>
                  <a:lnTo>
                    <a:pt x="49" y="80"/>
                  </a:lnTo>
                  <a:lnTo>
                    <a:pt x="49" y="67"/>
                  </a:lnTo>
                  <a:lnTo>
                    <a:pt x="49" y="61"/>
                  </a:lnTo>
                  <a:lnTo>
                    <a:pt x="49" y="37"/>
                  </a:lnTo>
                  <a:lnTo>
                    <a:pt x="43" y="31"/>
                  </a:lnTo>
                  <a:lnTo>
                    <a:pt x="43" y="25"/>
                  </a:lnTo>
                  <a:lnTo>
                    <a:pt x="49" y="12"/>
                  </a:lnTo>
                  <a:lnTo>
                    <a:pt x="49" y="0"/>
                  </a:lnTo>
                  <a:lnTo>
                    <a:pt x="43" y="0"/>
                  </a:lnTo>
                  <a:lnTo>
                    <a:pt x="43" y="6"/>
                  </a:lnTo>
                  <a:lnTo>
                    <a:pt x="37" y="6"/>
                  </a:lnTo>
                  <a:lnTo>
                    <a:pt x="37" y="12"/>
                  </a:lnTo>
                  <a:lnTo>
                    <a:pt x="43" y="18"/>
                  </a:lnTo>
                  <a:lnTo>
                    <a:pt x="43" y="25"/>
                  </a:lnTo>
                  <a:lnTo>
                    <a:pt x="37" y="25"/>
                  </a:lnTo>
                  <a:lnTo>
                    <a:pt x="37" y="18"/>
                  </a:lnTo>
                  <a:lnTo>
                    <a:pt x="30" y="18"/>
                  </a:lnTo>
                  <a:lnTo>
                    <a:pt x="24" y="25"/>
                  </a:lnTo>
                  <a:lnTo>
                    <a:pt x="24" y="31"/>
                  </a:lnTo>
                  <a:lnTo>
                    <a:pt x="18" y="31"/>
                  </a:lnTo>
                  <a:lnTo>
                    <a:pt x="12" y="31"/>
                  </a:lnTo>
                  <a:lnTo>
                    <a:pt x="12" y="37"/>
                  </a:lnTo>
                  <a:lnTo>
                    <a:pt x="12" y="31"/>
                  </a:lnTo>
                  <a:lnTo>
                    <a:pt x="6" y="31"/>
                  </a:lnTo>
                  <a:lnTo>
                    <a:pt x="6" y="37"/>
                  </a:lnTo>
                  <a:lnTo>
                    <a:pt x="6" y="43"/>
                  </a:lnTo>
                  <a:lnTo>
                    <a:pt x="6" y="49"/>
                  </a:lnTo>
                  <a:lnTo>
                    <a:pt x="0" y="4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3" name="Freeform 28"/>
            <p:cNvSpPr>
              <a:spLocks/>
            </p:cNvSpPr>
            <p:nvPr/>
          </p:nvSpPr>
          <p:spPr bwMode="auto">
            <a:xfrm>
              <a:off x="2873016" y="5153376"/>
              <a:ext cx="9701" cy="26338"/>
            </a:xfrm>
            <a:custGeom>
              <a:avLst/>
              <a:gdLst>
                <a:gd name="T0" fmla="*/ 0 w 6"/>
                <a:gd name="T1" fmla="*/ 0 h 18"/>
                <a:gd name="T2" fmla="*/ 0 w 6"/>
                <a:gd name="T3" fmla="*/ 15120937 h 18"/>
                <a:gd name="T4" fmla="*/ 15120939 w 6"/>
                <a:gd name="T5" fmla="*/ 30241875 h 18"/>
                <a:gd name="T6" fmla="*/ 15120939 w 6"/>
                <a:gd name="T7" fmla="*/ 45362806 h 18"/>
                <a:gd name="T8" fmla="*/ 15120939 w 6"/>
                <a:gd name="T9" fmla="*/ 30241875 h 18"/>
                <a:gd name="T10" fmla="*/ 15120939 w 6"/>
                <a:gd name="T11" fmla="*/ 15120937 h 18"/>
                <a:gd name="T12" fmla="*/ 15120939 w 6"/>
                <a:gd name="T13" fmla="*/ 0 h 18"/>
                <a:gd name="T14" fmla="*/ 0 w 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8"/>
                <a:gd name="T26" fmla="*/ 6 w 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8">
                  <a:moveTo>
                    <a:pt x="0" y="0"/>
                  </a:moveTo>
                  <a:lnTo>
                    <a:pt x="0" y="6"/>
                  </a:lnTo>
                  <a:lnTo>
                    <a:pt x="6" y="12"/>
                  </a:lnTo>
                  <a:lnTo>
                    <a:pt x="6" y="18"/>
                  </a:lnTo>
                  <a:lnTo>
                    <a:pt x="6" y="12"/>
                  </a:lnTo>
                  <a:lnTo>
                    <a:pt x="6"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4" name="Freeform 29"/>
            <p:cNvSpPr>
              <a:spLocks/>
            </p:cNvSpPr>
            <p:nvPr/>
          </p:nvSpPr>
          <p:spPr bwMode="auto">
            <a:xfrm>
              <a:off x="2863315" y="5116797"/>
              <a:ext cx="19401" cy="17558"/>
            </a:xfrm>
            <a:custGeom>
              <a:avLst/>
              <a:gdLst>
                <a:gd name="T0" fmla="*/ 0 w 12"/>
                <a:gd name="T1" fmla="*/ 15120939 h 12"/>
                <a:gd name="T2" fmla="*/ 15120939 w 12"/>
                <a:gd name="T3" fmla="*/ 30241878 h 12"/>
                <a:gd name="T4" fmla="*/ 30241878 w 12"/>
                <a:gd name="T5" fmla="*/ 30241878 h 12"/>
                <a:gd name="T6" fmla="*/ 30241878 w 12"/>
                <a:gd name="T7" fmla="*/ 15120939 h 12"/>
                <a:gd name="T8" fmla="*/ 15120939 w 12"/>
                <a:gd name="T9" fmla="*/ 15120939 h 12"/>
                <a:gd name="T10" fmla="*/ 0 w 12"/>
                <a:gd name="T11" fmla="*/ 15120939 h 12"/>
                <a:gd name="T12" fmla="*/ 0 w 12"/>
                <a:gd name="T13" fmla="*/ 0 h 12"/>
                <a:gd name="T14" fmla="*/ 0 w 12"/>
                <a:gd name="T15" fmla="*/ 15120939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0" y="6"/>
                  </a:moveTo>
                  <a:lnTo>
                    <a:pt x="6" y="12"/>
                  </a:lnTo>
                  <a:lnTo>
                    <a:pt x="12" y="12"/>
                  </a:lnTo>
                  <a:lnTo>
                    <a:pt x="12" y="6"/>
                  </a:lnTo>
                  <a:lnTo>
                    <a:pt x="6" y="6"/>
                  </a:lnTo>
                  <a:lnTo>
                    <a:pt x="0"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5" name="Freeform 30"/>
            <p:cNvSpPr>
              <a:spLocks/>
            </p:cNvSpPr>
            <p:nvPr/>
          </p:nvSpPr>
          <p:spPr bwMode="auto">
            <a:xfrm>
              <a:off x="2724272" y="4982183"/>
              <a:ext cx="19401" cy="8779"/>
            </a:xfrm>
            <a:custGeom>
              <a:avLst/>
              <a:gdLst>
                <a:gd name="T0" fmla="*/ 0 w 12"/>
                <a:gd name="T1" fmla="*/ 0 h 6"/>
                <a:gd name="T2" fmla="*/ 0 w 12"/>
                <a:gd name="T3" fmla="*/ 15120939 h 6"/>
                <a:gd name="T4" fmla="*/ 15120939 w 12"/>
                <a:gd name="T5" fmla="*/ 15120939 h 6"/>
                <a:gd name="T6" fmla="*/ 30241878 w 12"/>
                <a:gd name="T7" fmla="*/ 15120939 h 6"/>
                <a:gd name="T8" fmla="*/ 15120939 w 12"/>
                <a:gd name="T9" fmla="*/ 0 h 6"/>
                <a:gd name="T10" fmla="*/ 0 w 12"/>
                <a:gd name="T11" fmla="*/ 0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0" y="0"/>
                  </a:moveTo>
                  <a:lnTo>
                    <a:pt x="0" y="6"/>
                  </a:lnTo>
                  <a:lnTo>
                    <a:pt x="6" y="6"/>
                  </a:lnTo>
                  <a:lnTo>
                    <a:pt x="12"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6" name="Freeform 31"/>
            <p:cNvSpPr>
              <a:spLocks/>
            </p:cNvSpPr>
            <p:nvPr/>
          </p:nvSpPr>
          <p:spPr bwMode="auto">
            <a:xfrm>
              <a:off x="2486605" y="3548251"/>
              <a:ext cx="633777" cy="1103250"/>
            </a:xfrm>
            <a:custGeom>
              <a:avLst/>
              <a:gdLst>
                <a:gd name="T0" fmla="*/ 771167771 w 392"/>
                <a:gd name="T1" fmla="*/ 1249997492 h 754"/>
                <a:gd name="T2" fmla="*/ 924898246 w 392"/>
                <a:gd name="T3" fmla="*/ 1249997492 h 754"/>
                <a:gd name="T4" fmla="*/ 957659474 w 392"/>
                <a:gd name="T5" fmla="*/ 1436488994 h 754"/>
                <a:gd name="T6" fmla="*/ 879535448 w 392"/>
                <a:gd name="T7" fmla="*/ 1496972725 h 754"/>
                <a:gd name="T8" fmla="*/ 834172650 w 392"/>
                <a:gd name="T9" fmla="*/ 1559977404 h 754"/>
                <a:gd name="T10" fmla="*/ 864414515 w 392"/>
                <a:gd name="T11" fmla="*/ 1590219269 h 754"/>
                <a:gd name="T12" fmla="*/ 909777314 w 392"/>
                <a:gd name="T13" fmla="*/ 1653222362 h 754"/>
                <a:gd name="T14" fmla="*/ 740925905 w 392"/>
                <a:gd name="T15" fmla="*/ 1713706489 h 754"/>
                <a:gd name="T16" fmla="*/ 632558426 w 392"/>
                <a:gd name="T17" fmla="*/ 1728827421 h 754"/>
                <a:gd name="T18" fmla="*/ 569555334 w 392"/>
                <a:gd name="T19" fmla="*/ 1728827421 h 754"/>
                <a:gd name="T20" fmla="*/ 463708804 w 392"/>
                <a:gd name="T21" fmla="*/ 1776711168 h 754"/>
                <a:gd name="T22" fmla="*/ 340221881 w 392"/>
                <a:gd name="T23" fmla="*/ 1743948354 h 754"/>
                <a:gd name="T24" fmla="*/ 292338133 w 392"/>
                <a:gd name="T25" fmla="*/ 1822073966 h 754"/>
                <a:gd name="T26" fmla="*/ 199093125 w 392"/>
                <a:gd name="T27" fmla="*/ 1822073966 h 754"/>
                <a:gd name="T28" fmla="*/ 138607806 w 392"/>
                <a:gd name="T29" fmla="*/ 1900197991 h 754"/>
                <a:gd name="T30" fmla="*/ 108367528 w 392"/>
                <a:gd name="T31" fmla="*/ 1837194899 h 754"/>
                <a:gd name="T32" fmla="*/ 199093125 w 392"/>
                <a:gd name="T33" fmla="*/ 1743948354 h 754"/>
                <a:gd name="T34" fmla="*/ 262096268 w 392"/>
                <a:gd name="T35" fmla="*/ 1620461135 h 754"/>
                <a:gd name="T36" fmla="*/ 400705612 w 392"/>
                <a:gd name="T37" fmla="*/ 1620461135 h 754"/>
                <a:gd name="T38" fmla="*/ 463708804 w 392"/>
                <a:gd name="T39" fmla="*/ 1514614606 h 754"/>
                <a:gd name="T40" fmla="*/ 307459066 w 392"/>
                <a:gd name="T41" fmla="*/ 1575098337 h 754"/>
                <a:gd name="T42" fmla="*/ 262096268 w 392"/>
                <a:gd name="T43" fmla="*/ 1529735539 h 754"/>
                <a:gd name="T44" fmla="*/ 199093125 w 392"/>
                <a:gd name="T45" fmla="*/ 1514614606 h 754"/>
                <a:gd name="T46" fmla="*/ 138607806 w 392"/>
                <a:gd name="T47" fmla="*/ 1514614606 h 754"/>
                <a:gd name="T48" fmla="*/ 183972192 w 392"/>
                <a:gd name="T49" fmla="*/ 1451609927 h 754"/>
                <a:gd name="T50" fmla="*/ 277217200 w 392"/>
                <a:gd name="T51" fmla="*/ 1358364970 h 754"/>
                <a:gd name="T52" fmla="*/ 216733469 w 392"/>
                <a:gd name="T53" fmla="*/ 1267637786 h 754"/>
                <a:gd name="T54" fmla="*/ 246975335 w 392"/>
                <a:gd name="T55" fmla="*/ 1189513762 h 754"/>
                <a:gd name="T56" fmla="*/ 385584679 w 392"/>
                <a:gd name="T57" fmla="*/ 1174392829 h 754"/>
                <a:gd name="T58" fmla="*/ 415826545 w 392"/>
                <a:gd name="T59" fmla="*/ 1174392829 h 754"/>
                <a:gd name="T60" fmla="*/ 400705612 w 392"/>
                <a:gd name="T61" fmla="*/ 1050904419 h 754"/>
                <a:gd name="T62" fmla="*/ 415826545 w 392"/>
                <a:gd name="T63" fmla="*/ 987901327 h 754"/>
                <a:gd name="T64" fmla="*/ 355342814 w 392"/>
                <a:gd name="T65" fmla="*/ 942538529 h 754"/>
                <a:gd name="T66" fmla="*/ 370463746 w 392"/>
                <a:gd name="T67" fmla="*/ 819051508 h 754"/>
                <a:gd name="T68" fmla="*/ 262096268 w 392"/>
                <a:gd name="T69" fmla="*/ 849293572 h 754"/>
                <a:gd name="T70" fmla="*/ 168851260 w 392"/>
                <a:gd name="T71" fmla="*/ 864414504 h 754"/>
                <a:gd name="T72" fmla="*/ 199093125 w 392"/>
                <a:gd name="T73" fmla="*/ 710684031 h 754"/>
                <a:gd name="T74" fmla="*/ 199093125 w 392"/>
                <a:gd name="T75" fmla="*/ 602316553 h 754"/>
                <a:gd name="T76" fmla="*/ 138607806 w 392"/>
                <a:gd name="T77" fmla="*/ 602316553 h 754"/>
                <a:gd name="T78" fmla="*/ 93246571 w 392"/>
                <a:gd name="T79" fmla="*/ 665321233 h 754"/>
                <a:gd name="T80" fmla="*/ 75604689 w 392"/>
                <a:gd name="T81" fmla="*/ 632558419 h 754"/>
                <a:gd name="T82" fmla="*/ 75604689 w 392"/>
                <a:gd name="T83" fmla="*/ 526711890 h 754"/>
                <a:gd name="T84" fmla="*/ 93246571 w 392"/>
                <a:gd name="T85" fmla="*/ 463708798 h 754"/>
                <a:gd name="T86" fmla="*/ 60483756 w 392"/>
                <a:gd name="T87" fmla="*/ 385584674 h 754"/>
                <a:gd name="T88" fmla="*/ 75604689 w 392"/>
                <a:gd name="T89" fmla="*/ 279736559 h 754"/>
                <a:gd name="T90" fmla="*/ 60483756 w 392"/>
                <a:gd name="T91" fmla="*/ 171370619 h 754"/>
                <a:gd name="T92" fmla="*/ 108367528 w 392"/>
                <a:gd name="T93" fmla="*/ 123486872 h 754"/>
                <a:gd name="T94" fmla="*/ 153728739 w 392"/>
                <a:gd name="T95" fmla="*/ 15120939 h 754"/>
                <a:gd name="T96" fmla="*/ 322579999 w 392"/>
                <a:gd name="T97" fmla="*/ 15120939 h 754"/>
                <a:gd name="T98" fmla="*/ 231854402 w 392"/>
                <a:gd name="T99" fmla="*/ 231854399 h 754"/>
                <a:gd name="T100" fmla="*/ 430947577 w 392"/>
                <a:gd name="T101" fmla="*/ 216733467 h 754"/>
                <a:gd name="T102" fmla="*/ 539313468 w 392"/>
                <a:gd name="T103" fmla="*/ 294857491 h 754"/>
                <a:gd name="T104" fmla="*/ 446068510 w 392"/>
                <a:gd name="T105" fmla="*/ 463708798 h 754"/>
                <a:gd name="T106" fmla="*/ 415826545 w 392"/>
                <a:gd name="T107" fmla="*/ 509071596 h 754"/>
                <a:gd name="T108" fmla="*/ 322579999 w 392"/>
                <a:gd name="T109" fmla="*/ 572074688 h 754"/>
                <a:gd name="T110" fmla="*/ 446068510 w 392"/>
                <a:gd name="T111" fmla="*/ 572074688 h 754"/>
                <a:gd name="T112" fmla="*/ 569555334 w 392"/>
                <a:gd name="T113" fmla="*/ 680442166 h 754"/>
                <a:gd name="T114" fmla="*/ 602316561 w 392"/>
                <a:gd name="T115" fmla="*/ 849293572 h 754"/>
                <a:gd name="T116" fmla="*/ 710684040 w 392"/>
                <a:gd name="T117" fmla="*/ 927417597 h 754"/>
                <a:gd name="T118" fmla="*/ 756046838 w 392"/>
                <a:gd name="T119" fmla="*/ 1066025352 h 754"/>
                <a:gd name="T120" fmla="*/ 677922812 w 392"/>
                <a:gd name="T121" fmla="*/ 1096267217 h 7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92"/>
                <a:gd name="T184" fmla="*/ 0 h 754"/>
                <a:gd name="T185" fmla="*/ 392 w 392"/>
                <a:gd name="T186" fmla="*/ 754 h 7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92" h="754">
                  <a:moveTo>
                    <a:pt x="306" y="447"/>
                  </a:moveTo>
                  <a:lnTo>
                    <a:pt x="312" y="447"/>
                  </a:lnTo>
                  <a:lnTo>
                    <a:pt x="312" y="454"/>
                  </a:lnTo>
                  <a:lnTo>
                    <a:pt x="318" y="454"/>
                  </a:lnTo>
                  <a:lnTo>
                    <a:pt x="318" y="460"/>
                  </a:lnTo>
                  <a:lnTo>
                    <a:pt x="318" y="466"/>
                  </a:lnTo>
                  <a:lnTo>
                    <a:pt x="324" y="472"/>
                  </a:lnTo>
                  <a:lnTo>
                    <a:pt x="324" y="478"/>
                  </a:lnTo>
                  <a:lnTo>
                    <a:pt x="318" y="484"/>
                  </a:lnTo>
                  <a:lnTo>
                    <a:pt x="318" y="490"/>
                  </a:lnTo>
                  <a:lnTo>
                    <a:pt x="312" y="490"/>
                  </a:lnTo>
                  <a:lnTo>
                    <a:pt x="312" y="496"/>
                  </a:lnTo>
                  <a:lnTo>
                    <a:pt x="306" y="496"/>
                  </a:lnTo>
                  <a:lnTo>
                    <a:pt x="306" y="503"/>
                  </a:lnTo>
                  <a:lnTo>
                    <a:pt x="312" y="503"/>
                  </a:lnTo>
                  <a:lnTo>
                    <a:pt x="318" y="509"/>
                  </a:lnTo>
                  <a:lnTo>
                    <a:pt x="324" y="509"/>
                  </a:lnTo>
                  <a:lnTo>
                    <a:pt x="324" y="503"/>
                  </a:lnTo>
                  <a:lnTo>
                    <a:pt x="331" y="496"/>
                  </a:lnTo>
                  <a:lnTo>
                    <a:pt x="337" y="496"/>
                  </a:lnTo>
                  <a:lnTo>
                    <a:pt x="343" y="496"/>
                  </a:lnTo>
                  <a:lnTo>
                    <a:pt x="349" y="496"/>
                  </a:lnTo>
                  <a:lnTo>
                    <a:pt x="355" y="496"/>
                  </a:lnTo>
                  <a:lnTo>
                    <a:pt x="355" y="490"/>
                  </a:lnTo>
                  <a:lnTo>
                    <a:pt x="361" y="496"/>
                  </a:lnTo>
                  <a:lnTo>
                    <a:pt x="367" y="496"/>
                  </a:lnTo>
                  <a:lnTo>
                    <a:pt x="373" y="496"/>
                  </a:lnTo>
                  <a:lnTo>
                    <a:pt x="373" y="503"/>
                  </a:lnTo>
                  <a:lnTo>
                    <a:pt x="380" y="503"/>
                  </a:lnTo>
                  <a:lnTo>
                    <a:pt x="386" y="509"/>
                  </a:lnTo>
                  <a:lnTo>
                    <a:pt x="392" y="521"/>
                  </a:lnTo>
                  <a:lnTo>
                    <a:pt x="392" y="527"/>
                  </a:lnTo>
                  <a:lnTo>
                    <a:pt x="392" y="533"/>
                  </a:lnTo>
                  <a:lnTo>
                    <a:pt x="392" y="539"/>
                  </a:lnTo>
                  <a:lnTo>
                    <a:pt x="392" y="545"/>
                  </a:lnTo>
                  <a:lnTo>
                    <a:pt x="386" y="552"/>
                  </a:lnTo>
                  <a:lnTo>
                    <a:pt x="386" y="558"/>
                  </a:lnTo>
                  <a:lnTo>
                    <a:pt x="386" y="564"/>
                  </a:lnTo>
                  <a:lnTo>
                    <a:pt x="380" y="570"/>
                  </a:lnTo>
                  <a:lnTo>
                    <a:pt x="373" y="576"/>
                  </a:lnTo>
                  <a:lnTo>
                    <a:pt x="373" y="582"/>
                  </a:lnTo>
                  <a:lnTo>
                    <a:pt x="367" y="582"/>
                  </a:lnTo>
                  <a:lnTo>
                    <a:pt x="361" y="582"/>
                  </a:lnTo>
                  <a:lnTo>
                    <a:pt x="367" y="582"/>
                  </a:lnTo>
                  <a:lnTo>
                    <a:pt x="367" y="588"/>
                  </a:lnTo>
                  <a:lnTo>
                    <a:pt x="361" y="588"/>
                  </a:lnTo>
                  <a:lnTo>
                    <a:pt x="367" y="588"/>
                  </a:lnTo>
                  <a:lnTo>
                    <a:pt x="361" y="594"/>
                  </a:lnTo>
                  <a:lnTo>
                    <a:pt x="361" y="601"/>
                  </a:lnTo>
                  <a:lnTo>
                    <a:pt x="355" y="601"/>
                  </a:lnTo>
                  <a:lnTo>
                    <a:pt x="355" y="594"/>
                  </a:lnTo>
                  <a:lnTo>
                    <a:pt x="349" y="594"/>
                  </a:lnTo>
                  <a:lnTo>
                    <a:pt x="349" y="601"/>
                  </a:lnTo>
                  <a:lnTo>
                    <a:pt x="343" y="601"/>
                  </a:lnTo>
                  <a:lnTo>
                    <a:pt x="343" y="607"/>
                  </a:lnTo>
                  <a:lnTo>
                    <a:pt x="343" y="601"/>
                  </a:lnTo>
                  <a:lnTo>
                    <a:pt x="349" y="601"/>
                  </a:lnTo>
                  <a:lnTo>
                    <a:pt x="349" y="607"/>
                  </a:lnTo>
                  <a:lnTo>
                    <a:pt x="349" y="613"/>
                  </a:lnTo>
                  <a:lnTo>
                    <a:pt x="343" y="613"/>
                  </a:lnTo>
                  <a:lnTo>
                    <a:pt x="349" y="613"/>
                  </a:lnTo>
                  <a:lnTo>
                    <a:pt x="349" y="619"/>
                  </a:lnTo>
                  <a:lnTo>
                    <a:pt x="343" y="619"/>
                  </a:lnTo>
                  <a:lnTo>
                    <a:pt x="337" y="619"/>
                  </a:lnTo>
                  <a:lnTo>
                    <a:pt x="331" y="619"/>
                  </a:lnTo>
                  <a:lnTo>
                    <a:pt x="324" y="625"/>
                  </a:lnTo>
                  <a:lnTo>
                    <a:pt x="318" y="625"/>
                  </a:lnTo>
                  <a:lnTo>
                    <a:pt x="312" y="625"/>
                  </a:lnTo>
                  <a:lnTo>
                    <a:pt x="318" y="625"/>
                  </a:lnTo>
                  <a:lnTo>
                    <a:pt x="324" y="625"/>
                  </a:lnTo>
                  <a:lnTo>
                    <a:pt x="331" y="625"/>
                  </a:lnTo>
                  <a:lnTo>
                    <a:pt x="337" y="625"/>
                  </a:lnTo>
                  <a:lnTo>
                    <a:pt x="343" y="625"/>
                  </a:lnTo>
                  <a:lnTo>
                    <a:pt x="337" y="625"/>
                  </a:lnTo>
                  <a:lnTo>
                    <a:pt x="337" y="631"/>
                  </a:lnTo>
                  <a:lnTo>
                    <a:pt x="331" y="631"/>
                  </a:lnTo>
                  <a:lnTo>
                    <a:pt x="337" y="631"/>
                  </a:lnTo>
                  <a:lnTo>
                    <a:pt x="343" y="631"/>
                  </a:lnTo>
                  <a:lnTo>
                    <a:pt x="343" y="637"/>
                  </a:lnTo>
                  <a:lnTo>
                    <a:pt x="349" y="637"/>
                  </a:lnTo>
                  <a:lnTo>
                    <a:pt x="355" y="637"/>
                  </a:lnTo>
                  <a:lnTo>
                    <a:pt x="355" y="631"/>
                  </a:lnTo>
                  <a:lnTo>
                    <a:pt x="361" y="631"/>
                  </a:lnTo>
                  <a:lnTo>
                    <a:pt x="367" y="631"/>
                  </a:lnTo>
                  <a:lnTo>
                    <a:pt x="373" y="631"/>
                  </a:lnTo>
                  <a:lnTo>
                    <a:pt x="373" y="637"/>
                  </a:lnTo>
                  <a:lnTo>
                    <a:pt x="373" y="643"/>
                  </a:lnTo>
                  <a:lnTo>
                    <a:pt x="373" y="650"/>
                  </a:lnTo>
                  <a:lnTo>
                    <a:pt x="373" y="656"/>
                  </a:lnTo>
                  <a:lnTo>
                    <a:pt x="367" y="656"/>
                  </a:lnTo>
                  <a:lnTo>
                    <a:pt x="361" y="656"/>
                  </a:lnTo>
                  <a:lnTo>
                    <a:pt x="361" y="662"/>
                  </a:lnTo>
                  <a:lnTo>
                    <a:pt x="355" y="662"/>
                  </a:lnTo>
                  <a:lnTo>
                    <a:pt x="349" y="668"/>
                  </a:lnTo>
                  <a:lnTo>
                    <a:pt x="349" y="674"/>
                  </a:lnTo>
                  <a:lnTo>
                    <a:pt x="343" y="674"/>
                  </a:lnTo>
                  <a:lnTo>
                    <a:pt x="337" y="680"/>
                  </a:lnTo>
                  <a:lnTo>
                    <a:pt x="331" y="680"/>
                  </a:lnTo>
                  <a:lnTo>
                    <a:pt x="324" y="680"/>
                  </a:lnTo>
                  <a:lnTo>
                    <a:pt x="318" y="686"/>
                  </a:lnTo>
                  <a:lnTo>
                    <a:pt x="312" y="686"/>
                  </a:lnTo>
                  <a:lnTo>
                    <a:pt x="306" y="686"/>
                  </a:lnTo>
                  <a:lnTo>
                    <a:pt x="300" y="680"/>
                  </a:lnTo>
                  <a:lnTo>
                    <a:pt x="294" y="680"/>
                  </a:lnTo>
                  <a:lnTo>
                    <a:pt x="288" y="680"/>
                  </a:lnTo>
                  <a:lnTo>
                    <a:pt x="282" y="680"/>
                  </a:lnTo>
                  <a:lnTo>
                    <a:pt x="275" y="686"/>
                  </a:lnTo>
                  <a:lnTo>
                    <a:pt x="269" y="686"/>
                  </a:lnTo>
                  <a:lnTo>
                    <a:pt x="269" y="692"/>
                  </a:lnTo>
                  <a:lnTo>
                    <a:pt x="263" y="692"/>
                  </a:lnTo>
                  <a:lnTo>
                    <a:pt x="263" y="686"/>
                  </a:lnTo>
                  <a:lnTo>
                    <a:pt x="263" y="680"/>
                  </a:lnTo>
                  <a:lnTo>
                    <a:pt x="257" y="680"/>
                  </a:lnTo>
                  <a:lnTo>
                    <a:pt x="257" y="686"/>
                  </a:lnTo>
                  <a:lnTo>
                    <a:pt x="257" y="680"/>
                  </a:lnTo>
                  <a:lnTo>
                    <a:pt x="257" y="686"/>
                  </a:lnTo>
                  <a:lnTo>
                    <a:pt x="251" y="686"/>
                  </a:lnTo>
                  <a:lnTo>
                    <a:pt x="251" y="680"/>
                  </a:lnTo>
                  <a:lnTo>
                    <a:pt x="251" y="686"/>
                  </a:lnTo>
                  <a:lnTo>
                    <a:pt x="245" y="686"/>
                  </a:lnTo>
                  <a:lnTo>
                    <a:pt x="245" y="680"/>
                  </a:lnTo>
                  <a:lnTo>
                    <a:pt x="239" y="680"/>
                  </a:lnTo>
                  <a:lnTo>
                    <a:pt x="239" y="674"/>
                  </a:lnTo>
                  <a:lnTo>
                    <a:pt x="239" y="680"/>
                  </a:lnTo>
                  <a:lnTo>
                    <a:pt x="239" y="686"/>
                  </a:lnTo>
                  <a:lnTo>
                    <a:pt x="233" y="686"/>
                  </a:lnTo>
                  <a:lnTo>
                    <a:pt x="226" y="692"/>
                  </a:lnTo>
                  <a:lnTo>
                    <a:pt x="233" y="692"/>
                  </a:lnTo>
                  <a:lnTo>
                    <a:pt x="226" y="692"/>
                  </a:lnTo>
                  <a:lnTo>
                    <a:pt x="226" y="686"/>
                  </a:lnTo>
                  <a:lnTo>
                    <a:pt x="220" y="686"/>
                  </a:lnTo>
                  <a:lnTo>
                    <a:pt x="220" y="692"/>
                  </a:lnTo>
                  <a:lnTo>
                    <a:pt x="214" y="692"/>
                  </a:lnTo>
                  <a:lnTo>
                    <a:pt x="208" y="692"/>
                  </a:lnTo>
                  <a:lnTo>
                    <a:pt x="202" y="692"/>
                  </a:lnTo>
                  <a:lnTo>
                    <a:pt x="208" y="692"/>
                  </a:lnTo>
                  <a:lnTo>
                    <a:pt x="208" y="699"/>
                  </a:lnTo>
                  <a:lnTo>
                    <a:pt x="202" y="705"/>
                  </a:lnTo>
                  <a:lnTo>
                    <a:pt x="202" y="699"/>
                  </a:lnTo>
                  <a:lnTo>
                    <a:pt x="196" y="699"/>
                  </a:lnTo>
                  <a:lnTo>
                    <a:pt x="190" y="699"/>
                  </a:lnTo>
                  <a:lnTo>
                    <a:pt x="184" y="699"/>
                  </a:lnTo>
                  <a:lnTo>
                    <a:pt x="184" y="705"/>
                  </a:lnTo>
                  <a:lnTo>
                    <a:pt x="190" y="705"/>
                  </a:lnTo>
                  <a:lnTo>
                    <a:pt x="184" y="705"/>
                  </a:lnTo>
                  <a:lnTo>
                    <a:pt x="184" y="699"/>
                  </a:lnTo>
                  <a:lnTo>
                    <a:pt x="177" y="692"/>
                  </a:lnTo>
                  <a:lnTo>
                    <a:pt x="171" y="692"/>
                  </a:lnTo>
                  <a:lnTo>
                    <a:pt x="165" y="686"/>
                  </a:lnTo>
                  <a:lnTo>
                    <a:pt x="159" y="692"/>
                  </a:lnTo>
                  <a:lnTo>
                    <a:pt x="153" y="692"/>
                  </a:lnTo>
                  <a:lnTo>
                    <a:pt x="147" y="692"/>
                  </a:lnTo>
                  <a:lnTo>
                    <a:pt x="147" y="699"/>
                  </a:lnTo>
                  <a:lnTo>
                    <a:pt x="141" y="699"/>
                  </a:lnTo>
                  <a:lnTo>
                    <a:pt x="141" y="692"/>
                  </a:lnTo>
                  <a:lnTo>
                    <a:pt x="135" y="692"/>
                  </a:lnTo>
                  <a:lnTo>
                    <a:pt x="141" y="699"/>
                  </a:lnTo>
                  <a:lnTo>
                    <a:pt x="135" y="705"/>
                  </a:lnTo>
                  <a:lnTo>
                    <a:pt x="135" y="711"/>
                  </a:lnTo>
                  <a:lnTo>
                    <a:pt x="135" y="717"/>
                  </a:lnTo>
                  <a:lnTo>
                    <a:pt x="135" y="723"/>
                  </a:lnTo>
                  <a:lnTo>
                    <a:pt x="128" y="723"/>
                  </a:lnTo>
                  <a:lnTo>
                    <a:pt x="128" y="729"/>
                  </a:lnTo>
                  <a:lnTo>
                    <a:pt x="122" y="735"/>
                  </a:lnTo>
                  <a:lnTo>
                    <a:pt x="122" y="729"/>
                  </a:lnTo>
                  <a:lnTo>
                    <a:pt x="122" y="735"/>
                  </a:lnTo>
                  <a:lnTo>
                    <a:pt x="122" y="729"/>
                  </a:lnTo>
                  <a:lnTo>
                    <a:pt x="116" y="729"/>
                  </a:lnTo>
                  <a:lnTo>
                    <a:pt x="116" y="723"/>
                  </a:lnTo>
                  <a:lnTo>
                    <a:pt x="110" y="723"/>
                  </a:lnTo>
                  <a:lnTo>
                    <a:pt x="104" y="723"/>
                  </a:lnTo>
                  <a:lnTo>
                    <a:pt x="104" y="717"/>
                  </a:lnTo>
                  <a:lnTo>
                    <a:pt x="104" y="711"/>
                  </a:lnTo>
                  <a:lnTo>
                    <a:pt x="98" y="711"/>
                  </a:lnTo>
                  <a:lnTo>
                    <a:pt x="98" y="717"/>
                  </a:lnTo>
                  <a:lnTo>
                    <a:pt x="104" y="717"/>
                  </a:lnTo>
                  <a:lnTo>
                    <a:pt x="104" y="723"/>
                  </a:lnTo>
                  <a:lnTo>
                    <a:pt x="98" y="723"/>
                  </a:lnTo>
                  <a:lnTo>
                    <a:pt x="98" y="717"/>
                  </a:lnTo>
                  <a:lnTo>
                    <a:pt x="92" y="717"/>
                  </a:lnTo>
                  <a:lnTo>
                    <a:pt x="86" y="723"/>
                  </a:lnTo>
                  <a:lnTo>
                    <a:pt x="79" y="723"/>
                  </a:lnTo>
                  <a:lnTo>
                    <a:pt x="73" y="723"/>
                  </a:lnTo>
                  <a:lnTo>
                    <a:pt x="73" y="729"/>
                  </a:lnTo>
                  <a:lnTo>
                    <a:pt x="67" y="729"/>
                  </a:lnTo>
                  <a:lnTo>
                    <a:pt x="67" y="735"/>
                  </a:lnTo>
                  <a:lnTo>
                    <a:pt x="61" y="735"/>
                  </a:lnTo>
                  <a:lnTo>
                    <a:pt x="61" y="741"/>
                  </a:lnTo>
                  <a:lnTo>
                    <a:pt x="61" y="735"/>
                  </a:lnTo>
                  <a:lnTo>
                    <a:pt x="61" y="741"/>
                  </a:lnTo>
                  <a:lnTo>
                    <a:pt x="55" y="741"/>
                  </a:lnTo>
                  <a:lnTo>
                    <a:pt x="61" y="741"/>
                  </a:lnTo>
                  <a:lnTo>
                    <a:pt x="61" y="748"/>
                  </a:lnTo>
                  <a:lnTo>
                    <a:pt x="55" y="748"/>
                  </a:lnTo>
                  <a:lnTo>
                    <a:pt x="55" y="754"/>
                  </a:lnTo>
                  <a:lnTo>
                    <a:pt x="49" y="754"/>
                  </a:lnTo>
                  <a:lnTo>
                    <a:pt x="49" y="748"/>
                  </a:lnTo>
                  <a:lnTo>
                    <a:pt x="49" y="741"/>
                  </a:lnTo>
                  <a:lnTo>
                    <a:pt x="43" y="741"/>
                  </a:lnTo>
                  <a:lnTo>
                    <a:pt x="37" y="741"/>
                  </a:lnTo>
                  <a:lnTo>
                    <a:pt x="37" y="748"/>
                  </a:lnTo>
                  <a:lnTo>
                    <a:pt x="30" y="748"/>
                  </a:lnTo>
                  <a:lnTo>
                    <a:pt x="30" y="741"/>
                  </a:lnTo>
                  <a:lnTo>
                    <a:pt x="30" y="735"/>
                  </a:lnTo>
                  <a:lnTo>
                    <a:pt x="37" y="735"/>
                  </a:lnTo>
                  <a:lnTo>
                    <a:pt x="37" y="729"/>
                  </a:lnTo>
                  <a:lnTo>
                    <a:pt x="43" y="735"/>
                  </a:lnTo>
                  <a:lnTo>
                    <a:pt x="43" y="729"/>
                  </a:lnTo>
                  <a:lnTo>
                    <a:pt x="49" y="729"/>
                  </a:lnTo>
                  <a:lnTo>
                    <a:pt x="49" y="723"/>
                  </a:lnTo>
                  <a:lnTo>
                    <a:pt x="55" y="723"/>
                  </a:lnTo>
                  <a:lnTo>
                    <a:pt x="55" y="717"/>
                  </a:lnTo>
                  <a:lnTo>
                    <a:pt x="61" y="717"/>
                  </a:lnTo>
                  <a:lnTo>
                    <a:pt x="61" y="711"/>
                  </a:lnTo>
                  <a:lnTo>
                    <a:pt x="61" y="705"/>
                  </a:lnTo>
                  <a:lnTo>
                    <a:pt x="67" y="699"/>
                  </a:lnTo>
                  <a:lnTo>
                    <a:pt x="67" y="705"/>
                  </a:lnTo>
                  <a:lnTo>
                    <a:pt x="67" y="699"/>
                  </a:lnTo>
                  <a:lnTo>
                    <a:pt x="73" y="699"/>
                  </a:lnTo>
                  <a:lnTo>
                    <a:pt x="73" y="692"/>
                  </a:lnTo>
                  <a:lnTo>
                    <a:pt x="79" y="692"/>
                  </a:lnTo>
                  <a:lnTo>
                    <a:pt x="79" y="686"/>
                  </a:lnTo>
                  <a:lnTo>
                    <a:pt x="86" y="680"/>
                  </a:lnTo>
                  <a:lnTo>
                    <a:pt x="86" y="674"/>
                  </a:lnTo>
                  <a:lnTo>
                    <a:pt x="86" y="668"/>
                  </a:lnTo>
                  <a:lnTo>
                    <a:pt x="86" y="662"/>
                  </a:lnTo>
                  <a:lnTo>
                    <a:pt x="92" y="662"/>
                  </a:lnTo>
                  <a:lnTo>
                    <a:pt x="92" y="668"/>
                  </a:lnTo>
                  <a:lnTo>
                    <a:pt x="98" y="662"/>
                  </a:lnTo>
                  <a:lnTo>
                    <a:pt x="104" y="662"/>
                  </a:lnTo>
                  <a:lnTo>
                    <a:pt x="98" y="656"/>
                  </a:lnTo>
                  <a:lnTo>
                    <a:pt x="98" y="650"/>
                  </a:lnTo>
                  <a:lnTo>
                    <a:pt x="104" y="650"/>
                  </a:lnTo>
                  <a:lnTo>
                    <a:pt x="104" y="643"/>
                  </a:lnTo>
                  <a:lnTo>
                    <a:pt x="110" y="643"/>
                  </a:lnTo>
                  <a:lnTo>
                    <a:pt x="116" y="643"/>
                  </a:lnTo>
                  <a:lnTo>
                    <a:pt x="122" y="643"/>
                  </a:lnTo>
                  <a:lnTo>
                    <a:pt x="128" y="643"/>
                  </a:lnTo>
                  <a:lnTo>
                    <a:pt x="135" y="643"/>
                  </a:lnTo>
                  <a:lnTo>
                    <a:pt x="141" y="650"/>
                  </a:lnTo>
                  <a:lnTo>
                    <a:pt x="147" y="650"/>
                  </a:lnTo>
                  <a:lnTo>
                    <a:pt x="153" y="650"/>
                  </a:lnTo>
                  <a:lnTo>
                    <a:pt x="153" y="643"/>
                  </a:lnTo>
                  <a:lnTo>
                    <a:pt x="153" y="650"/>
                  </a:lnTo>
                  <a:lnTo>
                    <a:pt x="159" y="643"/>
                  </a:lnTo>
                  <a:lnTo>
                    <a:pt x="159" y="650"/>
                  </a:lnTo>
                  <a:lnTo>
                    <a:pt x="159" y="643"/>
                  </a:lnTo>
                  <a:lnTo>
                    <a:pt x="159" y="637"/>
                  </a:lnTo>
                  <a:lnTo>
                    <a:pt x="159" y="631"/>
                  </a:lnTo>
                  <a:lnTo>
                    <a:pt x="165" y="631"/>
                  </a:lnTo>
                  <a:lnTo>
                    <a:pt x="165" y="625"/>
                  </a:lnTo>
                  <a:lnTo>
                    <a:pt x="171" y="625"/>
                  </a:lnTo>
                  <a:lnTo>
                    <a:pt x="171" y="619"/>
                  </a:lnTo>
                  <a:lnTo>
                    <a:pt x="177" y="619"/>
                  </a:lnTo>
                  <a:lnTo>
                    <a:pt x="177" y="613"/>
                  </a:lnTo>
                  <a:lnTo>
                    <a:pt x="177" y="607"/>
                  </a:lnTo>
                  <a:lnTo>
                    <a:pt x="184" y="607"/>
                  </a:lnTo>
                  <a:lnTo>
                    <a:pt x="184" y="601"/>
                  </a:lnTo>
                  <a:lnTo>
                    <a:pt x="190" y="601"/>
                  </a:lnTo>
                  <a:lnTo>
                    <a:pt x="184" y="601"/>
                  </a:lnTo>
                  <a:lnTo>
                    <a:pt x="184" y="607"/>
                  </a:lnTo>
                  <a:lnTo>
                    <a:pt x="177" y="607"/>
                  </a:lnTo>
                  <a:lnTo>
                    <a:pt x="177" y="613"/>
                  </a:lnTo>
                  <a:lnTo>
                    <a:pt x="171" y="613"/>
                  </a:lnTo>
                  <a:lnTo>
                    <a:pt x="165" y="619"/>
                  </a:lnTo>
                  <a:lnTo>
                    <a:pt x="159" y="619"/>
                  </a:lnTo>
                  <a:lnTo>
                    <a:pt x="153" y="625"/>
                  </a:lnTo>
                  <a:lnTo>
                    <a:pt x="153" y="631"/>
                  </a:lnTo>
                  <a:lnTo>
                    <a:pt x="147" y="631"/>
                  </a:lnTo>
                  <a:lnTo>
                    <a:pt x="141" y="631"/>
                  </a:lnTo>
                  <a:lnTo>
                    <a:pt x="135" y="631"/>
                  </a:lnTo>
                  <a:lnTo>
                    <a:pt x="128" y="625"/>
                  </a:lnTo>
                  <a:lnTo>
                    <a:pt x="122" y="625"/>
                  </a:lnTo>
                  <a:lnTo>
                    <a:pt x="122" y="619"/>
                  </a:lnTo>
                  <a:lnTo>
                    <a:pt x="122" y="613"/>
                  </a:lnTo>
                  <a:lnTo>
                    <a:pt x="116" y="613"/>
                  </a:lnTo>
                  <a:lnTo>
                    <a:pt x="110" y="613"/>
                  </a:lnTo>
                  <a:lnTo>
                    <a:pt x="110" y="619"/>
                  </a:lnTo>
                  <a:lnTo>
                    <a:pt x="104" y="613"/>
                  </a:lnTo>
                  <a:lnTo>
                    <a:pt x="104" y="619"/>
                  </a:lnTo>
                  <a:lnTo>
                    <a:pt x="98" y="619"/>
                  </a:lnTo>
                  <a:lnTo>
                    <a:pt x="98" y="613"/>
                  </a:lnTo>
                  <a:lnTo>
                    <a:pt x="98" y="607"/>
                  </a:lnTo>
                  <a:lnTo>
                    <a:pt x="98" y="613"/>
                  </a:lnTo>
                  <a:lnTo>
                    <a:pt x="104" y="613"/>
                  </a:lnTo>
                  <a:lnTo>
                    <a:pt x="104" y="607"/>
                  </a:lnTo>
                  <a:lnTo>
                    <a:pt x="110" y="607"/>
                  </a:lnTo>
                  <a:lnTo>
                    <a:pt x="104" y="607"/>
                  </a:lnTo>
                  <a:lnTo>
                    <a:pt x="98" y="607"/>
                  </a:lnTo>
                  <a:lnTo>
                    <a:pt x="92" y="607"/>
                  </a:lnTo>
                  <a:lnTo>
                    <a:pt x="92" y="601"/>
                  </a:lnTo>
                  <a:lnTo>
                    <a:pt x="98" y="601"/>
                  </a:lnTo>
                  <a:lnTo>
                    <a:pt x="92" y="601"/>
                  </a:lnTo>
                  <a:lnTo>
                    <a:pt x="92" y="594"/>
                  </a:lnTo>
                  <a:lnTo>
                    <a:pt x="92" y="601"/>
                  </a:lnTo>
                  <a:lnTo>
                    <a:pt x="92" y="594"/>
                  </a:lnTo>
                  <a:lnTo>
                    <a:pt x="92" y="601"/>
                  </a:lnTo>
                  <a:lnTo>
                    <a:pt x="86" y="601"/>
                  </a:lnTo>
                  <a:lnTo>
                    <a:pt x="79" y="601"/>
                  </a:lnTo>
                  <a:lnTo>
                    <a:pt x="79" y="607"/>
                  </a:lnTo>
                  <a:lnTo>
                    <a:pt x="73" y="607"/>
                  </a:lnTo>
                  <a:lnTo>
                    <a:pt x="67" y="607"/>
                  </a:lnTo>
                  <a:lnTo>
                    <a:pt x="67" y="613"/>
                  </a:lnTo>
                  <a:lnTo>
                    <a:pt x="61" y="613"/>
                  </a:lnTo>
                  <a:lnTo>
                    <a:pt x="61" y="607"/>
                  </a:lnTo>
                  <a:lnTo>
                    <a:pt x="55" y="607"/>
                  </a:lnTo>
                  <a:lnTo>
                    <a:pt x="61" y="607"/>
                  </a:lnTo>
                  <a:lnTo>
                    <a:pt x="67" y="607"/>
                  </a:lnTo>
                  <a:lnTo>
                    <a:pt x="67" y="601"/>
                  </a:lnTo>
                  <a:lnTo>
                    <a:pt x="61" y="607"/>
                  </a:lnTo>
                  <a:lnTo>
                    <a:pt x="61" y="601"/>
                  </a:lnTo>
                  <a:lnTo>
                    <a:pt x="55" y="601"/>
                  </a:lnTo>
                  <a:lnTo>
                    <a:pt x="55" y="607"/>
                  </a:lnTo>
                  <a:lnTo>
                    <a:pt x="55" y="601"/>
                  </a:lnTo>
                  <a:lnTo>
                    <a:pt x="49" y="601"/>
                  </a:lnTo>
                  <a:lnTo>
                    <a:pt x="55" y="601"/>
                  </a:lnTo>
                  <a:lnTo>
                    <a:pt x="55" y="594"/>
                  </a:lnTo>
                  <a:lnTo>
                    <a:pt x="55" y="588"/>
                  </a:lnTo>
                  <a:lnTo>
                    <a:pt x="49" y="588"/>
                  </a:lnTo>
                  <a:lnTo>
                    <a:pt x="49" y="582"/>
                  </a:lnTo>
                  <a:lnTo>
                    <a:pt x="55" y="582"/>
                  </a:lnTo>
                  <a:lnTo>
                    <a:pt x="61" y="582"/>
                  </a:lnTo>
                  <a:lnTo>
                    <a:pt x="61" y="576"/>
                  </a:lnTo>
                  <a:lnTo>
                    <a:pt x="67" y="576"/>
                  </a:lnTo>
                  <a:lnTo>
                    <a:pt x="73" y="576"/>
                  </a:lnTo>
                  <a:lnTo>
                    <a:pt x="67" y="576"/>
                  </a:lnTo>
                  <a:lnTo>
                    <a:pt x="73" y="576"/>
                  </a:lnTo>
                  <a:lnTo>
                    <a:pt x="73" y="570"/>
                  </a:lnTo>
                  <a:lnTo>
                    <a:pt x="79" y="570"/>
                  </a:lnTo>
                  <a:lnTo>
                    <a:pt x="79" y="564"/>
                  </a:lnTo>
                  <a:lnTo>
                    <a:pt x="86" y="564"/>
                  </a:lnTo>
                  <a:lnTo>
                    <a:pt x="92" y="564"/>
                  </a:lnTo>
                  <a:lnTo>
                    <a:pt x="92" y="558"/>
                  </a:lnTo>
                  <a:lnTo>
                    <a:pt x="98" y="558"/>
                  </a:lnTo>
                  <a:lnTo>
                    <a:pt x="104" y="558"/>
                  </a:lnTo>
                  <a:lnTo>
                    <a:pt x="104" y="552"/>
                  </a:lnTo>
                  <a:lnTo>
                    <a:pt x="104" y="545"/>
                  </a:lnTo>
                  <a:lnTo>
                    <a:pt x="110" y="539"/>
                  </a:lnTo>
                  <a:lnTo>
                    <a:pt x="110" y="533"/>
                  </a:lnTo>
                  <a:lnTo>
                    <a:pt x="110" y="527"/>
                  </a:lnTo>
                  <a:lnTo>
                    <a:pt x="104" y="527"/>
                  </a:lnTo>
                  <a:lnTo>
                    <a:pt x="104" y="521"/>
                  </a:lnTo>
                  <a:lnTo>
                    <a:pt x="110" y="521"/>
                  </a:lnTo>
                  <a:lnTo>
                    <a:pt x="110" y="515"/>
                  </a:lnTo>
                  <a:lnTo>
                    <a:pt x="104" y="509"/>
                  </a:lnTo>
                  <a:lnTo>
                    <a:pt x="104" y="503"/>
                  </a:lnTo>
                  <a:lnTo>
                    <a:pt x="110" y="496"/>
                  </a:lnTo>
                  <a:lnTo>
                    <a:pt x="104" y="496"/>
                  </a:lnTo>
                  <a:lnTo>
                    <a:pt x="98" y="496"/>
                  </a:lnTo>
                  <a:lnTo>
                    <a:pt x="92" y="503"/>
                  </a:lnTo>
                  <a:lnTo>
                    <a:pt x="86" y="503"/>
                  </a:lnTo>
                  <a:lnTo>
                    <a:pt x="86" y="509"/>
                  </a:lnTo>
                  <a:lnTo>
                    <a:pt x="79" y="509"/>
                  </a:lnTo>
                  <a:lnTo>
                    <a:pt x="73" y="509"/>
                  </a:lnTo>
                  <a:lnTo>
                    <a:pt x="73" y="503"/>
                  </a:lnTo>
                  <a:lnTo>
                    <a:pt x="79" y="503"/>
                  </a:lnTo>
                  <a:lnTo>
                    <a:pt x="79" y="496"/>
                  </a:lnTo>
                  <a:lnTo>
                    <a:pt x="86" y="496"/>
                  </a:lnTo>
                  <a:lnTo>
                    <a:pt x="86" y="490"/>
                  </a:lnTo>
                  <a:lnTo>
                    <a:pt x="92" y="490"/>
                  </a:lnTo>
                  <a:lnTo>
                    <a:pt x="92" y="484"/>
                  </a:lnTo>
                  <a:lnTo>
                    <a:pt x="92" y="478"/>
                  </a:lnTo>
                  <a:lnTo>
                    <a:pt x="98" y="478"/>
                  </a:lnTo>
                  <a:lnTo>
                    <a:pt x="98" y="472"/>
                  </a:lnTo>
                  <a:lnTo>
                    <a:pt x="104" y="472"/>
                  </a:lnTo>
                  <a:lnTo>
                    <a:pt x="110" y="472"/>
                  </a:lnTo>
                  <a:lnTo>
                    <a:pt x="110" y="466"/>
                  </a:lnTo>
                  <a:lnTo>
                    <a:pt x="116" y="466"/>
                  </a:lnTo>
                  <a:lnTo>
                    <a:pt x="122" y="466"/>
                  </a:lnTo>
                  <a:lnTo>
                    <a:pt x="116" y="466"/>
                  </a:lnTo>
                  <a:lnTo>
                    <a:pt x="116" y="460"/>
                  </a:lnTo>
                  <a:lnTo>
                    <a:pt x="122" y="466"/>
                  </a:lnTo>
                  <a:lnTo>
                    <a:pt x="128" y="466"/>
                  </a:lnTo>
                  <a:lnTo>
                    <a:pt x="135" y="466"/>
                  </a:lnTo>
                  <a:lnTo>
                    <a:pt x="141" y="460"/>
                  </a:lnTo>
                  <a:lnTo>
                    <a:pt x="147" y="460"/>
                  </a:lnTo>
                  <a:lnTo>
                    <a:pt x="153" y="466"/>
                  </a:lnTo>
                  <a:lnTo>
                    <a:pt x="153" y="472"/>
                  </a:lnTo>
                  <a:lnTo>
                    <a:pt x="159" y="472"/>
                  </a:lnTo>
                  <a:lnTo>
                    <a:pt x="159" y="466"/>
                  </a:lnTo>
                  <a:lnTo>
                    <a:pt x="153" y="466"/>
                  </a:lnTo>
                  <a:lnTo>
                    <a:pt x="153" y="460"/>
                  </a:lnTo>
                  <a:lnTo>
                    <a:pt x="153" y="454"/>
                  </a:lnTo>
                  <a:lnTo>
                    <a:pt x="159" y="454"/>
                  </a:lnTo>
                  <a:lnTo>
                    <a:pt x="159" y="460"/>
                  </a:lnTo>
                  <a:lnTo>
                    <a:pt x="165" y="466"/>
                  </a:lnTo>
                  <a:lnTo>
                    <a:pt x="171" y="466"/>
                  </a:lnTo>
                  <a:lnTo>
                    <a:pt x="171" y="460"/>
                  </a:lnTo>
                  <a:lnTo>
                    <a:pt x="171" y="466"/>
                  </a:lnTo>
                  <a:lnTo>
                    <a:pt x="165" y="466"/>
                  </a:lnTo>
                  <a:lnTo>
                    <a:pt x="165" y="460"/>
                  </a:lnTo>
                  <a:lnTo>
                    <a:pt x="159" y="460"/>
                  </a:lnTo>
                  <a:lnTo>
                    <a:pt x="159" y="454"/>
                  </a:lnTo>
                  <a:lnTo>
                    <a:pt x="159" y="447"/>
                  </a:lnTo>
                  <a:lnTo>
                    <a:pt x="153" y="447"/>
                  </a:lnTo>
                  <a:lnTo>
                    <a:pt x="153" y="441"/>
                  </a:lnTo>
                  <a:lnTo>
                    <a:pt x="159" y="441"/>
                  </a:lnTo>
                  <a:lnTo>
                    <a:pt x="159" y="435"/>
                  </a:lnTo>
                  <a:lnTo>
                    <a:pt x="159" y="429"/>
                  </a:lnTo>
                  <a:lnTo>
                    <a:pt x="165" y="429"/>
                  </a:lnTo>
                  <a:lnTo>
                    <a:pt x="159" y="429"/>
                  </a:lnTo>
                  <a:lnTo>
                    <a:pt x="159" y="423"/>
                  </a:lnTo>
                  <a:lnTo>
                    <a:pt x="159" y="417"/>
                  </a:lnTo>
                  <a:lnTo>
                    <a:pt x="159" y="411"/>
                  </a:lnTo>
                  <a:lnTo>
                    <a:pt x="159" y="417"/>
                  </a:lnTo>
                  <a:lnTo>
                    <a:pt x="159" y="411"/>
                  </a:lnTo>
                  <a:lnTo>
                    <a:pt x="165" y="411"/>
                  </a:lnTo>
                  <a:lnTo>
                    <a:pt x="165" y="405"/>
                  </a:lnTo>
                  <a:lnTo>
                    <a:pt x="165" y="398"/>
                  </a:lnTo>
                  <a:lnTo>
                    <a:pt x="165" y="392"/>
                  </a:lnTo>
                  <a:lnTo>
                    <a:pt x="171" y="392"/>
                  </a:lnTo>
                  <a:lnTo>
                    <a:pt x="165" y="392"/>
                  </a:lnTo>
                  <a:lnTo>
                    <a:pt x="165" y="386"/>
                  </a:lnTo>
                  <a:lnTo>
                    <a:pt x="171" y="386"/>
                  </a:lnTo>
                  <a:lnTo>
                    <a:pt x="165" y="386"/>
                  </a:lnTo>
                  <a:lnTo>
                    <a:pt x="165" y="392"/>
                  </a:lnTo>
                  <a:lnTo>
                    <a:pt x="159" y="392"/>
                  </a:lnTo>
                  <a:lnTo>
                    <a:pt x="159" y="386"/>
                  </a:lnTo>
                  <a:lnTo>
                    <a:pt x="159" y="392"/>
                  </a:lnTo>
                  <a:lnTo>
                    <a:pt x="153" y="392"/>
                  </a:lnTo>
                  <a:lnTo>
                    <a:pt x="153" y="398"/>
                  </a:lnTo>
                  <a:lnTo>
                    <a:pt x="147" y="398"/>
                  </a:lnTo>
                  <a:lnTo>
                    <a:pt x="147" y="392"/>
                  </a:lnTo>
                  <a:lnTo>
                    <a:pt x="147" y="386"/>
                  </a:lnTo>
                  <a:lnTo>
                    <a:pt x="147" y="380"/>
                  </a:lnTo>
                  <a:lnTo>
                    <a:pt x="147" y="386"/>
                  </a:lnTo>
                  <a:lnTo>
                    <a:pt x="141" y="386"/>
                  </a:lnTo>
                  <a:lnTo>
                    <a:pt x="141" y="380"/>
                  </a:lnTo>
                  <a:lnTo>
                    <a:pt x="141" y="374"/>
                  </a:lnTo>
                  <a:lnTo>
                    <a:pt x="135" y="374"/>
                  </a:lnTo>
                  <a:lnTo>
                    <a:pt x="135" y="368"/>
                  </a:lnTo>
                  <a:lnTo>
                    <a:pt x="128" y="368"/>
                  </a:lnTo>
                  <a:lnTo>
                    <a:pt x="128" y="362"/>
                  </a:lnTo>
                  <a:lnTo>
                    <a:pt x="128" y="356"/>
                  </a:lnTo>
                  <a:lnTo>
                    <a:pt x="128" y="349"/>
                  </a:lnTo>
                  <a:lnTo>
                    <a:pt x="135" y="343"/>
                  </a:lnTo>
                  <a:lnTo>
                    <a:pt x="135" y="337"/>
                  </a:lnTo>
                  <a:lnTo>
                    <a:pt x="141" y="337"/>
                  </a:lnTo>
                  <a:lnTo>
                    <a:pt x="141" y="331"/>
                  </a:lnTo>
                  <a:lnTo>
                    <a:pt x="141" y="325"/>
                  </a:lnTo>
                  <a:lnTo>
                    <a:pt x="147" y="331"/>
                  </a:lnTo>
                  <a:lnTo>
                    <a:pt x="147" y="325"/>
                  </a:lnTo>
                  <a:lnTo>
                    <a:pt x="153" y="325"/>
                  </a:lnTo>
                  <a:lnTo>
                    <a:pt x="147" y="319"/>
                  </a:lnTo>
                  <a:lnTo>
                    <a:pt x="147" y="325"/>
                  </a:lnTo>
                  <a:lnTo>
                    <a:pt x="141" y="319"/>
                  </a:lnTo>
                  <a:lnTo>
                    <a:pt x="135" y="325"/>
                  </a:lnTo>
                  <a:lnTo>
                    <a:pt x="135" y="319"/>
                  </a:lnTo>
                  <a:lnTo>
                    <a:pt x="128" y="319"/>
                  </a:lnTo>
                  <a:lnTo>
                    <a:pt x="128" y="331"/>
                  </a:lnTo>
                  <a:lnTo>
                    <a:pt x="122" y="331"/>
                  </a:lnTo>
                  <a:lnTo>
                    <a:pt x="116" y="331"/>
                  </a:lnTo>
                  <a:lnTo>
                    <a:pt x="122" y="337"/>
                  </a:lnTo>
                  <a:lnTo>
                    <a:pt x="110" y="337"/>
                  </a:lnTo>
                  <a:lnTo>
                    <a:pt x="104" y="337"/>
                  </a:lnTo>
                  <a:lnTo>
                    <a:pt x="98" y="331"/>
                  </a:lnTo>
                  <a:lnTo>
                    <a:pt x="92" y="331"/>
                  </a:lnTo>
                  <a:lnTo>
                    <a:pt x="92" y="337"/>
                  </a:lnTo>
                  <a:lnTo>
                    <a:pt x="98" y="343"/>
                  </a:lnTo>
                  <a:lnTo>
                    <a:pt x="92" y="349"/>
                  </a:lnTo>
                  <a:lnTo>
                    <a:pt x="86" y="343"/>
                  </a:lnTo>
                  <a:lnTo>
                    <a:pt x="79" y="337"/>
                  </a:lnTo>
                  <a:lnTo>
                    <a:pt x="73" y="337"/>
                  </a:lnTo>
                  <a:lnTo>
                    <a:pt x="73" y="331"/>
                  </a:lnTo>
                  <a:lnTo>
                    <a:pt x="67" y="331"/>
                  </a:lnTo>
                  <a:lnTo>
                    <a:pt x="67" y="337"/>
                  </a:lnTo>
                  <a:lnTo>
                    <a:pt x="67" y="349"/>
                  </a:lnTo>
                  <a:lnTo>
                    <a:pt x="67" y="343"/>
                  </a:lnTo>
                  <a:lnTo>
                    <a:pt x="61" y="337"/>
                  </a:lnTo>
                  <a:lnTo>
                    <a:pt x="55" y="331"/>
                  </a:lnTo>
                  <a:lnTo>
                    <a:pt x="55" y="325"/>
                  </a:lnTo>
                  <a:lnTo>
                    <a:pt x="55" y="319"/>
                  </a:lnTo>
                  <a:lnTo>
                    <a:pt x="61" y="319"/>
                  </a:lnTo>
                  <a:lnTo>
                    <a:pt x="61" y="325"/>
                  </a:lnTo>
                  <a:lnTo>
                    <a:pt x="61" y="307"/>
                  </a:lnTo>
                  <a:lnTo>
                    <a:pt x="67" y="300"/>
                  </a:lnTo>
                  <a:lnTo>
                    <a:pt x="67" y="294"/>
                  </a:lnTo>
                  <a:lnTo>
                    <a:pt x="67" y="288"/>
                  </a:lnTo>
                  <a:lnTo>
                    <a:pt x="73" y="288"/>
                  </a:lnTo>
                  <a:lnTo>
                    <a:pt x="73" y="282"/>
                  </a:lnTo>
                  <a:lnTo>
                    <a:pt x="79" y="282"/>
                  </a:lnTo>
                  <a:lnTo>
                    <a:pt x="79" y="276"/>
                  </a:lnTo>
                  <a:lnTo>
                    <a:pt x="79" y="270"/>
                  </a:lnTo>
                  <a:lnTo>
                    <a:pt x="73" y="264"/>
                  </a:lnTo>
                  <a:lnTo>
                    <a:pt x="67" y="264"/>
                  </a:lnTo>
                  <a:lnTo>
                    <a:pt x="67" y="258"/>
                  </a:lnTo>
                  <a:lnTo>
                    <a:pt x="67" y="251"/>
                  </a:lnTo>
                  <a:lnTo>
                    <a:pt x="67" y="245"/>
                  </a:lnTo>
                  <a:lnTo>
                    <a:pt x="67" y="239"/>
                  </a:lnTo>
                  <a:lnTo>
                    <a:pt x="67" y="233"/>
                  </a:lnTo>
                  <a:lnTo>
                    <a:pt x="73" y="233"/>
                  </a:lnTo>
                  <a:lnTo>
                    <a:pt x="79" y="239"/>
                  </a:lnTo>
                  <a:lnTo>
                    <a:pt x="86" y="239"/>
                  </a:lnTo>
                  <a:lnTo>
                    <a:pt x="79" y="239"/>
                  </a:lnTo>
                  <a:lnTo>
                    <a:pt x="73" y="233"/>
                  </a:lnTo>
                  <a:lnTo>
                    <a:pt x="73" y="227"/>
                  </a:lnTo>
                  <a:lnTo>
                    <a:pt x="73" y="233"/>
                  </a:lnTo>
                  <a:lnTo>
                    <a:pt x="67" y="233"/>
                  </a:lnTo>
                  <a:lnTo>
                    <a:pt x="67" y="227"/>
                  </a:lnTo>
                  <a:lnTo>
                    <a:pt x="73" y="215"/>
                  </a:lnTo>
                  <a:lnTo>
                    <a:pt x="67" y="227"/>
                  </a:lnTo>
                  <a:lnTo>
                    <a:pt x="67" y="233"/>
                  </a:lnTo>
                  <a:lnTo>
                    <a:pt x="67" y="239"/>
                  </a:lnTo>
                  <a:lnTo>
                    <a:pt x="61" y="245"/>
                  </a:lnTo>
                  <a:lnTo>
                    <a:pt x="61" y="239"/>
                  </a:lnTo>
                  <a:lnTo>
                    <a:pt x="55" y="233"/>
                  </a:lnTo>
                  <a:lnTo>
                    <a:pt x="55" y="239"/>
                  </a:lnTo>
                  <a:lnTo>
                    <a:pt x="49" y="239"/>
                  </a:lnTo>
                  <a:lnTo>
                    <a:pt x="49" y="245"/>
                  </a:lnTo>
                  <a:lnTo>
                    <a:pt x="43" y="239"/>
                  </a:lnTo>
                  <a:lnTo>
                    <a:pt x="43" y="233"/>
                  </a:lnTo>
                  <a:lnTo>
                    <a:pt x="49" y="221"/>
                  </a:lnTo>
                  <a:lnTo>
                    <a:pt x="49" y="227"/>
                  </a:lnTo>
                  <a:lnTo>
                    <a:pt x="43" y="233"/>
                  </a:lnTo>
                  <a:lnTo>
                    <a:pt x="43" y="227"/>
                  </a:lnTo>
                  <a:lnTo>
                    <a:pt x="43" y="233"/>
                  </a:lnTo>
                  <a:lnTo>
                    <a:pt x="43" y="239"/>
                  </a:lnTo>
                  <a:lnTo>
                    <a:pt x="49" y="251"/>
                  </a:lnTo>
                  <a:lnTo>
                    <a:pt x="43" y="258"/>
                  </a:lnTo>
                  <a:lnTo>
                    <a:pt x="37" y="264"/>
                  </a:lnTo>
                  <a:lnTo>
                    <a:pt x="37" y="270"/>
                  </a:lnTo>
                  <a:lnTo>
                    <a:pt x="30" y="282"/>
                  </a:lnTo>
                  <a:lnTo>
                    <a:pt x="37" y="288"/>
                  </a:lnTo>
                  <a:lnTo>
                    <a:pt x="30" y="288"/>
                  </a:lnTo>
                  <a:lnTo>
                    <a:pt x="30" y="294"/>
                  </a:lnTo>
                  <a:lnTo>
                    <a:pt x="24" y="288"/>
                  </a:lnTo>
                  <a:lnTo>
                    <a:pt x="24" y="282"/>
                  </a:lnTo>
                  <a:lnTo>
                    <a:pt x="24" y="270"/>
                  </a:lnTo>
                  <a:lnTo>
                    <a:pt x="30" y="270"/>
                  </a:lnTo>
                  <a:lnTo>
                    <a:pt x="30" y="264"/>
                  </a:lnTo>
                  <a:lnTo>
                    <a:pt x="30" y="251"/>
                  </a:lnTo>
                  <a:lnTo>
                    <a:pt x="37" y="245"/>
                  </a:lnTo>
                  <a:lnTo>
                    <a:pt x="30" y="251"/>
                  </a:lnTo>
                  <a:lnTo>
                    <a:pt x="30" y="239"/>
                  </a:lnTo>
                  <a:lnTo>
                    <a:pt x="37" y="239"/>
                  </a:lnTo>
                  <a:lnTo>
                    <a:pt x="30" y="239"/>
                  </a:lnTo>
                  <a:lnTo>
                    <a:pt x="24" y="233"/>
                  </a:lnTo>
                  <a:lnTo>
                    <a:pt x="30" y="227"/>
                  </a:lnTo>
                  <a:lnTo>
                    <a:pt x="37" y="221"/>
                  </a:lnTo>
                  <a:lnTo>
                    <a:pt x="37" y="227"/>
                  </a:lnTo>
                  <a:lnTo>
                    <a:pt x="37" y="221"/>
                  </a:lnTo>
                  <a:lnTo>
                    <a:pt x="30" y="221"/>
                  </a:lnTo>
                  <a:lnTo>
                    <a:pt x="30" y="215"/>
                  </a:lnTo>
                  <a:lnTo>
                    <a:pt x="37" y="215"/>
                  </a:lnTo>
                  <a:lnTo>
                    <a:pt x="37" y="209"/>
                  </a:lnTo>
                  <a:lnTo>
                    <a:pt x="30" y="209"/>
                  </a:lnTo>
                  <a:lnTo>
                    <a:pt x="30" y="202"/>
                  </a:lnTo>
                  <a:lnTo>
                    <a:pt x="37" y="202"/>
                  </a:lnTo>
                  <a:lnTo>
                    <a:pt x="37" y="196"/>
                  </a:lnTo>
                  <a:lnTo>
                    <a:pt x="43" y="190"/>
                  </a:lnTo>
                  <a:lnTo>
                    <a:pt x="37" y="190"/>
                  </a:lnTo>
                  <a:lnTo>
                    <a:pt x="43" y="184"/>
                  </a:lnTo>
                  <a:lnTo>
                    <a:pt x="43" y="178"/>
                  </a:lnTo>
                  <a:lnTo>
                    <a:pt x="49" y="178"/>
                  </a:lnTo>
                  <a:lnTo>
                    <a:pt x="55" y="172"/>
                  </a:lnTo>
                  <a:lnTo>
                    <a:pt x="49" y="172"/>
                  </a:lnTo>
                  <a:lnTo>
                    <a:pt x="55" y="166"/>
                  </a:lnTo>
                  <a:lnTo>
                    <a:pt x="43" y="178"/>
                  </a:lnTo>
                  <a:lnTo>
                    <a:pt x="37" y="184"/>
                  </a:lnTo>
                  <a:lnTo>
                    <a:pt x="30" y="190"/>
                  </a:lnTo>
                  <a:lnTo>
                    <a:pt x="18" y="184"/>
                  </a:lnTo>
                  <a:lnTo>
                    <a:pt x="12" y="178"/>
                  </a:lnTo>
                  <a:lnTo>
                    <a:pt x="18" y="178"/>
                  </a:lnTo>
                  <a:lnTo>
                    <a:pt x="24" y="172"/>
                  </a:lnTo>
                  <a:lnTo>
                    <a:pt x="6" y="172"/>
                  </a:lnTo>
                  <a:lnTo>
                    <a:pt x="0" y="172"/>
                  </a:lnTo>
                  <a:lnTo>
                    <a:pt x="12" y="166"/>
                  </a:lnTo>
                  <a:lnTo>
                    <a:pt x="18" y="166"/>
                  </a:lnTo>
                  <a:lnTo>
                    <a:pt x="24" y="166"/>
                  </a:lnTo>
                  <a:lnTo>
                    <a:pt x="18" y="160"/>
                  </a:lnTo>
                  <a:lnTo>
                    <a:pt x="24" y="160"/>
                  </a:lnTo>
                  <a:lnTo>
                    <a:pt x="24" y="153"/>
                  </a:lnTo>
                  <a:lnTo>
                    <a:pt x="18" y="153"/>
                  </a:lnTo>
                  <a:lnTo>
                    <a:pt x="24" y="147"/>
                  </a:lnTo>
                  <a:lnTo>
                    <a:pt x="30" y="147"/>
                  </a:lnTo>
                  <a:lnTo>
                    <a:pt x="24" y="141"/>
                  </a:lnTo>
                  <a:lnTo>
                    <a:pt x="24" y="135"/>
                  </a:lnTo>
                  <a:lnTo>
                    <a:pt x="37" y="135"/>
                  </a:lnTo>
                  <a:lnTo>
                    <a:pt x="30" y="135"/>
                  </a:lnTo>
                  <a:lnTo>
                    <a:pt x="30" y="129"/>
                  </a:lnTo>
                  <a:lnTo>
                    <a:pt x="30" y="123"/>
                  </a:lnTo>
                  <a:lnTo>
                    <a:pt x="37" y="123"/>
                  </a:lnTo>
                  <a:lnTo>
                    <a:pt x="24" y="123"/>
                  </a:lnTo>
                  <a:lnTo>
                    <a:pt x="30" y="117"/>
                  </a:lnTo>
                  <a:lnTo>
                    <a:pt x="30" y="111"/>
                  </a:lnTo>
                  <a:lnTo>
                    <a:pt x="24" y="117"/>
                  </a:lnTo>
                  <a:lnTo>
                    <a:pt x="18" y="104"/>
                  </a:lnTo>
                  <a:lnTo>
                    <a:pt x="24" y="92"/>
                  </a:lnTo>
                  <a:lnTo>
                    <a:pt x="30" y="98"/>
                  </a:lnTo>
                  <a:lnTo>
                    <a:pt x="30" y="104"/>
                  </a:lnTo>
                  <a:lnTo>
                    <a:pt x="30" y="98"/>
                  </a:lnTo>
                  <a:lnTo>
                    <a:pt x="37" y="98"/>
                  </a:lnTo>
                  <a:lnTo>
                    <a:pt x="30" y="98"/>
                  </a:lnTo>
                  <a:lnTo>
                    <a:pt x="24" y="92"/>
                  </a:lnTo>
                  <a:lnTo>
                    <a:pt x="24" y="86"/>
                  </a:lnTo>
                  <a:lnTo>
                    <a:pt x="30" y="86"/>
                  </a:lnTo>
                  <a:lnTo>
                    <a:pt x="24" y="80"/>
                  </a:lnTo>
                  <a:lnTo>
                    <a:pt x="24" y="68"/>
                  </a:lnTo>
                  <a:lnTo>
                    <a:pt x="30" y="68"/>
                  </a:lnTo>
                  <a:lnTo>
                    <a:pt x="30" y="80"/>
                  </a:lnTo>
                  <a:lnTo>
                    <a:pt x="30" y="68"/>
                  </a:lnTo>
                  <a:lnTo>
                    <a:pt x="37" y="74"/>
                  </a:lnTo>
                  <a:lnTo>
                    <a:pt x="43" y="68"/>
                  </a:lnTo>
                  <a:lnTo>
                    <a:pt x="49" y="74"/>
                  </a:lnTo>
                  <a:lnTo>
                    <a:pt x="43" y="62"/>
                  </a:lnTo>
                  <a:lnTo>
                    <a:pt x="55" y="68"/>
                  </a:lnTo>
                  <a:lnTo>
                    <a:pt x="49" y="62"/>
                  </a:lnTo>
                  <a:lnTo>
                    <a:pt x="55" y="62"/>
                  </a:lnTo>
                  <a:lnTo>
                    <a:pt x="49" y="62"/>
                  </a:lnTo>
                  <a:lnTo>
                    <a:pt x="43" y="55"/>
                  </a:lnTo>
                  <a:lnTo>
                    <a:pt x="43" y="49"/>
                  </a:lnTo>
                  <a:lnTo>
                    <a:pt x="49" y="55"/>
                  </a:lnTo>
                  <a:lnTo>
                    <a:pt x="49" y="49"/>
                  </a:lnTo>
                  <a:lnTo>
                    <a:pt x="43" y="37"/>
                  </a:lnTo>
                  <a:lnTo>
                    <a:pt x="49" y="37"/>
                  </a:lnTo>
                  <a:lnTo>
                    <a:pt x="55" y="37"/>
                  </a:lnTo>
                  <a:lnTo>
                    <a:pt x="67" y="37"/>
                  </a:lnTo>
                  <a:lnTo>
                    <a:pt x="55" y="31"/>
                  </a:lnTo>
                  <a:lnTo>
                    <a:pt x="55" y="25"/>
                  </a:lnTo>
                  <a:lnTo>
                    <a:pt x="61" y="25"/>
                  </a:lnTo>
                  <a:lnTo>
                    <a:pt x="55" y="25"/>
                  </a:lnTo>
                  <a:lnTo>
                    <a:pt x="55" y="13"/>
                  </a:lnTo>
                  <a:lnTo>
                    <a:pt x="61" y="13"/>
                  </a:lnTo>
                  <a:lnTo>
                    <a:pt x="61" y="6"/>
                  </a:lnTo>
                  <a:lnTo>
                    <a:pt x="73" y="6"/>
                  </a:lnTo>
                  <a:lnTo>
                    <a:pt x="73" y="13"/>
                  </a:lnTo>
                  <a:lnTo>
                    <a:pt x="73" y="6"/>
                  </a:lnTo>
                  <a:lnTo>
                    <a:pt x="79" y="13"/>
                  </a:lnTo>
                  <a:lnTo>
                    <a:pt x="73" y="19"/>
                  </a:lnTo>
                  <a:lnTo>
                    <a:pt x="79" y="6"/>
                  </a:lnTo>
                  <a:lnTo>
                    <a:pt x="86" y="13"/>
                  </a:lnTo>
                  <a:lnTo>
                    <a:pt x="86" y="19"/>
                  </a:lnTo>
                  <a:lnTo>
                    <a:pt x="92" y="13"/>
                  </a:lnTo>
                  <a:lnTo>
                    <a:pt x="98" y="13"/>
                  </a:lnTo>
                  <a:lnTo>
                    <a:pt x="110" y="6"/>
                  </a:lnTo>
                  <a:lnTo>
                    <a:pt x="122" y="6"/>
                  </a:lnTo>
                  <a:lnTo>
                    <a:pt x="128" y="6"/>
                  </a:lnTo>
                  <a:lnTo>
                    <a:pt x="141" y="6"/>
                  </a:lnTo>
                  <a:lnTo>
                    <a:pt x="141" y="0"/>
                  </a:lnTo>
                  <a:lnTo>
                    <a:pt x="159" y="0"/>
                  </a:lnTo>
                  <a:lnTo>
                    <a:pt x="153" y="19"/>
                  </a:lnTo>
                  <a:lnTo>
                    <a:pt x="153" y="25"/>
                  </a:lnTo>
                  <a:lnTo>
                    <a:pt x="110" y="62"/>
                  </a:lnTo>
                  <a:lnTo>
                    <a:pt x="110" y="68"/>
                  </a:lnTo>
                  <a:lnTo>
                    <a:pt x="104" y="68"/>
                  </a:lnTo>
                  <a:lnTo>
                    <a:pt x="116" y="74"/>
                  </a:lnTo>
                  <a:lnTo>
                    <a:pt x="122" y="68"/>
                  </a:lnTo>
                  <a:lnTo>
                    <a:pt x="110" y="86"/>
                  </a:lnTo>
                  <a:lnTo>
                    <a:pt x="110" y="80"/>
                  </a:lnTo>
                  <a:lnTo>
                    <a:pt x="92" y="92"/>
                  </a:lnTo>
                  <a:lnTo>
                    <a:pt x="110" y="86"/>
                  </a:lnTo>
                  <a:lnTo>
                    <a:pt x="98" y="98"/>
                  </a:lnTo>
                  <a:lnTo>
                    <a:pt x="92" y="104"/>
                  </a:lnTo>
                  <a:lnTo>
                    <a:pt x="104" y="104"/>
                  </a:lnTo>
                  <a:lnTo>
                    <a:pt x="110" y="98"/>
                  </a:lnTo>
                  <a:lnTo>
                    <a:pt x="122" y="92"/>
                  </a:lnTo>
                  <a:lnTo>
                    <a:pt x="128" y="86"/>
                  </a:lnTo>
                  <a:lnTo>
                    <a:pt x="135" y="86"/>
                  </a:lnTo>
                  <a:lnTo>
                    <a:pt x="147" y="80"/>
                  </a:lnTo>
                  <a:lnTo>
                    <a:pt x="153" y="86"/>
                  </a:lnTo>
                  <a:lnTo>
                    <a:pt x="159" y="86"/>
                  </a:lnTo>
                  <a:lnTo>
                    <a:pt x="165" y="86"/>
                  </a:lnTo>
                  <a:lnTo>
                    <a:pt x="171" y="86"/>
                  </a:lnTo>
                  <a:lnTo>
                    <a:pt x="177" y="86"/>
                  </a:lnTo>
                  <a:lnTo>
                    <a:pt x="184" y="86"/>
                  </a:lnTo>
                  <a:lnTo>
                    <a:pt x="190" y="86"/>
                  </a:lnTo>
                  <a:lnTo>
                    <a:pt x="196" y="86"/>
                  </a:lnTo>
                  <a:lnTo>
                    <a:pt x="202" y="86"/>
                  </a:lnTo>
                  <a:lnTo>
                    <a:pt x="208" y="86"/>
                  </a:lnTo>
                  <a:lnTo>
                    <a:pt x="214" y="86"/>
                  </a:lnTo>
                  <a:lnTo>
                    <a:pt x="214" y="92"/>
                  </a:lnTo>
                  <a:lnTo>
                    <a:pt x="214" y="98"/>
                  </a:lnTo>
                  <a:lnTo>
                    <a:pt x="220" y="98"/>
                  </a:lnTo>
                  <a:lnTo>
                    <a:pt x="220" y="104"/>
                  </a:lnTo>
                  <a:lnTo>
                    <a:pt x="214" y="111"/>
                  </a:lnTo>
                  <a:lnTo>
                    <a:pt x="214" y="117"/>
                  </a:lnTo>
                  <a:lnTo>
                    <a:pt x="208" y="117"/>
                  </a:lnTo>
                  <a:lnTo>
                    <a:pt x="208" y="123"/>
                  </a:lnTo>
                  <a:lnTo>
                    <a:pt x="202" y="123"/>
                  </a:lnTo>
                  <a:lnTo>
                    <a:pt x="202" y="135"/>
                  </a:lnTo>
                  <a:lnTo>
                    <a:pt x="202" y="141"/>
                  </a:lnTo>
                  <a:lnTo>
                    <a:pt x="196" y="153"/>
                  </a:lnTo>
                  <a:lnTo>
                    <a:pt x="190" y="160"/>
                  </a:lnTo>
                  <a:lnTo>
                    <a:pt x="190" y="166"/>
                  </a:lnTo>
                  <a:lnTo>
                    <a:pt x="184" y="166"/>
                  </a:lnTo>
                  <a:lnTo>
                    <a:pt x="184" y="172"/>
                  </a:lnTo>
                  <a:lnTo>
                    <a:pt x="184" y="178"/>
                  </a:lnTo>
                  <a:lnTo>
                    <a:pt x="184" y="184"/>
                  </a:lnTo>
                  <a:lnTo>
                    <a:pt x="177" y="184"/>
                  </a:lnTo>
                  <a:lnTo>
                    <a:pt x="171" y="190"/>
                  </a:lnTo>
                  <a:lnTo>
                    <a:pt x="165" y="190"/>
                  </a:lnTo>
                  <a:lnTo>
                    <a:pt x="159" y="190"/>
                  </a:lnTo>
                  <a:lnTo>
                    <a:pt x="159" y="196"/>
                  </a:lnTo>
                  <a:lnTo>
                    <a:pt x="153" y="196"/>
                  </a:lnTo>
                  <a:lnTo>
                    <a:pt x="141" y="202"/>
                  </a:lnTo>
                  <a:lnTo>
                    <a:pt x="147" y="202"/>
                  </a:lnTo>
                  <a:lnTo>
                    <a:pt x="153" y="196"/>
                  </a:lnTo>
                  <a:lnTo>
                    <a:pt x="159" y="196"/>
                  </a:lnTo>
                  <a:lnTo>
                    <a:pt x="159" y="190"/>
                  </a:lnTo>
                  <a:lnTo>
                    <a:pt x="165" y="190"/>
                  </a:lnTo>
                  <a:lnTo>
                    <a:pt x="165" y="196"/>
                  </a:lnTo>
                  <a:lnTo>
                    <a:pt x="165" y="202"/>
                  </a:lnTo>
                  <a:lnTo>
                    <a:pt x="171" y="202"/>
                  </a:lnTo>
                  <a:lnTo>
                    <a:pt x="177" y="202"/>
                  </a:lnTo>
                  <a:lnTo>
                    <a:pt x="177" y="209"/>
                  </a:lnTo>
                  <a:lnTo>
                    <a:pt x="171" y="215"/>
                  </a:lnTo>
                  <a:lnTo>
                    <a:pt x="165" y="215"/>
                  </a:lnTo>
                  <a:lnTo>
                    <a:pt x="159" y="215"/>
                  </a:lnTo>
                  <a:lnTo>
                    <a:pt x="153" y="221"/>
                  </a:lnTo>
                  <a:lnTo>
                    <a:pt x="153" y="227"/>
                  </a:lnTo>
                  <a:lnTo>
                    <a:pt x="147" y="227"/>
                  </a:lnTo>
                  <a:lnTo>
                    <a:pt x="141" y="233"/>
                  </a:lnTo>
                  <a:lnTo>
                    <a:pt x="135" y="233"/>
                  </a:lnTo>
                  <a:lnTo>
                    <a:pt x="135" y="227"/>
                  </a:lnTo>
                  <a:lnTo>
                    <a:pt x="128" y="227"/>
                  </a:lnTo>
                  <a:lnTo>
                    <a:pt x="122" y="227"/>
                  </a:lnTo>
                  <a:lnTo>
                    <a:pt x="128" y="227"/>
                  </a:lnTo>
                  <a:lnTo>
                    <a:pt x="128" y="233"/>
                  </a:lnTo>
                  <a:lnTo>
                    <a:pt x="135" y="233"/>
                  </a:lnTo>
                  <a:lnTo>
                    <a:pt x="141" y="233"/>
                  </a:lnTo>
                  <a:lnTo>
                    <a:pt x="147" y="233"/>
                  </a:lnTo>
                  <a:lnTo>
                    <a:pt x="153" y="233"/>
                  </a:lnTo>
                  <a:lnTo>
                    <a:pt x="159" y="239"/>
                  </a:lnTo>
                  <a:lnTo>
                    <a:pt x="159" y="233"/>
                  </a:lnTo>
                  <a:lnTo>
                    <a:pt x="165" y="233"/>
                  </a:lnTo>
                  <a:lnTo>
                    <a:pt x="165" y="227"/>
                  </a:lnTo>
                  <a:lnTo>
                    <a:pt x="171" y="227"/>
                  </a:lnTo>
                  <a:lnTo>
                    <a:pt x="177" y="227"/>
                  </a:lnTo>
                  <a:lnTo>
                    <a:pt x="177" y="233"/>
                  </a:lnTo>
                  <a:lnTo>
                    <a:pt x="184" y="233"/>
                  </a:lnTo>
                  <a:lnTo>
                    <a:pt x="190" y="239"/>
                  </a:lnTo>
                  <a:lnTo>
                    <a:pt x="196" y="239"/>
                  </a:lnTo>
                  <a:lnTo>
                    <a:pt x="202" y="239"/>
                  </a:lnTo>
                  <a:lnTo>
                    <a:pt x="202" y="245"/>
                  </a:lnTo>
                  <a:lnTo>
                    <a:pt x="208" y="245"/>
                  </a:lnTo>
                  <a:lnTo>
                    <a:pt x="208" y="251"/>
                  </a:lnTo>
                  <a:lnTo>
                    <a:pt x="208" y="258"/>
                  </a:lnTo>
                  <a:lnTo>
                    <a:pt x="214" y="258"/>
                  </a:lnTo>
                  <a:lnTo>
                    <a:pt x="214" y="264"/>
                  </a:lnTo>
                  <a:lnTo>
                    <a:pt x="220" y="264"/>
                  </a:lnTo>
                  <a:lnTo>
                    <a:pt x="226" y="270"/>
                  </a:lnTo>
                  <a:lnTo>
                    <a:pt x="226" y="276"/>
                  </a:lnTo>
                  <a:lnTo>
                    <a:pt x="226" y="282"/>
                  </a:lnTo>
                  <a:lnTo>
                    <a:pt x="226" y="288"/>
                  </a:lnTo>
                  <a:lnTo>
                    <a:pt x="226" y="294"/>
                  </a:lnTo>
                  <a:lnTo>
                    <a:pt x="226" y="300"/>
                  </a:lnTo>
                  <a:lnTo>
                    <a:pt x="233" y="300"/>
                  </a:lnTo>
                  <a:lnTo>
                    <a:pt x="226" y="307"/>
                  </a:lnTo>
                  <a:lnTo>
                    <a:pt x="233" y="307"/>
                  </a:lnTo>
                  <a:lnTo>
                    <a:pt x="233" y="313"/>
                  </a:lnTo>
                  <a:lnTo>
                    <a:pt x="239" y="319"/>
                  </a:lnTo>
                  <a:lnTo>
                    <a:pt x="239" y="325"/>
                  </a:lnTo>
                  <a:lnTo>
                    <a:pt x="239" y="331"/>
                  </a:lnTo>
                  <a:lnTo>
                    <a:pt x="239" y="337"/>
                  </a:lnTo>
                  <a:lnTo>
                    <a:pt x="245" y="343"/>
                  </a:lnTo>
                  <a:lnTo>
                    <a:pt x="251" y="343"/>
                  </a:lnTo>
                  <a:lnTo>
                    <a:pt x="245" y="343"/>
                  </a:lnTo>
                  <a:lnTo>
                    <a:pt x="245" y="349"/>
                  </a:lnTo>
                  <a:lnTo>
                    <a:pt x="245" y="356"/>
                  </a:lnTo>
                  <a:lnTo>
                    <a:pt x="251" y="356"/>
                  </a:lnTo>
                  <a:lnTo>
                    <a:pt x="251" y="349"/>
                  </a:lnTo>
                  <a:lnTo>
                    <a:pt x="257" y="356"/>
                  </a:lnTo>
                  <a:lnTo>
                    <a:pt x="263" y="356"/>
                  </a:lnTo>
                  <a:lnTo>
                    <a:pt x="269" y="356"/>
                  </a:lnTo>
                  <a:lnTo>
                    <a:pt x="269" y="362"/>
                  </a:lnTo>
                  <a:lnTo>
                    <a:pt x="275" y="362"/>
                  </a:lnTo>
                  <a:lnTo>
                    <a:pt x="282" y="368"/>
                  </a:lnTo>
                  <a:lnTo>
                    <a:pt x="282" y="374"/>
                  </a:lnTo>
                  <a:lnTo>
                    <a:pt x="288" y="374"/>
                  </a:lnTo>
                  <a:lnTo>
                    <a:pt x="288" y="380"/>
                  </a:lnTo>
                  <a:lnTo>
                    <a:pt x="288" y="386"/>
                  </a:lnTo>
                  <a:lnTo>
                    <a:pt x="294" y="386"/>
                  </a:lnTo>
                  <a:lnTo>
                    <a:pt x="294" y="392"/>
                  </a:lnTo>
                  <a:lnTo>
                    <a:pt x="300" y="392"/>
                  </a:lnTo>
                  <a:lnTo>
                    <a:pt x="300" y="398"/>
                  </a:lnTo>
                  <a:lnTo>
                    <a:pt x="294" y="398"/>
                  </a:lnTo>
                  <a:lnTo>
                    <a:pt x="294" y="405"/>
                  </a:lnTo>
                  <a:lnTo>
                    <a:pt x="300" y="411"/>
                  </a:lnTo>
                  <a:lnTo>
                    <a:pt x="300" y="417"/>
                  </a:lnTo>
                  <a:lnTo>
                    <a:pt x="300" y="423"/>
                  </a:lnTo>
                  <a:lnTo>
                    <a:pt x="306" y="423"/>
                  </a:lnTo>
                  <a:lnTo>
                    <a:pt x="306" y="429"/>
                  </a:lnTo>
                  <a:lnTo>
                    <a:pt x="312" y="435"/>
                  </a:lnTo>
                  <a:lnTo>
                    <a:pt x="312" y="441"/>
                  </a:lnTo>
                  <a:lnTo>
                    <a:pt x="312" y="435"/>
                  </a:lnTo>
                  <a:lnTo>
                    <a:pt x="306" y="435"/>
                  </a:lnTo>
                  <a:lnTo>
                    <a:pt x="300" y="435"/>
                  </a:lnTo>
                  <a:lnTo>
                    <a:pt x="294" y="429"/>
                  </a:lnTo>
                  <a:lnTo>
                    <a:pt x="288" y="429"/>
                  </a:lnTo>
                  <a:lnTo>
                    <a:pt x="282" y="429"/>
                  </a:lnTo>
                  <a:lnTo>
                    <a:pt x="275" y="429"/>
                  </a:lnTo>
                  <a:lnTo>
                    <a:pt x="269" y="429"/>
                  </a:lnTo>
                  <a:lnTo>
                    <a:pt x="269" y="435"/>
                  </a:lnTo>
                  <a:lnTo>
                    <a:pt x="269" y="429"/>
                  </a:lnTo>
                  <a:lnTo>
                    <a:pt x="275" y="429"/>
                  </a:lnTo>
                  <a:lnTo>
                    <a:pt x="282" y="435"/>
                  </a:lnTo>
                  <a:lnTo>
                    <a:pt x="282" y="429"/>
                  </a:lnTo>
                  <a:lnTo>
                    <a:pt x="288" y="429"/>
                  </a:lnTo>
                  <a:lnTo>
                    <a:pt x="294" y="429"/>
                  </a:lnTo>
                  <a:lnTo>
                    <a:pt x="294" y="435"/>
                  </a:lnTo>
                  <a:lnTo>
                    <a:pt x="300" y="441"/>
                  </a:lnTo>
                  <a:lnTo>
                    <a:pt x="306" y="44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7" name="Freeform 32"/>
            <p:cNvSpPr>
              <a:spLocks/>
            </p:cNvSpPr>
            <p:nvPr/>
          </p:nvSpPr>
          <p:spPr bwMode="auto">
            <a:xfrm>
              <a:off x="2486605" y="3548250"/>
              <a:ext cx="504435" cy="1075449"/>
            </a:xfrm>
            <a:custGeom>
              <a:avLst/>
              <a:gdLst>
                <a:gd name="T0" fmla="*/ 153728727 w 312"/>
                <a:gd name="T1" fmla="*/ 1806950657 h 735"/>
                <a:gd name="T2" fmla="*/ 216733452 w 312"/>
                <a:gd name="T3" fmla="*/ 1713705740 h 735"/>
                <a:gd name="T4" fmla="*/ 262096247 w 312"/>
                <a:gd name="T5" fmla="*/ 1638100713 h 735"/>
                <a:gd name="T6" fmla="*/ 385584648 w 312"/>
                <a:gd name="T7" fmla="*/ 1620458839 h 735"/>
                <a:gd name="T8" fmla="*/ 430945955 w 312"/>
                <a:gd name="T9" fmla="*/ 1559975135 h 735"/>
                <a:gd name="T10" fmla="*/ 446066886 w 312"/>
                <a:gd name="T11" fmla="*/ 1544854209 h 735"/>
                <a:gd name="T12" fmla="*/ 307459041 w 312"/>
                <a:gd name="T13" fmla="*/ 1575096061 h 735"/>
                <a:gd name="T14" fmla="*/ 246975315 w 312"/>
                <a:gd name="T15" fmla="*/ 1529733283 h 735"/>
                <a:gd name="T16" fmla="*/ 231854384 w 312"/>
                <a:gd name="T17" fmla="*/ 1514612357 h 735"/>
                <a:gd name="T18" fmla="*/ 168851246 w 312"/>
                <a:gd name="T19" fmla="*/ 1544854209 h 735"/>
                <a:gd name="T20" fmla="*/ 138607795 w 312"/>
                <a:gd name="T21" fmla="*/ 1529733283 h 735"/>
                <a:gd name="T22" fmla="*/ 153728727 w 312"/>
                <a:gd name="T23" fmla="*/ 1451609293 h 735"/>
                <a:gd name="T24" fmla="*/ 231854384 w 312"/>
                <a:gd name="T25" fmla="*/ 1406246515 h 735"/>
                <a:gd name="T26" fmla="*/ 277217178 w 312"/>
                <a:gd name="T27" fmla="*/ 1313000011 h 735"/>
                <a:gd name="T28" fmla="*/ 199091522 w 312"/>
                <a:gd name="T29" fmla="*/ 1282758159 h 735"/>
                <a:gd name="T30" fmla="*/ 246975315 w 312"/>
                <a:gd name="T31" fmla="*/ 1204634168 h 735"/>
                <a:gd name="T32" fmla="*/ 322579973 w 312"/>
                <a:gd name="T33" fmla="*/ 1174392316 h 735"/>
                <a:gd name="T34" fmla="*/ 385584648 w 312"/>
                <a:gd name="T35" fmla="*/ 1144150464 h 735"/>
                <a:gd name="T36" fmla="*/ 400703992 w 312"/>
                <a:gd name="T37" fmla="*/ 1144150464 h 735"/>
                <a:gd name="T38" fmla="*/ 400703992 w 312"/>
                <a:gd name="T39" fmla="*/ 1050903960 h 735"/>
                <a:gd name="T40" fmla="*/ 415824924 w 312"/>
                <a:gd name="T41" fmla="*/ 972779969 h 735"/>
                <a:gd name="T42" fmla="*/ 370463717 w 312"/>
                <a:gd name="T43" fmla="*/ 987900895 h 735"/>
                <a:gd name="T44" fmla="*/ 322579973 w 312"/>
                <a:gd name="T45" fmla="*/ 912296265 h 735"/>
                <a:gd name="T46" fmla="*/ 385584648 w 312"/>
                <a:gd name="T47" fmla="*/ 819049563 h 735"/>
                <a:gd name="T48" fmla="*/ 307459041 w 312"/>
                <a:gd name="T49" fmla="*/ 849291613 h 735"/>
                <a:gd name="T50" fmla="*/ 183972178 w 312"/>
                <a:gd name="T51" fmla="*/ 849291613 h 735"/>
                <a:gd name="T52" fmla="*/ 153728727 w 312"/>
                <a:gd name="T53" fmla="*/ 803928637 h 735"/>
                <a:gd name="T54" fmla="*/ 199091522 w 312"/>
                <a:gd name="T55" fmla="*/ 680441868 h 735"/>
                <a:gd name="T56" fmla="*/ 216733452 w 312"/>
                <a:gd name="T57" fmla="*/ 602316290 h 735"/>
                <a:gd name="T58" fmla="*/ 168851246 w 312"/>
                <a:gd name="T59" fmla="*/ 602316290 h 735"/>
                <a:gd name="T60" fmla="*/ 123486864 w 312"/>
                <a:gd name="T61" fmla="*/ 572074438 h 735"/>
                <a:gd name="T62" fmla="*/ 93246563 w 312"/>
                <a:gd name="T63" fmla="*/ 725804646 h 735"/>
                <a:gd name="T64" fmla="*/ 75604683 w 312"/>
                <a:gd name="T65" fmla="*/ 632558142 h 735"/>
                <a:gd name="T66" fmla="*/ 75604683 w 312"/>
                <a:gd name="T67" fmla="*/ 541832586 h 735"/>
                <a:gd name="T68" fmla="*/ 108365932 w 312"/>
                <a:gd name="T69" fmla="*/ 448587670 h 735"/>
                <a:gd name="T70" fmla="*/ 45362807 w 312"/>
                <a:gd name="T71" fmla="*/ 448587670 h 735"/>
                <a:gd name="T72" fmla="*/ 45362807 w 312"/>
                <a:gd name="T73" fmla="*/ 385582918 h 735"/>
                <a:gd name="T74" fmla="*/ 60483751 w 312"/>
                <a:gd name="T75" fmla="*/ 309978288 h 735"/>
                <a:gd name="T76" fmla="*/ 75604683 w 312"/>
                <a:gd name="T77" fmla="*/ 246975224 h 735"/>
                <a:gd name="T78" fmla="*/ 108365932 w 312"/>
                <a:gd name="T79" fmla="*/ 171370544 h 735"/>
                <a:gd name="T80" fmla="*/ 123486864 w 312"/>
                <a:gd name="T81" fmla="*/ 123486818 h 735"/>
                <a:gd name="T82" fmla="*/ 153728727 w 312"/>
                <a:gd name="T83" fmla="*/ 32761225 h 735"/>
                <a:gd name="T84" fmla="*/ 231854384 w 312"/>
                <a:gd name="T85" fmla="*/ 32761225 h 735"/>
                <a:gd name="T86" fmla="*/ 277217178 w 312"/>
                <a:gd name="T87" fmla="*/ 156249618 h 735"/>
                <a:gd name="T88" fmla="*/ 231854384 w 312"/>
                <a:gd name="T89" fmla="*/ 262096150 h 735"/>
                <a:gd name="T90" fmla="*/ 430945955 w 312"/>
                <a:gd name="T91" fmla="*/ 216733372 h 735"/>
                <a:gd name="T92" fmla="*/ 554434357 w 312"/>
                <a:gd name="T93" fmla="*/ 246975224 h 735"/>
                <a:gd name="T94" fmla="*/ 478829699 w 312"/>
                <a:gd name="T95" fmla="*/ 403224792 h 735"/>
                <a:gd name="T96" fmla="*/ 400703992 w 312"/>
                <a:gd name="T97" fmla="*/ 493950448 h 735"/>
                <a:gd name="T98" fmla="*/ 430945955 w 312"/>
                <a:gd name="T99" fmla="*/ 509071374 h 735"/>
                <a:gd name="T100" fmla="*/ 340221854 w 312"/>
                <a:gd name="T101" fmla="*/ 587195364 h 735"/>
                <a:gd name="T102" fmla="*/ 400703992 w 312"/>
                <a:gd name="T103" fmla="*/ 602316290 h 735"/>
                <a:gd name="T104" fmla="*/ 509071562 w 312"/>
                <a:gd name="T105" fmla="*/ 602316290 h 735"/>
                <a:gd name="T106" fmla="*/ 569555288 w 312"/>
                <a:gd name="T107" fmla="*/ 710683720 h 735"/>
                <a:gd name="T108" fmla="*/ 602316513 w 312"/>
                <a:gd name="T109" fmla="*/ 834170687 h 735"/>
                <a:gd name="T110" fmla="*/ 662801827 w 312"/>
                <a:gd name="T111" fmla="*/ 897175339 h 735"/>
                <a:gd name="T112" fmla="*/ 740925846 w 312"/>
                <a:gd name="T113" fmla="*/ 987900895 h 735"/>
                <a:gd name="T114" fmla="*/ 786288641 w 312"/>
                <a:gd name="T115" fmla="*/ 1096266738 h 735"/>
                <a:gd name="T116" fmla="*/ 677922758 w 312"/>
                <a:gd name="T117" fmla="*/ 1096266738 h 7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2"/>
                <a:gd name="T178" fmla="*/ 0 h 735"/>
                <a:gd name="T179" fmla="*/ 312 w 312"/>
                <a:gd name="T180" fmla="*/ 735 h 7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2" h="735">
                  <a:moveTo>
                    <a:pt x="30" y="735"/>
                  </a:moveTo>
                  <a:lnTo>
                    <a:pt x="37" y="735"/>
                  </a:lnTo>
                  <a:lnTo>
                    <a:pt x="37" y="729"/>
                  </a:lnTo>
                  <a:lnTo>
                    <a:pt x="43" y="735"/>
                  </a:lnTo>
                  <a:lnTo>
                    <a:pt x="43" y="729"/>
                  </a:lnTo>
                  <a:lnTo>
                    <a:pt x="49" y="729"/>
                  </a:lnTo>
                  <a:lnTo>
                    <a:pt x="49" y="723"/>
                  </a:lnTo>
                  <a:lnTo>
                    <a:pt x="55" y="723"/>
                  </a:lnTo>
                  <a:lnTo>
                    <a:pt x="55" y="717"/>
                  </a:lnTo>
                  <a:lnTo>
                    <a:pt x="61" y="717"/>
                  </a:lnTo>
                  <a:lnTo>
                    <a:pt x="61" y="711"/>
                  </a:lnTo>
                  <a:lnTo>
                    <a:pt x="61" y="705"/>
                  </a:lnTo>
                  <a:lnTo>
                    <a:pt x="67" y="699"/>
                  </a:lnTo>
                  <a:lnTo>
                    <a:pt x="67" y="705"/>
                  </a:lnTo>
                  <a:lnTo>
                    <a:pt x="67" y="699"/>
                  </a:lnTo>
                  <a:lnTo>
                    <a:pt x="73" y="699"/>
                  </a:lnTo>
                  <a:lnTo>
                    <a:pt x="73" y="692"/>
                  </a:lnTo>
                  <a:lnTo>
                    <a:pt x="79" y="692"/>
                  </a:lnTo>
                  <a:lnTo>
                    <a:pt x="79" y="686"/>
                  </a:lnTo>
                  <a:lnTo>
                    <a:pt x="86" y="680"/>
                  </a:lnTo>
                  <a:lnTo>
                    <a:pt x="86" y="674"/>
                  </a:lnTo>
                  <a:lnTo>
                    <a:pt x="86" y="668"/>
                  </a:lnTo>
                  <a:lnTo>
                    <a:pt x="86" y="662"/>
                  </a:lnTo>
                  <a:lnTo>
                    <a:pt x="92" y="662"/>
                  </a:lnTo>
                  <a:lnTo>
                    <a:pt x="92" y="668"/>
                  </a:lnTo>
                  <a:lnTo>
                    <a:pt x="98" y="662"/>
                  </a:lnTo>
                  <a:lnTo>
                    <a:pt x="104" y="662"/>
                  </a:lnTo>
                  <a:lnTo>
                    <a:pt x="98" y="656"/>
                  </a:lnTo>
                  <a:lnTo>
                    <a:pt x="98" y="650"/>
                  </a:lnTo>
                  <a:lnTo>
                    <a:pt x="104" y="650"/>
                  </a:lnTo>
                  <a:lnTo>
                    <a:pt x="104" y="643"/>
                  </a:lnTo>
                  <a:lnTo>
                    <a:pt x="110" y="643"/>
                  </a:lnTo>
                  <a:lnTo>
                    <a:pt x="116" y="643"/>
                  </a:lnTo>
                  <a:lnTo>
                    <a:pt x="122" y="643"/>
                  </a:lnTo>
                  <a:lnTo>
                    <a:pt x="128" y="643"/>
                  </a:lnTo>
                  <a:lnTo>
                    <a:pt x="135" y="643"/>
                  </a:lnTo>
                  <a:lnTo>
                    <a:pt x="141" y="650"/>
                  </a:lnTo>
                  <a:lnTo>
                    <a:pt x="147" y="650"/>
                  </a:lnTo>
                  <a:lnTo>
                    <a:pt x="153" y="650"/>
                  </a:lnTo>
                  <a:lnTo>
                    <a:pt x="153" y="643"/>
                  </a:lnTo>
                  <a:lnTo>
                    <a:pt x="153" y="650"/>
                  </a:lnTo>
                  <a:lnTo>
                    <a:pt x="159" y="643"/>
                  </a:lnTo>
                  <a:lnTo>
                    <a:pt x="159" y="650"/>
                  </a:lnTo>
                  <a:lnTo>
                    <a:pt x="159" y="643"/>
                  </a:lnTo>
                  <a:lnTo>
                    <a:pt x="159" y="637"/>
                  </a:lnTo>
                  <a:lnTo>
                    <a:pt x="159" y="631"/>
                  </a:lnTo>
                  <a:lnTo>
                    <a:pt x="165" y="631"/>
                  </a:lnTo>
                  <a:lnTo>
                    <a:pt x="165" y="625"/>
                  </a:lnTo>
                  <a:lnTo>
                    <a:pt x="171" y="625"/>
                  </a:lnTo>
                  <a:lnTo>
                    <a:pt x="171" y="619"/>
                  </a:lnTo>
                  <a:lnTo>
                    <a:pt x="177" y="619"/>
                  </a:lnTo>
                  <a:lnTo>
                    <a:pt x="177" y="613"/>
                  </a:lnTo>
                  <a:lnTo>
                    <a:pt x="177" y="607"/>
                  </a:lnTo>
                  <a:lnTo>
                    <a:pt x="184" y="607"/>
                  </a:lnTo>
                  <a:lnTo>
                    <a:pt x="184" y="601"/>
                  </a:lnTo>
                  <a:lnTo>
                    <a:pt x="190" y="601"/>
                  </a:lnTo>
                  <a:lnTo>
                    <a:pt x="184" y="601"/>
                  </a:lnTo>
                  <a:lnTo>
                    <a:pt x="184" y="607"/>
                  </a:lnTo>
                  <a:lnTo>
                    <a:pt x="177" y="607"/>
                  </a:lnTo>
                  <a:lnTo>
                    <a:pt x="177" y="613"/>
                  </a:lnTo>
                  <a:lnTo>
                    <a:pt x="171" y="613"/>
                  </a:lnTo>
                  <a:lnTo>
                    <a:pt x="165" y="619"/>
                  </a:lnTo>
                  <a:lnTo>
                    <a:pt x="159" y="619"/>
                  </a:lnTo>
                  <a:lnTo>
                    <a:pt x="153" y="625"/>
                  </a:lnTo>
                  <a:lnTo>
                    <a:pt x="153" y="631"/>
                  </a:lnTo>
                  <a:lnTo>
                    <a:pt x="147" y="631"/>
                  </a:lnTo>
                  <a:lnTo>
                    <a:pt x="141" y="631"/>
                  </a:lnTo>
                  <a:lnTo>
                    <a:pt x="135" y="631"/>
                  </a:lnTo>
                  <a:lnTo>
                    <a:pt x="128" y="625"/>
                  </a:lnTo>
                  <a:lnTo>
                    <a:pt x="122" y="625"/>
                  </a:lnTo>
                  <a:lnTo>
                    <a:pt x="122" y="619"/>
                  </a:lnTo>
                  <a:lnTo>
                    <a:pt x="122" y="613"/>
                  </a:lnTo>
                  <a:lnTo>
                    <a:pt x="116" y="613"/>
                  </a:lnTo>
                  <a:lnTo>
                    <a:pt x="110" y="613"/>
                  </a:lnTo>
                  <a:lnTo>
                    <a:pt x="110" y="619"/>
                  </a:lnTo>
                  <a:lnTo>
                    <a:pt x="104" y="613"/>
                  </a:lnTo>
                  <a:lnTo>
                    <a:pt x="104" y="619"/>
                  </a:lnTo>
                  <a:lnTo>
                    <a:pt x="98" y="619"/>
                  </a:lnTo>
                  <a:lnTo>
                    <a:pt x="98" y="613"/>
                  </a:lnTo>
                  <a:lnTo>
                    <a:pt x="98" y="607"/>
                  </a:lnTo>
                  <a:lnTo>
                    <a:pt x="98" y="613"/>
                  </a:lnTo>
                  <a:lnTo>
                    <a:pt x="104" y="613"/>
                  </a:lnTo>
                  <a:lnTo>
                    <a:pt x="104" y="607"/>
                  </a:lnTo>
                  <a:lnTo>
                    <a:pt x="110" y="607"/>
                  </a:lnTo>
                  <a:lnTo>
                    <a:pt x="104" y="607"/>
                  </a:lnTo>
                  <a:lnTo>
                    <a:pt x="98" y="607"/>
                  </a:lnTo>
                  <a:lnTo>
                    <a:pt x="92" y="607"/>
                  </a:lnTo>
                  <a:lnTo>
                    <a:pt x="92" y="601"/>
                  </a:lnTo>
                  <a:lnTo>
                    <a:pt x="98" y="601"/>
                  </a:lnTo>
                  <a:lnTo>
                    <a:pt x="92" y="601"/>
                  </a:lnTo>
                  <a:lnTo>
                    <a:pt x="92" y="594"/>
                  </a:lnTo>
                  <a:lnTo>
                    <a:pt x="92" y="601"/>
                  </a:lnTo>
                  <a:lnTo>
                    <a:pt x="92" y="594"/>
                  </a:lnTo>
                  <a:lnTo>
                    <a:pt x="92" y="601"/>
                  </a:lnTo>
                  <a:lnTo>
                    <a:pt x="86" y="601"/>
                  </a:lnTo>
                  <a:lnTo>
                    <a:pt x="79" y="601"/>
                  </a:lnTo>
                  <a:lnTo>
                    <a:pt x="79" y="607"/>
                  </a:lnTo>
                  <a:lnTo>
                    <a:pt x="73" y="607"/>
                  </a:lnTo>
                  <a:lnTo>
                    <a:pt x="67" y="607"/>
                  </a:lnTo>
                  <a:lnTo>
                    <a:pt x="67" y="613"/>
                  </a:lnTo>
                  <a:lnTo>
                    <a:pt x="61" y="613"/>
                  </a:lnTo>
                  <a:lnTo>
                    <a:pt x="61" y="607"/>
                  </a:lnTo>
                  <a:lnTo>
                    <a:pt x="55" y="607"/>
                  </a:lnTo>
                  <a:lnTo>
                    <a:pt x="61" y="607"/>
                  </a:lnTo>
                  <a:lnTo>
                    <a:pt x="67" y="607"/>
                  </a:lnTo>
                  <a:lnTo>
                    <a:pt x="67" y="601"/>
                  </a:lnTo>
                  <a:lnTo>
                    <a:pt x="61" y="607"/>
                  </a:lnTo>
                  <a:lnTo>
                    <a:pt x="61" y="601"/>
                  </a:lnTo>
                  <a:lnTo>
                    <a:pt x="55" y="601"/>
                  </a:lnTo>
                  <a:lnTo>
                    <a:pt x="55" y="607"/>
                  </a:lnTo>
                  <a:lnTo>
                    <a:pt x="55" y="601"/>
                  </a:lnTo>
                  <a:lnTo>
                    <a:pt x="49" y="601"/>
                  </a:lnTo>
                  <a:lnTo>
                    <a:pt x="55" y="601"/>
                  </a:lnTo>
                  <a:lnTo>
                    <a:pt x="55" y="594"/>
                  </a:lnTo>
                  <a:lnTo>
                    <a:pt x="55" y="588"/>
                  </a:lnTo>
                  <a:lnTo>
                    <a:pt x="49" y="588"/>
                  </a:lnTo>
                  <a:lnTo>
                    <a:pt x="49" y="582"/>
                  </a:lnTo>
                  <a:lnTo>
                    <a:pt x="55" y="582"/>
                  </a:lnTo>
                  <a:lnTo>
                    <a:pt x="61" y="582"/>
                  </a:lnTo>
                  <a:lnTo>
                    <a:pt x="61" y="576"/>
                  </a:lnTo>
                  <a:lnTo>
                    <a:pt x="67" y="576"/>
                  </a:lnTo>
                  <a:lnTo>
                    <a:pt x="73" y="576"/>
                  </a:lnTo>
                  <a:lnTo>
                    <a:pt x="67" y="576"/>
                  </a:lnTo>
                  <a:lnTo>
                    <a:pt x="73" y="576"/>
                  </a:lnTo>
                  <a:lnTo>
                    <a:pt x="73" y="570"/>
                  </a:lnTo>
                  <a:lnTo>
                    <a:pt x="79" y="570"/>
                  </a:lnTo>
                  <a:lnTo>
                    <a:pt x="79" y="564"/>
                  </a:lnTo>
                  <a:lnTo>
                    <a:pt x="86" y="564"/>
                  </a:lnTo>
                  <a:lnTo>
                    <a:pt x="92" y="564"/>
                  </a:lnTo>
                  <a:lnTo>
                    <a:pt x="92" y="558"/>
                  </a:lnTo>
                  <a:lnTo>
                    <a:pt x="98" y="558"/>
                  </a:lnTo>
                  <a:lnTo>
                    <a:pt x="104" y="558"/>
                  </a:lnTo>
                  <a:lnTo>
                    <a:pt x="104" y="552"/>
                  </a:lnTo>
                  <a:lnTo>
                    <a:pt x="104" y="545"/>
                  </a:lnTo>
                  <a:lnTo>
                    <a:pt x="110" y="539"/>
                  </a:lnTo>
                  <a:lnTo>
                    <a:pt x="110" y="533"/>
                  </a:lnTo>
                  <a:lnTo>
                    <a:pt x="110" y="527"/>
                  </a:lnTo>
                  <a:lnTo>
                    <a:pt x="104" y="527"/>
                  </a:lnTo>
                  <a:lnTo>
                    <a:pt x="104" y="521"/>
                  </a:lnTo>
                  <a:lnTo>
                    <a:pt x="110" y="521"/>
                  </a:lnTo>
                  <a:lnTo>
                    <a:pt x="110" y="515"/>
                  </a:lnTo>
                  <a:lnTo>
                    <a:pt x="104" y="509"/>
                  </a:lnTo>
                  <a:lnTo>
                    <a:pt x="104" y="503"/>
                  </a:lnTo>
                  <a:lnTo>
                    <a:pt x="110" y="496"/>
                  </a:lnTo>
                  <a:lnTo>
                    <a:pt x="104" y="496"/>
                  </a:lnTo>
                  <a:lnTo>
                    <a:pt x="98" y="496"/>
                  </a:lnTo>
                  <a:lnTo>
                    <a:pt x="92" y="503"/>
                  </a:lnTo>
                  <a:lnTo>
                    <a:pt x="86" y="503"/>
                  </a:lnTo>
                  <a:lnTo>
                    <a:pt x="86" y="509"/>
                  </a:lnTo>
                  <a:lnTo>
                    <a:pt x="79" y="509"/>
                  </a:lnTo>
                  <a:lnTo>
                    <a:pt x="73" y="509"/>
                  </a:lnTo>
                  <a:lnTo>
                    <a:pt x="73" y="503"/>
                  </a:lnTo>
                  <a:lnTo>
                    <a:pt x="79" y="503"/>
                  </a:lnTo>
                  <a:lnTo>
                    <a:pt x="79" y="496"/>
                  </a:lnTo>
                  <a:lnTo>
                    <a:pt x="86" y="496"/>
                  </a:lnTo>
                  <a:lnTo>
                    <a:pt x="86" y="490"/>
                  </a:lnTo>
                  <a:lnTo>
                    <a:pt x="92" y="490"/>
                  </a:lnTo>
                  <a:lnTo>
                    <a:pt x="92" y="484"/>
                  </a:lnTo>
                  <a:lnTo>
                    <a:pt x="92" y="478"/>
                  </a:lnTo>
                  <a:lnTo>
                    <a:pt x="98" y="478"/>
                  </a:lnTo>
                  <a:lnTo>
                    <a:pt x="98" y="472"/>
                  </a:lnTo>
                  <a:lnTo>
                    <a:pt x="104" y="472"/>
                  </a:lnTo>
                  <a:lnTo>
                    <a:pt x="110" y="472"/>
                  </a:lnTo>
                  <a:lnTo>
                    <a:pt x="110" y="466"/>
                  </a:lnTo>
                  <a:lnTo>
                    <a:pt x="116" y="466"/>
                  </a:lnTo>
                  <a:lnTo>
                    <a:pt x="122" y="466"/>
                  </a:lnTo>
                  <a:lnTo>
                    <a:pt x="116" y="466"/>
                  </a:lnTo>
                  <a:lnTo>
                    <a:pt x="116" y="460"/>
                  </a:lnTo>
                  <a:lnTo>
                    <a:pt x="122" y="466"/>
                  </a:lnTo>
                  <a:lnTo>
                    <a:pt x="128" y="466"/>
                  </a:lnTo>
                  <a:lnTo>
                    <a:pt x="135" y="466"/>
                  </a:lnTo>
                  <a:lnTo>
                    <a:pt x="141" y="460"/>
                  </a:lnTo>
                  <a:lnTo>
                    <a:pt x="147" y="460"/>
                  </a:lnTo>
                  <a:lnTo>
                    <a:pt x="153" y="466"/>
                  </a:lnTo>
                  <a:lnTo>
                    <a:pt x="153" y="472"/>
                  </a:lnTo>
                  <a:lnTo>
                    <a:pt x="159" y="472"/>
                  </a:lnTo>
                  <a:lnTo>
                    <a:pt x="159" y="466"/>
                  </a:lnTo>
                  <a:lnTo>
                    <a:pt x="153" y="466"/>
                  </a:lnTo>
                  <a:lnTo>
                    <a:pt x="153" y="460"/>
                  </a:lnTo>
                  <a:lnTo>
                    <a:pt x="153" y="454"/>
                  </a:lnTo>
                  <a:lnTo>
                    <a:pt x="159" y="454"/>
                  </a:lnTo>
                  <a:lnTo>
                    <a:pt x="159" y="460"/>
                  </a:lnTo>
                  <a:lnTo>
                    <a:pt x="165" y="466"/>
                  </a:lnTo>
                  <a:lnTo>
                    <a:pt x="171" y="466"/>
                  </a:lnTo>
                  <a:lnTo>
                    <a:pt x="171" y="460"/>
                  </a:lnTo>
                  <a:lnTo>
                    <a:pt x="171" y="466"/>
                  </a:lnTo>
                  <a:lnTo>
                    <a:pt x="165" y="466"/>
                  </a:lnTo>
                  <a:lnTo>
                    <a:pt x="165" y="460"/>
                  </a:lnTo>
                  <a:lnTo>
                    <a:pt x="159" y="460"/>
                  </a:lnTo>
                  <a:lnTo>
                    <a:pt x="159" y="454"/>
                  </a:lnTo>
                  <a:lnTo>
                    <a:pt x="159" y="447"/>
                  </a:lnTo>
                  <a:lnTo>
                    <a:pt x="153" y="447"/>
                  </a:lnTo>
                  <a:lnTo>
                    <a:pt x="153" y="441"/>
                  </a:lnTo>
                  <a:lnTo>
                    <a:pt x="159" y="441"/>
                  </a:lnTo>
                  <a:lnTo>
                    <a:pt x="159" y="435"/>
                  </a:lnTo>
                  <a:lnTo>
                    <a:pt x="159" y="429"/>
                  </a:lnTo>
                  <a:lnTo>
                    <a:pt x="165" y="429"/>
                  </a:lnTo>
                  <a:lnTo>
                    <a:pt x="159" y="429"/>
                  </a:lnTo>
                  <a:lnTo>
                    <a:pt x="159" y="423"/>
                  </a:lnTo>
                  <a:lnTo>
                    <a:pt x="159" y="417"/>
                  </a:lnTo>
                  <a:lnTo>
                    <a:pt x="159" y="411"/>
                  </a:lnTo>
                  <a:lnTo>
                    <a:pt x="159" y="417"/>
                  </a:lnTo>
                  <a:lnTo>
                    <a:pt x="159" y="411"/>
                  </a:lnTo>
                  <a:lnTo>
                    <a:pt x="165" y="411"/>
                  </a:lnTo>
                  <a:lnTo>
                    <a:pt x="165" y="405"/>
                  </a:lnTo>
                  <a:lnTo>
                    <a:pt x="165" y="398"/>
                  </a:lnTo>
                  <a:lnTo>
                    <a:pt x="165" y="392"/>
                  </a:lnTo>
                  <a:lnTo>
                    <a:pt x="171" y="392"/>
                  </a:lnTo>
                  <a:lnTo>
                    <a:pt x="165" y="392"/>
                  </a:lnTo>
                  <a:lnTo>
                    <a:pt x="165" y="386"/>
                  </a:lnTo>
                  <a:lnTo>
                    <a:pt x="171" y="386"/>
                  </a:lnTo>
                  <a:lnTo>
                    <a:pt x="165" y="386"/>
                  </a:lnTo>
                  <a:lnTo>
                    <a:pt x="165" y="392"/>
                  </a:lnTo>
                  <a:lnTo>
                    <a:pt x="159" y="392"/>
                  </a:lnTo>
                  <a:lnTo>
                    <a:pt x="159" y="386"/>
                  </a:lnTo>
                  <a:lnTo>
                    <a:pt x="159" y="392"/>
                  </a:lnTo>
                  <a:lnTo>
                    <a:pt x="153" y="392"/>
                  </a:lnTo>
                  <a:lnTo>
                    <a:pt x="153" y="398"/>
                  </a:lnTo>
                  <a:lnTo>
                    <a:pt x="147" y="398"/>
                  </a:lnTo>
                  <a:lnTo>
                    <a:pt x="147" y="392"/>
                  </a:lnTo>
                  <a:lnTo>
                    <a:pt x="147" y="386"/>
                  </a:lnTo>
                  <a:lnTo>
                    <a:pt x="147" y="380"/>
                  </a:lnTo>
                  <a:lnTo>
                    <a:pt x="147" y="386"/>
                  </a:lnTo>
                  <a:lnTo>
                    <a:pt x="141" y="386"/>
                  </a:lnTo>
                  <a:lnTo>
                    <a:pt x="141" y="380"/>
                  </a:lnTo>
                  <a:lnTo>
                    <a:pt x="141" y="374"/>
                  </a:lnTo>
                  <a:lnTo>
                    <a:pt x="135" y="374"/>
                  </a:lnTo>
                  <a:lnTo>
                    <a:pt x="135" y="368"/>
                  </a:lnTo>
                  <a:lnTo>
                    <a:pt x="128" y="368"/>
                  </a:lnTo>
                  <a:lnTo>
                    <a:pt x="128" y="362"/>
                  </a:lnTo>
                  <a:lnTo>
                    <a:pt x="128" y="356"/>
                  </a:lnTo>
                  <a:lnTo>
                    <a:pt x="128" y="349"/>
                  </a:lnTo>
                  <a:lnTo>
                    <a:pt x="135" y="343"/>
                  </a:lnTo>
                  <a:lnTo>
                    <a:pt x="135" y="337"/>
                  </a:lnTo>
                  <a:lnTo>
                    <a:pt x="141" y="337"/>
                  </a:lnTo>
                  <a:lnTo>
                    <a:pt x="141" y="331"/>
                  </a:lnTo>
                  <a:lnTo>
                    <a:pt x="141" y="325"/>
                  </a:lnTo>
                  <a:lnTo>
                    <a:pt x="147" y="331"/>
                  </a:lnTo>
                  <a:lnTo>
                    <a:pt x="147" y="325"/>
                  </a:lnTo>
                  <a:lnTo>
                    <a:pt x="153" y="325"/>
                  </a:lnTo>
                  <a:lnTo>
                    <a:pt x="147" y="319"/>
                  </a:lnTo>
                  <a:lnTo>
                    <a:pt x="147" y="325"/>
                  </a:lnTo>
                  <a:lnTo>
                    <a:pt x="141" y="319"/>
                  </a:lnTo>
                  <a:lnTo>
                    <a:pt x="135" y="325"/>
                  </a:lnTo>
                  <a:lnTo>
                    <a:pt x="135" y="319"/>
                  </a:lnTo>
                  <a:lnTo>
                    <a:pt x="128" y="319"/>
                  </a:lnTo>
                  <a:lnTo>
                    <a:pt x="128" y="331"/>
                  </a:lnTo>
                  <a:lnTo>
                    <a:pt x="122" y="331"/>
                  </a:lnTo>
                  <a:lnTo>
                    <a:pt x="116" y="331"/>
                  </a:lnTo>
                  <a:lnTo>
                    <a:pt x="122" y="337"/>
                  </a:lnTo>
                  <a:lnTo>
                    <a:pt x="110" y="337"/>
                  </a:lnTo>
                  <a:lnTo>
                    <a:pt x="104" y="337"/>
                  </a:lnTo>
                  <a:lnTo>
                    <a:pt x="98" y="331"/>
                  </a:lnTo>
                  <a:lnTo>
                    <a:pt x="92" y="331"/>
                  </a:lnTo>
                  <a:lnTo>
                    <a:pt x="92" y="337"/>
                  </a:lnTo>
                  <a:lnTo>
                    <a:pt x="98" y="343"/>
                  </a:lnTo>
                  <a:lnTo>
                    <a:pt x="92" y="349"/>
                  </a:lnTo>
                  <a:lnTo>
                    <a:pt x="86" y="343"/>
                  </a:lnTo>
                  <a:lnTo>
                    <a:pt x="79" y="337"/>
                  </a:lnTo>
                  <a:lnTo>
                    <a:pt x="73" y="337"/>
                  </a:lnTo>
                  <a:lnTo>
                    <a:pt x="73" y="331"/>
                  </a:lnTo>
                  <a:lnTo>
                    <a:pt x="67" y="331"/>
                  </a:lnTo>
                  <a:lnTo>
                    <a:pt x="67" y="337"/>
                  </a:lnTo>
                  <a:lnTo>
                    <a:pt x="67" y="349"/>
                  </a:lnTo>
                  <a:lnTo>
                    <a:pt x="67" y="343"/>
                  </a:lnTo>
                  <a:lnTo>
                    <a:pt x="61" y="337"/>
                  </a:lnTo>
                  <a:lnTo>
                    <a:pt x="55" y="331"/>
                  </a:lnTo>
                  <a:lnTo>
                    <a:pt x="55" y="325"/>
                  </a:lnTo>
                  <a:lnTo>
                    <a:pt x="55" y="319"/>
                  </a:lnTo>
                  <a:lnTo>
                    <a:pt x="61" y="319"/>
                  </a:lnTo>
                  <a:lnTo>
                    <a:pt x="61" y="325"/>
                  </a:lnTo>
                  <a:lnTo>
                    <a:pt x="61" y="307"/>
                  </a:lnTo>
                  <a:lnTo>
                    <a:pt x="67" y="300"/>
                  </a:lnTo>
                  <a:lnTo>
                    <a:pt x="67" y="294"/>
                  </a:lnTo>
                  <a:lnTo>
                    <a:pt x="67" y="288"/>
                  </a:lnTo>
                  <a:lnTo>
                    <a:pt x="73" y="288"/>
                  </a:lnTo>
                  <a:lnTo>
                    <a:pt x="73" y="282"/>
                  </a:lnTo>
                  <a:lnTo>
                    <a:pt x="79" y="282"/>
                  </a:lnTo>
                  <a:lnTo>
                    <a:pt x="79" y="276"/>
                  </a:lnTo>
                  <a:lnTo>
                    <a:pt x="79" y="270"/>
                  </a:lnTo>
                  <a:lnTo>
                    <a:pt x="73" y="264"/>
                  </a:lnTo>
                  <a:lnTo>
                    <a:pt x="67" y="264"/>
                  </a:lnTo>
                  <a:lnTo>
                    <a:pt x="67" y="258"/>
                  </a:lnTo>
                  <a:lnTo>
                    <a:pt x="67" y="251"/>
                  </a:lnTo>
                  <a:lnTo>
                    <a:pt x="67" y="245"/>
                  </a:lnTo>
                  <a:lnTo>
                    <a:pt x="67" y="239"/>
                  </a:lnTo>
                  <a:lnTo>
                    <a:pt x="67" y="233"/>
                  </a:lnTo>
                  <a:lnTo>
                    <a:pt x="73" y="233"/>
                  </a:lnTo>
                  <a:lnTo>
                    <a:pt x="79" y="239"/>
                  </a:lnTo>
                  <a:lnTo>
                    <a:pt x="86" y="239"/>
                  </a:lnTo>
                  <a:lnTo>
                    <a:pt x="79" y="239"/>
                  </a:lnTo>
                  <a:lnTo>
                    <a:pt x="73" y="233"/>
                  </a:lnTo>
                  <a:lnTo>
                    <a:pt x="73" y="227"/>
                  </a:lnTo>
                  <a:lnTo>
                    <a:pt x="73" y="233"/>
                  </a:lnTo>
                  <a:lnTo>
                    <a:pt x="67" y="233"/>
                  </a:lnTo>
                  <a:lnTo>
                    <a:pt x="67" y="227"/>
                  </a:lnTo>
                  <a:lnTo>
                    <a:pt x="73" y="215"/>
                  </a:lnTo>
                  <a:lnTo>
                    <a:pt x="67" y="227"/>
                  </a:lnTo>
                  <a:lnTo>
                    <a:pt x="67" y="233"/>
                  </a:lnTo>
                  <a:lnTo>
                    <a:pt x="67" y="239"/>
                  </a:lnTo>
                  <a:lnTo>
                    <a:pt x="61" y="245"/>
                  </a:lnTo>
                  <a:lnTo>
                    <a:pt x="61" y="239"/>
                  </a:lnTo>
                  <a:lnTo>
                    <a:pt x="55" y="233"/>
                  </a:lnTo>
                  <a:lnTo>
                    <a:pt x="55" y="239"/>
                  </a:lnTo>
                  <a:lnTo>
                    <a:pt x="49" y="239"/>
                  </a:lnTo>
                  <a:lnTo>
                    <a:pt x="49" y="245"/>
                  </a:lnTo>
                  <a:lnTo>
                    <a:pt x="43" y="239"/>
                  </a:lnTo>
                  <a:lnTo>
                    <a:pt x="43" y="233"/>
                  </a:lnTo>
                  <a:lnTo>
                    <a:pt x="49" y="221"/>
                  </a:lnTo>
                  <a:lnTo>
                    <a:pt x="49" y="227"/>
                  </a:lnTo>
                  <a:lnTo>
                    <a:pt x="43" y="233"/>
                  </a:lnTo>
                  <a:lnTo>
                    <a:pt x="43" y="227"/>
                  </a:lnTo>
                  <a:lnTo>
                    <a:pt x="43" y="233"/>
                  </a:lnTo>
                  <a:lnTo>
                    <a:pt x="43" y="239"/>
                  </a:lnTo>
                  <a:lnTo>
                    <a:pt x="49" y="251"/>
                  </a:lnTo>
                  <a:lnTo>
                    <a:pt x="43" y="258"/>
                  </a:lnTo>
                  <a:lnTo>
                    <a:pt x="37" y="264"/>
                  </a:lnTo>
                  <a:lnTo>
                    <a:pt x="37" y="270"/>
                  </a:lnTo>
                  <a:lnTo>
                    <a:pt x="30" y="282"/>
                  </a:lnTo>
                  <a:lnTo>
                    <a:pt x="37" y="288"/>
                  </a:lnTo>
                  <a:lnTo>
                    <a:pt x="30" y="288"/>
                  </a:lnTo>
                  <a:lnTo>
                    <a:pt x="30" y="294"/>
                  </a:lnTo>
                  <a:lnTo>
                    <a:pt x="24" y="288"/>
                  </a:lnTo>
                  <a:lnTo>
                    <a:pt x="24" y="282"/>
                  </a:lnTo>
                  <a:lnTo>
                    <a:pt x="24" y="270"/>
                  </a:lnTo>
                  <a:lnTo>
                    <a:pt x="30" y="270"/>
                  </a:lnTo>
                  <a:lnTo>
                    <a:pt x="30" y="264"/>
                  </a:lnTo>
                  <a:lnTo>
                    <a:pt x="30" y="251"/>
                  </a:lnTo>
                  <a:lnTo>
                    <a:pt x="37" y="245"/>
                  </a:lnTo>
                  <a:lnTo>
                    <a:pt x="30" y="251"/>
                  </a:lnTo>
                  <a:lnTo>
                    <a:pt x="30" y="239"/>
                  </a:lnTo>
                  <a:lnTo>
                    <a:pt x="37" y="239"/>
                  </a:lnTo>
                  <a:lnTo>
                    <a:pt x="30" y="239"/>
                  </a:lnTo>
                  <a:lnTo>
                    <a:pt x="24" y="233"/>
                  </a:lnTo>
                  <a:lnTo>
                    <a:pt x="30" y="227"/>
                  </a:lnTo>
                  <a:lnTo>
                    <a:pt x="37" y="221"/>
                  </a:lnTo>
                  <a:lnTo>
                    <a:pt x="37" y="227"/>
                  </a:lnTo>
                  <a:lnTo>
                    <a:pt x="37" y="221"/>
                  </a:lnTo>
                  <a:lnTo>
                    <a:pt x="30" y="221"/>
                  </a:lnTo>
                  <a:lnTo>
                    <a:pt x="30" y="215"/>
                  </a:lnTo>
                  <a:lnTo>
                    <a:pt x="37" y="215"/>
                  </a:lnTo>
                  <a:lnTo>
                    <a:pt x="37" y="209"/>
                  </a:lnTo>
                  <a:lnTo>
                    <a:pt x="30" y="209"/>
                  </a:lnTo>
                  <a:lnTo>
                    <a:pt x="30" y="202"/>
                  </a:lnTo>
                  <a:lnTo>
                    <a:pt x="37" y="202"/>
                  </a:lnTo>
                  <a:lnTo>
                    <a:pt x="37" y="196"/>
                  </a:lnTo>
                  <a:lnTo>
                    <a:pt x="43" y="190"/>
                  </a:lnTo>
                  <a:lnTo>
                    <a:pt x="37" y="190"/>
                  </a:lnTo>
                  <a:lnTo>
                    <a:pt x="43" y="184"/>
                  </a:lnTo>
                  <a:lnTo>
                    <a:pt x="43" y="178"/>
                  </a:lnTo>
                  <a:lnTo>
                    <a:pt x="49" y="178"/>
                  </a:lnTo>
                  <a:lnTo>
                    <a:pt x="55" y="172"/>
                  </a:lnTo>
                  <a:lnTo>
                    <a:pt x="49" y="172"/>
                  </a:lnTo>
                  <a:lnTo>
                    <a:pt x="55" y="166"/>
                  </a:lnTo>
                  <a:lnTo>
                    <a:pt x="43" y="178"/>
                  </a:lnTo>
                  <a:lnTo>
                    <a:pt x="37" y="184"/>
                  </a:lnTo>
                  <a:lnTo>
                    <a:pt x="30" y="190"/>
                  </a:lnTo>
                  <a:lnTo>
                    <a:pt x="18" y="184"/>
                  </a:lnTo>
                  <a:lnTo>
                    <a:pt x="12" y="178"/>
                  </a:lnTo>
                  <a:lnTo>
                    <a:pt x="18" y="178"/>
                  </a:lnTo>
                  <a:lnTo>
                    <a:pt x="24" y="172"/>
                  </a:lnTo>
                  <a:lnTo>
                    <a:pt x="6" y="172"/>
                  </a:lnTo>
                  <a:lnTo>
                    <a:pt x="0" y="172"/>
                  </a:lnTo>
                  <a:lnTo>
                    <a:pt x="12" y="166"/>
                  </a:lnTo>
                  <a:lnTo>
                    <a:pt x="18" y="166"/>
                  </a:lnTo>
                  <a:lnTo>
                    <a:pt x="24" y="166"/>
                  </a:lnTo>
                  <a:lnTo>
                    <a:pt x="18" y="160"/>
                  </a:lnTo>
                  <a:lnTo>
                    <a:pt x="24" y="160"/>
                  </a:lnTo>
                  <a:lnTo>
                    <a:pt x="24" y="153"/>
                  </a:lnTo>
                  <a:lnTo>
                    <a:pt x="18" y="153"/>
                  </a:lnTo>
                  <a:lnTo>
                    <a:pt x="24" y="147"/>
                  </a:lnTo>
                  <a:lnTo>
                    <a:pt x="30" y="147"/>
                  </a:lnTo>
                  <a:lnTo>
                    <a:pt x="24" y="141"/>
                  </a:lnTo>
                  <a:lnTo>
                    <a:pt x="24" y="135"/>
                  </a:lnTo>
                  <a:lnTo>
                    <a:pt x="37" y="135"/>
                  </a:lnTo>
                  <a:lnTo>
                    <a:pt x="30" y="135"/>
                  </a:lnTo>
                  <a:lnTo>
                    <a:pt x="30" y="129"/>
                  </a:lnTo>
                  <a:lnTo>
                    <a:pt x="30" y="123"/>
                  </a:lnTo>
                  <a:lnTo>
                    <a:pt x="37" y="123"/>
                  </a:lnTo>
                  <a:lnTo>
                    <a:pt x="24" y="123"/>
                  </a:lnTo>
                  <a:lnTo>
                    <a:pt x="30" y="117"/>
                  </a:lnTo>
                  <a:lnTo>
                    <a:pt x="30" y="111"/>
                  </a:lnTo>
                  <a:lnTo>
                    <a:pt x="24" y="117"/>
                  </a:lnTo>
                  <a:lnTo>
                    <a:pt x="18" y="104"/>
                  </a:lnTo>
                  <a:lnTo>
                    <a:pt x="24" y="92"/>
                  </a:lnTo>
                  <a:lnTo>
                    <a:pt x="30" y="98"/>
                  </a:lnTo>
                  <a:lnTo>
                    <a:pt x="30" y="104"/>
                  </a:lnTo>
                  <a:lnTo>
                    <a:pt x="30" y="98"/>
                  </a:lnTo>
                  <a:lnTo>
                    <a:pt x="37" y="98"/>
                  </a:lnTo>
                  <a:lnTo>
                    <a:pt x="30" y="98"/>
                  </a:lnTo>
                  <a:lnTo>
                    <a:pt x="24" y="92"/>
                  </a:lnTo>
                  <a:lnTo>
                    <a:pt x="24" y="86"/>
                  </a:lnTo>
                  <a:lnTo>
                    <a:pt x="30" y="86"/>
                  </a:lnTo>
                  <a:lnTo>
                    <a:pt x="24" y="80"/>
                  </a:lnTo>
                  <a:lnTo>
                    <a:pt x="24" y="68"/>
                  </a:lnTo>
                  <a:lnTo>
                    <a:pt x="30" y="68"/>
                  </a:lnTo>
                  <a:lnTo>
                    <a:pt x="30" y="80"/>
                  </a:lnTo>
                  <a:lnTo>
                    <a:pt x="30" y="68"/>
                  </a:lnTo>
                  <a:lnTo>
                    <a:pt x="37" y="74"/>
                  </a:lnTo>
                  <a:lnTo>
                    <a:pt x="43" y="68"/>
                  </a:lnTo>
                  <a:lnTo>
                    <a:pt x="49" y="74"/>
                  </a:lnTo>
                  <a:lnTo>
                    <a:pt x="43" y="62"/>
                  </a:lnTo>
                  <a:lnTo>
                    <a:pt x="55" y="68"/>
                  </a:lnTo>
                  <a:lnTo>
                    <a:pt x="49" y="62"/>
                  </a:lnTo>
                  <a:lnTo>
                    <a:pt x="55" y="62"/>
                  </a:lnTo>
                  <a:lnTo>
                    <a:pt x="49" y="62"/>
                  </a:lnTo>
                  <a:lnTo>
                    <a:pt x="43" y="55"/>
                  </a:lnTo>
                  <a:lnTo>
                    <a:pt x="43" y="49"/>
                  </a:lnTo>
                  <a:lnTo>
                    <a:pt x="49" y="55"/>
                  </a:lnTo>
                  <a:lnTo>
                    <a:pt x="49" y="49"/>
                  </a:lnTo>
                  <a:lnTo>
                    <a:pt x="43" y="37"/>
                  </a:lnTo>
                  <a:lnTo>
                    <a:pt x="49" y="37"/>
                  </a:lnTo>
                  <a:lnTo>
                    <a:pt x="55" y="37"/>
                  </a:lnTo>
                  <a:lnTo>
                    <a:pt x="67" y="37"/>
                  </a:lnTo>
                  <a:lnTo>
                    <a:pt x="55" y="31"/>
                  </a:lnTo>
                  <a:lnTo>
                    <a:pt x="55" y="25"/>
                  </a:lnTo>
                  <a:lnTo>
                    <a:pt x="61" y="25"/>
                  </a:lnTo>
                  <a:lnTo>
                    <a:pt x="55" y="25"/>
                  </a:lnTo>
                  <a:lnTo>
                    <a:pt x="55" y="13"/>
                  </a:lnTo>
                  <a:lnTo>
                    <a:pt x="61" y="13"/>
                  </a:lnTo>
                  <a:lnTo>
                    <a:pt x="61" y="6"/>
                  </a:lnTo>
                  <a:lnTo>
                    <a:pt x="73" y="6"/>
                  </a:lnTo>
                  <a:lnTo>
                    <a:pt x="73" y="13"/>
                  </a:lnTo>
                  <a:lnTo>
                    <a:pt x="73" y="6"/>
                  </a:lnTo>
                  <a:lnTo>
                    <a:pt x="79" y="13"/>
                  </a:lnTo>
                  <a:lnTo>
                    <a:pt x="73" y="19"/>
                  </a:lnTo>
                  <a:lnTo>
                    <a:pt x="79" y="6"/>
                  </a:lnTo>
                  <a:lnTo>
                    <a:pt x="86" y="13"/>
                  </a:lnTo>
                  <a:lnTo>
                    <a:pt x="86" y="19"/>
                  </a:lnTo>
                  <a:lnTo>
                    <a:pt x="92" y="13"/>
                  </a:lnTo>
                  <a:lnTo>
                    <a:pt x="98" y="13"/>
                  </a:lnTo>
                  <a:lnTo>
                    <a:pt x="110" y="6"/>
                  </a:lnTo>
                  <a:lnTo>
                    <a:pt x="122" y="6"/>
                  </a:lnTo>
                  <a:lnTo>
                    <a:pt x="128" y="6"/>
                  </a:lnTo>
                  <a:lnTo>
                    <a:pt x="141" y="6"/>
                  </a:lnTo>
                  <a:lnTo>
                    <a:pt x="141" y="0"/>
                  </a:lnTo>
                  <a:lnTo>
                    <a:pt x="159" y="0"/>
                  </a:lnTo>
                  <a:lnTo>
                    <a:pt x="153" y="19"/>
                  </a:lnTo>
                  <a:lnTo>
                    <a:pt x="153" y="25"/>
                  </a:lnTo>
                  <a:lnTo>
                    <a:pt x="110" y="62"/>
                  </a:lnTo>
                  <a:lnTo>
                    <a:pt x="110" y="68"/>
                  </a:lnTo>
                  <a:lnTo>
                    <a:pt x="104" y="68"/>
                  </a:lnTo>
                  <a:lnTo>
                    <a:pt x="116" y="74"/>
                  </a:lnTo>
                  <a:lnTo>
                    <a:pt x="122" y="68"/>
                  </a:lnTo>
                  <a:lnTo>
                    <a:pt x="110" y="86"/>
                  </a:lnTo>
                  <a:lnTo>
                    <a:pt x="110" y="80"/>
                  </a:lnTo>
                  <a:lnTo>
                    <a:pt x="92" y="92"/>
                  </a:lnTo>
                  <a:lnTo>
                    <a:pt x="110" y="86"/>
                  </a:lnTo>
                  <a:lnTo>
                    <a:pt x="98" y="98"/>
                  </a:lnTo>
                  <a:lnTo>
                    <a:pt x="92" y="104"/>
                  </a:lnTo>
                  <a:lnTo>
                    <a:pt x="104" y="104"/>
                  </a:lnTo>
                  <a:lnTo>
                    <a:pt x="110" y="98"/>
                  </a:lnTo>
                  <a:lnTo>
                    <a:pt x="122" y="92"/>
                  </a:lnTo>
                  <a:lnTo>
                    <a:pt x="128" y="86"/>
                  </a:lnTo>
                  <a:lnTo>
                    <a:pt x="135" y="86"/>
                  </a:lnTo>
                  <a:lnTo>
                    <a:pt x="147" y="80"/>
                  </a:lnTo>
                  <a:lnTo>
                    <a:pt x="153" y="86"/>
                  </a:lnTo>
                  <a:lnTo>
                    <a:pt x="159" y="86"/>
                  </a:lnTo>
                  <a:lnTo>
                    <a:pt x="165" y="86"/>
                  </a:lnTo>
                  <a:lnTo>
                    <a:pt x="171" y="86"/>
                  </a:lnTo>
                  <a:lnTo>
                    <a:pt x="177" y="86"/>
                  </a:lnTo>
                  <a:lnTo>
                    <a:pt x="184" y="86"/>
                  </a:lnTo>
                  <a:lnTo>
                    <a:pt x="190" y="86"/>
                  </a:lnTo>
                  <a:lnTo>
                    <a:pt x="196" y="86"/>
                  </a:lnTo>
                  <a:lnTo>
                    <a:pt x="202" y="86"/>
                  </a:lnTo>
                  <a:lnTo>
                    <a:pt x="208" y="86"/>
                  </a:lnTo>
                  <a:lnTo>
                    <a:pt x="214" y="86"/>
                  </a:lnTo>
                  <a:lnTo>
                    <a:pt x="214" y="92"/>
                  </a:lnTo>
                  <a:lnTo>
                    <a:pt x="214" y="98"/>
                  </a:lnTo>
                  <a:lnTo>
                    <a:pt x="220" y="98"/>
                  </a:lnTo>
                  <a:lnTo>
                    <a:pt x="220" y="104"/>
                  </a:lnTo>
                  <a:lnTo>
                    <a:pt x="214" y="111"/>
                  </a:lnTo>
                  <a:lnTo>
                    <a:pt x="214" y="117"/>
                  </a:lnTo>
                  <a:lnTo>
                    <a:pt x="208" y="117"/>
                  </a:lnTo>
                  <a:lnTo>
                    <a:pt x="208" y="123"/>
                  </a:lnTo>
                  <a:lnTo>
                    <a:pt x="202" y="123"/>
                  </a:lnTo>
                  <a:lnTo>
                    <a:pt x="202" y="135"/>
                  </a:lnTo>
                  <a:lnTo>
                    <a:pt x="202" y="141"/>
                  </a:lnTo>
                  <a:lnTo>
                    <a:pt x="196" y="153"/>
                  </a:lnTo>
                  <a:lnTo>
                    <a:pt x="190" y="160"/>
                  </a:lnTo>
                  <a:lnTo>
                    <a:pt x="190" y="166"/>
                  </a:lnTo>
                  <a:lnTo>
                    <a:pt x="184" y="166"/>
                  </a:lnTo>
                  <a:lnTo>
                    <a:pt x="184" y="172"/>
                  </a:lnTo>
                  <a:lnTo>
                    <a:pt x="184" y="178"/>
                  </a:lnTo>
                  <a:lnTo>
                    <a:pt x="184" y="184"/>
                  </a:lnTo>
                  <a:lnTo>
                    <a:pt x="177" y="184"/>
                  </a:lnTo>
                  <a:lnTo>
                    <a:pt x="171" y="190"/>
                  </a:lnTo>
                  <a:lnTo>
                    <a:pt x="165" y="190"/>
                  </a:lnTo>
                  <a:lnTo>
                    <a:pt x="159" y="190"/>
                  </a:lnTo>
                  <a:lnTo>
                    <a:pt x="159" y="196"/>
                  </a:lnTo>
                  <a:lnTo>
                    <a:pt x="153" y="196"/>
                  </a:lnTo>
                  <a:lnTo>
                    <a:pt x="141" y="202"/>
                  </a:lnTo>
                  <a:lnTo>
                    <a:pt x="147" y="202"/>
                  </a:lnTo>
                  <a:lnTo>
                    <a:pt x="153" y="196"/>
                  </a:lnTo>
                  <a:lnTo>
                    <a:pt x="159" y="196"/>
                  </a:lnTo>
                  <a:lnTo>
                    <a:pt x="159" y="190"/>
                  </a:lnTo>
                  <a:lnTo>
                    <a:pt x="165" y="190"/>
                  </a:lnTo>
                  <a:lnTo>
                    <a:pt x="165" y="196"/>
                  </a:lnTo>
                  <a:lnTo>
                    <a:pt x="165" y="202"/>
                  </a:lnTo>
                  <a:lnTo>
                    <a:pt x="171" y="202"/>
                  </a:lnTo>
                  <a:lnTo>
                    <a:pt x="177" y="202"/>
                  </a:lnTo>
                  <a:lnTo>
                    <a:pt x="177" y="209"/>
                  </a:lnTo>
                  <a:lnTo>
                    <a:pt x="171" y="215"/>
                  </a:lnTo>
                  <a:lnTo>
                    <a:pt x="165" y="215"/>
                  </a:lnTo>
                  <a:lnTo>
                    <a:pt x="159" y="215"/>
                  </a:lnTo>
                  <a:lnTo>
                    <a:pt x="153" y="221"/>
                  </a:lnTo>
                  <a:lnTo>
                    <a:pt x="153" y="227"/>
                  </a:lnTo>
                  <a:lnTo>
                    <a:pt x="147" y="227"/>
                  </a:lnTo>
                  <a:lnTo>
                    <a:pt x="141" y="233"/>
                  </a:lnTo>
                  <a:lnTo>
                    <a:pt x="135" y="233"/>
                  </a:lnTo>
                  <a:lnTo>
                    <a:pt x="135" y="227"/>
                  </a:lnTo>
                  <a:lnTo>
                    <a:pt x="128" y="227"/>
                  </a:lnTo>
                  <a:lnTo>
                    <a:pt x="122" y="227"/>
                  </a:lnTo>
                  <a:lnTo>
                    <a:pt x="128" y="227"/>
                  </a:lnTo>
                  <a:lnTo>
                    <a:pt x="128" y="233"/>
                  </a:lnTo>
                  <a:lnTo>
                    <a:pt x="135" y="233"/>
                  </a:lnTo>
                  <a:lnTo>
                    <a:pt x="141" y="233"/>
                  </a:lnTo>
                  <a:lnTo>
                    <a:pt x="147" y="233"/>
                  </a:lnTo>
                  <a:lnTo>
                    <a:pt x="153" y="233"/>
                  </a:lnTo>
                  <a:lnTo>
                    <a:pt x="159" y="239"/>
                  </a:lnTo>
                  <a:lnTo>
                    <a:pt x="159" y="233"/>
                  </a:lnTo>
                  <a:lnTo>
                    <a:pt x="165" y="233"/>
                  </a:lnTo>
                  <a:lnTo>
                    <a:pt x="165" y="227"/>
                  </a:lnTo>
                  <a:lnTo>
                    <a:pt x="171" y="227"/>
                  </a:lnTo>
                  <a:lnTo>
                    <a:pt x="177" y="227"/>
                  </a:lnTo>
                  <a:lnTo>
                    <a:pt x="177" y="233"/>
                  </a:lnTo>
                  <a:lnTo>
                    <a:pt x="184" y="233"/>
                  </a:lnTo>
                  <a:lnTo>
                    <a:pt x="190" y="239"/>
                  </a:lnTo>
                  <a:lnTo>
                    <a:pt x="196" y="239"/>
                  </a:lnTo>
                  <a:lnTo>
                    <a:pt x="202" y="239"/>
                  </a:lnTo>
                  <a:lnTo>
                    <a:pt x="202" y="245"/>
                  </a:lnTo>
                  <a:lnTo>
                    <a:pt x="208" y="245"/>
                  </a:lnTo>
                  <a:lnTo>
                    <a:pt x="208" y="251"/>
                  </a:lnTo>
                  <a:lnTo>
                    <a:pt x="208" y="258"/>
                  </a:lnTo>
                  <a:lnTo>
                    <a:pt x="214" y="258"/>
                  </a:lnTo>
                  <a:lnTo>
                    <a:pt x="214" y="264"/>
                  </a:lnTo>
                  <a:lnTo>
                    <a:pt x="220" y="264"/>
                  </a:lnTo>
                  <a:lnTo>
                    <a:pt x="226" y="270"/>
                  </a:lnTo>
                  <a:lnTo>
                    <a:pt x="226" y="276"/>
                  </a:lnTo>
                  <a:lnTo>
                    <a:pt x="226" y="282"/>
                  </a:lnTo>
                  <a:lnTo>
                    <a:pt x="226" y="288"/>
                  </a:lnTo>
                  <a:lnTo>
                    <a:pt x="226" y="294"/>
                  </a:lnTo>
                  <a:lnTo>
                    <a:pt x="226" y="300"/>
                  </a:lnTo>
                  <a:lnTo>
                    <a:pt x="233" y="300"/>
                  </a:lnTo>
                  <a:lnTo>
                    <a:pt x="226" y="307"/>
                  </a:lnTo>
                  <a:lnTo>
                    <a:pt x="233" y="307"/>
                  </a:lnTo>
                  <a:lnTo>
                    <a:pt x="233" y="313"/>
                  </a:lnTo>
                  <a:lnTo>
                    <a:pt x="239" y="319"/>
                  </a:lnTo>
                  <a:lnTo>
                    <a:pt x="239" y="325"/>
                  </a:lnTo>
                  <a:lnTo>
                    <a:pt x="239" y="331"/>
                  </a:lnTo>
                  <a:lnTo>
                    <a:pt x="239" y="337"/>
                  </a:lnTo>
                  <a:lnTo>
                    <a:pt x="245" y="343"/>
                  </a:lnTo>
                  <a:lnTo>
                    <a:pt x="251" y="343"/>
                  </a:lnTo>
                  <a:lnTo>
                    <a:pt x="245" y="343"/>
                  </a:lnTo>
                  <a:lnTo>
                    <a:pt x="245" y="349"/>
                  </a:lnTo>
                  <a:lnTo>
                    <a:pt x="245" y="356"/>
                  </a:lnTo>
                  <a:lnTo>
                    <a:pt x="251" y="356"/>
                  </a:lnTo>
                  <a:lnTo>
                    <a:pt x="251" y="349"/>
                  </a:lnTo>
                  <a:lnTo>
                    <a:pt x="257" y="356"/>
                  </a:lnTo>
                  <a:lnTo>
                    <a:pt x="263" y="356"/>
                  </a:lnTo>
                  <a:lnTo>
                    <a:pt x="269" y="356"/>
                  </a:lnTo>
                  <a:lnTo>
                    <a:pt x="269" y="362"/>
                  </a:lnTo>
                  <a:lnTo>
                    <a:pt x="275" y="362"/>
                  </a:lnTo>
                  <a:lnTo>
                    <a:pt x="282" y="368"/>
                  </a:lnTo>
                  <a:lnTo>
                    <a:pt x="282" y="374"/>
                  </a:lnTo>
                  <a:lnTo>
                    <a:pt x="288" y="374"/>
                  </a:lnTo>
                  <a:lnTo>
                    <a:pt x="288" y="380"/>
                  </a:lnTo>
                  <a:lnTo>
                    <a:pt x="288" y="386"/>
                  </a:lnTo>
                  <a:lnTo>
                    <a:pt x="294" y="386"/>
                  </a:lnTo>
                  <a:lnTo>
                    <a:pt x="294" y="392"/>
                  </a:lnTo>
                  <a:lnTo>
                    <a:pt x="300" y="392"/>
                  </a:lnTo>
                  <a:lnTo>
                    <a:pt x="300" y="398"/>
                  </a:lnTo>
                  <a:lnTo>
                    <a:pt x="294" y="398"/>
                  </a:lnTo>
                  <a:lnTo>
                    <a:pt x="294" y="405"/>
                  </a:lnTo>
                  <a:lnTo>
                    <a:pt x="300" y="411"/>
                  </a:lnTo>
                  <a:lnTo>
                    <a:pt x="300" y="417"/>
                  </a:lnTo>
                  <a:lnTo>
                    <a:pt x="300" y="423"/>
                  </a:lnTo>
                  <a:lnTo>
                    <a:pt x="306" y="423"/>
                  </a:lnTo>
                  <a:lnTo>
                    <a:pt x="306" y="429"/>
                  </a:lnTo>
                  <a:lnTo>
                    <a:pt x="312" y="435"/>
                  </a:lnTo>
                  <a:lnTo>
                    <a:pt x="312" y="441"/>
                  </a:lnTo>
                  <a:lnTo>
                    <a:pt x="312" y="435"/>
                  </a:lnTo>
                  <a:lnTo>
                    <a:pt x="306" y="435"/>
                  </a:lnTo>
                  <a:lnTo>
                    <a:pt x="300" y="435"/>
                  </a:lnTo>
                  <a:lnTo>
                    <a:pt x="294" y="429"/>
                  </a:lnTo>
                  <a:lnTo>
                    <a:pt x="288" y="429"/>
                  </a:lnTo>
                  <a:lnTo>
                    <a:pt x="282" y="429"/>
                  </a:lnTo>
                  <a:lnTo>
                    <a:pt x="275" y="429"/>
                  </a:lnTo>
                  <a:lnTo>
                    <a:pt x="269" y="429"/>
                  </a:lnTo>
                  <a:lnTo>
                    <a:pt x="269" y="435"/>
                  </a:lnTo>
                  <a:lnTo>
                    <a:pt x="269" y="429"/>
                  </a:lnTo>
                  <a:lnTo>
                    <a:pt x="275" y="429"/>
                  </a:lnTo>
                  <a:lnTo>
                    <a:pt x="282" y="435"/>
                  </a:lnTo>
                  <a:lnTo>
                    <a:pt x="282" y="429"/>
                  </a:lnTo>
                  <a:lnTo>
                    <a:pt x="288" y="429"/>
                  </a:lnTo>
                  <a:lnTo>
                    <a:pt x="294" y="429"/>
                  </a:lnTo>
                  <a:lnTo>
                    <a:pt x="294" y="435"/>
                  </a:lnTo>
                  <a:lnTo>
                    <a:pt x="300" y="441"/>
                  </a:lnTo>
                  <a:lnTo>
                    <a:pt x="306" y="447"/>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8" name="Freeform 33"/>
            <p:cNvSpPr>
              <a:spLocks/>
            </p:cNvSpPr>
            <p:nvPr/>
          </p:nvSpPr>
          <p:spPr bwMode="auto">
            <a:xfrm>
              <a:off x="2535108" y="4202299"/>
              <a:ext cx="585274" cy="449202"/>
            </a:xfrm>
            <a:custGeom>
              <a:avLst/>
              <a:gdLst>
                <a:gd name="T0" fmla="*/ 725804954 w 362"/>
                <a:gd name="T1" fmla="*/ 17641905 h 307"/>
                <a:gd name="T2" fmla="*/ 740925886 w 362"/>
                <a:gd name="T3" fmla="*/ 78125711 h 307"/>
                <a:gd name="T4" fmla="*/ 710684021 w 362"/>
                <a:gd name="T5" fmla="*/ 123488577 h 307"/>
                <a:gd name="T6" fmla="*/ 725804954 w 362"/>
                <a:gd name="T7" fmla="*/ 156249835 h 307"/>
                <a:gd name="T8" fmla="*/ 773688700 w 362"/>
                <a:gd name="T9" fmla="*/ 123488577 h 307"/>
                <a:gd name="T10" fmla="*/ 819051497 w 362"/>
                <a:gd name="T11" fmla="*/ 108367630 h 307"/>
                <a:gd name="T12" fmla="*/ 864414493 w 362"/>
                <a:gd name="T13" fmla="*/ 141128888 h 307"/>
                <a:gd name="T14" fmla="*/ 912296652 w 362"/>
                <a:gd name="T15" fmla="*/ 201612676 h 307"/>
                <a:gd name="T16" fmla="*/ 897175719 w 362"/>
                <a:gd name="T17" fmla="*/ 264617465 h 307"/>
                <a:gd name="T18" fmla="*/ 864414493 w 362"/>
                <a:gd name="T19" fmla="*/ 325101253 h 307"/>
                <a:gd name="T20" fmla="*/ 849293560 w 362"/>
                <a:gd name="T21" fmla="*/ 340222200 h 307"/>
                <a:gd name="T22" fmla="*/ 834172628 w 362"/>
                <a:gd name="T23" fmla="*/ 370464094 h 307"/>
                <a:gd name="T24" fmla="*/ 803930565 w 362"/>
                <a:gd name="T25" fmla="*/ 370464094 h 307"/>
                <a:gd name="T26" fmla="*/ 788809632 w 362"/>
                <a:gd name="T27" fmla="*/ 388104406 h 307"/>
                <a:gd name="T28" fmla="*/ 788809632 w 362"/>
                <a:gd name="T29" fmla="*/ 418346399 h 307"/>
                <a:gd name="T30" fmla="*/ 773688700 w 362"/>
                <a:gd name="T31" fmla="*/ 433467346 h 307"/>
                <a:gd name="T32" fmla="*/ 710684021 w 362"/>
                <a:gd name="T33" fmla="*/ 448588293 h 307"/>
                <a:gd name="T34" fmla="*/ 773688700 w 362"/>
                <a:gd name="T35" fmla="*/ 448588293 h 307"/>
                <a:gd name="T36" fmla="*/ 758567768 w 362"/>
                <a:gd name="T37" fmla="*/ 463709240 h 307"/>
                <a:gd name="T38" fmla="*/ 803930565 w 362"/>
                <a:gd name="T39" fmla="*/ 478830187 h 307"/>
                <a:gd name="T40" fmla="*/ 849293560 w 362"/>
                <a:gd name="T41" fmla="*/ 463709240 h 307"/>
                <a:gd name="T42" fmla="*/ 864414493 w 362"/>
                <a:gd name="T43" fmla="*/ 511593032 h 307"/>
                <a:gd name="T44" fmla="*/ 834172628 w 362"/>
                <a:gd name="T45" fmla="*/ 541834926 h 307"/>
                <a:gd name="T46" fmla="*/ 788809632 w 362"/>
                <a:gd name="T47" fmla="*/ 572076820 h 307"/>
                <a:gd name="T48" fmla="*/ 725804954 w 362"/>
                <a:gd name="T49" fmla="*/ 602318714 h 307"/>
                <a:gd name="T50" fmla="*/ 665321224 w 362"/>
                <a:gd name="T51" fmla="*/ 587197767 h 307"/>
                <a:gd name="T52" fmla="*/ 602316545 w 362"/>
                <a:gd name="T53" fmla="*/ 602318714 h 307"/>
                <a:gd name="T54" fmla="*/ 587195613 w 362"/>
                <a:gd name="T55" fmla="*/ 587197767 h 307"/>
                <a:gd name="T56" fmla="*/ 572074681 w 362"/>
                <a:gd name="T57" fmla="*/ 602318714 h 307"/>
                <a:gd name="T58" fmla="*/ 541832816 w 362"/>
                <a:gd name="T59" fmla="*/ 602318714 h 307"/>
                <a:gd name="T60" fmla="*/ 526711883 w 362"/>
                <a:gd name="T61" fmla="*/ 587197767 h 307"/>
                <a:gd name="T62" fmla="*/ 511590951 w 362"/>
                <a:gd name="T63" fmla="*/ 617439661 h 307"/>
                <a:gd name="T64" fmla="*/ 478829724 w 362"/>
                <a:gd name="T65" fmla="*/ 617439661 h 307"/>
                <a:gd name="T66" fmla="*/ 448587860 w 362"/>
                <a:gd name="T67" fmla="*/ 617439661 h 307"/>
                <a:gd name="T68" fmla="*/ 418345995 w 362"/>
                <a:gd name="T69" fmla="*/ 635079972 h 307"/>
                <a:gd name="T70" fmla="*/ 403224963 w 362"/>
                <a:gd name="T71" fmla="*/ 650200919 h 307"/>
                <a:gd name="T72" fmla="*/ 355342804 w 362"/>
                <a:gd name="T73" fmla="*/ 617439661 h 307"/>
                <a:gd name="T74" fmla="*/ 294857487 w 362"/>
                <a:gd name="T75" fmla="*/ 617439661 h 307"/>
                <a:gd name="T76" fmla="*/ 264615622 w 362"/>
                <a:gd name="T77" fmla="*/ 617439661 h 307"/>
                <a:gd name="T78" fmla="*/ 264615622 w 362"/>
                <a:gd name="T79" fmla="*/ 680442813 h 307"/>
                <a:gd name="T80" fmla="*/ 231854396 w 362"/>
                <a:gd name="T81" fmla="*/ 725805654 h 307"/>
                <a:gd name="T82" fmla="*/ 216733464 w 362"/>
                <a:gd name="T83" fmla="*/ 710684707 h 307"/>
                <a:gd name="T84" fmla="*/ 186491549 w 362"/>
                <a:gd name="T85" fmla="*/ 680442813 h 307"/>
                <a:gd name="T86" fmla="*/ 186491549 w 362"/>
                <a:gd name="T87" fmla="*/ 680442813 h 307"/>
                <a:gd name="T88" fmla="*/ 156249684 w 362"/>
                <a:gd name="T89" fmla="*/ 680442813 h 307"/>
                <a:gd name="T90" fmla="*/ 108367526 w 362"/>
                <a:gd name="T91" fmla="*/ 710684707 h 307"/>
                <a:gd name="T92" fmla="*/ 78124048 w 362"/>
                <a:gd name="T93" fmla="*/ 740926601 h 307"/>
                <a:gd name="T94" fmla="*/ 78124048 w 362"/>
                <a:gd name="T95" fmla="*/ 740926601 h 307"/>
                <a:gd name="T96" fmla="*/ 47883759 w 362"/>
                <a:gd name="T97" fmla="*/ 773689447 h 307"/>
                <a:gd name="T98" fmla="*/ 17640300 w 362"/>
                <a:gd name="T99" fmla="*/ 740926601 h 307"/>
                <a:gd name="T100" fmla="*/ 0 w 362"/>
                <a:gd name="T101" fmla="*/ 725805654 h 3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2"/>
                <a:gd name="T154" fmla="*/ 0 h 307"/>
                <a:gd name="T155" fmla="*/ 362 w 362"/>
                <a:gd name="T156" fmla="*/ 307 h 3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2" h="307">
                  <a:moveTo>
                    <a:pt x="276" y="0"/>
                  </a:moveTo>
                  <a:lnTo>
                    <a:pt x="282" y="0"/>
                  </a:lnTo>
                  <a:lnTo>
                    <a:pt x="282" y="7"/>
                  </a:lnTo>
                  <a:lnTo>
                    <a:pt x="288" y="7"/>
                  </a:lnTo>
                  <a:lnTo>
                    <a:pt x="288" y="13"/>
                  </a:lnTo>
                  <a:lnTo>
                    <a:pt x="288" y="19"/>
                  </a:lnTo>
                  <a:lnTo>
                    <a:pt x="294" y="25"/>
                  </a:lnTo>
                  <a:lnTo>
                    <a:pt x="294" y="31"/>
                  </a:lnTo>
                  <a:lnTo>
                    <a:pt x="288" y="37"/>
                  </a:lnTo>
                  <a:lnTo>
                    <a:pt x="288" y="43"/>
                  </a:lnTo>
                  <a:lnTo>
                    <a:pt x="282" y="43"/>
                  </a:lnTo>
                  <a:lnTo>
                    <a:pt x="282" y="49"/>
                  </a:lnTo>
                  <a:lnTo>
                    <a:pt x="276" y="49"/>
                  </a:lnTo>
                  <a:lnTo>
                    <a:pt x="276" y="56"/>
                  </a:lnTo>
                  <a:lnTo>
                    <a:pt x="282" y="56"/>
                  </a:lnTo>
                  <a:lnTo>
                    <a:pt x="288" y="62"/>
                  </a:lnTo>
                  <a:lnTo>
                    <a:pt x="294" y="62"/>
                  </a:lnTo>
                  <a:lnTo>
                    <a:pt x="294" y="56"/>
                  </a:lnTo>
                  <a:lnTo>
                    <a:pt x="301" y="49"/>
                  </a:lnTo>
                  <a:lnTo>
                    <a:pt x="307" y="49"/>
                  </a:lnTo>
                  <a:lnTo>
                    <a:pt x="313" y="49"/>
                  </a:lnTo>
                  <a:lnTo>
                    <a:pt x="319" y="49"/>
                  </a:lnTo>
                  <a:lnTo>
                    <a:pt x="325" y="49"/>
                  </a:lnTo>
                  <a:lnTo>
                    <a:pt x="325" y="43"/>
                  </a:lnTo>
                  <a:lnTo>
                    <a:pt x="331" y="49"/>
                  </a:lnTo>
                  <a:lnTo>
                    <a:pt x="337" y="49"/>
                  </a:lnTo>
                  <a:lnTo>
                    <a:pt x="343" y="49"/>
                  </a:lnTo>
                  <a:lnTo>
                    <a:pt x="343" y="56"/>
                  </a:lnTo>
                  <a:lnTo>
                    <a:pt x="350" y="56"/>
                  </a:lnTo>
                  <a:lnTo>
                    <a:pt x="356" y="62"/>
                  </a:lnTo>
                  <a:lnTo>
                    <a:pt x="362" y="74"/>
                  </a:lnTo>
                  <a:lnTo>
                    <a:pt x="362" y="80"/>
                  </a:lnTo>
                  <a:lnTo>
                    <a:pt x="362" y="86"/>
                  </a:lnTo>
                  <a:lnTo>
                    <a:pt x="362" y="92"/>
                  </a:lnTo>
                  <a:lnTo>
                    <a:pt x="362" y="98"/>
                  </a:lnTo>
                  <a:lnTo>
                    <a:pt x="356" y="105"/>
                  </a:lnTo>
                  <a:lnTo>
                    <a:pt x="356" y="111"/>
                  </a:lnTo>
                  <a:lnTo>
                    <a:pt x="356" y="117"/>
                  </a:lnTo>
                  <a:lnTo>
                    <a:pt x="350" y="123"/>
                  </a:lnTo>
                  <a:lnTo>
                    <a:pt x="343" y="129"/>
                  </a:lnTo>
                  <a:lnTo>
                    <a:pt x="343" y="135"/>
                  </a:lnTo>
                  <a:lnTo>
                    <a:pt x="337" y="135"/>
                  </a:lnTo>
                  <a:lnTo>
                    <a:pt x="331" y="135"/>
                  </a:lnTo>
                  <a:lnTo>
                    <a:pt x="337" y="135"/>
                  </a:lnTo>
                  <a:lnTo>
                    <a:pt x="337" y="141"/>
                  </a:lnTo>
                  <a:lnTo>
                    <a:pt x="331" y="141"/>
                  </a:lnTo>
                  <a:lnTo>
                    <a:pt x="337" y="141"/>
                  </a:lnTo>
                  <a:lnTo>
                    <a:pt x="331" y="147"/>
                  </a:lnTo>
                  <a:lnTo>
                    <a:pt x="331" y="154"/>
                  </a:lnTo>
                  <a:lnTo>
                    <a:pt x="325" y="154"/>
                  </a:lnTo>
                  <a:lnTo>
                    <a:pt x="325" y="147"/>
                  </a:lnTo>
                  <a:lnTo>
                    <a:pt x="319" y="147"/>
                  </a:lnTo>
                  <a:lnTo>
                    <a:pt x="319" y="154"/>
                  </a:lnTo>
                  <a:lnTo>
                    <a:pt x="313" y="154"/>
                  </a:lnTo>
                  <a:lnTo>
                    <a:pt x="313" y="160"/>
                  </a:lnTo>
                  <a:lnTo>
                    <a:pt x="313" y="154"/>
                  </a:lnTo>
                  <a:lnTo>
                    <a:pt x="319" y="154"/>
                  </a:lnTo>
                  <a:lnTo>
                    <a:pt x="319" y="160"/>
                  </a:lnTo>
                  <a:lnTo>
                    <a:pt x="319" y="166"/>
                  </a:lnTo>
                  <a:lnTo>
                    <a:pt x="313" y="166"/>
                  </a:lnTo>
                  <a:lnTo>
                    <a:pt x="319" y="166"/>
                  </a:lnTo>
                  <a:lnTo>
                    <a:pt x="319" y="172"/>
                  </a:lnTo>
                  <a:lnTo>
                    <a:pt x="313" y="172"/>
                  </a:lnTo>
                  <a:lnTo>
                    <a:pt x="307" y="172"/>
                  </a:lnTo>
                  <a:lnTo>
                    <a:pt x="301" y="172"/>
                  </a:lnTo>
                  <a:lnTo>
                    <a:pt x="294" y="178"/>
                  </a:lnTo>
                  <a:lnTo>
                    <a:pt x="288" y="178"/>
                  </a:lnTo>
                  <a:lnTo>
                    <a:pt x="282" y="178"/>
                  </a:lnTo>
                  <a:lnTo>
                    <a:pt x="288" y="178"/>
                  </a:lnTo>
                  <a:lnTo>
                    <a:pt x="294" y="178"/>
                  </a:lnTo>
                  <a:lnTo>
                    <a:pt x="301" y="178"/>
                  </a:lnTo>
                  <a:lnTo>
                    <a:pt x="307" y="178"/>
                  </a:lnTo>
                  <a:lnTo>
                    <a:pt x="313" y="178"/>
                  </a:lnTo>
                  <a:lnTo>
                    <a:pt x="307" y="178"/>
                  </a:lnTo>
                  <a:lnTo>
                    <a:pt x="307" y="184"/>
                  </a:lnTo>
                  <a:lnTo>
                    <a:pt x="301" y="184"/>
                  </a:lnTo>
                  <a:lnTo>
                    <a:pt x="307" y="184"/>
                  </a:lnTo>
                  <a:lnTo>
                    <a:pt x="313" y="184"/>
                  </a:lnTo>
                  <a:lnTo>
                    <a:pt x="313" y="190"/>
                  </a:lnTo>
                  <a:lnTo>
                    <a:pt x="319" y="190"/>
                  </a:lnTo>
                  <a:lnTo>
                    <a:pt x="325" y="190"/>
                  </a:lnTo>
                  <a:lnTo>
                    <a:pt x="325" y="184"/>
                  </a:lnTo>
                  <a:lnTo>
                    <a:pt x="331" y="184"/>
                  </a:lnTo>
                  <a:lnTo>
                    <a:pt x="337" y="184"/>
                  </a:lnTo>
                  <a:lnTo>
                    <a:pt x="343" y="184"/>
                  </a:lnTo>
                  <a:lnTo>
                    <a:pt x="343" y="190"/>
                  </a:lnTo>
                  <a:lnTo>
                    <a:pt x="343" y="196"/>
                  </a:lnTo>
                  <a:lnTo>
                    <a:pt x="343" y="203"/>
                  </a:lnTo>
                  <a:lnTo>
                    <a:pt x="343" y="209"/>
                  </a:lnTo>
                  <a:lnTo>
                    <a:pt x="337" y="209"/>
                  </a:lnTo>
                  <a:lnTo>
                    <a:pt x="331" y="209"/>
                  </a:lnTo>
                  <a:lnTo>
                    <a:pt x="331" y="215"/>
                  </a:lnTo>
                  <a:lnTo>
                    <a:pt x="325" y="215"/>
                  </a:lnTo>
                  <a:lnTo>
                    <a:pt x="319" y="221"/>
                  </a:lnTo>
                  <a:lnTo>
                    <a:pt x="319" y="227"/>
                  </a:lnTo>
                  <a:lnTo>
                    <a:pt x="313" y="227"/>
                  </a:lnTo>
                  <a:lnTo>
                    <a:pt x="307" y="233"/>
                  </a:lnTo>
                  <a:lnTo>
                    <a:pt x="301" y="233"/>
                  </a:lnTo>
                  <a:lnTo>
                    <a:pt x="294" y="233"/>
                  </a:lnTo>
                  <a:lnTo>
                    <a:pt x="288" y="239"/>
                  </a:lnTo>
                  <a:lnTo>
                    <a:pt x="282" y="239"/>
                  </a:lnTo>
                  <a:lnTo>
                    <a:pt x="276" y="239"/>
                  </a:lnTo>
                  <a:lnTo>
                    <a:pt x="270" y="233"/>
                  </a:lnTo>
                  <a:lnTo>
                    <a:pt x="264" y="233"/>
                  </a:lnTo>
                  <a:lnTo>
                    <a:pt x="258" y="233"/>
                  </a:lnTo>
                  <a:lnTo>
                    <a:pt x="252" y="233"/>
                  </a:lnTo>
                  <a:lnTo>
                    <a:pt x="245" y="239"/>
                  </a:lnTo>
                  <a:lnTo>
                    <a:pt x="239" y="239"/>
                  </a:lnTo>
                  <a:lnTo>
                    <a:pt x="239" y="245"/>
                  </a:lnTo>
                  <a:lnTo>
                    <a:pt x="233" y="245"/>
                  </a:lnTo>
                  <a:lnTo>
                    <a:pt x="233" y="239"/>
                  </a:lnTo>
                  <a:lnTo>
                    <a:pt x="233" y="233"/>
                  </a:lnTo>
                  <a:lnTo>
                    <a:pt x="227" y="233"/>
                  </a:lnTo>
                  <a:lnTo>
                    <a:pt x="227" y="239"/>
                  </a:lnTo>
                  <a:lnTo>
                    <a:pt x="227" y="233"/>
                  </a:lnTo>
                  <a:lnTo>
                    <a:pt x="227" y="239"/>
                  </a:lnTo>
                  <a:lnTo>
                    <a:pt x="221" y="239"/>
                  </a:lnTo>
                  <a:lnTo>
                    <a:pt x="221" y="233"/>
                  </a:lnTo>
                  <a:lnTo>
                    <a:pt x="221" y="239"/>
                  </a:lnTo>
                  <a:lnTo>
                    <a:pt x="215" y="239"/>
                  </a:lnTo>
                  <a:lnTo>
                    <a:pt x="215" y="233"/>
                  </a:lnTo>
                  <a:lnTo>
                    <a:pt x="209" y="233"/>
                  </a:lnTo>
                  <a:lnTo>
                    <a:pt x="209" y="227"/>
                  </a:lnTo>
                  <a:lnTo>
                    <a:pt x="209" y="233"/>
                  </a:lnTo>
                  <a:lnTo>
                    <a:pt x="209" y="239"/>
                  </a:lnTo>
                  <a:lnTo>
                    <a:pt x="203" y="239"/>
                  </a:lnTo>
                  <a:lnTo>
                    <a:pt x="196" y="245"/>
                  </a:lnTo>
                  <a:lnTo>
                    <a:pt x="203" y="245"/>
                  </a:lnTo>
                  <a:lnTo>
                    <a:pt x="196" y="245"/>
                  </a:lnTo>
                  <a:lnTo>
                    <a:pt x="196" y="239"/>
                  </a:lnTo>
                  <a:lnTo>
                    <a:pt x="190" y="239"/>
                  </a:lnTo>
                  <a:lnTo>
                    <a:pt x="190" y="245"/>
                  </a:lnTo>
                  <a:lnTo>
                    <a:pt x="184" y="245"/>
                  </a:lnTo>
                  <a:lnTo>
                    <a:pt x="178" y="245"/>
                  </a:lnTo>
                  <a:lnTo>
                    <a:pt x="172" y="245"/>
                  </a:lnTo>
                  <a:lnTo>
                    <a:pt x="178" y="245"/>
                  </a:lnTo>
                  <a:lnTo>
                    <a:pt x="178" y="252"/>
                  </a:lnTo>
                  <a:lnTo>
                    <a:pt x="172" y="258"/>
                  </a:lnTo>
                  <a:lnTo>
                    <a:pt x="172" y="252"/>
                  </a:lnTo>
                  <a:lnTo>
                    <a:pt x="166" y="252"/>
                  </a:lnTo>
                  <a:lnTo>
                    <a:pt x="160" y="252"/>
                  </a:lnTo>
                  <a:lnTo>
                    <a:pt x="154" y="252"/>
                  </a:lnTo>
                  <a:lnTo>
                    <a:pt x="154" y="258"/>
                  </a:lnTo>
                  <a:lnTo>
                    <a:pt x="160" y="258"/>
                  </a:lnTo>
                  <a:lnTo>
                    <a:pt x="154" y="258"/>
                  </a:lnTo>
                  <a:lnTo>
                    <a:pt x="154" y="252"/>
                  </a:lnTo>
                  <a:lnTo>
                    <a:pt x="147" y="245"/>
                  </a:lnTo>
                  <a:lnTo>
                    <a:pt x="141" y="245"/>
                  </a:lnTo>
                  <a:lnTo>
                    <a:pt x="135" y="239"/>
                  </a:lnTo>
                  <a:lnTo>
                    <a:pt x="129" y="245"/>
                  </a:lnTo>
                  <a:lnTo>
                    <a:pt x="123" y="245"/>
                  </a:lnTo>
                  <a:lnTo>
                    <a:pt x="117" y="245"/>
                  </a:lnTo>
                  <a:lnTo>
                    <a:pt x="117" y="252"/>
                  </a:lnTo>
                  <a:lnTo>
                    <a:pt x="111" y="252"/>
                  </a:lnTo>
                  <a:lnTo>
                    <a:pt x="111" y="245"/>
                  </a:lnTo>
                  <a:lnTo>
                    <a:pt x="105" y="245"/>
                  </a:lnTo>
                  <a:lnTo>
                    <a:pt x="111" y="252"/>
                  </a:lnTo>
                  <a:lnTo>
                    <a:pt x="105" y="258"/>
                  </a:lnTo>
                  <a:lnTo>
                    <a:pt x="105" y="264"/>
                  </a:lnTo>
                  <a:lnTo>
                    <a:pt x="105" y="270"/>
                  </a:lnTo>
                  <a:lnTo>
                    <a:pt x="105" y="276"/>
                  </a:lnTo>
                  <a:lnTo>
                    <a:pt x="98" y="276"/>
                  </a:lnTo>
                  <a:lnTo>
                    <a:pt x="98" y="282"/>
                  </a:lnTo>
                  <a:lnTo>
                    <a:pt x="92" y="288"/>
                  </a:lnTo>
                  <a:lnTo>
                    <a:pt x="92" y="282"/>
                  </a:lnTo>
                  <a:lnTo>
                    <a:pt x="92" y="288"/>
                  </a:lnTo>
                  <a:lnTo>
                    <a:pt x="92" y="282"/>
                  </a:lnTo>
                  <a:lnTo>
                    <a:pt x="86" y="282"/>
                  </a:lnTo>
                  <a:lnTo>
                    <a:pt x="86" y="276"/>
                  </a:lnTo>
                  <a:lnTo>
                    <a:pt x="80" y="276"/>
                  </a:lnTo>
                  <a:lnTo>
                    <a:pt x="74" y="276"/>
                  </a:lnTo>
                  <a:lnTo>
                    <a:pt x="74" y="270"/>
                  </a:lnTo>
                  <a:lnTo>
                    <a:pt x="74" y="264"/>
                  </a:lnTo>
                  <a:lnTo>
                    <a:pt x="68" y="264"/>
                  </a:lnTo>
                  <a:lnTo>
                    <a:pt x="68" y="270"/>
                  </a:lnTo>
                  <a:lnTo>
                    <a:pt x="74" y="270"/>
                  </a:lnTo>
                  <a:lnTo>
                    <a:pt x="74" y="276"/>
                  </a:lnTo>
                  <a:lnTo>
                    <a:pt x="68" y="276"/>
                  </a:lnTo>
                  <a:lnTo>
                    <a:pt x="68" y="270"/>
                  </a:lnTo>
                  <a:lnTo>
                    <a:pt x="62" y="270"/>
                  </a:lnTo>
                  <a:lnTo>
                    <a:pt x="56" y="276"/>
                  </a:lnTo>
                  <a:lnTo>
                    <a:pt x="49" y="276"/>
                  </a:lnTo>
                  <a:lnTo>
                    <a:pt x="43" y="276"/>
                  </a:lnTo>
                  <a:lnTo>
                    <a:pt x="43" y="282"/>
                  </a:lnTo>
                  <a:lnTo>
                    <a:pt x="37" y="282"/>
                  </a:lnTo>
                  <a:lnTo>
                    <a:pt x="37" y="288"/>
                  </a:lnTo>
                  <a:lnTo>
                    <a:pt x="31" y="288"/>
                  </a:lnTo>
                  <a:lnTo>
                    <a:pt x="31" y="294"/>
                  </a:lnTo>
                  <a:lnTo>
                    <a:pt x="31" y="288"/>
                  </a:lnTo>
                  <a:lnTo>
                    <a:pt x="31" y="294"/>
                  </a:lnTo>
                  <a:lnTo>
                    <a:pt x="25" y="294"/>
                  </a:lnTo>
                  <a:lnTo>
                    <a:pt x="31" y="294"/>
                  </a:lnTo>
                  <a:lnTo>
                    <a:pt x="31" y="301"/>
                  </a:lnTo>
                  <a:lnTo>
                    <a:pt x="25" y="301"/>
                  </a:lnTo>
                  <a:lnTo>
                    <a:pt x="25" y="307"/>
                  </a:lnTo>
                  <a:lnTo>
                    <a:pt x="19" y="307"/>
                  </a:lnTo>
                  <a:lnTo>
                    <a:pt x="19" y="301"/>
                  </a:lnTo>
                  <a:lnTo>
                    <a:pt x="19" y="294"/>
                  </a:lnTo>
                  <a:lnTo>
                    <a:pt x="13" y="294"/>
                  </a:lnTo>
                  <a:lnTo>
                    <a:pt x="7" y="294"/>
                  </a:lnTo>
                  <a:lnTo>
                    <a:pt x="7" y="301"/>
                  </a:lnTo>
                  <a:lnTo>
                    <a:pt x="0" y="301"/>
                  </a:lnTo>
                  <a:lnTo>
                    <a:pt x="0" y="294"/>
                  </a:lnTo>
                  <a:lnTo>
                    <a:pt x="0" y="288"/>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19" name="Freeform 34"/>
            <p:cNvSpPr>
              <a:spLocks/>
            </p:cNvSpPr>
            <p:nvPr/>
          </p:nvSpPr>
          <p:spPr bwMode="auto">
            <a:xfrm>
              <a:off x="2337861" y="3978431"/>
              <a:ext cx="218266" cy="152172"/>
            </a:xfrm>
            <a:custGeom>
              <a:avLst/>
              <a:gdLst>
                <a:gd name="T0" fmla="*/ 0 w 135"/>
                <a:gd name="T1" fmla="*/ 186491557 h 104"/>
                <a:gd name="T2" fmla="*/ 45362910 w 135"/>
                <a:gd name="T3" fmla="*/ 231854406 h 104"/>
                <a:gd name="T4" fmla="*/ 60483889 w 135"/>
                <a:gd name="T5" fmla="*/ 246975339 h 104"/>
                <a:gd name="T6" fmla="*/ 93246775 w 135"/>
                <a:gd name="T7" fmla="*/ 246975339 h 104"/>
                <a:gd name="T8" fmla="*/ 108367766 w 135"/>
                <a:gd name="T9" fmla="*/ 231854406 h 104"/>
                <a:gd name="T10" fmla="*/ 108367766 w 135"/>
                <a:gd name="T11" fmla="*/ 231854406 h 104"/>
                <a:gd name="T12" fmla="*/ 123488732 w 135"/>
                <a:gd name="T13" fmla="*/ 216733473 h 104"/>
                <a:gd name="T14" fmla="*/ 168851630 w 135"/>
                <a:gd name="T15" fmla="*/ 231854406 h 104"/>
                <a:gd name="T16" fmla="*/ 183972596 w 135"/>
                <a:gd name="T17" fmla="*/ 262096272 h 104"/>
                <a:gd name="T18" fmla="*/ 216733944 w 135"/>
                <a:gd name="T19" fmla="*/ 246975339 h 104"/>
                <a:gd name="T20" fmla="*/ 246975876 w 135"/>
                <a:gd name="T21" fmla="*/ 262096272 h 104"/>
                <a:gd name="T22" fmla="*/ 277217808 w 135"/>
                <a:gd name="T23" fmla="*/ 262096272 h 104"/>
                <a:gd name="T24" fmla="*/ 277217808 w 135"/>
                <a:gd name="T25" fmla="*/ 231854406 h 104"/>
                <a:gd name="T26" fmla="*/ 292338774 w 135"/>
                <a:gd name="T27" fmla="*/ 216733473 h 104"/>
                <a:gd name="T28" fmla="*/ 325101661 w 135"/>
                <a:gd name="T29" fmla="*/ 201612490 h 104"/>
                <a:gd name="T30" fmla="*/ 307459740 w 135"/>
                <a:gd name="T31" fmla="*/ 201612490 h 104"/>
                <a:gd name="T32" fmla="*/ 307459740 w 135"/>
                <a:gd name="T33" fmla="*/ 171370624 h 104"/>
                <a:gd name="T34" fmla="*/ 292338774 w 135"/>
                <a:gd name="T35" fmla="*/ 156249691 h 104"/>
                <a:gd name="T36" fmla="*/ 325101661 w 135"/>
                <a:gd name="T37" fmla="*/ 156249691 h 104"/>
                <a:gd name="T38" fmla="*/ 325101661 w 135"/>
                <a:gd name="T39" fmla="*/ 186491557 h 104"/>
                <a:gd name="T40" fmla="*/ 325101661 w 135"/>
                <a:gd name="T41" fmla="*/ 186491557 h 104"/>
                <a:gd name="T42" fmla="*/ 325101661 w 135"/>
                <a:gd name="T43" fmla="*/ 186491557 h 104"/>
                <a:gd name="T44" fmla="*/ 340222627 w 135"/>
                <a:gd name="T45" fmla="*/ 171370624 h 104"/>
                <a:gd name="T46" fmla="*/ 325101661 w 135"/>
                <a:gd name="T47" fmla="*/ 156249691 h 104"/>
                <a:gd name="T48" fmla="*/ 307459740 w 135"/>
                <a:gd name="T49" fmla="*/ 123488463 h 104"/>
                <a:gd name="T50" fmla="*/ 277217808 w 135"/>
                <a:gd name="T51" fmla="*/ 138607809 h 104"/>
                <a:gd name="T52" fmla="*/ 292338774 w 135"/>
                <a:gd name="T53" fmla="*/ 123488463 h 104"/>
                <a:gd name="T54" fmla="*/ 292338774 w 135"/>
                <a:gd name="T55" fmla="*/ 93246572 h 104"/>
                <a:gd name="T56" fmla="*/ 277217808 w 135"/>
                <a:gd name="T57" fmla="*/ 63004706 h 104"/>
                <a:gd name="T58" fmla="*/ 262096842 w 135"/>
                <a:gd name="T59" fmla="*/ 47883761 h 104"/>
                <a:gd name="T60" fmla="*/ 246975876 w 135"/>
                <a:gd name="T61" fmla="*/ 15120939 h 104"/>
                <a:gd name="T62" fmla="*/ 231854910 w 135"/>
                <a:gd name="T63" fmla="*/ 0 h 104"/>
                <a:gd name="T64" fmla="*/ 199093562 w 135"/>
                <a:gd name="T65" fmla="*/ 0 h 104"/>
                <a:gd name="T66" fmla="*/ 168851630 w 135"/>
                <a:gd name="T67" fmla="*/ 15120939 h 104"/>
                <a:gd name="T68" fmla="*/ 138609698 w 135"/>
                <a:gd name="T69" fmla="*/ 32762828 h 104"/>
                <a:gd name="T70" fmla="*/ 123488732 w 135"/>
                <a:gd name="T71" fmla="*/ 47883761 h 104"/>
                <a:gd name="T72" fmla="*/ 93246775 w 135"/>
                <a:gd name="T73" fmla="*/ 78124052 h 104"/>
                <a:gd name="T74" fmla="*/ 60483889 w 135"/>
                <a:gd name="T75" fmla="*/ 108367530 h 104"/>
                <a:gd name="T76" fmla="*/ 30241944 w 135"/>
                <a:gd name="T77" fmla="*/ 138607809 h 104"/>
                <a:gd name="T78" fmla="*/ 45362910 w 135"/>
                <a:gd name="T79" fmla="*/ 156249691 h 104"/>
                <a:gd name="T80" fmla="*/ 15120972 w 135"/>
                <a:gd name="T81" fmla="*/ 171370624 h 1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104"/>
                <a:gd name="T125" fmla="*/ 135 w 135"/>
                <a:gd name="T126" fmla="*/ 104 h 1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104">
                  <a:moveTo>
                    <a:pt x="0" y="68"/>
                  </a:moveTo>
                  <a:lnTo>
                    <a:pt x="0" y="74"/>
                  </a:lnTo>
                  <a:lnTo>
                    <a:pt x="12" y="86"/>
                  </a:lnTo>
                  <a:lnTo>
                    <a:pt x="18" y="92"/>
                  </a:lnTo>
                  <a:lnTo>
                    <a:pt x="24" y="92"/>
                  </a:lnTo>
                  <a:lnTo>
                    <a:pt x="24" y="98"/>
                  </a:lnTo>
                  <a:lnTo>
                    <a:pt x="30" y="98"/>
                  </a:lnTo>
                  <a:lnTo>
                    <a:pt x="37" y="98"/>
                  </a:lnTo>
                  <a:lnTo>
                    <a:pt x="43" y="98"/>
                  </a:lnTo>
                  <a:lnTo>
                    <a:pt x="43" y="92"/>
                  </a:lnTo>
                  <a:lnTo>
                    <a:pt x="43" y="98"/>
                  </a:lnTo>
                  <a:lnTo>
                    <a:pt x="43" y="92"/>
                  </a:lnTo>
                  <a:lnTo>
                    <a:pt x="49" y="92"/>
                  </a:lnTo>
                  <a:lnTo>
                    <a:pt x="49" y="86"/>
                  </a:lnTo>
                  <a:lnTo>
                    <a:pt x="55" y="74"/>
                  </a:lnTo>
                  <a:lnTo>
                    <a:pt x="67" y="92"/>
                  </a:lnTo>
                  <a:lnTo>
                    <a:pt x="73" y="92"/>
                  </a:lnTo>
                  <a:lnTo>
                    <a:pt x="73" y="104"/>
                  </a:lnTo>
                  <a:lnTo>
                    <a:pt x="86" y="104"/>
                  </a:lnTo>
                  <a:lnTo>
                    <a:pt x="86" y="98"/>
                  </a:lnTo>
                  <a:lnTo>
                    <a:pt x="92" y="98"/>
                  </a:lnTo>
                  <a:lnTo>
                    <a:pt x="98" y="104"/>
                  </a:lnTo>
                  <a:lnTo>
                    <a:pt x="104" y="104"/>
                  </a:lnTo>
                  <a:lnTo>
                    <a:pt x="110" y="104"/>
                  </a:lnTo>
                  <a:lnTo>
                    <a:pt x="110" y="98"/>
                  </a:lnTo>
                  <a:lnTo>
                    <a:pt x="110" y="92"/>
                  </a:lnTo>
                  <a:lnTo>
                    <a:pt x="110" y="86"/>
                  </a:lnTo>
                  <a:lnTo>
                    <a:pt x="116" y="86"/>
                  </a:lnTo>
                  <a:lnTo>
                    <a:pt x="122" y="86"/>
                  </a:lnTo>
                  <a:lnTo>
                    <a:pt x="129" y="80"/>
                  </a:lnTo>
                  <a:lnTo>
                    <a:pt x="122" y="74"/>
                  </a:lnTo>
                  <a:lnTo>
                    <a:pt x="122" y="80"/>
                  </a:lnTo>
                  <a:lnTo>
                    <a:pt x="122" y="74"/>
                  </a:lnTo>
                  <a:lnTo>
                    <a:pt x="122" y="68"/>
                  </a:lnTo>
                  <a:lnTo>
                    <a:pt x="122" y="62"/>
                  </a:lnTo>
                  <a:lnTo>
                    <a:pt x="116" y="62"/>
                  </a:lnTo>
                  <a:lnTo>
                    <a:pt x="122" y="62"/>
                  </a:lnTo>
                  <a:lnTo>
                    <a:pt x="129" y="62"/>
                  </a:lnTo>
                  <a:lnTo>
                    <a:pt x="129" y="68"/>
                  </a:lnTo>
                  <a:lnTo>
                    <a:pt x="129" y="74"/>
                  </a:lnTo>
                  <a:lnTo>
                    <a:pt x="122" y="74"/>
                  </a:lnTo>
                  <a:lnTo>
                    <a:pt x="129" y="74"/>
                  </a:lnTo>
                  <a:lnTo>
                    <a:pt x="129" y="80"/>
                  </a:lnTo>
                  <a:lnTo>
                    <a:pt x="129" y="74"/>
                  </a:lnTo>
                  <a:lnTo>
                    <a:pt x="129" y="68"/>
                  </a:lnTo>
                  <a:lnTo>
                    <a:pt x="135" y="68"/>
                  </a:lnTo>
                  <a:lnTo>
                    <a:pt x="129" y="68"/>
                  </a:lnTo>
                  <a:lnTo>
                    <a:pt x="129" y="62"/>
                  </a:lnTo>
                  <a:lnTo>
                    <a:pt x="129" y="55"/>
                  </a:lnTo>
                  <a:lnTo>
                    <a:pt x="122" y="49"/>
                  </a:lnTo>
                  <a:lnTo>
                    <a:pt x="116" y="49"/>
                  </a:lnTo>
                  <a:lnTo>
                    <a:pt x="110" y="55"/>
                  </a:lnTo>
                  <a:lnTo>
                    <a:pt x="110" y="49"/>
                  </a:lnTo>
                  <a:lnTo>
                    <a:pt x="116" y="49"/>
                  </a:lnTo>
                  <a:lnTo>
                    <a:pt x="116" y="43"/>
                  </a:lnTo>
                  <a:lnTo>
                    <a:pt x="116" y="37"/>
                  </a:lnTo>
                  <a:lnTo>
                    <a:pt x="110" y="31"/>
                  </a:lnTo>
                  <a:lnTo>
                    <a:pt x="110" y="25"/>
                  </a:lnTo>
                  <a:lnTo>
                    <a:pt x="104" y="25"/>
                  </a:lnTo>
                  <a:lnTo>
                    <a:pt x="104" y="19"/>
                  </a:lnTo>
                  <a:lnTo>
                    <a:pt x="104" y="13"/>
                  </a:lnTo>
                  <a:lnTo>
                    <a:pt x="98" y="6"/>
                  </a:lnTo>
                  <a:lnTo>
                    <a:pt x="92" y="6"/>
                  </a:lnTo>
                  <a:lnTo>
                    <a:pt x="92" y="0"/>
                  </a:lnTo>
                  <a:lnTo>
                    <a:pt x="86" y="0"/>
                  </a:lnTo>
                  <a:lnTo>
                    <a:pt x="79" y="0"/>
                  </a:lnTo>
                  <a:lnTo>
                    <a:pt x="73" y="6"/>
                  </a:lnTo>
                  <a:lnTo>
                    <a:pt x="67" y="6"/>
                  </a:lnTo>
                  <a:lnTo>
                    <a:pt x="61" y="6"/>
                  </a:lnTo>
                  <a:lnTo>
                    <a:pt x="55" y="13"/>
                  </a:lnTo>
                  <a:lnTo>
                    <a:pt x="55" y="19"/>
                  </a:lnTo>
                  <a:lnTo>
                    <a:pt x="49" y="19"/>
                  </a:lnTo>
                  <a:lnTo>
                    <a:pt x="43" y="19"/>
                  </a:lnTo>
                  <a:lnTo>
                    <a:pt x="37" y="31"/>
                  </a:lnTo>
                  <a:lnTo>
                    <a:pt x="30" y="43"/>
                  </a:lnTo>
                  <a:lnTo>
                    <a:pt x="24" y="43"/>
                  </a:lnTo>
                  <a:lnTo>
                    <a:pt x="18" y="49"/>
                  </a:lnTo>
                  <a:lnTo>
                    <a:pt x="12" y="55"/>
                  </a:lnTo>
                  <a:lnTo>
                    <a:pt x="24" y="55"/>
                  </a:lnTo>
                  <a:lnTo>
                    <a:pt x="18" y="62"/>
                  </a:lnTo>
                  <a:lnTo>
                    <a:pt x="6" y="62"/>
                  </a:lnTo>
                  <a:lnTo>
                    <a:pt x="6" y="68"/>
                  </a:lnTo>
                  <a:lnTo>
                    <a:pt x="0" y="6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0" name="Freeform 35"/>
            <p:cNvSpPr>
              <a:spLocks/>
            </p:cNvSpPr>
            <p:nvPr/>
          </p:nvSpPr>
          <p:spPr bwMode="auto">
            <a:xfrm>
              <a:off x="2417084" y="3567272"/>
              <a:ext cx="79222" cy="98035"/>
            </a:xfrm>
            <a:custGeom>
              <a:avLst/>
              <a:gdLst>
                <a:gd name="T0" fmla="*/ 0 w 49"/>
                <a:gd name="T1" fmla="*/ 153731027 h 67"/>
                <a:gd name="T2" fmla="*/ 15120842 w 49"/>
                <a:gd name="T3" fmla="*/ 168852029 h 67"/>
                <a:gd name="T4" fmla="*/ 45362519 w 49"/>
                <a:gd name="T5" fmla="*/ 153731027 h 67"/>
                <a:gd name="T6" fmla="*/ 45362519 w 49"/>
                <a:gd name="T7" fmla="*/ 138610026 h 67"/>
                <a:gd name="T8" fmla="*/ 60483367 w 49"/>
                <a:gd name="T9" fmla="*/ 138610026 h 67"/>
                <a:gd name="T10" fmla="*/ 45362519 w 49"/>
                <a:gd name="T11" fmla="*/ 123489024 h 67"/>
                <a:gd name="T12" fmla="*/ 60483367 w 49"/>
                <a:gd name="T13" fmla="*/ 123489024 h 67"/>
                <a:gd name="T14" fmla="*/ 60483367 w 49"/>
                <a:gd name="T15" fmla="*/ 138610026 h 67"/>
                <a:gd name="T16" fmla="*/ 75604203 w 49"/>
                <a:gd name="T17" fmla="*/ 123489024 h 67"/>
                <a:gd name="T18" fmla="*/ 75604203 w 49"/>
                <a:gd name="T19" fmla="*/ 90726035 h 67"/>
                <a:gd name="T20" fmla="*/ 93244384 w 49"/>
                <a:gd name="T21" fmla="*/ 90726035 h 67"/>
                <a:gd name="T22" fmla="*/ 93244384 w 49"/>
                <a:gd name="T23" fmla="*/ 75605033 h 67"/>
                <a:gd name="T24" fmla="*/ 108365244 w 49"/>
                <a:gd name="T25" fmla="*/ 75605033 h 67"/>
                <a:gd name="T26" fmla="*/ 123486080 w 49"/>
                <a:gd name="T27" fmla="*/ 60484032 h 67"/>
                <a:gd name="T28" fmla="*/ 108365244 w 49"/>
                <a:gd name="T29" fmla="*/ 60484032 h 67"/>
                <a:gd name="T30" fmla="*/ 123486080 w 49"/>
                <a:gd name="T31" fmla="*/ 45363017 h 67"/>
                <a:gd name="T32" fmla="*/ 123486080 w 49"/>
                <a:gd name="T33" fmla="*/ 15121008 h 67"/>
                <a:gd name="T34" fmla="*/ 108365244 w 49"/>
                <a:gd name="T35" fmla="*/ 0 h 67"/>
                <a:gd name="T36" fmla="*/ 45362519 w 49"/>
                <a:gd name="T37" fmla="*/ 45363017 h 67"/>
                <a:gd name="T38" fmla="*/ 45362519 w 49"/>
                <a:gd name="T39" fmla="*/ 75605033 h 67"/>
                <a:gd name="T40" fmla="*/ 30241684 w 49"/>
                <a:gd name="T41" fmla="*/ 75605033 h 67"/>
                <a:gd name="T42" fmla="*/ 15120842 w 49"/>
                <a:gd name="T43" fmla="*/ 60484032 h 67"/>
                <a:gd name="T44" fmla="*/ 15120842 w 49"/>
                <a:gd name="T45" fmla="*/ 105847061 h 67"/>
                <a:gd name="T46" fmla="*/ 15120842 w 49"/>
                <a:gd name="T47" fmla="*/ 123489024 h 67"/>
                <a:gd name="T48" fmla="*/ 30241684 w 49"/>
                <a:gd name="T49" fmla="*/ 138610026 h 67"/>
                <a:gd name="T50" fmla="*/ 0 w 49"/>
                <a:gd name="T51" fmla="*/ 153731027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9"/>
                <a:gd name="T79" fmla="*/ 0 h 67"/>
                <a:gd name="T80" fmla="*/ 49 w 49"/>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9" h="67">
                  <a:moveTo>
                    <a:pt x="0" y="61"/>
                  </a:moveTo>
                  <a:lnTo>
                    <a:pt x="6" y="67"/>
                  </a:lnTo>
                  <a:lnTo>
                    <a:pt x="18" y="61"/>
                  </a:lnTo>
                  <a:lnTo>
                    <a:pt x="18" y="55"/>
                  </a:lnTo>
                  <a:lnTo>
                    <a:pt x="24" y="55"/>
                  </a:lnTo>
                  <a:lnTo>
                    <a:pt x="18" y="49"/>
                  </a:lnTo>
                  <a:lnTo>
                    <a:pt x="24" y="49"/>
                  </a:lnTo>
                  <a:lnTo>
                    <a:pt x="24" y="55"/>
                  </a:lnTo>
                  <a:lnTo>
                    <a:pt x="30" y="49"/>
                  </a:lnTo>
                  <a:lnTo>
                    <a:pt x="30" y="36"/>
                  </a:lnTo>
                  <a:lnTo>
                    <a:pt x="37" y="36"/>
                  </a:lnTo>
                  <a:lnTo>
                    <a:pt x="37" y="30"/>
                  </a:lnTo>
                  <a:lnTo>
                    <a:pt x="43" y="30"/>
                  </a:lnTo>
                  <a:lnTo>
                    <a:pt x="49" y="24"/>
                  </a:lnTo>
                  <a:lnTo>
                    <a:pt x="43" y="24"/>
                  </a:lnTo>
                  <a:lnTo>
                    <a:pt x="49" y="18"/>
                  </a:lnTo>
                  <a:lnTo>
                    <a:pt x="49" y="6"/>
                  </a:lnTo>
                  <a:lnTo>
                    <a:pt x="43" y="0"/>
                  </a:lnTo>
                  <a:lnTo>
                    <a:pt x="18" y="18"/>
                  </a:lnTo>
                  <a:lnTo>
                    <a:pt x="18" y="30"/>
                  </a:lnTo>
                  <a:lnTo>
                    <a:pt x="12" y="30"/>
                  </a:lnTo>
                  <a:lnTo>
                    <a:pt x="6" y="24"/>
                  </a:lnTo>
                  <a:lnTo>
                    <a:pt x="6" y="42"/>
                  </a:lnTo>
                  <a:lnTo>
                    <a:pt x="6" y="49"/>
                  </a:lnTo>
                  <a:lnTo>
                    <a:pt x="12" y="55"/>
                  </a:lnTo>
                  <a:lnTo>
                    <a:pt x="0" y="6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1" name="Freeform 36"/>
            <p:cNvSpPr>
              <a:spLocks/>
            </p:cNvSpPr>
            <p:nvPr/>
          </p:nvSpPr>
          <p:spPr bwMode="auto">
            <a:xfrm>
              <a:off x="2446186" y="3674086"/>
              <a:ext cx="88922" cy="80475"/>
            </a:xfrm>
            <a:custGeom>
              <a:avLst/>
              <a:gdLst>
                <a:gd name="T0" fmla="*/ 0 w 55"/>
                <a:gd name="T1" fmla="*/ 63002759 h 55"/>
                <a:gd name="T2" fmla="*/ 30241706 w 55"/>
                <a:gd name="T3" fmla="*/ 78123606 h 55"/>
                <a:gd name="T4" fmla="*/ 30241706 w 55"/>
                <a:gd name="T5" fmla="*/ 63002759 h 55"/>
                <a:gd name="T6" fmla="*/ 47881900 w 55"/>
                <a:gd name="T7" fmla="*/ 78123606 h 55"/>
                <a:gd name="T8" fmla="*/ 30241706 w 55"/>
                <a:gd name="T9" fmla="*/ 78123606 h 55"/>
                <a:gd name="T10" fmla="*/ 63002759 w 55"/>
                <a:gd name="T11" fmla="*/ 93244452 h 55"/>
                <a:gd name="T12" fmla="*/ 47881900 w 55"/>
                <a:gd name="T13" fmla="*/ 93244452 h 55"/>
                <a:gd name="T14" fmla="*/ 63002759 w 55"/>
                <a:gd name="T15" fmla="*/ 108365324 h 55"/>
                <a:gd name="T16" fmla="*/ 78123606 w 55"/>
                <a:gd name="T17" fmla="*/ 108365324 h 55"/>
                <a:gd name="T18" fmla="*/ 78123606 w 55"/>
                <a:gd name="T19" fmla="*/ 123486171 h 55"/>
                <a:gd name="T20" fmla="*/ 93244452 w 55"/>
                <a:gd name="T21" fmla="*/ 93244452 h 55"/>
                <a:gd name="T22" fmla="*/ 108365324 w 55"/>
                <a:gd name="T23" fmla="*/ 108365324 h 55"/>
                <a:gd name="T24" fmla="*/ 93244452 w 55"/>
                <a:gd name="T25" fmla="*/ 123486171 h 55"/>
                <a:gd name="T26" fmla="*/ 93244452 w 55"/>
                <a:gd name="T27" fmla="*/ 138607017 h 55"/>
                <a:gd name="T28" fmla="*/ 108365324 w 55"/>
                <a:gd name="T29" fmla="*/ 138607017 h 55"/>
                <a:gd name="T30" fmla="*/ 138607017 w 55"/>
                <a:gd name="T31" fmla="*/ 93244452 h 55"/>
                <a:gd name="T32" fmla="*/ 78123606 w 55"/>
                <a:gd name="T33" fmla="*/ 78123606 h 55"/>
                <a:gd name="T34" fmla="*/ 78123606 w 55"/>
                <a:gd name="T35" fmla="*/ 63002759 h 55"/>
                <a:gd name="T36" fmla="*/ 78123606 w 55"/>
                <a:gd name="T37" fmla="*/ 15120853 h 55"/>
                <a:gd name="T38" fmla="*/ 47881900 w 55"/>
                <a:gd name="T39" fmla="*/ 0 h 55"/>
                <a:gd name="T40" fmla="*/ 47881900 w 55"/>
                <a:gd name="T41" fmla="*/ 15120853 h 55"/>
                <a:gd name="T42" fmla="*/ 63002759 w 55"/>
                <a:gd name="T43" fmla="*/ 45362553 h 55"/>
                <a:gd name="T44" fmla="*/ 15120853 w 55"/>
                <a:gd name="T45" fmla="*/ 15120853 h 55"/>
                <a:gd name="T46" fmla="*/ 30241706 w 55"/>
                <a:gd name="T47" fmla="*/ 45362553 h 55"/>
                <a:gd name="T48" fmla="*/ 15120853 w 55"/>
                <a:gd name="T49" fmla="*/ 30241706 h 55"/>
                <a:gd name="T50" fmla="*/ 15120853 w 55"/>
                <a:gd name="T51" fmla="*/ 45362553 h 55"/>
                <a:gd name="T52" fmla="*/ 0 w 55"/>
                <a:gd name="T53" fmla="*/ 45362553 h 55"/>
                <a:gd name="T54" fmla="*/ 0 w 55"/>
                <a:gd name="T55" fmla="*/ 63002759 h 5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5"/>
                <a:gd name="T85" fmla="*/ 0 h 55"/>
                <a:gd name="T86" fmla="*/ 55 w 55"/>
                <a:gd name="T87" fmla="*/ 55 h 5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5" h="55">
                  <a:moveTo>
                    <a:pt x="0" y="25"/>
                  </a:moveTo>
                  <a:lnTo>
                    <a:pt x="12" y="31"/>
                  </a:lnTo>
                  <a:lnTo>
                    <a:pt x="12" y="25"/>
                  </a:lnTo>
                  <a:lnTo>
                    <a:pt x="19" y="31"/>
                  </a:lnTo>
                  <a:lnTo>
                    <a:pt x="12" y="31"/>
                  </a:lnTo>
                  <a:lnTo>
                    <a:pt x="25" y="37"/>
                  </a:lnTo>
                  <a:lnTo>
                    <a:pt x="19" y="37"/>
                  </a:lnTo>
                  <a:lnTo>
                    <a:pt x="25" y="43"/>
                  </a:lnTo>
                  <a:lnTo>
                    <a:pt x="31" y="43"/>
                  </a:lnTo>
                  <a:lnTo>
                    <a:pt x="31" y="49"/>
                  </a:lnTo>
                  <a:lnTo>
                    <a:pt x="37" y="37"/>
                  </a:lnTo>
                  <a:lnTo>
                    <a:pt x="43" y="43"/>
                  </a:lnTo>
                  <a:lnTo>
                    <a:pt x="37" y="49"/>
                  </a:lnTo>
                  <a:lnTo>
                    <a:pt x="37" y="55"/>
                  </a:lnTo>
                  <a:lnTo>
                    <a:pt x="43" y="55"/>
                  </a:lnTo>
                  <a:lnTo>
                    <a:pt x="55" y="37"/>
                  </a:lnTo>
                  <a:lnTo>
                    <a:pt x="31" y="31"/>
                  </a:lnTo>
                  <a:lnTo>
                    <a:pt x="31" y="25"/>
                  </a:lnTo>
                  <a:lnTo>
                    <a:pt x="31" y="6"/>
                  </a:lnTo>
                  <a:lnTo>
                    <a:pt x="19" y="0"/>
                  </a:lnTo>
                  <a:lnTo>
                    <a:pt x="19" y="6"/>
                  </a:lnTo>
                  <a:lnTo>
                    <a:pt x="25" y="18"/>
                  </a:lnTo>
                  <a:lnTo>
                    <a:pt x="6" y="6"/>
                  </a:lnTo>
                  <a:lnTo>
                    <a:pt x="12" y="18"/>
                  </a:lnTo>
                  <a:lnTo>
                    <a:pt x="6" y="12"/>
                  </a:lnTo>
                  <a:lnTo>
                    <a:pt x="6" y="18"/>
                  </a:lnTo>
                  <a:lnTo>
                    <a:pt x="0" y="18"/>
                  </a:lnTo>
                  <a:lnTo>
                    <a:pt x="0" y="2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2" name="Freeform 37"/>
            <p:cNvSpPr>
              <a:spLocks/>
            </p:cNvSpPr>
            <p:nvPr/>
          </p:nvSpPr>
          <p:spPr bwMode="auto">
            <a:xfrm>
              <a:off x="2842296" y="3298044"/>
              <a:ext cx="59821" cy="98035"/>
            </a:xfrm>
            <a:custGeom>
              <a:avLst/>
              <a:gdLst>
                <a:gd name="T0" fmla="*/ 0 w 37"/>
                <a:gd name="T1" fmla="*/ 75605033 h 67"/>
                <a:gd name="T2" fmla="*/ 47884163 w 37"/>
                <a:gd name="T3" fmla="*/ 60484032 h 67"/>
                <a:gd name="T4" fmla="*/ 47884163 w 37"/>
                <a:gd name="T5" fmla="*/ 45363017 h 67"/>
                <a:gd name="T6" fmla="*/ 32763103 w 37"/>
                <a:gd name="T7" fmla="*/ 30242016 h 67"/>
                <a:gd name="T8" fmla="*/ 15121066 w 37"/>
                <a:gd name="T9" fmla="*/ 45363017 h 67"/>
                <a:gd name="T10" fmla="*/ 32763103 w 37"/>
                <a:gd name="T11" fmla="*/ 15121008 h 67"/>
                <a:gd name="T12" fmla="*/ 32763103 w 37"/>
                <a:gd name="T13" fmla="*/ 30242016 h 67"/>
                <a:gd name="T14" fmla="*/ 47884163 w 37"/>
                <a:gd name="T15" fmla="*/ 15121008 h 67"/>
                <a:gd name="T16" fmla="*/ 63005235 w 37"/>
                <a:gd name="T17" fmla="*/ 0 h 67"/>
                <a:gd name="T18" fmla="*/ 47884163 w 37"/>
                <a:gd name="T19" fmla="*/ 45363017 h 67"/>
                <a:gd name="T20" fmla="*/ 63005235 w 37"/>
                <a:gd name="T21" fmla="*/ 45363017 h 67"/>
                <a:gd name="T22" fmla="*/ 63005235 w 37"/>
                <a:gd name="T23" fmla="*/ 30242016 h 67"/>
                <a:gd name="T24" fmla="*/ 78126295 w 37"/>
                <a:gd name="T25" fmla="*/ 45363017 h 67"/>
                <a:gd name="T26" fmla="*/ 63005235 w 37"/>
                <a:gd name="T27" fmla="*/ 45363017 h 67"/>
                <a:gd name="T28" fmla="*/ 78126295 w 37"/>
                <a:gd name="T29" fmla="*/ 45363017 h 67"/>
                <a:gd name="T30" fmla="*/ 93247355 w 37"/>
                <a:gd name="T31" fmla="*/ 45363017 h 67"/>
                <a:gd name="T32" fmla="*/ 78126295 w 37"/>
                <a:gd name="T33" fmla="*/ 60484032 h 67"/>
                <a:gd name="T34" fmla="*/ 78126295 w 37"/>
                <a:gd name="T35" fmla="*/ 75605033 h 67"/>
                <a:gd name="T36" fmla="*/ 78126295 w 37"/>
                <a:gd name="T37" fmla="*/ 93246996 h 67"/>
                <a:gd name="T38" fmla="*/ 63005235 w 37"/>
                <a:gd name="T39" fmla="*/ 93246996 h 67"/>
                <a:gd name="T40" fmla="*/ 78126295 w 37"/>
                <a:gd name="T41" fmla="*/ 93246996 h 67"/>
                <a:gd name="T42" fmla="*/ 63005235 w 37"/>
                <a:gd name="T43" fmla="*/ 108368022 h 67"/>
                <a:gd name="T44" fmla="*/ 78126295 w 37"/>
                <a:gd name="T45" fmla="*/ 108368022 h 67"/>
                <a:gd name="T46" fmla="*/ 63005235 w 37"/>
                <a:gd name="T47" fmla="*/ 108368022 h 67"/>
                <a:gd name="T48" fmla="*/ 78126295 w 37"/>
                <a:gd name="T49" fmla="*/ 138610026 h 67"/>
                <a:gd name="T50" fmla="*/ 63005235 w 37"/>
                <a:gd name="T51" fmla="*/ 138610026 h 67"/>
                <a:gd name="T52" fmla="*/ 63005235 w 37"/>
                <a:gd name="T53" fmla="*/ 153731027 h 67"/>
                <a:gd name="T54" fmla="*/ 63005235 w 37"/>
                <a:gd name="T55" fmla="*/ 168852029 h 67"/>
                <a:gd name="T56" fmla="*/ 47884163 w 37"/>
                <a:gd name="T57" fmla="*/ 168852029 h 67"/>
                <a:gd name="T58" fmla="*/ 47884163 w 37"/>
                <a:gd name="T59" fmla="*/ 153731027 h 67"/>
                <a:gd name="T60" fmla="*/ 63005235 w 37"/>
                <a:gd name="T61" fmla="*/ 108368022 h 67"/>
                <a:gd name="T62" fmla="*/ 63005235 w 37"/>
                <a:gd name="T63" fmla="*/ 93246996 h 67"/>
                <a:gd name="T64" fmla="*/ 47884163 w 37"/>
                <a:gd name="T65" fmla="*/ 108368022 h 67"/>
                <a:gd name="T66" fmla="*/ 63005235 w 37"/>
                <a:gd name="T67" fmla="*/ 93246996 h 67"/>
                <a:gd name="T68" fmla="*/ 47884163 w 37"/>
                <a:gd name="T69" fmla="*/ 93246996 h 67"/>
                <a:gd name="T70" fmla="*/ 47884163 w 37"/>
                <a:gd name="T71" fmla="*/ 108368022 h 67"/>
                <a:gd name="T72" fmla="*/ 32763103 w 37"/>
                <a:gd name="T73" fmla="*/ 108368022 h 67"/>
                <a:gd name="T74" fmla="*/ 32763103 w 37"/>
                <a:gd name="T75" fmla="*/ 93246996 h 67"/>
                <a:gd name="T76" fmla="*/ 15121066 w 37"/>
                <a:gd name="T77" fmla="*/ 93246996 h 67"/>
                <a:gd name="T78" fmla="*/ 0 w 37"/>
                <a:gd name="T79" fmla="*/ 93246996 h 67"/>
                <a:gd name="T80" fmla="*/ 0 w 37"/>
                <a:gd name="T81" fmla="*/ 75605033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67"/>
                <a:gd name="T125" fmla="*/ 37 w 37"/>
                <a:gd name="T126" fmla="*/ 67 h 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67">
                  <a:moveTo>
                    <a:pt x="0" y="30"/>
                  </a:moveTo>
                  <a:lnTo>
                    <a:pt x="19" y="24"/>
                  </a:lnTo>
                  <a:lnTo>
                    <a:pt x="19" y="18"/>
                  </a:lnTo>
                  <a:lnTo>
                    <a:pt x="13" y="12"/>
                  </a:lnTo>
                  <a:lnTo>
                    <a:pt x="6" y="18"/>
                  </a:lnTo>
                  <a:lnTo>
                    <a:pt x="13" y="6"/>
                  </a:lnTo>
                  <a:lnTo>
                    <a:pt x="13" y="12"/>
                  </a:lnTo>
                  <a:lnTo>
                    <a:pt x="19" y="6"/>
                  </a:lnTo>
                  <a:lnTo>
                    <a:pt x="25" y="0"/>
                  </a:lnTo>
                  <a:lnTo>
                    <a:pt x="19" y="18"/>
                  </a:lnTo>
                  <a:lnTo>
                    <a:pt x="25" y="18"/>
                  </a:lnTo>
                  <a:lnTo>
                    <a:pt x="25" y="12"/>
                  </a:lnTo>
                  <a:lnTo>
                    <a:pt x="31" y="18"/>
                  </a:lnTo>
                  <a:lnTo>
                    <a:pt x="25" y="18"/>
                  </a:lnTo>
                  <a:lnTo>
                    <a:pt x="31" y="18"/>
                  </a:lnTo>
                  <a:lnTo>
                    <a:pt x="37" y="18"/>
                  </a:lnTo>
                  <a:lnTo>
                    <a:pt x="31" y="24"/>
                  </a:lnTo>
                  <a:lnTo>
                    <a:pt x="31" y="30"/>
                  </a:lnTo>
                  <a:lnTo>
                    <a:pt x="31" y="37"/>
                  </a:lnTo>
                  <a:lnTo>
                    <a:pt x="25" y="37"/>
                  </a:lnTo>
                  <a:lnTo>
                    <a:pt x="31" y="37"/>
                  </a:lnTo>
                  <a:lnTo>
                    <a:pt x="25" y="43"/>
                  </a:lnTo>
                  <a:lnTo>
                    <a:pt x="31" y="43"/>
                  </a:lnTo>
                  <a:lnTo>
                    <a:pt x="25" y="43"/>
                  </a:lnTo>
                  <a:lnTo>
                    <a:pt x="31" y="55"/>
                  </a:lnTo>
                  <a:lnTo>
                    <a:pt x="25" y="55"/>
                  </a:lnTo>
                  <a:lnTo>
                    <a:pt x="25" y="61"/>
                  </a:lnTo>
                  <a:lnTo>
                    <a:pt x="25" y="67"/>
                  </a:lnTo>
                  <a:lnTo>
                    <a:pt x="19" y="67"/>
                  </a:lnTo>
                  <a:lnTo>
                    <a:pt x="19" y="61"/>
                  </a:lnTo>
                  <a:lnTo>
                    <a:pt x="25" y="43"/>
                  </a:lnTo>
                  <a:lnTo>
                    <a:pt x="25" y="37"/>
                  </a:lnTo>
                  <a:lnTo>
                    <a:pt x="19" y="43"/>
                  </a:lnTo>
                  <a:lnTo>
                    <a:pt x="25" y="37"/>
                  </a:lnTo>
                  <a:lnTo>
                    <a:pt x="19" y="37"/>
                  </a:lnTo>
                  <a:lnTo>
                    <a:pt x="19" y="43"/>
                  </a:lnTo>
                  <a:lnTo>
                    <a:pt x="13" y="43"/>
                  </a:lnTo>
                  <a:lnTo>
                    <a:pt x="13" y="37"/>
                  </a:lnTo>
                  <a:lnTo>
                    <a:pt x="6" y="37"/>
                  </a:lnTo>
                  <a:lnTo>
                    <a:pt x="0" y="37"/>
                  </a:lnTo>
                  <a:lnTo>
                    <a:pt x="0" y="3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3" name="Freeform 38"/>
            <p:cNvSpPr>
              <a:spLocks/>
            </p:cNvSpPr>
            <p:nvPr/>
          </p:nvSpPr>
          <p:spPr bwMode="auto">
            <a:xfrm>
              <a:off x="2476904" y="3808699"/>
              <a:ext cx="58204" cy="45359"/>
            </a:xfrm>
            <a:custGeom>
              <a:avLst/>
              <a:gdLst>
                <a:gd name="T0" fmla="*/ 0 w 36"/>
                <a:gd name="T1" fmla="*/ 60483145 h 31"/>
                <a:gd name="T2" fmla="*/ 15120937 w 36"/>
                <a:gd name="T3" fmla="*/ 60483145 h 31"/>
                <a:gd name="T4" fmla="*/ 30241875 w 36"/>
                <a:gd name="T5" fmla="*/ 60483145 h 31"/>
                <a:gd name="T6" fmla="*/ 45362806 w 36"/>
                <a:gd name="T7" fmla="*/ 45362353 h 31"/>
                <a:gd name="T8" fmla="*/ 30241875 w 36"/>
                <a:gd name="T9" fmla="*/ 60483145 h 31"/>
                <a:gd name="T10" fmla="*/ 30241875 w 36"/>
                <a:gd name="T11" fmla="*/ 45362353 h 31"/>
                <a:gd name="T12" fmla="*/ 30241875 w 36"/>
                <a:gd name="T13" fmla="*/ 30241573 h 31"/>
                <a:gd name="T14" fmla="*/ 45362806 w 36"/>
                <a:gd name="T15" fmla="*/ 30241573 h 31"/>
                <a:gd name="T16" fmla="*/ 30241875 w 36"/>
                <a:gd name="T17" fmla="*/ 30241573 h 31"/>
                <a:gd name="T18" fmla="*/ 15120937 w 36"/>
                <a:gd name="T19" fmla="*/ 15120786 h 31"/>
                <a:gd name="T20" fmla="*/ 0 w 36"/>
                <a:gd name="T21" fmla="*/ 15120786 h 31"/>
                <a:gd name="T22" fmla="*/ 15120937 w 36"/>
                <a:gd name="T23" fmla="*/ 15120786 h 31"/>
                <a:gd name="T24" fmla="*/ 15120937 w 36"/>
                <a:gd name="T25" fmla="*/ 0 h 31"/>
                <a:gd name="T26" fmla="*/ 30241875 w 36"/>
                <a:gd name="T27" fmla="*/ 0 h 31"/>
                <a:gd name="T28" fmla="*/ 45362806 w 36"/>
                <a:gd name="T29" fmla="*/ 0 h 31"/>
                <a:gd name="T30" fmla="*/ 60483749 w 36"/>
                <a:gd name="T31" fmla="*/ 15120786 h 31"/>
                <a:gd name="T32" fmla="*/ 75604680 w 36"/>
                <a:gd name="T33" fmla="*/ 30241573 h 31"/>
                <a:gd name="T34" fmla="*/ 90725611 w 36"/>
                <a:gd name="T35" fmla="*/ 45362353 h 31"/>
                <a:gd name="T36" fmla="*/ 90725611 w 36"/>
                <a:gd name="T37" fmla="*/ 60483145 h 31"/>
                <a:gd name="T38" fmla="*/ 75604680 w 36"/>
                <a:gd name="T39" fmla="*/ 60483145 h 31"/>
                <a:gd name="T40" fmla="*/ 60483749 w 36"/>
                <a:gd name="T41" fmla="*/ 60483145 h 31"/>
                <a:gd name="T42" fmla="*/ 45362806 w 36"/>
                <a:gd name="T43" fmla="*/ 60483145 h 31"/>
                <a:gd name="T44" fmla="*/ 45362806 w 36"/>
                <a:gd name="T45" fmla="*/ 78123262 h 31"/>
                <a:gd name="T46" fmla="*/ 30241875 w 36"/>
                <a:gd name="T47" fmla="*/ 78123262 h 31"/>
                <a:gd name="T48" fmla="*/ 15120937 w 36"/>
                <a:gd name="T49" fmla="*/ 78123262 h 31"/>
                <a:gd name="T50" fmla="*/ 0 w 36"/>
                <a:gd name="T51" fmla="*/ 60483145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
                <a:gd name="T79" fmla="*/ 0 h 31"/>
                <a:gd name="T80" fmla="*/ 36 w 36"/>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 h="31">
                  <a:moveTo>
                    <a:pt x="0" y="24"/>
                  </a:moveTo>
                  <a:lnTo>
                    <a:pt x="6" y="24"/>
                  </a:lnTo>
                  <a:lnTo>
                    <a:pt x="12" y="24"/>
                  </a:lnTo>
                  <a:lnTo>
                    <a:pt x="18" y="18"/>
                  </a:lnTo>
                  <a:lnTo>
                    <a:pt x="12" y="24"/>
                  </a:lnTo>
                  <a:lnTo>
                    <a:pt x="12" y="18"/>
                  </a:lnTo>
                  <a:lnTo>
                    <a:pt x="12" y="12"/>
                  </a:lnTo>
                  <a:lnTo>
                    <a:pt x="18" y="12"/>
                  </a:lnTo>
                  <a:lnTo>
                    <a:pt x="12" y="12"/>
                  </a:lnTo>
                  <a:lnTo>
                    <a:pt x="6" y="6"/>
                  </a:lnTo>
                  <a:lnTo>
                    <a:pt x="0" y="6"/>
                  </a:lnTo>
                  <a:lnTo>
                    <a:pt x="6" y="6"/>
                  </a:lnTo>
                  <a:lnTo>
                    <a:pt x="6" y="0"/>
                  </a:lnTo>
                  <a:lnTo>
                    <a:pt x="12" y="0"/>
                  </a:lnTo>
                  <a:lnTo>
                    <a:pt x="18" y="0"/>
                  </a:lnTo>
                  <a:lnTo>
                    <a:pt x="24" y="6"/>
                  </a:lnTo>
                  <a:lnTo>
                    <a:pt x="30" y="12"/>
                  </a:lnTo>
                  <a:lnTo>
                    <a:pt x="36" y="18"/>
                  </a:lnTo>
                  <a:lnTo>
                    <a:pt x="36" y="24"/>
                  </a:lnTo>
                  <a:lnTo>
                    <a:pt x="30" y="24"/>
                  </a:lnTo>
                  <a:lnTo>
                    <a:pt x="24" y="24"/>
                  </a:lnTo>
                  <a:lnTo>
                    <a:pt x="18" y="24"/>
                  </a:lnTo>
                  <a:lnTo>
                    <a:pt x="18" y="31"/>
                  </a:lnTo>
                  <a:lnTo>
                    <a:pt x="12" y="31"/>
                  </a:lnTo>
                  <a:lnTo>
                    <a:pt x="6" y="31"/>
                  </a:lnTo>
                  <a:lnTo>
                    <a:pt x="0" y="2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4" name="Freeform 39"/>
            <p:cNvSpPr>
              <a:spLocks/>
            </p:cNvSpPr>
            <p:nvPr/>
          </p:nvSpPr>
          <p:spPr bwMode="auto">
            <a:xfrm>
              <a:off x="2614331" y="4212542"/>
              <a:ext cx="50120" cy="35117"/>
            </a:xfrm>
            <a:custGeom>
              <a:avLst/>
              <a:gdLst>
                <a:gd name="T0" fmla="*/ 0 w 31"/>
                <a:gd name="T1" fmla="*/ 30241878 h 24"/>
                <a:gd name="T2" fmla="*/ 17640123 w 31"/>
                <a:gd name="T3" fmla="*/ 30241878 h 24"/>
                <a:gd name="T4" fmla="*/ 0 w 31"/>
                <a:gd name="T5" fmla="*/ 30241878 h 24"/>
                <a:gd name="T6" fmla="*/ 0 w 31"/>
                <a:gd name="T7" fmla="*/ 15120939 h 24"/>
                <a:gd name="T8" fmla="*/ 17640123 w 31"/>
                <a:gd name="T9" fmla="*/ 15120939 h 24"/>
                <a:gd name="T10" fmla="*/ 0 w 31"/>
                <a:gd name="T11" fmla="*/ 15120939 h 24"/>
                <a:gd name="T12" fmla="*/ 17640123 w 31"/>
                <a:gd name="T13" fmla="*/ 0 h 24"/>
                <a:gd name="T14" fmla="*/ 32760909 w 31"/>
                <a:gd name="T15" fmla="*/ 0 h 24"/>
                <a:gd name="T16" fmla="*/ 47881689 w 31"/>
                <a:gd name="T17" fmla="*/ 0 h 24"/>
                <a:gd name="T18" fmla="*/ 47881689 w 31"/>
                <a:gd name="T19" fmla="*/ 15120939 h 24"/>
                <a:gd name="T20" fmla="*/ 47881689 w 31"/>
                <a:gd name="T21" fmla="*/ 30241878 h 24"/>
                <a:gd name="T22" fmla="*/ 63002482 w 31"/>
                <a:gd name="T23" fmla="*/ 30241878 h 24"/>
                <a:gd name="T24" fmla="*/ 63002482 w 31"/>
                <a:gd name="T25" fmla="*/ 15120939 h 24"/>
                <a:gd name="T26" fmla="*/ 63002482 w 31"/>
                <a:gd name="T27" fmla="*/ 30241878 h 24"/>
                <a:gd name="T28" fmla="*/ 78123262 w 31"/>
                <a:gd name="T29" fmla="*/ 30241878 h 24"/>
                <a:gd name="T30" fmla="*/ 63002482 w 31"/>
                <a:gd name="T31" fmla="*/ 30241878 h 24"/>
                <a:gd name="T32" fmla="*/ 63002482 w 31"/>
                <a:gd name="T33" fmla="*/ 45362810 h 24"/>
                <a:gd name="T34" fmla="*/ 47881689 w 31"/>
                <a:gd name="T35" fmla="*/ 45362810 h 24"/>
                <a:gd name="T36" fmla="*/ 47881689 w 31"/>
                <a:gd name="T37" fmla="*/ 60483756 h 24"/>
                <a:gd name="T38" fmla="*/ 32760909 w 31"/>
                <a:gd name="T39" fmla="*/ 60483756 h 24"/>
                <a:gd name="T40" fmla="*/ 32760909 w 31"/>
                <a:gd name="T41" fmla="*/ 45362810 h 24"/>
                <a:gd name="T42" fmla="*/ 32760909 w 31"/>
                <a:gd name="T43" fmla="*/ 60483756 h 24"/>
                <a:gd name="T44" fmla="*/ 17640123 w 31"/>
                <a:gd name="T45" fmla="*/ 45362810 h 24"/>
                <a:gd name="T46" fmla="*/ 17640123 w 31"/>
                <a:gd name="T47" fmla="*/ 60483756 h 24"/>
                <a:gd name="T48" fmla="*/ 17640123 w 31"/>
                <a:gd name="T49" fmla="*/ 45362810 h 24"/>
                <a:gd name="T50" fmla="*/ 17640123 w 31"/>
                <a:gd name="T51" fmla="*/ 30241878 h 24"/>
                <a:gd name="T52" fmla="*/ 0 w 31"/>
                <a:gd name="T53" fmla="*/ 30241878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
                <a:gd name="T82" fmla="*/ 0 h 24"/>
                <a:gd name="T83" fmla="*/ 31 w 31"/>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 h="24">
                  <a:moveTo>
                    <a:pt x="0" y="12"/>
                  </a:moveTo>
                  <a:lnTo>
                    <a:pt x="7" y="12"/>
                  </a:lnTo>
                  <a:lnTo>
                    <a:pt x="0" y="12"/>
                  </a:lnTo>
                  <a:lnTo>
                    <a:pt x="0" y="6"/>
                  </a:lnTo>
                  <a:lnTo>
                    <a:pt x="7" y="6"/>
                  </a:lnTo>
                  <a:lnTo>
                    <a:pt x="0" y="6"/>
                  </a:lnTo>
                  <a:lnTo>
                    <a:pt x="7" y="0"/>
                  </a:lnTo>
                  <a:lnTo>
                    <a:pt x="13" y="0"/>
                  </a:lnTo>
                  <a:lnTo>
                    <a:pt x="19" y="0"/>
                  </a:lnTo>
                  <a:lnTo>
                    <a:pt x="19" y="6"/>
                  </a:lnTo>
                  <a:lnTo>
                    <a:pt x="19" y="12"/>
                  </a:lnTo>
                  <a:lnTo>
                    <a:pt x="25" y="12"/>
                  </a:lnTo>
                  <a:lnTo>
                    <a:pt x="25" y="6"/>
                  </a:lnTo>
                  <a:lnTo>
                    <a:pt x="25" y="12"/>
                  </a:lnTo>
                  <a:lnTo>
                    <a:pt x="31" y="12"/>
                  </a:lnTo>
                  <a:lnTo>
                    <a:pt x="25" y="12"/>
                  </a:lnTo>
                  <a:lnTo>
                    <a:pt x="25" y="18"/>
                  </a:lnTo>
                  <a:lnTo>
                    <a:pt x="19" y="18"/>
                  </a:lnTo>
                  <a:lnTo>
                    <a:pt x="19" y="24"/>
                  </a:lnTo>
                  <a:lnTo>
                    <a:pt x="13" y="24"/>
                  </a:lnTo>
                  <a:lnTo>
                    <a:pt x="13" y="18"/>
                  </a:lnTo>
                  <a:lnTo>
                    <a:pt x="13" y="24"/>
                  </a:lnTo>
                  <a:lnTo>
                    <a:pt x="7" y="18"/>
                  </a:lnTo>
                  <a:lnTo>
                    <a:pt x="7" y="24"/>
                  </a:lnTo>
                  <a:lnTo>
                    <a:pt x="7" y="18"/>
                  </a:lnTo>
                  <a:lnTo>
                    <a:pt x="7"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5" name="Freeform 40"/>
            <p:cNvSpPr>
              <a:spLocks/>
            </p:cNvSpPr>
            <p:nvPr/>
          </p:nvSpPr>
          <p:spPr bwMode="auto">
            <a:xfrm>
              <a:off x="2465588" y="3897954"/>
              <a:ext cx="40419" cy="45360"/>
            </a:xfrm>
            <a:custGeom>
              <a:avLst/>
              <a:gdLst>
                <a:gd name="T0" fmla="*/ 0 w 25"/>
                <a:gd name="T1" fmla="*/ 47884250 h 31"/>
                <a:gd name="T2" fmla="*/ 17640079 w 25"/>
                <a:gd name="T3" fmla="*/ 47884250 h 31"/>
                <a:gd name="T4" fmla="*/ 32760827 w 25"/>
                <a:gd name="T5" fmla="*/ 30242187 h 31"/>
                <a:gd name="T6" fmla="*/ 32760827 w 25"/>
                <a:gd name="T7" fmla="*/ 47884250 h 31"/>
                <a:gd name="T8" fmla="*/ 32760827 w 25"/>
                <a:gd name="T9" fmla="*/ 63005349 h 31"/>
                <a:gd name="T10" fmla="*/ 17640079 w 25"/>
                <a:gd name="T11" fmla="*/ 63005349 h 31"/>
                <a:gd name="T12" fmla="*/ 32760827 w 25"/>
                <a:gd name="T13" fmla="*/ 78126437 h 31"/>
                <a:gd name="T14" fmla="*/ 47881570 w 25"/>
                <a:gd name="T15" fmla="*/ 63005349 h 31"/>
                <a:gd name="T16" fmla="*/ 63002324 w 25"/>
                <a:gd name="T17" fmla="*/ 47884250 h 31"/>
                <a:gd name="T18" fmla="*/ 63002324 w 25"/>
                <a:gd name="T19" fmla="*/ 30242187 h 31"/>
                <a:gd name="T20" fmla="*/ 47881570 w 25"/>
                <a:gd name="T21" fmla="*/ 0 h 31"/>
                <a:gd name="T22" fmla="*/ 32760827 w 25"/>
                <a:gd name="T23" fmla="*/ 15121094 h 31"/>
                <a:gd name="T24" fmla="*/ 17640079 w 25"/>
                <a:gd name="T25" fmla="*/ 15121094 h 31"/>
                <a:gd name="T26" fmla="*/ 32760827 w 25"/>
                <a:gd name="T27" fmla="*/ 0 h 31"/>
                <a:gd name="T28" fmla="*/ 17640079 w 25"/>
                <a:gd name="T29" fmla="*/ 15121094 h 31"/>
                <a:gd name="T30" fmla="*/ 0 w 25"/>
                <a:gd name="T31" fmla="*/ 30242187 h 31"/>
                <a:gd name="T32" fmla="*/ 0 w 25"/>
                <a:gd name="T33" fmla="*/ 47884250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31"/>
                <a:gd name="T53" fmla="*/ 25 w 25"/>
                <a:gd name="T54" fmla="*/ 31 h 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31">
                  <a:moveTo>
                    <a:pt x="0" y="19"/>
                  </a:moveTo>
                  <a:lnTo>
                    <a:pt x="7" y="19"/>
                  </a:lnTo>
                  <a:lnTo>
                    <a:pt x="13" y="12"/>
                  </a:lnTo>
                  <a:lnTo>
                    <a:pt x="13" y="19"/>
                  </a:lnTo>
                  <a:lnTo>
                    <a:pt x="13" y="25"/>
                  </a:lnTo>
                  <a:lnTo>
                    <a:pt x="7" y="25"/>
                  </a:lnTo>
                  <a:lnTo>
                    <a:pt x="13" y="31"/>
                  </a:lnTo>
                  <a:lnTo>
                    <a:pt x="19" y="25"/>
                  </a:lnTo>
                  <a:lnTo>
                    <a:pt x="25" y="19"/>
                  </a:lnTo>
                  <a:lnTo>
                    <a:pt x="25" y="12"/>
                  </a:lnTo>
                  <a:lnTo>
                    <a:pt x="19" y="0"/>
                  </a:lnTo>
                  <a:lnTo>
                    <a:pt x="13" y="6"/>
                  </a:lnTo>
                  <a:lnTo>
                    <a:pt x="7" y="6"/>
                  </a:lnTo>
                  <a:lnTo>
                    <a:pt x="13" y="0"/>
                  </a:lnTo>
                  <a:lnTo>
                    <a:pt x="7" y="6"/>
                  </a:lnTo>
                  <a:lnTo>
                    <a:pt x="0" y="12"/>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6" name="Freeform 41"/>
            <p:cNvSpPr>
              <a:spLocks/>
            </p:cNvSpPr>
            <p:nvPr/>
          </p:nvSpPr>
          <p:spPr bwMode="auto">
            <a:xfrm>
              <a:off x="2604630" y="4086707"/>
              <a:ext cx="30718" cy="43896"/>
            </a:xfrm>
            <a:custGeom>
              <a:avLst/>
              <a:gdLst>
                <a:gd name="T0" fmla="*/ 0 w 19"/>
                <a:gd name="T1" fmla="*/ 75604693 h 30"/>
                <a:gd name="T2" fmla="*/ 15120687 w 19"/>
                <a:gd name="T3" fmla="*/ 75604693 h 30"/>
                <a:gd name="T4" fmla="*/ 15120687 w 19"/>
                <a:gd name="T5" fmla="*/ 60483759 h 30"/>
                <a:gd name="T6" fmla="*/ 32760694 w 19"/>
                <a:gd name="T7" fmla="*/ 60483759 h 30"/>
                <a:gd name="T8" fmla="*/ 47881374 w 19"/>
                <a:gd name="T9" fmla="*/ 45362813 h 30"/>
                <a:gd name="T10" fmla="*/ 47881374 w 19"/>
                <a:gd name="T11" fmla="*/ 30241880 h 30"/>
                <a:gd name="T12" fmla="*/ 47881374 w 19"/>
                <a:gd name="T13" fmla="*/ 15120940 h 30"/>
                <a:gd name="T14" fmla="*/ 47881374 w 19"/>
                <a:gd name="T15" fmla="*/ 0 h 30"/>
                <a:gd name="T16" fmla="*/ 32760694 w 19"/>
                <a:gd name="T17" fmla="*/ 0 h 30"/>
                <a:gd name="T18" fmla="*/ 32760694 w 19"/>
                <a:gd name="T19" fmla="*/ 15120940 h 30"/>
                <a:gd name="T20" fmla="*/ 15120687 w 19"/>
                <a:gd name="T21" fmla="*/ 30241880 h 30"/>
                <a:gd name="T22" fmla="*/ 0 w 19"/>
                <a:gd name="T23" fmla="*/ 45362813 h 30"/>
                <a:gd name="T24" fmla="*/ 0 w 19"/>
                <a:gd name="T25" fmla="*/ 60483759 h 30"/>
                <a:gd name="T26" fmla="*/ 0 w 19"/>
                <a:gd name="T27" fmla="*/ 75604693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30"/>
                <a:gd name="T44" fmla="*/ 19 w 19"/>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30">
                  <a:moveTo>
                    <a:pt x="0" y="30"/>
                  </a:moveTo>
                  <a:lnTo>
                    <a:pt x="6" y="30"/>
                  </a:lnTo>
                  <a:lnTo>
                    <a:pt x="6" y="24"/>
                  </a:lnTo>
                  <a:lnTo>
                    <a:pt x="13" y="24"/>
                  </a:lnTo>
                  <a:lnTo>
                    <a:pt x="19" y="18"/>
                  </a:lnTo>
                  <a:lnTo>
                    <a:pt x="19" y="12"/>
                  </a:lnTo>
                  <a:lnTo>
                    <a:pt x="19" y="6"/>
                  </a:lnTo>
                  <a:lnTo>
                    <a:pt x="19" y="0"/>
                  </a:lnTo>
                  <a:lnTo>
                    <a:pt x="13" y="0"/>
                  </a:lnTo>
                  <a:lnTo>
                    <a:pt x="13" y="6"/>
                  </a:lnTo>
                  <a:lnTo>
                    <a:pt x="6" y="12"/>
                  </a:lnTo>
                  <a:lnTo>
                    <a:pt x="0" y="18"/>
                  </a:lnTo>
                  <a:lnTo>
                    <a:pt x="0" y="24"/>
                  </a:lnTo>
                  <a:lnTo>
                    <a:pt x="0" y="3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7" name="Freeform 42"/>
            <p:cNvSpPr>
              <a:spLocks/>
            </p:cNvSpPr>
            <p:nvPr/>
          </p:nvSpPr>
          <p:spPr bwMode="auto">
            <a:xfrm>
              <a:off x="2714572" y="3485333"/>
              <a:ext cx="48503" cy="36580"/>
            </a:xfrm>
            <a:custGeom>
              <a:avLst/>
              <a:gdLst>
                <a:gd name="T0" fmla="*/ 0 w 30"/>
                <a:gd name="T1" fmla="*/ 47884364 h 25"/>
                <a:gd name="T2" fmla="*/ 0 w 30"/>
                <a:gd name="T3" fmla="*/ 17642111 h 25"/>
                <a:gd name="T4" fmla="*/ 15120940 w 30"/>
                <a:gd name="T5" fmla="*/ 0 h 25"/>
                <a:gd name="T6" fmla="*/ 45362813 w 30"/>
                <a:gd name="T7" fmla="*/ 17642111 h 25"/>
                <a:gd name="T8" fmla="*/ 45362813 w 30"/>
                <a:gd name="T9" fmla="*/ 32763240 h 25"/>
                <a:gd name="T10" fmla="*/ 30241880 w 30"/>
                <a:gd name="T11" fmla="*/ 32763240 h 25"/>
                <a:gd name="T12" fmla="*/ 45362813 w 30"/>
                <a:gd name="T13" fmla="*/ 32763240 h 25"/>
                <a:gd name="T14" fmla="*/ 60483759 w 30"/>
                <a:gd name="T15" fmla="*/ 47884364 h 25"/>
                <a:gd name="T16" fmla="*/ 75604693 w 30"/>
                <a:gd name="T17" fmla="*/ 32763240 h 25"/>
                <a:gd name="T18" fmla="*/ 60483759 w 30"/>
                <a:gd name="T19" fmla="*/ 47884364 h 25"/>
                <a:gd name="T20" fmla="*/ 75604693 w 30"/>
                <a:gd name="T21" fmla="*/ 47884364 h 25"/>
                <a:gd name="T22" fmla="*/ 60483759 w 30"/>
                <a:gd name="T23" fmla="*/ 63005499 h 25"/>
                <a:gd name="T24" fmla="*/ 45362813 w 30"/>
                <a:gd name="T25" fmla="*/ 47884364 h 25"/>
                <a:gd name="T26" fmla="*/ 15120940 w 30"/>
                <a:gd name="T27" fmla="*/ 47884364 h 25"/>
                <a:gd name="T28" fmla="*/ 0 w 30"/>
                <a:gd name="T29" fmla="*/ 47884364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5"/>
                <a:gd name="T47" fmla="*/ 30 w 30"/>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5">
                  <a:moveTo>
                    <a:pt x="0" y="19"/>
                  </a:moveTo>
                  <a:lnTo>
                    <a:pt x="0" y="7"/>
                  </a:lnTo>
                  <a:lnTo>
                    <a:pt x="6" y="0"/>
                  </a:lnTo>
                  <a:lnTo>
                    <a:pt x="18" y="7"/>
                  </a:lnTo>
                  <a:lnTo>
                    <a:pt x="18" y="13"/>
                  </a:lnTo>
                  <a:lnTo>
                    <a:pt x="12" y="13"/>
                  </a:lnTo>
                  <a:lnTo>
                    <a:pt x="18" y="13"/>
                  </a:lnTo>
                  <a:lnTo>
                    <a:pt x="24" y="19"/>
                  </a:lnTo>
                  <a:lnTo>
                    <a:pt x="30" y="13"/>
                  </a:lnTo>
                  <a:lnTo>
                    <a:pt x="24" y="19"/>
                  </a:lnTo>
                  <a:lnTo>
                    <a:pt x="30" y="19"/>
                  </a:lnTo>
                  <a:lnTo>
                    <a:pt x="24" y="25"/>
                  </a:lnTo>
                  <a:lnTo>
                    <a:pt x="18" y="19"/>
                  </a:lnTo>
                  <a:lnTo>
                    <a:pt x="6" y="19"/>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8" name="Freeform 43"/>
            <p:cNvSpPr>
              <a:spLocks/>
            </p:cNvSpPr>
            <p:nvPr/>
          </p:nvSpPr>
          <p:spPr bwMode="auto">
            <a:xfrm>
              <a:off x="2556127" y="3925755"/>
              <a:ext cx="19401" cy="35117"/>
            </a:xfrm>
            <a:custGeom>
              <a:avLst/>
              <a:gdLst>
                <a:gd name="T0" fmla="*/ 0 w 12"/>
                <a:gd name="T1" fmla="*/ 15120939 h 24"/>
                <a:gd name="T2" fmla="*/ 0 w 12"/>
                <a:gd name="T3" fmla="*/ 30241878 h 24"/>
                <a:gd name="T4" fmla="*/ 0 w 12"/>
                <a:gd name="T5" fmla="*/ 45362810 h 24"/>
                <a:gd name="T6" fmla="*/ 15120939 w 12"/>
                <a:gd name="T7" fmla="*/ 60483756 h 24"/>
                <a:gd name="T8" fmla="*/ 30241878 w 12"/>
                <a:gd name="T9" fmla="*/ 60483756 h 24"/>
                <a:gd name="T10" fmla="*/ 30241878 w 12"/>
                <a:gd name="T11" fmla="*/ 45362810 h 24"/>
                <a:gd name="T12" fmla="*/ 30241878 w 12"/>
                <a:gd name="T13" fmla="*/ 30241878 h 24"/>
                <a:gd name="T14" fmla="*/ 30241878 w 12"/>
                <a:gd name="T15" fmla="*/ 15120939 h 24"/>
                <a:gd name="T16" fmla="*/ 30241878 w 12"/>
                <a:gd name="T17" fmla="*/ 0 h 24"/>
                <a:gd name="T18" fmla="*/ 15120939 w 12"/>
                <a:gd name="T19" fmla="*/ 0 h 24"/>
                <a:gd name="T20" fmla="*/ 0 w 12"/>
                <a:gd name="T21" fmla="*/ 0 h 24"/>
                <a:gd name="T22" fmla="*/ 0 w 12"/>
                <a:gd name="T23" fmla="*/ 15120939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24"/>
                <a:gd name="T38" fmla="*/ 12 w 12"/>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24">
                  <a:moveTo>
                    <a:pt x="0" y="6"/>
                  </a:moveTo>
                  <a:lnTo>
                    <a:pt x="0" y="12"/>
                  </a:lnTo>
                  <a:lnTo>
                    <a:pt x="0" y="18"/>
                  </a:lnTo>
                  <a:lnTo>
                    <a:pt x="6" y="24"/>
                  </a:lnTo>
                  <a:lnTo>
                    <a:pt x="12" y="24"/>
                  </a:lnTo>
                  <a:lnTo>
                    <a:pt x="12" y="18"/>
                  </a:lnTo>
                  <a:lnTo>
                    <a:pt x="12" y="12"/>
                  </a:lnTo>
                  <a:lnTo>
                    <a:pt x="12" y="6"/>
                  </a:lnTo>
                  <a:lnTo>
                    <a:pt x="12" y="0"/>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29" name="Freeform 44"/>
            <p:cNvSpPr>
              <a:spLocks/>
            </p:cNvSpPr>
            <p:nvPr/>
          </p:nvSpPr>
          <p:spPr bwMode="auto">
            <a:xfrm>
              <a:off x="2851997" y="4552003"/>
              <a:ext cx="40420" cy="27800"/>
            </a:xfrm>
            <a:custGeom>
              <a:avLst/>
              <a:gdLst>
                <a:gd name="T0" fmla="*/ 0 w 25"/>
                <a:gd name="T1" fmla="*/ 15120687 h 19"/>
                <a:gd name="T2" fmla="*/ 17642111 w 25"/>
                <a:gd name="T3" fmla="*/ 15120687 h 19"/>
                <a:gd name="T4" fmla="*/ 17642111 w 25"/>
                <a:gd name="T5" fmla="*/ 32760694 h 19"/>
                <a:gd name="T6" fmla="*/ 32763240 w 25"/>
                <a:gd name="T7" fmla="*/ 32760694 h 19"/>
                <a:gd name="T8" fmla="*/ 32763240 w 25"/>
                <a:gd name="T9" fmla="*/ 47881374 h 19"/>
                <a:gd name="T10" fmla="*/ 47884364 w 25"/>
                <a:gd name="T11" fmla="*/ 47881374 h 19"/>
                <a:gd name="T12" fmla="*/ 47884364 w 25"/>
                <a:gd name="T13" fmla="*/ 32760694 h 19"/>
                <a:gd name="T14" fmla="*/ 63005499 w 25"/>
                <a:gd name="T15" fmla="*/ 32760694 h 19"/>
                <a:gd name="T16" fmla="*/ 63005499 w 25"/>
                <a:gd name="T17" fmla="*/ 15120687 h 19"/>
                <a:gd name="T18" fmla="*/ 63005499 w 25"/>
                <a:gd name="T19" fmla="*/ 0 h 19"/>
                <a:gd name="T20" fmla="*/ 47884364 w 25"/>
                <a:gd name="T21" fmla="*/ 0 h 19"/>
                <a:gd name="T22" fmla="*/ 32763240 w 25"/>
                <a:gd name="T23" fmla="*/ 0 h 19"/>
                <a:gd name="T24" fmla="*/ 32763240 w 25"/>
                <a:gd name="T25" fmla="*/ 15120687 h 19"/>
                <a:gd name="T26" fmla="*/ 32763240 w 25"/>
                <a:gd name="T27" fmla="*/ 0 h 19"/>
                <a:gd name="T28" fmla="*/ 17642111 w 25"/>
                <a:gd name="T29" fmla="*/ 15120687 h 19"/>
                <a:gd name="T30" fmla="*/ 0 w 25"/>
                <a:gd name="T31" fmla="*/ 15120687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19"/>
                <a:gd name="T50" fmla="*/ 25 w 25"/>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19">
                  <a:moveTo>
                    <a:pt x="0" y="6"/>
                  </a:moveTo>
                  <a:lnTo>
                    <a:pt x="7" y="6"/>
                  </a:lnTo>
                  <a:lnTo>
                    <a:pt x="7" y="13"/>
                  </a:lnTo>
                  <a:lnTo>
                    <a:pt x="13" y="13"/>
                  </a:lnTo>
                  <a:lnTo>
                    <a:pt x="13" y="19"/>
                  </a:lnTo>
                  <a:lnTo>
                    <a:pt x="19" y="19"/>
                  </a:lnTo>
                  <a:lnTo>
                    <a:pt x="19" y="13"/>
                  </a:lnTo>
                  <a:lnTo>
                    <a:pt x="25" y="13"/>
                  </a:lnTo>
                  <a:lnTo>
                    <a:pt x="25" y="6"/>
                  </a:lnTo>
                  <a:lnTo>
                    <a:pt x="25" y="0"/>
                  </a:lnTo>
                  <a:lnTo>
                    <a:pt x="19" y="0"/>
                  </a:lnTo>
                  <a:lnTo>
                    <a:pt x="13" y="0"/>
                  </a:lnTo>
                  <a:lnTo>
                    <a:pt x="13" y="6"/>
                  </a:lnTo>
                  <a:lnTo>
                    <a:pt x="13" y="0"/>
                  </a:lnTo>
                  <a:lnTo>
                    <a:pt x="7"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0" name="Freeform 45"/>
            <p:cNvSpPr>
              <a:spLocks/>
            </p:cNvSpPr>
            <p:nvPr/>
          </p:nvSpPr>
          <p:spPr bwMode="auto">
            <a:xfrm>
              <a:off x="2386364" y="3674086"/>
              <a:ext cx="40420" cy="26338"/>
            </a:xfrm>
            <a:custGeom>
              <a:avLst/>
              <a:gdLst>
                <a:gd name="T0" fmla="*/ 0 w 25"/>
                <a:gd name="T1" fmla="*/ 15120937 h 18"/>
                <a:gd name="T2" fmla="*/ 0 w 25"/>
                <a:gd name="T3" fmla="*/ 0 h 18"/>
                <a:gd name="T4" fmla="*/ 17642111 w 25"/>
                <a:gd name="T5" fmla="*/ 0 h 18"/>
                <a:gd name="T6" fmla="*/ 47884364 w 25"/>
                <a:gd name="T7" fmla="*/ 0 h 18"/>
                <a:gd name="T8" fmla="*/ 63005499 w 25"/>
                <a:gd name="T9" fmla="*/ 0 h 18"/>
                <a:gd name="T10" fmla="*/ 47884364 w 25"/>
                <a:gd name="T11" fmla="*/ 15120937 h 18"/>
                <a:gd name="T12" fmla="*/ 32763240 w 25"/>
                <a:gd name="T13" fmla="*/ 30241875 h 18"/>
                <a:gd name="T14" fmla="*/ 47884364 w 25"/>
                <a:gd name="T15" fmla="*/ 30241875 h 18"/>
                <a:gd name="T16" fmla="*/ 47884364 w 25"/>
                <a:gd name="T17" fmla="*/ 45362806 h 18"/>
                <a:gd name="T18" fmla="*/ 17642111 w 25"/>
                <a:gd name="T19" fmla="*/ 45362806 h 18"/>
                <a:gd name="T20" fmla="*/ 0 w 25"/>
                <a:gd name="T21" fmla="*/ 1512093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18"/>
                <a:gd name="T35" fmla="*/ 25 w 25"/>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18">
                  <a:moveTo>
                    <a:pt x="0" y="6"/>
                  </a:moveTo>
                  <a:lnTo>
                    <a:pt x="0" y="0"/>
                  </a:lnTo>
                  <a:lnTo>
                    <a:pt x="7" y="0"/>
                  </a:lnTo>
                  <a:lnTo>
                    <a:pt x="19" y="0"/>
                  </a:lnTo>
                  <a:lnTo>
                    <a:pt x="25" y="0"/>
                  </a:lnTo>
                  <a:lnTo>
                    <a:pt x="19" y="6"/>
                  </a:lnTo>
                  <a:lnTo>
                    <a:pt x="13" y="12"/>
                  </a:lnTo>
                  <a:lnTo>
                    <a:pt x="19" y="12"/>
                  </a:lnTo>
                  <a:lnTo>
                    <a:pt x="19" y="18"/>
                  </a:lnTo>
                  <a:lnTo>
                    <a:pt x="7" y="18"/>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1" name="Freeform 46"/>
            <p:cNvSpPr>
              <a:spLocks/>
            </p:cNvSpPr>
            <p:nvPr/>
          </p:nvSpPr>
          <p:spPr bwMode="auto">
            <a:xfrm>
              <a:off x="2496305" y="3871617"/>
              <a:ext cx="38803" cy="43896"/>
            </a:xfrm>
            <a:custGeom>
              <a:avLst/>
              <a:gdLst>
                <a:gd name="T0" fmla="*/ 0 w 24"/>
                <a:gd name="T1" fmla="*/ 45362813 h 30"/>
                <a:gd name="T2" fmla="*/ 15120939 w 24"/>
                <a:gd name="T3" fmla="*/ 75604693 h 30"/>
                <a:gd name="T4" fmla="*/ 15120939 w 24"/>
                <a:gd name="T5" fmla="*/ 60483759 h 30"/>
                <a:gd name="T6" fmla="*/ 30241878 w 24"/>
                <a:gd name="T7" fmla="*/ 45362813 h 30"/>
                <a:gd name="T8" fmla="*/ 30241878 w 24"/>
                <a:gd name="T9" fmla="*/ 30241880 h 30"/>
                <a:gd name="T10" fmla="*/ 45362810 w 24"/>
                <a:gd name="T11" fmla="*/ 30241880 h 30"/>
                <a:gd name="T12" fmla="*/ 60483756 w 24"/>
                <a:gd name="T13" fmla="*/ 15120940 h 30"/>
                <a:gd name="T14" fmla="*/ 60483756 w 24"/>
                <a:gd name="T15" fmla="*/ 0 h 30"/>
                <a:gd name="T16" fmla="*/ 45362810 w 24"/>
                <a:gd name="T17" fmla="*/ 0 h 30"/>
                <a:gd name="T18" fmla="*/ 30241878 w 24"/>
                <a:gd name="T19" fmla="*/ 15120940 h 30"/>
                <a:gd name="T20" fmla="*/ 30241878 w 24"/>
                <a:gd name="T21" fmla="*/ 30241880 h 30"/>
                <a:gd name="T22" fmla="*/ 15120939 w 24"/>
                <a:gd name="T23" fmla="*/ 30241880 h 30"/>
                <a:gd name="T24" fmla="*/ 30241878 w 24"/>
                <a:gd name="T25" fmla="*/ 30241880 h 30"/>
                <a:gd name="T26" fmla="*/ 15120939 w 24"/>
                <a:gd name="T27" fmla="*/ 30241880 h 30"/>
                <a:gd name="T28" fmla="*/ 15120939 w 24"/>
                <a:gd name="T29" fmla="*/ 45362813 h 30"/>
                <a:gd name="T30" fmla="*/ 0 w 24"/>
                <a:gd name="T31" fmla="*/ 45362813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30"/>
                <a:gd name="T50" fmla="*/ 24 w 24"/>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30">
                  <a:moveTo>
                    <a:pt x="0" y="18"/>
                  </a:moveTo>
                  <a:lnTo>
                    <a:pt x="6" y="30"/>
                  </a:lnTo>
                  <a:lnTo>
                    <a:pt x="6" y="24"/>
                  </a:lnTo>
                  <a:lnTo>
                    <a:pt x="12" y="18"/>
                  </a:lnTo>
                  <a:lnTo>
                    <a:pt x="12" y="12"/>
                  </a:lnTo>
                  <a:lnTo>
                    <a:pt x="18" y="12"/>
                  </a:lnTo>
                  <a:lnTo>
                    <a:pt x="24" y="6"/>
                  </a:lnTo>
                  <a:lnTo>
                    <a:pt x="24" y="0"/>
                  </a:lnTo>
                  <a:lnTo>
                    <a:pt x="18" y="0"/>
                  </a:lnTo>
                  <a:lnTo>
                    <a:pt x="12" y="6"/>
                  </a:lnTo>
                  <a:lnTo>
                    <a:pt x="12" y="12"/>
                  </a:lnTo>
                  <a:lnTo>
                    <a:pt x="6" y="12"/>
                  </a:lnTo>
                  <a:lnTo>
                    <a:pt x="12" y="12"/>
                  </a:lnTo>
                  <a:lnTo>
                    <a:pt x="6" y="12"/>
                  </a:lnTo>
                  <a:lnTo>
                    <a:pt x="6" y="18"/>
                  </a:lnTo>
                  <a:lnTo>
                    <a:pt x="0"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2" name="Freeform 47"/>
            <p:cNvSpPr>
              <a:spLocks/>
            </p:cNvSpPr>
            <p:nvPr/>
          </p:nvSpPr>
          <p:spPr bwMode="auto">
            <a:xfrm>
              <a:off x="2397683" y="3710665"/>
              <a:ext cx="9701" cy="35117"/>
            </a:xfrm>
            <a:custGeom>
              <a:avLst/>
              <a:gdLst>
                <a:gd name="T0" fmla="*/ 0 w 6"/>
                <a:gd name="T1" fmla="*/ 30241878 h 24"/>
                <a:gd name="T2" fmla="*/ 0 w 6"/>
                <a:gd name="T3" fmla="*/ 60483756 h 24"/>
                <a:gd name="T4" fmla="*/ 15120939 w 6"/>
                <a:gd name="T5" fmla="*/ 60483756 h 24"/>
                <a:gd name="T6" fmla="*/ 15120939 w 6"/>
                <a:gd name="T7" fmla="*/ 45362810 h 24"/>
                <a:gd name="T8" fmla="*/ 0 w 6"/>
                <a:gd name="T9" fmla="*/ 45362810 h 24"/>
                <a:gd name="T10" fmla="*/ 15120939 w 6"/>
                <a:gd name="T11" fmla="*/ 45362810 h 24"/>
                <a:gd name="T12" fmla="*/ 15120939 w 6"/>
                <a:gd name="T13" fmla="*/ 30241878 h 24"/>
                <a:gd name="T14" fmla="*/ 0 w 6"/>
                <a:gd name="T15" fmla="*/ 0 h 24"/>
                <a:gd name="T16" fmla="*/ 0 w 6"/>
                <a:gd name="T17" fmla="*/ 30241878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4"/>
                <a:gd name="T29" fmla="*/ 6 w 6"/>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4">
                  <a:moveTo>
                    <a:pt x="0" y="12"/>
                  </a:moveTo>
                  <a:lnTo>
                    <a:pt x="0" y="24"/>
                  </a:lnTo>
                  <a:lnTo>
                    <a:pt x="6" y="24"/>
                  </a:lnTo>
                  <a:lnTo>
                    <a:pt x="6" y="18"/>
                  </a:lnTo>
                  <a:lnTo>
                    <a:pt x="0" y="18"/>
                  </a:lnTo>
                  <a:lnTo>
                    <a:pt x="6" y="18"/>
                  </a:lnTo>
                  <a:lnTo>
                    <a:pt x="6" y="12"/>
                  </a:lnTo>
                  <a:lnTo>
                    <a:pt x="0" y="0"/>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3" name="Freeform 48"/>
            <p:cNvSpPr>
              <a:spLocks/>
            </p:cNvSpPr>
            <p:nvPr/>
          </p:nvSpPr>
          <p:spPr bwMode="auto">
            <a:xfrm>
              <a:off x="2882716" y="3289264"/>
              <a:ext cx="19401" cy="35117"/>
            </a:xfrm>
            <a:custGeom>
              <a:avLst/>
              <a:gdLst>
                <a:gd name="T0" fmla="*/ 0 w 12"/>
                <a:gd name="T1" fmla="*/ 30241878 h 24"/>
                <a:gd name="T2" fmla="*/ 15120939 w 12"/>
                <a:gd name="T3" fmla="*/ 45362810 h 24"/>
                <a:gd name="T4" fmla="*/ 30241878 w 12"/>
                <a:gd name="T5" fmla="*/ 60483756 h 24"/>
                <a:gd name="T6" fmla="*/ 30241878 w 12"/>
                <a:gd name="T7" fmla="*/ 30241878 h 24"/>
                <a:gd name="T8" fmla="*/ 30241878 w 12"/>
                <a:gd name="T9" fmla="*/ 15120939 h 24"/>
                <a:gd name="T10" fmla="*/ 30241878 w 12"/>
                <a:gd name="T11" fmla="*/ 0 h 24"/>
                <a:gd name="T12" fmla="*/ 15120939 w 12"/>
                <a:gd name="T13" fmla="*/ 0 h 24"/>
                <a:gd name="T14" fmla="*/ 0 w 12"/>
                <a:gd name="T15" fmla="*/ 30241878 h 2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4"/>
                <a:gd name="T26" fmla="*/ 12 w 1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4">
                  <a:moveTo>
                    <a:pt x="0" y="12"/>
                  </a:moveTo>
                  <a:lnTo>
                    <a:pt x="6" y="18"/>
                  </a:lnTo>
                  <a:lnTo>
                    <a:pt x="12" y="24"/>
                  </a:lnTo>
                  <a:lnTo>
                    <a:pt x="12" y="12"/>
                  </a:lnTo>
                  <a:lnTo>
                    <a:pt x="12" y="6"/>
                  </a:lnTo>
                  <a:lnTo>
                    <a:pt x="12" y="0"/>
                  </a:lnTo>
                  <a:lnTo>
                    <a:pt x="6" y="0"/>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4" name="Freeform 49"/>
            <p:cNvSpPr>
              <a:spLocks/>
            </p:cNvSpPr>
            <p:nvPr/>
          </p:nvSpPr>
          <p:spPr bwMode="auto">
            <a:xfrm>
              <a:off x="2902117" y="3270244"/>
              <a:ext cx="19401" cy="27800"/>
            </a:xfrm>
            <a:custGeom>
              <a:avLst/>
              <a:gdLst>
                <a:gd name="T0" fmla="*/ 0 w 12"/>
                <a:gd name="T1" fmla="*/ 47881374 h 19"/>
                <a:gd name="T2" fmla="*/ 15120939 w 12"/>
                <a:gd name="T3" fmla="*/ 47881374 h 19"/>
                <a:gd name="T4" fmla="*/ 15120939 w 12"/>
                <a:gd name="T5" fmla="*/ 32760694 h 19"/>
                <a:gd name="T6" fmla="*/ 15120939 w 12"/>
                <a:gd name="T7" fmla="*/ 17640007 h 19"/>
                <a:gd name="T8" fmla="*/ 30241878 w 12"/>
                <a:gd name="T9" fmla="*/ 17640007 h 19"/>
                <a:gd name="T10" fmla="*/ 15120939 w 12"/>
                <a:gd name="T11" fmla="*/ 0 h 19"/>
                <a:gd name="T12" fmla="*/ 0 w 12"/>
                <a:gd name="T13" fmla="*/ 17640007 h 19"/>
                <a:gd name="T14" fmla="*/ 0 w 12"/>
                <a:gd name="T15" fmla="*/ 47881374 h 19"/>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9"/>
                <a:gd name="T26" fmla="*/ 12 w 12"/>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9">
                  <a:moveTo>
                    <a:pt x="0" y="19"/>
                  </a:moveTo>
                  <a:lnTo>
                    <a:pt x="6" y="19"/>
                  </a:lnTo>
                  <a:lnTo>
                    <a:pt x="6" y="13"/>
                  </a:lnTo>
                  <a:lnTo>
                    <a:pt x="6" y="7"/>
                  </a:lnTo>
                  <a:lnTo>
                    <a:pt x="12" y="7"/>
                  </a:lnTo>
                  <a:lnTo>
                    <a:pt x="6" y="0"/>
                  </a:lnTo>
                  <a:lnTo>
                    <a:pt x="0" y="7"/>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5" name="Freeform 50"/>
            <p:cNvSpPr>
              <a:spLocks/>
            </p:cNvSpPr>
            <p:nvPr/>
          </p:nvSpPr>
          <p:spPr bwMode="auto">
            <a:xfrm>
              <a:off x="2714571" y="3513134"/>
              <a:ext cx="19401" cy="26338"/>
            </a:xfrm>
            <a:custGeom>
              <a:avLst/>
              <a:gdLst>
                <a:gd name="T0" fmla="*/ 0 w 12"/>
                <a:gd name="T1" fmla="*/ 15120937 h 18"/>
                <a:gd name="T2" fmla="*/ 0 w 12"/>
                <a:gd name="T3" fmla="*/ 0 h 18"/>
                <a:gd name="T4" fmla="*/ 15120939 w 12"/>
                <a:gd name="T5" fmla="*/ 15120937 h 18"/>
                <a:gd name="T6" fmla="*/ 15120939 w 12"/>
                <a:gd name="T7" fmla="*/ 30241875 h 18"/>
                <a:gd name="T8" fmla="*/ 30241878 w 12"/>
                <a:gd name="T9" fmla="*/ 30241875 h 18"/>
                <a:gd name="T10" fmla="*/ 15120939 w 12"/>
                <a:gd name="T11" fmla="*/ 45362806 h 18"/>
                <a:gd name="T12" fmla="*/ 0 w 12"/>
                <a:gd name="T13" fmla="*/ 15120937 h 18"/>
                <a:gd name="T14" fmla="*/ 0 60000 65536"/>
                <a:gd name="T15" fmla="*/ 0 60000 65536"/>
                <a:gd name="T16" fmla="*/ 0 60000 65536"/>
                <a:gd name="T17" fmla="*/ 0 60000 65536"/>
                <a:gd name="T18" fmla="*/ 0 60000 65536"/>
                <a:gd name="T19" fmla="*/ 0 60000 65536"/>
                <a:gd name="T20" fmla="*/ 0 60000 65536"/>
                <a:gd name="T21" fmla="*/ 0 w 12"/>
                <a:gd name="T22" fmla="*/ 0 h 18"/>
                <a:gd name="T23" fmla="*/ 12 w 12"/>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8">
                  <a:moveTo>
                    <a:pt x="0" y="6"/>
                  </a:moveTo>
                  <a:lnTo>
                    <a:pt x="0" y="0"/>
                  </a:lnTo>
                  <a:lnTo>
                    <a:pt x="6" y="6"/>
                  </a:lnTo>
                  <a:lnTo>
                    <a:pt x="6" y="12"/>
                  </a:lnTo>
                  <a:lnTo>
                    <a:pt x="12" y="12"/>
                  </a:lnTo>
                  <a:lnTo>
                    <a:pt x="6" y="18"/>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6" name="Freeform 51"/>
            <p:cNvSpPr>
              <a:spLocks/>
            </p:cNvSpPr>
            <p:nvPr/>
          </p:nvSpPr>
          <p:spPr bwMode="auto">
            <a:xfrm>
              <a:off x="2565828" y="3897955"/>
              <a:ext cx="19401" cy="27801"/>
            </a:xfrm>
            <a:custGeom>
              <a:avLst/>
              <a:gdLst>
                <a:gd name="T0" fmla="*/ 0 w 12"/>
                <a:gd name="T1" fmla="*/ 0 h 19"/>
                <a:gd name="T2" fmla="*/ 15120939 w 12"/>
                <a:gd name="T3" fmla="*/ 0 h 19"/>
                <a:gd name="T4" fmla="*/ 30241878 w 12"/>
                <a:gd name="T5" fmla="*/ 15121188 h 19"/>
                <a:gd name="T6" fmla="*/ 30241878 w 12"/>
                <a:gd name="T7" fmla="*/ 30242377 h 19"/>
                <a:gd name="T8" fmla="*/ 30241878 w 12"/>
                <a:gd name="T9" fmla="*/ 47884549 h 19"/>
                <a:gd name="T10" fmla="*/ 15120939 w 12"/>
                <a:gd name="T11" fmla="*/ 30242377 h 19"/>
                <a:gd name="T12" fmla="*/ 15120939 w 12"/>
                <a:gd name="T13" fmla="*/ 15121188 h 19"/>
                <a:gd name="T14" fmla="*/ 0 w 12"/>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9"/>
                <a:gd name="T26" fmla="*/ 12 w 12"/>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9">
                  <a:moveTo>
                    <a:pt x="0" y="0"/>
                  </a:moveTo>
                  <a:lnTo>
                    <a:pt x="6" y="0"/>
                  </a:lnTo>
                  <a:lnTo>
                    <a:pt x="12" y="6"/>
                  </a:lnTo>
                  <a:lnTo>
                    <a:pt x="12" y="12"/>
                  </a:lnTo>
                  <a:lnTo>
                    <a:pt x="12" y="19"/>
                  </a:lnTo>
                  <a:lnTo>
                    <a:pt x="6" y="12"/>
                  </a:lnTo>
                  <a:lnTo>
                    <a:pt x="6"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7" name="Freeform 52"/>
            <p:cNvSpPr>
              <a:spLocks/>
            </p:cNvSpPr>
            <p:nvPr/>
          </p:nvSpPr>
          <p:spPr bwMode="auto">
            <a:xfrm>
              <a:off x="3031460" y="4462748"/>
              <a:ext cx="19401" cy="17558"/>
            </a:xfrm>
            <a:custGeom>
              <a:avLst/>
              <a:gdLst>
                <a:gd name="T0" fmla="*/ 0 w 12"/>
                <a:gd name="T1" fmla="*/ 15120939 h 12"/>
                <a:gd name="T2" fmla="*/ 15120939 w 12"/>
                <a:gd name="T3" fmla="*/ 15120939 h 12"/>
                <a:gd name="T4" fmla="*/ 30241878 w 12"/>
                <a:gd name="T5" fmla="*/ 30241878 h 12"/>
                <a:gd name="T6" fmla="*/ 30241878 w 12"/>
                <a:gd name="T7" fmla="*/ 15120939 h 12"/>
                <a:gd name="T8" fmla="*/ 15120939 w 12"/>
                <a:gd name="T9" fmla="*/ 15120939 h 12"/>
                <a:gd name="T10" fmla="*/ 15120939 w 12"/>
                <a:gd name="T11" fmla="*/ 0 h 12"/>
                <a:gd name="T12" fmla="*/ 15120939 w 12"/>
                <a:gd name="T13" fmla="*/ 15120939 h 12"/>
                <a:gd name="T14" fmla="*/ 0 w 12"/>
                <a:gd name="T15" fmla="*/ 15120939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0" y="6"/>
                  </a:moveTo>
                  <a:lnTo>
                    <a:pt x="6" y="6"/>
                  </a:lnTo>
                  <a:lnTo>
                    <a:pt x="12" y="12"/>
                  </a:lnTo>
                  <a:lnTo>
                    <a:pt x="12" y="6"/>
                  </a:lnTo>
                  <a:lnTo>
                    <a:pt x="6" y="6"/>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8" name="Freeform 53"/>
            <p:cNvSpPr>
              <a:spLocks/>
            </p:cNvSpPr>
            <p:nvPr/>
          </p:nvSpPr>
          <p:spPr bwMode="auto">
            <a:xfrm>
              <a:off x="2465587" y="3754561"/>
              <a:ext cx="21018" cy="8779"/>
            </a:xfrm>
            <a:custGeom>
              <a:avLst/>
              <a:gdLst>
                <a:gd name="T0" fmla="*/ 0 w 13"/>
                <a:gd name="T1" fmla="*/ 0 h 6"/>
                <a:gd name="T2" fmla="*/ 32760447 w 13"/>
                <a:gd name="T3" fmla="*/ 15120939 h 6"/>
                <a:gd name="T4" fmla="*/ 32760447 w 13"/>
                <a:gd name="T5" fmla="*/ 0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0"/>
                  </a:moveTo>
                  <a:lnTo>
                    <a:pt x="13" y="6"/>
                  </a:lnTo>
                  <a:lnTo>
                    <a:pt x="13"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39" name="Freeform 54"/>
            <p:cNvSpPr>
              <a:spLocks/>
            </p:cNvSpPr>
            <p:nvPr/>
          </p:nvSpPr>
          <p:spPr bwMode="auto">
            <a:xfrm>
              <a:off x="2426785" y="3817479"/>
              <a:ext cx="19401" cy="8779"/>
            </a:xfrm>
            <a:custGeom>
              <a:avLst/>
              <a:gdLst>
                <a:gd name="T0" fmla="*/ 0 w 12"/>
                <a:gd name="T1" fmla="*/ 15120939 h 6"/>
                <a:gd name="T2" fmla="*/ 15120939 w 12"/>
                <a:gd name="T3" fmla="*/ 0 h 6"/>
                <a:gd name="T4" fmla="*/ 30241878 w 12"/>
                <a:gd name="T5" fmla="*/ 0 h 6"/>
                <a:gd name="T6" fmla="*/ 30241878 w 12"/>
                <a:gd name="T7" fmla="*/ 15120939 h 6"/>
                <a:gd name="T8" fmla="*/ 15120939 w 12"/>
                <a:gd name="T9" fmla="*/ 15120939 h 6"/>
                <a:gd name="T10" fmla="*/ 0 w 12"/>
                <a:gd name="T11" fmla="*/ 15120939 h 6"/>
                <a:gd name="T12" fmla="*/ 15120939 w 12"/>
                <a:gd name="T13" fmla="*/ 15120939 h 6"/>
                <a:gd name="T14" fmla="*/ 0 w 12"/>
                <a:gd name="T15" fmla="*/ 15120939 h 6"/>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6"/>
                <a:gd name="T26" fmla="*/ 12 w 1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6">
                  <a:moveTo>
                    <a:pt x="0" y="6"/>
                  </a:moveTo>
                  <a:lnTo>
                    <a:pt x="6" y="0"/>
                  </a:lnTo>
                  <a:lnTo>
                    <a:pt x="12" y="0"/>
                  </a:lnTo>
                  <a:lnTo>
                    <a:pt x="12" y="6"/>
                  </a:lnTo>
                  <a:lnTo>
                    <a:pt x="6" y="6"/>
                  </a:lnTo>
                  <a:lnTo>
                    <a:pt x="0" y="6"/>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0" name="Freeform 55"/>
            <p:cNvSpPr>
              <a:spLocks/>
            </p:cNvSpPr>
            <p:nvPr/>
          </p:nvSpPr>
          <p:spPr bwMode="auto">
            <a:xfrm>
              <a:off x="2763074" y="3467775"/>
              <a:ext cx="30718" cy="17558"/>
            </a:xfrm>
            <a:custGeom>
              <a:avLst/>
              <a:gdLst>
                <a:gd name="T0" fmla="*/ 0 w 19"/>
                <a:gd name="T1" fmla="*/ 15120939 h 12"/>
                <a:gd name="T2" fmla="*/ 15120687 w 19"/>
                <a:gd name="T3" fmla="*/ 15120939 h 12"/>
                <a:gd name="T4" fmla="*/ 15120687 w 19"/>
                <a:gd name="T5" fmla="*/ 0 h 12"/>
                <a:gd name="T6" fmla="*/ 32760694 w 19"/>
                <a:gd name="T7" fmla="*/ 0 h 12"/>
                <a:gd name="T8" fmla="*/ 32760694 w 19"/>
                <a:gd name="T9" fmla="*/ 15120939 h 12"/>
                <a:gd name="T10" fmla="*/ 47881374 w 19"/>
                <a:gd name="T11" fmla="*/ 0 h 12"/>
                <a:gd name="T12" fmla="*/ 47881374 w 19"/>
                <a:gd name="T13" fmla="*/ 15120939 h 12"/>
                <a:gd name="T14" fmla="*/ 32760694 w 19"/>
                <a:gd name="T15" fmla="*/ 15120939 h 12"/>
                <a:gd name="T16" fmla="*/ 15120687 w 19"/>
                <a:gd name="T17" fmla="*/ 15120939 h 12"/>
                <a:gd name="T18" fmla="*/ 15120687 w 19"/>
                <a:gd name="T19" fmla="*/ 30241878 h 12"/>
                <a:gd name="T20" fmla="*/ 0 w 19"/>
                <a:gd name="T21" fmla="*/ 15120939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2"/>
                <a:gd name="T35" fmla="*/ 19 w 1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2">
                  <a:moveTo>
                    <a:pt x="0" y="6"/>
                  </a:moveTo>
                  <a:lnTo>
                    <a:pt x="6" y="6"/>
                  </a:lnTo>
                  <a:lnTo>
                    <a:pt x="6" y="0"/>
                  </a:lnTo>
                  <a:lnTo>
                    <a:pt x="13" y="0"/>
                  </a:lnTo>
                  <a:lnTo>
                    <a:pt x="13" y="6"/>
                  </a:lnTo>
                  <a:lnTo>
                    <a:pt x="19" y="0"/>
                  </a:lnTo>
                  <a:lnTo>
                    <a:pt x="19" y="6"/>
                  </a:lnTo>
                  <a:lnTo>
                    <a:pt x="13" y="6"/>
                  </a:lnTo>
                  <a:lnTo>
                    <a:pt x="6" y="6"/>
                  </a:lnTo>
                  <a:lnTo>
                    <a:pt x="6"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1" name="Freeform 56"/>
            <p:cNvSpPr>
              <a:spLocks/>
            </p:cNvSpPr>
            <p:nvPr/>
          </p:nvSpPr>
          <p:spPr bwMode="auto">
            <a:xfrm>
              <a:off x="2743673" y="3458995"/>
              <a:ext cx="9701" cy="17558"/>
            </a:xfrm>
            <a:custGeom>
              <a:avLst/>
              <a:gdLst>
                <a:gd name="T0" fmla="*/ 0 w 6"/>
                <a:gd name="T1" fmla="*/ 15120939 h 12"/>
                <a:gd name="T2" fmla="*/ 0 w 6"/>
                <a:gd name="T3" fmla="*/ 30241878 h 12"/>
                <a:gd name="T4" fmla="*/ 15120939 w 6"/>
                <a:gd name="T5" fmla="*/ 15120939 h 12"/>
                <a:gd name="T6" fmla="*/ 15120939 w 6"/>
                <a:gd name="T7" fmla="*/ 30241878 h 12"/>
                <a:gd name="T8" fmla="*/ 0 w 6"/>
                <a:gd name="T9" fmla="*/ 15120939 h 12"/>
                <a:gd name="T10" fmla="*/ 15120939 w 6"/>
                <a:gd name="T11" fmla="*/ 0 h 12"/>
                <a:gd name="T12" fmla="*/ 0 w 6"/>
                <a:gd name="T13" fmla="*/ 15120939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6"/>
                  </a:moveTo>
                  <a:lnTo>
                    <a:pt x="0" y="12"/>
                  </a:lnTo>
                  <a:lnTo>
                    <a:pt x="6" y="6"/>
                  </a:lnTo>
                  <a:lnTo>
                    <a:pt x="6" y="12"/>
                  </a:lnTo>
                  <a:lnTo>
                    <a:pt x="0"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2" name="Rectangle 57"/>
            <p:cNvSpPr>
              <a:spLocks noChangeArrowheads="1"/>
            </p:cNvSpPr>
            <p:nvPr/>
          </p:nvSpPr>
          <p:spPr bwMode="auto">
            <a:xfrm>
              <a:off x="2397683" y="3700423"/>
              <a:ext cx="9701" cy="10242"/>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343" name="Freeform 58"/>
            <p:cNvSpPr>
              <a:spLocks/>
            </p:cNvSpPr>
            <p:nvPr/>
          </p:nvSpPr>
          <p:spPr bwMode="auto">
            <a:xfrm>
              <a:off x="2446186" y="3799921"/>
              <a:ext cx="30718" cy="17558"/>
            </a:xfrm>
            <a:custGeom>
              <a:avLst/>
              <a:gdLst>
                <a:gd name="T0" fmla="*/ 0 w 19"/>
                <a:gd name="T1" fmla="*/ 30241878 h 12"/>
                <a:gd name="T2" fmla="*/ 30241374 w 19"/>
                <a:gd name="T3" fmla="*/ 0 h 12"/>
                <a:gd name="T4" fmla="*/ 47881374 w 19"/>
                <a:gd name="T5" fmla="*/ 0 h 12"/>
                <a:gd name="T6" fmla="*/ 30241374 w 19"/>
                <a:gd name="T7" fmla="*/ 15120939 h 12"/>
                <a:gd name="T8" fmla="*/ 15120687 w 19"/>
                <a:gd name="T9" fmla="*/ 30241878 h 12"/>
                <a:gd name="T10" fmla="*/ 0 w 19"/>
                <a:gd name="T11" fmla="*/ 30241878 h 12"/>
                <a:gd name="T12" fmla="*/ 0 60000 65536"/>
                <a:gd name="T13" fmla="*/ 0 60000 65536"/>
                <a:gd name="T14" fmla="*/ 0 60000 65536"/>
                <a:gd name="T15" fmla="*/ 0 60000 65536"/>
                <a:gd name="T16" fmla="*/ 0 60000 65536"/>
                <a:gd name="T17" fmla="*/ 0 60000 65536"/>
                <a:gd name="T18" fmla="*/ 0 w 19"/>
                <a:gd name="T19" fmla="*/ 0 h 12"/>
                <a:gd name="T20" fmla="*/ 19 w 1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9" h="12">
                  <a:moveTo>
                    <a:pt x="0" y="12"/>
                  </a:moveTo>
                  <a:lnTo>
                    <a:pt x="12" y="0"/>
                  </a:lnTo>
                  <a:lnTo>
                    <a:pt x="19" y="0"/>
                  </a:lnTo>
                  <a:lnTo>
                    <a:pt x="12" y="6"/>
                  </a:lnTo>
                  <a:lnTo>
                    <a:pt x="6"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4" name="Freeform 59"/>
            <p:cNvSpPr>
              <a:spLocks/>
            </p:cNvSpPr>
            <p:nvPr/>
          </p:nvSpPr>
          <p:spPr bwMode="auto">
            <a:xfrm>
              <a:off x="2386365" y="3754561"/>
              <a:ext cx="11318" cy="8779"/>
            </a:xfrm>
            <a:custGeom>
              <a:avLst/>
              <a:gdLst>
                <a:gd name="T0" fmla="*/ 0 w 7"/>
                <a:gd name="T1" fmla="*/ 15120939 h 6"/>
                <a:gd name="T2" fmla="*/ 17642683 w 7"/>
                <a:gd name="T3" fmla="*/ 0 h 6"/>
                <a:gd name="T4" fmla="*/ 17642683 w 7"/>
                <a:gd name="T5" fmla="*/ 15120939 h 6"/>
                <a:gd name="T6" fmla="*/ 0 w 7"/>
                <a:gd name="T7" fmla="*/ 15120939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0" y="6"/>
                  </a:moveTo>
                  <a:lnTo>
                    <a:pt x="7" y="0"/>
                  </a:lnTo>
                  <a:lnTo>
                    <a:pt x="7"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5" name="Freeform 60"/>
            <p:cNvSpPr>
              <a:spLocks/>
            </p:cNvSpPr>
            <p:nvPr/>
          </p:nvSpPr>
          <p:spPr bwMode="auto">
            <a:xfrm>
              <a:off x="2743673" y="3530693"/>
              <a:ext cx="9701" cy="8779"/>
            </a:xfrm>
            <a:custGeom>
              <a:avLst/>
              <a:gdLst>
                <a:gd name="T0" fmla="*/ 0 w 6"/>
                <a:gd name="T1" fmla="*/ 0 h 6"/>
                <a:gd name="T2" fmla="*/ 15120939 w 6"/>
                <a:gd name="T3" fmla="*/ 15120939 h 6"/>
                <a:gd name="T4" fmla="*/ 15120939 w 6"/>
                <a:gd name="T5" fmla="*/ 0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6" name="Freeform 61"/>
            <p:cNvSpPr>
              <a:spLocks/>
            </p:cNvSpPr>
            <p:nvPr/>
          </p:nvSpPr>
          <p:spPr bwMode="auto">
            <a:xfrm>
              <a:off x="2733972" y="3476554"/>
              <a:ext cx="19401" cy="8779"/>
            </a:xfrm>
            <a:custGeom>
              <a:avLst/>
              <a:gdLst>
                <a:gd name="T0" fmla="*/ 0 w 12"/>
                <a:gd name="T1" fmla="*/ 15120939 h 6"/>
                <a:gd name="T2" fmla="*/ 15120939 w 12"/>
                <a:gd name="T3" fmla="*/ 15120939 h 6"/>
                <a:gd name="T4" fmla="*/ 30241878 w 12"/>
                <a:gd name="T5" fmla="*/ 15120939 h 6"/>
                <a:gd name="T6" fmla="*/ 0 w 12"/>
                <a:gd name="T7" fmla="*/ 0 h 6"/>
                <a:gd name="T8" fmla="*/ 0 w 12"/>
                <a:gd name="T9" fmla="*/ 15120939 h 6"/>
                <a:gd name="T10" fmla="*/ 0 60000 65536"/>
                <a:gd name="T11" fmla="*/ 0 60000 65536"/>
                <a:gd name="T12" fmla="*/ 0 60000 65536"/>
                <a:gd name="T13" fmla="*/ 0 60000 65536"/>
                <a:gd name="T14" fmla="*/ 0 60000 65536"/>
                <a:gd name="T15" fmla="*/ 0 w 12"/>
                <a:gd name="T16" fmla="*/ 0 h 6"/>
                <a:gd name="T17" fmla="*/ 12 w 12"/>
                <a:gd name="T18" fmla="*/ 6 h 6"/>
              </a:gdLst>
              <a:ahLst/>
              <a:cxnLst>
                <a:cxn ang="T10">
                  <a:pos x="T0" y="T1"/>
                </a:cxn>
                <a:cxn ang="T11">
                  <a:pos x="T2" y="T3"/>
                </a:cxn>
                <a:cxn ang="T12">
                  <a:pos x="T4" y="T5"/>
                </a:cxn>
                <a:cxn ang="T13">
                  <a:pos x="T6" y="T7"/>
                </a:cxn>
                <a:cxn ang="T14">
                  <a:pos x="T8" y="T9"/>
                </a:cxn>
              </a:cxnLst>
              <a:rect l="T15" t="T16" r="T17" b="T18"/>
              <a:pathLst>
                <a:path w="12" h="6">
                  <a:moveTo>
                    <a:pt x="0" y="6"/>
                  </a:moveTo>
                  <a:lnTo>
                    <a:pt x="6" y="6"/>
                  </a:lnTo>
                  <a:lnTo>
                    <a:pt x="12"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7" name="Freeform 62"/>
            <p:cNvSpPr>
              <a:spLocks/>
            </p:cNvSpPr>
            <p:nvPr/>
          </p:nvSpPr>
          <p:spPr bwMode="auto">
            <a:xfrm>
              <a:off x="2506006" y="3700424"/>
              <a:ext cx="1617" cy="19021"/>
            </a:xfrm>
            <a:custGeom>
              <a:avLst/>
              <a:gdLst>
                <a:gd name="T0" fmla="*/ 0 w 1588"/>
                <a:gd name="T1" fmla="*/ 32760447 h 13"/>
                <a:gd name="T2" fmla="*/ 0 w 1588"/>
                <a:gd name="T3" fmla="*/ 0 h 13"/>
                <a:gd name="T4" fmla="*/ 0 w 1588"/>
                <a:gd name="T5" fmla="*/ 327604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13"/>
                  </a:moveTo>
                  <a:lnTo>
                    <a:pt x="0" y="0"/>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8" name="Freeform 63"/>
            <p:cNvSpPr>
              <a:spLocks/>
            </p:cNvSpPr>
            <p:nvPr/>
          </p:nvSpPr>
          <p:spPr bwMode="auto">
            <a:xfrm>
              <a:off x="2902117" y="3298044"/>
              <a:ext cx="19401" cy="8779"/>
            </a:xfrm>
            <a:custGeom>
              <a:avLst/>
              <a:gdLst>
                <a:gd name="T0" fmla="*/ 0 w 12"/>
                <a:gd name="T1" fmla="*/ 0 h 6"/>
                <a:gd name="T2" fmla="*/ 15120939 w 12"/>
                <a:gd name="T3" fmla="*/ 15120939 h 6"/>
                <a:gd name="T4" fmla="*/ 30241878 w 12"/>
                <a:gd name="T5" fmla="*/ 15120939 h 6"/>
                <a:gd name="T6" fmla="*/ 0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0" y="0"/>
                  </a:moveTo>
                  <a:lnTo>
                    <a:pt x="6" y="6"/>
                  </a:lnTo>
                  <a:lnTo>
                    <a:pt x="12"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49" name="Freeform 64"/>
            <p:cNvSpPr>
              <a:spLocks/>
            </p:cNvSpPr>
            <p:nvPr/>
          </p:nvSpPr>
          <p:spPr bwMode="auto">
            <a:xfrm>
              <a:off x="2763075" y="3485333"/>
              <a:ext cx="21018" cy="10243"/>
            </a:xfrm>
            <a:custGeom>
              <a:avLst/>
              <a:gdLst>
                <a:gd name="T0" fmla="*/ 0 w 13"/>
                <a:gd name="T1" fmla="*/ 17642683 h 7"/>
                <a:gd name="T2" fmla="*/ 15120573 w 13"/>
                <a:gd name="T3" fmla="*/ 17642683 h 7"/>
                <a:gd name="T4" fmla="*/ 32760447 w 13"/>
                <a:gd name="T5" fmla="*/ 17642683 h 7"/>
                <a:gd name="T6" fmla="*/ 15120573 w 13"/>
                <a:gd name="T7" fmla="*/ 0 h 7"/>
                <a:gd name="T8" fmla="*/ 15120573 w 13"/>
                <a:gd name="T9" fmla="*/ 17642683 h 7"/>
                <a:gd name="T10" fmla="*/ 0 w 13"/>
                <a:gd name="T11" fmla="*/ 17642683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7"/>
                  </a:moveTo>
                  <a:lnTo>
                    <a:pt x="6" y="7"/>
                  </a:lnTo>
                  <a:lnTo>
                    <a:pt x="13" y="7"/>
                  </a:lnTo>
                  <a:lnTo>
                    <a:pt x="6" y="0"/>
                  </a:lnTo>
                  <a:lnTo>
                    <a:pt x="6" y="7"/>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0" name="Freeform 65"/>
            <p:cNvSpPr>
              <a:spLocks/>
            </p:cNvSpPr>
            <p:nvPr/>
          </p:nvSpPr>
          <p:spPr bwMode="auto">
            <a:xfrm>
              <a:off x="2486605" y="3871617"/>
              <a:ext cx="9701" cy="17558"/>
            </a:xfrm>
            <a:custGeom>
              <a:avLst/>
              <a:gdLst>
                <a:gd name="T0" fmla="*/ 0 w 6"/>
                <a:gd name="T1" fmla="*/ 30241878 h 12"/>
                <a:gd name="T2" fmla="*/ 0 w 6"/>
                <a:gd name="T3" fmla="*/ 15120939 h 12"/>
                <a:gd name="T4" fmla="*/ 15120939 w 6"/>
                <a:gd name="T5" fmla="*/ 15120939 h 12"/>
                <a:gd name="T6" fmla="*/ 15120939 w 6"/>
                <a:gd name="T7" fmla="*/ 0 h 12"/>
                <a:gd name="T8" fmla="*/ 0 w 6"/>
                <a:gd name="T9" fmla="*/ 0 h 12"/>
                <a:gd name="T10" fmla="*/ 0 w 6"/>
                <a:gd name="T11" fmla="*/ 15120939 h 12"/>
                <a:gd name="T12" fmla="*/ 0 w 6"/>
                <a:gd name="T13" fmla="*/ 30241878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12"/>
                  </a:moveTo>
                  <a:lnTo>
                    <a:pt x="0" y="6"/>
                  </a:lnTo>
                  <a:lnTo>
                    <a:pt x="6" y="6"/>
                  </a:lnTo>
                  <a:lnTo>
                    <a:pt x="6" y="0"/>
                  </a:lnTo>
                  <a:lnTo>
                    <a:pt x="0" y="0"/>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1" name="Freeform 66"/>
            <p:cNvSpPr>
              <a:spLocks/>
            </p:cNvSpPr>
            <p:nvPr/>
          </p:nvSpPr>
          <p:spPr bwMode="auto">
            <a:xfrm>
              <a:off x="2743673" y="3495576"/>
              <a:ext cx="19401" cy="8779"/>
            </a:xfrm>
            <a:custGeom>
              <a:avLst/>
              <a:gdLst>
                <a:gd name="T0" fmla="*/ 0 w 12"/>
                <a:gd name="T1" fmla="*/ 15120939 h 6"/>
                <a:gd name="T2" fmla="*/ 15120939 w 12"/>
                <a:gd name="T3" fmla="*/ 0 h 6"/>
                <a:gd name="T4" fmla="*/ 30241878 w 12"/>
                <a:gd name="T5" fmla="*/ 0 h 6"/>
                <a:gd name="T6" fmla="*/ 15120939 w 12"/>
                <a:gd name="T7" fmla="*/ 0 h 6"/>
                <a:gd name="T8" fmla="*/ 15120939 w 12"/>
                <a:gd name="T9" fmla="*/ 15120939 h 6"/>
                <a:gd name="T10" fmla="*/ 0 w 12"/>
                <a:gd name="T11" fmla="*/ 15120939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0" y="6"/>
                  </a:moveTo>
                  <a:lnTo>
                    <a:pt x="6" y="0"/>
                  </a:lnTo>
                  <a:lnTo>
                    <a:pt x="12" y="0"/>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2" name="Freeform 67"/>
            <p:cNvSpPr>
              <a:spLocks/>
            </p:cNvSpPr>
            <p:nvPr/>
          </p:nvSpPr>
          <p:spPr bwMode="auto">
            <a:xfrm>
              <a:off x="2604630" y="4230101"/>
              <a:ext cx="9701" cy="8779"/>
            </a:xfrm>
            <a:custGeom>
              <a:avLst/>
              <a:gdLst>
                <a:gd name="T0" fmla="*/ 0 w 6"/>
                <a:gd name="T1" fmla="*/ 0 h 6"/>
                <a:gd name="T2" fmla="*/ 15120939 w 6"/>
                <a:gd name="T3" fmla="*/ 0 h 6"/>
                <a:gd name="T4" fmla="*/ 15120939 w 6"/>
                <a:gd name="T5" fmla="*/ 15120939 h 6"/>
                <a:gd name="T6" fmla="*/ 15120939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6" y="0"/>
                  </a:lnTo>
                  <a:lnTo>
                    <a:pt x="6"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3" name="Freeform 68"/>
            <p:cNvSpPr>
              <a:spLocks/>
            </p:cNvSpPr>
            <p:nvPr/>
          </p:nvSpPr>
          <p:spPr bwMode="auto">
            <a:xfrm>
              <a:off x="2902118" y="3333161"/>
              <a:ext cx="9701" cy="8779"/>
            </a:xfrm>
            <a:custGeom>
              <a:avLst/>
              <a:gdLst>
                <a:gd name="T0" fmla="*/ 0 w 6"/>
                <a:gd name="T1" fmla="*/ 0 h 6"/>
                <a:gd name="T2" fmla="*/ 15120939 w 6"/>
                <a:gd name="T3" fmla="*/ 0 h 6"/>
                <a:gd name="T4" fmla="*/ 0 w 6"/>
                <a:gd name="T5" fmla="*/ 15120939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4" name="Freeform 69"/>
            <p:cNvSpPr>
              <a:spLocks/>
            </p:cNvSpPr>
            <p:nvPr/>
          </p:nvSpPr>
          <p:spPr bwMode="auto">
            <a:xfrm>
              <a:off x="2486605" y="3772120"/>
              <a:ext cx="9701" cy="10243"/>
            </a:xfrm>
            <a:custGeom>
              <a:avLst/>
              <a:gdLst>
                <a:gd name="T0" fmla="*/ 0 w 6"/>
                <a:gd name="T1" fmla="*/ 0 h 7"/>
                <a:gd name="T2" fmla="*/ 15120939 w 6"/>
                <a:gd name="T3" fmla="*/ 17642683 h 7"/>
                <a:gd name="T4" fmla="*/ 15120939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7"/>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5" name="Freeform 70"/>
            <p:cNvSpPr>
              <a:spLocks/>
            </p:cNvSpPr>
            <p:nvPr/>
          </p:nvSpPr>
          <p:spPr bwMode="auto">
            <a:xfrm>
              <a:off x="2525408" y="3925756"/>
              <a:ext cx="1617" cy="8779"/>
            </a:xfrm>
            <a:custGeom>
              <a:avLst/>
              <a:gdLst>
                <a:gd name="T0" fmla="*/ 0 w 1588"/>
                <a:gd name="T1" fmla="*/ 15120939 h 6"/>
                <a:gd name="T2" fmla="*/ 0 w 1588"/>
                <a:gd name="T3" fmla="*/ 0 h 6"/>
                <a:gd name="T4" fmla="*/ 0 w 1588"/>
                <a:gd name="T5" fmla="*/ 15120939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6" name="Freeform 71"/>
            <p:cNvSpPr>
              <a:spLocks/>
            </p:cNvSpPr>
            <p:nvPr/>
          </p:nvSpPr>
          <p:spPr bwMode="auto">
            <a:xfrm>
              <a:off x="2525408" y="3862838"/>
              <a:ext cx="9701" cy="8779"/>
            </a:xfrm>
            <a:custGeom>
              <a:avLst/>
              <a:gdLst>
                <a:gd name="T0" fmla="*/ 0 w 6"/>
                <a:gd name="T1" fmla="*/ 0 h 6"/>
                <a:gd name="T2" fmla="*/ 15120939 w 6"/>
                <a:gd name="T3" fmla="*/ 0 h 6"/>
                <a:gd name="T4" fmla="*/ 0 w 6"/>
                <a:gd name="T5" fmla="*/ 15120939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7" name="Freeform 72"/>
            <p:cNvSpPr>
              <a:spLocks/>
            </p:cNvSpPr>
            <p:nvPr/>
          </p:nvSpPr>
          <p:spPr bwMode="auto">
            <a:xfrm>
              <a:off x="2535108" y="3854059"/>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8" name="Freeform 73"/>
            <p:cNvSpPr>
              <a:spLocks/>
            </p:cNvSpPr>
            <p:nvPr/>
          </p:nvSpPr>
          <p:spPr bwMode="auto">
            <a:xfrm>
              <a:off x="2813194" y="3360962"/>
              <a:ext cx="9701" cy="8779"/>
            </a:xfrm>
            <a:custGeom>
              <a:avLst/>
              <a:gdLst>
                <a:gd name="T0" fmla="*/ 0 w 6"/>
                <a:gd name="T1" fmla="*/ 0 h 6"/>
                <a:gd name="T2" fmla="*/ 0 w 6"/>
                <a:gd name="T3" fmla="*/ 15120939 h 6"/>
                <a:gd name="T4" fmla="*/ 15120939 w 6"/>
                <a:gd name="T5" fmla="*/ 0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59" name="Freeform 74"/>
            <p:cNvSpPr>
              <a:spLocks/>
            </p:cNvSpPr>
            <p:nvPr/>
          </p:nvSpPr>
          <p:spPr bwMode="auto">
            <a:xfrm>
              <a:off x="2407383" y="3665307"/>
              <a:ext cx="9701" cy="8779"/>
            </a:xfrm>
            <a:custGeom>
              <a:avLst/>
              <a:gdLst>
                <a:gd name="T0" fmla="*/ 0 w 6"/>
                <a:gd name="T1" fmla="*/ 15120939 h 6"/>
                <a:gd name="T2" fmla="*/ 15120939 w 6"/>
                <a:gd name="T3" fmla="*/ 15120939 h 6"/>
                <a:gd name="T4" fmla="*/ 15120939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0" name="Freeform 75"/>
            <p:cNvSpPr>
              <a:spLocks/>
            </p:cNvSpPr>
            <p:nvPr/>
          </p:nvSpPr>
          <p:spPr bwMode="auto">
            <a:xfrm>
              <a:off x="2455887" y="3647749"/>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1" name="Freeform 76"/>
            <p:cNvSpPr>
              <a:spLocks/>
            </p:cNvSpPr>
            <p:nvPr/>
          </p:nvSpPr>
          <p:spPr bwMode="auto">
            <a:xfrm>
              <a:off x="2407383" y="3665307"/>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2" name="Freeform 77"/>
            <p:cNvSpPr>
              <a:spLocks/>
            </p:cNvSpPr>
            <p:nvPr/>
          </p:nvSpPr>
          <p:spPr bwMode="auto">
            <a:xfrm>
              <a:off x="2486605" y="3889175"/>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3" name="Freeform 78"/>
            <p:cNvSpPr>
              <a:spLocks/>
            </p:cNvSpPr>
            <p:nvPr/>
          </p:nvSpPr>
          <p:spPr bwMode="auto">
            <a:xfrm>
              <a:off x="1058990" y="2563520"/>
              <a:ext cx="852042" cy="384821"/>
            </a:xfrm>
            <a:custGeom>
              <a:avLst/>
              <a:gdLst>
                <a:gd name="T0" fmla="*/ 990419959 w 527"/>
                <a:gd name="T1" fmla="*/ 0 h 263"/>
                <a:gd name="T2" fmla="*/ 972779677 w 527"/>
                <a:gd name="T3" fmla="*/ 45362858 h 263"/>
                <a:gd name="T4" fmla="*/ 866933227 w 527"/>
                <a:gd name="T5" fmla="*/ 90725716 h 263"/>
                <a:gd name="T6" fmla="*/ 773686553 w 527"/>
                <a:gd name="T7" fmla="*/ 60483819 h 263"/>
                <a:gd name="T8" fmla="*/ 773686553 w 527"/>
                <a:gd name="T9" fmla="*/ 153730487 h 263"/>
                <a:gd name="T10" fmla="*/ 758565631 w 527"/>
                <a:gd name="T11" fmla="*/ 123488590 h 263"/>
                <a:gd name="T12" fmla="*/ 650199821 w 527"/>
                <a:gd name="T13" fmla="*/ 75604768 h 263"/>
                <a:gd name="T14" fmla="*/ 619957978 w 527"/>
                <a:gd name="T15" fmla="*/ 138609539 h 263"/>
                <a:gd name="T16" fmla="*/ 526711502 w 527"/>
                <a:gd name="T17" fmla="*/ 75604768 h 263"/>
                <a:gd name="T18" fmla="*/ 463708456 w 527"/>
                <a:gd name="T19" fmla="*/ 199093333 h 263"/>
                <a:gd name="T20" fmla="*/ 403224671 w 527"/>
                <a:gd name="T21" fmla="*/ 246975593 h 263"/>
                <a:gd name="T22" fmla="*/ 340220038 w 527"/>
                <a:gd name="T23" fmla="*/ 183972385 h 263"/>
                <a:gd name="T24" fmla="*/ 370461881 w 527"/>
                <a:gd name="T25" fmla="*/ 138609539 h 263"/>
                <a:gd name="T26" fmla="*/ 171370493 w 527"/>
                <a:gd name="T27" fmla="*/ 0 h 263"/>
                <a:gd name="T28" fmla="*/ 216733307 w 527"/>
                <a:gd name="T29" fmla="*/ 45362858 h 263"/>
                <a:gd name="T30" fmla="*/ 246975150 w 527"/>
                <a:gd name="T31" fmla="*/ 123488590 h 263"/>
                <a:gd name="T32" fmla="*/ 141128650 w 527"/>
                <a:gd name="T33" fmla="*/ 60483819 h 263"/>
                <a:gd name="T34" fmla="*/ 108365860 w 527"/>
                <a:gd name="T35" fmla="*/ 90725716 h 263"/>
                <a:gd name="T36" fmla="*/ 108365860 w 527"/>
                <a:gd name="T37" fmla="*/ 123488590 h 263"/>
                <a:gd name="T38" fmla="*/ 141128650 w 527"/>
                <a:gd name="T39" fmla="*/ 153730487 h 263"/>
                <a:gd name="T40" fmla="*/ 32761215 w 527"/>
                <a:gd name="T41" fmla="*/ 138609539 h 263"/>
                <a:gd name="T42" fmla="*/ 63003070 w 527"/>
                <a:gd name="T43" fmla="*/ 183972385 h 263"/>
                <a:gd name="T44" fmla="*/ 0 w 527"/>
                <a:gd name="T45" fmla="*/ 199093333 h 263"/>
                <a:gd name="T46" fmla="*/ 279736352 w 527"/>
                <a:gd name="T47" fmla="*/ 214214331 h 263"/>
                <a:gd name="T48" fmla="*/ 246975150 w 527"/>
                <a:gd name="T49" fmla="*/ 262096541 h 263"/>
                <a:gd name="T50" fmla="*/ 279736352 w 527"/>
                <a:gd name="T51" fmla="*/ 292338439 h 263"/>
                <a:gd name="T52" fmla="*/ 47882137 w 527"/>
                <a:gd name="T53" fmla="*/ 337701284 h 263"/>
                <a:gd name="T54" fmla="*/ 246975150 w 527"/>
                <a:gd name="T55" fmla="*/ 400706031 h 263"/>
                <a:gd name="T56" fmla="*/ 309978195 w 527"/>
                <a:gd name="T57" fmla="*/ 415826979 h 263"/>
                <a:gd name="T58" fmla="*/ 279736352 w 527"/>
                <a:gd name="T59" fmla="*/ 446068976 h 263"/>
                <a:gd name="T60" fmla="*/ 325099117 w 527"/>
                <a:gd name="T61" fmla="*/ 446068976 h 263"/>
                <a:gd name="T62" fmla="*/ 294857274 w 527"/>
                <a:gd name="T63" fmla="*/ 476310873 h 263"/>
                <a:gd name="T64" fmla="*/ 201612336 w 527"/>
                <a:gd name="T65" fmla="*/ 539314031 h 263"/>
                <a:gd name="T66" fmla="*/ 294857274 w 527"/>
                <a:gd name="T67" fmla="*/ 569555929 h 263"/>
                <a:gd name="T68" fmla="*/ 463708456 w 527"/>
                <a:gd name="T69" fmla="*/ 584676877 h 263"/>
                <a:gd name="T70" fmla="*/ 743444710 w 527"/>
                <a:gd name="T71" fmla="*/ 662802572 h 263"/>
                <a:gd name="T72" fmla="*/ 942537834 w 527"/>
                <a:gd name="T73" fmla="*/ 569555929 h 263"/>
                <a:gd name="T74" fmla="*/ 1129027612 w 527"/>
                <a:gd name="T75" fmla="*/ 476310873 h 263"/>
                <a:gd name="T76" fmla="*/ 1237395009 w 527"/>
                <a:gd name="T77" fmla="*/ 385585082 h 263"/>
                <a:gd name="T78" fmla="*/ 1297878695 w 527"/>
                <a:gd name="T79" fmla="*/ 322580336 h 263"/>
                <a:gd name="T80" fmla="*/ 1328120538 w 527"/>
                <a:gd name="T81" fmla="*/ 322580336 h 263"/>
                <a:gd name="T82" fmla="*/ 1267636852 w 527"/>
                <a:gd name="T83" fmla="*/ 277217490 h 263"/>
                <a:gd name="T84" fmla="*/ 1312999616 w 527"/>
                <a:gd name="T85" fmla="*/ 246975593 h 263"/>
                <a:gd name="T86" fmla="*/ 1312999616 w 527"/>
                <a:gd name="T87" fmla="*/ 214214331 h 263"/>
                <a:gd name="T88" fmla="*/ 1204632219 w 527"/>
                <a:gd name="T89" fmla="*/ 214214331 h 263"/>
                <a:gd name="T90" fmla="*/ 1237395009 w 527"/>
                <a:gd name="T91" fmla="*/ 168851436 h 263"/>
                <a:gd name="T92" fmla="*/ 1174390376 w 527"/>
                <a:gd name="T93" fmla="*/ 153730487 h 263"/>
                <a:gd name="T94" fmla="*/ 1159269454 w 527"/>
                <a:gd name="T95" fmla="*/ 90725716 h 263"/>
                <a:gd name="T96" fmla="*/ 1204632219 w 527"/>
                <a:gd name="T97" fmla="*/ 15120955 h 263"/>
                <a:gd name="T98" fmla="*/ 1113906690 w 527"/>
                <a:gd name="T99" fmla="*/ 45362858 h 263"/>
                <a:gd name="T100" fmla="*/ 990419959 w 527"/>
                <a:gd name="T101" fmla="*/ 0 h 2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263"/>
                <a:gd name="T155" fmla="*/ 527 w 527"/>
                <a:gd name="T156" fmla="*/ 263 h 2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263">
                  <a:moveTo>
                    <a:pt x="393" y="0"/>
                  </a:moveTo>
                  <a:lnTo>
                    <a:pt x="386" y="18"/>
                  </a:lnTo>
                  <a:lnTo>
                    <a:pt x="344" y="36"/>
                  </a:lnTo>
                  <a:lnTo>
                    <a:pt x="307" y="24"/>
                  </a:lnTo>
                  <a:lnTo>
                    <a:pt x="307" y="61"/>
                  </a:lnTo>
                  <a:lnTo>
                    <a:pt x="301" y="49"/>
                  </a:lnTo>
                  <a:lnTo>
                    <a:pt x="258" y="30"/>
                  </a:lnTo>
                  <a:lnTo>
                    <a:pt x="246" y="55"/>
                  </a:lnTo>
                  <a:lnTo>
                    <a:pt x="209" y="30"/>
                  </a:lnTo>
                  <a:lnTo>
                    <a:pt x="184" y="79"/>
                  </a:lnTo>
                  <a:lnTo>
                    <a:pt x="160" y="98"/>
                  </a:lnTo>
                  <a:lnTo>
                    <a:pt x="135" y="73"/>
                  </a:lnTo>
                  <a:lnTo>
                    <a:pt x="147" y="55"/>
                  </a:lnTo>
                  <a:lnTo>
                    <a:pt x="68" y="0"/>
                  </a:lnTo>
                  <a:lnTo>
                    <a:pt x="86" y="18"/>
                  </a:lnTo>
                  <a:lnTo>
                    <a:pt x="98" y="49"/>
                  </a:lnTo>
                  <a:lnTo>
                    <a:pt x="56" y="24"/>
                  </a:lnTo>
                  <a:lnTo>
                    <a:pt x="43" y="36"/>
                  </a:lnTo>
                  <a:lnTo>
                    <a:pt x="43" y="49"/>
                  </a:lnTo>
                  <a:lnTo>
                    <a:pt x="56" y="61"/>
                  </a:lnTo>
                  <a:lnTo>
                    <a:pt x="13" y="55"/>
                  </a:lnTo>
                  <a:lnTo>
                    <a:pt x="25" y="73"/>
                  </a:lnTo>
                  <a:lnTo>
                    <a:pt x="0" y="79"/>
                  </a:lnTo>
                  <a:lnTo>
                    <a:pt x="111" y="85"/>
                  </a:lnTo>
                  <a:lnTo>
                    <a:pt x="98" y="104"/>
                  </a:lnTo>
                  <a:lnTo>
                    <a:pt x="111" y="116"/>
                  </a:lnTo>
                  <a:lnTo>
                    <a:pt x="19" y="134"/>
                  </a:lnTo>
                  <a:lnTo>
                    <a:pt x="98" y="159"/>
                  </a:lnTo>
                  <a:lnTo>
                    <a:pt x="123" y="165"/>
                  </a:lnTo>
                  <a:lnTo>
                    <a:pt x="111" y="177"/>
                  </a:lnTo>
                  <a:lnTo>
                    <a:pt x="129" y="177"/>
                  </a:lnTo>
                  <a:lnTo>
                    <a:pt x="117" y="189"/>
                  </a:lnTo>
                  <a:lnTo>
                    <a:pt x="80" y="214"/>
                  </a:lnTo>
                  <a:lnTo>
                    <a:pt x="117" y="226"/>
                  </a:lnTo>
                  <a:lnTo>
                    <a:pt x="184" y="232"/>
                  </a:lnTo>
                  <a:lnTo>
                    <a:pt x="295" y="263"/>
                  </a:lnTo>
                  <a:lnTo>
                    <a:pt x="374" y="226"/>
                  </a:lnTo>
                  <a:lnTo>
                    <a:pt x="448" y="189"/>
                  </a:lnTo>
                  <a:lnTo>
                    <a:pt x="491" y="153"/>
                  </a:lnTo>
                  <a:lnTo>
                    <a:pt x="515" y="128"/>
                  </a:lnTo>
                  <a:lnTo>
                    <a:pt x="527" y="128"/>
                  </a:lnTo>
                  <a:lnTo>
                    <a:pt x="503" y="110"/>
                  </a:lnTo>
                  <a:lnTo>
                    <a:pt x="521" y="98"/>
                  </a:lnTo>
                  <a:lnTo>
                    <a:pt x="521" y="85"/>
                  </a:lnTo>
                  <a:lnTo>
                    <a:pt x="478" y="85"/>
                  </a:lnTo>
                  <a:lnTo>
                    <a:pt x="491" y="67"/>
                  </a:lnTo>
                  <a:lnTo>
                    <a:pt x="466" y="61"/>
                  </a:lnTo>
                  <a:lnTo>
                    <a:pt x="460" y="36"/>
                  </a:lnTo>
                  <a:lnTo>
                    <a:pt x="478" y="6"/>
                  </a:lnTo>
                  <a:lnTo>
                    <a:pt x="442" y="18"/>
                  </a:lnTo>
                  <a:lnTo>
                    <a:pt x="393"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4" name="Freeform 79"/>
            <p:cNvSpPr>
              <a:spLocks/>
            </p:cNvSpPr>
            <p:nvPr/>
          </p:nvSpPr>
          <p:spPr bwMode="auto">
            <a:xfrm>
              <a:off x="2227921" y="5646474"/>
              <a:ext cx="268385" cy="654048"/>
            </a:xfrm>
            <a:custGeom>
              <a:avLst/>
              <a:gdLst>
                <a:gd name="T0" fmla="*/ 294857478 w 166"/>
                <a:gd name="T1" fmla="*/ 846772069 h 447"/>
                <a:gd name="T2" fmla="*/ 279736546 w 166"/>
                <a:gd name="T3" fmla="*/ 771167257 h 447"/>
                <a:gd name="T4" fmla="*/ 309978410 w 166"/>
                <a:gd name="T5" fmla="*/ 708162619 h 447"/>
                <a:gd name="T6" fmla="*/ 294857478 w 166"/>
                <a:gd name="T7" fmla="*/ 662799850 h 447"/>
                <a:gd name="T8" fmla="*/ 279736546 w 166"/>
                <a:gd name="T9" fmla="*/ 599796800 h 447"/>
                <a:gd name="T10" fmla="*/ 246975321 w 166"/>
                <a:gd name="T11" fmla="*/ 539313109 h 447"/>
                <a:gd name="T12" fmla="*/ 309978410 w 166"/>
                <a:gd name="T13" fmla="*/ 524192186 h 447"/>
                <a:gd name="T14" fmla="*/ 325100930 w 166"/>
                <a:gd name="T15" fmla="*/ 461187548 h 447"/>
                <a:gd name="T16" fmla="*/ 309978410 w 166"/>
                <a:gd name="T17" fmla="*/ 400703757 h 447"/>
                <a:gd name="T18" fmla="*/ 340221862 w 166"/>
                <a:gd name="T19" fmla="*/ 352821629 h 447"/>
                <a:gd name="T20" fmla="*/ 340221862 w 166"/>
                <a:gd name="T21" fmla="*/ 277217016 h 447"/>
                <a:gd name="T22" fmla="*/ 340221862 w 166"/>
                <a:gd name="T23" fmla="*/ 229333300 h 447"/>
                <a:gd name="T24" fmla="*/ 370463726 w 166"/>
                <a:gd name="T25" fmla="*/ 183970482 h 447"/>
                <a:gd name="T26" fmla="*/ 418345982 w 166"/>
                <a:gd name="T27" fmla="*/ 123486791 h 447"/>
                <a:gd name="T28" fmla="*/ 370463726 w 166"/>
                <a:gd name="T29" fmla="*/ 90725561 h 447"/>
                <a:gd name="T30" fmla="*/ 340221862 w 166"/>
                <a:gd name="T31" fmla="*/ 45362781 h 447"/>
                <a:gd name="T32" fmla="*/ 294857478 w 166"/>
                <a:gd name="T33" fmla="*/ 45362781 h 447"/>
                <a:gd name="T34" fmla="*/ 246975321 w 166"/>
                <a:gd name="T35" fmla="*/ 45362781 h 447"/>
                <a:gd name="T36" fmla="*/ 201612475 w 166"/>
                <a:gd name="T37" fmla="*/ 45362781 h 447"/>
                <a:gd name="T38" fmla="*/ 186491544 w 166"/>
                <a:gd name="T39" fmla="*/ 60483716 h 447"/>
                <a:gd name="T40" fmla="*/ 171370612 w 166"/>
                <a:gd name="T41" fmla="*/ 0 h 447"/>
                <a:gd name="T42" fmla="*/ 123486867 w 166"/>
                <a:gd name="T43" fmla="*/ 0 h 447"/>
                <a:gd name="T44" fmla="*/ 93246566 w 166"/>
                <a:gd name="T45" fmla="*/ 45362781 h 447"/>
                <a:gd name="T46" fmla="*/ 93246566 w 166"/>
                <a:gd name="T47" fmla="*/ 90725561 h 447"/>
                <a:gd name="T48" fmla="*/ 93246566 w 166"/>
                <a:gd name="T49" fmla="*/ 138607714 h 447"/>
                <a:gd name="T50" fmla="*/ 108365935 w 166"/>
                <a:gd name="T51" fmla="*/ 214212377 h 447"/>
                <a:gd name="T52" fmla="*/ 93246566 w 166"/>
                <a:gd name="T53" fmla="*/ 322579784 h 447"/>
                <a:gd name="T54" fmla="*/ 108365935 w 166"/>
                <a:gd name="T55" fmla="*/ 277217016 h 447"/>
                <a:gd name="T56" fmla="*/ 108365935 w 166"/>
                <a:gd name="T57" fmla="*/ 322579784 h 447"/>
                <a:gd name="T58" fmla="*/ 78124046 w 166"/>
                <a:gd name="T59" fmla="*/ 400703757 h 447"/>
                <a:gd name="T60" fmla="*/ 93246566 w 166"/>
                <a:gd name="T61" fmla="*/ 430945702 h 447"/>
                <a:gd name="T62" fmla="*/ 63003114 w 166"/>
                <a:gd name="T63" fmla="*/ 539313109 h 447"/>
                <a:gd name="T64" fmla="*/ 47883757 w 166"/>
                <a:gd name="T65" fmla="*/ 599796800 h 447"/>
                <a:gd name="T66" fmla="*/ 32761238 w 166"/>
                <a:gd name="T67" fmla="*/ 599796800 h 447"/>
                <a:gd name="T68" fmla="*/ 17640300 w 166"/>
                <a:gd name="T69" fmla="*/ 677920773 h 447"/>
                <a:gd name="T70" fmla="*/ 17640300 w 166"/>
                <a:gd name="T71" fmla="*/ 740925412 h 447"/>
                <a:gd name="T72" fmla="*/ 63003114 w 166"/>
                <a:gd name="T73" fmla="*/ 708162619 h 447"/>
                <a:gd name="T74" fmla="*/ 93246566 w 166"/>
                <a:gd name="T75" fmla="*/ 662799850 h 447"/>
                <a:gd name="T76" fmla="*/ 78124046 w 166"/>
                <a:gd name="T77" fmla="*/ 693041696 h 447"/>
                <a:gd name="T78" fmla="*/ 63003114 w 166"/>
                <a:gd name="T79" fmla="*/ 740925412 h 447"/>
                <a:gd name="T80" fmla="*/ 63003114 w 166"/>
                <a:gd name="T81" fmla="*/ 756046334 h 447"/>
                <a:gd name="T82" fmla="*/ 47883757 w 166"/>
                <a:gd name="T83" fmla="*/ 771167257 h 447"/>
                <a:gd name="T84" fmla="*/ 78124046 w 166"/>
                <a:gd name="T85" fmla="*/ 786288180 h 447"/>
                <a:gd name="T86" fmla="*/ 108365935 w 166"/>
                <a:gd name="T87" fmla="*/ 801409102 h 447"/>
                <a:gd name="T88" fmla="*/ 93246566 w 166"/>
                <a:gd name="T89" fmla="*/ 831650948 h 447"/>
                <a:gd name="T90" fmla="*/ 93246566 w 166"/>
                <a:gd name="T91" fmla="*/ 909775120 h 447"/>
                <a:gd name="T92" fmla="*/ 93246566 w 166"/>
                <a:gd name="T93" fmla="*/ 987900681 h 447"/>
                <a:gd name="T94" fmla="*/ 78124046 w 166"/>
                <a:gd name="T95" fmla="*/ 1063505295 h 447"/>
                <a:gd name="T96" fmla="*/ 93246566 w 166"/>
                <a:gd name="T97" fmla="*/ 1093747140 h 447"/>
                <a:gd name="T98" fmla="*/ 123486867 w 166"/>
                <a:gd name="T99" fmla="*/ 1093747140 h 447"/>
                <a:gd name="T100" fmla="*/ 171370612 w 166"/>
                <a:gd name="T101" fmla="*/ 1093747140 h 447"/>
                <a:gd name="T102" fmla="*/ 201612475 w 166"/>
                <a:gd name="T103" fmla="*/ 1126508345 h 447"/>
                <a:gd name="T104" fmla="*/ 231854389 w 166"/>
                <a:gd name="T105" fmla="*/ 1078626217 h 447"/>
                <a:gd name="T106" fmla="*/ 264615614 w 166"/>
                <a:gd name="T107" fmla="*/ 1063505295 h 447"/>
                <a:gd name="T108" fmla="*/ 264615614 w 166"/>
                <a:gd name="T109" fmla="*/ 1018142526 h 447"/>
                <a:gd name="T110" fmla="*/ 264615614 w 166"/>
                <a:gd name="T111" fmla="*/ 955137888 h 447"/>
                <a:gd name="T112" fmla="*/ 294857478 w 166"/>
                <a:gd name="T113" fmla="*/ 894654197 h 4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6"/>
                <a:gd name="T172" fmla="*/ 0 h 447"/>
                <a:gd name="T173" fmla="*/ 166 w 166"/>
                <a:gd name="T174" fmla="*/ 447 h 4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6" h="447">
                  <a:moveTo>
                    <a:pt x="129" y="336"/>
                  </a:moveTo>
                  <a:lnTo>
                    <a:pt x="123" y="336"/>
                  </a:lnTo>
                  <a:lnTo>
                    <a:pt x="123" y="343"/>
                  </a:lnTo>
                  <a:lnTo>
                    <a:pt x="117" y="343"/>
                  </a:lnTo>
                  <a:lnTo>
                    <a:pt x="117" y="336"/>
                  </a:lnTo>
                  <a:lnTo>
                    <a:pt x="117" y="330"/>
                  </a:lnTo>
                  <a:lnTo>
                    <a:pt x="111" y="324"/>
                  </a:lnTo>
                  <a:lnTo>
                    <a:pt x="111" y="318"/>
                  </a:lnTo>
                  <a:lnTo>
                    <a:pt x="111" y="312"/>
                  </a:lnTo>
                  <a:lnTo>
                    <a:pt x="111" y="306"/>
                  </a:lnTo>
                  <a:lnTo>
                    <a:pt x="111" y="300"/>
                  </a:lnTo>
                  <a:lnTo>
                    <a:pt x="111" y="294"/>
                  </a:lnTo>
                  <a:lnTo>
                    <a:pt x="117" y="287"/>
                  </a:lnTo>
                  <a:lnTo>
                    <a:pt x="117" y="281"/>
                  </a:lnTo>
                  <a:lnTo>
                    <a:pt x="123" y="281"/>
                  </a:lnTo>
                  <a:lnTo>
                    <a:pt x="123" y="275"/>
                  </a:lnTo>
                  <a:lnTo>
                    <a:pt x="129" y="269"/>
                  </a:lnTo>
                  <a:lnTo>
                    <a:pt x="123" y="263"/>
                  </a:lnTo>
                  <a:lnTo>
                    <a:pt x="123" y="257"/>
                  </a:lnTo>
                  <a:lnTo>
                    <a:pt x="117" y="263"/>
                  </a:lnTo>
                  <a:lnTo>
                    <a:pt x="117" y="257"/>
                  </a:lnTo>
                  <a:lnTo>
                    <a:pt x="117" y="251"/>
                  </a:lnTo>
                  <a:lnTo>
                    <a:pt x="111" y="251"/>
                  </a:lnTo>
                  <a:lnTo>
                    <a:pt x="111" y="245"/>
                  </a:lnTo>
                  <a:lnTo>
                    <a:pt x="111" y="238"/>
                  </a:lnTo>
                  <a:lnTo>
                    <a:pt x="111" y="226"/>
                  </a:lnTo>
                  <a:lnTo>
                    <a:pt x="105" y="226"/>
                  </a:lnTo>
                  <a:lnTo>
                    <a:pt x="105" y="220"/>
                  </a:lnTo>
                  <a:lnTo>
                    <a:pt x="98" y="220"/>
                  </a:lnTo>
                  <a:lnTo>
                    <a:pt x="98" y="214"/>
                  </a:lnTo>
                  <a:lnTo>
                    <a:pt x="105" y="214"/>
                  </a:lnTo>
                  <a:lnTo>
                    <a:pt x="111" y="214"/>
                  </a:lnTo>
                  <a:lnTo>
                    <a:pt x="117" y="214"/>
                  </a:lnTo>
                  <a:lnTo>
                    <a:pt x="123" y="214"/>
                  </a:lnTo>
                  <a:lnTo>
                    <a:pt x="123" y="208"/>
                  </a:lnTo>
                  <a:lnTo>
                    <a:pt x="129" y="202"/>
                  </a:lnTo>
                  <a:lnTo>
                    <a:pt x="123" y="202"/>
                  </a:lnTo>
                  <a:lnTo>
                    <a:pt x="129" y="196"/>
                  </a:lnTo>
                  <a:lnTo>
                    <a:pt x="129" y="189"/>
                  </a:lnTo>
                  <a:lnTo>
                    <a:pt x="129" y="183"/>
                  </a:lnTo>
                  <a:lnTo>
                    <a:pt x="129" y="177"/>
                  </a:lnTo>
                  <a:lnTo>
                    <a:pt x="129" y="171"/>
                  </a:lnTo>
                  <a:lnTo>
                    <a:pt x="123" y="171"/>
                  </a:lnTo>
                  <a:lnTo>
                    <a:pt x="123" y="165"/>
                  </a:lnTo>
                  <a:lnTo>
                    <a:pt x="123" y="159"/>
                  </a:lnTo>
                  <a:lnTo>
                    <a:pt x="129" y="159"/>
                  </a:lnTo>
                  <a:lnTo>
                    <a:pt x="129" y="153"/>
                  </a:lnTo>
                  <a:lnTo>
                    <a:pt x="135" y="153"/>
                  </a:lnTo>
                  <a:lnTo>
                    <a:pt x="135" y="147"/>
                  </a:lnTo>
                  <a:lnTo>
                    <a:pt x="135" y="140"/>
                  </a:lnTo>
                  <a:lnTo>
                    <a:pt x="135" y="134"/>
                  </a:lnTo>
                  <a:lnTo>
                    <a:pt x="135" y="128"/>
                  </a:lnTo>
                  <a:lnTo>
                    <a:pt x="135" y="122"/>
                  </a:lnTo>
                  <a:lnTo>
                    <a:pt x="135" y="116"/>
                  </a:lnTo>
                  <a:lnTo>
                    <a:pt x="135" y="110"/>
                  </a:lnTo>
                  <a:lnTo>
                    <a:pt x="129" y="104"/>
                  </a:lnTo>
                  <a:lnTo>
                    <a:pt x="129" y="98"/>
                  </a:lnTo>
                  <a:lnTo>
                    <a:pt x="129" y="91"/>
                  </a:lnTo>
                  <a:lnTo>
                    <a:pt x="129" y="98"/>
                  </a:lnTo>
                  <a:lnTo>
                    <a:pt x="135" y="91"/>
                  </a:lnTo>
                  <a:lnTo>
                    <a:pt x="135" y="85"/>
                  </a:lnTo>
                  <a:lnTo>
                    <a:pt x="135" y="79"/>
                  </a:lnTo>
                  <a:lnTo>
                    <a:pt x="141" y="79"/>
                  </a:lnTo>
                  <a:lnTo>
                    <a:pt x="141" y="73"/>
                  </a:lnTo>
                  <a:lnTo>
                    <a:pt x="147" y="73"/>
                  </a:lnTo>
                  <a:lnTo>
                    <a:pt x="154" y="67"/>
                  </a:lnTo>
                  <a:lnTo>
                    <a:pt x="154" y="61"/>
                  </a:lnTo>
                  <a:lnTo>
                    <a:pt x="160" y="61"/>
                  </a:lnTo>
                  <a:lnTo>
                    <a:pt x="160" y="55"/>
                  </a:lnTo>
                  <a:lnTo>
                    <a:pt x="166" y="49"/>
                  </a:lnTo>
                  <a:lnTo>
                    <a:pt x="166" y="42"/>
                  </a:lnTo>
                  <a:lnTo>
                    <a:pt x="160" y="42"/>
                  </a:lnTo>
                  <a:lnTo>
                    <a:pt x="160" y="36"/>
                  </a:lnTo>
                  <a:lnTo>
                    <a:pt x="154" y="36"/>
                  </a:lnTo>
                  <a:lnTo>
                    <a:pt x="147" y="36"/>
                  </a:lnTo>
                  <a:lnTo>
                    <a:pt x="147" y="30"/>
                  </a:lnTo>
                  <a:lnTo>
                    <a:pt x="147" y="18"/>
                  </a:lnTo>
                  <a:lnTo>
                    <a:pt x="147" y="12"/>
                  </a:lnTo>
                  <a:lnTo>
                    <a:pt x="141" y="18"/>
                  </a:lnTo>
                  <a:lnTo>
                    <a:pt x="135" y="18"/>
                  </a:lnTo>
                  <a:lnTo>
                    <a:pt x="135" y="12"/>
                  </a:lnTo>
                  <a:lnTo>
                    <a:pt x="129" y="12"/>
                  </a:lnTo>
                  <a:lnTo>
                    <a:pt x="123" y="12"/>
                  </a:lnTo>
                  <a:lnTo>
                    <a:pt x="117" y="12"/>
                  </a:lnTo>
                  <a:lnTo>
                    <a:pt x="117" y="18"/>
                  </a:lnTo>
                  <a:lnTo>
                    <a:pt x="111" y="18"/>
                  </a:lnTo>
                  <a:lnTo>
                    <a:pt x="111" y="24"/>
                  </a:lnTo>
                  <a:lnTo>
                    <a:pt x="105" y="24"/>
                  </a:lnTo>
                  <a:lnTo>
                    <a:pt x="105" y="18"/>
                  </a:lnTo>
                  <a:lnTo>
                    <a:pt x="98" y="18"/>
                  </a:lnTo>
                  <a:lnTo>
                    <a:pt x="98" y="24"/>
                  </a:lnTo>
                  <a:lnTo>
                    <a:pt x="92" y="24"/>
                  </a:lnTo>
                  <a:lnTo>
                    <a:pt x="92" y="18"/>
                  </a:lnTo>
                  <a:lnTo>
                    <a:pt x="86" y="18"/>
                  </a:lnTo>
                  <a:lnTo>
                    <a:pt x="80" y="18"/>
                  </a:lnTo>
                  <a:lnTo>
                    <a:pt x="80" y="24"/>
                  </a:lnTo>
                  <a:lnTo>
                    <a:pt x="80" y="12"/>
                  </a:lnTo>
                  <a:lnTo>
                    <a:pt x="80" y="18"/>
                  </a:lnTo>
                  <a:lnTo>
                    <a:pt x="74" y="18"/>
                  </a:lnTo>
                  <a:lnTo>
                    <a:pt x="74" y="24"/>
                  </a:lnTo>
                  <a:lnTo>
                    <a:pt x="68" y="24"/>
                  </a:lnTo>
                  <a:lnTo>
                    <a:pt x="68" y="18"/>
                  </a:lnTo>
                  <a:lnTo>
                    <a:pt x="68" y="12"/>
                  </a:lnTo>
                  <a:lnTo>
                    <a:pt x="68" y="6"/>
                  </a:lnTo>
                  <a:lnTo>
                    <a:pt x="68" y="0"/>
                  </a:lnTo>
                  <a:lnTo>
                    <a:pt x="68" y="6"/>
                  </a:lnTo>
                  <a:lnTo>
                    <a:pt x="68" y="0"/>
                  </a:lnTo>
                  <a:lnTo>
                    <a:pt x="62" y="0"/>
                  </a:lnTo>
                  <a:lnTo>
                    <a:pt x="56" y="0"/>
                  </a:lnTo>
                  <a:lnTo>
                    <a:pt x="49" y="0"/>
                  </a:lnTo>
                  <a:lnTo>
                    <a:pt x="49" y="6"/>
                  </a:lnTo>
                  <a:lnTo>
                    <a:pt x="43" y="6"/>
                  </a:lnTo>
                  <a:lnTo>
                    <a:pt x="43" y="12"/>
                  </a:lnTo>
                  <a:lnTo>
                    <a:pt x="37" y="12"/>
                  </a:lnTo>
                  <a:lnTo>
                    <a:pt x="37" y="18"/>
                  </a:lnTo>
                  <a:lnTo>
                    <a:pt x="31" y="18"/>
                  </a:lnTo>
                  <a:lnTo>
                    <a:pt x="31" y="24"/>
                  </a:lnTo>
                  <a:lnTo>
                    <a:pt x="31" y="30"/>
                  </a:lnTo>
                  <a:lnTo>
                    <a:pt x="31" y="36"/>
                  </a:lnTo>
                  <a:lnTo>
                    <a:pt x="37" y="36"/>
                  </a:lnTo>
                  <a:lnTo>
                    <a:pt x="43" y="36"/>
                  </a:lnTo>
                  <a:lnTo>
                    <a:pt x="37" y="36"/>
                  </a:lnTo>
                  <a:lnTo>
                    <a:pt x="37" y="42"/>
                  </a:lnTo>
                  <a:lnTo>
                    <a:pt x="37" y="49"/>
                  </a:lnTo>
                  <a:lnTo>
                    <a:pt x="37" y="55"/>
                  </a:lnTo>
                  <a:lnTo>
                    <a:pt x="37" y="61"/>
                  </a:lnTo>
                  <a:lnTo>
                    <a:pt x="37" y="67"/>
                  </a:lnTo>
                  <a:lnTo>
                    <a:pt x="37" y="73"/>
                  </a:lnTo>
                  <a:lnTo>
                    <a:pt x="43" y="79"/>
                  </a:lnTo>
                  <a:lnTo>
                    <a:pt x="43" y="85"/>
                  </a:lnTo>
                  <a:lnTo>
                    <a:pt x="43" y="98"/>
                  </a:lnTo>
                  <a:lnTo>
                    <a:pt x="43" y="104"/>
                  </a:lnTo>
                  <a:lnTo>
                    <a:pt x="43" y="110"/>
                  </a:lnTo>
                  <a:lnTo>
                    <a:pt x="43" y="116"/>
                  </a:lnTo>
                  <a:lnTo>
                    <a:pt x="37" y="128"/>
                  </a:lnTo>
                  <a:lnTo>
                    <a:pt x="43" y="122"/>
                  </a:lnTo>
                  <a:lnTo>
                    <a:pt x="43" y="116"/>
                  </a:lnTo>
                  <a:lnTo>
                    <a:pt x="43" y="110"/>
                  </a:lnTo>
                  <a:lnTo>
                    <a:pt x="43" y="116"/>
                  </a:lnTo>
                  <a:lnTo>
                    <a:pt x="43" y="110"/>
                  </a:lnTo>
                  <a:lnTo>
                    <a:pt x="43" y="116"/>
                  </a:lnTo>
                  <a:lnTo>
                    <a:pt x="43" y="122"/>
                  </a:lnTo>
                  <a:lnTo>
                    <a:pt x="43" y="128"/>
                  </a:lnTo>
                  <a:lnTo>
                    <a:pt x="43" y="122"/>
                  </a:lnTo>
                  <a:lnTo>
                    <a:pt x="43" y="128"/>
                  </a:lnTo>
                  <a:lnTo>
                    <a:pt x="37" y="128"/>
                  </a:lnTo>
                  <a:lnTo>
                    <a:pt x="37" y="134"/>
                  </a:lnTo>
                  <a:lnTo>
                    <a:pt x="37" y="128"/>
                  </a:lnTo>
                  <a:lnTo>
                    <a:pt x="37" y="147"/>
                  </a:lnTo>
                  <a:lnTo>
                    <a:pt x="31" y="159"/>
                  </a:lnTo>
                  <a:lnTo>
                    <a:pt x="31" y="165"/>
                  </a:lnTo>
                  <a:lnTo>
                    <a:pt x="31" y="171"/>
                  </a:lnTo>
                  <a:lnTo>
                    <a:pt x="37" y="171"/>
                  </a:lnTo>
                  <a:lnTo>
                    <a:pt x="31" y="171"/>
                  </a:lnTo>
                  <a:lnTo>
                    <a:pt x="37" y="171"/>
                  </a:lnTo>
                  <a:lnTo>
                    <a:pt x="31" y="171"/>
                  </a:lnTo>
                  <a:lnTo>
                    <a:pt x="31" y="183"/>
                  </a:lnTo>
                  <a:lnTo>
                    <a:pt x="25" y="196"/>
                  </a:lnTo>
                  <a:lnTo>
                    <a:pt x="25" y="202"/>
                  </a:lnTo>
                  <a:lnTo>
                    <a:pt x="25" y="214"/>
                  </a:lnTo>
                  <a:lnTo>
                    <a:pt x="25" y="220"/>
                  </a:lnTo>
                  <a:lnTo>
                    <a:pt x="19" y="226"/>
                  </a:lnTo>
                  <a:lnTo>
                    <a:pt x="13" y="232"/>
                  </a:lnTo>
                  <a:lnTo>
                    <a:pt x="19" y="232"/>
                  </a:lnTo>
                  <a:lnTo>
                    <a:pt x="19" y="238"/>
                  </a:lnTo>
                  <a:lnTo>
                    <a:pt x="13" y="238"/>
                  </a:lnTo>
                  <a:lnTo>
                    <a:pt x="13" y="232"/>
                  </a:lnTo>
                  <a:lnTo>
                    <a:pt x="19" y="232"/>
                  </a:lnTo>
                  <a:lnTo>
                    <a:pt x="13" y="232"/>
                  </a:lnTo>
                  <a:lnTo>
                    <a:pt x="13" y="238"/>
                  </a:lnTo>
                  <a:lnTo>
                    <a:pt x="7" y="238"/>
                  </a:lnTo>
                  <a:lnTo>
                    <a:pt x="13" y="245"/>
                  </a:lnTo>
                  <a:lnTo>
                    <a:pt x="7" y="257"/>
                  </a:lnTo>
                  <a:lnTo>
                    <a:pt x="7" y="263"/>
                  </a:lnTo>
                  <a:lnTo>
                    <a:pt x="7" y="269"/>
                  </a:lnTo>
                  <a:lnTo>
                    <a:pt x="7" y="275"/>
                  </a:lnTo>
                  <a:lnTo>
                    <a:pt x="0" y="287"/>
                  </a:lnTo>
                  <a:lnTo>
                    <a:pt x="7" y="294"/>
                  </a:lnTo>
                  <a:lnTo>
                    <a:pt x="0" y="294"/>
                  </a:lnTo>
                  <a:lnTo>
                    <a:pt x="7" y="294"/>
                  </a:lnTo>
                  <a:lnTo>
                    <a:pt x="13" y="300"/>
                  </a:lnTo>
                  <a:lnTo>
                    <a:pt x="13" y="294"/>
                  </a:lnTo>
                  <a:lnTo>
                    <a:pt x="19" y="294"/>
                  </a:lnTo>
                  <a:lnTo>
                    <a:pt x="25" y="287"/>
                  </a:lnTo>
                  <a:lnTo>
                    <a:pt x="25" y="281"/>
                  </a:lnTo>
                  <a:lnTo>
                    <a:pt x="25" y="275"/>
                  </a:lnTo>
                  <a:lnTo>
                    <a:pt x="31" y="269"/>
                  </a:lnTo>
                  <a:lnTo>
                    <a:pt x="31" y="263"/>
                  </a:lnTo>
                  <a:lnTo>
                    <a:pt x="37" y="269"/>
                  </a:lnTo>
                  <a:lnTo>
                    <a:pt x="37" y="263"/>
                  </a:lnTo>
                  <a:lnTo>
                    <a:pt x="43" y="257"/>
                  </a:lnTo>
                  <a:lnTo>
                    <a:pt x="37" y="263"/>
                  </a:lnTo>
                  <a:lnTo>
                    <a:pt x="37" y="269"/>
                  </a:lnTo>
                  <a:lnTo>
                    <a:pt x="31" y="269"/>
                  </a:lnTo>
                  <a:lnTo>
                    <a:pt x="31" y="275"/>
                  </a:lnTo>
                  <a:lnTo>
                    <a:pt x="25" y="275"/>
                  </a:lnTo>
                  <a:lnTo>
                    <a:pt x="25" y="281"/>
                  </a:lnTo>
                  <a:lnTo>
                    <a:pt x="31" y="281"/>
                  </a:lnTo>
                  <a:lnTo>
                    <a:pt x="31" y="287"/>
                  </a:lnTo>
                  <a:lnTo>
                    <a:pt x="25" y="294"/>
                  </a:lnTo>
                  <a:lnTo>
                    <a:pt x="31" y="294"/>
                  </a:lnTo>
                  <a:lnTo>
                    <a:pt x="25" y="294"/>
                  </a:lnTo>
                  <a:lnTo>
                    <a:pt x="25" y="300"/>
                  </a:lnTo>
                  <a:lnTo>
                    <a:pt x="25" y="306"/>
                  </a:lnTo>
                  <a:lnTo>
                    <a:pt x="25" y="300"/>
                  </a:lnTo>
                  <a:lnTo>
                    <a:pt x="19" y="300"/>
                  </a:lnTo>
                  <a:lnTo>
                    <a:pt x="19" y="294"/>
                  </a:lnTo>
                  <a:lnTo>
                    <a:pt x="19" y="300"/>
                  </a:lnTo>
                  <a:lnTo>
                    <a:pt x="13" y="300"/>
                  </a:lnTo>
                  <a:lnTo>
                    <a:pt x="19" y="306"/>
                  </a:lnTo>
                  <a:lnTo>
                    <a:pt x="19" y="312"/>
                  </a:lnTo>
                  <a:lnTo>
                    <a:pt x="19" y="318"/>
                  </a:lnTo>
                  <a:lnTo>
                    <a:pt x="25" y="318"/>
                  </a:lnTo>
                  <a:lnTo>
                    <a:pt x="25" y="312"/>
                  </a:lnTo>
                  <a:lnTo>
                    <a:pt x="31" y="312"/>
                  </a:lnTo>
                  <a:lnTo>
                    <a:pt x="37" y="312"/>
                  </a:lnTo>
                  <a:lnTo>
                    <a:pt x="37" y="306"/>
                  </a:lnTo>
                  <a:lnTo>
                    <a:pt x="37" y="312"/>
                  </a:lnTo>
                  <a:lnTo>
                    <a:pt x="37" y="318"/>
                  </a:lnTo>
                  <a:lnTo>
                    <a:pt x="43" y="318"/>
                  </a:lnTo>
                  <a:lnTo>
                    <a:pt x="37" y="318"/>
                  </a:lnTo>
                  <a:lnTo>
                    <a:pt x="31" y="312"/>
                  </a:lnTo>
                  <a:lnTo>
                    <a:pt x="37" y="318"/>
                  </a:lnTo>
                  <a:lnTo>
                    <a:pt x="37" y="324"/>
                  </a:lnTo>
                  <a:lnTo>
                    <a:pt x="37" y="330"/>
                  </a:lnTo>
                  <a:lnTo>
                    <a:pt x="37" y="336"/>
                  </a:lnTo>
                  <a:lnTo>
                    <a:pt x="37" y="343"/>
                  </a:lnTo>
                  <a:lnTo>
                    <a:pt x="31" y="355"/>
                  </a:lnTo>
                  <a:lnTo>
                    <a:pt x="31" y="361"/>
                  </a:lnTo>
                  <a:lnTo>
                    <a:pt x="37" y="361"/>
                  </a:lnTo>
                  <a:lnTo>
                    <a:pt x="37" y="367"/>
                  </a:lnTo>
                  <a:lnTo>
                    <a:pt x="37" y="379"/>
                  </a:lnTo>
                  <a:lnTo>
                    <a:pt x="37" y="385"/>
                  </a:lnTo>
                  <a:lnTo>
                    <a:pt x="37" y="379"/>
                  </a:lnTo>
                  <a:lnTo>
                    <a:pt x="37" y="392"/>
                  </a:lnTo>
                  <a:lnTo>
                    <a:pt x="37" y="398"/>
                  </a:lnTo>
                  <a:lnTo>
                    <a:pt x="37" y="404"/>
                  </a:lnTo>
                  <a:lnTo>
                    <a:pt x="37" y="410"/>
                  </a:lnTo>
                  <a:lnTo>
                    <a:pt x="31" y="416"/>
                  </a:lnTo>
                  <a:lnTo>
                    <a:pt x="31" y="422"/>
                  </a:lnTo>
                  <a:lnTo>
                    <a:pt x="31" y="428"/>
                  </a:lnTo>
                  <a:lnTo>
                    <a:pt x="31" y="434"/>
                  </a:lnTo>
                  <a:lnTo>
                    <a:pt x="25" y="441"/>
                  </a:lnTo>
                  <a:lnTo>
                    <a:pt x="31" y="441"/>
                  </a:lnTo>
                  <a:lnTo>
                    <a:pt x="37" y="434"/>
                  </a:lnTo>
                  <a:lnTo>
                    <a:pt x="43" y="434"/>
                  </a:lnTo>
                  <a:lnTo>
                    <a:pt x="43" y="428"/>
                  </a:lnTo>
                  <a:lnTo>
                    <a:pt x="49" y="428"/>
                  </a:lnTo>
                  <a:lnTo>
                    <a:pt x="43" y="434"/>
                  </a:lnTo>
                  <a:lnTo>
                    <a:pt x="49" y="434"/>
                  </a:lnTo>
                  <a:lnTo>
                    <a:pt x="49" y="428"/>
                  </a:lnTo>
                  <a:lnTo>
                    <a:pt x="49" y="434"/>
                  </a:lnTo>
                  <a:lnTo>
                    <a:pt x="56" y="434"/>
                  </a:lnTo>
                  <a:lnTo>
                    <a:pt x="62" y="434"/>
                  </a:lnTo>
                  <a:lnTo>
                    <a:pt x="68" y="434"/>
                  </a:lnTo>
                  <a:lnTo>
                    <a:pt x="74" y="441"/>
                  </a:lnTo>
                  <a:lnTo>
                    <a:pt x="80" y="441"/>
                  </a:lnTo>
                  <a:lnTo>
                    <a:pt x="74" y="441"/>
                  </a:lnTo>
                  <a:lnTo>
                    <a:pt x="80" y="441"/>
                  </a:lnTo>
                  <a:lnTo>
                    <a:pt x="80" y="447"/>
                  </a:lnTo>
                  <a:lnTo>
                    <a:pt x="80" y="441"/>
                  </a:lnTo>
                  <a:lnTo>
                    <a:pt x="86" y="441"/>
                  </a:lnTo>
                  <a:lnTo>
                    <a:pt x="86" y="434"/>
                  </a:lnTo>
                  <a:lnTo>
                    <a:pt x="92" y="434"/>
                  </a:lnTo>
                  <a:lnTo>
                    <a:pt x="92" y="428"/>
                  </a:lnTo>
                  <a:lnTo>
                    <a:pt x="98" y="428"/>
                  </a:lnTo>
                  <a:lnTo>
                    <a:pt x="92" y="428"/>
                  </a:lnTo>
                  <a:lnTo>
                    <a:pt x="98" y="428"/>
                  </a:lnTo>
                  <a:lnTo>
                    <a:pt x="105" y="428"/>
                  </a:lnTo>
                  <a:lnTo>
                    <a:pt x="105" y="422"/>
                  </a:lnTo>
                  <a:lnTo>
                    <a:pt x="105" y="416"/>
                  </a:lnTo>
                  <a:lnTo>
                    <a:pt x="105" y="410"/>
                  </a:lnTo>
                  <a:lnTo>
                    <a:pt x="105" y="404"/>
                  </a:lnTo>
                  <a:lnTo>
                    <a:pt x="98" y="404"/>
                  </a:lnTo>
                  <a:lnTo>
                    <a:pt x="105" y="404"/>
                  </a:lnTo>
                  <a:lnTo>
                    <a:pt x="98" y="398"/>
                  </a:lnTo>
                  <a:lnTo>
                    <a:pt x="98" y="392"/>
                  </a:lnTo>
                  <a:lnTo>
                    <a:pt x="98" y="385"/>
                  </a:lnTo>
                  <a:lnTo>
                    <a:pt x="105" y="385"/>
                  </a:lnTo>
                  <a:lnTo>
                    <a:pt x="105" y="379"/>
                  </a:lnTo>
                  <a:lnTo>
                    <a:pt x="105" y="373"/>
                  </a:lnTo>
                  <a:lnTo>
                    <a:pt x="111" y="367"/>
                  </a:lnTo>
                  <a:lnTo>
                    <a:pt x="111" y="361"/>
                  </a:lnTo>
                  <a:lnTo>
                    <a:pt x="111" y="355"/>
                  </a:lnTo>
                  <a:lnTo>
                    <a:pt x="117" y="355"/>
                  </a:lnTo>
                  <a:lnTo>
                    <a:pt x="123" y="355"/>
                  </a:lnTo>
                  <a:lnTo>
                    <a:pt x="123" y="349"/>
                  </a:lnTo>
                  <a:lnTo>
                    <a:pt x="123" y="343"/>
                  </a:lnTo>
                  <a:lnTo>
                    <a:pt x="129" y="33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5" name="Freeform 80"/>
            <p:cNvSpPr>
              <a:spLocks/>
            </p:cNvSpPr>
            <p:nvPr/>
          </p:nvSpPr>
          <p:spPr bwMode="auto">
            <a:xfrm>
              <a:off x="2248939" y="5440163"/>
              <a:ext cx="989468" cy="984731"/>
            </a:xfrm>
            <a:custGeom>
              <a:avLst/>
              <a:gdLst>
                <a:gd name="T0" fmla="*/ 246975313 w 612"/>
                <a:gd name="T1" fmla="*/ 1141632092 h 673"/>
                <a:gd name="T2" fmla="*/ 277217176 w 612"/>
                <a:gd name="T3" fmla="*/ 1018143629 h 673"/>
                <a:gd name="T4" fmla="*/ 231854382 w 612"/>
                <a:gd name="T5" fmla="*/ 924898632 h 673"/>
                <a:gd name="T6" fmla="*/ 292338108 w 612"/>
                <a:gd name="T7" fmla="*/ 864414875 h 673"/>
                <a:gd name="T8" fmla="*/ 277217176 w 612"/>
                <a:gd name="T9" fmla="*/ 756047153 h 673"/>
                <a:gd name="T10" fmla="*/ 307459039 w 612"/>
                <a:gd name="T11" fmla="*/ 647681217 h 673"/>
                <a:gd name="T12" fmla="*/ 322579971 w 612"/>
                <a:gd name="T13" fmla="*/ 554434632 h 673"/>
                <a:gd name="T14" fmla="*/ 370463714 w 612"/>
                <a:gd name="T15" fmla="*/ 461189634 h 673"/>
                <a:gd name="T16" fmla="*/ 307459039 w 612"/>
                <a:gd name="T17" fmla="*/ 385584840 h 673"/>
                <a:gd name="T18" fmla="*/ 214212501 w 612"/>
                <a:gd name="T19" fmla="*/ 400705779 h 673"/>
                <a:gd name="T20" fmla="*/ 153728726 w 612"/>
                <a:gd name="T21" fmla="*/ 400705779 h 673"/>
                <a:gd name="T22" fmla="*/ 123486863 w 612"/>
                <a:gd name="T23" fmla="*/ 355342962 h 673"/>
                <a:gd name="T24" fmla="*/ 45362807 w 612"/>
                <a:gd name="T25" fmla="*/ 355342962 h 673"/>
                <a:gd name="T26" fmla="*/ 45362807 w 612"/>
                <a:gd name="T27" fmla="*/ 322580133 h 673"/>
                <a:gd name="T28" fmla="*/ 60483751 w 612"/>
                <a:gd name="T29" fmla="*/ 277217316 h 673"/>
                <a:gd name="T30" fmla="*/ 45362807 w 612"/>
                <a:gd name="T31" fmla="*/ 246975438 h 673"/>
                <a:gd name="T32" fmla="*/ 45362807 w 612"/>
                <a:gd name="T33" fmla="*/ 214214197 h 673"/>
                <a:gd name="T34" fmla="*/ 15120938 w 612"/>
                <a:gd name="T35" fmla="*/ 183972269 h 673"/>
                <a:gd name="T36" fmla="*/ 15120938 w 612"/>
                <a:gd name="T37" fmla="*/ 138609452 h 673"/>
                <a:gd name="T38" fmla="*/ 45362807 w 612"/>
                <a:gd name="T39" fmla="*/ 90725659 h 673"/>
                <a:gd name="T40" fmla="*/ 123486863 w 612"/>
                <a:gd name="T41" fmla="*/ 90725659 h 673"/>
                <a:gd name="T42" fmla="*/ 138607794 w 612"/>
                <a:gd name="T43" fmla="*/ 30241891 h 673"/>
                <a:gd name="T44" fmla="*/ 214212501 w 612"/>
                <a:gd name="T45" fmla="*/ 15120945 h 673"/>
                <a:gd name="T46" fmla="*/ 307459039 w 612"/>
                <a:gd name="T47" fmla="*/ 45362830 h 673"/>
                <a:gd name="T48" fmla="*/ 400703989 w 612"/>
                <a:gd name="T49" fmla="*/ 30241891 h 673"/>
                <a:gd name="T50" fmla="*/ 493950626 w 612"/>
                <a:gd name="T51" fmla="*/ 45362830 h 673"/>
                <a:gd name="T52" fmla="*/ 632558371 w 612"/>
                <a:gd name="T53" fmla="*/ 75604720 h 673"/>
                <a:gd name="T54" fmla="*/ 693043684 w 612"/>
                <a:gd name="T55" fmla="*/ 60483781 h 673"/>
                <a:gd name="T56" fmla="*/ 756046772 w 612"/>
                <a:gd name="T57" fmla="*/ 90725659 h 673"/>
                <a:gd name="T58" fmla="*/ 849291921 w 612"/>
                <a:gd name="T59" fmla="*/ 90725659 h 673"/>
                <a:gd name="T60" fmla="*/ 940017509 w 612"/>
                <a:gd name="T61" fmla="*/ 108367574 h 673"/>
                <a:gd name="T62" fmla="*/ 987901253 w 612"/>
                <a:gd name="T63" fmla="*/ 153730391 h 673"/>
                <a:gd name="T64" fmla="*/ 1096267135 w 612"/>
                <a:gd name="T65" fmla="*/ 199093208 h 673"/>
                <a:gd name="T66" fmla="*/ 1186992723 w 612"/>
                <a:gd name="T67" fmla="*/ 231854499 h 673"/>
                <a:gd name="T68" fmla="*/ 1265118330 w 612"/>
                <a:gd name="T69" fmla="*/ 214214197 h 673"/>
                <a:gd name="T70" fmla="*/ 1328123005 w 612"/>
                <a:gd name="T71" fmla="*/ 246975438 h 673"/>
                <a:gd name="T72" fmla="*/ 1373485799 w 612"/>
                <a:gd name="T73" fmla="*/ 292338255 h 673"/>
                <a:gd name="T74" fmla="*/ 1496972612 w 612"/>
                <a:gd name="T75" fmla="*/ 277217316 h 673"/>
                <a:gd name="T76" fmla="*/ 1527214475 w 612"/>
                <a:gd name="T77" fmla="*/ 355342962 h 673"/>
                <a:gd name="T78" fmla="*/ 1481851681 w 612"/>
                <a:gd name="T79" fmla="*/ 446068695 h 673"/>
                <a:gd name="T80" fmla="*/ 1358364867 w 612"/>
                <a:gd name="T81" fmla="*/ 554434632 h 673"/>
                <a:gd name="T82" fmla="*/ 1249997398 w 612"/>
                <a:gd name="T83" fmla="*/ 632560278 h 673"/>
                <a:gd name="T84" fmla="*/ 1219755535 w 612"/>
                <a:gd name="T85" fmla="*/ 677923095 h 673"/>
                <a:gd name="T86" fmla="*/ 1186992723 w 612"/>
                <a:gd name="T87" fmla="*/ 756047153 h 673"/>
                <a:gd name="T88" fmla="*/ 1126508997 w 612"/>
                <a:gd name="T89" fmla="*/ 864414875 h 673"/>
                <a:gd name="T90" fmla="*/ 1126508997 w 612"/>
                <a:gd name="T91" fmla="*/ 1048385507 h 673"/>
                <a:gd name="T92" fmla="*/ 1141629929 w 612"/>
                <a:gd name="T93" fmla="*/ 1141632092 h 673"/>
                <a:gd name="T94" fmla="*/ 1063505910 w 612"/>
                <a:gd name="T95" fmla="*/ 1219756150 h 673"/>
                <a:gd name="T96" fmla="*/ 1048384979 w 612"/>
                <a:gd name="T97" fmla="*/ 1310481785 h 673"/>
                <a:gd name="T98" fmla="*/ 987901253 w 612"/>
                <a:gd name="T99" fmla="*/ 1343244613 h 673"/>
                <a:gd name="T100" fmla="*/ 909775646 w 612"/>
                <a:gd name="T101" fmla="*/ 1466731489 h 673"/>
                <a:gd name="T102" fmla="*/ 849291921 w 612"/>
                <a:gd name="T103" fmla="*/ 1496973367 h 673"/>
                <a:gd name="T104" fmla="*/ 786288635 w 612"/>
                <a:gd name="T105" fmla="*/ 1527215245 h 673"/>
                <a:gd name="T106" fmla="*/ 662801822 w 612"/>
                <a:gd name="T107" fmla="*/ 1527215245 h 673"/>
                <a:gd name="T108" fmla="*/ 539313421 w 612"/>
                <a:gd name="T109" fmla="*/ 1572578062 h 673"/>
                <a:gd name="T110" fmla="*/ 463708763 w 612"/>
                <a:gd name="T111" fmla="*/ 1680945983 h 673"/>
                <a:gd name="T112" fmla="*/ 400703989 w 612"/>
                <a:gd name="T113" fmla="*/ 1650703708 h 673"/>
                <a:gd name="T114" fmla="*/ 370463714 w 612"/>
                <a:gd name="T115" fmla="*/ 1542336184 h 673"/>
                <a:gd name="T116" fmla="*/ 307459039 w 612"/>
                <a:gd name="T117" fmla="*/ 1433970248 h 673"/>
                <a:gd name="T118" fmla="*/ 231854382 w 612"/>
                <a:gd name="T119" fmla="*/ 1388607430 h 673"/>
                <a:gd name="T120" fmla="*/ 231854382 w 612"/>
                <a:gd name="T121" fmla="*/ 1295360846 h 6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2"/>
                <a:gd name="T184" fmla="*/ 0 h 673"/>
                <a:gd name="T185" fmla="*/ 612 w 612"/>
                <a:gd name="T186" fmla="*/ 673 h 6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2" h="673">
                  <a:moveTo>
                    <a:pt x="116" y="477"/>
                  </a:moveTo>
                  <a:lnTo>
                    <a:pt x="110" y="477"/>
                  </a:lnTo>
                  <a:lnTo>
                    <a:pt x="110" y="484"/>
                  </a:lnTo>
                  <a:lnTo>
                    <a:pt x="104" y="484"/>
                  </a:lnTo>
                  <a:lnTo>
                    <a:pt x="104" y="477"/>
                  </a:lnTo>
                  <a:lnTo>
                    <a:pt x="104" y="471"/>
                  </a:lnTo>
                  <a:lnTo>
                    <a:pt x="98" y="465"/>
                  </a:lnTo>
                  <a:lnTo>
                    <a:pt x="98" y="459"/>
                  </a:lnTo>
                  <a:lnTo>
                    <a:pt x="98" y="453"/>
                  </a:lnTo>
                  <a:lnTo>
                    <a:pt x="98" y="447"/>
                  </a:lnTo>
                  <a:lnTo>
                    <a:pt x="98" y="441"/>
                  </a:lnTo>
                  <a:lnTo>
                    <a:pt x="98" y="435"/>
                  </a:lnTo>
                  <a:lnTo>
                    <a:pt x="104" y="428"/>
                  </a:lnTo>
                  <a:lnTo>
                    <a:pt x="104" y="422"/>
                  </a:lnTo>
                  <a:lnTo>
                    <a:pt x="110" y="422"/>
                  </a:lnTo>
                  <a:lnTo>
                    <a:pt x="110" y="416"/>
                  </a:lnTo>
                  <a:lnTo>
                    <a:pt x="116" y="410"/>
                  </a:lnTo>
                  <a:lnTo>
                    <a:pt x="110" y="404"/>
                  </a:lnTo>
                  <a:lnTo>
                    <a:pt x="110" y="398"/>
                  </a:lnTo>
                  <a:lnTo>
                    <a:pt x="104" y="404"/>
                  </a:lnTo>
                  <a:lnTo>
                    <a:pt x="104" y="398"/>
                  </a:lnTo>
                  <a:lnTo>
                    <a:pt x="104" y="392"/>
                  </a:lnTo>
                  <a:lnTo>
                    <a:pt x="98" y="392"/>
                  </a:lnTo>
                  <a:lnTo>
                    <a:pt x="98" y="386"/>
                  </a:lnTo>
                  <a:lnTo>
                    <a:pt x="98" y="379"/>
                  </a:lnTo>
                  <a:lnTo>
                    <a:pt x="98" y="367"/>
                  </a:lnTo>
                  <a:lnTo>
                    <a:pt x="92" y="367"/>
                  </a:lnTo>
                  <a:lnTo>
                    <a:pt x="92" y="361"/>
                  </a:lnTo>
                  <a:lnTo>
                    <a:pt x="85" y="361"/>
                  </a:lnTo>
                  <a:lnTo>
                    <a:pt x="85" y="355"/>
                  </a:lnTo>
                  <a:lnTo>
                    <a:pt x="92" y="355"/>
                  </a:lnTo>
                  <a:lnTo>
                    <a:pt x="98" y="355"/>
                  </a:lnTo>
                  <a:lnTo>
                    <a:pt x="104" y="355"/>
                  </a:lnTo>
                  <a:lnTo>
                    <a:pt x="110" y="355"/>
                  </a:lnTo>
                  <a:lnTo>
                    <a:pt x="110" y="349"/>
                  </a:lnTo>
                  <a:lnTo>
                    <a:pt x="116" y="343"/>
                  </a:lnTo>
                  <a:lnTo>
                    <a:pt x="110" y="343"/>
                  </a:lnTo>
                  <a:lnTo>
                    <a:pt x="116" y="337"/>
                  </a:lnTo>
                  <a:lnTo>
                    <a:pt x="116" y="330"/>
                  </a:lnTo>
                  <a:lnTo>
                    <a:pt x="116" y="324"/>
                  </a:lnTo>
                  <a:lnTo>
                    <a:pt x="116" y="318"/>
                  </a:lnTo>
                  <a:lnTo>
                    <a:pt x="116" y="312"/>
                  </a:lnTo>
                  <a:lnTo>
                    <a:pt x="110" y="312"/>
                  </a:lnTo>
                  <a:lnTo>
                    <a:pt x="110" y="306"/>
                  </a:lnTo>
                  <a:lnTo>
                    <a:pt x="110" y="300"/>
                  </a:lnTo>
                  <a:lnTo>
                    <a:pt x="116" y="300"/>
                  </a:lnTo>
                  <a:lnTo>
                    <a:pt x="116" y="294"/>
                  </a:lnTo>
                  <a:lnTo>
                    <a:pt x="122" y="294"/>
                  </a:lnTo>
                  <a:lnTo>
                    <a:pt x="122" y="288"/>
                  </a:lnTo>
                  <a:lnTo>
                    <a:pt x="122" y="281"/>
                  </a:lnTo>
                  <a:lnTo>
                    <a:pt x="122" y="275"/>
                  </a:lnTo>
                  <a:lnTo>
                    <a:pt x="122" y="269"/>
                  </a:lnTo>
                  <a:lnTo>
                    <a:pt x="122" y="263"/>
                  </a:lnTo>
                  <a:lnTo>
                    <a:pt x="122" y="257"/>
                  </a:lnTo>
                  <a:lnTo>
                    <a:pt x="122" y="251"/>
                  </a:lnTo>
                  <a:lnTo>
                    <a:pt x="116" y="245"/>
                  </a:lnTo>
                  <a:lnTo>
                    <a:pt x="116" y="239"/>
                  </a:lnTo>
                  <a:lnTo>
                    <a:pt x="116" y="232"/>
                  </a:lnTo>
                  <a:lnTo>
                    <a:pt x="116" y="239"/>
                  </a:lnTo>
                  <a:lnTo>
                    <a:pt x="122" y="232"/>
                  </a:lnTo>
                  <a:lnTo>
                    <a:pt x="122" y="226"/>
                  </a:lnTo>
                  <a:lnTo>
                    <a:pt x="122" y="220"/>
                  </a:lnTo>
                  <a:lnTo>
                    <a:pt x="128" y="220"/>
                  </a:lnTo>
                  <a:lnTo>
                    <a:pt x="128" y="214"/>
                  </a:lnTo>
                  <a:lnTo>
                    <a:pt x="134" y="214"/>
                  </a:lnTo>
                  <a:lnTo>
                    <a:pt x="141" y="208"/>
                  </a:lnTo>
                  <a:lnTo>
                    <a:pt x="141" y="202"/>
                  </a:lnTo>
                  <a:lnTo>
                    <a:pt x="147" y="202"/>
                  </a:lnTo>
                  <a:lnTo>
                    <a:pt x="147" y="196"/>
                  </a:lnTo>
                  <a:lnTo>
                    <a:pt x="153" y="190"/>
                  </a:lnTo>
                  <a:lnTo>
                    <a:pt x="153" y="183"/>
                  </a:lnTo>
                  <a:lnTo>
                    <a:pt x="147" y="183"/>
                  </a:lnTo>
                  <a:lnTo>
                    <a:pt x="147" y="177"/>
                  </a:lnTo>
                  <a:lnTo>
                    <a:pt x="141" y="177"/>
                  </a:lnTo>
                  <a:lnTo>
                    <a:pt x="134" y="177"/>
                  </a:lnTo>
                  <a:lnTo>
                    <a:pt x="134" y="171"/>
                  </a:lnTo>
                  <a:lnTo>
                    <a:pt x="134" y="159"/>
                  </a:lnTo>
                  <a:lnTo>
                    <a:pt x="134" y="153"/>
                  </a:lnTo>
                  <a:lnTo>
                    <a:pt x="128" y="159"/>
                  </a:lnTo>
                  <a:lnTo>
                    <a:pt x="122" y="159"/>
                  </a:lnTo>
                  <a:lnTo>
                    <a:pt x="122" y="153"/>
                  </a:lnTo>
                  <a:lnTo>
                    <a:pt x="116" y="153"/>
                  </a:lnTo>
                  <a:lnTo>
                    <a:pt x="110" y="153"/>
                  </a:lnTo>
                  <a:lnTo>
                    <a:pt x="104" y="153"/>
                  </a:lnTo>
                  <a:lnTo>
                    <a:pt x="104" y="159"/>
                  </a:lnTo>
                  <a:lnTo>
                    <a:pt x="98" y="159"/>
                  </a:lnTo>
                  <a:lnTo>
                    <a:pt x="98" y="165"/>
                  </a:lnTo>
                  <a:lnTo>
                    <a:pt x="92" y="165"/>
                  </a:lnTo>
                  <a:lnTo>
                    <a:pt x="92" y="159"/>
                  </a:lnTo>
                  <a:lnTo>
                    <a:pt x="85" y="159"/>
                  </a:lnTo>
                  <a:lnTo>
                    <a:pt x="85" y="165"/>
                  </a:lnTo>
                  <a:lnTo>
                    <a:pt x="79" y="165"/>
                  </a:lnTo>
                  <a:lnTo>
                    <a:pt x="79" y="159"/>
                  </a:lnTo>
                  <a:lnTo>
                    <a:pt x="73" y="159"/>
                  </a:lnTo>
                  <a:lnTo>
                    <a:pt x="67" y="159"/>
                  </a:lnTo>
                  <a:lnTo>
                    <a:pt x="67" y="165"/>
                  </a:lnTo>
                  <a:lnTo>
                    <a:pt x="67" y="153"/>
                  </a:lnTo>
                  <a:lnTo>
                    <a:pt x="67" y="159"/>
                  </a:lnTo>
                  <a:lnTo>
                    <a:pt x="61" y="159"/>
                  </a:lnTo>
                  <a:lnTo>
                    <a:pt x="61" y="165"/>
                  </a:lnTo>
                  <a:lnTo>
                    <a:pt x="55" y="165"/>
                  </a:lnTo>
                  <a:lnTo>
                    <a:pt x="55" y="159"/>
                  </a:lnTo>
                  <a:lnTo>
                    <a:pt x="55" y="153"/>
                  </a:lnTo>
                  <a:lnTo>
                    <a:pt x="55" y="147"/>
                  </a:lnTo>
                  <a:lnTo>
                    <a:pt x="55" y="141"/>
                  </a:lnTo>
                  <a:lnTo>
                    <a:pt x="55" y="147"/>
                  </a:lnTo>
                  <a:lnTo>
                    <a:pt x="55" y="141"/>
                  </a:lnTo>
                  <a:lnTo>
                    <a:pt x="49" y="141"/>
                  </a:lnTo>
                  <a:lnTo>
                    <a:pt x="43" y="141"/>
                  </a:lnTo>
                  <a:lnTo>
                    <a:pt x="36" y="141"/>
                  </a:lnTo>
                  <a:lnTo>
                    <a:pt x="36" y="147"/>
                  </a:lnTo>
                  <a:lnTo>
                    <a:pt x="30" y="147"/>
                  </a:lnTo>
                  <a:lnTo>
                    <a:pt x="30" y="153"/>
                  </a:lnTo>
                  <a:lnTo>
                    <a:pt x="24" y="153"/>
                  </a:lnTo>
                  <a:lnTo>
                    <a:pt x="24" y="159"/>
                  </a:lnTo>
                  <a:lnTo>
                    <a:pt x="18" y="159"/>
                  </a:lnTo>
                  <a:lnTo>
                    <a:pt x="18" y="141"/>
                  </a:lnTo>
                  <a:lnTo>
                    <a:pt x="24" y="141"/>
                  </a:lnTo>
                  <a:lnTo>
                    <a:pt x="18" y="134"/>
                  </a:lnTo>
                  <a:lnTo>
                    <a:pt x="24" y="134"/>
                  </a:lnTo>
                  <a:lnTo>
                    <a:pt x="24" y="128"/>
                  </a:lnTo>
                  <a:lnTo>
                    <a:pt x="30" y="128"/>
                  </a:lnTo>
                  <a:lnTo>
                    <a:pt x="30" y="122"/>
                  </a:lnTo>
                  <a:lnTo>
                    <a:pt x="30" y="128"/>
                  </a:lnTo>
                  <a:lnTo>
                    <a:pt x="24" y="128"/>
                  </a:lnTo>
                  <a:lnTo>
                    <a:pt x="18" y="128"/>
                  </a:lnTo>
                  <a:lnTo>
                    <a:pt x="18" y="122"/>
                  </a:lnTo>
                  <a:lnTo>
                    <a:pt x="24" y="122"/>
                  </a:lnTo>
                  <a:lnTo>
                    <a:pt x="30" y="116"/>
                  </a:lnTo>
                  <a:lnTo>
                    <a:pt x="30" y="110"/>
                  </a:lnTo>
                  <a:lnTo>
                    <a:pt x="24" y="116"/>
                  </a:lnTo>
                  <a:lnTo>
                    <a:pt x="18" y="116"/>
                  </a:lnTo>
                  <a:lnTo>
                    <a:pt x="18" y="110"/>
                  </a:lnTo>
                  <a:lnTo>
                    <a:pt x="24" y="104"/>
                  </a:lnTo>
                  <a:lnTo>
                    <a:pt x="24" y="110"/>
                  </a:lnTo>
                  <a:lnTo>
                    <a:pt x="24" y="104"/>
                  </a:lnTo>
                  <a:lnTo>
                    <a:pt x="24" y="98"/>
                  </a:lnTo>
                  <a:lnTo>
                    <a:pt x="30" y="92"/>
                  </a:lnTo>
                  <a:lnTo>
                    <a:pt x="24" y="98"/>
                  </a:lnTo>
                  <a:lnTo>
                    <a:pt x="24" y="92"/>
                  </a:lnTo>
                  <a:lnTo>
                    <a:pt x="24" y="98"/>
                  </a:lnTo>
                  <a:lnTo>
                    <a:pt x="18" y="98"/>
                  </a:lnTo>
                  <a:lnTo>
                    <a:pt x="24" y="98"/>
                  </a:lnTo>
                  <a:lnTo>
                    <a:pt x="18" y="98"/>
                  </a:lnTo>
                  <a:lnTo>
                    <a:pt x="18" y="104"/>
                  </a:lnTo>
                  <a:lnTo>
                    <a:pt x="12" y="104"/>
                  </a:lnTo>
                  <a:lnTo>
                    <a:pt x="12" y="98"/>
                  </a:lnTo>
                  <a:lnTo>
                    <a:pt x="12" y="104"/>
                  </a:lnTo>
                  <a:lnTo>
                    <a:pt x="12" y="98"/>
                  </a:lnTo>
                  <a:lnTo>
                    <a:pt x="12" y="92"/>
                  </a:lnTo>
                  <a:lnTo>
                    <a:pt x="18" y="85"/>
                  </a:lnTo>
                  <a:lnTo>
                    <a:pt x="18" y="79"/>
                  </a:lnTo>
                  <a:lnTo>
                    <a:pt x="18" y="85"/>
                  </a:lnTo>
                  <a:lnTo>
                    <a:pt x="12" y="85"/>
                  </a:lnTo>
                  <a:lnTo>
                    <a:pt x="12" y="79"/>
                  </a:lnTo>
                  <a:lnTo>
                    <a:pt x="12" y="85"/>
                  </a:lnTo>
                  <a:lnTo>
                    <a:pt x="6" y="79"/>
                  </a:lnTo>
                  <a:lnTo>
                    <a:pt x="12" y="79"/>
                  </a:lnTo>
                  <a:lnTo>
                    <a:pt x="6" y="79"/>
                  </a:lnTo>
                  <a:lnTo>
                    <a:pt x="6" y="73"/>
                  </a:lnTo>
                  <a:lnTo>
                    <a:pt x="12" y="73"/>
                  </a:lnTo>
                  <a:lnTo>
                    <a:pt x="6" y="73"/>
                  </a:lnTo>
                  <a:lnTo>
                    <a:pt x="6" y="67"/>
                  </a:lnTo>
                  <a:lnTo>
                    <a:pt x="6" y="73"/>
                  </a:lnTo>
                  <a:lnTo>
                    <a:pt x="6" y="67"/>
                  </a:lnTo>
                  <a:lnTo>
                    <a:pt x="6" y="73"/>
                  </a:lnTo>
                  <a:lnTo>
                    <a:pt x="0" y="73"/>
                  </a:lnTo>
                  <a:lnTo>
                    <a:pt x="0" y="67"/>
                  </a:lnTo>
                  <a:lnTo>
                    <a:pt x="6" y="67"/>
                  </a:lnTo>
                  <a:lnTo>
                    <a:pt x="0" y="61"/>
                  </a:lnTo>
                  <a:lnTo>
                    <a:pt x="6" y="55"/>
                  </a:lnTo>
                  <a:lnTo>
                    <a:pt x="6" y="49"/>
                  </a:lnTo>
                  <a:lnTo>
                    <a:pt x="12" y="49"/>
                  </a:lnTo>
                  <a:lnTo>
                    <a:pt x="12" y="43"/>
                  </a:lnTo>
                  <a:lnTo>
                    <a:pt x="18" y="43"/>
                  </a:lnTo>
                  <a:lnTo>
                    <a:pt x="18" y="49"/>
                  </a:lnTo>
                  <a:lnTo>
                    <a:pt x="18" y="43"/>
                  </a:lnTo>
                  <a:lnTo>
                    <a:pt x="18" y="36"/>
                  </a:lnTo>
                  <a:lnTo>
                    <a:pt x="18" y="43"/>
                  </a:lnTo>
                  <a:lnTo>
                    <a:pt x="18" y="36"/>
                  </a:lnTo>
                  <a:lnTo>
                    <a:pt x="18" y="43"/>
                  </a:lnTo>
                  <a:lnTo>
                    <a:pt x="18" y="36"/>
                  </a:lnTo>
                  <a:lnTo>
                    <a:pt x="24" y="36"/>
                  </a:lnTo>
                  <a:lnTo>
                    <a:pt x="30" y="43"/>
                  </a:lnTo>
                  <a:lnTo>
                    <a:pt x="36" y="36"/>
                  </a:lnTo>
                  <a:lnTo>
                    <a:pt x="43" y="36"/>
                  </a:lnTo>
                  <a:lnTo>
                    <a:pt x="43" y="30"/>
                  </a:lnTo>
                  <a:lnTo>
                    <a:pt x="43" y="36"/>
                  </a:lnTo>
                  <a:lnTo>
                    <a:pt x="49" y="36"/>
                  </a:lnTo>
                  <a:lnTo>
                    <a:pt x="49" y="30"/>
                  </a:lnTo>
                  <a:lnTo>
                    <a:pt x="55" y="36"/>
                  </a:lnTo>
                  <a:lnTo>
                    <a:pt x="55" y="30"/>
                  </a:lnTo>
                  <a:lnTo>
                    <a:pt x="49" y="30"/>
                  </a:lnTo>
                  <a:lnTo>
                    <a:pt x="49" y="24"/>
                  </a:lnTo>
                  <a:lnTo>
                    <a:pt x="55" y="24"/>
                  </a:lnTo>
                  <a:lnTo>
                    <a:pt x="49" y="24"/>
                  </a:lnTo>
                  <a:lnTo>
                    <a:pt x="49" y="18"/>
                  </a:lnTo>
                  <a:lnTo>
                    <a:pt x="55" y="12"/>
                  </a:lnTo>
                  <a:lnTo>
                    <a:pt x="61" y="6"/>
                  </a:lnTo>
                  <a:lnTo>
                    <a:pt x="61" y="12"/>
                  </a:lnTo>
                  <a:lnTo>
                    <a:pt x="61" y="6"/>
                  </a:lnTo>
                  <a:lnTo>
                    <a:pt x="67" y="0"/>
                  </a:lnTo>
                  <a:lnTo>
                    <a:pt x="73" y="0"/>
                  </a:lnTo>
                  <a:lnTo>
                    <a:pt x="73" y="6"/>
                  </a:lnTo>
                  <a:lnTo>
                    <a:pt x="73" y="0"/>
                  </a:lnTo>
                  <a:lnTo>
                    <a:pt x="79" y="0"/>
                  </a:lnTo>
                  <a:lnTo>
                    <a:pt x="85" y="6"/>
                  </a:lnTo>
                  <a:lnTo>
                    <a:pt x="85" y="0"/>
                  </a:lnTo>
                  <a:lnTo>
                    <a:pt x="92" y="6"/>
                  </a:lnTo>
                  <a:lnTo>
                    <a:pt x="98" y="6"/>
                  </a:lnTo>
                  <a:lnTo>
                    <a:pt x="98" y="12"/>
                  </a:lnTo>
                  <a:lnTo>
                    <a:pt x="98" y="18"/>
                  </a:lnTo>
                  <a:lnTo>
                    <a:pt x="104" y="18"/>
                  </a:lnTo>
                  <a:lnTo>
                    <a:pt x="110" y="18"/>
                  </a:lnTo>
                  <a:lnTo>
                    <a:pt x="116" y="18"/>
                  </a:lnTo>
                  <a:lnTo>
                    <a:pt x="122" y="18"/>
                  </a:lnTo>
                  <a:lnTo>
                    <a:pt x="128" y="18"/>
                  </a:lnTo>
                  <a:lnTo>
                    <a:pt x="134" y="18"/>
                  </a:lnTo>
                  <a:lnTo>
                    <a:pt x="141" y="18"/>
                  </a:lnTo>
                  <a:lnTo>
                    <a:pt x="147" y="18"/>
                  </a:lnTo>
                  <a:lnTo>
                    <a:pt x="147" y="12"/>
                  </a:lnTo>
                  <a:lnTo>
                    <a:pt x="153" y="12"/>
                  </a:lnTo>
                  <a:lnTo>
                    <a:pt x="153" y="18"/>
                  </a:lnTo>
                  <a:lnTo>
                    <a:pt x="159" y="18"/>
                  </a:lnTo>
                  <a:lnTo>
                    <a:pt x="159" y="12"/>
                  </a:lnTo>
                  <a:lnTo>
                    <a:pt x="165" y="18"/>
                  </a:lnTo>
                  <a:lnTo>
                    <a:pt x="165" y="12"/>
                  </a:lnTo>
                  <a:lnTo>
                    <a:pt x="165" y="6"/>
                  </a:lnTo>
                  <a:lnTo>
                    <a:pt x="171" y="12"/>
                  </a:lnTo>
                  <a:lnTo>
                    <a:pt x="177" y="12"/>
                  </a:lnTo>
                  <a:lnTo>
                    <a:pt x="177" y="18"/>
                  </a:lnTo>
                  <a:lnTo>
                    <a:pt x="184" y="18"/>
                  </a:lnTo>
                  <a:lnTo>
                    <a:pt x="190" y="18"/>
                  </a:lnTo>
                  <a:lnTo>
                    <a:pt x="196" y="18"/>
                  </a:lnTo>
                  <a:lnTo>
                    <a:pt x="202" y="24"/>
                  </a:lnTo>
                  <a:lnTo>
                    <a:pt x="208" y="24"/>
                  </a:lnTo>
                  <a:lnTo>
                    <a:pt x="214" y="24"/>
                  </a:lnTo>
                  <a:lnTo>
                    <a:pt x="220" y="24"/>
                  </a:lnTo>
                  <a:lnTo>
                    <a:pt x="226" y="30"/>
                  </a:lnTo>
                  <a:lnTo>
                    <a:pt x="233" y="30"/>
                  </a:lnTo>
                  <a:lnTo>
                    <a:pt x="239" y="30"/>
                  </a:lnTo>
                  <a:lnTo>
                    <a:pt x="245" y="30"/>
                  </a:lnTo>
                  <a:lnTo>
                    <a:pt x="251" y="30"/>
                  </a:lnTo>
                  <a:lnTo>
                    <a:pt x="251" y="24"/>
                  </a:lnTo>
                  <a:lnTo>
                    <a:pt x="257" y="30"/>
                  </a:lnTo>
                  <a:lnTo>
                    <a:pt x="257" y="24"/>
                  </a:lnTo>
                  <a:lnTo>
                    <a:pt x="263" y="24"/>
                  </a:lnTo>
                  <a:lnTo>
                    <a:pt x="269" y="24"/>
                  </a:lnTo>
                  <a:lnTo>
                    <a:pt x="263" y="24"/>
                  </a:lnTo>
                  <a:lnTo>
                    <a:pt x="263" y="30"/>
                  </a:lnTo>
                  <a:lnTo>
                    <a:pt x="269" y="24"/>
                  </a:lnTo>
                  <a:lnTo>
                    <a:pt x="275" y="24"/>
                  </a:lnTo>
                  <a:lnTo>
                    <a:pt x="275" y="18"/>
                  </a:lnTo>
                  <a:lnTo>
                    <a:pt x="275" y="24"/>
                  </a:lnTo>
                  <a:lnTo>
                    <a:pt x="282" y="24"/>
                  </a:lnTo>
                  <a:lnTo>
                    <a:pt x="282" y="30"/>
                  </a:lnTo>
                  <a:lnTo>
                    <a:pt x="288" y="30"/>
                  </a:lnTo>
                  <a:lnTo>
                    <a:pt x="294" y="30"/>
                  </a:lnTo>
                  <a:lnTo>
                    <a:pt x="300" y="36"/>
                  </a:lnTo>
                  <a:lnTo>
                    <a:pt x="300" y="30"/>
                  </a:lnTo>
                  <a:lnTo>
                    <a:pt x="300" y="36"/>
                  </a:lnTo>
                  <a:lnTo>
                    <a:pt x="306" y="36"/>
                  </a:lnTo>
                  <a:lnTo>
                    <a:pt x="306" y="30"/>
                  </a:lnTo>
                  <a:lnTo>
                    <a:pt x="312" y="30"/>
                  </a:lnTo>
                  <a:lnTo>
                    <a:pt x="318" y="24"/>
                  </a:lnTo>
                  <a:lnTo>
                    <a:pt x="318" y="30"/>
                  </a:lnTo>
                  <a:lnTo>
                    <a:pt x="324" y="30"/>
                  </a:lnTo>
                  <a:lnTo>
                    <a:pt x="331" y="30"/>
                  </a:lnTo>
                  <a:lnTo>
                    <a:pt x="331" y="36"/>
                  </a:lnTo>
                  <a:lnTo>
                    <a:pt x="337" y="36"/>
                  </a:lnTo>
                  <a:lnTo>
                    <a:pt x="343" y="36"/>
                  </a:lnTo>
                  <a:lnTo>
                    <a:pt x="349" y="36"/>
                  </a:lnTo>
                  <a:lnTo>
                    <a:pt x="355" y="36"/>
                  </a:lnTo>
                  <a:lnTo>
                    <a:pt x="361" y="36"/>
                  </a:lnTo>
                  <a:lnTo>
                    <a:pt x="361" y="30"/>
                  </a:lnTo>
                  <a:lnTo>
                    <a:pt x="367" y="30"/>
                  </a:lnTo>
                  <a:lnTo>
                    <a:pt x="367" y="36"/>
                  </a:lnTo>
                  <a:lnTo>
                    <a:pt x="373" y="36"/>
                  </a:lnTo>
                  <a:lnTo>
                    <a:pt x="373" y="43"/>
                  </a:lnTo>
                  <a:lnTo>
                    <a:pt x="380" y="36"/>
                  </a:lnTo>
                  <a:lnTo>
                    <a:pt x="386" y="43"/>
                  </a:lnTo>
                  <a:lnTo>
                    <a:pt x="386" y="55"/>
                  </a:lnTo>
                  <a:lnTo>
                    <a:pt x="380" y="55"/>
                  </a:lnTo>
                  <a:lnTo>
                    <a:pt x="380" y="61"/>
                  </a:lnTo>
                  <a:lnTo>
                    <a:pt x="386" y="61"/>
                  </a:lnTo>
                  <a:lnTo>
                    <a:pt x="386" y="55"/>
                  </a:lnTo>
                  <a:lnTo>
                    <a:pt x="392" y="55"/>
                  </a:lnTo>
                  <a:lnTo>
                    <a:pt x="392" y="61"/>
                  </a:lnTo>
                  <a:lnTo>
                    <a:pt x="398" y="61"/>
                  </a:lnTo>
                  <a:lnTo>
                    <a:pt x="404" y="67"/>
                  </a:lnTo>
                  <a:lnTo>
                    <a:pt x="410" y="67"/>
                  </a:lnTo>
                  <a:lnTo>
                    <a:pt x="416" y="67"/>
                  </a:lnTo>
                  <a:lnTo>
                    <a:pt x="416" y="73"/>
                  </a:lnTo>
                  <a:lnTo>
                    <a:pt x="422" y="73"/>
                  </a:lnTo>
                  <a:lnTo>
                    <a:pt x="422" y="79"/>
                  </a:lnTo>
                  <a:lnTo>
                    <a:pt x="429" y="79"/>
                  </a:lnTo>
                  <a:lnTo>
                    <a:pt x="435" y="79"/>
                  </a:lnTo>
                  <a:lnTo>
                    <a:pt x="441" y="79"/>
                  </a:lnTo>
                  <a:lnTo>
                    <a:pt x="447" y="79"/>
                  </a:lnTo>
                  <a:lnTo>
                    <a:pt x="447" y="85"/>
                  </a:lnTo>
                  <a:lnTo>
                    <a:pt x="453" y="92"/>
                  </a:lnTo>
                  <a:lnTo>
                    <a:pt x="459" y="85"/>
                  </a:lnTo>
                  <a:lnTo>
                    <a:pt x="465" y="85"/>
                  </a:lnTo>
                  <a:lnTo>
                    <a:pt x="465" y="92"/>
                  </a:lnTo>
                  <a:lnTo>
                    <a:pt x="471" y="85"/>
                  </a:lnTo>
                  <a:lnTo>
                    <a:pt x="471" y="92"/>
                  </a:lnTo>
                  <a:lnTo>
                    <a:pt x="478" y="92"/>
                  </a:lnTo>
                  <a:lnTo>
                    <a:pt x="484" y="92"/>
                  </a:lnTo>
                  <a:lnTo>
                    <a:pt x="484" y="85"/>
                  </a:lnTo>
                  <a:lnTo>
                    <a:pt x="484" y="79"/>
                  </a:lnTo>
                  <a:lnTo>
                    <a:pt x="484" y="73"/>
                  </a:lnTo>
                  <a:lnTo>
                    <a:pt x="490" y="79"/>
                  </a:lnTo>
                  <a:lnTo>
                    <a:pt x="496" y="79"/>
                  </a:lnTo>
                  <a:lnTo>
                    <a:pt x="502" y="79"/>
                  </a:lnTo>
                  <a:lnTo>
                    <a:pt x="502" y="85"/>
                  </a:lnTo>
                  <a:lnTo>
                    <a:pt x="508" y="85"/>
                  </a:lnTo>
                  <a:lnTo>
                    <a:pt x="508" y="92"/>
                  </a:lnTo>
                  <a:lnTo>
                    <a:pt x="514" y="85"/>
                  </a:lnTo>
                  <a:lnTo>
                    <a:pt x="520" y="85"/>
                  </a:lnTo>
                  <a:lnTo>
                    <a:pt x="520" y="92"/>
                  </a:lnTo>
                  <a:lnTo>
                    <a:pt x="520" y="98"/>
                  </a:lnTo>
                  <a:lnTo>
                    <a:pt x="527" y="98"/>
                  </a:lnTo>
                  <a:lnTo>
                    <a:pt x="520" y="98"/>
                  </a:lnTo>
                  <a:lnTo>
                    <a:pt x="527" y="98"/>
                  </a:lnTo>
                  <a:lnTo>
                    <a:pt x="520" y="104"/>
                  </a:lnTo>
                  <a:lnTo>
                    <a:pt x="527" y="104"/>
                  </a:lnTo>
                  <a:lnTo>
                    <a:pt x="520" y="110"/>
                  </a:lnTo>
                  <a:lnTo>
                    <a:pt x="527" y="110"/>
                  </a:lnTo>
                  <a:lnTo>
                    <a:pt x="533" y="110"/>
                  </a:lnTo>
                  <a:lnTo>
                    <a:pt x="539" y="104"/>
                  </a:lnTo>
                  <a:lnTo>
                    <a:pt x="539" y="110"/>
                  </a:lnTo>
                  <a:lnTo>
                    <a:pt x="545" y="110"/>
                  </a:lnTo>
                  <a:lnTo>
                    <a:pt x="545" y="116"/>
                  </a:lnTo>
                  <a:lnTo>
                    <a:pt x="551" y="116"/>
                  </a:lnTo>
                  <a:lnTo>
                    <a:pt x="557" y="116"/>
                  </a:lnTo>
                  <a:lnTo>
                    <a:pt x="563" y="116"/>
                  </a:lnTo>
                  <a:lnTo>
                    <a:pt x="563" y="110"/>
                  </a:lnTo>
                  <a:lnTo>
                    <a:pt x="570" y="116"/>
                  </a:lnTo>
                  <a:lnTo>
                    <a:pt x="576" y="116"/>
                  </a:lnTo>
                  <a:lnTo>
                    <a:pt x="582" y="116"/>
                  </a:lnTo>
                  <a:lnTo>
                    <a:pt x="588" y="116"/>
                  </a:lnTo>
                  <a:lnTo>
                    <a:pt x="594" y="110"/>
                  </a:lnTo>
                  <a:lnTo>
                    <a:pt x="600" y="110"/>
                  </a:lnTo>
                  <a:lnTo>
                    <a:pt x="606" y="110"/>
                  </a:lnTo>
                  <a:lnTo>
                    <a:pt x="606" y="116"/>
                  </a:lnTo>
                  <a:lnTo>
                    <a:pt x="606" y="122"/>
                  </a:lnTo>
                  <a:lnTo>
                    <a:pt x="612" y="122"/>
                  </a:lnTo>
                  <a:lnTo>
                    <a:pt x="612" y="128"/>
                  </a:lnTo>
                  <a:lnTo>
                    <a:pt x="606" y="128"/>
                  </a:lnTo>
                  <a:lnTo>
                    <a:pt x="606" y="134"/>
                  </a:lnTo>
                  <a:lnTo>
                    <a:pt x="606" y="141"/>
                  </a:lnTo>
                  <a:lnTo>
                    <a:pt x="612" y="147"/>
                  </a:lnTo>
                  <a:lnTo>
                    <a:pt x="606" y="147"/>
                  </a:lnTo>
                  <a:lnTo>
                    <a:pt x="612" y="153"/>
                  </a:lnTo>
                  <a:lnTo>
                    <a:pt x="612" y="159"/>
                  </a:lnTo>
                  <a:lnTo>
                    <a:pt x="606" y="159"/>
                  </a:lnTo>
                  <a:lnTo>
                    <a:pt x="606" y="165"/>
                  </a:lnTo>
                  <a:lnTo>
                    <a:pt x="600" y="171"/>
                  </a:lnTo>
                  <a:lnTo>
                    <a:pt x="594" y="177"/>
                  </a:lnTo>
                  <a:lnTo>
                    <a:pt x="588" y="177"/>
                  </a:lnTo>
                  <a:lnTo>
                    <a:pt x="588" y="183"/>
                  </a:lnTo>
                  <a:lnTo>
                    <a:pt x="582" y="183"/>
                  </a:lnTo>
                  <a:lnTo>
                    <a:pt x="576" y="190"/>
                  </a:lnTo>
                  <a:lnTo>
                    <a:pt x="570" y="196"/>
                  </a:lnTo>
                  <a:lnTo>
                    <a:pt x="563" y="202"/>
                  </a:lnTo>
                  <a:lnTo>
                    <a:pt x="557" y="208"/>
                  </a:lnTo>
                  <a:lnTo>
                    <a:pt x="557" y="214"/>
                  </a:lnTo>
                  <a:lnTo>
                    <a:pt x="545" y="214"/>
                  </a:lnTo>
                  <a:lnTo>
                    <a:pt x="539" y="220"/>
                  </a:lnTo>
                  <a:lnTo>
                    <a:pt x="533" y="220"/>
                  </a:lnTo>
                  <a:lnTo>
                    <a:pt x="527" y="220"/>
                  </a:lnTo>
                  <a:lnTo>
                    <a:pt x="520" y="226"/>
                  </a:lnTo>
                  <a:lnTo>
                    <a:pt x="514" y="226"/>
                  </a:lnTo>
                  <a:lnTo>
                    <a:pt x="508" y="232"/>
                  </a:lnTo>
                  <a:lnTo>
                    <a:pt x="502" y="232"/>
                  </a:lnTo>
                  <a:lnTo>
                    <a:pt x="496" y="239"/>
                  </a:lnTo>
                  <a:lnTo>
                    <a:pt x="496" y="245"/>
                  </a:lnTo>
                  <a:lnTo>
                    <a:pt x="496" y="251"/>
                  </a:lnTo>
                  <a:lnTo>
                    <a:pt x="490" y="251"/>
                  </a:lnTo>
                  <a:lnTo>
                    <a:pt x="490" y="257"/>
                  </a:lnTo>
                  <a:lnTo>
                    <a:pt x="496" y="257"/>
                  </a:lnTo>
                  <a:lnTo>
                    <a:pt x="496" y="263"/>
                  </a:lnTo>
                  <a:lnTo>
                    <a:pt x="490" y="263"/>
                  </a:lnTo>
                  <a:lnTo>
                    <a:pt x="490" y="269"/>
                  </a:lnTo>
                  <a:lnTo>
                    <a:pt x="490" y="275"/>
                  </a:lnTo>
                  <a:lnTo>
                    <a:pt x="484" y="275"/>
                  </a:lnTo>
                  <a:lnTo>
                    <a:pt x="484" y="269"/>
                  </a:lnTo>
                  <a:lnTo>
                    <a:pt x="484" y="275"/>
                  </a:lnTo>
                  <a:lnTo>
                    <a:pt x="484" y="269"/>
                  </a:lnTo>
                  <a:lnTo>
                    <a:pt x="490" y="269"/>
                  </a:lnTo>
                  <a:lnTo>
                    <a:pt x="484" y="269"/>
                  </a:lnTo>
                  <a:lnTo>
                    <a:pt x="478" y="275"/>
                  </a:lnTo>
                  <a:lnTo>
                    <a:pt x="478" y="281"/>
                  </a:lnTo>
                  <a:lnTo>
                    <a:pt x="471" y="288"/>
                  </a:lnTo>
                  <a:lnTo>
                    <a:pt x="471" y="294"/>
                  </a:lnTo>
                  <a:lnTo>
                    <a:pt x="471" y="300"/>
                  </a:lnTo>
                  <a:lnTo>
                    <a:pt x="465" y="300"/>
                  </a:lnTo>
                  <a:lnTo>
                    <a:pt x="465" y="306"/>
                  </a:lnTo>
                  <a:lnTo>
                    <a:pt x="459" y="312"/>
                  </a:lnTo>
                  <a:lnTo>
                    <a:pt x="459" y="318"/>
                  </a:lnTo>
                  <a:lnTo>
                    <a:pt x="453" y="324"/>
                  </a:lnTo>
                  <a:lnTo>
                    <a:pt x="453" y="330"/>
                  </a:lnTo>
                  <a:lnTo>
                    <a:pt x="453" y="337"/>
                  </a:lnTo>
                  <a:lnTo>
                    <a:pt x="447" y="337"/>
                  </a:lnTo>
                  <a:lnTo>
                    <a:pt x="447" y="343"/>
                  </a:lnTo>
                  <a:lnTo>
                    <a:pt x="447" y="349"/>
                  </a:lnTo>
                  <a:lnTo>
                    <a:pt x="441" y="349"/>
                  </a:lnTo>
                  <a:lnTo>
                    <a:pt x="441" y="355"/>
                  </a:lnTo>
                  <a:lnTo>
                    <a:pt x="441" y="361"/>
                  </a:lnTo>
                  <a:lnTo>
                    <a:pt x="435" y="367"/>
                  </a:lnTo>
                  <a:lnTo>
                    <a:pt x="435" y="373"/>
                  </a:lnTo>
                  <a:lnTo>
                    <a:pt x="441" y="392"/>
                  </a:lnTo>
                  <a:lnTo>
                    <a:pt x="447" y="404"/>
                  </a:lnTo>
                  <a:lnTo>
                    <a:pt x="447" y="416"/>
                  </a:lnTo>
                  <a:lnTo>
                    <a:pt x="453" y="422"/>
                  </a:lnTo>
                  <a:lnTo>
                    <a:pt x="459" y="422"/>
                  </a:lnTo>
                  <a:lnTo>
                    <a:pt x="465" y="428"/>
                  </a:lnTo>
                  <a:lnTo>
                    <a:pt x="465" y="435"/>
                  </a:lnTo>
                  <a:lnTo>
                    <a:pt x="459" y="435"/>
                  </a:lnTo>
                  <a:lnTo>
                    <a:pt x="459" y="441"/>
                  </a:lnTo>
                  <a:lnTo>
                    <a:pt x="453" y="441"/>
                  </a:lnTo>
                  <a:lnTo>
                    <a:pt x="453" y="447"/>
                  </a:lnTo>
                  <a:lnTo>
                    <a:pt x="453" y="453"/>
                  </a:lnTo>
                  <a:lnTo>
                    <a:pt x="447" y="453"/>
                  </a:lnTo>
                  <a:lnTo>
                    <a:pt x="441" y="453"/>
                  </a:lnTo>
                  <a:lnTo>
                    <a:pt x="435" y="459"/>
                  </a:lnTo>
                  <a:lnTo>
                    <a:pt x="435" y="465"/>
                  </a:lnTo>
                  <a:lnTo>
                    <a:pt x="429" y="465"/>
                  </a:lnTo>
                  <a:lnTo>
                    <a:pt x="429" y="471"/>
                  </a:lnTo>
                  <a:lnTo>
                    <a:pt x="429" y="477"/>
                  </a:lnTo>
                  <a:lnTo>
                    <a:pt x="429" y="484"/>
                  </a:lnTo>
                  <a:lnTo>
                    <a:pt x="422" y="484"/>
                  </a:lnTo>
                  <a:lnTo>
                    <a:pt x="422" y="490"/>
                  </a:lnTo>
                  <a:lnTo>
                    <a:pt x="422" y="496"/>
                  </a:lnTo>
                  <a:lnTo>
                    <a:pt x="422" y="502"/>
                  </a:lnTo>
                  <a:lnTo>
                    <a:pt x="416" y="502"/>
                  </a:lnTo>
                  <a:lnTo>
                    <a:pt x="416" y="508"/>
                  </a:lnTo>
                  <a:lnTo>
                    <a:pt x="416" y="514"/>
                  </a:lnTo>
                  <a:lnTo>
                    <a:pt x="416" y="520"/>
                  </a:lnTo>
                  <a:lnTo>
                    <a:pt x="416" y="526"/>
                  </a:lnTo>
                  <a:lnTo>
                    <a:pt x="416" y="520"/>
                  </a:lnTo>
                  <a:lnTo>
                    <a:pt x="422" y="520"/>
                  </a:lnTo>
                  <a:lnTo>
                    <a:pt x="422" y="526"/>
                  </a:lnTo>
                  <a:lnTo>
                    <a:pt x="416" y="533"/>
                  </a:lnTo>
                  <a:lnTo>
                    <a:pt x="410" y="533"/>
                  </a:lnTo>
                  <a:lnTo>
                    <a:pt x="404" y="533"/>
                  </a:lnTo>
                  <a:lnTo>
                    <a:pt x="398" y="533"/>
                  </a:lnTo>
                  <a:lnTo>
                    <a:pt x="398" y="539"/>
                  </a:lnTo>
                  <a:lnTo>
                    <a:pt x="398" y="533"/>
                  </a:lnTo>
                  <a:lnTo>
                    <a:pt x="392" y="533"/>
                  </a:lnTo>
                  <a:lnTo>
                    <a:pt x="386" y="533"/>
                  </a:lnTo>
                  <a:lnTo>
                    <a:pt x="386" y="539"/>
                  </a:lnTo>
                  <a:lnTo>
                    <a:pt x="380" y="545"/>
                  </a:lnTo>
                  <a:lnTo>
                    <a:pt x="373" y="551"/>
                  </a:lnTo>
                  <a:lnTo>
                    <a:pt x="373" y="557"/>
                  </a:lnTo>
                  <a:lnTo>
                    <a:pt x="367" y="563"/>
                  </a:lnTo>
                  <a:lnTo>
                    <a:pt x="367" y="569"/>
                  </a:lnTo>
                  <a:lnTo>
                    <a:pt x="367" y="575"/>
                  </a:lnTo>
                  <a:lnTo>
                    <a:pt x="361" y="582"/>
                  </a:lnTo>
                  <a:lnTo>
                    <a:pt x="361" y="588"/>
                  </a:lnTo>
                  <a:lnTo>
                    <a:pt x="361" y="594"/>
                  </a:lnTo>
                  <a:lnTo>
                    <a:pt x="361" y="588"/>
                  </a:lnTo>
                  <a:lnTo>
                    <a:pt x="355" y="594"/>
                  </a:lnTo>
                  <a:lnTo>
                    <a:pt x="355" y="600"/>
                  </a:lnTo>
                  <a:lnTo>
                    <a:pt x="349" y="606"/>
                  </a:lnTo>
                  <a:lnTo>
                    <a:pt x="343" y="600"/>
                  </a:lnTo>
                  <a:lnTo>
                    <a:pt x="343" y="594"/>
                  </a:lnTo>
                  <a:lnTo>
                    <a:pt x="337" y="594"/>
                  </a:lnTo>
                  <a:lnTo>
                    <a:pt x="337" y="600"/>
                  </a:lnTo>
                  <a:lnTo>
                    <a:pt x="337" y="594"/>
                  </a:lnTo>
                  <a:lnTo>
                    <a:pt x="331" y="594"/>
                  </a:lnTo>
                  <a:lnTo>
                    <a:pt x="331" y="600"/>
                  </a:lnTo>
                  <a:lnTo>
                    <a:pt x="324" y="606"/>
                  </a:lnTo>
                  <a:lnTo>
                    <a:pt x="324" y="612"/>
                  </a:lnTo>
                  <a:lnTo>
                    <a:pt x="318" y="612"/>
                  </a:lnTo>
                  <a:lnTo>
                    <a:pt x="318" y="606"/>
                  </a:lnTo>
                  <a:lnTo>
                    <a:pt x="312" y="606"/>
                  </a:lnTo>
                  <a:lnTo>
                    <a:pt x="306" y="600"/>
                  </a:lnTo>
                  <a:lnTo>
                    <a:pt x="306" y="606"/>
                  </a:lnTo>
                  <a:lnTo>
                    <a:pt x="300" y="606"/>
                  </a:lnTo>
                  <a:lnTo>
                    <a:pt x="294" y="606"/>
                  </a:lnTo>
                  <a:lnTo>
                    <a:pt x="288" y="606"/>
                  </a:lnTo>
                  <a:lnTo>
                    <a:pt x="282" y="606"/>
                  </a:lnTo>
                  <a:lnTo>
                    <a:pt x="275" y="606"/>
                  </a:lnTo>
                  <a:lnTo>
                    <a:pt x="269" y="606"/>
                  </a:lnTo>
                  <a:lnTo>
                    <a:pt x="263" y="606"/>
                  </a:lnTo>
                  <a:lnTo>
                    <a:pt x="257" y="606"/>
                  </a:lnTo>
                  <a:lnTo>
                    <a:pt x="251" y="606"/>
                  </a:lnTo>
                  <a:lnTo>
                    <a:pt x="239" y="606"/>
                  </a:lnTo>
                  <a:lnTo>
                    <a:pt x="239" y="612"/>
                  </a:lnTo>
                  <a:lnTo>
                    <a:pt x="233" y="612"/>
                  </a:lnTo>
                  <a:lnTo>
                    <a:pt x="233" y="618"/>
                  </a:lnTo>
                  <a:lnTo>
                    <a:pt x="226" y="624"/>
                  </a:lnTo>
                  <a:lnTo>
                    <a:pt x="220" y="624"/>
                  </a:lnTo>
                  <a:lnTo>
                    <a:pt x="214" y="624"/>
                  </a:lnTo>
                  <a:lnTo>
                    <a:pt x="208" y="631"/>
                  </a:lnTo>
                  <a:lnTo>
                    <a:pt x="202" y="631"/>
                  </a:lnTo>
                  <a:lnTo>
                    <a:pt x="196" y="643"/>
                  </a:lnTo>
                  <a:lnTo>
                    <a:pt x="196" y="649"/>
                  </a:lnTo>
                  <a:lnTo>
                    <a:pt x="196" y="661"/>
                  </a:lnTo>
                  <a:lnTo>
                    <a:pt x="190" y="661"/>
                  </a:lnTo>
                  <a:lnTo>
                    <a:pt x="190" y="655"/>
                  </a:lnTo>
                  <a:lnTo>
                    <a:pt x="190" y="667"/>
                  </a:lnTo>
                  <a:lnTo>
                    <a:pt x="184" y="667"/>
                  </a:lnTo>
                  <a:lnTo>
                    <a:pt x="177" y="673"/>
                  </a:lnTo>
                  <a:lnTo>
                    <a:pt x="177" y="667"/>
                  </a:lnTo>
                  <a:lnTo>
                    <a:pt x="171" y="667"/>
                  </a:lnTo>
                  <a:lnTo>
                    <a:pt x="171" y="661"/>
                  </a:lnTo>
                  <a:lnTo>
                    <a:pt x="171" y="667"/>
                  </a:lnTo>
                  <a:lnTo>
                    <a:pt x="171" y="661"/>
                  </a:lnTo>
                  <a:lnTo>
                    <a:pt x="165" y="661"/>
                  </a:lnTo>
                  <a:lnTo>
                    <a:pt x="165" y="655"/>
                  </a:lnTo>
                  <a:lnTo>
                    <a:pt x="159" y="655"/>
                  </a:lnTo>
                  <a:lnTo>
                    <a:pt x="159" y="649"/>
                  </a:lnTo>
                  <a:lnTo>
                    <a:pt x="153" y="649"/>
                  </a:lnTo>
                  <a:lnTo>
                    <a:pt x="153" y="643"/>
                  </a:lnTo>
                  <a:lnTo>
                    <a:pt x="153" y="637"/>
                  </a:lnTo>
                  <a:lnTo>
                    <a:pt x="153" y="631"/>
                  </a:lnTo>
                  <a:lnTo>
                    <a:pt x="147" y="637"/>
                  </a:lnTo>
                  <a:lnTo>
                    <a:pt x="147" y="624"/>
                  </a:lnTo>
                  <a:lnTo>
                    <a:pt x="147" y="618"/>
                  </a:lnTo>
                  <a:lnTo>
                    <a:pt x="147" y="612"/>
                  </a:lnTo>
                  <a:lnTo>
                    <a:pt x="141" y="618"/>
                  </a:lnTo>
                  <a:lnTo>
                    <a:pt x="141" y="612"/>
                  </a:lnTo>
                  <a:lnTo>
                    <a:pt x="141" y="606"/>
                  </a:lnTo>
                  <a:lnTo>
                    <a:pt x="141" y="600"/>
                  </a:lnTo>
                  <a:lnTo>
                    <a:pt x="141" y="594"/>
                  </a:lnTo>
                  <a:lnTo>
                    <a:pt x="141" y="588"/>
                  </a:lnTo>
                  <a:lnTo>
                    <a:pt x="134" y="582"/>
                  </a:lnTo>
                  <a:lnTo>
                    <a:pt x="122" y="575"/>
                  </a:lnTo>
                  <a:lnTo>
                    <a:pt x="122" y="569"/>
                  </a:lnTo>
                  <a:lnTo>
                    <a:pt x="116" y="569"/>
                  </a:lnTo>
                  <a:lnTo>
                    <a:pt x="116" y="563"/>
                  </a:lnTo>
                  <a:lnTo>
                    <a:pt x="116" y="569"/>
                  </a:lnTo>
                  <a:lnTo>
                    <a:pt x="110" y="563"/>
                  </a:lnTo>
                  <a:lnTo>
                    <a:pt x="98" y="563"/>
                  </a:lnTo>
                  <a:lnTo>
                    <a:pt x="92" y="569"/>
                  </a:lnTo>
                  <a:lnTo>
                    <a:pt x="92" y="563"/>
                  </a:lnTo>
                  <a:lnTo>
                    <a:pt x="92" y="557"/>
                  </a:lnTo>
                  <a:lnTo>
                    <a:pt x="92" y="551"/>
                  </a:lnTo>
                  <a:lnTo>
                    <a:pt x="92" y="545"/>
                  </a:lnTo>
                  <a:lnTo>
                    <a:pt x="85" y="545"/>
                  </a:lnTo>
                  <a:lnTo>
                    <a:pt x="92" y="545"/>
                  </a:lnTo>
                  <a:lnTo>
                    <a:pt x="85" y="539"/>
                  </a:lnTo>
                  <a:lnTo>
                    <a:pt x="85" y="533"/>
                  </a:lnTo>
                  <a:lnTo>
                    <a:pt x="85" y="526"/>
                  </a:lnTo>
                  <a:lnTo>
                    <a:pt x="92" y="526"/>
                  </a:lnTo>
                  <a:lnTo>
                    <a:pt x="92" y="520"/>
                  </a:lnTo>
                  <a:lnTo>
                    <a:pt x="92" y="514"/>
                  </a:lnTo>
                  <a:lnTo>
                    <a:pt x="98" y="508"/>
                  </a:lnTo>
                  <a:lnTo>
                    <a:pt x="98" y="502"/>
                  </a:lnTo>
                  <a:lnTo>
                    <a:pt x="98" y="496"/>
                  </a:lnTo>
                  <a:lnTo>
                    <a:pt x="104" y="496"/>
                  </a:lnTo>
                  <a:lnTo>
                    <a:pt x="110" y="496"/>
                  </a:lnTo>
                  <a:lnTo>
                    <a:pt x="110" y="490"/>
                  </a:lnTo>
                  <a:lnTo>
                    <a:pt x="110" y="484"/>
                  </a:lnTo>
                  <a:lnTo>
                    <a:pt x="116" y="47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6" name="Freeform 81"/>
            <p:cNvSpPr>
              <a:spLocks/>
            </p:cNvSpPr>
            <p:nvPr/>
          </p:nvSpPr>
          <p:spPr bwMode="auto">
            <a:xfrm>
              <a:off x="3170503" y="5914239"/>
              <a:ext cx="88922" cy="90718"/>
            </a:xfrm>
            <a:custGeom>
              <a:avLst/>
              <a:gdLst>
                <a:gd name="T0" fmla="*/ 0 w 55"/>
                <a:gd name="T1" fmla="*/ 78125643 h 62"/>
                <a:gd name="T2" fmla="*/ 15120853 w 55"/>
                <a:gd name="T3" fmla="*/ 63004709 h 62"/>
                <a:gd name="T4" fmla="*/ 30241706 w 55"/>
                <a:gd name="T5" fmla="*/ 63004709 h 62"/>
                <a:gd name="T6" fmla="*/ 45362553 w 55"/>
                <a:gd name="T7" fmla="*/ 32762829 h 62"/>
                <a:gd name="T8" fmla="*/ 60483412 w 55"/>
                <a:gd name="T9" fmla="*/ 32762829 h 62"/>
                <a:gd name="T10" fmla="*/ 60483412 w 55"/>
                <a:gd name="T11" fmla="*/ 15120940 h 62"/>
                <a:gd name="T12" fmla="*/ 75604258 w 55"/>
                <a:gd name="T13" fmla="*/ 15120940 h 62"/>
                <a:gd name="T14" fmla="*/ 90725105 w 55"/>
                <a:gd name="T15" fmla="*/ 15120940 h 62"/>
                <a:gd name="T16" fmla="*/ 90725105 w 55"/>
                <a:gd name="T17" fmla="*/ 0 h 62"/>
                <a:gd name="T18" fmla="*/ 90725105 w 55"/>
                <a:gd name="T19" fmla="*/ 15120940 h 62"/>
                <a:gd name="T20" fmla="*/ 90725105 w 55"/>
                <a:gd name="T21" fmla="*/ 32762829 h 62"/>
                <a:gd name="T22" fmla="*/ 90725105 w 55"/>
                <a:gd name="T23" fmla="*/ 15120940 h 62"/>
                <a:gd name="T24" fmla="*/ 90725105 w 55"/>
                <a:gd name="T25" fmla="*/ 32762829 h 62"/>
                <a:gd name="T26" fmla="*/ 90725105 w 55"/>
                <a:gd name="T27" fmla="*/ 47883763 h 62"/>
                <a:gd name="T28" fmla="*/ 105845977 w 55"/>
                <a:gd name="T29" fmla="*/ 63004709 h 62"/>
                <a:gd name="T30" fmla="*/ 105845977 w 55"/>
                <a:gd name="T31" fmla="*/ 47883763 h 62"/>
                <a:gd name="T32" fmla="*/ 123486171 w 55"/>
                <a:gd name="T33" fmla="*/ 47883763 h 62"/>
                <a:gd name="T34" fmla="*/ 138607017 w 55"/>
                <a:gd name="T35" fmla="*/ 78125643 h 62"/>
                <a:gd name="T36" fmla="*/ 123486171 w 55"/>
                <a:gd name="T37" fmla="*/ 78125643 h 62"/>
                <a:gd name="T38" fmla="*/ 123486171 w 55"/>
                <a:gd name="T39" fmla="*/ 93246577 h 62"/>
                <a:gd name="T40" fmla="*/ 105845977 w 55"/>
                <a:gd name="T41" fmla="*/ 93246577 h 62"/>
                <a:gd name="T42" fmla="*/ 105845977 w 55"/>
                <a:gd name="T43" fmla="*/ 108367535 h 62"/>
                <a:gd name="T44" fmla="*/ 105845977 w 55"/>
                <a:gd name="T45" fmla="*/ 123488469 h 62"/>
                <a:gd name="T46" fmla="*/ 90725105 w 55"/>
                <a:gd name="T47" fmla="*/ 138609403 h 62"/>
                <a:gd name="T48" fmla="*/ 90725105 w 55"/>
                <a:gd name="T49" fmla="*/ 156249699 h 62"/>
                <a:gd name="T50" fmla="*/ 75604258 w 55"/>
                <a:gd name="T51" fmla="*/ 156249699 h 62"/>
                <a:gd name="T52" fmla="*/ 75604258 w 55"/>
                <a:gd name="T53" fmla="*/ 138609403 h 62"/>
                <a:gd name="T54" fmla="*/ 60483412 w 55"/>
                <a:gd name="T55" fmla="*/ 138609403 h 62"/>
                <a:gd name="T56" fmla="*/ 45362553 w 55"/>
                <a:gd name="T57" fmla="*/ 138609403 h 62"/>
                <a:gd name="T58" fmla="*/ 45362553 w 55"/>
                <a:gd name="T59" fmla="*/ 123488469 h 62"/>
                <a:gd name="T60" fmla="*/ 45362553 w 55"/>
                <a:gd name="T61" fmla="*/ 108367535 h 62"/>
                <a:gd name="T62" fmla="*/ 45362553 w 55"/>
                <a:gd name="T63" fmla="*/ 93246577 h 62"/>
                <a:gd name="T64" fmla="*/ 30241706 w 55"/>
                <a:gd name="T65" fmla="*/ 93246577 h 62"/>
                <a:gd name="T66" fmla="*/ 15120853 w 55"/>
                <a:gd name="T67" fmla="*/ 108367535 h 62"/>
                <a:gd name="T68" fmla="*/ 0 w 55"/>
                <a:gd name="T69" fmla="*/ 93246577 h 62"/>
                <a:gd name="T70" fmla="*/ 0 w 55"/>
                <a:gd name="T71" fmla="*/ 78125643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
                <a:gd name="T109" fmla="*/ 0 h 62"/>
                <a:gd name="T110" fmla="*/ 55 w 55"/>
                <a:gd name="T111" fmla="*/ 62 h 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 h="62">
                  <a:moveTo>
                    <a:pt x="0" y="31"/>
                  </a:moveTo>
                  <a:lnTo>
                    <a:pt x="6" y="25"/>
                  </a:lnTo>
                  <a:lnTo>
                    <a:pt x="12" y="25"/>
                  </a:lnTo>
                  <a:lnTo>
                    <a:pt x="18" y="13"/>
                  </a:lnTo>
                  <a:lnTo>
                    <a:pt x="24" y="13"/>
                  </a:lnTo>
                  <a:lnTo>
                    <a:pt x="24" y="6"/>
                  </a:lnTo>
                  <a:lnTo>
                    <a:pt x="30" y="6"/>
                  </a:lnTo>
                  <a:lnTo>
                    <a:pt x="36" y="6"/>
                  </a:lnTo>
                  <a:lnTo>
                    <a:pt x="36" y="0"/>
                  </a:lnTo>
                  <a:lnTo>
                    <a:pt x="36" y="6"/>
                  </a:lnTo>
                  <a:lnTo>
                    <a:pt x="36" y="13"/>
                  </a:lnTo>
                  <a:lnTo>
                    <a:pt x="36" y="6"/>
                  </a:lnTo>
                  <a:lnTo>
                    <a:pt x="36" y="13"/>
                  </a:lnTo>
                  <a:lnTo>
                    <a:pt x="36" y="19"/>
                  </a:lnTo>
                  <a:lnTo>
                    <a:pt x="42" y="25"/>
                  </a:lnTo>
                  <a:lnTo>
                    <a:pt x="42" y="19"/>
                  </a:lnTo>
                  <a:lnTo>
                    <a:pt x="49" y="19"/>
                  </a:lnTo>
                  <a:lnTo>
                    <a:pt x="55" y="31"/>
                  </a:lnTo>
                  <a:lnTo>
                    <a:pt x="49" y="31"/>
                  </a:lnTo>
                  <a:lnTo>
                    <a:pt x="49" y="37"/>
                  </a:lnTo>
                  <a:lnTo>
                    <a:pt x="42" y="37"/>
                  </a:lnTo>
                  <a:lnTo>
                    <a:pt x="42" y="43"/>
                  </a:lnTo>
                  <a:lnTo>
                    <a:pt x="42" y="49"/>
                  </a:lnTo>
                  <a:lnTo>
                    <a:pt x="36" y="55"/>
                  </a:lnTo>
                  <a:lnTo>
                    <a:pt x="36" y="62"/>
                  </a:lnTo>
                  <a:lnTo>
                    <a:pt x="30" y="62"/>
                  </a:lnTo>
                  <a:lnTo>
                    <a:pt x="30" y="55"/>
                  </a:lnTo>
                  <a:lnTo>
                    <a:pt x="24" y="55"/>
                  </a:lnTo>
                  <a:lnTo>
                    <a:pt x="18" y="55"/>
                  </a:lnTo>
                  <a:lnTo>
                    <a:pt x="18" y="49"/>
                  </a:lnTo>
                  <a:lnTo>
                    <a:pt x="18" y="43"/>
                  </a:lnTo>
                  <a:lnTo>
                    <a:pt x="18" y="37"/>
                  </a:lnTo>
                  <a:lnTo>
                    <a:pt x="12" y="37"/>
                  </a:lnTo>
                  <a:lnTo>
                    <a:pt x="6" y="43"/>
                  </a:lnTo>
                  <a:lnTo>
                    <a:pt x="0" y="37"/>
                  </a:lnTo>
                  <a:lnTo>
                    <a:pt x="0" y="3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7" name="Freeform 86"/>
            <p:cNvSpPr>
              <a:spLocks/>
            </p:cNvSpPr>
            <p:nvPr/>
          </p:nvSpPr>
          <p:spPr bwMode="auto">
            <a:xfrm>
              <a:off x="3278826" y="5905460"/>
              <a:ext cx="38803" cy="27801"/>
            </a:xfrm>
            <a:custGeom>
              <a:avLst/>
              <a:gdLst>
                <a:gd name="T0" fmla="*/ 0 w 24"/>
                <a:gd name="T1" fmla="*/ 15121188 h 19"/>
                <a:gd name="T2" fmla="*/ 0 w 24"/>
                <a:gd name="T3" fmla="*/ 0 h 19"/>
                <a:gd name="T4" fmla="*/ 15120939 w 24"/>
                <a:gd name="T5" fmla="*/ 0 h 19"/>
                <a:gd name="T6" fmla="*/ 30241878 w 24"/>
                <a:gd name="T7" fmla="*/ 0 h 19"/>
                <a:gd name="T8" fmla="*/ 45362810 w 24"/>
                <a:gd name="T9" fmla="*/ 0 h 19"/>
                <a:gd name="T10" fmla="*/ 30241878 w 24"/>
                <a:gd name="T11" fmla="*/ 0 h 19"/>
                <a:gd name="T12" fmla="*/ 45362810 w 24"/>
                <a:gd name="T13" fmla="*/ 0 h 19"/>
                <a:gd name="T14" fmla="*/ 45362810 w 24"/>
                <a:gd name="T15" fmla="*/ 15121188 h 19"/>
                <a:gd name="T16" fmla="*/ 60483756 w 24"/>
                <a:gd name="T17" fmla="*/ 15121188 h 19"/>
                <a:gd name="T18" fmla="*/ 60483756 w 24"/>
                <a:gd name="T19" fmla="*/ 30242377 h 19"/>
                <a:gd name="T20" fmla="*/ 60483756 w 24"/>
                <a:gd name="T21" fmla="*/ 47884549 h 19"/>
                <a:gd name="T22" fmla="*/ 45362810 w 24"/>
                <a:gd name="T23" fmla="*/ 47884549 h 19"/>
                <a:gd name="T24" fmla="*/ 30241878 w 24"/>
                <a:gd name="T25" fmla="*/ 30242377 h 19"/>
                <a:gd name="T26" fmla="*/ 15120939 w 24"/>
                <a:gd name="T27" fmla="*/ 30242377 h 19"/>
                <a:gd name="T28" fmla="*/ 0 w 24"/>
                <a:gd name="T29" fmla="*/ 30242377 h 19"/>
                <a:gd name="T30" fmla="*/ 0 w 24"/>
                <a:gd name="T31" fmla="*/ 15121188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9"/>
                <a:gd name="T50" fmla="*/ 24 w 24"/>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9">
                  <a:moveTo>
                    <a:pt x="0" y="6"/>
                  </a:moveTo>
                  <a:lnTo>
                    <a:pt x="0" y="0"/>
                  </a:lnTo>
                  <a:lnTo>
                    <a:pt x="6" y="0"/>
                  </a:lnTo>
                  <a:lnTo>
                    <a:pt x="12" y="0"/>
                  </a:lnTo>
                  <a:lnTo>
                    <a:pt x="18" y="0"/>
                  </a:lnTo>
                  <a:lnTo>
                    <a:pt x="12" y="0"/>
                  </a:lnTo>
                  <a:lnTo>
                    <a:pt x="18" y="0"/>
                  </a:lnTo>
                  <a:lnTo>
                    <a:pt x="18" y="6"/>
                  </a:lnTo>
                  <a:lnTo>
                    <a:pt x="24" y="6"/>
                  </a:lnTo>
                  <a:lnTo>
                    <a:pt x="24" y="12"/>
                  </a:lnTo>
                  <a:lnTo>
                    <a:pt x="24" y="19"/>
                  </a:lnTo>
                  <a:lnTo>
                    <a:pt x="18" y="19"/>
                  </a:lnTo>
                  <a:lnTo>
                    <a:pt x="12" y="12"/>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8" name="Freeform 88"/>
            <p:cNvSpPr>
              <a:spLocks/>
            </p:cNvSpPr>
            <p:nvPr/>
          </p:nvSpPr>
          <p:spPr bwMode="auto">
            <a:xfrm>
              <a:off x="3079963" y="6022514"/>
              <a:ext cx="30718" cy="35117"/>
            </a:xfrm>
            <a:custGeom>
              <a:avLst/>
              <a:gdLst>
                <a:gd name="T0" fmla="*/ 0 w 19"/>
                <a:gd name="T1" fmla="*/ 45362810 h 24"/>
                <a:gd name="T2" fmla="*/ 0 w 19"/>
                <a:gd name="T3" fmla="*/ 30241878 h 24"/>
                <a:gd name="T4" fmla="*/ 0 w 19"/>
                <a:gd name="T5" fmla="*/ 15120939 h 24"/>
                <a:gd name="T6" fmla="*/ 15120687 w 19"/>
                <a:gd name="T7" fmla="*/ 15120939 h 24"/>
                <a:gd name="T8" fmla="*/ 32760694 w 19"/>
                <a:gd name="T9" fmla="*/ 0 h 24"/>
                <a:gd name="T10" fmla="*/ 32760694 w 19"/>
                <a:gd name="T11" fmla="*/ 15120939 h 24"/>
                <a:gd name="T12" fmla="*/ 47881374 w 19"/>
                <a:gd name="T13" fmla="*/ 0 h 24"/>
                <a:gd name="T14" fmla="*/ 47881374 w 19"/>
                <a:gd name="T15" fmla="*/ 15120939 h 24"/>
                <a:gd name="T16" fmla="*/ 47881374 w 19"/>
                <a:gd name="T17" fmla="*/ 30241878 h 24"/>
                <a:gd name="T18" fmla="*/ 32760694 w 19"/>
                <a:gd name="T19" fmla="*/ 30241878 h 24"/>
                <a:gd name="T20" fmla="*/ 32760694 w 19"/>
                <a:gd name="T21" fmla="*/ 45362810 h 24"/>
                <a:gd name="T22" fmla="*/ 15120687 w 19"/>
                <a:gd name="T23" fmla="*/ 45362810 h 24"/>
                <a:gd name="T24" fmla="*/ 15120687 w 19"/>
                <a:gd name="T25" fmla="*/ 60483756 h 24"/>
                <a:gd name="T26" fmla="*/ 0 w 19"/>
                <a:gd name="T27" fmla="*/ 60483756 h 24"/>
                <a:gd name="T28" fmla="*/ 0 w 19"/>
                <a:gd name="T29" fmla="*/ 45362810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4"/>
                <a:gd name="T47" fmla="*/ 19 w 19"/>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4">
                  <a:moveTo>
                    <a:pt x="0" y="18"/>
                  </a:moveTo>
                  <a:lnTo>
                    <a:pt x="0" y="12"/>
                  </a:lnTo>
                  <a:lnTo>
                    <a:pt x="0" y="6"/>
                  </a:lnTo>
                  <a:lnTo>
                    <a:pt x="6" y="6"/>
                  </a:lnTo>
                  <a:lnTo>
                    <a:pt x="13" y="0"/>
                  </a:lnTo>
                  <a:lnTo>
                    <a:pt x="13" y="6"/>
                  </a:lnTo>
                  <a:lnTo>
                    <a:pt x="19" y="0"/>
                  </a:lnTo>
                  <a:lnTo>
                    <a:pt x="19" y="6"/>
                  </a:lnTo>
                  <a:lnTo>
                    <a:pt x="19" y="12"/>
                  </a:lnTo>
                  <a:lnTo>
                    <a:pt x="13" y="12"/>
                  </a:lnTo>
                  <a:lnTo>
                    <a:pt x="13" y="18"/>
                  </a:lnTo>
                  <a:lnTo>
                    <a:pt x="6" y="18"/>
                  </a:lnTo>
                  <a:lnTo>
                    <a:pt x="6" y="24"/>
                  </a:lnTo>
                  <a:lnTo>
                    <a:pt x="0" y="24"/>
                  </a:lnTo>
                  <a:lnTo>
                    <a:pt x="0"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69" name="Freeform 90"/>
            <p:cNvSpPr>
              <a:spLocks/>
            </p:cNvSpPr>
            <p:nvPr/>
          </p:nvSpPr>
          <p:spPr bwMode="auto">
            <a:xfrm>
              <a:off x="3089663" y="6066411"/>
              <a:ext cx="11317" cy="19022"/>
            </a:xfrm>
            <a:custGeom>
              <a:avLst/>
              <a:gdLst>
                <a:gd name="T0" fmla="*/ 0 w 7"/>
                <a:gd name="T1" fmla="*/ 17642316 h 13"/>
                <a:gd name="T2" fmla="*/ 0 w 7"/>
                <a:gd name="T3" fmla="*/ 32763622 h 13"/>
                <a:gd name="T4" fmla="*/ 17639508 w 7"/>
                <a:gd name="T5" fmla="*/ 17642316 h 13"/>
                <a:gd name="T6" fmla="*/ 17639508 w 7"/>
                <a:gd name="T7" fmla="*/ 32763622 h 13"/>
                <a:gd name="T8" fmla="*/ 17639508 w 7"/>
                <a:gd name="T9" fmla="*/ 17642316 h 13"/>
                <a:gd name="T10" fmla="*/ 0 w 7"/>
                <a:gd name="T11" fmla="*/ 17642316 h 13"/>
                <a:gd name="T12" fmla="*/ 0 w 7"/>
                <a:gd name="T13" fmla="*/ 0 h 13"/>
                <a:gd name="T14" fmla="*/ 0 w 7"/>
                <a:gd name="T15" fmla="*/ 17642316 h 1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3"/>
                <a:gd name="T26" fmla="*/ 7 w 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3">
                  <a:moveTo>
                    <a:pt x="0" y="7"/>
                  </a:moveTo>
                  <a:lnTo>
                    <a:pt x="0" y="13"/>
                  </a:lnTo>
                  <a:lnTo>
                    <a:pt x="7" y="7"/>
                  </a:lnTo>
                  <a:lnTo>
                    <a:pt x="7" y="13"/>
                  </a:lnTo>
                  <a:lnTo>
                    <a:pt x="7" y="7"/>
                  </a:lnTo>
                  <a:lnTo>
                    <a:pt x="0" y="7"/>
                  </a:ln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0" name="Freeform 91"/>
            <p:cNvSpPr>
              <a:spLocks/>
            </p:cNvSpPr>
            <p:nvPr/>
          </p:nvSpPr>
          <p:spPr bwMode="auto">
            <a:xfrm>
              <a:off x="2556127" y="6398557"/>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1" name="Freeform 92"/>
            <p:cNvSpPr>
              <a:spLocks/>
            </p:cNvSpPr>
            <p:nvPr/>
          </p:nvSpPr>
          <p:spPr bwMode="auto">
            <a:xfrm>
              <a:off x="4032245" y="5045100"/>
              <a:ext cx="257068" cy="179974"/>
            </a:xfrm>
            <a:custGeom>
              <a:avLst/>
              <a:gdLst>
                <a:gd name="T0" fmla="*/ 60483871 w 159"/>
                <a:gd name="T1" fmla="*/ 78125843 h 123"/>
                <a:gd name="T2" fmla="*/ 90725795 w 159"/>
                <a:gd name="T3" fmla="*/ 78125843 h 123"/>
                <a:gd name="T4" fmla="*/ 105846781 w 159"/>
                <a:gd name="T5" fmla="*/ 93246815 h 123"/>
                <a:gd name="T6" fmla="*/ 138609658 w 159"/>
                <a:gd name="T7" fmla="*/ 93246815 h 123"/>
                <a:gd name="T8" fmla="*/ 153730620 w 159"/>
                <a:gd name="T9" fmla="*/ 108367813 h 123"/>
                <a:gd name="T10" fmla="*/ 168851582 w 159"/>
                <a:gd name="T11" fmla="*/ 93246815 h 123"/>
                <a:gd name="T12" fmla="*/ 168851582 w 159"/>
                <a:gd name="T13" fmla="*/ 93246815 h 123"/>
                <a:gd name="T14" fmla="*/ 183972543 w 159"/>
                <a:gd name="T15" fmla="*/ 78125843 h 123"/>
                <a:gd name="T16" fmla="*/ 183972543 w 159"/>
                <a:gd name="T17" fmla="*/ 47883886 h 123"/>
                <a:gd name="T18" fmla="*/ 199093505 w 159"/>
                <a:gd name="T19" fmla="*/ 63004871 h 123"/>
                <a:gd name="T20" fmla="*/ 199093505 w 159"/>
                <a:gd name="T21" fmla="*/ 63004871 h 123"/>
                <a:gd name="T22" fmla="*/ 229335478 w 159"/>
                <a:gd name="T23" fmla="*/ 47883886 h 123"/>
                <a:gd name="T24" fmla="*/ 262096768 w 159"/>
                <a:gd name="T25" fmla="*/ 47883886 h 123"/>
                <a:gd name="T26" fmla="*/ 277217729 w 159"/>
                <a:gd name="T27" fmla="*/ 30241957 h 123"/>
                <a:gd name="T28" fmla="*/ 307459653 w 159"/>
                <a:gd name="T29" fmla="*/ 30241957 h 123"/>
                <a:gd name="T30" fmla="*/ 322580614 w 159"/>
                <a:gd name="T31" fmla="*/ 47883886 h 123"/>
                <a:gd name="T32" fmla="*/ 337701576 w 159"/>
                <a:gd name="T33" fmla="*/ 30241957 h 123"/>
                <a:gd name="T34" fmla="*/ 322580614 w 159"/>
                <a:gd name="T35" fmla="*/ 15120979 h 123"/>
                <a:gd name="T36" fmla="*/ 337701576 w 159"/>
                <a:gd name="T37" fmla="*/ 0 h 123"/>
                <a:gd name="T38" fmla="*/ 370464453 w 159"/>
                <a:gd name="T39" fmla="*/ 0 h 123"/>
                <a:gd name="T40" fmla="*/ 370464453 w 159"/>
                <a:gd name="T41" fmla="*/ 30241957 h 123"/>
                <a:gd name="T42" fmla="*/ 385585415 w 159"/>
                <a:gd name="T43" fmla="*/ 47883886 h 123"/>
                <a:gd name="T44" fmla="*/ 385585415 w 159"/>
                <a:gd name="T45" fmla="*/ 47883886 h 123"/>
                <a:gd name="T46" fmla="*/ 385585415 w 159"/>
                <a:gd name="T47" fmla="*/ 78125843 h 123"/>
                <a:gd name="T48" fmla="*/ 370464453 w 159"/>
                <a:gd name="T49" fmla="*/ 78125843 h 123"/>
                <a:gd name="T50" fmla="*/ 337701576 w 159"/>
                <a:gd name="T51" fmla="*/ 108367813 h 123"/>
                <a:gd name="T52" fmla="*/ 277217729 w 159"/>
                <a:gd name="T53" fmla="*/ 153730730 h 123"/>
                <a:gd name="T54" fmla="*/ 292338691 w 159"/>
                <a:gd name="T55" fmla="*/ 171371071 h 123"/>
                <a:gd name="T56" fmla="*/ 277217729 w 159"/>
                <a:gd name="T57" fmla="*/ 216734038 h 123"/>
                <a:gd name="T58" fmla="*/ 246975806 w 159"/>
                <a:gd name="T59" fmla="*/ 246975983 h 123"/>
                <a:gd name="T60" fmla="*/ 246975806 w 159"/>
                <a:gd name="T61" fmla="*/ 262096955 h 123"/>
                <a:gd name="T62" fmla="*/ 229335478 w 159"/>
                <a:gd name="T63" fmla="*/ 309980829 h 123"/>
                <a:gd name="T64" fmla="*/ 199093505 w 159"/>
                <a:gd name="T65" fmla="*/ 309980829 h 123"/>
                <a:gd name="T66" fmla="*/ 168851582 w 159"/>
                <a:gd name="T67" fmla="*/ 294859856 h 123"/>
                <a:gd name="T68" fmla="*/ 153730620 w 159"/>
                <a:gd name="T69" fmla="*/ 262096955 h 123"/>
                <a:gd name="T70" fmla="*/ 105846781 w 159"/>
                <a:gd name="T71" fmla="*/ 294859856 h 123"/>
                <a:gd name="T72" fmla="*/ 75604833 w 159"/>
                <a:gd name="T73" fmla="*/ 294859856 h 123"/>
                <a:gd name="T74" fmla="*/ 60483871 w 159"/>
                <a:gd name="T75" fmla="*/ 309980829 h 123"/>
                <a:gd name="T76" fmla="*/ 30241936 w 159"/>
                <a:gd name="T77" fmla="*/ 294859856 h 123"/>
                <a:gd name="T78" fmla="*/ 60483871 w 159"/>
                <a:gd name="T79" fmla="*/ 277217928 h 123"/>
                <a:gd name="T80" fmla="*/ 60483871 w 159"/>
                <a:gd name="T81" fmla="*/ 246975983 h 123"/>
                <a:gd name="T82" fmla="*/ 45362897 w 159"/>
                <a:gd name="T83" fmla="*/ 231855010 h 123"/>
                <a:gd name="T84" fmla="*/ 30241936 w 159"/>
                <a:gd name="T85" fmla="*/ 216734038 h 123"/>
                <a:gd name="T86" fmla="*/ 45362897 w 159"/>
                <a:gd name="T87" fmla="*/ 201613016 h 123"/>
                <a:gd name="T88" fmla="*/ 15120968 w 159"/>
                <a:gd name="T89" fmla="*/ 201613016 h 123"/>
                <a:gd name="T90" fmla="*/ 30241936 w 159"/>
                <a:gd name="T91" fmla="*/ 171371071 h 123"/>
                <a:gd name="T92" fmla="*/ 30241936 w 159"/>
                <a:gd name="T93" fmla="*/ 138609758 h 123"/>
                <a:gd name="T94" fmla="*/ 0 w 159"/>
                <a:gd name="T95" fmla="*/ 138609758 h 123"/>
                <a:gd name="T96" fmla="*/ 15120968 w 159"/>
                <a:gd name="T97" fmla="*/ 123488785 h 123"/>
                <a:gd name="T98" fmla="*/ 30241936 w 159"/>
                <a:gd name="T99" fmla="*/ 108367813 h 123"/>
                <a:gd name="T100" fmla="*/ 45362897 w 159"/>
                <a:gd name="T101" fmla="*/ 93246815 h 1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
                <a:gd name="T154" fmla="*/ 0 h 123"/>
                <a:gd name="T155" fmla="*/ 159 w 159"/>
                <a:gd name="T156" fmla="*/ 123 h 1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 h="123">
                  <a:moveTo>
                    <a:pt x="18" y="31"/>
                  </a:moveTo>
                  <a:lnTo>
                    <a:pt x="24" y="31"/>
                  </a:lnTo>
                  <a:lnTo>
                    <a:pt x="30" y="31"/>
                  </a:lnTo>
                  <a:lnTo>
                    <a:pt x="36" y="31"/>
                  </a:lnTo>
                  <a:lnTo>
                    <a:pt x="36" y="37"/>
                  </a:lnTo>
                  <a:lnTo>
                    <a:pt x="42" y="37"/>
                  </a:lnTo>
                  <a:lnTo>
                    <a:pt x="49" y="37"/>
                  </a:lnTo>
                  <a:lnTo>
                    <a:pt x="55" y="37"/>
                  </a:lnTo>
                  <a:lnTo>
                    <a:pt x="61" y="37"/>
                  </a:lnTo>
                  <a:lnTo>
                    <a:pt x="61" y="43"/>
                  </a:lnTo>
                  <a:lnTo>
                    <a:pt x="61" y="37"/>
                  </a:lnTo>
                  <a:lnTo>
                    <a:pt x="67" y="37"/>
                  </a:lnTo>
                  <a:lnTo>
                    <a:pt x="67" y="31"/>
                  </a:lnTo>
                  <a:lnTo>
                    <a:pt x="67" y="37"/>
                  </a:lnTo>
                  <a:lnTo>
                    <a:pt x="67" y="31"/>
                  </a:lnTo>
                  <a:lnTo>
                    <a:pt x="73" y="31"/>
                  </a:lnTo>
                  <a:lnTo>
                    <a:pt x="73" y="25"/>
                  </a:lnTo>
                  <a:lnTo>
                    <a:pt x="73" y="19"/>
                  </a:lnTo>
                  <a:lnTo>
                    <a:pt x="79" y="19"/>
                  </a:lnTo>
                  <a:lnTo>
                    <a:pt x="79" y="25"/>
                  </a:lnTo>
                  <a:lnTo>
                    <a:pt x="79" y="19"/>
                  </a:lnTo>
                  <a:lnTo>
                    <a:pt x="79" y="25"/>
                  </a:lnTo>
                  <a:lnTo>
                    <a:pt x="85" y="19"/>
                  </a:lnTo>
                  <a:lnTo>
                    <a:pt x="91" y="19"/>
                  </a:lnTo>
                  <a:lnTo>
                    <a:pt x="98" y="19"/>
                  </a:lnTo>
                  <a:lnTo>
                    <a:pt x="104" y="19"/>
                  </a:lnTo>
                  <a:lnTo>
                    <a:pt x="110" y="19"/>
                  </a:lnTo>
                  <a:lnTo>
                    <a:pt x="110" y="12"/>
                  </a:lnTo>
                  <a:lnTo>
                    <a:pt x="116" y="12"/>
                  </a:lnTo>
                  <a:lnTo>
                    <a:pt x="122" y="12"/>
                  </a:lnTo>
                  <a:lnTo>
                    <a:pt x="128" y="12"/>
                  </a:lnTo>
                  <a:lnTo>
                    <a:pt x="128" y="19"/>
                  </a:lnTo>
                  <a:lnTo>
                    <a:pt x="134" y="19"/>
                  </a:lnTo>
                  <a:lnTo>
                    <a:pt x="134" y="12"/>
                  </a:lnTo>
                  <a:lnTo>
                    <a:pt x="128" y="12"/>
                  </a:lnTo>
                  <a:lnTo>
                    <a:pt x="128" y="6"/>
                  </a:lnTo>
                  <a:lnTo>
                    <a:pt x="128" y="0"/>
                  </a:lnTo>
                  <a:lnTo>
                    <a:pt x="134" y="0"/>
                  </a:lnTo>
                  <a:lnTo>
                    <a:pt x="140" y="0"/>
                  </a:lnTo>
                  <a:lnTo>
                    <a:pt x="147" y="0"/>
                  </a:lnTo>
                  <a:lnTo>
                    <a:pt x="147" y="6"/>
                  </a:lnTo>
                  <a:lnTo>
                    <a:pt x="147" y="12"/>
                  </a:lnTo>
                  <a:lnTo>
                    <a:pt x="153" y="12"/>
                  </a:lnTo>
                  <a:lnTo>
                    <a:pt x="153" y="19"/>
                  </a:lnTo>
                  <a:lnTo>
                    <a:pt x="147" y="19"/>
                  </a:lnTo>
                  <a:lnTo>
                    <a:pt x="153" y="19"/>
                  </a:lnTo>
                  <a:lnTo>
                    <a:pt x="153" y="25"/>
                  </a:lnTo>
                  <a:lnTo>
                    <a:pt x="153" y="31"/>
                  </a:lnTo>
                  <a:lnTo>
                    <a:pt x="159" y="31"/>
                  </a:lnTo>
                  <a:lnTo>
                    <a:pt x="147" y="31"/>
                  </a:lnTo>
                  <a:lnTo>
                    <a:pt x="147" y="43"/>
                  </a:lnTo>
                  <a:lnTo>
                    <a:pt x="134" y="43"/>
                  </a:lnTo>
                  <a:lnTo>
                    <a:pt x="116" y="55"/>
                  </a:lnTo>
                  <a:lnTo>
                    <a:pt x="110" y="61"/>
                  </a:lnTo>
                  <a:lnTo>
                    <a:pt x="110" y="68"/>
                  </a:lnTo>
                  <a:lnTo>
                    <a:pt x="116" y="68"/>
                  </a:lnTo>
                  <a:lnTo>
                    <a:pt x="116" y="86"/>
                  </a:lnTo>
                  <a:lnTo>
                    <a:pt x="110" y="86"/>
                  </a:lnTo>
                  <a:lnTo>
                    <a:pt x="98" y="92"/>
                  </a:lnTo>
                  <a:lnTo>
                    <a:pt x="98" y="98"/>
                  </a:lnTo>
                  <a:lnTo>
                    <a:pt x="104" y="104"/>
                  </a:lnTo>
                  <a:lnTo>
                    <a:pt x="98" y="104"/>
                  </a:lnTo>
                  <a:lnTo>
                    <a:pt x="98" y="123"/>
                  </a:lnTo>
                  <a:lnTo>
                    <a:pt x="91" y="123"/>
                  </a:lnTo>
                  <a:lnTo>
                    <a:pt x="79" y="117"/>
                  </a:lnTo>
                  <a:lnTo>
                    <a:pt x="79" y="123"/>
                  </a:lnTo>
                  <a:lnTo>
                    <a:pt x="73" y="123"/>
                  </a:lnTo>
                  <a:lnTo>
                    <a:pt x="67" y="117"/>
                  </a:lnTo>
                  <a:lnTo>
                    <a:pt x="67" y="110"/>
                  </a:lnTo>
                  <a:lnTo>
                    <a:pt x="61" y="104"/>
                  </a:lnTo>
                  <a:lnTo>
                    <a:pt x="55" y="117"/>
                  </a:lnTo>
                  <a:lnTo>
                    <a:pt x="42" y="117"/>
                  </a:lnTo>
                  <a:lnTo>
                    <a:pt x="42" y="123"/>
                  </a:lnTo>
                  <a:lnTo>
                    <a:pt x="30" y="117"/>
                  </a:lnTo>
                  <a:lnTo>
                    <a:pt x="30" y="123"/>
                  </a:lnTo>
                  <a:lnTo>
                    <a:pt x="24" y="123"/>
                  </a:lnTo>
                  <a:lnTo>
                    <a:pt x="18" y="123"/>
                  </a:lnTo>
                  <a:lnTo>
                    <a:pt x="12" y="117"/>
                  </a:lnTo>
                  <a:lnTo>
                    <a:pt x="18" y="110"/>
                  </a:lnTo>
                  <a:lnTo>
                    <a:pt x="24" y="110"/>
                  </a:lnTo>
                  <a:lnTo>
                    <a:pt x="30" y="104"/>
                  </a:lnTo>
                  <a:lnTo>
                    <a:pt x="24" y="98"/>
                  </a:lnTo>
                  <a:lnTo>
                    <a:pt x="18" y="98"/>
                  </a:lnTo>
                  <a:lnTo>
                    <a:pt x="18" y="92"/>
                  </a:lnTo>
                  <a:lnTo>
                    <a:pt x="12" y="92"/>
                  </a:lnTo>
                  <a:lnTo>
                    <a:pt x="12" y="86"/>
                  </a:lnTo>
                  <a:lnTo>
                    <a:pt x="18" y="86"/>
                  </a:lnTo>
                  <a:lnTo>
                    <a:pt x="18" y="80"/>
                  </a:lnTo>
                  <a:lnTo>
                    <a:pt x="12" y="74"/>
                  </a:lnTo>
                  <a:lnTo>
                    <a:pt x="6" y="80"/>
                  </a:lnTo>
                  <a:lnTo>
                    <a:pt x="6" y="74"/>
                  </a:lnTo>
                  <a:lnTo>
                    <a:pt x="12" y="68"/>
                  </a:lnTo>
                  <a:lnTo>
                    <a:pt x="12" y="61"/>
                  </a:lnTo>
                  <a:lnTo>
                    <a:pt x="12" y="55"/>
                  </a:lnTo>
                  <a:lnTo>
                    <a:pt x="6" y="55"/>
                  </a:lnTo>
                  <a:lnTo>
                    <a:pt x="0" y="55"/>
                  </a:lnTo>
                  <a:lnTo>
                    <a:pt x="0" y="49"/>
                  </a:lnTo>
                  <a:lnTo>
                    <a:pt x="6" y="49"/>
                  </a:lnTo>
                  <a:lnTo>
                    <a:pt x="6" y="43"/>
                  </a:lnTo>
                  <a:lnTo>
                    <a:pt x="12" y="43"/>
                  </a:lnTo>
                  <a:lnTo>
                    <a:pt x="12" y="37"/>
                  </a:lnTo>
                  <a:lnTo>
                    <a:pt x="18" y="37"/>
                  </a:lnTo>
                  <a:lnTo>
                    <a:pt x="18" y="3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2" name="Freeform 93"/>
            <p:cNvSpPr>
              <a:spLocks/>
            </p:cNvSpPr>
            <p:nvPr/>
          </p:nvSpPr>
          <p:spPr bwMode="auto">
            <a:xfrm>
              <a:off x="3932005" y="4516887"/>
              <a:ext cx="535154" cy="313124"/>
            </a:xfrm>
            <a:custGeom>
              <a:avLst/>
              <a:gdLst>
                <a:gd name="T0" fmla="*/ 186491721 w 331"/>
                <a:gd name="T1" fmla="*/ 463708816 h 214"/>
                <a:gd name="T2" fmla="*/ 156249828 w 331"/>
                <a:gd name="T3" fmla="*/ 415826556 h 214"/>
                <a:gd name="T4" fmla="*/ 123488572 w 331"/>
                <a:gd name="T5" fmla="*/ 385584689 h 214"/>
                <a:gd name="T6" fmla="*/ 78125708 w 331"/>
                <a:gd name="T7" fmla="*/ 340221890 h 214"/>
                <a:gd name="T8" fmla="*/ 63004762 w 331"/>
                <a:gd name="T9" fmla="*/ 292338141 h 214"/>
                <a:gd name="T10" fmla="*/ 63004762 w 331"/>
                <a:gd name="T11" fmla="*/ 262096274 h 214"/>
                <a:gd name="T12" fmla="*/ 47883803 w 331"/>
                <a:gd name="T13" fmla="*/ 216733475 h 214"/>
                <a:gd name="T14" fmla="*/ 15120953 w 331"/>
                <a:gd name="T15" fmla="*/ 183972197 h 214"/>
                <a:gd name="T16" fmla="*/ 0 w 331"/>
                <a:gd name="T17" fmla="*/ 153728743 h 214"/>
                <a:gd name="T18" fmla="*/ 32762856 w 331"/>
                <a:gd name="T19" fmla="*/ 183972197 h 214"/>
                <a:gd name="T20" fmla="*/ 63004762 w 331"/>
                <a:gd name="T21" fmla="*/ 138607810 h 214"/>
                <a:gd name="T22" fmla="*/ 108367625 w 331"/>
                <a:gd name="T23" fmla="*/ 138607810 h 214"/>
                <a:gd name="T24" fmla="*/ 156249828 w 331"/>
                <a:gd name="T25" fmla="*/ 93246573 h 214"/>
                <a:gd name="T26" fmla="*/ 201612667 w 331"/>
                <a:gd name="T27" fmla="*/ 60483758 h 214"/>
                <a:gd name="T28" fmla="*/ 246975556 w 331"/>
                <a:gd name="T29" fmla="*/ 45362812 h 214"/>
                <a:gd name="T30" fmla="*/ 294859346 w 331"/>
                <a:gd name="T31" fmla="*/ 30241879 h 214"/>
                <a:gd name="T32" fmla="*/ 262096502 w 331"/>
                <a:gd name="T33" fmla="*/ 0 h 214"/>
                <a:gd name="T34" fmla="*/ 309980292 w 331"/>
                <a:gd name="T35" fmla="*/ 15120939 h 214"/>
                <a:gd name="T36" fmla="*/ 340222185 w 331"/>
                <a:gd name="T37" fmla="*/ 45362812 h 214"/>
                <a:gd name="T38" fmla="*/ 370464078 w 331"/>
                <a:gd name="T39" fmla="*/ 15120939 h 214"/>
                <a:gd name="T40" fmla="*/ 385585024 w 331"/>
                <a:gd name="T41" fmla="*/ 15120939 h 214"/>
                <a:gd name="T42" fmla="*/ 403225334 w 331"/>
                <a:gd name="T43" fmla="*/ 45362812 h 214"/>
                <a:gd name="T44" fmla="*/ 463709219 w 331"/>
                <a:gd name="T45" fmla="*/ 60483758 h 214"/>
                <a:gd name="T46" fmla="*/ 493951111 w 331"/>
                <a:gd name="T47" fmla="*/ 93246573 h 214"/>
                <a:gd name="T48" fmla="*/ 526713955 w 331"/>
                <a:gd name="T49" fmla="*/ 75604691 h 214"/>
                <a:gd name="T50" fmla="*/ 509072058 w 331"/>
                <a:gd name="T51" fmla="*/ 123488464 h 214"/>
                <a:gd name="T52" fmla="*/ 556955848 w 331"/>
                <a:gd name="T53" fmla="*/ 168851264 h 214"/>
                <a:gd name="T54" fmla="*/ 587197741 w 331"/>
                <a:gd name="T55" fmla="*/ 183972197 h 214"/>
                <a:gd name="T56" fmla="*/ 587197741 w 331"/>
                <a:gd name="T57" fmla="*/ 138607810 h 214"/>
                <a:gd name="T58" fmla="*/ 650200890 w 331"/>
                <a:gd name="T59" fmla="*/ 153728743 h 214"/>
                <a:gd name="T60" fmla="*/ 695563729 w 331"/>
                <a:gd name="T61" fmla="*/ 153728743 h 214"/>
                <a:gd name="T62" fmla="*/ 695563729 w 331"/>
                <a:gd name="T63" fmla="*/ 199093130 h 214"/>
                <a:gd name="T64" fmla="*/ 740926568 w 331"/>
                <a:gd name="T65" fmla="*/ 216733475 h 214"/>
                <a:gd name="T66" fmla="*/ 803931304 w 331"/>
                <a:gd name="T67" fmla="*/ 246975341 h 214"/>
                <a:gd name="T68" fmla="*/ 834173395 w 331"/>
                <a:gd name="T69" fmla="*/ 322580007 h 214"/>
                <a:gd name="T70" fmla="*/ 773689412 w 331"/>
                <a:gd name="T71" fmla="*/ 355342823 h 214"/>
                <a:gd name="T72" fmla="*/ 740926568 w 331"/>
                <a:gd name="T73" fmla="*/ 430947588 h 214"/>
                <a:gd name="T74" fmla="*/ 665321836 w 331"/>
                <a:gd name="T75" fmla="*/ 478829749 h 214"/>
                <a:gd name="T76" fmla="*/ 602318687 w 331"/>
                <a:gd name="T77" fmla="*/ 524192549 h 214"/>
                <a:gd name="T78" fmla="*/ 572076794 w 331"/>
                <a:gd name="T79" fmla="*/ 493950683 h 214"/>
                <a:gd name="T80" fmla="*/ 556955848 w 331"/>
                <a:gd name="T81" fmla="*/ 478829749 h 214"/>
                <a:gd name="T82" fmla="*/ 526713955 w 331"/>
                <a:gd name="T83" fmla="*/ 493950683 h 214"/>
                <a:gd name="T84" fmla="*/ 493951111 w 331"/>
                <a:gd name="T85" fmla="*/ 493950683 h 214"/>
                <a:gd name="T86" fmla="*/ 478830165 w 331"/>
                <a:gd name="T87" fmla="*/ 478829749 h 214"/>
                <a:gd name="T88" fmla="*/ 463709219 w 331"/>
                <a:gd name="T89" fmla="*/ 463708816 h 214"/>
                <a:gd name="T90" fmla="*/ 418346380 w 331"/>
                <a:gd name="T91" fmla="*/ 463708816 h 214"/>
                <a:gd name="T92" fmla="*/ 403225334 w 331"/>
                <a:gd name="T93" fmla="*/ 446068521 h 214"/>
                <a:gd name="T94" fmla="*/ 370464078 w 331"/>
                <a:gd name="T95" fmla="*/ 446068521 h 214"/>
                <a:gd name="T96" fmla="*/ 355343131 w 331"/>
                <a:gd name="T97" fmla="*/ 446068521 h 214"/>
                <a:gd name="T98" fmla="*/ 340222185 w 331"/>
                <a:gd name="T99" fmla="*/ 493950683 h 214"/>
                <a:gd name="T100" fmla="*/ 325101239 w 331"/>
                <a:gd name="T101" fmla="*/ 539313482 h 214"/>
                <a:gd name="T102" fmla="*/ 279738400 w 331"/>
                <a:gd name="T103" fmla="*/ 524192549 h 214"/>
                <a:gd name="T104" fmla="*/ 262096502 w 331"/>
                <a:gd name="T105" fmla="*/ 524192549 h 214"/>
                <a:gd name="T106" fmla="*/ 231854609 w 331"/>
                <a:gd name="T107" fmla="*/ 493950683 h 2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1"/>
                <a:gd name="T163" fmla="*/ 0 h 214"/>
                <a:gd name="T164" fmla="*/ 331 w 331"/>
                <a:gd name="T165" fmla="*/ 214 h 2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1" h="214">
                  <a:moveTo>
                    <a:pt x="86" y="196"/>
                  </a:moveTo>
                  <a:lnTo>
                    <a:pt x="86" y="190"/>
                  </a:lnTo>
                  <a:lnTo>
                    <a:pt x="80" y="184"/>
                  </a:lnTo>
                  <a:lnTo>
                    <a:pt x="74" y="184"/>
                  </a:lnTo>
                  <a:lnTo>
                    <a:pt x="74" y="177"/>
                  </a:lnTo>
                  <a:lnTo>
                    <a:pt x="68" y="177"/>
                  </a:lnTo>
                  <a:lnTo>
                    <a:pt x="68" y="171"/>
                  </a:lnTo>
                  <a:lnTo>
                    <a:pt x="62" y="165"/>
                  </a:lnTo>
                  <a:lnTo>
                    <a:pt x="55" y="165"/>
                  </a:lnTo>
                  <a:lnTo>
                    <a:pt x="55" y="159"/>
                  </a:lnTo>
                  <a:lnTo>
                    <a:pt x="49" y="159"/>
                  </a:lnTo>
                  <a:lnTo>
                    <a:pt x="49" y="153"/>
                  </a:lnTo>
                  <a:lnTo>
                    <a:pt x="43" y="147"/>
                  </a:lnTo>
                  <a:lnTo>
                    <a:pt x="37" y="147"/>
                  </a:lnTo>
                  <a:lnTo>
                    <a:pt x="31" y="141"/>
                  </a:lnTo>
                  <a:lnTo>
                    <a:pt x="31" y="135"/>
                  </a:lnTo>
                  <a:lnTo>
                    <a:pt x="31" y="128"/>
                  </a:lnTo>
                  <a:lnTo>
                    <a:pt x="25" y="128"/>
                  </a:lnTo>
                  <a:lnTo>
                    <a:pt x="25" y="122"/>
                  </a:lnTo>
                  <a:lnTo>
                    <a:pt x="25" y="116"/>
                  </a:lnTo>
                  <a:lnTo>
                    <a:pt x="19" y="116"/>
                  </a:lnTo>
                  <a:lnTo>
                    <a:pt x="19" y="110"/>
                  </a:lnTo>
                  <a:lnTo>
                    <a:pt x="19" y="104"/>
                  </a:lnTo>
                  <a:lnTo>
                    <a:pt x="25" y="104"/>
                  </a:lnTo>
                  <a:lnTo>
                    <a:pt x="25" y="98"/>
                  </a:lnTo>
                  <a:lnTo>
                    <a:pt x="19" y="98"/>
                  </a:lnTo>
                  <a:lnTo>
                    <a:pt x="19" y="92"/>
                  </a:lnTo>
                  <a:lnTo>
                    <a:pt x="19" y="86"/>
                  </a:lnTo>
                  <a:lnTo>
                    <a:pt x="13" y="86"/>
                  </a:lnTo>
                  <a:lnTo>
                    <a:pt x="13" y="79"/>
                  </a:lnTo>
                  <a:lnTo>
                    <a:pt x="6" y="79"/>
                  </a:lnTo>
                  <a:lnTo>
                    <a:pt x="6" y="73"/>
                  </a:lnTo>
                  <a:lnTo>
                    <a:pt x="6" y="67"/>
                  </a:lnTo>
                  <a:lnTo>
                    <a:pt x="0" y="67"/>
                  </a:lnTo>
                  <a:lnTo>
                    <a:pt x="6" y="67"/>
                  </a:lnTo>
                  <a:lnTo>
                    <a:pt x="0" y="61"/>
                  </a:lnTo>
                  <a:lnTo>
                    <a:pt x="6" y="61"/>
                  </a:lnTo>
                  <a:lnTo>
                    <a:pt x="6" y="67"/>
                  </a:lnTo>
                  <a:lnTo>
                    <a:pt x="13" y="67"/>
                  </a:lnTo>
                  <a:lnTo>
                    <a:pt x="13" y="73"/>
                  </a:lnTo>
                  <a:lnTo>
                    <a:pt x="13" y="67"/>
                  </a:lnTo>
                  <a:lnTo>
                    <a:pt x="19" y="61"/>
                  </a:lnTo>
                  <a:lnTo>
                    <a:pt x="19" y="55"/>
                  </a:lnTo>
                  <a:lnTo>
                    <a:pt x="25" y="55"/>
                  </a:lnTo>
                  <a:lnTo>
                    <a:pt x="31" y="55"/>
                  </a:lnTo>
                  <a:lnTo>
                    <a:pt x="31" y="49"/>
                  </a:lnTo>
                  <a:lnTo>
                    <a:pt x="37" y="49"/>
                  </a:lnTo>
                  <a:lnTo>
                    <a:pt x="43" y="55"/>
                  </a:lnTo>
                  <a:lnTo>
                    <a:pt x="49" y="49"/>
                  </a:lnTo>
                  <a:lnTo>
                    <a:pt x="49" y="43"/>
                  </a:lnTo>
                  <a:lnTo>
                    <a:pt x="55" y="43"/>
                  </a:lnTo>
                  <a:lnTo>
                    <a:pt x="62" y="37"/>
                  </a:lnTo>
                  <a:lnTo>
                    <a:pt x="68" y="37"/>
                  </a:lnTo>
                  <a:lnTo>
                    <a:pt x="74" y="37"/>
                  </a:lnTo>
                  <a:lnTo>
                    <a:pt x="74" y="30"/>
                  </a:lnTo>
                  <a:lnTo>
                    <a:pt x="80" y="24"/>
                  </a:lnTo>
                  <a:lnTo>
                    <a:pt x="86" y="24"/>
                  </a:lnTo>
                  <a:lnTo>
                    <a:pt x="92" y="24"/>
                  </a:lnTo>
                  <a:lnTo>
                    <a:pt x="92" y="18"/>
                  </a:lnTo>
                  <a:lnTo>
                    <a:pt x="98" y="18"/>
                  </a:lnTo>
                  <a:lnTo>
                    <a:pt x="104" y="18"/>
                  </a:lnTo>
                  <a:lnTo>
                    <a:pt x="104" y="12"/>
                  </a:lnTo>
                  <a:lnTo>
                    <a:pt x="111" y="12"/>
                  </a:lnTo>
                  <a:lnTo>
                    <a:pt x="117" y="12"/>
                  </a:lnTo>
                  <a:lnTo>
                    <a:pt x="117" y="6"/>
                  </a:lnTo>
                  <a:lnTo>
                    <a:pt x="111" y="6"/>
                  </a:lnTo>
                  <a:lnTo>
                    <a:pt x="104" y="6"/>
                  </a:lnTo>
                  <a:lnTo>
                    <a:pt x="104" y="0"/>
                  </a:lnTo>
                  <a:lnTo>
                    <a:pt x="111" y="0"/>
                  </a:lnTo>
                  <a:lnTo>
                    <a:pt x="117" y="0"/>
                  </a:lnTo>
                  <a:lnTo>
                    <a:pt x="123" y="0"/>
                  </a:lnTo>
                  <a:lnTo>
                    <a:pt x="123" y="6"/>
                  </a:lnTo>
                  <a:lnTo>
                    <a:pt x="129" y="6"/>
                  </a:lnTo>
                  <a:lnTo>
                    <a:pt x="123" y="12"/>
                  </a:lnTo>
                  <a:lnTo>
                    <a:pt x="129" y="24"/>
                  </a:lnTo>
                  <a:lnTo>
                    <a:pt x="135" y="18"/>
                  </a:lnTo>
                  <a:lnTo>
                    <a:pt x="135" y="12"/>
                  </a:lnTo>
                  <a:lnTo>
                    <a:pt x="141" y="12"/>
                  </a:lnTo>
                  <a:lnTo>
                    <a:pt x="141" y="6"/>
                  </a:lnTo>
                  <a:lnTo>
                    <a:pt x="147" y="6"/>
                  </a:lnTo>
                  <a:lnTo>
                    <a:pt x="141" y="6"/>
                  </a:lnTo>
                  <a:lnTo>
                    <a:pt x="147" y="0"/>
                  </a:lnTo>
                  <a:lnTo>
                    <a:pt x="153" y="0"/>
                  </a:lnTo>
                  <a:lnTo>
                    <a:pt x="153" y="6"/>
                  </a:lnTo>
                  <a:lnTo>
                    <a:pt x="153" y="0"/>
                  </a:lnTo>
                  <a:lnTo>
                    <a:pt x="160" y="6"/>
                  </a:lnTo>
                  <a:lnTo>
                    <a:pt x="153" y="12"/>
                  </a:lnTo>
                  <a:lnTo>
                    <a:pt x="160" y="18"/>
                  </a:lnTo>
                  <a:lnTo>
                    <a:pt x="160" y="24"/>
                  </a:lnTo>
                  <a:lnTo>
                    <a:pt x="166" y="18"/>
                  </a:lnTo>
                  <a:lnTo>
                    <a:pt x="178" y="24"/>
                  </a:lnTo>
                  <a:lnTo>
                    <a:pt x="184" y="24"/>
                  </a:lnTo>
                  <a:lnTo>
                    <a:pt x="184" y="30"/>
                  </a:lnTo>
                  <a:lnTo>
                    <a:pt x="190" y="30"/>
                  </a:lnTo>
                  <a:lnTo>
                    <a:pt x="190" y="37"/>
                  </a:lnTo>
                  <a:lnTo>
                    <a:pt x="196" y="37"/>
                  </a:lnTo>
                  <a:lnTo>
                    <a:pt x="196" y="30"/>
                  </a:lnTo>
                  <a:lnTo>
                    <a:pt x="202" y="37"/>
                  </a:lnTo>
                  <a:lnTo>
                    <a:pt x="202" y="30"/>
                  </a:lnTo>
                  <a:lnTo>
                    <a:pt x="209" y="30"/>
                  </a:lnTo>
                  <a:lnTo>
                    <a:pt x="215" y="37"/>
                  </a:lnTo>
                  <a:lnTo>
                    <a:pt x="215" y="43"/>
                  </a:lnTo>
                  <a:lnTo>
                    <a:pt x="209" y="49"/>
                  </a:lnTo>
                  <a:lnTo>
                    <a:pt x="202" y="49"/>
                  </a:lnTo>
                  <a:lnTo>
                    <a:pt x="209" y="55"/>
                  </a:lnTo>
                  <a:lnTo>
                    <a:pt x="209" y="61"/>
                  </a:lnTo>
                  <a:lnTo>
                    <a:pt x="215" y="61"/>
                  </a:lnTo>
                  <a:lnTo>
                    <a:pt x="221" y="67"/>
                  </a:lnTo>
                  <a:lnTo>
                    <a:pt x="221" y="73"/>
                  </a:lnTo>
                  <a:lnTo>
                    <a:pt x="221" y="79"/>
                  </a:lnTo>
                  <a:lnTo>
                    <a:pt x="227" y="79"/>
                  </a:lnTo>
                  <a:lnTo>
                    <a:pt x="233" y="73"/>
                  </a:lnTo>
                  <a:lnTo>
                    <a:pt x="239" y="67"/>
                  </a:lnTo>
                  <a:lnTo>
                    <a:pt x="239" y="61"/>
                  </a:lnTo>
                  <a:lnTo>
                    <a:pt x="239" y="55"/>
                  </a:lnTo>
                  <a:lnTo>
                    <a:pt x="233" y="55"/>
                  </a:lnTo>
                  <a:lnTo>
                    <a:pt x="239" y="49"/>
                  </a:lnTo>
                  <a:lnTo>
                    <a:pt x="252" y="55"/>
                  </a:lnTo>
                  <a:lnTo>
                    <a:pt x="252" y="61"/>
                  </a:lnTo>
                  <a:lnTo>
                    <a:pt x="258" y="61"/>
                  </a:lnTo>
                  <a:lnTo>
                    <a:pt x="258" y="67"/>
                  </a:lnTo>
                  <a:lnTo>
                    <a:pt x="264" y="67"/>
                  </a:lnTo>
                  <a:lnTo>
                    <a:pt x="270" y="67"/>
                  </a:lnTo>
                  <a:lnTo>
                    <a:pt x="276" y="61"/>
                  </a:lnTo>
                  <a:lnTo>
                    <a:pt x="276" y="67"/>
                  </a:lnTo>
                  <a:lnTo>
                    <a:pt x="276" y="73"/>
                  </a:lnTo>
                  <a:lnTo>
                    <a:pt x="270" y="73"/>
                  </a:lnTo>
                  <a:lnTo>
                    <a:pt x="276" y="79"/>
                  </a:lnTo>
                  <a:lnTo>
                    <a:pt x="282" y="86"/>
                  </a:lnTo>
                  <a:lnTo>
                    <a:pt x="282" y="92"/>
                  </a:lnTo>
                  <a:lnTo>
                    <a:pt x="288" y="86"/>
                  </a:lnTo>
                  <a:lnTo>
                    <a:pt x="294" y="86"/>
                  </a:lnTo>
                  <a:lnTo>
                    <a:pt x="288" y="86"/>
                  </a:lnTo>
                  <a:lnTo>
                    <a:pt x="294" y="86"/>
                  </a:lnTo>
                  <a:lnTo>
                    <a:pt x="301" y="92"/>
                  </a:lnTo>
                  <a:lnTo>
                    <a:pt x="319" y="98"/>
                  </a:lnTo>
                  <a:lnTo>
                    <a:pt x="319" y="104"/>
                  </a:lnTo>
                  <a:lnTo>
                    <a:pt x="319" y="116"/>
                  </a:lnTo>
                  <a:lnTo>
                    <a:pt x="331" y="116"/>
                  </a:lnTo>
                  <a:lnTo>
                    <a:pt x="331" y="128"/>
                  </a:lnTo>
                  <a:lnTo>
                    <a:pt x="325" y="135"/>
                  </a:lnTo>
                  <a:lnTo>
                    <a:pt x="319" y="135"/>
                  </a:lnTo>
                  <a:lnTo>
                    <a:pt x="313" y="141"/>
                  </a:lnTo>
                  <a:lnTo>
                    <a:pt x="307" y="141"/>
                  </a:lnTo>
                  <a:lnTo>
                    <a:pt x="307" y="147"/>
                  </a:lnTo>
                  <a:lnTo>
                    <a:pt x="294" y="153"/>
                  </a:lnTo>
                  <a:lnTo>
                    <a:pt x="294" y="165"/>
                  </a:lnTo>
                  <a:lnTo>
                    <a:pt x="294" y="171"/>
                  </a:lnTo>
                  <a:lnTo>
                    <a:pt x="288" y="171"/>
                  </a:lnTo>
                  <a:lnTo>
                    <a:pt x="282" y="177"/>
                  </a:lnTo>
                  <a:lnTo>
                    <a:pt x="270" y="190"/>
                  </a:lnTo>
                  <a:lnTo>
                    <a:pt x="264" y="190"/>
                  </a:lnTo>
                  <a:lnTo>
                    <a:pt x="258" y="190"/>
                  </a:lnTo>
                  <a:lnTo>
                    <a:pt x="252" y="184"/>
                  </a:lnTo>
                  <a:lnTo>
                    <a:pt x="245" y="190"/>
                  </a:lnTo>
                  <a:lnTo>
                    <a:pt x="239" y="208"/>
                  </a:lnTo>
                  <a:lnTo>
                    <a:pt x="239" y="202"/>
                  </a:lnTo>
                  <a:lnTo>
                    <a:pt x="233" y="202"/>
                  </a:lnTo>
                  <a:lnTo>
                    <a:pt x="227" y="202"/>
                  </a:lnTo>
                  <a:lnTo>
                    <a:pt x="227" y="196"/>
                  </a:lnTo>
                  <a:lnTo>
                    <a:pt x="227" y="202"/>
                  </a:lnTo>
                  <a:lnTo>
                    <a:pt x="227" y="196"/>
                  </a:lnTo>
                  <a:lnTo>
                    <a:pt x="221" y="196"/>
                  </a:lnTo>
                  <a:lnTo>
                    <a:pt x="221" y="190"/>
                  </a:lnTo>
                  <a:lnTo>
                    <a:pt x="215" y="196"/>
                  </a:lnTo>
                  <a:lnTo>
                    <a:pt x="215" y="190"/>
                  </a:lnTo>
                  <a:lnTo>
                    <a:pt x="215" y="196"/>
                  </a:lnTo>
                  <a:lnTo>
                    <a:pt x="209" y="196"/>
                  </a:lnTo>
                  <a:lnTo>
                    <a:pt x="209" y="202"/>
                  </a:lnTo>
                  <a:lnTo>
                    <a:pt x="209" y="196"/>
                  </a:lnTo>
                  <a:lnTo>
                    <a:pt x="202" y="196"/>
                  </a:lnTo>
                  <a:lnTo>
                    <a:pt x="196" y="196"/>
                  </a:lnTo>
                  <a:lnTo>
                    <a:pt x="190" y="196"/>
                  </a:lnTo>
                  <a:lnTo>
                    <a:pt x="190" y="190"/>
                  </a:lnTo>
                  <a:lnTo>
                    <a:pt x="184" y="190"/>
                  </a:lnTo>
                  <a:lnTo>
                    <a:pt x="190" y="190"/>
                  </a:lnTo>
                  <a:lnTo>
                    <a:pt x="184" y="190"/>
                  </a:lnTo>
                  <a:lnTo>
                    <a:pt x="184" y="184"/>
                  </a:lnTo>
                  <a:lnTo>
                    <a:pt x="184" y="190"/>
                  </a:lnTo>
                  <a:lnTo>
                    <a:pt x="184" y="184"/>
                  </a:lnTo>
                  <a:lnTo>
                    <a:pt x="178" y="190"/>
                  </a:lnTo>
                  <a:lnTo>
                    <a:pt x="178" y="184"/>
                  </a:lnTo>
                  <a:lnTo>
                    <a:pt x="172" y="184"/>
                  </a:lnTo>
                  <a:lnTo>
                    <a:pt x="166" y="184"/>
                  </a:lnTo>
                  <a:lnTo>
                    <a:pt x="166" y="177"/>
                  </a:lnTo>
                  <a:lnTo>
                    <a:pt x="160" y="177"/>
                  </a:lnTo>
                  <a:lnTo>
                    <a:pt x="153" y="177"/>
                  </a:lnTo>
                  <a:lnTo>
                    <a:pt x="160" y="177"/>
                  </a:lnTo>
                  <a:lnTo>
                    <a:pt x="153" y="177"/>
                  </a:lnTo>
                  <a:lnTo>
                    <a:pt x="147" y="177"/>
                  </a:lnTo>
                  <a:lnTo>
                    <a:pt x="147" y="171"/>
                  </a:lnTo>
                  <a:lnTo>
                    <a:pt x="147" y="177"/>
                  </a:lnTo>
                  <a:lnTo>
                    <a:pt x="147" y="171"/>
                  </a:lnTo>
                  <a:lnTo>
                    <a:pt x="141" y="177"/>
                  </a:lnTo>
                  <a:lnTo>
                    <a:pt x="141" y="171"/>
                  </a:lnTo>
                  <a:lnTo>
                    <a:pt x="141" y="177"/>
                  </a:lnTo>
                  <a:lnTo>
                    <a:pt x="141" y="184"/>
                  </a:lnTo>
                  <a:lnTo>
                    <a:pt x="141" y="190"/>
                  </a:lnTo>
                  <a:lnTo>
                    <a:pt x="141" y="196"/>
                  </a:lnTo>
                  <a:lnTo>
                    <a:pt x="135" y="196"/>
                  </a:lnTo>
                  <a:lnTo>
                    <a:pt x="135" y="202"/>
                  </a:lnTo>
                  <a:lnTo>
                    <a:pt x="129" y="202"/>
                  </a:lnTo>
                  <a:lnTo>
                    <a:pt x="129" y="208"/>
                  </a:lnTo>
                  <a:lnTo>
                    <a:pt x="129" y="214"/>
                  </a:lnTo>
                  <a:lnTo>
                    <a:pt x="129" y="208"/>
                  </a:lnTo>
                  <a:lnTo>
                    <a:pt x="123" y="208"/>
                  </a:lnTo>
                  <a:lnTo>
                    <a:pt x="117" y="208"/>
                  </a:lnTo>
                  <a:lnTo>
                    <a:pt x="111" y="208"/>
                  </a:lnTo>
                  <a:lnTo>
                    <a:pt x="117" y="214"/>
                  </a:lnTo>
                  <a:lnTo>
                    <a:pt x="111" y="214"/>
                  </a:lnTo>
                  <a:lnTo>
                    <a:pt x="104" y="214"/>
                  </a:lnTo>
                  <a:lnTo>
                    <a:pt x="104" y="208"/>
                  </a:lnTo>
                  <a:lnTo>
                    <a:pt x="98" y="208"/>
                  </a:lnTo>
                  <a:lnTo>
                    <a:pt x="98" y="202"/>
                  </a:lnTo>
                  <a:lnTo>
                    <a:pt x="92" y="202"/>
                  </a:lnTo>
                  <a:lnTo>
                    <a:pt x="92" y="196"/>
                  </a:lnTo>
                  <a:lnTo>
                    <a:pt x="86" y="19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3" name="Freeform 94"/>
            <p:cNvSpPr>
              <a:spLocks/>
            </p:cNvSpPr>
            <p:nvPr/>
          </p:nvSpPr>
          <p:spPr bwMode="auto">
            <a:xfrm>
              <a:off x="4041946" y="5090460"/>
              <a:ext cx="475333" cy="447738"/>
            </a:xfrm>
            <a:custGeom>
              <a:avLst/>
              <a:gdLst>
                <a:gd name="T0" fmla="*/ 15120937 w 294"/>
                <a:gd name="T1" fmla="*/ 277217176 h 306"/>
                <a:gd name="T2" fmla="*/ 30241875 w 294"/>
                <a:gd name="T3" fmla="*/ 307459039 h 306"/>
                <a:gd name="T4" fmla="*/ 45362806 w 294"/>
                <a:gd name="T5" fmla="*/ 355342782 h 306"/>
                <a:gd name="T6" fmla="*/ 45362806 w 294"/>
                <a:gd name="T7" fmla="*/ 370463714 h 306"/>
                <a:gd name="T8" fmla="*/ 75604681 w 294"/>
                <a:gd name="T9" fmla="*/ 322579971 h 306"/>
                <a:gd name="T10" fmla="*/ 90725612 w 294"/>
                <a:gd name="T11" fmla="*/ 322579971 h 306"/>
                <a:gd name="T12" fmla="*/ 108365930 w 294"/>
                <a:gd name="T13" fmla="*/ 246975313 h 306"/>
                <a:gd name="T14" fmla="*/ 153728723 w 294"/>
                <a:gd name="T15" fmla="*/ 292338108 h 306"/>
                <a:gd name="T16" fmla="*/ 168851242 w 294"/>
                <a:gd name="T17" fmla="*/ 355342782 h 306"/>
                <a:gd name="T18" fmla="*/ 168851242 w 294"/>
                <a:gd name="T19" fmla="*/ 385584645 h 306"/>
                <a:gd name="T20" fmla="*/ 199091517 w 294"/>
                <a:gd name="T21" fmla="*/ 430945952 h 306"/>
                <a:gd name="T22" fmla="*/ 246975309 w 294"/>
                <a:gd name="T23" fmla="*/ 478829695 h 306"/>
                <a:gd name="T24" fmla="*/ 246975309 w 294"/>
                <a:gd name="T25" fmla="*/ 493950626 h 306"/>
                <a:gd name="T26" fmla="*/ 231854378 w 294"/>
                <a:gd name="T27" fmla="*/ 478829695 h 306"/>
                <a:gd name="T28" fmla="*/ 199091517 w 294"/>
                <a:gd name="T29" fmla="*/ 493950626 h 306"/>
                <a:gd name="T30" fmla="*/ 214212498 w 294"/>
                <a:gd name="T31" fmla="*/ 524192489 h 306"/>
                <a:gd name="T32" fmla="*/ 277217172 w 294"/>
                <a:gd name="T33" fmla="*/ 587195577 h 306"/>
                <a:gd name="T34" fmla="*/ 292338103 w 294"/>
                <a:gd name="T35" fmla="*/ 587195577 h 306"/>
                <a:gd name="T36" fmla="*/ 292338103 w 294"/>
                <a:gd name="T37" fmla="*/ 602316508 h 306"/>
                <a:gd name="T38" fmla="*/ 292338103 w 294"/>
                <a:gd name="T39" fmla="*/ 617437440 h 306"/>
                <a:gd name="T40" fmla="*/ 307459034 w 294"/>
                <a:gd name="T41" fmla="*/ 647680890 h 306"/>
                <a:gd name="T42" fmla="*/ 322579965 w 294"/>
                <a:gd name="T43" fmla="*/ 662801822 h 306"/>
                <a:gd name="T44" fmla="*/ 337700897 w 294"/>
                <a:gd name="T45" fmla="*/ 662801822 h 306"/>
                <a:gd name="T46" fmla="*/ 355342777 w 294"/>
                <a:gd name="T47" fmla="*/ 647680890 h 306"/>
                <a:gd name="T48" fmla="*/ 385583052 w 294"/>
                <a:gd name="T49" fmla="*/ 662801822 h 306"/>
                <a:gd name="T50" fmla="*/ 446066876 w 294"/>
                <a:gd name="T51" fmla="*/ 710683977 h 306"/>
                <a:gd name="T52" fmla="*/ 493950618 w 294"/>
                <a:gd name="T53" fmla="*/ 771167703 h 306"/>
                <a:gd name="T54" fmla="*/ 478829687 w 294"/>
                <a:gd name="T55" fmla="*/ 677922753 h 306"/>
                <a:gd name="T56" fmla="*/ 415824914 w 294"/>
                <a:gd name="T57" fmla="*/ 617437440 h 306"/>
                <a:gd name="T58" fmla="*/ 337700897 w 294"/>
                <a:gd name="T59" fmla="*/ 509071558 h 306"/>
                <a:gd name="T60" fmla="*/ 307459034 w 294"/>
                <a:gd name="T61" fmla="*/ 385584645 h 306"/>
                <a:gd name="T62" fmla="*/ 337700897 w 294"/>
                <a:gd name="T63" fmla="*/ 307459039 h 306"/>
                <a:gd name="T64" fmla="*/ 415824914 w 294"/>
                <a:gd name="T65" fmla="*/ 277217176 h 306"/>
                <a:gd name="T66" fmla="*/ 493950618 w 294"/>
                <a:gd name="T67" fmla="*/ 292338108 h 306"/>
                <a:gd name="T68" fmla="*/ 554434343 w 294"/>
                <a:gd name="T69" fmla="*/ 307459039 h 306"/>
                <a:gd name="T70" fmla="*/ 587195567 w 294"/>
                <a:gd name="T71" fmla="*/ 292338108 h 306"/>
                <a:gd name="T72" fmla="*/ 632558361 w 294"/>
                <a:gd name="T73" fmla="*/ 307459039 h 306"/>
                <a:gd name="T74" fmla="*/ 677922742 w 294"/>
                <a:gd name="T75" fmla="*/ 355342782 h 306"/>
                <a:gd name="T76" fmla="*/ 725804897 w 294"/>
                <a:gd name="T77" fmla="*/ 292338108 h 306"/>
                <a:gd name="T78" fmla="*/ 710683966 w 294"/>
                <a:gd name="T79" fmla="*/ 262096245 h 306"/>
                <a:gd name="T80" fmla="*/ 677922742 w 294"/>
                <a:gd name="T81" fmla="*/ 183972176 h 306"/>
                <a:gd name="T82" fmla="*/ 632558361 w 294"/>
                <a:gd name="T83" fmla="*/ 153728726 h 306"/>
                <a:gd name="T84" fmla="*/ 602316498 w 294"/>
                <a:gd name="T85" fmla="*/ 168851245 h 306"/>
                <a:gd name="T86" fmla="*/ 524192481 w 294"/>
                <a:gd name="T87" fmla="*/ 153728726 h 306"/>
                <a:gd name="T88" fmla="*/ 478829687 w 294"/>
                <a:gd name="T89" fmla="*/ 123486863 h 306"/>
                <a:gd name="T90" fmla="*/ 478829687 w 294"/>
                <a:gd name="T91" fmla="*/ 108365931 h 306"/>
                <a:gd name="T92" fmla="*/ 463708756 w 294"/>
                <a:gd name="T93" fmla="*/ 75604682 h 306"/>
                <a:gd name="T94" fmla="*/ 400703983 w 294"/>
                <a:gd name="T95" fmla="*/ 30241875 h 306"/>
                <a:gd name="T96" fmla="*/ 385583052 w 294"/>
                <a:gd name="T97" fmla="*/ 0 h 306"/>
                <a:gd name="T98" fmla="*/ 262096240 w 294"/>
                <a:gd name="T99" fmla="*/ 75604682 h 306"/>
                <a:gd name="T100" fmla="*/ 231854378 w 294"/>
                <a:gd name="T101" fmla="*/ 153728726 h 306"/>
                <a:gd name="T102" fmla="*/ 214212498 w 294"/>
                <a:gd name="T103" fmla="*/ 231854382 h 306"/>
                <a:gd name="T104" fmla="*/ 153728723 w 294"/>
                <a:gd name="T105" fmla="*/ 199091520 h 306"/>
                <a:gd name="T106" fmla="*/ 60483750 w 294"/>
                <a:gd name="T107" fmla="*/ 216733450 h 306"/>
                <a:gd name="T108" fmla="*/ 0 w 294"/>
                <a:gd name="T109" fmla="*/ 216733450 h 3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4"/>
                <a:gd name="T166" fmla="*/ 0 h 306"/>
                <a:gd name="T167" fmla="*/ 294 w 294"/>
                <a:gd name="T168" fmla="*/ 306 h 3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4" h="306">
                  <a:moveTo>
                    <a:pt x="0" y="86"/>
                  </a:moveTo>
                  <a:lnTo>
                    <a:pt x="6" y="92"/>
                  </a:lnTo>
                  <a:lnTo>
                    <a:pt x="6" y="98"/>
                  </a:lnTo>
                  <a:lnTo>
                    <a:pt x="6" y="104"/>
                  </a:lnTo>
                  <a:lnTo>
                    <a:pt x="6" y="110"/>
                  </a:lnTo>
                  <a:lnTo>
                    <a:pt x="6" y="116"/>
                  </a:lnTo>
                  <a:lnTo>
                    <a:pt x="12" y="116"/>
                  </a:lnTo>
                  <a:lnTo>
                    <a:pt x="6" y="116"/>
                  </a:lnTo>
                  <a:lnTo>
                    <a:pt x="6" y="122"/>
                  </a:lnTo>
                  <a:lnTo>
                    <a:pt x="12" y="122"/>
                  </a:lnTo>
                  <a:lnTo>
                    <a:pt x="6" y="122"/>
                  </a:lnTo>
                  <a:lnTo>
                    <a:pt x="12" y="122"/>
                  </a:lnTo>
                  <a:lnTo>
                    <a:pt x="12" y="128"/>
                  </a:lnTo>
                  <a:lnTo>
                    <a:pt x="18" y="135"/>
                  </a:lnTo>
                  <a:lnTo>
                    <a:pt x="18" y="141"/>
                  </a:lnTo>
                  <a:lnTo>
                    <a:pt x="18" y="147"/>
                  </a:lnTo>
                  <a:lnTo>
                    <a:pt x="18" y="141"/>
                  </a:lnTo>
                  <a:lnTo>
                    <a:pt x="18" y="147"/>
                  </a:lnTo>
                  <a:lnTo>
                    <a:pt x="24" y="147"/>
                  </a:lnTo>
                  <a:lnTo>
                    <a:pt x="18" y="147"/>
                  </a:lnTo>
                  <a:lnTo>
                    <a:pt x="24" y="147"/>
                  </a:lnTo>
                  <a:lnTo>
                    <a:pt x="24" y="141"/>
                  </a:lnTo>
                  <a:lnTo>
                    <a:pt x="30" y="141"/>
                  </a:lnTo>
                  <a:lnTo>
                    <a:pt x="30" y="135"/>
                  </a:lnTo>
                  <a:lnTo>
                    <a:pt x="30" y="128"/>
                  </a:lnTo>
                  <a:lnTo>
                    <a:pt x="30" y="135"/>
                  </a:lnTo>
                  <a:lnTo>
                    <a:pt x="36" y="135"/>
                  </a:lnTo>
                  <a:lnTo>
                    <a:pt x="36" y="128"/>
                  </a:lnTo>
                  <a:lnTo>
                    <a:pt x="36" y="122"/>
                  </a:lnTo>
                  <a:lnTo>
                    <a:pt x="36" y="128"/>
                  </a:lnTo>
                  <a:lnTo>
                    <a:pt x="36" y="122"/>
                  </a:lnTo>
                  <a:lnTo>
                    <a:pt x="36" y="116"/>
                  </a:lnTo>
                  <a:lnTo>
                    <a:pt x="36" y="110"/>
                  </a:lnTo>
                  <a:lnTo>
                    <a:pt x="43" y="104"/>
                  </a:lnTo>
                  <a:lnTo>
                    <a:pt x="43" y="98"/>
                  </a:lnTo>
                  <a:lnTo>
                    <a:pt x="49" y="104"/>
                  </a:lnTo>
                  <a:lnTo>
                    <a:pt x="55" y="104"/>
                  </a:lnTo>
                  <a:lnTo>
                    <a:pt x="55" y="110"/>
                  </a:lnTo>
                  <a:lnTo>
                    <a:pt x="61" y="110"/>
                  </a:lnTo>
                  <a:lnTo>
                    <a:pt x="61" y="116"/>
                  </a:lnTo>
                  <a:lnTo>
                    <a:pt x="67" y="122"/>
                  </a:lnTo>
                  <a:lnTo>
                    <a:pt x="73" y="128"/>
                  </a:lnTo>
                  <a:lnTo>
                    <a:pt x="73" y="135"/>
                  </a:lnTo>
                  <a:lnTo>
                    <a:pt x="73" y="141"/>
                  </a:lnTo>
                  <a:lnTo>
                    <a:pt x="67" y="141"/>
                  </a:lnTo>
                  <a:lnTo>
                    <a:pt x="67" y="153"/>
                  </a:lnTo>
                  <a:lnTo>
                    <a:pt x="73" y="153"/>
                  </a:lnTo>
                  <a:lnTo>
                    <a:pt x="67" y="153"/>
                  </a:lnTo>
                  <a:lnTo>
                    <a:pt x="73" y="153"/>
                  </a:lnTo>
                  <a:lnTo>
                    <a:pt x="67" y="153"/>
                  </a:lnTo>
                  <a:lnTo>
                    <a:pt x="73" y="153"/>
                  </a:lnTo>
                  <a:lnTo>
                    <a:pt x="73" y="159"/>
                  </a:lnTo>
                  <a:lnTo>
                    <a:pt x="73" y="165"/>
                  </a:lnTo>
                  <a:lnTo>
                    <a:pt x="79" y="165"/>
                  </a:lnTo>
                  <a:lnTo>
                    <a:pt x="79" y="171"/>
                  </a:lnTo>
                  <a:lnTo>
                    <a:pt x="79" y="177"/>
                  </a:lnTo>
                  <a:lnTo>
                    <a:pt x="85" y="177"/>
                  </a:lnTo>
                  <a:lnTo>
                    <a:pt x="85" y="184"/>
                  </a:lnTo>
                  <a:lnTo>
                    <a:pt x="92" y="190"/>
                  </a:lnTo>
                  <a:lnTo>
                    <a:pt x="98" y="190"/>
                  </a:lnTo>
                  <a:lnTo>
                    <a:pt x="98" y="196"/>
                  </a:lnTo>
                  <a:lnTo>
                    <a:pt x="98" y="190"/>
                  </a:lnTo>
                  <a:lnTo>
                    <a:pt x="104" y="196"/>
                  </a:lnTo>
                  <a:lnTo>
                    <a:pt x="104" y="202"/>
                  </a:lnTo>
                  <a:lnTo>
                    <a:pt x="98" y="196"/>
                  </a:lnTo>
                  <a:lnTo>
                    <a:pt x="104" y="196"/>
                  </a:lnTo>
                  <a:lnTo>
                    <a:pt x="98" y="196"/>
                  </a:lnTo>
                  <a:lnTo>
                    <a:pt x="92" y="190"/>
                  </a:lnTo>
                  <a:lnTo>
                    <a:pt x="85" y="190"/>
                  </a:lnTo>
                  <a:lnTo>
                    <a:pt x="92" y="190"/>
                  </a:lnTo>
                  <a:lnTo>
                    <a:pt x="92" y="196"/>
                  </a:lnTo>
                  <a:lnTo>
                    <a:pt x="85" y="190"/>
                  </a:lnTo>
                  <a:lnTo>
                    <a:pt x="85" y="196"/>
                  </a:lnTo>
                  <a:lnTo>
                    <a:pt x="79" y="190"/>
                  </a:lnTo>
                  <a:lnTo>
                    <a:pt x="79" y="196"/>
                  </a:lnTo>
                  <a:lnTo>
                    <a:pt x="85" y="196"/>
                  </a:lnTo>
                  <a:lnTo>
                    <a:pt x="85" y="202"/>
                  </a:lnTo>
                  <a:lnTo>
                    <a:pt x="79" y="202"/>
                  </a:lnTo>
                  <a:lnTo>
                    <a:pt x="85" y="202"/>
                  </a:lnTo>
                  <a:lnTo>
                    <a:pt x="85" y="208"/>
                  </a:lnTo>
                  <a:lnTo>
                    <a:pt x="92" y="214"/>
                  </a:lnTo>
                  <a:lnTo>
                    <a:pt x="98" y="220"/>
                  </a:lnTo>
                  <a:lnTo>
                    <a:pt x="98" y="226"/>
                  </a:lnTo>
                  <a:lnTo>
                    <a:pt x="104" y="226"/>
                  </a:lnTo>
                  <a:lnTo>
                    <a:pt x="110" y="233"/>
                  </a:lnTo>
                  <a:lnTo>
                    <a:pt x="104" y="233"/>
                  </a:lnTo>
                  <a:lnTo>
                    <a:pt x="110" y="233"/>
                  </a:lnTo>
                  <a:lnTo>
                    <a:pt x="110" y="239"/>
                  </a:lnTo>
                  <a:lnTo>
                    <a:pt x="116" y="239"/>
                  </a:lnTo>
                  <a:lnTo>
                    <a:pt x="116" y="233"/>
                  </a:lnTo>
                  <a:lnTo>
                    <a:pt x="122" y="233"/>
                  </a:lnTo>
                  <a:lnTo>
                    <a:pt x="122" y="226"/>
                  </a:lnTo>
                  <a:lnTo>
                    <a:pt x="122" y="233"/>
                  </a:lnTo>
                  <a:lnTo>
                    <a:pt x="116" y="233"/>
                  </a:lnTo>
                  <a:lnTo>
                    <a:pt x="116" y="239"/>
                  </a:lnTo>
                  <a:lnTo>
                    <a:pt x="122" y="239"/>
                  </a:lnTo>
                  <a:lnTo>
                    <a:pt x="116" y="239"/>
                  </a:lnTo>
                  <a:lnTo>
                    <a:pt x="122" y="239"/>
                  </a:lnTo>
                  <a:lnTo>
                    <a:pt x="116" y="239"/>
                  </a:lnTo>
                  <a:lnTo>
                    <a:pt x="116" y="245"/>
                  </a:lnTo>
                  <a:lnTo>
                    <a:pt x="122" y="245"/>
                  </a:lnTo>
                  <a:lnTo>
                    <a:pt x="122" y="251"/>
                  </a:lnTo>
                  <a:lnTo>
                    <a:pt x="122" y="245"/>
                  </a:lnTo>
                  <a:lnTo>
                    <a:pt x="122" y="251"/>
                  </a:lnTo>
                  <a:lnTo>
                    <a:pt x="122" y="257"/>
                  </a:lnTo>
                  <a:lnTo>
                    <a:pt x="122" y="263"/>
                  </a:lnTo>
                  <a:lnTo>
                    <a:pt x="122" y="257"/>
                  </a:lnTo>
                  <a:lnTo>
                    <a:pt x="122" y="263"/>
                  </a:lnTo>
                  <a:lnTo>
                    <a:pt x="128" y="257"/>
                  </a:lnTo>
                  <a:lnTo>
                    <a:pt x="128" y="263"/>
                  </a:lnTo>
                  <a:lnTo>
                    <a:pt x="134" y="263"/>
                  </a:lnTo>
                  <a:lnTo>
                    <a:pt x="134" y="257"/>
                  </a:lnTo>
                  <a:lnTo>
                    <a:pt x="128" y="257"/>
                  </a:lnTo>
                  <a:lnTo>
                    <a:pt x="134" y="257"/>
                  </a:lnTo>
                  <a:lnTo>
                    <a:pt x="134" y="263"/>
                  </a:lnTo>
                  <a:lnTo>
                    <a:pt x="141" y="257"/>
                  </a:lnTo>
                  <a:lnTo>
                    <a:pt x="141" y="263"/>
                  </a:lnTo>
                  <a:lnTo>
                    <a:pt x="141" y="257"/>
                  </a:lnTo>
                  <a:lnTo>
                    <a:pt x="134" y="257"/>
                  </a:lnTo>
                  <a:lnTo>
                    <a:pt x="141" y="257"/>
                  </a:lnTo>
                  <a:lnTo>
                    <a:pt x="147" y="257"/>
                  </a:lnTo>
                  <a:lnTo>
                    <a:pt x="141" y="257"/>
                  </a:lnTo>
                  <a:lnTo>
                    <a:pt x="147" y="257"/>
                  </a:lnTo>
                  <a:lnTo>
                    <a:pt x="153" y="257"/>
                  </a:lnTo>
                  <a:lnTo>
                    <a:pt x="153" y="263"/>
                  </a:lnTo>
                  <a:lnTo>
                    <a:pt x="159" y="263"/>
                  </a:lnTo>
                  <a:lnTo>
                    <a:pt x="159" y="269"/>
                  </a:lnTo>
                  <a:lnTo>
                    <a:pt x="165" y="269"/>
                  </a:lnTo>
                  <a:lnTo>
                    <a:pt x="171" y="275"/>
                  </a:lnTo>
                  <a:lnTo>
                    <a:pt x="177" y="282"/>
                  </a:lnTo>
                  <a:lnTo>
                    <a:pt x="177" y="288"/>
                  </a:lnTo>
                  <a:lnTo>
                    <a:pt x="184" y="288"/>
                  </a:lnTo>
                  <a:lnTo>
                    <a:pt x="190" y="294"/>
                  </a:lnTo>
                  <a:lnTo>
                    <a:pt x="196" y="300"/>
                  </a:lnTo>
                  <a:lnTo>
                    <a:pt x="196" y="306"/>
                  </a:lnTo>
                  <a:lnTo>
                    <a:pt x="202" y="306"/>
                  </a:lnTo>
                  <a:lnTo>
                    <a:pt x="208" y="306"/>
                  </a:lnTo>
                  <a:lnTo>
                    <a:pt x="202" y="294"/>
                  </a:lnTo>
                  <a:lnTo>
                    <a:pt x="196" y="288"/>
                  </a:lnTo>
                  <a:lnTo>
                    <a:pt x="190" y="269"/>
                  </a:lnTo>
                  <a:lnTo>
                    <a:pt x="184" y="263"/>
                  </a:lnTo>
                  <a:lnTo>
                    <a:pt x="177" y="257"/>
                  </a:lnTo>
                  <a:lnTo>
                    <a:pt x="171" y="251"/>
                  </a:lnTo>
                  <a:lnTo>
                    <a:pt x="171" y="245"/>
                  </a:lnTo>
                  <a:lnTo>
                    <a:pt x="165" y="245"/>
                  </a:lnTo>
                  <a:lnTo>
                    <a:pt x="159" y="233"/>
                  </a:lnTo>
                  <a:lnTo>
                    <a:pt x="153" y="226"/>
                  </a:lnTo>
                  <a:lnTo>
                    <a:pt x="153" y="220"/>
                  </a:lnTo>
                  <a:lnTo>
                    <a:pt x="147" y="214"/>
                  </a:lnTo>
                  <a:lnTo>
                    <a:pt x="134" y="202"/>
                  </a:lnTo>
                  <a:lnTo>
                    <a:pt x="134" y="190"/>
                  </a:lnTo>
                  <a:lnTo>
                    <a:pt x="128" y="184"/>
                  </a:lnTo>
                  <a:lnTo>
                    <a:pt x="134" y="184"/>
                  </a:lnTo>
                  <a:lnTo>
                    <a:pt x="128" y="165"/>
                  </a:lnTo>
                  <a:lnTo>
                    <a:pt x="122" y="153"/>
                  </a:lnTo>
                  <a:lnTo>
                    <a:pt x="116" y="153"/>
                  </a:lnTo>
                  <a:lnTo>
                    <a:pt x="110" y="147"/>
                  </a:lnTo>
                  <a:lnTo>
                    <a:pt x="116" y="116"/>
                  </a:lnTo>
                  <a:lnTo>
                    <a:pt x="122" y="110"/>
                  </a:lnTo>
                  <a:lnTo>
                    <a:pt x="134" y="122"/>
                  </a:lnTo>
                  <a:lnTo>
                    <a:pt x="141" y="128"/>
                  </a:lnTo>
                  <a:lnTo>
                    <a:pt x="147" y="110"/>
                  </a:lnTo>
                  <a:lnTo>
                    <a:pt x="153" y="110"/>
                  </a:lnTo>
                  <a:lnTo>
                    <a:pt x="165" y="116"/>
                  </a:lnTo>
                  <a:lnTo>
                    <a:pt x="165" y="110"/>
                  </a:lnTo>
                  <a:lnTo>
                    <a:pt x="171" y="104"/>
                  </a:lnTo>
                  <a:lnTo>
                    <a:pt x="171" y="110"/>
                  </a:lnTo>
                  <a:lnTo>
                    <a:pt x="184" y="116"/>
                  </a:lnTo>
                  <a:lnTo>
                    <a:pt x="190" y="116"/>
                  </a:lnTo>
                  <a:lnTo>
                    <a:pt x="196" y="116"/>
                  </a:lnTo>
                  <a:lnTo>
                    <a:pt x="196" y="122"/>
                  </a:lnTo>
                  <a:lnTo>
                    <a:pt x="202" y="122"/>
                  </a:lnTo>
                  <a:lnTo>
                    <a:pt x="208" y="116"/>
                  </a:lnTo>
                  <a:lnTo>
                    <a:pt x="214" y="122"/>
                  </a:lnTo>
                  <a:lnTo>
                    <a:pt x="220" y="122"/>
                  </a:lnTo>
                  <a:lnTo>
                    <a:pt x="220" y="116"/>
                  </a:lnTo>
                  <a:lnTo>
                    <a:pt x="226" y="116"/>
                  </a:lnTo>
                  <a:lnTo>
                    <a:pt x="226" y="122"/>
                  </a:lnTo>
                  <a:lnTo>
                    <a:pt x="233" y="122"/>
                  </a:lnTo>
                  <a:lnTo>
                    <a:pt x="233" y="116"/>
                  </a:lnTo>
                  <a:lnTo>
                    <a:pt x="239" y="122"/>
                  </a:lnTo>
                  <a:lnTo>
                    <a:pt x="245" y="122"/>
                  </a:lnTo>
                  <a:lnTo>
                    <a:pt x="245" y="128"/>
                  </a:lnTo>
                  <a:lnTo>
                    <a:pt x="245" y="122"/>
                  </a:lnTo>
                  <a:lnTo>
                    <a:pt x="251" y="122"/>
                  </a:lnTo>
                  <a:lnTo>
                    <a:pt x="257" y="128"/>
                  </a:lnTo>
                  <a:lnTo>
                    <a:pt x="257" y="135"/>
                  </a:lnTo>
                  <a:lnTo>
                    <a:pt x="263" y="141"/>
                  </a:lnTo>
                  <a:lnTo>
                    <a:pt x="275" y="141"/>
                  </a:lnTo>
                  <a:lnTo>
                    <a:pt x="269" y="141"/>
                  </a:lnTo>
                  <a:lnTo>
                    <a:pt x="282" y="135"/>
                  </a:lnTo>
                  <a:lnTo>
                    <a:pt x="275" y="128"/>
                  </a:lnTo>
                  <a:lnTo>
                    <a:pt x="275" y="116"/>
                  </a:lnTo>
                  <a:lnTo>
                    <a:pt x="282" y="110"/>
                  </a:lnTo>
                  <a:lnTo>
                    <a:pt x="288" y="116"/>
                  </a:lnTo>
                  <a:lnTo>
                    <a:pt x="288" y="110"/>
                  </a:lnTo>
                  <a:lnTo>
                    <a:pt x="294" y="116"/>
                  </a:lnTo>
                  <a:lnTo>
                    <a:pt x="294" y="110"/>
                  </a:lnTo>
                  <a:lnTo>
                    <a:pt x="282" y="110"/>
                  </a:lnTo>
                  <a:lnTo>
                    <a:pt x="282" y="104"/>
                  </a:lnTo>
                  <a:lnTo>
                    <a:pt x="275" y="98"/>
                  </a:lnTo>
                  <a:lnTo>
                    <a:pt x="269" y="86"/>
                  </a:lnTo>
                  <a:lnTo>
                    <a:pt x="275" y="86"/>
                  </a:lnTo>
                  <a:lnTo>
                    <a:pt x="269" y="79"/>
                  </a:lnTo>
                  <a:lnTo>
                    <a:pt x="269" y="73"/>
                  </a:lnTo>
                  <a:lnTo>
                    <a:pt x="263" y="49"/>
                  </a:lnTo>
                  <a:lnTo>
                    <a:pt x="263" y="55"/>
                  </a:lnTo>
                  <a:lnTo>
                    <a:pt x="257" y="49"/>
                  </a:lnTo>
                  <a:lnTo>
                    <a:pt x="251" y="55"/>
                  </a:lnTo>
                  <a:lnTo>
                    <a:pt x="251" y="61"/>
                  </a:lnTo>
                  <a:lnTo>
                    <a:pt x="245" y="61"/>
                  </a:lnTo>
                  <a:lnTo>
                    <a:pt x="245" y="67"/>
                  </a:lnTo>
                  <a:lnTo>
                    <a:pt x="239" y="67"/>
                  </a:lnTo>
                  <a:lnTo>
                    <a:pt x="239" y="61"/>
                  </a:lnTo>
                  <a:lnTo>
                    <a:pt x="239" y="67"/>
                  </a:lnTo>
                  <a:lnTo>
                    <a:pt x="233" y="61"/>
                  </a:lnTo>
                  <a:lnTo>
                    <a:pt x="226" y="61"/>
                  </a:lnTo>
                  <a:lnTo>
                    <a:pt x="220" y="61"/>
                  </a:lnTo>
                  <a:lnTo>
                    <a:pt x="214" y="61"/>
                  </a:lnTo>
                  <a:lnTo>
                    <a:pt x="208" y="61"/>
                  </a:lnTo>
                  <a:lnTo>
                    <a:pt x="208" y="55"/>
                  </a:lnTo>
                  <a:lnTo>
                    <a:pt x="202" y="55"/>
                  </a:lnTo>
                  <a:lnTo>
                    <a:pt x="202" y="49"/>
                  </a:lnTo>
                  <a:lnTo>
                    <a:pt x="196" y="49"/>
                  </a:lnTo>
                  <a:lnTo>
                    <a:pt x="190" y="49"/>
                  </a:lnTo>
                  <a:lnTo>
                    <a:pt x="190" y="43"/>
                  </a:lnTo>
                  <a:lnTo>
                    <a:pt x="190" y="49"/>
                  </a:lnTo>
                  <a:lnTo>
                    <a:pt x="190" y="43"/>
                  </a:lnTo>
                  <a:lnTo>
                    <a:pt x="184" y="43"/>
                  </a:lnTo>
                  <a:lnTo>
                    <a:pt x="190" y="43"/>
                  </a:lnTo>
                  <a:lnTo>
                    <a:pt x="184" y="43"/>
                  </a:lnTo>
                  <a:lnTo>
                    <a:pt x="184" y="37"/>
                  </a:lnTo>
                  <a:lnTo>
                    <a:pt x="184" y="30"/>
                  </a:lnTo>
                  <a:lnTo>
                    <a:pt x="184" y="37"/>
                  </a:lnTo>
                  <a:lnTo>
                    <a:pt x="184" y="30"/>
                  </a:lnTo>
                  <a:lnTo>
                    <a:pt x="171" y="24"/>
                  </a:lnTo>
                  <a:lnTo>
                    <a:pt x="171" y="18"/>
                  </a:lnTo>
                  <a:lnTo>
                    <a:pt x="165" y="18"/>
                  </a:lnTo>
                  <a:lnTo>
                    <a:pt x="165" y="12"/>
                  </a:lnTo>
                  <a:lnTo>
                    <a:pt x="159" y="12"/>
                  </a:lnTo>
                  <a:lnTo>
                    <a:pt x="159" y="6"/>
                  </a:lnTo>
                  <a:lnTo>
                    <a:pt x="159" y="12"/>
                  </a:lnTo>
                  <a:lnTo>
                    <a:pt x="159" y="6"/>
                  </a:lnTo>
                  <a:lnTo>
                    <a:pt x="153" y="6"/>
                  </a:lnTo>
                  <a:lnTo>
                    <a:pt x="153" y="0"/>
                  </a:lnTo>
                  <a:lnTo>
                    <a:pt x="141" y="0"/>
                  </a:lnTo>
                  <a:lnTo>
                    <a:pt x="141" y="12"/>
                  </a:lnTo>
                  <a:lnTo>
                    <a:pt x="128" y="12"/>
                  </a:lnTo>
                  <a:lnTo>
                    <a:pt x="110" y="24"/>
                  </a:lnTo>
                  <a:lnTo>
                    <a:pt x="104" y="30"/>
                  </a:lnTo>
                  <a:lnTo>
                    <a:pt x="104" y="37"/>
                  </a:lnTo>
                  <a:lnTo>
                    <a:pt x="110" y="37"/>
                  </a:lnTo>
                  <a:lnTo>
                    <a:pt x="110" y="55"/>
                  </a:lnTo>
                  <a:lnTo>
                    <a:pt x="104" y="55"/>
                  </a:lnTo>
                  <a:lnTo>
                    <a:pt x="92" y="61"/>
                  </a:lnTo>
                  <a:lnTo>
                    <a:pt x="92" y="67"/>
                  </a:lnTo>
                  <a:lnTo>
                    <a:pt x="98" y="73"/>
                  </a:lnTo>
                  <a:lnTo>
                    <a:pt x="92" y="73"/>
                  </a:lnTo>
                  <a:lnTo>
                    <a:pt x="92" y="92"/>
                  </a:lnTo>
                  <a:lnTo>
                    <a:pt x="85" y="92"/>
                  </a:lnTo>
                  <a:lnTo>
                    <a:pt x="73" y="86"/>
                  </a:lnTo>
                  <a:lnTo>
                    <a:pt x="73" y="92"/>
                  </a:lnTo>
                  <a:lnTo>
                    <a:pt x="67" y="92"/>
                  </a:lnTo>
                  <a:lnTo>
                    <a:pt x="61" y="86"/>
                  </a:lnTo>
                  <a:lnTo>
                    <a:pt x="61" y="79"/>
                  </a:lnTo>
                  <a:lnTo>
                    <a:pt x="55" y="73"/>
                  </a:lnTo>
                  <a:lnTo>
                    <a:pt x="49" y="86"/>
                  </a:lnTo>
                  <a:lnTo>
                    <a:pt x="36" y="86"/>
                  </a:lnTo>
                  <a:lnTo>
                    <a:pt x="36" y="92"/>
                  </a:lnTo>
                  <a:lnTo>
                    <a:pt x="24" y="86"/>
                  </a:lnTo>
                  <a:lnTo>
                    <a:pt x="24" y="92"/>
                  </a:lnTo>
                  <a:lnTo>
                    <a:pt x="18" y="92"/>
                  </a:lnTo>
                  <a:lnTo>
                    <a:pt x="12" y="92"/>
                  </a:lnTo>
                  <a:lnTo>
                    <a:pt x="6" y="86"/>
                  </a:lnTo>
                  <a:lnTo>
                    <a:pt x="0" y="8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4" name="Freeform 95"/>
            <p:cNvSpPr>
              <a:spLocks/>
            </p:cNvSpPr>
            <p:nvPr/>
          </p:nvSpPr>
          <p:spPr bwMode="auto">
            <a:xfrm>
              <a:off x="4318415" y="5529418"/>
              <a:ext cx="119642" cy="80475"/>
            </a:xfrm>
            <a:custGeom>
              <a:avLst/>
              <a:gdLst>
                <a:gd name="T0" fmla="*/ 0 w 74"/>
                <a:gd name="T1" fmla="*/ 0 h 55"/>
                <a:gd name="T2" fmla="*/ 15120937 w 74"/>
                <a:gd name="T3" fmla="*/ 15120853 h 55"/>
                <a:gd name="T4" fmla="*/ 32761236 w 74"/>
                <a:gd name="T5" fmla="*/ 15120853 h 55"/>
                <a:gd name="T6" fmla="*/ 47882168 w 74"/>
                <a:gd name="T7" fmla="*/ 15120853 h 55"/>
                <a:gd name="T8" fmla="*/ 47882168 w 74"/>
                <a:gd name="T9" fmla="*/ 30241706 h 55"/>
                <a:gd name="T10" fmla="*/ 63003111 w 74"/>
                <a:gd name="T11" fmla="*/ 30241706 h 55"/>
                <a:gd name="T12" fmla="*/ 63003111 w 74"/>
                <a:gd name="T13" fmla="*/ 45362553 h 55"/>
                <a:gd name="T14" fmla="*/ 78124043 w 74"/>
                <a:gd name="T15" fmla="*/ 45362553 h 55"/>
                <a:gd name="T16" fmla="*/ 93246561 w 74"/>
                <a:gd name="T17" fmla="*/ 45362553 h 55"/>
                <a:gd name="T18" fmla="*/ 93246561 w 74"/>
                <a:gd name="T19" fmla="*/ 60483412 h 55"/>
                <a:gd name="T20" fmla="*/ 93246561 w 74"/>
                <a:gd name="T21" fmla="*/ 45362553 h 55"/>
                <a:gd name="T22" fmla="*/ 108365930 w 74"/>
                <a:gd name="T23" fmla="*/ 45362553 h 55"/>
                <a:gd name="T24" fmla="*/ 108365930 w 74"/>
                <a:gd name="T25" fmla="*/ 60483412 h 55"/>
                <a:gd name="T26" fmla="*/ 108365930 w 74"/>
                <a:gd name="T27" fmla="*/ 45362553 h 55"/>
                <a:gd name="T28" fmla="*/ 108365930 w 74"/>
                <a:gd name="T29" fmla="*/ 60483412 h 55"/>
                <a:gd name="T30" fmla="*/ 123486861 w 74"/>
                <a:gd name="T31" fmla="*/ 78123606 h 55"/>
                <a:gd name="T32" fmla="*/ 138607792 w 74"/>
                <a:gd name="T33" fmla="*/ 78123606 h 55"/>
                <a:gd name="T34" fmla="*/ 138607792 w 74"/>
                <a:gd name="T35" fmla="*/ 93244452 h 55"/>
                <a:gd name="T36" fmla="*/ 138607792 w 74"/>
                <a:gd name="T37" fmla="*/ 78123606 h 55"/>
                <a:gd name="T38" fmla="*/ 156249673 w 74"/>
                <a:gd name="T39" fmla="*/ 93244452 h 55"/>
                <a:gd name="T40" fmla="*/ 156249673 w 74"/>
                <a:gd name="T41" fmla="*/ 108365324 h 55"/>
                <a:gd name="T42" fmla="*/ 171370604 w 74"/>
                <a:gd name="T43" fmla="*/ 123486171 h 55"/>
                <a:gd name="T44" fmla="*/ 186491535 w 74"/>
                <a:gd name="T45" fmla="*/ 123486171 h 55"/>
                <a:gd name="T46" fmla="*/ 186491535 w 74"/>
                <a:gd name="T47" fmla="*/ 138607017 h 55"/>
                <a:gd name="T48" fmla="*/ 186491535 w 74"/>
                <a:gd name="T49" fmla="*/ 123486171 h 55"/>
                <a:gd name="T50" fmla="*/ 186491535 w 74"/>
                <a:gd name="T51" fmla="*/ 108365324 h 55"/>
                <a:gd name="T52" fmla="*/ 171370604 w 74"/>
                <a:gd name="T53" fmla="*/ 93244452 h 55"/>
                <a:gd name="T54" fmla="*/ 156249673 w 74"/>
                <a:gd name="T55" fmla="*/ 93244452 h 55"/>
                <a:gd name="T56" fmla="*/ 123486861 w 74"/>
                <a:gd name="T57" fmla="*/ 45362553 h 55"/>
                <a:gd name="T58" fmla="*/ 108365930 w 74"/>
                <a:gd name="T59" fmla="*/ 45362553 h 55"/>
                <a:gd name="T60" fmla="*/ 123486861 w 74"/>
                <a:gd name="T61" fmla="*/ 45362553 h 55"/>
                <a:gd name="T62" fmla="*/ 108365930 w 74"/>
                <a:gd name="T63" fmla="*/ 30241706 h 55"/>
                <a:gd name="T64" fmla="*/ 78124043 w 74"/>
                <a:gd name="T65" fmla="*/ 30241706 h 55"/>
                <a:gd name="T66" fmla="*/ 93246561 w 74"/>
                <a:gd name="T67" fmla="*/ 30241706 h 55"/>
                <a:gd name="T68" fmla="*/ 93246561 w 74"/>
                <a:gd name="T69" fmla="*/ 45362553 h 55"/>
                <a:gd name="T70" fmla="*/ 93246561 w 74"/>
                <a:gd name="T71" fmla="*/ 30241706 h 55"/>
                <a:gd name="T72" fmla="*/ 78124043 w 74"/>
                <a:gd name="T73" fmla="*/ 30241706 h 55"/>
                <a:gd name="T74" fmla="*/ 93246561 w 74"/>
                <a:gd name="T75" fmla="*/ 30241706 h 55"/>
                <a:gd name="T76" fmla="*/ 78124043 w 74"/>
                <a:gd name="T77" fmla="*/ 30241706 h 55"/>
                <a:gd name="T78" fmla="*/ 63003111 w 74"/>
                <a:gd name="T79" fmla="*/ 30241706 h 55"/>
                <a:gd name="T80" fmla="*/ 78124043 w 74"/>
                <a:gd name="T81" fmla="*/ 30241706 h 55"/>
                <a:gd name="T82" fmla="*/ 63003111 w 74"/>
                <a:gd name="T83" fmla="*/ 30241706 h 55"/>
                <a:gd name="T84" fmla="*/ 63003111 w 74"/>
                <a:gd name="T85" fmla="*/ 15120853 h 55"/>
                <a:gd name="T86" fmla="*/ 47882168 w 74"/>
                <a:gd name="T87" fmla="*/ 15120853 h 55"/>
                <a:gd name="T88" fmla="*/ 32761236 w 74"/>
                <a:gd name="T89" fmla="*/ 0 h 55"/>
                <a:gd name="T90" fmla="*/ 15120937 w 74"/>
                <a:gd name="T91" fmla="*/ 0 h 55"/>
                <a:gd name="T92" fmla="*/ 0 w 74"/>
                <a:gd name="T93" fmla="*/ 0 h 55"/>
                <a:gd name="T94" fmla="*/ 15120937 w 74"/>
                <a:gd name="T95" fmla="*/ 0 h 55"/>
                <a:gd name="T96" fmla="*/ 0 w 74"/>
                <a:gd name="T97" fmla="*/ 0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4"/>
                <a:gd name="T148" fmla="*/ 0 h 55"/>
                <a:gd name="T149" fmla="*/ 74 w 74"/>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4" h="55">
                  <a:moveTo>
                    <a:pt x="0" y="0"/>
                  </a:moveTo>
                  <a:lnTo>
                    <a:pt x="6" y="6"/>
                  </a:lnTo>
                  <a:lnTo>
                    <a:pt x="13" y="6"/>
                  </a:lnTo>
                  <a:lnTo>
                    <a:pt x="19" y="6"/>
                  </a:lnTo>
                  <a:lnTo>
                    <a:pt x="19" y="12"/>
                  </a:lnTo>
                  <a:lnTo>
                    <a:pt x="25" y="12"/>
                  </a:lnTo>
                  <a:lnTo>
                    <a:pt x="25" y="18"/>
                  </a:lnTo>
                  <a:lnTo>
                    <a:pt x="31" y="18"/>
                  </a:lnTo>
                  <a:lnTo>
                    <a:pt x="37" y="18"/>
                  </a:lnTo>
                  <a:lnTo>
                    <a:pt x="37" y="24"/>
                  </a:lnTo>
                  <a:lnTo>
                    <a:pt x="37" y="18"/>
                  </a:lnTo>
                  <a:lnTo>
                    <a:pt x="43" y="18"/>
                  </a:lnTo>
                  <a:lnTo>
                    <a:pt x="43" y="24"/>
                  </a:lnTo>
                  <a:lnTo>
                    <a:pt x="43" y="18"/>
                  </a:lnTo>
                  <a:lnTo>
                    <a:pt x="43" y="24"/>
                  </a:lnTo>
                  <a:lnTo>
                    <a:pt x="49" y="31"/>
                  </a:lnTo>
                  <a:lnTo>
                    <a:pt x="55" y="31"/>
                  </a:lnTo>
                  <a:lnTo>
                    <a:pt x="55" y="37"/>
                  </a:lnTo>
                  <a:lnTo>
                    <a:pt x="55" y="31"/>
                  </a:lnTo>
                  <a:lnTo>
                    <a:pt x="62" y="37"/>
                  </a:lnTo>
                  <a:lnTo>
                    <a:pt x="62" y="43"/>
                  </a:lnTo>
                  <a:lnTo>
                    <a:pt x="68" y="49"/>
                  </a:lnTo>
                  <a:lnTo>
                    <a:pt x="74" y="49"/>
                  </a:lnTo>
                  <a:lnTo>
                    <a:pt x="74" y="55"/>
                  </a:lnTo>
                  <a:lnTo>
                    <a:pt x="74" y="49"/>
                  </a:lnTo>
                  <a:lnTo>
                    <a:pt x="74" y="43"/>
                  </a:lnTo>
                  <a:lnTo>
                    <a:pt x="68" y="37"/>
                  </a:lnTo>
                  <a:lnTo>
                    <a:pt x="62" y="37"/>
                  </a:lnTo>
                  <a:lnTo>
                    <a:pt x="49" y="18"/>
                  </a:lnTo>
                  <a:lnTo>
                    <a:pt x="43" y="18"/>
                  </a:lnTo>
                  <a:lnTo>
                    <a:pt x="49" y="18"/>
                  </a:lnTo>
                  <a:lnTo>
                    <a:pt x="43" y="12"/>
                  </a:lnTo>
                  <a:lnTo>
                    <a:pt x="31" y="12"/>
                  </a:lnTo>
                  <a:lnTo>
                    <a:pt x="37" y="12"/>
                  </a:lnTo>
                  <a:lnTo>
                    <a:pt x="37" y="18"/>
                  </a:lnTo>
                  <a:lnTo>
                    <a:pt x="37" y="12"/>
                  </a:lnTo>
                  <a:lnTo>
                    <a:pt x="31" y="12"/>
                  </a:lnTo>
                  <a:lnTo>
                    <a:pt x="37" y="12"/>
                  </a:lnTo>
                  <a:lnTo>
                    <a:pt x="31" y="12"/>
                  </a:lnTo>
                  <a:lnTo>
                    <a:pt x="25" y="12"/>
                  </a:lnTo>
                  <a:lnTo>
                    <a:pt x="31" y="12"/>
                  </a:lnTo>
                  <a:lnTo>
                    <a:pt x="25" y="12"/>
                  </a:lnTo>
                  <a:lnTo>
                    <a:pt x="25" y="6"/>
                  </a:lnTo>
                  <a:lnTo>
                    <a:pt x="19" y="6"/>
                  </a:lnTo>
                  <a:lnTo>
                    <a:pt x="13" y="0"/>
                  </a:lnTo>
                  <a:lnTo>
                    <a:pt x="6" y="0"/>
                  </a:lnTo>
                  <a:lnTo>
                    <a:pt x="0"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5" name="Freeform 96"/>
            <p:cNvSpPr>
              <a:spLocks/>
            </p:cNvSpPr>
            <p:nvPr/>
          </p:nvSpPr>
          <p:spPr bwMode="auto">
            <a:xfrm>
              <a:off x="4090449" y="4032568"/>
              <a:ext cx="793839" cy="743304"/>
            </a:xfrm>
            <a:custGeom>
              <a:avLst/>
              <a:gdLst>
                <a:gd name="T0" fmla="*/ 63004750 w 491"/>
                <a:gd name="T1" fmla="*/ 246975352 h 508"/>
                <a:gd name="T2" fmla="*/ 78125693 w 491"/>
                <a:gd name="T3" fmla="*/ 186491567 h 508"/>
                <a:gd name="T4" fmla="*/ 156249798 w 491"/>
                <a:gd name="T5" fmla="*/ 153730338 h 508"/>
                <a:gd name="T6" fmla="*/ 262096452 w 491"/>
                <a:gd name="T7" fmla="*/ 123488470 h 508"/>
                <a:gd name="T8" fmla="*/ 294859290 w 491"/>
                <a:gd name="T9" fmla="*/ 78125644 h 508"/>
                <a:gd name="T10" fmla="*/ 403225258 w 491"/>
                <a:gd name="T11" fmla="*/ 30241880 h 508"/>
                <a:gd name="T12" fmla="*/ 556955742 w 491"/>
                <a:gd name="T13" fmla="*/ 30241880 h 508"/>
                <a:gd name="T14" fmla="*/ 556955742 w 491"/>
                <a:gd name="T15" fmla="*/ 30241880 h 508"/>
                <a:gd name="T16" fmla="*/ 541834799 w 491"/>
                <a:gd name="T17" fmla="*/ 63004710 h 508"/>
                <a:gd name="T18" fmla="*/ 602318573 w 491"/>
                <a:gd name="T19" fmla="*/ 108367536 h 508"/>
                <a:gd name="T20" fmla="*/ 665321710 w 491"/>
                <a:gd name="T21" fmla="*/ 108367536 h 508"/>
                <a:gd name="T22" fmla="*/ 650200766 w 491"/>
                <a:gd name="T23" fmla="*/ 123488470 h 508"/>
                <a:gd name="T24" fmla="*/ 758568321 w 491"/>
                <a:gd name="T25" fmla="*/ 93246577 h 508"/>
                <a:gd name="T26" fmla="*/ 1081148647 w 491"/>
                <a:gd name="T27" fmla="*/ 93246577 h 508"/>
                <a:gd name="T28" fmla="*/ 1111390533 w 491"/>
                <a:gd name="T29" fmla="*/ 108367536 h 508"/>
                <a:gd name="T30" fmla="*/ 1159272727 w 491"/>
                <a:gd name="T31" fmla="*/ 168851272 h 508"/>
                <a:gd name="T32" fmla="*/ 1174393671 w 491"/>
                <a:gd name="T33" fmla="*/ 246975352 h 508"/>
                <a:gd name="T34" fmla="*/ 1204635558 w 491"/>
                <a:gd name="T35" fmla="*/ 355342839 h 508"/>
                <a:gd name="T36" fmla="*/ 1204635558 w 491"/>
                <a:gd name="T37" fmla="*/ 478829771 h 508"/>
                <a:gd name="T38" fmla="*/ 1129030840 w 491"/>
                <a:gd name="T39" fmla="*/ 556955390 h 508"/>
                <a:gd name="T40" fmla="*/ 1144151784 w 491"/>
                <a:gd name="T41" fmla="*/ 572076323 h 508"/>
                <a:gd name="T42" fmla="*/ 1189514614 w 491"/>
                <a:gd name="T43" fmla="*/ 617439125 h 508"/>
                <a:gd name="T44" fmla="*/ 1174393671 w 491"/>
                <a:gd name="T45" fmla="*/ 680442222 h 508"/>
                <a:gd name="T46" fmla="*/ 1174393671 w 491"/>
                <a:gd name="T47" fmla="*/ 740925958 h 508"/>
                <a:gd name="T48" fmla="*/ 1189514614 w 491"/>
                <a:gd name="T49" fmla="*/ 756046892 h 508"/>
                <a:gd name="T50" fmla="*/ 1204635558 w 491"/>
                <a:gd name="T51" fmla="*/ 819051577 h 508"/>
                <a:gd name="T52" fmla="*/ 1219756501 w 491"/>
                <a:gd name="T53" fmla="*/ 834172709 h 508"/>
                <a:gd name="T54" fmla="*/ 1219756501 w 491"/>
                <a:gd name="T55" fmla="*/ 894656444 h 508"/>
                <a:gd name="T56" fmla="*/ 1219756501 w 491"/>
                <a:gd name="T57" fmla="*/ 957659542 h 508"/>
                <a:gd name="T58" fmla="*/ 1174393671 w 491"/>
                <a:gd name="T59" fmla="*/ 1003022343 h 508"/>
                <a:gd name="T60" fmla="*/ 1096269590 w 491"/>
                <a:gd name="T61" fmla="*/ 1081147962 h 508"/>
                <a:gd name="T62" fmla="*/ 1066027703 w 491"/>
                <a:gd name="T63" fmla="*/ 1156752631 h 508"/>
                <a:gd name="T64" fmla="*/ 1066027703 w 491"/>
                <a:gd name="T65" fmla="*/ 1234876663 h 508"/>
                <a:gd name="T66" fmla="*/ 1081148647 w 491"/>
                <a:gd name="T67" fmla="*/ 1280239464 h 508"/>
                <a:gd name="T68" fmla="*/ 1005543929 w 491"/>
                <a:gd name="T69" fmla="*/ 1249997597 h 508"/>
                <a:gd name="T70" fmla="*/ 942539205 w 491"/>
                <a:gd name="T71" fmla="*/ 1204634795 h 508"/>
                <a:gd name="T72" fmla="*/ 882055431 w 491"/>
                <a:gd name="T73" fmla="*/ 1189513861 h 508"/>
                <a:gd name="T74" fmla="*/ 803931152 w 491"/>
                <a:gd name="T75" fmla="*/ 1189513861 h 508"/>
                <a:gd name="T76" fmla="*/ 740926427 w 491"/>
                <a:gd name="T77" fmla="*/ 1234876663 h 508"/>
                <a:gd name="T78" fmla="*/ 695563597 w 491"/>
                <a:gd name="T79" fmla="*/ 1189513861 h 508"/>
                <a:gd name="T80" fmla="*/ 635079823 w 491"/>
                <a:gd name="T81" fmla="*/ 1156752631 h 508"/>
                <a:gd name="T82" fmla="*/ 556955742 w 491"/>
                <a:gd name="T83" fmla="*/ 1126510764 h 508"/>
                <a:gd name="T84" fmla="*/ 493951017 w 491"/>
                <a:gd name="T85" fmla="*/ 1050906094 h 508"/>
                <a:gd name="T86" fmla="*/ 448588187 w 491"/>
                <a:gd name="T87" fmla="*/ 1018143277 h 508"/>
                <a:gd name="T88" fmla="*/ 403225258 w 491"/>
                <a:gd name="T89" fmla="*/ 987901409 h 508"/>
                <a:gd name="T90" fmla="*/ 355343064 w 491"/>
                <a:gd name="T91" fmla="*/ 987901409 h 508"/>
                <a:gd name="T92" fmla="*/ 309980233 w 491"/>
                <a:gd name="T93" fmla="*/ 1003022343 h 508"/>
                <a:gd name="T94" fmla="*/ 294859290 w 491"/>
                <a:gd name="T95" fmla="*/ 942538608 h 508"/>
                <a:gd name="T96" fmla="*/ 246975509 w 491"/>
                <a:gd name="T97" fmla="*/ 927417674 h 508"/>
                <a:gd name="T98" fmla="*/ 171370742 w 491"/>
                <a:gd name="T99" fmla="*/ 879535511 h 508"/>
                <a:gd name="T100" fmla="*/ 138609492 w 491"/>
                <a:gd name="T101" fmla="*/ 849293643 h 508"/>
                <a:gd name="T102" fmla="*/ 108367605 w 491"/>
                <a:gd name="T103" fmla="*/ 864414577 h 508"/>
                <a:gd name="T104" fmla="*/ 123488548 w 491"/>
                <a:gd name="T105" fmla="*/ 786288759 h 508"/>
                <a:gd name="T106" fmla="*/ 78125693 w 491"/>
                <a:gd name="T107" fmla="*/ 725805024 h 508"/>
                <a:gd name="T108" fmla="*/ 78125693 w 491"/>
                <a:gd name="T109" fmla="*/ 617439125 h 508"/>
                <a:gd name="T110" fmla="*/ 63004750 w 491"/>
                <a:gd name="T111" fmla="*/ 509071639 h 508"/>
                <a:gd name="T112" fmla="*/ 32762850 w 491"/>
                <a:gd name="T113" fmla="*/ 448587903 h 508"/>
                <a:gd name="T114" fmla="*/ 32762850 w 491"/>
                <a:gd name="T115" fmla="*/ 400705640 h 508"/>
                <a:gd name="T116" fmla="*/ 47883794 w 491"/>
                <a:gd name="T117" fmla="*/ 325100971 h 508"/>
                <a:gd name="T118" fmla="*/ 15120950 w 491"/>
                <a:gd name="T119" fmla="*/ 246975352 h 5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1"/>
                <a:gd name="T181" fmla="*/ 0 h 508"/>
                <a:gd name="T182" fmla="*/ 491 w 491"/>
                <a:gd name="T183" fmla="*/ 508 h 5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1" h="508">
                  <a:moveTo>
                    <a:pt x="13" y="98"/>
                  </a:moveTo>
                  <a:lnTo>
                    <a:pt x="19" y="104"/>
                  </a:lnTo>
                  <a:lnTo>
                    <a:pt x="25" y="104"/>
                  </a:lnTo>
                  <a:lnTo>
                    <a:pt x="25" y="110"/>
                  </a:lnTo>
                  <a:lnTo>
                    <a:pt x="25" y="104"/>
                  </a:lnTo>
                  <a:lnTo>
                    <a:pt x="25" y="98"/>
                  </a:lnTo>
                  <a:lnTo>
                    <a:pt x="25" y="92"/>
                  </a:lnTo>
                  <a:lnTo>
                    <a:pt x="25" y="98"/>
                  </a:lnTo>
                  <a:lnTo>
                    <a:pt x="25" y="92"/>
                  </a:lnTo>
                  <a:lnTo>
                    <a:pt x="25" y="86"/>
                  </a:lnTo>
                  <a:lnTo>
                    <a:pt x="31" y="80"/>
                  </a:lnTo>
                  <a:lnTo>
                    <a:pt x="31" y="74"/>
                  </a:lnTo>
                  <a:lnTo>
                    <a:pt x="37" y="74"/>
                  </a:lnTo>
                  <a:lnTo>
                    <a:pt x="31" y="74"/>
                  </a:lnTo>
                  <a:lnTo>
                    <a:pt x="37" y="74"/>
                  </a:lnTo>
                  <a:lnTo>
                    <a:pt x="31" y="74"/>
                  </a:lnTo>
                  <a:lnTo>
                    <a:pt x="43" y="67"/>
                  </a:lnTo>
                  <a:lnTo>
                    <a:pt x="62" y="61"/>
                  </a:lnTo>
                  <a:lnTo>
                    <a:pt x="68" y="61"/>
                  </a:lnTo>
                  <a:lnTo>
                    <a:pt x="74" y="55"/>
                  </a:lnTo>
                  <a:lnTo>
                    <a:pt x="80" y="55"/>
                  </a:lnTo>
                  <a:lnTo>
                    <a:pt x="86" y="55"/>
                  </a:lnTo>
                  <a:lnTo>
                    <a:pt x="92" y="49"/>
                  </a:lnTo>
                  <a:lnTo>
                    <a:pt x="104" y="49"/>
                  </a:lnTo>
                  <a:lnTo>
                    <a:pt x="104" y="43"/>
                  </a:lnTo>
                  <a:lnTo>
                    <a:pt x="104" y="49"/>
                  </a:lnTo>
                  <a:lnTo>
                    <a:pt x="104" y="43"/>
                  </a:lnTo>
                  <a:lnTo>
                    <a:pt x="111" y="43"/>
                  </a:lnTo>
                  <a:lnTo>
                    <a:pt x="111" y="37"/>
                  </a:lnTo>
                  <a:lnTo>
                    <a:pt x="117" y="31"/>
                  </a:lnTo>
                  <a:lnTo>
                    <a:pt x="123" y="25"/>
                  </a:lnTo>
                  <a:lnTo>
                    <a:pt x="129" y="25"/>
                  </a:lnTo>
                  <a:lnTo>
                    <a:pt x="135" y="25"/>
                  </a:lnTo>
                  <a:lnTo>
                    <a:pt x="141" y="18"/>
                  </a:lnTo>
                  <a:lnTo>
                    <a:pt x="147" y="18"/>
                  </a:lnTo>
                  <a:lnTo>
                    <a:pt x="160" y="12"/>
                  </a:lnTo>
                  <a:lnTo>
                    <a:pt x="172" y="6"/>
                  </a:lnTo>
                  <a:lnTo>
                    <a:pt x="190" y="0"/>
                  </a:lnTo>
                  <a:lnTo>
                    <a:pt x="209" y="0"/>
                  </a:lnTo>
                  <a:lnTo>
                    <a:pt x="209" y="6"/>
                  </a:lnTo>
                  <a:lnTo>
                    <a:pt x="215" y="6"/>
                  </a:lnTo>
                  <a:lnTo>
                    <a:pt x="221" y="12"/>
                  </a:lnTo>
                  <a:lnTo>
                    <a:pt x="227" y="12"/>
                  </a:lnTo>
                  <a:lnTo>
                    <a:pt x="227" y="18"/>
                  </a:lnTo>
                  <a:lnTo>
                    <a:pt x="233" y="18"/>
                  </a:lnTo>
                  <a:lnTo>
                    <a:pt x="233" y="25"/>
                  </a:lnTo>
                  <a:lnTo>
                    <a:pt x="227" y="12"/>
                  </a:lnTo>
                  <a:lnTo>
                    <a:pt x="221" y="12"/>
                  </a:lnTo>
                  <a:lnTo>
                    <a:pt x="215" y="6"/>
                  </a:lnTo>
                  <a:lnTo>
                    <a:pt x="209" y="12"/>
                  </a:lnTo>
                  <a:lnTo>
                    <a:pt x="215" y="12"/>
                  </a:lnTo>
                  <a:lnTo>
                    <a:pt x="215" y="18"/>
                  </a:lnTo>
                  <a:lnTo>
                    <a:pt x="221" y="25"/>
                  </a:lnTo>
                  <a:lnTo>
                    <a:pt x="215" y="25"/>
                  </a:lnTo>
                  <a:lnTo>
                    <a:pt x="221" y="31"/>
                  </a:lnTo>
                  <a:lnTo>
                    <a:pt x="221" y="37"/>
                  </a:lnTo>
                  <a:lnTo>
                    <a:pt x="227" y="37"/>
                  </a:lnTo>
                  <a:lnTo>
                    <a:pt x="227" y="43"/>
                  </a:lnTo>
                  <a:lnTo>
                    <a:pt x="233" y="43"/>
                  </a:lnTo>
                  <a:lnTo>
                    <a:pt x="239" y="43"/>
                  </a:lnTo>
                  <a:lnTo>
                    <a:pt x="252" y="43"/>
                  </a:lnTo>
                  <a:lnTo>
                    <a:pt x="258" y="43"/>
                  </a:lnTo>
                  <a:lnTo>
                    <a:pt x="264" y="37"/>
                  </a:lnTo>
                  <a:lnTo>
                    <a:pt x="270" y="37"/>
                  </a:lnTo>
                  <a:lnTo>
                    <a:pt x="264" y="37"/>
                  </a:lnTo>
                  <a:lnTo>
                    <a:pt x="264" y="43"/>
                  </a:lnTo>
                  <a:lnTo>
                    <a:pt x="258" y="43"/>
                  </a:lnTo>
                  <a:lnTo>
                    <a:pt x="252" y="43"/>
                  </a:lnTo>
                  <a:lnTo>
                    <a:pt x="252" y="49"/>
                  </a:lnTo>
                  <a:lnTo>
                    <a:pt x="258" y="49"/>
                  </a:lnTo>
                  <a:lnTo>
                    <a:pt x="258" y="55"/>
                  </a:lnTo>
                  <a:lnTo>
                    <a:pt x="258" y="49"/>
                  </a:lnTo>
                  <a:lnTo>
                    <a:pt x="264" y="43"/>
                  </a:lnTo>
                  <a:lnTo>
                    <a:pt x="270" y="43"/>
                  </a:lnTo>
                  <a:lnTo>
                    <a:pt x="276" y="43"/>
                  </a:lnTo>
                  <a:lnTo>
                    <a:pt x="276" y="37"/>
                  </a:lnTo>
                  <a:lnTo>
                    <a:pt x="288" y="37"/>
                  </a:lnTo>
                  <a:lnTo>
                    <a:pt x="301" y="37"/>
                  </a:lnTo>
                  <a:lnTo>
                    <a:pt x="313" y="43"/>
                  </a:lnTo>
                  <a:lnTo>
                    <a:pt x="362" y="49"/>
                  </a:lnTo>
                  <a:lnTo>
                    <a:pt x="417" y="43"/>
                  </a:lnTo>
                  <a:lnTo>
                    <a:pt x="423" y="43"/>
                  </a:lnTo>
                  <a:lnTo>
                    <a:pt x="429" y="43"/>
                  </a:lnTo>
                  <a:lnTo>
                    <a:pt x="429" y="37"/>
                  </a:lnTo>
                  <a:lnTo>
                    <a:pt x="423" y="37"/>
                  </a:lnTo>
                  <a:lnTo>
                    <a:pt x="429" y="37"/>
                  </a:lnTo>
                  <a:lnTo>
                    <a:pt x="435" y="43"/>
                  </a:lnTo>
                  <a:lnTo>
                    <a:pt x="435" y="37"/>
                  </a:lnTo>
                  <a:lnTo>
                    <a:pt x="435" y="43"/>
                  </a:lnTo>
                  <a:lnTo>
                    <a:pt x="441" y="43"/>
                  </a:lnTo>
                  <a:lnTo>
                    <a:pt x="435" y="49"/>
                  </a:lnTo>
                  <a:lnTo>
                    <a:pt x="441" y="49"/>
                  </a:lnTo>
                  <a:lnTo>
                    <a:pt x="448" y="49"/>
                  </a:lnTo>
                  <a:lnTo>
                    <a:pt x="454" y="55"/>
                  </a:lnTo>
                  <a:lnTo>
                    <a:pt x="460" y="61"/>
                  </a:lnTo>
                  <a:lnTo>
                    <a:pt x="460" y="67"/>
                  </a:lnTo>
                  <a:lnTo>
                    <a:pt x="460" y="74"/>
                  </a:lnTo>
                  <a:lnTo>
                    <a:pt x="460" y="80"/>
                  </a:lnTo>
                  <a:lnTo>
                    <a:pt x="460" y="86"/>
                  </a:lnTo>
                  <a:lnTo>
                    <a:pt x="466" y="86"/>
                  </a:lnTo>
                  <a:lnTo>
                    <a:pt x="466" y="92"/>
                  </a:lnTo>
                  <a:lnTo>
                    <a:pt x="466" y="98"/>
                  </a:lnTo>
                  <a:lnTo>
                    <a:pt x="466" y="104"/>
                  </a:lnTo>
                  <a:lnTo>
                    <a:pt x="466" y="110"/>
                  </a:lnTo>
                  <a:lnTo>
                    <a:pt x="466" y="116"/>
                  </a:lnTo>
                  <a:lnTo>
                    <a:pt x="472" y="116"/>
                  </a:lnTo>
                  <a:lnTo>
                    <a:pt x="472" y="135"/>
                  </a:lnTo>
                  <a:lnTo>
                    <a:pt x="478" y="141"/>
                  </a:lnTo>
                  <a:lnTo>
                    <a:pt x="478" y="147"/>
                  </a:lnTo>
                  <a:lnTo>
                    <a:pt x="478" y="153"/>
                  </a:lnTo>
                  <a:lnTo>
                    <a:pt x="478" y="159"/>
                  </a:lnTo>
                  <a:lnTo>
                    <a:pt x="484" y="159"/>
                  </a:lnTo>
                  <a:lnTo>
                    <a:pt x="484" y="165"/>
                  </a:lnTo>
                  <a:lnTo>
                    <a:pt x="478" y="190"/>
                  </a:lnTo>
                  <a:lnTo>
                    <a:pt x="460" y="196"/>
                  </a:lnTo>
                  <a:lnTo>
                    <a:pt x="454" y="202"/>
                  </a:lnTo>
                  <a:lnTo>
                    <a:pt x="448" y="208"/>
                  </a:lnTo>
                  <a:lnTo>
                    <a:pt x="448" y="214"/>
                  </a:lnTo>
                  <a:lnTo>
                    <a:pt x="441" y="221"/>
                  </a:lnTo>
                  <a:lnTo>
                    <a:pt x="448" y="221"/>
                  </a:lnTo>
                  <a:lnTo>
                    <a:pt x="448" y="227"/>
                  </a:lnTo>
                  <a:lnTo>
                    <a:pt x="454" y="227"/>
                  </a:lnTo>
                  <a:lnTo>
                    <a:pt x="448" y="227"/>
                  </a:lnTo>
                  <a:lnTo>
                    <a:pt x="454" y="227"/>
                  </a:lnTo>
                  <a:lnTo>
                    <a:pt x="454" y="233"/>
                  </a:lnTo>
                  <a:lnTo>
                    <a:pt x="454" y="227"/>
                  </a:lnTo>
                  <a:lnTo>
                    <a:pt x="454" y="233"/>
                  </a:lnTo>
                  <a:lnTo>
                    <a:pt x="460" y="233"/>
                  </a:lnTo>
                  <a:lnTo>
                    <a:pt x="460" y="239"/>
                  </a:lnTo>
                  <a:lnTo>
                    <a:pt x="466" y="239"/>
                  </a:lnTo>
                  <a:lnTo>
                    <a:pt x="466" y="245"/>
                  </a:lnTo>
                  <a:lnTo>
                    <a:pt x="472" y="245"/>
                  </a:lnTo>
                  <a:lnTo>
                    <a:pt x="466" y="251"/>
                  </a:lnTo>
                  <a:lnTo>
                    <a:pt x="466" y="257"/>
                  </a:lnTo>
                  <a:lnTo>
                    <a:pt x="466" y="263"/>
                  </a:lnTo>
                  <a:lnTo>
                    <a:pt x="466" y="270"/>
                  </a:lnTo>
                  <a:lnTo>
                    <a:pt x="460" y="270"/>
                  </a:lnTo>
                  <a:lnTo>
                    <a:pt x="466" y="270"/>
                  </a:lnTo>
                  <a:lnTo>
                    <a:pt x="460" y="276"/>
                  </a:lnTo>
                  <a:lnTo>
                    <a:pt x="466" y="276"/>
                  </a:lnTo>
                  <a:lnTo>
                    <a:pt x="460" y="276"/>
                  </a:lnTo>
                  <a:lnTo>
                    <a:pt x="460" y="282"/>
                  </a:lnTo>
                  <a:lnTo>
                    <a:pt x="466" y="288"/>
                  </a:lnTo>
                  <a:lnTo>
                    <a:pt x="466" y="294"/>
                  </a:lnTo>
                  <a:lnTo>
                    <a:pt x="466" y="288"/>
                  </a:lnTo>
                  <a:lnTo>
                    <a:pt x="466" y="294"/>
                  </a:lnTo>
                  <a:lnTo>
                    <a:pt x="472" y="294"/>
                  </a:lnTo>
                  <a:lnTo>
                    <a:pt x="472" y="300"/>
                  </a:lnTo>
                  <a:lnTo>
                    <a:pt x="466" y="300"/>
                  </a:lnTo>
                  <a:lnTo>
                    <a:pt x="472" y="300"/>
                  </a:lnTo>
                  <a:lnTo>
                    <a:pt x="466" y="300"/>
                  </a:lnTo>
                  <a:lnTo>
                    <a:pt x="466" y="306"/>
                  </a:lnTo>
                  <a:lnTo>
                    <a:pt x="472" y="312"/>
                  </a:lnTo>
                  <a:lnTo>
                    <a:pt x="472" y="319"/>
                  </a:lnTo>
                  <a:lnTo>
                    <a:pt x="478" y="319"/>
                  </a:lnTo>
                  <a:lnTo>
                    <a:pt x="478" y="325"/>
                  </a:lnTo>
                  <a:lnTo>
                    <a:pt x="478" y="331"/>
                  </a:lnTo>
                  <a:lnTo>
                    <a:pt x="484" y="331"/>
                  </a:lnTo>
                  <a:lnTo>
                    <a:pt x="478" y="331"/>
                  </a:lnTo>
                  <a:lnTo>
                    <a:pt x="484" y="331"/>
                  </a:lnTo>
                  <a:lnTo>
                    <a:pt x="478" y="331"/>
                  </a:lnTo>
                  <a:lnTo>
                    <a:pt x="484" y="331"/>
                  </a:lnTo>
                  <a:lnTo>
                    <a:pt x="484" y="337"/>
                  </a:lnTo>
                  <a:lnTo>
                    <a:pt x="484" y="343"/>
                  </a:lnTo>
                  <a:lnTo>
                    <a:pt x="491" y="343"/>
                  </a:lnTo>
                  <a:lnTo>
                    <a:pt x="491" y="349"/>
                  </a:lnTo>
                  <a:lnTo>
                    <a:pt x="484" y="349"/>
                  </a:lnTo>
                  <a:lnTo>
                    <a:pt x="484" y="355"/>
                  </a:lnTo>
                  <a:lnTo>
                    <a:pt x="491" y="355"/>
                  </a:lnTo>
                  <a:lnTo>
                    <a:pt x="484" y="361"/>
                  </a:lnTo>
                  <a:lnTo>
                    <a:pt x="491" y="361"/>
                  </a:lnTo>
                  <a:lnTo>
                    <a:pt x="491" y="368"/>
                  </a:lnTo>
                  <a:lnTo>
                    <a:pt x="491" y="380"/>
                  </a:lnTo>
                  <a:lnTo>
                    <a:pt x="484" y="380"/>
                  </a:lnTo>
                  <a:lnTo>
                    <a:pt x="484" y="386"/>
                  </a:lnTo>
                  <a:lnTo>
                    <a:pt x="478" y="386"/>
                  </a:lnTo>
                  <a:lnTo>
                    <a:pt x="472" y="386"/>
                  </a:lnTo>
                  <a:lnTo>
                    <a:pt x="472" y="392"/>
                  </a:lnTo>
                  <a:lnTo>
                    <a:pt x="466" y="392"/>
                  </a:lnTo>
                  <a:lnTo>
                    <a:pt x="466" y="398"/>
                  </a:lnTo>
                  <a:lnTo>
                    <a:pt x="460" y="404"/>
                  </a:lnTo>
                  <a:lnTo>
                    <a:pt x="454" y="404"/>
                  </a:lnTo>
                  <a:lnTo>
                    <a:pt x="448" y="410"/>
                  </a:lnTo>
                  <a:lnTo>
                    <a:pt x="448" y="417"/>
                  </a:lnTo>
                  <a:lnTo>
                    <a:pt x="441" y="423"/>
                  </a:lnTo>
                  <a:lnTo>
                    <a:pt x="435" y="429"/>
                  </a:lnTo>
                  <a:lnTo>
                    <a:pt x="435" y="435"/>
                  </a:lnTo>
                  <a:lnTo>
                    <a:pt x="429" y="441"/>
                  </a:lnTo>
                  <a:lnTo>
                    <a:pt x="429" y="447"/>
                  </a:lnTo>
                  <a:lnTo>
                    <a:pt x="423" y="447"/>
                  </a:lnTo>
                  <a:lnTo>
                    <a:pt x="423" y="453"/>
                  </a:lnTo>
                  <a:lnTo>
                    <a:pt x="423" y="459"/>
                  </a:lnTo>
                  <a:lnTo>
                    <a:pt x="417" y="459"/>
                  </a:lnTo>
                  <a:lnTo>
                    <a:pt x="423" y="466"/>
                  </a:lnTo>
                  <a:lnTo>
                    <a:pt x="423" y="472"/>
                  </a:lnTo>
                  <a:lnTo>
                    <a:pt x="429" y="478"/>
                  </a:lnTo>
                  <a:lnTo>
                    <a:pt x="423" y="484"/>
                  </a:lnTo>
                  <a:lnTo>
                    <a:pt x="423" y="490"/>
                  </a:lnTo>
                  <a:lnTo>
                    <a:pt x="423" y="496"/>
                  </a:lnTo>
                  <a:lnTo>
                    <a:pt x="423" y="490"/>
                  </a:lnTo>
                  <a:lnTo>
                    <a:pt x="423" y="496"/>
                  </a:lnTo>
                  <a:lnTo>
                    <a:pt x="429" y="496"/>
                  </a:lnTo>
                  <a:lnTo>
                    <a:pt x="429" y="502"/>
                  </a:lnTo>
                  <a:lnTo>
                    <a:pt x="429" y="508"/>
                  </a:lnTo>
                  <a:lnTo>
                    <a:pt x="429" y="502"/>
                  </a:lnTo>
                  <a:lnTo>
                    <a:pt x="423" y="502"/>
                  </a:lnTo>
                  <a:lnTo>
                    <a:pt x="417" y="502"/>
                  </a:lnTo>
                  <a:lnTo>
                    <a:pt x="417" y="496"/>
                  </a:lnTo>
                  <a:lnTo>
                    <a:pt x="405" y="496"/>
                  </a:lnTo>
                  <a:lnTo>
                    <a:pt x="399" y="496"/>
                  </a:lnTo>
                  <a:lnTo>
                    <a:pt x="399" y="490"/>
                  </a:lnTo>
                  <a:lnTo>
                    <a:pt x="386" y="490"/>
                  </a:lnTo>
                  <a:lnTo>
                    <a:pt x="386" y="484"/>
                  </a:lnTo>
                  <a:lnTo>
                    <a:pt x="386" y="478"/>
                  </a:lnTo>
                  <a:lnTo>
                    <a:pt x="380" y="472"/>
                  </a:lnTo>
                  <a:lnTo>
                    <a:pt x="374" y="478"/>
                  </a:lnTo>
                  <a:lnTo>
                    <a:pt x="374" y="472"/>
                  </a:lnTo>
                  <a:lnTo>
                    <a:pt x="368" y="472"/>
                  </a:lnTo>
                  <a:lnTo>
                    <a:pt x="368" y="466"/>
                  </a:lnTo>
                  <a:lnTo>
                    <a:pt x="362" y="472"/>
                  </a:lnTo>
                  <a:lnTo>
                    <a:pt x="350" y="466"/>
                  </a:lnTo>
                  <a:lnTo>
                    <a:pt x="350" y="472"/>
                  </a:lnTo>
                  <a:lnTo>
                    <a:pt x="343" y="472"/>
                  </a:lnTo>
                  <a:lnTo>
                    <a:pt x="337" y="478"/>
                  </a:lnTo>
                  <a:lnTo>
                    <a:pt x="337" y="484"/>
                  </a:lnTo>
                  <a:lnTo>
                    <a:pt x="331" y="478"/>
                  </a:lnTo>
                  <a:lnTo>
                    <a:pt x="325" y="472"/>
                  </a:lnTo>
                  <a:lnTo>
                    <a:pt x="319" y="472"/>
                  </a:lnTo>
                  <a:lnTo>
                    <a:pt x="313" y="472"/>
                  </a:lnTo>
                  <a:lnTo>
                    <a:pt x="307" y="472"/>
                  </a:lnTo>
                  <a:lnTo>
                    <a:pt x="307" y="478"/>
                  </a:lnTo>
                  <a:lnTo>
                    <a:pt x="301" y="478"/>
                  </a:lnTo>
                  <a:lnTo>
                    <a:pt x="294" y="478"/>
                  </a:lnTo>
                  <a:lnTo>
                    <a:pt x="294" y="490"/>
                  </a:lnTo>
                  <a:lnTo>
                    <a:pt x="288" y="484"/>
                  </a:lnTo>
                  <a:lnTo>
                    <a:pt x="282" y="490"/>
                  </a:lnTo>
                  <a:lnTo>
                    <a:pt x="276" y="490"/>
                  </a:lnTo>
                  <a:lnTo>
                    <a:pt x="282" y="484"/>
                  </a:lnTo>
                  <a:lnTo>
                    <a:pt x="282" y="472"/>
                  </a:lnTo>
                  <a:lnTo>
                    <a:pt x="276" y="472"/>
                  </a:lnTo>
                  <a:lnTo>
                    <a:pt x="270" y="472"/>
                  </a:lnTo>
                  <a:lnTo>
                    <a:pt x="270" y="466"/>
                  </a:lnTo>
                  <a:lnTo>
                    <a:pt x="264" y="459"/>
                  </a:lnTo>
                  <a:lnTo>
                    <a:pt x="264" y="453"/>
                  </a:lnTo>
                  <a:lnTo>
                    <a:pt x="258" y="459"/>
                  </a:lnTo>
                  <a:lnTo>
                    <a:pt x="252" y="459"/>
                  </a:lnTo>
                  <a:lnTo>
                    <a:pt x="252" y="472"/>
                  </a:lnTo>
                  <a:lnTo>
                    <a:pt x="239" y="472"/>
                  </a:lnTo>
                  <a:lnTo>
                    <a:pt x="239" y="466"/>
                  </a:lnTo>
                  <a:lnTo>
                    <a:pt x="233" y="459"/>
                  </a:lnTo>
                  <a:lnTo>
                    <a:pt x="233" y="447"/>
                  </a:lnTo>
                  <a:lnTo>
                    <a:pt x="221" y="447"/>
                  </a:lnTo>
                  <a:lnTo>
                    <a:pt x="221" y="435"/>
                  </a:lnTo>
                  <a:lnTo>
                    <a:pt x="221" y="429"/>
                  </a:lnTo>
                  <a:lnTo>
                    <a:pt x="203" y="423"/>
                  </a:lnTo>
                  <a:lnTo>
                    <a:pt x="196" y="417"/>
                  </a:lnTo>
                  <a:lnTo>
                    <a:pt x="190" y="417"/>
                  </a:lnTo>
                  <a:lnTo>
                    <a:pt x="196" y="417"/>
                  </a:lnTo>
                  <a:lnTo>
                    <a:pt x="190" y="417"/>
                  </a:lnTo>
                  <a:lnTo>
                    <a:pt x="184" y="423"/>
                  </a:lnTo>
                  <a:lnTo>
                    <a:pt x="184" y="417"/>
                  </a:lnTo>
                  <a:lnTo>
                    <a:pt x="178" y="410"/>
                  </a:lnTo>
                  <a:lnTo>
                    <a:pt x="172" y="404"/>
                  </a:lnTo>
                  <a:lnTo>
                    <a:pt x="178" y="404"/>
                  </a:lnTo>
                  <a:lnTo>
                    <a:pt x="178" y="398"/>
                  </a:lnTo>
                  <a:lnTo>
                    <a:pt x="178" y="392"/>
                  </a:lnTo>
                  <a:lnTo>
                    <a:pt x="172" y="398"/>
                  </a:lnTo>
                  <a:lnTo>
                    <a:pt x="166" y="398"/>
                  </a:lnTo>
                  <a:lnTo>
                    <a:pt x="160" y="398"/>
                  </a:lnTo>
                  <a:lnTo>
                    <a:pt x="160" y="392"/>
                  </a:lnTo>
                  <a:lnTo>
                    <a:pt x="154" y="392"/>
                  </a:lnTo>
                  <a:lnTo>
                    <a:pt x="154" y="386"/>
                  </a:lnTo>
                  <a:lnTo>
                    <a:pt x="141" y="380"/>
                  </a:lnTo>
                  <a:lnTo>
                    <a:pt x="135" y="386"/>
                  </a:lnTo>
                  <a:lnTo>
                    <a:pt x="141" y="386"/>
                  </a:lnTo>
                  <a:lnTo>
                    <a:pt x="141" y="392"/>
                  </a:lnTo>
                  <a:lnTo>
                    <a:pt x="141" y="398"/>
                  </a:lnTo>
                  <a:lnTo>
                    <a:pt x="135" y="404"/>
                  </a:lnTo>
                  <a:lnTo>
                    <a:pt x="129" y="410"/>
                  </a:lnTo>
                  <a:lnTo>
                    <a:pt x="123" y="410"/>
                  </a:lnTo>
                  <a:lnTo>
                    <a:pt x="123" y="404"/>
                  </a:lnTo>
                  <a:lnTo>
                    <a:pt x="123" y="398"/>
                  </a:lnTo>
                  <a:lnTo>
                    <a:pt x="117" y="392"/>
                  </a:lnTo>
                  <a:lnTo>
                    <a:pt x="111" y="392"/>
                  </a:lnTo>
                  <a:lnTo>
                    <a:pt x="111" y="386"/>
                  </a:lnTo>
                  <a:lnTo>
                    <a:pt x="104" y="380"/>
                  </a:lnTo>
                  <a:lnTo>
                    <a:pt x="111" y="380"/>
                  </a:lnTo>
                  <a:lnTo>
                    <a:pt x="117" y="374"/>
                  </a:lnTo>
                  <a:lnTo>
                    <a:pt x="117" y="368"/>
                  </a:lnTo>
                  <a:lnTo>
                    <a:pt x="111" y="361"/>
                  </a:lnTo>
                  <a:lnTo>
                    <a:pt x="104" y="361"/>
                  </a:lnTo>
                  <a:lnTo>
                    <a:pt x="104" y="368"/>
                  </a:lnTo>
                  <a:lnTo>
                    <a:pt x="98" y="361"/>
                  </a:lnTo>
                  <a:lnTo>
                    <a:pt x="98" y="368"/>
                  </a:lnTo>
                  <a:lnTo>
                    <a:pt x="92" y="368"/>
                  </a:lnTo>
                  <a:lnTo>
                    <a:pt x="92" y="361"/>
                  </a:lnTo>
                  <a:lnTo>
                    <a:pt x="86" y="361"/>
                  </a:lnTo>
                  <a:lnTo>
                    <a:pt x="86" y="355"/>
                  </a:lnTo>
                  <a:lnTo>
                    <a:pt x="80" y="355"/>
                  </a:lnTo>
                  <a:lnTo>
                    <a:pt x="68" y="349"/>
                  </a:lnTo>
                  <a:lnTo>
                    <a:pt x="62" y="355"/>
                  </a:lnTo>
                  <a:lnTo>
                    <a:pt x="62" y="349"/>
                  </a:lnTo>
                  <a:lnTo>
                    <a:pt x="55" y="343"/>
                  </a:lnTo>
                  <a:lnTo>
                    <a:pt x="62" y="337"/>
                  </a:lnTo>
                  <a:lnTo>
                    <a:pt x="55" y="331"/>
                  </a:lnTo>
                  <a:lnTo>
                    <a:pt x="55" y="337"/>
                  </a:lnTo>
                  <a:lnTo>
                    <a:pt x="55" y="331"/>
                  </a:lnTo>
                  <a:lnTo>
                    <a:pt x="49" y="331"/>
                  </a:lnTo>
                  <a:lnTo>
                    <a:pt x="43" y="337"/>
                  </a:lnTo>
                  <a:lnTo>
                    <a:pt x="49" y="337"/>
                  </a:lnTo>
                  <a:lnTo>
                    <a:pt x="43" y="337"/>
                  </a:lnTo>
                  <a:lnTo>
                    <a:pt x="43" y="343"/>
                  </a:lnTo>
                  <a:lnTo>
                    <a:pt x="37" y="343"/>
                  </a:lnTo>
                  <a:lnTo>
                    <a:pt x="43" y="337"/>
                  </a:lnTo>
                  <a:lnTo>
                    <a:pt x="43" y="331"/>
                  </a:lnTo>
                  <a:lnTo>
                    <a:pt x="43" y="325"/>
                  </a:lnTo>
                  <a:lnTo>
                    <a:pt x="43" y="319"/>
                  </a:lnTo>
                  <a:lnTo>
                    <a:pt x="49" y="312"/>
                  </a:lnTo>
                  <a:lnTo>
                    <a:pt x="49" y="306"/>
                  </a:lnTo>
                  <a:lnTo>
                    <a:pt x="43" y="306"/>
                  </a:lnTo>
                  <a:lnTo>
                    <a:pt x="43" y="300"/>
                  </a:lnTo>
                  <a:lnTo>
                    <a:pt x="43" y="294"/>
                  </a:lnTo>
                  <a:lnTo>
                    <a:pt x="37" y="288"/>
                  </a:lnTo>
                  <a:lnTo>
                    <a:pt x="31" y="288"/>
                  </a:lnTo>
                  <a:lnTo>
                    <a:pt x="31" y="282"/>
                  </a:lnTo>
                  <a:lnTo>
                    <a:pt x="31" y="276"/>
                  </a:lnTo>
                  <a:lnTo>
                    <a:pt x="31" y="270"/>
                  </a:lnTo>
                  <a:lnTo>
                    <a:pt x="25" y="263"/>
                  </a:lnTo>
                  <a:lnTo>
                    <a:pt x="31" y="251"/>
                  </a:lnTo>
                  <a:lnTo>
                    <a:pt x="31" y="245"/>
                  </a:lnTo>
                  <a:lnTo>
                    <a:pt x="31" y="239"/>
                  </a:lnTo>
                  <a:lnTo>
                    <a:pt x="31" y="233"/>
                  </a:lnTo>
                  <a:lnTo>
                    <a:pt x="31" y="227"/>
                  </a:lnTo>
                  <a:lnTo>
                    <a:pt x="25" y="221"/>
                  </a:lnTo>
                  <a:lnTo>
                    <a:pt x="25" y="214"/>
                  </a:lnTo>
                  <a:lnTo>
                    <a:pt x="25" y="202"/>
                  </a:lnTo>
                  <a:lnTo>
                    <a:pt x="25" y="196"/>
                  </a:lnTo>
                  <a:lnTo>
                    <a:pt x="25" y="190"/>
                  </a:lnTo>
                  <a:lnTo>
                    <a:pt x="19" y="190"/>
                  </a:lnTo>
                  <a:lnTo>
                    <a:pt x="19" y="184"/>
                  </a:lnTo>
                  <a:lnTo>
                    <a:pt x="13" y="184"/>
                  </a:lnTo>
                  <a:lnTo>
                    <a:pt x="13" y="178"/>
                  </a:lnTo>
                  <a:lnTo>
                    <a:pt x="6" y="178"/>
                  </a:lnTo>
                  <a:lnTo>
                    <a:pt x="0" y="178"/>
                  </a:lnTo>
                  <a:lnTo>
                    <a:pt x="6" y="172"/>
                  </a:lnTo>
                  <a:lnTo>
                    <a:pt x="6" y="165"/>
                  </a:lnTo>
                  <a:lnTo>
                    <a:pt x="6" y="159"/>
                  </a:lnTo>
                  <a:lnTo>
                    <a:pt x="13" y="159"/>
                  </a:lnTo>
                  <a:lnTo>
                    <a:pt x="13" y="153"/>
                  </a:lnTo>
                  <a:lnTo>
                    <a:pt x="13" y="147"/>
                  </a:lnTo>
                  <a:lnTo>
                    <a:pt x="13" y="141"/>
                  </a:lnTo>
                  <a:lnTo>
                    <a:pt x="19" y="141"/>
                  </a:lnTo>
                  <a:lnTo>
                    <a:pt x="19" y="135"/>
                  </a:lnTo>
                  <a:lnTo>
                    <a:pt x="19" y="129"/>
                  </a:lnTo>
                  <a:lnTo>
                    <a:pt x="13" y="123"/>
                  </a:lnTo>
                  <a:lnTo>
                    <a:pt x="13" y="116"/>
                  </a:lnTo>
                  <a:lnTo>
                    <a:pt x="13" y="110"/>
                  </a:lnTo>
                  <a:lnTo>
                    <a:pt x="13" y="104"/>
                  </a:lnTo>
                  <a:lnTo>
                    <a:pt x="13" y="98"/>
                  </a:lnTo>
                  <a:lnTo>
                    <a:pt x="6" y="98"/>
                  </a:lnTo>
                  <a:lnTo>
                    <a:pt x="13" y="9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6" name="Freeform 97"/>
            <p:cNvSpPr>
              <a:spLocks/>
            </p:cNvSpPr>
            <p:nvPr/>
          </p:nvSpPr>
          <p:spPr bwMode="auto">
            <a:xfrm>
              <a:off x="4100149" y="4140845"/>
              <a:ext cx="40420" cy="26338"/>
            </a:xfrm>
            <a:custGeom>
              <a:avLst/>
              <a:gdLst>
                <a:gd name="T0" fmla="*/ 0 w 25"/>
                <a:gd name="T1" fmla="*/ 15120937 h 18"/>
                <a:gd name="T2" fmla="*/ 17642111 w 25"/>
                <a:gd name="T3" fmla="*/ 15120937 h 18"/>
                <a:gd name="T4" fmla="*/ 32763240 w 25"/>
                <a:gd name="T5" fmla="*/ 15120937 h 18"/>
                <a:gd name="T6" fmla="*/ 63005499 w 25"/>
                <a:gd name="T7" fmla="*/ 0 h 18"/>
                <a:gd name="T8" fmla="*/ 63005499 w 25"/>
                <a:gd name="T9" fmla="*/ 15120937 h 18"/>
                <a:gd name="T10" fmla="*/ 47884364 w 25"/>
                <a:gd name="T11" fmla="*/ 30241875 h 18"/>
                <a:gd name="T12" fmla="*/ 47884364 w 25"/>
                <a:gd name="T13" fmla="*/ 45362806 h 18"/>
                <a:gd name="T14" fmla="*/ 47884364 w 25"/>
                <a:gd name="T15" fmla="*/ 30241875 h 18"/>
                <a:gd name="T16" fmla="*/ 32763240 w 25"/>
                <a:gd name="T17" fmla="*/ 30241875 h 18"/>
                <a:gd name="T18" fmla="*/ 17642111 w 25"/>
                <a:gd name="T19" fmla="*/ 30241875 h 18"/>
                <a:gd name="T20" fmla="*/ 0 w 25"/>
                <a:gd name="T21" fmla="*/ 30241875 h 18"/>
                <a:gd name="T22" fmla="*/ 17642111 w 25"/>
                <a:gd name="T23" fmla="*/ 30241875 h 18"/>
                <a:gd name="T24" fmla="*/ 17642111 w 25"/>
                <a:gd name="T25" fmla="*/ 45362806 h 18"/>
                <a:gd name="T26" fmla="*/ 17642111 w 25"/>
                <a:gd name="T27" fmla="*/ 30241875 h 18"/>
                <a:gd name="T28" fmla="*/ 0 w 25"/>
                <a:gd name="T29" fmla="*/ 30241875 h 18"/>
                <a:gd name="T30" fmla="*/ 0 w 25"/>
                <a:gd name="T31" fmla="*/ 1512093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18"/>
                <a:gd name="T50" fmla="*/ 25 w 25"/>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18">
                  <a:moveTo>
                    <a:pt x="0" y="6"/>
                  </a:moveTo>
                  <a:lnTo>
                    <a:pt x="7" y="6"/>
                  </a:lnTo>
                  <a:lnTo>
                    <a:pt x="13" y="6"/>
                  </a:lnTo>
                  <a:lnTo>
                    <a:pt x="25" y="0"/>
                  </a:lnTo>
                  <a:lnTo>
                    <a:pt x="25" y="6"/>
                  </a:lnTo>
                  <a:lnTo>
                    <a:pt x="19" y="12"/>
                  </a:lnTo>
                  <a:lnTo>
                    <a:pt x="19" y="18"/>
                  </a:lnTo>
                  <a:lnTo>
                    <a:pt x="19" y="12"/>
                  </a:lnTo>
                  <a:lnTo>
                    <a:pt x="13" y="12"/>
                  </a:lnTo>
                  <a:lnTo>
                    <a:pt x="7" y="12"/>
                  </a:lnTo>
                  <a:lnTo>
                    <a:pt x="0" y="12"/>
                  </a:lnTo>
                  <a:lnTo>
                    <a:pt x="7" y="12"/>
                  </a:lnTo>
                  <a:lnTo>
                    <a:pt x="7" y="18"/>
                  </a:lnTo>
                  <a:lnTo>
                    <a:pt x="7"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7" name="Freeform 98"/>
            <p:cNvSpPr>
              <a:spLocks/>
            </p:cNvSpPr>
            <p:nvPr/>
          </p:nvSpPr>
          <p:spPr bwMode="auto">
            <a:xfrm>
              <a:off x="4308715" y="4695397"/>
              <a:ext cx="455931" cy="242891"/>
            </a:xfrm>
            <a:custGeom>
              <a:avLst/>
              <a:gdLst>
                <a:gd name="T0" fmla="*/ 63003110 w 282"/>
                <a:gd name="T1" fmla="*/ 355342794 h 166"/>
                <a:gd name="T2" fmla="*/ 108365928 w 282"/>
                <a:gd name="T3" fmla="*/ 403224951 h 166"/>
                <a:gd name="T4" fmla="*/ 186491531 w 282"/>
                <a:gd name="T5" fmla="*/ 418345982 h 166"/>
                <a:gd name="T6" fmla="*/ 231854374 w 282"/>
                <a:gd name="T7" fmla="*/ 403224951 h 166"/>
                <a:gd name="T8" fmla="*/ 246975305 w 282"/>
                <a:gd name="T9" fmla="*/ 385584657 h 166"/>
                <a:gd name="T10" fmla="*/ 246975305 w 282"/>
                <a:gd name="T11" fmla="*/ 340221862 h 166"/>
                <a:gd name="T12" fmla="*/ 294857459 w 282"/>
                <a:gd name="T13" fmla="*/ 340221862 h 166"/>
                <a:gd name="T14" fmla="*/ 325100908 w 282"/>
                <a:gd name="T15" fmla="*/ 340221862 h 166"/>
                <a:gd name="T16" fmla="*/ 355342770 w 282"/>
                <a:gd name="T17" fmla="*/ 294857478 h 166"/>
                <a:gd name="T18" fmla="*/ 370462114 w 282"/>
                <a:gd name="T19" fmla="*/ 325100930 h 166"/>
                <a:gd name="T20" fmla="*/ 385583045 w 282"/>
                <a:gd name="T21" fmla="*/ 325100930 h 166"/>
                <a:gd name="T22" fmla="*/ 400703976 w 282"/>
                <a:gd name="T23" fmla="*/ 309978410 h 166"/>
                <a:gd name="T24" fmla="*/ 418345955 w 282"/>
                <a:gd name="T25" fmla="*/ 294857478 h 166"/>
                <a:gd name="T26" fmla="*/ 448587817 w 282"/>
                <a:gd name="T27" fmla="*/ 231854389 h 166"/>
                <a:gd name="T28" fmla="*/ 509071541 w 282"/>
                <a:gd name="T29" fmla="*/ 231854389 h 166"/>
                <a:gd name="T30" fmla="*/ 541832764 w 282"/>
                <a:gd name="T31" fmla="*/ 231854389 h 166"/>
                <a:gd name="T32" fmla="*/ 572074626 w 282"/>
                <a:gd name="T33" fmla="*/ 231854389 h 166"/>
                <a:gd name="T34" fmla="*/ 602316488 w 282"/>
                <a:gd name="T35" fmla="*/ 279736546 h 166"/>
                <a:gd name="T36" fmla="*/ 647680868 w 282"/>
                <a:gd name="T37" fmla="*/ 262096253 h 166"/>
                <a:gd name="T38" fmla="*/ 647680868 w 282"/>
                <a:gd name="T39" fmla="*/ 231854389 h 166"/>
                <a:gd name="T40" fmla="*/ 665321160 w 282"/>
                <a:gd name="T41" fmla="*/ 216733457 h 166"/>
                <a:gd name="T42" fmla="*/ 680442091 w 282"/>
                <a:gd name="T43" fmla="*/ 186491544 h 166"/>
                <a:gd name="T44" fmla="*/ 695563022 w 282"/>
                <a:gd name="T45" fmla="*/ 156249680 h 166"/>
                <a:gd name="T46" fmla="*/ 710683953 w 282"/>
                <a:gd name="T47" fmla="*/ 123486867 h 166"/>
                <a:gd name="T48" fmla="*/ 680442091 w 282"/>
                <a:gd name="T49" fmla="*/ 108365935 h 166"/>
                <a:gd name="T50" fmla="*/ 665321160 w 282"/>
                <a:gd name="T51" fmla="*/ 93246566 h 166"/>
                <a:gd name="T52" fmla="*/ 632558350 w 282"/>
                <a:gd name="T53" fmla="*/ 78124046 h 166"/>
                <a:gd name="T54" fmla="*/ 617437419 w 282"/>
                <a:gd name="T55" fmla="*/ 47883757 h 166"/>
                <a:gd name="T56" fmla="*/ 602316488 w 282"/>
                <a:gd name="T57" fmla="*/ 47883757 h 166"/>
                <a:gd name="T58" fmla="*/ 587195557 w 282"/>
                <a:gd name="T59" fmla="*/ 32761238 h 166"/>
                <a:gd name="T60" fmla="*/ 541832764 w 282"/>
                <a:gd name="T61" fmla="*/ 32761238 h 166"/>
                <a:gd name="T62" fmla="*/ 524192472 w 282"/>
                <a:gd name="T63" fmla="*/ 47883757 h 166"/>
                <a:gd name="T64" fmla="*/ 509071541 w 282"/>
                <a:gd name="T65" fmla="*/ 78124046 h 166"/>
                <a:gd name="T66" fmla="*/ 478829679 w 282"/>
                <a:gd name="T67" fmla="*/ 47883757 h 166"/>
                <a:gd name="T68" fmla="*/ 448587817 w 282"/>
                <a:gd name="T69" fmla="*/ 47883757 h 166"/>
                <a:gd name="T70" fmla="*/ 433466886 w 282"/>
                <a:gd name="T71" fmla="*/ 63003114 h 166"/>
                <a:gd name="T72" fmla="*/ 400703976 w 282"/>
                <a:gd name="T73" fmla="*/ 63003114 h 166"/>
                <a:gd name="T74" fmla="*/ 385583045 w 282"/>
                <a:gd name="T75" fmla="*/ 78124046 h 166"/>
                <a:gd name="T76" fmla="*/ 355342770 w 282"/>
                <a:gd name="T77" fmla="*/ 93246566 h 166"/>
                <a:gd name="T78" fmla="*/ 370462114 w 282"/>
                <a:gd name="T79" fmla="*/ 47883757 h 166"/>
                <a:gd name="T80" fmla="*/ 340221839 w 282"/>
                <a:gd name="T81" fmla="*/ 47883757 h 166"/>
                <a:gd name="T82" fmla="*/ 325100908 w 282"/>
                <a:gd name="T83" fmla="*/ 15120938 h 166"/>
                <a:gd name="T84" fmla="*/ 309978390 w 282"/>
                <a:gd name="T85" fmla="*/ 15120938 h 166"/>
                <a:gd name="T86" fmla="*/ 294857459 w 282"/>
                <a:gd name="T87" fmla="*/ 47883757 h 166"/>
                <a:gd name="T88" fmla="*/ 262096236 w 282"/>
                <a:gd name="T89" fmla="*/ 32761238 h 166"/>
                <a:gd name="T90" fmla="*/ 231854374 w 282"/>
                <a:gd name="T91" fmla="*/ 32761238 h 166"/>
                <a:gd name="T92" fmla="*/ 201612462 w 282"/>
                <a:gd name="T93" fmla="*/ 47883757 h 166"/>
                <a:gd name="T94" fmla="*/ 186491531 w 282"/>
                <a:gd name="T95" fmla="*/ 63003114 h 166"/>
                <a:gd name="T96" fmla="*/ 153728721 w 282"/>
                <a:gd name="T97" fmla="*/ 108365935 h 166"/>
                <a:gd name="T98" fmla="*/ 138607790 w 282"/>
                <a:gd name="T99" fmla="*/ 123486867 h 166"/>
                <a:gd name="T100" fmla="*/ 93244972 w 282"/>
                <a:gd name="T101" fmla="*/ 171370612 h 166"/>
                <a:gd name="T102" fmla="*/ 63003110 w 282"/>
                <a:gd name="T103" fmla="*/ 171370612 h 166"/>
                <a:gd name="T104" fmla="*/ 30241874 w 282"/>
                <a:gd name="T105" fmla="*/ 171370612 h 166"/>
                <a:gd name="T106" fmla="*/ 15120937 w 282"/>
                <a:gd name="T107" fmla="*/ 231854389 h 166"/>
                <a:gd name="T108" fmla="*/ 0 w 282"/>
                <a:gd name="T109" fmla="*/ 246975321 h 166"/>
                <a:gd name="T110" fmla="*/ 0 w 282"/>
                <a:gd name="T111" fmla="*/ 279736546 h 166"/>
                <a:gd name="T112" fmla="*/ 0 w 282"/>
                <a:gd name="T113" fmla="*/ 279736546 h 166"/>
                <a:gd name="T114" fmla="*/ 15120937 w 282"/>
                <a:gd name="T115" fmla="*/ 309978410 h 166"/>
                <a:gd name="T116" fmla="*/ 30241874 w 282"/>
                <a:gd name="T117" fmla="*/ 325100930 h 166"/>
                <a:gd name="T118" fmla="*/ 30241874 w 282"/>
                <a:gd name="T119" fmla="*/ 355342794 h 166"/>
                <a:gd name="T120" fmla="*/ 30241874 w 282"/>
                <a:gd name="T121" fmla="*/ 355342794 h 1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2"/>
                <a:gd name="T184" fmla="*/ 0 h 166"/>
                <a:gd name="T185" fmla="*/ 282 w 282"/>
                <a:gd name="T186" fmla="*/ 166 h 1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2" h="166">
                  <a:moveTo>
                    <a:pt x="19" y="141"/>
                  </a:moveTo>
                  <a:lnTo>
                    <a:pt x="25" y="141"/>
                  </a:lnTo>
                  <a:lnTo>
                    <a:pt x="37" y="153"/>
                  </a:lnTo>
                  <a:lnTo>
                    <a:pt x="43" y="160"/>
                  </a:lnTo>
                  <a:lnTo>
                    <a:pt x="55" y="160"/>
                  </a:lnTo>
                  <a:lnTo>
                    <a:pt x="74" y="166"/>
                  </a:lnTo>
                  <a:lnTo>
                    <a:pt x="86" y="160"/>
                  </a:lnTo>
                  <a:lnTo>
                    <a:pt x="92" y="160"/>
                  </a:lnTo>
                  <a:lnTo>
                    <a:pt x="98" y="160"/>
                  </a:lnTo>
                  <a:lnTo>
                    <a:pt x="98" y="153"/>
                  </a:lnTo>
                  <a:lnTo>
                    <a:pt x="98" y="141"/>
                  </a:lnTo>
                  <a:lnTo>
                    <a:pt x="98" y="135"/>
                  </a:lnTo>
                  <a:lnTo>
                    <a:pt x="104" y="135"/>
                  </a:lnTo>
                  <a:lnTo>
                    <a:pt x="117" y="135"/>
                  </a:lnTo>
                  <a:lnTo>
                    <a:pt x="129" y="129"/>
                  </a:lnTo>
                  <a:lnTo>
                    <a:pt x="129" y="135"/>
                  </a:lnTo>
                  <a:lnTo>
                    <a:pt x="135" y="123"/>
                  </a:lnTo>
                  <a:lnTo>
                    <a:pt x="141" y="117"/>
                  </a:lnTo>
                  <a:lnTo>
                    <a:pt x="141" y="123"/>
                  </a:lnTo>
                  <a:lnTo>
                    <a:pt x="147" y="129"/>
                  </a:lnTo>
                  <a:lnTo>
                    <a:pt x="147" y="123"/>
                  </a:lnTo>
                  <a:lnTo>
                    <a:pt x="153" y="129"/>
                  </a:lnTo>
                  <a:lnTo>
                    <a:pt x="147" y="129"/>
                  </a:lnTo>
                  <a:lnTo>
                    <a:pt x="159" y="123"/>
                  </a:lnTo>
                  <a:lnTo>
                    <a:pt x="159" y="117"/>
                  </a:lnTo>
                  <a:lnTo>
                    <a:pt x="166" y="117"/>
                  </a:lnTo>
                  <a:lnTo>
                    <a:pt x="172" y="117"/>
                  </a:lnTo>
                  <a:lnTo>
                    <a:pt x="178" y="92"/>
                  </a:lnTo>
                  <a:lnTo>
                    <a:pt x="196" y="92"/>
                  </a:lnTo>
                  <a:lnTo>
                    <a:pt x="202" y="92"/>
                  </a:lnTo>
                  <a:lnTo>
                    <a:pt x="208" y="98"/>
                  </a:lnTo>
                  <a:lnTo>
                    <a:pt x="215" y="92"/>
                  </a:lnTo>
                  <a:lnTo>
                    <a:pt x="221" y="92"/>
                  </a:lnTo>
                  <a:lnTo>
                    <a:pt x="227" y="92"/>
                  </a:lnTo>
                  <a:lnTo>
                    <a:pt x="233" y="98"/>
                  </a:lnTo>
                  <a:lnTo>
                    <a:pt x="239" y="111"/>
                  </a:lnTo>
                  <a:lnTo>
                    <a:pt x="245" y="111"/>
                  </a:lnTo>
                  <a:lnTo>
                    <a:pt x="257" y="104"/>
                  </a:lnTo>
                  <a:lnTo>
                    <a:pt x="257" y="98"/>
                  </a:lnTo>
                  <a:lnTo>
                    <a:pt x="257" y="92"/>
                  </a:lnTo>
                  <a:lnTo>
                    <a:pt x="264" y="92"/>
                  </a:lnTo>
                  <a:lnTo>
                    <a:pt x="264" y="86"/>
                  </a:lnTo>
                  <a:lnTo>
                    <a:pt x="270" y="80"/>
                  </a:lnTo>
                  <a:lnTo>
                    <a:pt x="270" y="74"/>
                  </a:lnTo>
                  <a:lnTo>
                    <a:pt x="270" y="68"/>
                  </a:lnTo>
                  <a:lnTo>
                    <a:pt x="276" y="62"/>
                  </a:lnTo>
                  <a:lnTo>
                    <a:pt x="276" y="55"/>
                  </a:lnTo>
                  <a:lnTo>
                    <a:pt x="282" y="49"/>
                  </a:lnTo>
                  <a:lnTo>
                    <a:pt x="282" y="43"/>
                  </a:lnTo>
                  <a:lnTo>
                    <a:pt x="270" y="43"/>
                  </a:lnTo>
                  <a:lnTo>
                    <a:pt x="264" y="43"/>
                  </a:lnTo>
                  <a:lnTo>
                    <a:pt x="264" y="37"/>
                  </a:lnTo>
                  <a:lnTo>
                    <a:pt x="251" y="37"/>
                  </a:lnTo>
                  <a:lnTo>
                    <a:pt x="251" y="31"/>
                  </a:lnTo>
                  <a:lnTo>
                    <a:pt x="251" y="25"/>
                  </a:lnTo>
                  <a:lnTo>
                    <a:pt x="245" y="19"/>
                  </a:lnTo>
                  <a:lnTo>
                    <a:pt x="239" y="25"/>
                  </a:lnTo>
                  <a:lnTo>
                    <a:pt x="239" y="19"/>
                  </a:lnTo>
                  <a:lnTo>
                    <a:pt x="233" y="19"/>
                  </a:lnTo>
                  <a:lnTo>
                    <a:pt x="233" y="13"/>
                  </a:lnTo>
                  <a:lnTo>
                    <a:pt x="227" y="19"/>
                  </a:lnTo>
                  <a:lnTo>
                    <a:pt x="215" y="13"/>
                  </a:lnTo>
                  <a:lnTo>
                    <a:pt x="215" y="19"/>
                  </a:lnTo>
                  <a:lnTo>
                    <a:pt x="208" y="19"/>
                  </a:lnTo>
                  <a:lnTo>
                    <a:pt x="202" y="25"/>
                  </a:lnTo>
                  <a:lnTo>
                    <a:pt x="202" y="31"/>
                  </a:lnTo>
                  <a:lnTo>
                    <a:pt x="196" y="25"/>
                  </a:lnTo>
                  <a:lnTo>
                    <a:pt x="190" y="19"/>
                  </a:lnTo>
                  <a:lnTo>
                    <a:pt x="184" y="19"/>
                  </a:lnTo>
                  <a:lnTo>
                    <a:pt x="178" y="19"/>
                  </a:lnTo>
                  <a:lnTo>
                    <a:pt x="172" y="19"/>
                  </a:lnTo>
                  <a:lnTo>
                    <a:pt x="172" y="25"/>
                  </a:lnTo>
                  <a:lnTo>
                    <a:pt x="166" y="25"/>
                  </a:lnTo>
                  <a:lnTo>
                    <a:pt x="159" y="25"/>
                  </a:lnTo>
                  <a:lnTo>
                    <a:pt x="159" y="37"/>
                  </a:lnTo>
                  <a:lnTo>
                    <a:pt x="153" y="31"/>
                  </a:lnTo>
                  <a:lnTo>
                    <a:pt x="147" y="37"/>
                  </a:lnTo>
                  <a:lnTo>
                    <a:pt x="141" y="37"/>
                  </a:lnTo>
                  <a:lnTo>
                    <a:pt x="147" y="31"/>
                  </a:lnTo>
                  <a:lnTo>
                    <a:pt x="147" y="19"/>
                  </a:lnTo>
                  <a:lnTo>
                    <a:pt x="141" y="19"/>
                  </a:lnTo>
                  <a:lnTo>
                    <a:pt x="135" y="19"/>
                  </a:lnTo>
                  <a:lnTo>
                    <a:pt x="135" y="13"/>
                  </a:lnTo>
                  <a:lnTo>
                    <a:pt x="129" y="6"/>
                  </a:lnTo>
                  <a:lnTo>
                    <a:pt x="129" y="0"/>
                  </a:lnTo>
                  <a:lnTo>
                    <a:pt x="123" y="6"/>
                  </a:lnTo>
                  <a:lnTo>
                    <a:pt x="117" y="6"/>
                  </a:lnTo>
                  <a:lnTo>
                    <a:pt x="117" y="19"/>
                  </a:lnTo>
                  <a:lnTo>
                    <a:pt x="104" y="19"/>
                  </a:lnTo>
                  <a:lnTo>
                    <a:pt x="104" y="13"/>
                  </a:lnTo>
                  <a:lnTo>
                    <a:pt x="98" y="6"/>
                  </a:lnTo>
                  <a:lnTo>
                    <a:pt x="92" y="13"/>
                  </a:lnTo>
                  <a:lnTo>
                    <a:pt x="86" y="13"/>
                  </a:lnTo>
                  <a:lnTo>
                    <a:pt x="80" y="19"/>
                  </a:lnTo>
                  <a:lnTo>
                    <a:pt x="74" y="19"/>
                  </a:lnTo>
                  <a:lnTo>
                    <a:pt x="74" y="25"/>
                  </a:lnTo>
                  <a:lnTo>
                    <a:pt x="61" y="31"/>
                  </a:lnTo>
                  <a:lnTo>
                    <a:pt x="61" y="43"/>
                  </a:lnTo>
                  <a:lnTo>
                    <a:pt x="61" y="49"/>
                  </a:lnTo>
                  <a:lnTo>
                    <a:pt x="55" y="49"/>
                  </a:lnTo>
                  <a:lnTo>
                    <a:pt x="49" y="55"/>
                  </a:lnTo>
                  <a:lnTo>
                    <a:pt x="37" y="68"/>
                  </a:lnTo>
                  <a:lnTo>
                    <a:pt x="31" y="68"/>
                  </a:lnTo>
                  <a:lnTo>
                    <a:pt x="25" y="68"/>
                  </a:lnTo>
                  <a:lnTo>
                    <a:pt x="19" y="62"/>
                  </a:lnTo>
                  <a:lnTo>
                    <a:pt x="12" y="68"/>
                  </a:lnTo>
                  <a:lnTo>
                    <a:pt x="6" y="86"/>
                  </a:lnTo>
                  <a:lnTo>
                    <a:pt x="6" y="92"/>
                  </a:lnTo>
                  <a:lnTo>
                    <a:pt x="6" y="98"/>
                  </a:lnTo>
                  <a:lnTo>
                    <a:pt x="0" y="98"/>
                  </a:lnTo>
                  <a:lnTo>
                    <a:pt x="0" y="104"/>
                  </a:lnTo>
                  <a:lnTo>
                    <a:pt x="0" y="111"/>
                  </a:lnTo>
                  <a:lnTo>
                    <a:pt x="6" y="111"/>
                  </a:lnTo>
                  <a:lnTo>
                    <a:pt x="0" y="111"/>
                  </a:lnTo>
                  <a:lnTo>
                    <a:pt x="6" y="117"/>
                  </a:lnTo>
                  <a:lnTo>
                    <a:pt x="6" y="123"/>
                  </a:lnTo>
                  <a:lnTo>
                    <a:pt x="6" y="129"/>
                  </a:lnTo>
                  <a:lnTo>
                    <a:pt x="12" y="129"/>
                  </a:lnTo>
                  <a:lnTo>
                    <a:pt x="12" y="135"/>
                  </a:lnTo>
                  <a:lnTo>
                    <a:pt x="12" y="141"/>
                  </a:lnTo>
                  <a:lnTo>
                    <a:pt x="12" y="135"/>
                  </a:lnTo>
                  <a:lnTo>
                    <a:pt x="12" y="141"/>
                  </a:lnTo>
                  <a:lnTo>
                    <a:pt x="19" y="14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8" name="Freeform 99"/>
            <p:cNvSpPr>
              <a:spLocks/>
            </p:cNvSpPr>
            <p:nvPr/>
          </p:nvSpPr>
          <p:spPr bwMode="auto">
            <a:xfrm>
              <a:off x="4248893" y="4830011"/>
              <a:ext cx="535154" cy="358483"/>
            </a:xfrm>
            <a:custGeom>
              <a:avLst/>
              <a:gdLst>
                <a:gd name="T0" fmla="*/ 32762856 w 331"/>
                <a:gd name="T1" fmla="*/ 385582620 h 245"/>
                <a:gd name="T2" fmla="*/ 32762856 w 331"/>
                <a:gd name="T3" fmla="*/ 418345494 h 245"/>
                <a:gd name="T4" fmla="*/ 63004762 w 331"/>
                <a:gd name="T5" fmla="*/ 448587323 h 245"/>
                <a:gd name="T6" fmla="*/ 78125708 w 331"/>
                <a:gd name="T7" fmla="*/ 463708237 h 245"/>
                <a:gd name="T8" fmla="*/ 108367625 w 331"/>
                <a:gd name="T9" fmla="*/ 493950065 h 245"/>
                <a:gd name="T10" fmla="*/ 141128882 w 331"/>
                <a:gd name="T11" fmla="*/ 524191894 h 245"/>
                <a:gd name="T12" fmla="*/ 141128882 w 331"/>
                <a:gd name="T13" fmla="*/ 556953081 h 245"/>
                <a:gd name="T14" fmla="*/ 156249828 w 331"/>
                <a:gd name="T15" fmla="*/ 572073995 h 245"/>
                <a:gd name="T16" fmla="*/ 201612667 w 331"/>
                <a:gd name="T17" fmla="*/ 587194910 h 245"/>
                <a:gd name="T18" fmla="*/ 246975556 w 331"/>
                <a:gd name="T19" fmla="*/ 602315824 h 245"/>
                <a:gd name="T20" fmla="*/ 279738400 w 331"/>
                <a:gd name="T21" fmla="*/ 617436738 h 245"/>
                <a:gd name="T22" fmla="*/ 309980292 w 331"/>
                <a:gd name="T23" fmla="*/ 587194910 h 245"/>
                <a:gd name="T24" fmla="*/ 355343131 w 331"/>
                <a:gd name="T25" fmla="*/ 572073995 h 245"/>
                <a:gd name="T26" fmla="*/ 388104388 w 331"/>
                <a:gd name="T27" fmla="*/ 556953081 h 245"/>
                <a:gd name="T28" fmla="*/ 418346380 w 331"/>
                <a:gd name="T29" fmla="*/ 541832167 h 245"/>
                <a:gd name="T30" fmla="*/ 448588272 w 331"/>
                <a:gd name="T31" fmla="*/ 524191894 h 245"/>
                <a:gd name="T32" fmla="*/ 511593009 w 331"/>
                <a:gd name="T33" fmla="*/ 524191894 h 245"/>
                <a:gd name="T34" fmla="*/ 556955848 w 331"/>
                <a:gd name="T35" fmla="*/ 524191894 h 245"/>
                <a:gd name="T36" fmla="*/ 587197741 w 331"/>
                <a:gd name="T37" fmla="*/ 493950065 h 245"/>
                <a:gd name="T38" fmla="*/ 635079944 w 331"/>
                <a:gd name="T39" fmla="*/ 493950065 h 245"/>
                <a:gd name="T40" fmla="*/ 650200890 w 331"/>
                <a:gd name="T41" fmla="*/ 448587323 h 245"/>
                <a:gd name="T42" fmla="*/ 650200890 w 331"/>
                <a:gd name="T43" fmla="*/ 418345494 h 245"/>
                <a:gd name="T44" fmla="*/ 665321836 w 331"/>
                <a:gd name="T45" fmla="*/ 370461706 h 245"/>
                <a:gd name="T46" fmla="*/ 695563729 w 331"/>
                <a:gd name="T47" fmla="*/ 340219877 h 245"/>
                <a:gd name="T48" fmla="*/ 710684675 w 331"/>
                <a:gd name="T49" fmla="*/ 309978049 h 245"/>
                <a:gd name="T50" fmla="*/ 725805621 w 331"/>
                <a:gd name="T51" fmla="*/ 246975033 h 245"/>
                <a:gd name="T52" fmla="*/ 758568465 w 331"/>
                <a:gd name="T53" fmla="*/ 201612240 h 245"/>
                <a:gd name="T54" fmla="*/ 803931304 w 331"/>
                <a:gd name="T55" fmla="*/ 171370412 h 245"/>
                <a:gd name="T56" fmla="*/ 834173395 w 331"/>
                <a:gd name="T57" fmla="*/ 138607637 h 245"/>
                <a:gd name="T58" fmla="*/ 819052251 w 331"/>
                <a:gd name="T59" fmla="*/ 93244869 h 245"/>
                <a:gd name="T60" fmla="*/ 803931304 w 331"/>
                <a:gd name="T61" fmla="*/ 93244869 h 245"/>
                <a:gd name="T62" fmla="*/ 773689412 w 331"/>
                <a:gd name="T63" fmla="*/ 63003041 h 245"/>
                <a:gd name="T64" fmla="*/ 740926568 w 331"/>
                <a:gd name="T65" fmla="*/ 30241841 h 245"/>
                <a:gd name="T66" fmla="*/ 665321836 w 331"/>
                <a:gd name="T67" fmla="*/ 0 h 245"/>
                <a:gd name="T68" fmla="*/ 602318687 w 331"/>
                <a:gd name="T69" fmla="*/ 0 h 245"/>
                <a:gd name="T70" fmla="*/ 511593009 w 331"/>
                <a:gd name="T71" fmla="*/ 63003041 h 245"/>
                <a:gd name="T72" fmla="*/ 478830165 w 331"/>
                <a:gd name="T73" fmla="*/ 93244869 h 245"/>
                <a:gd name="T74" fmla="*/ 448588272 w 331"/>
                <a:gd name="T75" fmla="*/ 63003041 h 245"/>
                <a:gd name="T76" fmla="*/ 388104388 w 331"/>
                <a:gd name="T77" fmla="*/ 108365808 h 245"/>
                <a:gd name="T78" fmla="*/ 340222185 w 331"/>
                <a:gd name="T79" fmla="*/ 153728551 h 245"/>
                <a:gd name="T80" fmla="*/ 279738400 w 331"/>
                <a:gd name="T81" fmla="*/ 186491326 h 245"/>
                <a:gd name="T82" fmla="*/ 156249828 w 331"/>
                <a:gd name="T83" fmla="*/ 123486723 h 245"/>
                <a:gd name="T84" fmla="*/ 123488572 w 331"/>
                <a:gd name="T85" fmla="*/ 153728551 h 245"/>
                <a:gd name="T86" fmla="*/ 123488572 w 331"/>
                <a:gd name="T87" fmla="*/ 186491326 h 245"/>
                <a:gd name="T88" fmla="*/ 78125708 w 331"/>
                <a:gd name="T89" fmla="*/ 171370412 h 245"/>
                <a:gd name="T90" fmla="*/ 47883803 w 331"/>
                <a:gd name="T91" fmla="*/ 201612240 h 245"/>
                <a:gd name="T92" fmla="*/ 78125708 w 331"/>
                <a:gd name="T93" fmla="*/ 231854118 h 245"/>
                <a:gd name="T94" fmla="*/ 47883803 w 331"/>
                <a:gd name="T95" fmla="*/ 262095947 h 245"/>
                <a:gd name="T96" fmla="*/ 63004762 w 331"/>
                <a:gd name="T97" fmla="*/ 309978049 h 245"/>
                <a:gd name="T98" fmla="*/ 47883803 w 331"/>
                <a:gd name="T99" fmla="*/ 325098963 h 245"/>
                <a:gd name="T100" fmla="*/ 32762856 w 331"/>
                <a:gd name="T101" fmla="*/ 340219877 h 24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31"/>
                <a:gd name="T154" fmla="*/ 0 h 245"/>
                <a:gd name="T155" fmla="*/ 331 w 331"/>
                <a:gd name="T156" fmla="*/ 245 h 24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31" h="245">
                  <a:moveTo>
                    <a:pt x="0" y="147"/>
                  </a:moveTo>
                  <a:lnTo>
                    <a:pt x="6" y="147"/>
                  </a:lnTo>
                  <a:lnTo>
                    <a:pt x="13" y="147"/>
                  </a:lnTo>
                  <a:lnTo>
                    <a:pt x="13" y="153"/>
                  </a:lnTo>
                  <a:lnTo>
                    <a:pt x="13" y="159"/>
                  </a:lnTo>
                  <a:lnTo>
                    <a:pt x="19" y="159"/>
                  </a:lnTo>
                  <a:lnTo>
                    <a:pt x="19" y="166"/>
                  </a:lnTo>
                  <a:lnTo>
                    <a:pt x="13" y="166"/>
                  </a:lnTo>
                  <a:lnTo>
                    <a:pt x="19" y="166"/>
                  </a:lnTo>
                  <a:lnTo>
                    <a:pt x="19" y="172"/>
                  </a:lnTo>
                  <a:lnTo>
                    <a:pt x="19" y="178"/>
                  </a:lnTo>
                  <a:lnTo>
                    <a:pt x="25" y="178"/>
                  </a:lnTo>
                  <a:lnTo>
                    <a:pt x="25" y="184"/>
                  </a:lnTo>
                  <a:lnTo>
                    <a:pt x="31" y="184"/>
                  </a:lnTo>
                  <a:lnTo>
                    <a:pt x="31" y="190"/>
                  </a:lnTo>
                  <a:lnTo>
                    <a:pt x="31" y="184"/>
                  </a:lnTo>
                  <a:lnTo>
                    <a:pt x="31" y="190"/>
                  </a:lnTo>
                  <a:lnTo>
                    <a:pt x="37" y="190"/>
                  </a:lnTo>
                  <a:lnTo>
                    <a:pt x="37" y="196"/>
                  </a:lnTo>
                  <a:lnTo>
                    <a:pt x="43" y="196"/>
                  </a:lnTo>
                  <a:lnTo>
                    <a:pt x="43" y="202"/>
                  </a:lnTo>
                  <a:lnTo>
                    <a:pt x="56" y="208"/>
                  </a:lnTo>
                  <a:lnTo>
                    <a:pt x="56" y="215"/>
                  </a:lnTo>
                  <a:lnTo>
                    <a:pt x="56" y="208"/>
                  </a:lnTo>
                  <a:lnTo>
                    <a:pt x="56" y="215"/>
                  </a:lnTo>
                  <a:lnTo>
                    <a:pt x="56" y="221"/>
                  </a:lnTo>
                  <a:lnTo>
                    <a:pt x="62" y="221"/>
                  </a:lnTo>
                  <a:lnTo>
                    <a:pt x="56" y="221"/>
                  </a:lnTo>
                  <a:lnTo>
                    <a:pt x="62" y="221"/>
                  </a:lnTo>
                  <a:lnTo>
                    <a:pt x="62" y="227"/>
                  </a:lnTo>
                  <a:lnTo>
                    <a:pt x="62" y="221"/>
                  </a:lnTo>
                  <a:lnTo>
                    <a:pt x="62" y="227"/>
                  </a:lnTo>
                  <a:lnTo>
                    <a:pt x="68" y="227"/>
                  </a:lnTo>
                  <a:lnTo>
                    <a:pt x="74" y="227"/>
                  </a:lnTo>
                  <a:lnTo>
                    <a:pt x="74" y="233"/>
                  </a:lnTo>
                  <a:lnTo>
                    <a:pt x="80" y="233"/>
                  </a:lnTo>
                  <a:lnTo>
                    <a:pt x="80" y="239"/>
                  </a:lnTo>
                  <a:lnTo>
                    <a:pt x="86" y="239"/>
                  </a:lnTo>
                  <a:lnTo>
                    <a:pt x="92" y="239"/>
                  </a:lnTo>
                  <a:lnTo>
                    <a:pt x="98" y="239"/>
                  </a:lnTo>
                  <a:lnTo>
                    <a:pt x="105" y="239"/>
                  </a:lnTo>
                  <a:lnTo>
                    <a:pt x="111" y="245"/>
                  </a:lnTo>
                  <a:lnTo>
                    <a:pt x="111" y="239"/>
                  </a:lnTo>
                  <a:lnTo>
                    <a:pt x="111" y="245"/>
                  </a:lnTo>
                  <a:lnTo>
                    <a:pt x="117" y="245"/>
                  </a:lnTo>
                  <a:lnTo>
                    <a:pt x="117" y="239"/>
                  </a:lnTo>
                  <a:lnTo>
                    <a:pt x="123" y="239"/>
                  </a:lnTo>
                  <a:lnTo>
                    <a:pt x="123" y="233"/>
                  </a:lnTo>
                  <a:lnTo>
                    <a:pt x="129" y="227"/>
                  </a:lnTo>
                  <a:lnTo>
                    <a:pt x="135" y="233"/>
                  </a:lnTo>
                  <a:lnTo>
                    <a:pt x="135" y="227"/>
                  </a:lnTo>
                  <a:lnTo>
                    <a:pt x="141" y="227"/>
                  </a:lnTo>
                  <a:lnTo>
                    <a:pt x="147" y="221"/>
                  </a:lnTo>
                  <a:lnTo>
                    <a:pt x="147" y="215"/>
                  </a:lnTo>
                  <a:lnTo>
                    <a:pt x="147" y="221"/>
                  </a:lnTo>
                  <a:lnTo>
                    <a:pt x="154" y="221"/>
                  </a:lnTo>
                  <a:lnTo>
                    <a:pt x="160" y="221"/>
                  </a:lnTo>
                  <a:lnTo>
                    <a:pt x="160" y="215"/>
                  </a:lnTo>
                  <a:lnTo>
                    <a:pt x="160" y="221"/>
                  </a:lnTo>
                  <a:lnTo>
                    <a:pt x="166" y="215"/>
                  </a:lnTo>
                  <a:lnTo>
                    <a:pt x="166" y="208"/>
                  </a:lnTo>
                  <a:lnTo>
                    <a:pt x="172" y="208"/>
                  </a:lnTo>
                  <a:lnTo>
                    <a:pt x="178" y="202"/>
                  </a:lnTo>
                  <a:lnTo>
                    <a:pt x="178" y="208"/>
                  </a:lnTo>
                  <a:lnTo>
                    <a:pt x="184" y="208"/>
                  </a:lnTo>
                  <a:lnTo>
                    <a:pt x="190" y="208"/>
                  </a:lnTo>
                  <a:lnTo>
                    <a:pt x="196" y="208"/>
                  </a:lnTo>
                  <a:lnTo>
                    <a:pt x="203" y="208"/>
                  </a:lnTo>
                  <a:lnTo>
                    <a:pt x="209" y="208"/>
                  </a:lnTo>
                  <a:lnTo>
                    <a:pt x="215" y="208"/>
                  </a:lnTo>
                  <a:lnTo>
                    <a:pt x="215" y="202"/>
                  </a:lnTo>
                  <a:lnTo>
                    <a:pt x="221" y="208"/>
                  </a:lnTo>
                  <a:lnTo>
                    <a:pt x="227" y="208"/>
                  </a:lnTo>
                  <a:lnTo>
                    <a:pt x="227" y="202"/>
                  </a:lnTo>
                  <a:lnTo>
                    <a:pt x="227" y="196"/>
                  </a:lnTo>
                  <a:lnTo>
                    <a:pt x="233" y="196"/>
                  </a:lnTo>
                  <a:lnTo>
                    <a:pt x="239" y="196"/>
                  </a:lnTo>
                  <a:lnTo>
                    <a:pt x="245" y="202"/>
                  </a:lnTo>
                  <a:lnTo>
                    <a:pt x="245" y="196"/>
                  </a:lnTo>
                  <a:lnTo>
                    <a:pt x="252" y="196"/>
                  </a:lnTo>
                  <a:lnTo>
                    <a:pt x="252" y="190"/>
                  </a:lnTo>
                  <a:lnTo>
                    <a:pt x="252" y="184"/>
                  </a:lnTo>
                  <a:lnTo>
                    <a:pt x="258" y="184"/>
                  </a:lnTo>
                  <a:lnTo>
                    <a:pt x="258" y="178"/>
                  </a:lnTo>
                  <a:lnTo>
                    <a:pt x="252" y="178"/>
                  </a:lnTo>
                  <a:lnTo>
                    <a:pt x="252" y="172"/>
                  </a:lnTo>
                  <a:lnTo>
                    <a:pt x="258" y="172"/>
                  </a:lnTo>
                  <a:lnTo>
                    <a:pt x="258" y="166"/>
                  </a:lnTo>
                  <a:lnTo>
                    <a:pt x="264" y="166"/>
                  </a:lnTo>
                  <a:lnTo>
                    <a:pt x="264" y="159"/>
                  </a:lnTo>
                  <a:lnTo>
                    <a:pt x="264" y="153"/>
                  </a:lnTo>
                  <a:lnTo>
                    <a:pt x="264" y="147"/>
                  </a:lnTo>
                  <a:lnTo>
                    <a:pt x="270" y="147"/>
                  </a:lnTo>
                  <a:lnTo>
                    <a:pt x="270" y="141"/>
                  </a:lnTo>
                  <a:lnTo>
                    <a:pt x="276" y="141"/>
                  </a:lnTo>
                  <a:lnTo>
                    <a:pt x="276" y="135"/>
                  </a:lnTo>
                  <a:lnTo>
                    <a:pt x="270" y="129"/>
                  </a:lnTo>
                  <a:lnTo>
                    <a:pt x="276" y="129"/>
                  </a:lnTo>
                  <a:lnTo>
                    <a:pt x="276" y="123"/>
                  </a:lnTo>
                  <a:lnTo>
                    <a:pt x="282" y="123"/>
                  </a:lnTo>
                  <a:lnTo>
                    <a:pt x="282" y="117"/>
                  </a:lnTo>
                  <a:lnTo>
                    <a:pt x="282" y="110"/>
                  </a:lnTo>
                  <a:lnTo>
                    <a:pt x="288" y="104"/>
                  </a:lnTo>
                  <a:lnTo>
                    <a:pt x="288" y="98"/>
                  </a:lnTo>
                  <a:lnTo>
                    <a:pt x="288" y="92"/>
                  </a:lnTo>
                  <a:lnTo>
                    <a:pt x="288" y="86"/>
                  </a:lnTo>
                  <a:lnTo>
                    <a:pt x="294" y="86"/>
                  </a:lnTo>
                  <a:lnTo>
                    <a:pt x="301" y="80"/>
                  </a:lnTo>
                  <a:lnTo>
                    <a:pt x="301" y="74"/>
                  </a:lnTo>
                  <a:lnTo>
                    <a:pt x="307" y="68"/>
                  </a:lnTo>
                  <a:lnTo>
                    <a:pt x="313" y="68"/>
                  </a:lnTo>
                  <a:lnTo>
                    <a:pt x="319" y="68"/>
                  </a:lnTo>
                  <a:lnTo>
                    <a:pt x="325" y="68"/>
                  </a:lnTo>
                  <a:lnTo>
                    <a:pt x="325" y="61"/>
                  </a:lnTo>
                  <a:lnTo>
                    <a:pt x="325" y="55"/>
                  </a:lnTo>
                  <a:lnTo>
                    <a:pt x="331" y="55"/>
                  </a:lnTo>
                  <a:lnTo>
                    <a:pt x="331" y="49"/>
                  </a:lnTo>
                  <a:lnTo>
                    <a:pt x="331" y="43"/>
                  </a:lnTo>
                  <a:lnTo>
                    <a:pt x="331" y="37"/>
                  </a:lnTo>
                  <a:lnTo>
                    <a:pt x="325" y="37"/>
                  </a:lnTo>
                  <a:lnTo>
                    <a:pt x="325" y="43"/>
                  </a:lnTo>
                  <a:lnTo>
                    <a:pt x="319" y="37"/>
                  </a:lnTo>
                  <a:lnTo>
                    <a:pt x="319" y="43"/>
                  </a:lnTo>
                  <a:lnTo>
                    <a:pt x="319" y="37"/>
                  </a:lnTo>
                  <a:lnTo>
                    <a:pt x="319" y="31"/>
                  </a:lnTo>
                  <a:lnTo>
                    <a:pt x="313" y="31"/>
                  </a:lnTo>
                  <a:lnTo>
                    <a:pt x="313" y="25"/>
                  </a:lnTo>
                  <a:lnTo>
                    <a:pt x="307" y="25"/>
                  </a:lnTo>
                  <a:lnTo>
                    <a:pt x="307" y="19"/>
                  </a:lnTo>
                  <a:lnTo>
                    <a:pt x="301" y="19"/>
                  </a:lnTo>
                  <a:lnTo>
                    <a:pt x="301" y="12"/>
                  </a:lnTo>
                  <a:lnTo>
                    <a:pt x="294" y="12"/>
                  </a:lnTo>
                  <a:lnTo>
                    <a:pt x="282" y="19"/>
                  </a:lnTo>
                  <a:lnTo>
                    <a:pt x="276" y="19"/>
                  </a:lnTo>
                  <a:lnTo>
                    <a:pt x="270" y="6"/>
                  </a:lnTo>
                  <a:lnTo>
                    <a:pt x="264" y="0"/>
                  </a:lnTo>
                  <a:lnTo>
                    <a:pt x="258" y="0"/>
                  </a:lnTo>
                  <a:lnTo>
                    <a:pt x="252" y="0"/>
                  </a:lnTo>
                  <a:lnTo>
                    <a:pt x="245" y="6"/>
                  </a:lnTo>
                  <a:lnTo>
                    <a:pt x="239" y="0"/>
                  </a:lnTo>
                  <a:lnTo>
                    <a:pt x="233" y="0"/>
                  </a:lnTo>
                  <a:lnTo>
                    <a:pt x="215" y="0"/>
                  </a:lnTo>
                  <a:lnTo>
                    <a:pt x="209" y="25"/>
                  </a:lnTo>
                  <a:lnTo>
                    <a:pt x="203" y="25"/>
                  </a:lnTo>
                  <a:lnTo>
                    <a:pt x="196" y="25"/>
                  </a:lnTo>
                  <a:lnTo>
                    <a:pt x="196" y="31"/>
                  </a:lnTo>
                  <a:lnTo>
                    <a:pt x="184" y="37"/>
                  </a:lnTo>
                  <a:lnTo>
                    <a:pt x="190" y="37"/>
                  </a:lnTo>
                  <a:lnTo>
                    <a:pt x="184" y="31"/>
                  </a:lnTo>
                  <a:lnTo>
                    <a:pt x="184" y="37"/>
                  </a:lnTo>
                  <a:lnTo>
                    <a:pt x="178" y="31"/>
                  </a:lnTo>
                  <a:lnTo>
                    <a:pt x="178" y="25"/>
                  </a:lnTo>
                  <a:lnTo>
                    <a:pt x="172" y="31"/>
                  </a:lnTo>
                  <a:lnTo>
                    <a:pt x="166" y="43"/>
                  </a:lnTo>
                  <a:lnTo>
                    <a:pt x="166" y="37"/>
                  </a:lnTo>
                  <a:lnTo>
                    <a:pt x="154" y="43"/>
                  </a:lnTo>
                  <a:lnTo>
                    <a:pt x="141" y="43"/>
                  </a:lnTo>
                  <a:lnTo>
                    <a:pt x="135" y="43"/>
                  </a:lnTo>
                  <a:lnTo>
                    <a:pt x="135" y="49"/>
                  </a:lnTo>
                  <a:lnTo>
                    <a:pt x="135" y="61"/>
                  </a:lnTo>
                  <a:lnTo>
                    <a:pt x="135" y="68"/>
                  </a:lnTo>
                  <a:lnTo>
                    <a:pt x="129" y="68"/>
                  </a:lnTo>
                  <a:lnTo>
                    <a:pt x="123" y="68"/>
                  </a:lnTo>
                  <a:lnTo>
                    <a:pt x="111" y="74"/>
                  </a:lnTo>
                  <a:lnTo>
                    <a:pt x="92" y="68"/>
                  </a:lnTo>
                  <a:lnTo>
                    <a:pt x="80" y="68"/>
                  </a:lnTo>
                  <a:lnTo>
                    <a:pt x="74" y="61"/>
                  </a:lnTo>
                  <a:lnTo>
                    <a:pt x="62" y="49"/>
                  </a:lnTo>
                  <a:lnTo>
                    <a:pt x="56" y="49"/>
                  </a:lnTo>
                  <a:lnTo>
                    <a:pt x="49" y="49"/>
                  </a:lnTo>
                  <a:lnTo>
                    <a:pt x="49" y="55"/>
                  </a:lnTo>
                  <a:lnTo>
                    <a:pt x="49" y="61"/>
                  </a:lnTo>
                  <a:lnTo>
                    <a:pt x="43" y="61"/>
                  </a:lnTo>
                  <a:lnTo>
                    <a:pt x="49" y="61"/>
                  </a:lnTo>
                  <a:lnTo>
                    <a:pt x="49" y="68"/>
                  </a:lnTo>
                  <a:lnTo>
                    <a:pt x="49" y="74"/>
                  </a:lnTo>
                  <a:lnTo>
                    <a:pt x="43" y="74"/>
                  </a:lnTo>
                  <a:lnTo>
                    <a:pt x="37" y="74"/>
                  </a:lnTo>
                  <a:lnTo>
                    <a:pt x="31" y="74"/>
                  </a:lnTo>
                  <a:lnTo>
                    <a:pt x="31" y="68"/>
                  </a:lnTo>
                  <a:lnTo>
                    <a:pt x="25" y="68"/>
                  </a:lnTo>
                  <a:lnTo>
                    <a:pt x="25" y="74"/>
                  </a:lnTo>
                  <a:lnTo>
                    <a:pt x="19" y="74"/>
                  </a:lnTo>
                  <a:lnTo>
                    <a:pt x="19" y="80"/>
                  </a:lnTo>
                  <a:lnTo>
                    <a:pt x="25" y="80"/>
                  </a:lnTo>
                  <a:lnTo>
                    <a:pt x="31" y="80"/>
                  </a:lnTo>
                  <a:lnTo>
                    <a:pt x="31" y="86"/>
                  </a:lnTo>
                  <a:lnTo>
                    <a:pt x="31" y="92"/>
                  </a:lnTo>
                  <a:lnTo>
                    <a:pt x="31" y="98"/>
                  </a:lnTo>
                  <a:lnTo>
                    <a:pt x="25" y="98"/>
                  </a:lnTo>
                  <a:lnTo>
                    <a:pt x="19" y="98"/>
                  </a:lnTo>
                  <a:lnTo>
                    <a:pt x="19" y="104"/>
                  </a:lnTo>
                  <a:lnTo>
                    <a:pt x="19" y="110"/>
                  </a:lnTo>
                  <a:lnTo>
                    <a:pt x="19" y="117"/>
                  </a:lnTo>
                  <a:lnTo>
                    <a:pt x="19" y="123"/>
                  </a:lnTo>
                  <a:lnTo>
                    <a:pt x="25" y="123"/>
                  </a:lnTo>
                  <a:lnTo>
                    <a:pt x="19" y="123"/>
                  </a:lnTo>
                  <a:lnTo>
                    <a:pt x="19" y="129"/>
                  </a:lnTo>
                  <a:lnTo>
                    <a:pt x="19" y="123"/>
                  </a:lnTo>
                  <a:lnTo>
                    <a:pt x="19" y="129"/>
                  </a:lnTo>
                  <a:lnTo>
                    <a:pt x="19" y="135"/>
                  </a:lnTo>
                  <a:lnTo>
                    <a:pt x="19" y="129"/>
                  </a:lnTo>
                  <a:lnTo>
                    <a:pt x="19" y="135"/>
                  </a:lnTo>
                  <a:lnTo>
                    <a:pt x="13" y="135"/>
                  </a:lnTo>
                  <a:lnTo>
                    <a:pt x="6" y="135"/>
                  </a:lnTo>
                  <a:lnTo>
                    <a:pt x="6" y="141"/>
                  </a:lnTo>
                  <a:lnTo>
                    <a:pt x="0" y="14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79" name="Freeform 100"/>
            <p:cNvSpPr>
              <a:spLocks/>
            </p:cNvSpPr>
            <p:nvPr/>
          </p:nvSpPr>
          <p:spPr bwMode="auto">
            <a:xfrm>
              <a:off x="3852783" y="2231374"/>
              <a:ext cx="1041205" cy="1738277"/>
            </a:xfrm>
            <a:custGeom>
              <a:avLst/>
              <a:gdLst>
                <a:gd name="T0" fmla="*/ 758567736 w 644"/>
                <a:gd name="T1" fmla="*/ 1620459406 h 1188"/>
                <a:gd name="T2" fmla="*/ 758567736 w 644"/>
                <a:gd name="T3" fmla="*/ 1789310996 h 1188"/>
                <a:gd name="T4" fmla="*/ 834171006 w 644"/>
                <a:gd name="T5" fmla="*/ 1867435014 h 1188"/>
                <a:gd name="T6" fmla="*/ 912296614 w 644"/>
                <a:gd name="T7" fmla="*/ 1945560619 h 1188"/>
                <a:gd name="T8" fmla="*/ 957659409 w 644"/>
                <a:gd name="T9" fmla="*/ 2053926500 h 1188"/>
                <a:gd name="T10" fmla="*/ 942538477 w 644"/>
                <a:gd name="T11" fmla="*/ 2129531156 h 1188"/>
                <a:gd name="T12" fmla="*/ 864412869 w 644"/>
                <a:gd name="T13" fmla="*/ 2147483647 h 1188"/>
                <a:gd name="T14" fmla="*/ 803930531 w 644"/>
                <a:gd name="T15" fmla="*/ 2147483647 h 1188"/>
                <a:gd name="T16" fmla="*/ 710683992 w 644"/>
                <a:gd name="T17" fmla="*/ 2147483647 h 1188"/>
                <a:gd name="T18" fmla="*/ 680442128 w 644"/>
                <a:gd name="T19" fmla="*/ 2147483647 h 1188"/>
                <a:gd name="T20" fmla="*/ 695563060 w 644"/>
                <a:gd name="T21" fmla="*/ 2147483647 h 1188"/>
                <a:gd name="T22" fmla="*/ 680442128 w 644"/>
                <a:gd name="T23" fmla="*/ 2147483647 h 1188"/>
                <a:gd name="T24" fmla="*/ 617437452 w 644"/>
                <a:gd name="T25" fmla="*/ 2147483647 h 1188"/>
                <a:gd name="T26" fmla="*/ 509071568 w 644"/>
                <a:gd name="T27" fmla="*/ 2147483647 h 1188"/>
                <a:gd name="T28" fmla="*/ 433466909 w 644"/>
                <a:gd name="T29" fmla="*/ 2147483647 h 1188"/>
                <a:gd name="T30" fmla="*/ 370463721 w 644"/>
                <a:gd name="T31" fmla="*/ 2147483647 h 1188"/>
                <a:gd name="T32" fmla="*/ 216733455 w 644"/>
                <a:gd name="T33" fmla="*/ 2147483647 h 1188"/>
                <a:gd name="T34" fmla="*/ 201612473 w 644"/>
                <a:gd name="T35" fmla="*/ 2147483647 h 1188"/>
                <a:gd name="T36" fmla="*/ 186491541 w 644"/>
                <a:gd name="T37" fmla="*/ 2147483647 h 1188"/>
                <a:gd name="T38" fmla="*/ 171370610 w 644"/>
                <a:gd name="T39" fmla="*/ 2147483647 h 1188"/>
                <a:gd name="T40" fmla="*/ 108365934 w 644"/>
                <a:gd name="T41" fmla="*/ 2147483647 h 1188"/>
                <a:gd name="T42" fmla="*/ 93246564 w 644"/>
                <a:gd name="T43" fmla="*/ 2147483647 h 1188"/>
                <a:gd name="T44" fmla="*/ 78124045 w 644"/>
                <a:gd name="T45" fmla="*/ 2147483647 h 1188"/>
                <a:gd name="T46" fmla="*/ 32761237 w 644"/>
                <a:gd name="T47" fmla="*/ 2147483647 h 1188"/>
                <a:gd name="T48" fmla="*/ 47883757 w 644"/>
                <a:gd name="T49" fmla="*/ 2147483647 h 1188"/>
                <a:gd name="T50" fmla="*/ 108365934 w 644"/>
                <a:gd name="T51" fmla="*/ 2021165276 h 1188"/>
                <a:gd name="T52" fmla="*/ 186491541 w 644"/>
                <a:gd name="T53" fmla="*/ 1852314082 h 1188"/>
                <a:gd name="T54" fmla="*/ 216733455 w 644"/>
                <a:gd name="T55" fmla="*/ 1683464477 h 1188"/>
                <a:gd name="T56" fmla="*/ 138607797 w 644"/>
                <a:gd name="T57" fmla="*/ 1313002057 h 1188"/>
                <a:gd name="T58" fmla="*/ 370463721 w 644"/>
                <a:gd name="T59" fmla="*/ 1003022172 h 1188"/>
                <a:gd name="T60" fmla="*/ 632558384 w 644"/>
                <a:gd name="T61" fmla="*/ 448587827 h 1188"/>
                <a:gd name="T62" fmla="*/ 864412869 w 644"/>
                <a:gd name="T63" fmla="*/ 138607793 h 1188"/>
                <a:gd name="T64" fmla="*/ 1174392764 w 644"/>
                <a:gd name="T65" fmla="*/ 0 h 1188"/>
                <a:gd name="T66" fmla="*/ 1358364894 w 644"/>
                <a:gd name="T67" fmla="*/ 138607793 h 1188"/>
                <a:gd name="T68" fmla="*/ 1544856386 w 644"/>
                <a:gd name="T69" fmla="*/ 231854379 h 1188"/>
                <a:gd name="T70" fmla="*/ 1559977318 w 644"/>
                <a:gd name="T71" fmla="*/ 355342778 h 1188"/>
                <a:gd name="T72" fmla="*/ 1575098250 w 644"/>
                <a:gd name="T73" fmla="*/ 554434346 h 1188"/>
                <a:gd name="T74" fmla="*/ 1590219182 w 644"/>
                <a:gd name="T75" fmla="*/ 710683969 h 1188"/>
                <a:gd name="T76" fmla="*/ 1499493591 w 644"/>
                <a:gd name="T77" fmla="*/ 725804900 h 1188"/>
                <a:gd name="T78" fmla="*/ 1406247051 w 644"/>
                <a:gd name="T79" fmla="*/ 710683969 h 1188"/>
                <a:gd name="T80" fmla="*/ 1358364894 w 644"/>
                <a:gd name="T81" fmla="*/ 771167694 h 1188"/>
                <a:gd name="T82" fmla="*/ 1297881167 w 644"/>
                <a:gd name="T83" fmla="*/ 819049849 h 1188"/>
                <a:gd name="T84" fmla="*/ 1282758648 w 644"/>
                <a:gd name="T85" fmla="*/ 894654704 h 1188"/>
                <a:gd name="T86" fmla="*/ 1267637716 w 644"/>
                <a:gd name="T87" fmla="*/ 972780310 h 1188"/>
                <a:gd name="T88" fmla="*/ 1234876491 w 644"/>
                <a:gd name="T89" fmla="*/ 1066025259 h 1188"/>
                <a:gd name="T90" fmla="*/ 1096267156 w 644"/>
                <a:gd name="T91" fmla="*/ 1189513658 h 1188"/>
                <a:gd name="T92" fmla="*/ 987901272 w 644"/>
                <a:gd name="T93" fmla="*/ 1249997383 h 1188"/>
                <a:gd name="T94" fmla="*/ 912296614 w 644"/>
                <a:gd name="T95" fmla="*/ 1328122989 h 1188"/>
                <a:gd name="T96" fmla="*/ 897175682 w 644"/>
                <a:gd name="T97" fmla="*/ 1358364851 h 1188"/>
                <a:gd name="T98" fmla="*/ 788809599 w 644"/>
                <a:gd name="T99" fmla="*/ 1418848576 h 1188"/>
                <a:gd name="T100" fmla="*/ 803930531 w 644"/>
                <a:gd name="T101" fmla="*/ 1496972594 h 1188"/>
                <a:gd name="T102" fmla="*/ 186491541 w 644"/>
                <a:gd name="T103" fmla="*/ 2147483647 h 1188"/>
                <a:gd name="T104" fmla="*/ 246975318 w 644"/>
                <a:gd name="T105" fmla="*/ 2147483647 h 1188"/>
                <a:gd name="T106" fmla="*/ 370463721 w 644"/>
                <a:gd name="T107" fmla="*/ 2147483647 h 1188"/>
                <a:gd name="T108" fmla="*/ 340221858 w 644"/>
                <a:gd name="T109" fmla="*/ 2114410225 h 1188"/>
                <a:gd name="T110" fmla="*/ 279736543 w 644"/>
                <a:gd name="T111" fmla="*/ 2129531156 h 1188"/>
                <a:gd name="T112" fmla="*/ 262096250 w 644"/>
                <a:gd name="T113" fmla="*/ 2147483647 h 1188"/>
                <a:gd name="T114" fmla="*/ 418345977 w 644"/>
                <a:gd name="T115" fmla="*/ 2147483647 h 1188"/>
                <a:gd name="T116" fmla="*/ 478829704 w 644"/>
                <a:gd name="T117" fmla="*/ 2147483647 h 1188"/>
                <a:gd name="T118" fmla="*/ 788809599 w 644"/>
                <a:gd name="T119" fmla="*/ 1512093525 h 1188"/>
                <a:gd name="T120" fmla="*/ 617437452 w 644"/>
                <a:gd name="T121" fmla="*/ 2144652087 h 11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44"/>
                <a:gd name="T184" fmla="*/ 0 h 1188"/>
                <a:gd name="T185" fmla="*/ 644 w 644"/>
                <a:gd name="T186" fmla="*/ 1188 h 11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44" h="1188">
                  <a:moveTo>
                    <a:pt x="313" y="600"/>
                  </a:moveTo>
                  <a:lnTo>
                    <a:pt x="313" y="612"/>
                  </a:lnTo>
                  <a:lnTo>
                    <a:pt x="307" y="619"/>
                  </a:lnTo>
                  <a:lnTo>
                    <a:pt x="307" y="625"/>
                  </a:lnTo>
                  <a:lnTo>
                    <a:pt x="307" y="631"/>
                  </a:lnTo>
                  <a:lnTo>
                    <a:pt x="313" y="631"/>
                  </a:lnTo>
                  <a:lnTo>
                    <a:pt x="307" y="631"/>
                  </a:lnTo>
                  <a:lnTo>
                    <a:pt x="307" y="637"/>
                  </a:lnTo>
                  <a:lnTo>
                    <a:pt x="313" y="637"/>
                  </a:lnTo>
                  <a:lnTo>
                    <a:pt x="313" y="643"/>
                  </a:lnTo>
                  <a:lnTo>
                    <a:pt x="313" y="649"/>
                  </a:lnTo>
                  <a:lnTo>
                    <a:pt x="313" y="643"/>
                  </a:lnTo>
                  <a:lnTo>
                    <a:pt x="307" y="643"/>
                  </a:lnTo>
                  <a:lnTo>
                    <a:pt x="301" y="643"/>
                  </a:lnTo>
                  <a:lnTo>
                    <a:pt x="301" y="649"/>
                  </a:lnTo>
                  <a:lnTo>
                    <a:pt x="301" y="655"/>
                  </a:lnTo>
                  <a:lnTo>
                    <a:pt x="301" y="661"/>
                  </a:lnTo>
                  <a:lnTo>
                    <a:pt x="301" y="668"/>
                  </a:lnTo>
                  <a:lnTo>
                    <a:pt x="294" y="668"/>
                  </a:lnTo>
                  <a:lnTo>
                    <a:pt x="301" y="674"/>
                  </a:lnTo>
                  <a:lnTo>
                    <a:pt x="301" y="680"/>
                  </a:lnTo>
                  <a:lnTo>
                    <a:pt x="301" y="686"/>
                  </a:lnTo>
                  <a:lnTo>
                    <a:pt x="301" y="692"/>
                  </a:lnTo>
                  <a:lnTo>
                    <a:pt x="301" y="698"/>
                  </a:lnTo>
                  <a:lnTo>
                    <a:pt x="294" y="698"/>
                  </a:lnTo>
                  <a:lnTo>
                    <a:pt x="301" y="698"/>
                  </a:lnTo>
                  <a:lnTo>
                    <a:pt x="301" y="704"/>
                  </a:lnTo>
                  <a:lnTo>
                    <a:pt x="301" y="710"/>
                  </a:lnTo>
                  <a:lnTo>
                    <a:pt x="307" y="710"/>
                  </a:lnTo>
                  <a:lnTo>
                    <a:pt x="307" y="717"/>
                  </a:lnTo>
                  <a:lnTo>
                    <a:pt x="301" y="717"/>
                  </a:lnTo>
                  <a:lnTo>
                    <a:pt x="307" y="717"/>
                  </a:lnTo>
                  <a:lnTo>
                    <a:pt x="307" y="723"/>
                  </a:lnTo>
                  <a:lnTo>
                    <a:pt x="301" y="729"/>
                  </a:lnTo>
                  <a:lnTo>
                    <a:pt x="307" y="729"/>
                  </a:lnTo>
                  <a:lnTo>
                    <a:pt x="313" y="729"/>
                  </a:lnTo>
                  <a:lnTo>
                    <a:pt x="319" y="729"/>
                  </a:lnTo>
                  <a:lnTo>
                    <a:pt x="319" y="735"/>
                  </a:lnTo>
                  <a:lnTo>
                    <a:pt x="319" y="741"/>
                  </a:lnTo>
                  <a:lnTo>
                    <a:pt x="325" y="741"/>
                  </a:lnTo>
                  <a:lnTo>
                    <a:pt x="331" y="735"/>
                  </a:lnTo>
                  <a:lnTo>
                    <a:pt x="331" y="741"/>
                  </a:lnTo>
                  <a:lnTo>
                    <a:pt x="331" y="735"/>
                  </a:lnTo>
                  <a:lnTo>
                    <a:pt x="337" y="735"/>
                  </a:lnTo>
                  <a:lnTo>
                    <a:pt x="337" y="741"/>
                  </a:lnTo>
                  <a:lnTo>
                    <a:pt x="343" y="741"/>
                  </a:lnTo>
                  <a:lnTo>
                    <a:pt x="343" y="747"/>
                  </a:lnTo>
                  <a:lnTo>
                    <a:pt x="350" y="753"/>
                  </a:lnTo>
                  <a:lnTo>
                    <a:pt x="356" y="753"/>
                  </a:lnTo>
                  <a:lnTo>
                    <a:pt x="350" y="753"/>
                  </a:lnTo>
                  <a:lnTo>
                    <a:pt x="350" y="759"/>
                  </a:lnTo>
                  <a:lnTo>
                    <a:pt x="356" y="753"/>
                  </a:lnTo>
                  <a:lnTo>
                    <a:pt x="362" y="759"/>
                  </a:lnTo>
                  <a:lnTo>
                    <a:pt x="368" y="766"/>
                  </a:lnTo>
                  <a:lnTo>
                    <a:pt x="362" y="766"/>
                  </a:lnTo>
                  <a:lnTo>
                    <a:pt x="362" y="772"/>
                  </a:lnTo>
                  <a:lnTo>
                    <a:pt x="368" y="772"/>
                  </a:lnTo>
                  <a:lnTo>
                    <a:pt x="374" y="772"/>
                  </a:lnTo>
                  <a:lnTo>
                    <a:pt x="374" y="778"/>
                  </a:lnTo>
                  <a:lnTo>
                    <a:pt x="380" y="778"/>
                  </a:lnTo>
                  <a:lnTo>
                    <a:pt x="380" y="784"/>
                  </a:lnTo>
                  <a:lnTo>
                    <a:pt x="380" y="790"/>
                  </a:lnTo>
                  <a:lnTo>
                    <a:pt x="386" y="790"/>
                  </a:lnTo>
                  <a:lnTo>
                    <a:pt x="386" y="796"/>
                  </a:lnTo>
                  <a:lnTo>
                    <a:pt x="392" y="796"/>
                  </a:lnTo>
                  <a:lnTo>
                    <a:pt x="392" y="802"/>
                  </a:lnTo>
                  <a:lnTo>
                    <a:pt x="386" y="802"/>
                  </a:lnTo>
                  <a:lnTo>
                    <a:pt x="392" y="808"/>
                  </a:lnTo>
                  <a:lnTo>
                    <a:pt x="386" y="808"/>
                  </a:lnTo>
                  <a:lnTo>
                    <a:pt x="380" y="815"/>
                  </a:lnTo>
                  <a:lnTo>
                    <a:pt x="374" y="815"/>
                  </a:lnTo>
                  <a:lnTo>
                    <a:pt x="374" y="821"/>
                  </a:lnTo>
                  <a:lnTo>
                    <a:pt x="368" y="821"/>
                  </a:lnTo>
                  <a:lnTo>
                    <a:pt x="368" y="827"/>
                  </a:lnTo>
                  <a:lnTo>
                    <a:pt x="362" y="827"/>
                  </a:lnTo>
                  <a:lnTo>
                    <a:pt x="356" y="833"/>
                  </a:lnTo>
                  <a:lnTo>
                    <a:pt x="356" y="839"/>
                  </a:lnTo>
                  <a:lnTo>
                    <a:pt x="362" y="839"/>
                  </a:lnTo>
                  <a:lnTo>
                    <a:pt x="362" y="833"/>
                  </a:lnTo>
                  <a:lnTo>
                    <a:pt x="368" y="839"/>
                  </a:lnTo>
                  <a:lnTo>
                    <a:pt x="374" y="839"/>
                  </a:lnTo>
                  <a:lnTo>
                    <a:pt x="374" y="845"/>
                  </a:lnTo>
                  <a:lnTo>
                    <a:pt x="368" y="845"/>
                  </a:lnTo>
                  <a:lnTo>
                    <a:pt x="374" y="845"/>
                  </a:lnTo>
                  <a:lnTo>
                    <a:pt x="380" y="845"/>
                  </a:lnTo>
                  <a:lnTo>
                    <a:pt x="374" y="851"/>
                  </a:lnTo>
                  <a:lnTo>
                    <a:pt x="368" y="851"/>
                  </a:lnTo>
                  <a:lnTo>
                    <a:pt x="362" y="851"/>
                  </a:lnTo>
                  <a:lnTo>
                    <a:pt x="356" y="845"/>
                  </a:lnTo>
                  <a:lnTo>
                    <a:pt x="356" y="851"/>
                  </a:lnTo>
                  <a:lnTo>
                    <a:pt x="362" y="857"/>
                  </a:lnTo>
                  <a:lnTo>
                    <a:pt x="356" y="857"/>
                  </a:lnTo>
                  <a:lnTo>
                    <a:pt x="356" y="864"/>
                  </a:lnTo>
                  <a:lnTo>
                    <a:pt x="350" y="864"/>
                  </a:lnTo>
                  <a:lnTo>
                    <a:pt x="356" y="864"/>
                  </a:lnTo>
                  <a:lnTo>
                    <a:pt x="350" y="864"/>
                  </a:lnTo>
                  <a:lnTo>
                    <a:pt x="343" y="864"/>
                  </a:lnTo>
                  <a:lnTo>
                    <a:pt x="343" y="870"/>
                  </a:lnTo>
                  <a:lnTo>
                    <a:pt x="337" y="870"/>
                  </a:lnTo>
                  <a:lnTo>
                    <a:pt x="337" y="876"/>
                  </a:lnTo>
                  <a:lnTo>
                    <a:pt x="337" y="882"/>
                  </a:lnTo>
                  <a:lnTo>
                    <a:pt x="337" y="888"/>
                  </a:lnTo>
                  <a:lnTo>
                    <a:pt x="331" y="888"/>
                  </a:lnTo>
                  <a:lnTo>
                    <a:pt x="331" y="882"/>
                  </a:lnTo>
                  <a:lnTo>
                    <a:pt x="325" y="882"/>
                  </a:lnTo>
                  <a:lnTo>
                    <a:pt x="325" y="876"/>
                  </a:lnTo>
                  <a:lnTo>
                    <a:pt x="325" y="870"/>
                  </a:lnTo>
                  <a:lnTo>
                    <a:pt x="325" y="864"/>
                  </a:lnTo>
                  <a:lnTo>
                    <a:pt x="325" y="870"/>
                  </a:lnTo>
                  <a:lnTo>
                    <a:pt x="325" y="864"/>
                  </a:lnTo>
                  <a:lnTo>
                    <a:pt x="319" y="857"/>
                  </a:lnTo>
                  <a:lnTo>
                    <a:pt x="319" y="864"/>
                  </a:lnTo>
                  <a:lnTo>
                    <a:pt x="319" y="870"/>
                  </a:lnTo>
                  <a:lnTo>
                    <a:pt x="319" y="876"/>
                  </a:lnTo>
                  <a:lnTo>
                    <a:pt x="319" y="882"/>
                  </a:lnTo>
                  <a:lnTo>
                    <a:pt x="319" y="888"/>
                  </a:lnTo>
                  <a:lnTo>
                    <a:pt x="313" y="888"/>
                  </a:lnTo>
                  <a:lnTo>
                    <a:pt x="313" y="894"/>
                  </a:lnTo>
                  <a:lnTo>
                    <a:pt x="307" y="888"/>
                  </a:lnTo>
                  <a:lnTo>
                    <a:pt x="307" y="894"/>
                  </a:lnTo>
                  <a:lnTo>
                    <a:pt x="301" y="900"/>
                  </a:lnTo>
                  <a:lnTo>
                    <a:pt x="294" y="900"/>
                  </a:lnTo>
                  <a:lnTo>
                    <a:pt x="288" y="906"/>
                  </a:lnTo>
                  <a:lnTo>
                    <a:pt x="282" y="906"/>
                  </a:lnTo>
                  <a:lnTo>
                    <a:pt x="276" y="906"/>
                  </a:lnTo>
                  <a:lnTo>
                    <a:pt x="282" y="913"/>
                  </a:lnTo>
                  <a:lnTo>
                    <a:pt x="282" y="919"/>
                  </a:lnTo>
                  <a:lnTo>
                    <a:pt x="276" y="919"/>
                  </a:lnTo>
                  <a:lnTo>
                    <a:pt x="258" y="919"/>
                  </a:lnTo>
                  <a:lnTo>
                    <a:pt x="270" y="919"/>
                  </a:lnTo>
                  <a:lnTo>
                    <a:pt x="282" y="931"/>
                  </a:lnTo>
                  <a:lnTo>
                    <a:pt x="270" y="931"/>
                  </a:lnTo>
                  <a:lnTo>
                    <a:pt x="282" y="931"/>
                  </a:lnTo>
                  <a:lnTo>
                    <a:pt x="282" y="937"/>
                  </a:lnTo>
                  <a:lnTo>
                    <a:pt x="282" y="931"/>
                  </a:lnTo>
                  <a:lnTo>
                    <a:pt x="276" y="937"/>
                  </a:lnTo>
                  <a:lnTo>
                    <a:pt x="282" y="937"/>
                  </a:lnTo>
                  <a:lnTo>
                    <a:pt x="282" y="943"/>
                  </a:lnTo>
                  <a:lnTo>
                    <a:pt x="276" y="949"/>
                  </a:lnTo>
                  <a:lnTo>
                    <a:pt x="270" y="943"/>
                  </a:lnTo>
                  <a:lnTo>
                    <a:pt x="276" y="949"/>
                  </a:lnTo>
                  <a:lnTo>
                    <a:pt x="282" y="955"/>
                  </a:lnTo>
                  <a:lnTo>
                    <a:pt x="276" y="955"/>
                  </a:lnTo>
                  <a:lnTo>
                    <a:pt x="270" y="955"/>
                  </a:lnTo>
                  <a:lnTo>
                    <a:pt x="270" y="962"/>
                  </a:lnTo>
                  <a:lnTo>
                    <a:pt x="276" y="962"/>
                  </a:lnTo>
                  <a:lnTo>
                    <a:pt x="276" y="968"/>
                  </a:lnTo>
                  <a:lnTo>
                    <a:pt x="264" y="962"/>
                  </a:lnTo>
                  <a:lnTo>
                    <a:pt x="270" y="968"/>
                  </a:lnTo>
                  <a:lnTo>
                    <a:pt x="264" y="968"/>
                  </a:lnTo>
                  <a:lnTo>
                    <a:pt x="276" y="980"/>
                  </a:lnTo>
                  <a:lnTo>
                    <a:pt x="264" y="968"/>
                  </a:lnTo>
                  <a:lnTo>
                    <a:pt x="276" y="980"/>
                  </a:lnTo>
                  <a:lnTo>
                    <a:pt x="276" y="986"/>
                  </a:lnTo>
                  <a:lnTo>
                    <a:pt x="270" y="986"/>
                  </a:lnTo>
                  <a:lnTo>
                    <a:pt x="270" y="992"/>
                  </a:lnTo>
                  <a:lnTo>
                    <a:pt x="276" y="992"/>
                  </a:lnTo>
                  <a:lnTo>
                    <a:pt x="270" y="998"/>
                  </a:lnTo>
                  <a:lnTo>
                    <a:pt x="270" y="992"/>
                  </a:lnTo>
                  <a:lnTo>
                    <a:pt x="270" y="998"/>
                  </a:lnTo>
                  <a:lnTo>
                    <a:pt x="276" y="1004"/>
                  </a:lnTo>
                  <a:lnTo>
                    <a:pt x="276" y="1011"/>
                  </a:lnTo>
                  <a:lnTo>
                    <a:pt x="270" y="1011"/>
                  </a:lnTo>
                  <a:lnTo>
                    <a:pt x="270" y="1017"/>
                  </a:lnTo>
                  <a:lnTo>
                    <a:pt x="264" y="1023"/>
                  </a:lnTo>
                  <a:lnTo>
                    <a:pt x="264" y="1029"/>
                  </a:lnTo>
                  <a:lnTo>
                    <a:pt x="270" y="1035"/>
                  </a:lnTo>
                  <a:lnTo>
                    <a:pt x="270" y="1041"/>
                  </a:lnTo>
                  <a:lnTo>
                    <a:pt x="264" y="1047"/>
                  </a:lnTo>
                  <a:lnTo>
                    <a:pt x="264" y="1053"/>
                  </a:lnTo>
                  <a:lnTo>
                    <a:pt x="258" y="1060"/>
                  </a:lnTo>
                  <a:lnTo>
                    <a:pt x="264" y="1066"/>
                  </a:lnTo>
                  <a:lnTo>
                    <a:pt x="264" y="1060"/>
                  </a:lnTo>
                  <a:lnTo>
                    <a:pt x="264" y="1066"/>
                  </a:lnTo>
                  <a:lnTo>
                    <a:pt x="258" y="1066"/>
                  </a:lnTo>
                  <a:lnTo>
                    <a:pt x="258" y="1072"/>
                  </a:lnTo>
                  <a:lnTo>
                    <a:pt x="251" y="1078"/>
                  </a:lnTo>
                  <a:lnTo>
                    <a:pt x="251" y="1084"/>
                  </a:lnTo>
                  <a:lnTo>
                    <a:pt x="245" y="1090"/>
                  </a:lnTo>
                  <a:lnTo>
                    <a:pt x="245" y="1096"/>
                  </a:lnTo>
                  <a:lnTo>
                    <a:pt x="245" y="1102"/>
                  </a:lnTo>
                  <a:lnTo>
                    <a:pt x="245" y="1109"/>
                  </a:lnTo>
                  <a:lnTo>
                    <a:pt x="239" y="1115"/>
                  </a:lnTo>
                  <a:lnTo>
                    <a:pt x="233" y="1127"/>
                  </a:lnTo>
                  <a:lnTo>
                    <a:pt x="233" y="1121"/>
                  </a:lnTo>
                  <a:lnTo>
                    <a:pt x="233" y="1115"/>
                  </a:lnTo>
                  <a:lnTo>
                    <a:pt x="227" y="1121"/>
                  </a:lnTo>
                  <a:lnTo>
                    <a:pt x="227" y="1115"/>
                  </a:lnTo>
                  <a:lnTo>
                    <a:pt x="221" y="1115"/>
                  </a:lnTo>
                  <a:lnTo>
                    <a:pt x="215" y="1115"/>
                  </a:lnTo>
                  <a:lnTo>
                    <a:pt x="215" y="1121"/>
                  </a:lnTo>
                  <a:lnTo>
                    <a:pt x="215" y="1115"/>
                  </a:lnTo>
                  <a:lnTo>
                    <a:pt x="209" y="1115"/>
                  </a:lnTo>
                  <a:lnTo>
                    <a:pt x="209" y="1121"/>
                  </a:lnTo>
                  <a:lnTo>
                    <a:pt x="209" y="1115"/>
                  </a:lnTo>
                  <a:lnTo>
                    <a:pt x="202" y="1115"/>
                  </a:lnTo>
                  <a:lnTo>
                    <a:pt x="202" y="1121"/>
                  </a:lnTo>
                  <a:lnTo>
                    <a:pt x="196" y="1121"/>
                  </a:lnTo>
                  <a:lnTo>
                    <a:pt x="196" y="1115"/>
                  </a:lnTo>
                  <a:lnTo>
                    <a:pt x="190" y="1115"/>
                  </a:lnTo>
                  <a:lnTo>
                    <a:pt x="190" y="1121"/>
                  </a:lnTo>
                  <a:lnTo>
                    <a:pt x="184" y="1121"/>
                  </a:lnTo>
                  <a:lnTo>
                    <a:pt x="184" y="1115"/>
                  </a:lnTo>
                  <a:lnTo>
                    <a:pt x="178" y="1121"/>
                  </a:lnTo>
                  <a:lnTo>
                    <a:pt x="178" y="1115"/>
                  </a:lnTo>
                  <a:lnTo>
                    <a:pt x="178" y="1121"/>
                  </a:lnTo>
                  <a:lnTo>
                    <a:pt x="178" y="1127"/>
                  </a:lnTo>
                  <a:lnTo>
                    <a:pt x="184" y="1127"/>
                  </a:lnTo>
                  <a:lnTo>
                    <a:pt x="178" y="1133"/>
                  </a:lnTo>
                  <a:lnTo>
                    <a:pt x="172" y="1133"/>
                  </a:lnTo>
                  <a:lnTo>
                    <a:pt x="172" y="1127"/>
                  </a:lnTo>
                  <a:lnTo>
                    <a:pt x="166" y="1127"/>
                  </a:lnTo>
                  <a:lnTo>
                    <a:pt x="166" y="1133"/>
                  </a:lnTo>
                  <a:lnTo>
                    <a:pt x="160" y="1133"/>
                  </a:lnTo>
                  <a:lnTo>
                    <a:pt x="160" y="1139"/>
                  </a:lnTo>
                  <a:lnTo>
                    <a:pt x="153" y="1145"/>
                  </a:lnTo>
                  <a:lnTo>
                    <a:pt x="153" y="1151"/>
                  </a:lnTo>
                  <a:lnTo>
                    <a:pt x="153" y="1158"/>
                  </a:lnTo>
                  <a:lnTo>
                    <a:pt x="160" y="1158"/>
                  </a:lnTo>
                  <a:lnTo>
                    <a:pt x="153" y="1164"/>
                  </a:lnTo>
                  <a:lnTo>
                    <a:pt x="160" y="1170"/>
                  </a:lnTo>
                  <a:lnTo>
                    <a:pt x="160" y="1176"/>
                  </a:lnTo>
                  <a:lnTo>
                    <a:pt x="153" y="1182"/>
                  </a:lnTo>
                  <a:lnTo>
                    <a:pt x="147" y="1182"/>
                  </a:lnTo>
                  <a:lnTo>
                    <a:pt x="147" y="1188"/>
                  </a:lnTo>
                  <a:lnTo>
                    <a:pt x="141" y="1182"/>
                  </a:lnTo>
                  <a:lnTo>
                    <a:pt x="135" y="1182"/>
                  </a:lnTo>
                  <a:lnTo>
                    <a:pt x="129" y="1182"/>
                  </a:lnTo>
                  <a:lnTo>
                    <a:pt x="123" y="1182"/>
                  </a:lnTo>
                  <a:lnTo>
                    <a:pt x="117" y="1182"/>
                  </a:lnTo>
                  <a:lnTo>
                    <a:pt x="111" y="1188"/>
                  </a:lnTo>
                  <a:lnTo>
                    <a:pt x="104" y="1188"/>
                  </a:lnTo>
                  <a:lnTo>
                    <a:pt x="98" y="1188"/>
                  </a:lnTo>
                  <a:lnTo>
                    <a:pt x="92" y="1182"/>
                  </a:lnTo>
                  <a:lnTo>
                    <a:pt x="92" y="1188"/>
                  </a:lnTo>
                  <a:lnTo>
                    <a:pt x="86" y="1182"/>
                  </a:lnTo>
                  <a:lnTo>
                    <a:pt x="86" y="1188"/>
                  </a:lnTo>
                  <a:lnTo>
                    <a:pt x="86" y="1182"/>
                  </a:lnTo>
                  <a:lnTo>
                    <a:pt x="92" y="1182"/>
                  </a:lnTo>
                  <a:lnTo>
                    <a:pt x="92" y="1176"/>
                  </a:lnTo>
                  <a:lnTo>
                    <a:pt x="86" y="1176"/>
                  </a:lnTo>
                  <a:lnTo>
                    <a:pt x="92" y="1170"/>
                  </a:lnTo>
                  <a:lnTo>
                    <a:pt x="86" y="1170"/>
                  </a:lnTo>
                  <a:lnTo>
                    <a:pt x="92" y="1164"/>
                  </a:lnTo>
                  <a:lnTo>
                    <a:pt x="98" y="1164"/>
                  </a:lnTo>
                  <a:lnTo>
                    <a:pt x="98" y="1158"/>
                  </a:lnTo>
                  <a:lnTo>
                    <a:pt x="92" y="1158"/>
                  </a:lnTo>
                  <a:lnTo>
                    <a:pt x="92" y="1151"/>
                  </a:lnTo>
                  <a:lnTo>
                    <a:pt x="92" y="1145"/>
                  </a:lnTo>
                  <a:lnTo>
                    <a:pt x="86" y="1145"/>
                  </a:lnTo>
                  <a:lnTo>
                    <a:pt x="86" y="1139"/>
                  </a:lnTo>
                  <a:lnTo>
                    <a:pt x="80" y="1133"/>
                  </a:lnTo>
                  <a:lnTo>
                    <a:pt x="80" y="1127"/>
                  </a:lnTo>
                  <a:lnTo>
                    <a:pt x="74" y="1121"/>
                  </a:lnTo>
                  <a:lnTo>
                    <a:pt x="74" y="1115"/>
                  </a:lnTo>
                  <a:lnTo>
                    <a:pt x="74" y="1109"/>
                  </a:lnTo>
                  <a:lnTo>
                    <a:pt x="68" y="1109"/>
                  </a:lnTo>
                  <a:lnTo>
                    <a:pt x="74" y="1109"/>
                  </a:lnTo>
                  <a:lnTo>
                    <a:pt x="80" y="1109"/>
                  </a:lnTo>
                  <a:lnTo>
                    <a:pt x="80" y="1115"/>
                  </a:lnTo>
                  <a:lnTo>
                    <a:pt x="80" y="1109"/>
                  </a:lnTo>
                  <a:lnTo>
                    <a:pt x="86" y="1115"/>
                  </a:lnTo>
                  <a:lnTo>
                    <a:pt x="86" y="1109"/>
                  </a:lnTo>
                  <a:lnTo>
                    <a:pt x="80" y="1102"/>
                  </a:lnTo>
                  <a:lnTo>
                    <a:pt x="80" y="1096"/>
                  </a:lnTo>
                  <a:lnTo>
                    <a:pt x="74" y="1096"/>
                  </a:lnTo>
                  <a:lnTo>
                    <a:pt x="80" y="1090"/>
                  </a:lnTo>
                  <a:lnTo>
                    <a:pt x="86" y="1096"/>
                  </a:lnTo>
                  <a:lnTo>
                    <a:pt x="86" y="1090"/>
                  </a:lnTo>
                  <a:lnTo>
                    <a:pt x="92" y="1090"/>
                  </a:lnTo>
                  <a:lnTo>
                    <a:pt x="92" y="1084"/>
                  </a:lnTo>
                  <a:lnTo>
                    <a:pt x="92" y="1078"/>
                  </a:lnTo>
                  <a:lnTo>
                    <a:pt x="86" y="1072"/>
                  </a:lnTo>
                  <a:lnTo>
                    <a:pt x="86" y="1078"/>
                  </a:lnTo>
                  <a:lnTo>
                    <a:pt x="80" y="1078"/>
                  </a:lnTo>
                  <a:lnTo>
                    <a:pt x="80" y="1072"/>
                  </a:lnTo>
                  <a:lnTo>
                    <a:pt x="80" y="1066"/>
                  </a:lnTo>
                  <a:lnTo>
                    <a:pt x="74" y="1066"/>
                  </a:lnTo>
                  <a:lnTo>
                    <a:pt x="74" y="1060"/>
                  </a:lnTo>
                  <a:lnTo>
                    <a:pt x="68" y="1053"/>
                  </a:lnTo>
                  <a:lnTo>
                    <a:pt x="62" y="1053"/>
                  </a:lnTo>
                  <a:lnTo>
                    <a:pt x="62" y="1047"/>
                  </a:lnTo>
                  <a:lnTo>
                    <a:pt x="62" y="1041"/>
                  </a:lnTo>
                  <a:lnTo>
                    <a:pt x="55" y="1035"/>
                  </a:lnTo>
                  <a:lnTo>
                    <a:pt x="55" y="1023"/>
                  </a:lnTo>
                  <a:lnTo>
                    <a:pt x="49" y="1023"/>
                  </a:lnTo>
                  <a:lnTo>
                    <a:pt x="55" y="1023"/>
                  </a:lnTo>
                  <a:lnTo>
                    <a:pt x="55" y="1017"/>
                  </a:lnTo>
                  <a:lnTo>
                    <a:pt x="49" y="1017"/>
                  </a:lnTo>
                  <a:lnTo>
                    <a:pt x="49" y="1011"/>
                  </a:lnTo>
                  <a:lnTo>
                    <a:pt x="49" y="1004"/>
                  </a:lnTo>
                  <a:lnTo>
                    <a:pt x="49" y="1011"/>
                  </a:lnTo>
                  <a:lnTo>
                    <a:pt x="49" y="1017"/>
                  </a:lnTo>
                  <a:lnTo>
                    <a:pt x="43" y="1011"/>
                  </a:lnTo>
                  <a:lnTo>
                    <a:pt x="43" y="1017"/>
                  </a:lnTo>
                  <a:lnTo>
                    <a:pt x="43" y="1011"/>
                  </a:lnTo>
                  <a:lnTo>
                    <a:pt x="43" y="1004"/>
                  </a:lnTo>
                  <a:lnTo>
                    <a:pt x="43" y="998"/>
                  </a:lnTo>
                  <a:lnTo>
                    <a:pt x="43" y="992"/>
                  </a:lnTo>
                  <a:lnTo>
                    <a:pt x="43" y="986"/>
                  </a:lnTo>
                  <a:lnTo>
                    <a:pt x="37" y="992"/>
                  </a:lnTo>
                  <a:lnTo>
                    <a:pt x="37" y="986"/>
                  </a:lnTo>
                  <a:lnTo>
                    <a:pt x="43" y="980"/>
                  </a:lnTo>
                  <a:lnTo>
                    <a:pt x="37" y="986"/>
                  </a:lnTo>
                  <a:lnTo>
                    <a:pt x="31" y="986"/>
                  </a:lnTo>
                  <a:lnTo>
                    <a:pt x="31" y="980"/>
                  </a:lnTo>
                  <a:lnTo>
                    <a:pt x="37" y="980"/>
                  </a:lnTo>
                  <a:lnTo>
                    <a:pt x="37" y="974"/>
                  </a:lnTo>
                  <a:lnTo>
                    <a:pt x="31" y="974"/>
                  </a:lnTo>
                  <a:lnTo>
                    <a:pt x="31" y="968"/>
                  </a:lnTo>
                  <a:lnTo>
                    <a:pt x="37" y="968"/>
                  </a:lnTo>
                  <a:lnTo>
                    <a:pt x="37" y="962"/>
                  </a:lnTo>
                  <a:lnTo>
                    <a:pt x="31" y="962"/>
                  </a:lnTo>
                  <a:lnTo>
                    <a:pt x="37" y="955"/>
                  </a:lnTo>
                  <a:lnTo>
                    <a:pt x="37" y="949"/>
                  </a:lnTo>
                  <a:lnTo>
                    <a:pt x="37" y="943"/>
                  </a:lnTo>
                  <a:lnTo>
                    <a:pt x="37" y="937"/>
                  </a:lnTo>
                  <a:lnTo>
                    <a:pt x="37" y="931"/>
                  </a:lnTo>
                  <a:lnTo>
                    <a:pt x="43" y="931"/>
                  </a:lnTo>
                  <a:lnTo>
                    <a:pt x="37" y="931"/>
                  </a:lnTo>
                  <a:lnTo>
                    <a:pt x="31" y="931"/>
                  </a:lnTo>
                  <a:lnTo>
                    <a:pt x="31" y="937"/>
                  </a:lnTo>
                  <a:lnTo>
                    <a:pt x="25" y="937"/>
                  </a:lnTo>
                  <a:lnTo>
                    <a:pt x="25" y="931"/>
                  </a:lnTo>
                  <a:lnTo>
                    <a:pt x="31" y="919"/>
                  </a:lnTo>
                  <a:lnTo>
                    <a:pt x="25" y="925"/>
                  </a:lnTo>
                  <a:lnTo>
                    <a:pt x="25" y="919"/>
                  </a:lnTo>
                  <a:lnTo>
                    <a:pt x="25" y="931"/>
                  </a:lnTo>
                  <a:lnTo>
                    <a:pt x="19" y="931"/>
                  </a:lnTo>
                  <a:lnTo>
                    <a:pt x="19" y="925"/>
                  </a:lnTo>
                  <a:lnTo>
                    <a:pt x="13" y="931"/>
                  </a:lnTo>
                  <a:lnTo>
                    <a:pt x="19" y="925"/>
                  </a:lnTo>
                  <a:lnTo>
                    <a:pt x="13" y="925"/>
                  </a:lnTo>
                  <a:lnTo>
                    <a:pt x="6" y="931"/>
                  </a:lnTo>
                  <a:lnTo>
                    <a:pt x="6" y="919"/>
                  </a:lnTo>
                  <a:lnTo>
                    <a:pt x="13" y="919"/>
                  </a:lnTo>
                  <a:lnTo>
                    <a:pt x="6" y="913"/>
                  </a:lnTo>
                  <a:lnTo>
                    <a:pt x="13" y="913"/>
                  </a:lnTo>
                  <a:lnTo>
                    <a:pt x="13" y="906"/>
                  </a:lnTo>
                  <a:lnTo>
                    <a:pt x="13" y="900"/>
                  </a:lnTo>
                  <a:lnTo>
                    <a:pt x="6" y="900"/>
                  </a:lnTo>
                  <a:lnTo>
                    <a:pt x="6" y="894"/>
                  </a:lnTo>
                  <a:lnTo>
                    <a:pt x="6" y="888"/>
                  </a:lnTo>
                  <a:lnTo>
                    <a:pt x="6" y="882"/>
                  </a:lnTo>
                  <a:lnTo>
                    <a:pt x="6" y="876"/>
                  </a:lnTo>
                  <a:lnTo>
                    <a:pt x="0" y="876"/>
                  </a:lnTo>
                  <a:lnTo>
                    <a:pt x="0" y="870"/>
                  </a:lnTo>
                  <a:lnTo>
                    <a:pt x="6" y="870"/>
                  </a:lnTo>
                  <a:lnTo>
                    <a:pt x="13" y="864"/>
                  </a:lnTo>
                  <a:lnTo>
                    <a:pt x="19" y="870"/>
                  </a:lnTo>
                  <a:lnTo>
                    <a:pt x="19" y="876"/>
                  </a:lnTo>
                  <a:lnTo>
                    <a:pt x="19" y="882"/>
                  </a:lnTo>
                  <a:lnTo>
                    <a:pt x="25" y="882"/>
                  </a:lnTo>
                  <a:lnTo>
                    <a:pt x="31" y="882"/>
                  </a:lnTo>
                  <a:lnTo>
                    <a:pt x="31" y="870"/>
                  </a:lnTo>
                  <a:lnTo>
                    <a:pt x="37" y="864"/>
                  </a:lnTo>
                  <a:lnTo>
                    <a:pt x="37" y="857"/>
                  </a:lnTo>
                  <a:lnTo>
                    <a:pt x="37" y="845"/>
                  </a:lnTo>
                  <a:lnTo>
                    <a:pt x="37" y="833"/>
                  </a:lnTo>
                  <a:lnTo>
                    <a:pt x="31" y="821"/>
                  </a:lnTo>
                  <a:lnTo>
                    <a:pt x="37" y="815"/>
                  </a:lnTo>
                  <a:lnTo>
                    <a:pt x="43" y="815"/>
                  </a:lnTo>
                  <a:lnTo>
                    <a:pt x="43" y="808"/>
                  </a:lnTo>
                  <a:lnTo>
                    <a:pt x="43" y="802"/>
                  </a:lnTo>
                  <a:lnTo>
                    <a:pt x="37" y="802"/>
                  </a:lnTo>
                  <a:lnTo>
                    <a:pt x="43" y="796"/>
                  </a:lnTo>
                  <a:lnTo>
                    <a:pt x="55" y="796"/>
                  </a:lnTo>
                  <a:lnTo>
                    <a:pt x="62" y="796"/>
                  </a:lnTo>
                  <a:lnTo>
                    <a:pt x="62" y="790"/>
                  </a:lnTo>
                  <a:lnTo>
                    <a:pt x="68" y="784"/>
                  </a:lnTo>
                  <a:lnTo>
                    <a:pt x="74" y="778"/>
                  </a:lnTo>
                  <a:lnTo>
                    <a:pt x="74" y="772"/>
                  </a:lnTo>
                  <a:lnTo>
                    <a:pt x="74" y="759"/>
                  </a:lnTo>
                  <a:lnTo>
                    <a:pt x="74" y="753"/>
                  </a:lnTo>
                  <a:lnTo>
                    <a:pt x="80" y="753"/>
                  </a:lnTo>
                  <a:lnTo>
                    <a:pt x="80" y="747"/>
                  </a:lnTo>
                  <a:lnTo>
                    <a:pt x="74" y="741"/>
                  </a:lnTo>
                  <a:lnTo>
                    <a:pt x="74" y="735"/>
                  </a:lnTo>
                  <a:lnTo>
                    <a:pt x="74" y="729"/>
                  </a:lnTo>
                  <a:lnTo>
                    <a:pt x="68" y="723"/>
                  </a:lnTo>
                  <a:lnTo>
                    <a:pt x="68" y="717"/>
                  </a:lnTo>
                  <a:lnTo>
                    <a:pt x="62" y="710"/>
                  </a:lnTo>
                  <a:lnTo>
                    <a:pt x="62" y="704"/>
                  </a:lnTo>
                  <a:lnTo>
                    <a:pt x="55" y="698"/>
                  </a:lnTo>
                  <a:lnTo>
                    <a:pt x="62" y="698"/>
                  </a:lnTo>
                  <a:lnTo>
                    <a:pt x="68" y="698"/>
                  </a:lnTo>
                  <a:lnTo>
                    <a:pt x="74" y="698"/>
                  </a:lnTo>
                  <a:lnTo>
                    <a:pt x="80" y="692"/>
                  </a:lnTo>
                  <a:lnTo>
                    <a:pt x="80" y="686"/>
                  </a:lnTo>
                  <a:lnTo>
                    <a:pt x="86" y="680"/>
                  </a:lnTo>
                  <a:lnTo>
                    <a:pt x="86" y="674"/>
                  </a:lnTo>
                  <a:lnTo>
                    <a:pt x="86" y="668"/>
                  </a:lnTo>
                  <a:lnTo>
                    <a:pt x="74" y="649"/>
                  </a:lnTo>
                  <a:lnTo>
                    <a:pt x="68" y="649"/>
                  </a:lnTo>
                  <a:lnTo>
                    <a:pt x="49" y="637"/>
                  </a:lnTo>
                  <a:lnTo>
                    <a:pt x="55" y="606"/>
                  </a:lnTo>
                  <a:lnTo>
                    <a:pt x="55" y="600"/>
                  </a:lnTo>
                  <a:lnTo>
                    <a:pt x="62" y="588"/>
                  </a:lnTo>
                  <a:lnTo>
                    <a:pt x="55" y="582"/>
                  </a:lnTo>
                  <a:lnTo>
                    <a:pt x="55" y="576"/>
                  </a:lnTo>
                  <a:lnTo>
                    <a:pt x="49" y="570"/>
                  </a:lnTo>
                  <a:lnTo>
                    <a:pt x="49" y="557"/>
                  </a:lnTo>
                  <a:lnTo>
                    <a:pt x="49" y="545"/>
                  </a:lnTo>
                  <a:lnTo>
                    <a:pt x="49" y="533"/>
                  </a:lnTo>
                  <a:lnTo>
                    <a:pt x="55" y="527"/>
                  </a:lnTo>
                  <a:lnTo>
                    <a:pt x="55" y="521"/>
                  </a:lnTo>
                  <a:lnTo>
                    <a:pt x="49" y="508"/>
                  </a:lnTo>
                  <a:lnTo>
                    <a:pt x="43" y="502"/>
                  </a:lnTo>
                  <a:lnTo>
                    <a:pt x="49" y="496"/>
                  </a:lnTo>
                  <a:lnTo>
                    <a:pt x="55" y="484"/>
                  </a:lnTo>
                  <a:lnTo>
                    <a:pt x="49" y="478"/>
                  </a:lnTo>
                  <a:lnTo>
                    <a:pt x="55" y="472"/>
                  </a:lnTo>
                  <a:lnTo>
                    <a:pt x="62" y="465"/>
                  </a:lnTo>
                  <a:lnTo>
                    <a:pt x="68" y="453"/>
                  </a:lnTo>
                  <a:lnTo>
                    <a:pt x="80" y="441"/>
                  </a:lnTo>
                  <a:lnTo>
                    <a:pt x="92" y="435"/>
                  </a:lnTo>
                  <a:lnTo>
                    <a:pt x="104" y="429"/>
                  </a:lnTo>
                  <a:lnTo>
                    <a:pt x="141" y="435"/>
                  </a:lnTo>
                  <a:lnTo>
                    <a:pt x="153" y="423"/>
                  </a:lnTo>
                  <a:lnTo>
                    <a:pt x="147" y="398"/>
                  </a:lnTo>
                  <a:lnTo>
                    <a:pt x="129" y="386"/>
                  </a:lnTo>
                  <a:lnTo>
                    <a:pt x="160" y="343"/>
                  </a:lnTo>
                  <a:lnTo>
                    <a:pt x="160" y="331"/>
                  </a:lnTo>
                  <a:lnTo>
                    <a:pt x="166" y="325"/>
                  </a:lnTo>
                  <a:lnTo>
                    <a:pt x="166" y="288"/>
                  </a:lnTo>
                  <a:lnTo>
                    <a:pt x="172" y="282"/>
                  </a:lnTo>
                  <a:lnTo>
                    <a:pt x="166" y="251"/>
                  </a:lnTo>
                  <a:lnTo>
                    <a:pt x="190" y="251"/>
                  </a:lnTo>
                  <a:lnTo>
                    <a:pt x="215" y="239"/>
                  </a:lnTo>
                  <a:lnTo>
                    <a:pt x="215" y="233"/>
                  </a:lnTo>
                  <a:lnTo>
                    <a:pt x="209" y="220"/>
                  </a:lnTo>
                  <a:lnTo>
                    <a:pt x="227" y="214"/>
                  </a:lnTo>
                  <a:lnTo>
                    <a:pt x="239" y="184"/>
                  </a:lnTo>
                  <a:lnTo>
                    <a:pt x="251" y="178"/>
                  </a:lnTo>
                  <a:lnTo>
                    <a:pt x="258" y="171"/>
                  </a:lnTo>
                  <a:lnTo>
                    <a:pt x="258" y="159"/>
                  </a:lnTo>
                  <a:lnTo>
                    <a:pt x="251" y="153"/>
                  </a:lnTo>
                  <a:lnTo>
                    <a:pt x="245" y="141"/>
                  </a:lnTo>
                  <a:lnTo>
                    <a:pt x="245" y="135"/>
                  </a:lnTo>
                  <a:lnTo>
                    <a:pt x="264" y="135"/>
                  </a:lnTo>
                  <a:lnTo>
                    <a:pt x="270" y="122"/>
                  </a:lnTo>
                  <a:lnTo>
                    <a:pt x="276" y="104"/>
                  </a:lnTo>
                  <a:lnTo>
                    <a:pt x="276" y="98"/>
                  </a:lnTo>
                  <a:lnTo>
                    <a:pt x="301" y="86"/>
                  </a:lnTo>
                  <a:lnTo>
                    <a:pt x="325" y="92"/>
                  </a:lnTo>
                  <a:lnTo>
                    <a:pt x="331" y="98"/>
                  </a:lnTo>
                  <a:lnTo>
                    <a:pt x="343" y="73"/>
                  </a:lnTo>
                  <a:lnTo>
                    <a:pt x="343" y="55"/>
                  </a:lnTo>
                  <a:lnTo>
                    <a:pt x="343" y="49"/>
                  </a:lnTo>
                  <a:lnTo>
                    <a:pt x="356" y="43"/>
                  </a:lnTo>
                  <a:lnTo>
                    <a:pt x="362" y="43"/>
                  </a:lnTo>
                  <a:lnTo>
                    <a:pt x="368" y="49"/>
                  </a:lnTo>
                  <a:lnTo>
                    <a:pt x="386" y="49"/>
                  </a:lnTo>
                  <a:lnTo>
                    <a:pt x="435" y="61"/>
                  </a:lnTo>
                  <a:lnTo>
                    <a:pt x="448" y="49"/>
                  </a:lnTo>
                  <a:lnTo>
                    <a:pt x="435" y="49"/>
                  </a:lnTo>
                  <a:lnTo>
                    <a:pt x="435" y="43"/>
                  </a:lnTo>
                  <a:lnTo>
                    <a:pt x="448" y="37"/>
                  </a:lnTo>
                  <a:lnTo>
                    <a:pt x="454" y="24"/>
                  </a:lnTo>
                  <a:lnTo>
                    <a:pt x="454" y="12"/>
                  </a:lnTo>
                  <a:lnTo>
                    <a:pt x="441" y="0"/>
                  </a:lnTo>
                  <a:lnTo>
                    <a:pt x="466" y="0"/>
                  </a:lnTo>
                  <a:lnTo>
                    <a:pt x="472" y="0"/>
                  </a:lnTo>
                  <a:lnTo>
                    <a:pt x="478" y="6"/>
                  </a:lnTo>
                  <a:lnTo>
                    <a:pt x="478" y="12"/>
                  </a:lnTo>
                  <a:lnTo>
                    <a:pt x="490" y="18"/>
                  </a:lnTo>
                  <a:lnTo>
                    <a:pt x="497" y="24"/>
                  </a:lnTo>
                  <a:lnTo>
                    <a:pt x="503" y="31"/>
                  </a:lnTo>
                  <a:lnTo>
                    <a:pt x="503" y="37"/>
                  </a:lnTo>
                  <a:lnTo>
                    <a:pt x="509" y="37"/>
                  </a:lnTo>
                  <a:lnTo>
                    <a:pt x="515" y="37"/>
                  </a:lnTo>
                  <a:lnTo>
                    <a:pt x="521" y="43"/>
                  </a:lnTo>
                  <a:lnTo>
                    <a:pt x="527" y="43"/>
                  </a:lnTo>
                  <a:lnTo>
                    <a:pt x="533" y="43"/>
                  </a:lnTo>
                  <a:lnTo>
                    <a:pt x="533" y="49"/>
                  </a:lnTo>
                  <a:lnTo>
                    <a:pt x="539" y="55"/>
                  </a:lnTo>
                  <a:lnTo>
                    <a:pt x="546" y="49"/>
                  </a:lnTo>
                  <a:lnTo>
                    <a:pt x="552" y="55"/>
                  </a:lnTo>
                  <a:lnTo>
                    <a:pt x="564" y="55"/>
                  </a:lnTo>
                  <a:lnTo>
                    <a:pt x="570" y="55"/>
                  </a:lnTo>
                  <a:lnTo>
                    <a:pt x="576" y="61"/>
                  </a:lnTo>
                  <a:lnTo>
                    <a:pt x="582" y="67"/>
                  </a:lnTo>
                  <a:lnTo>
                    <a:pt x="588" y="67"/>
                  </a:lnTo>
                  <a:lnTo>
                    <a:pt x="588" y="73"/>
                  </a:lnTo>
                  <a:lnTo>
                    <a:pt x="588" y="80"/>
                  </a:lnTo>
                  <a:lnTo>
                    <a:pt x="595" y="80"/>
                  </a:lnTo>
                  <a:lnTo>
                    <a:pt x="601" y="86"/>
                  </a:lnTo>
                  <a:lnTo>
                    <a:pt x="601" y="92"/>
                  </a:lnTo>
                  <a:lnTo>
                    <a:pt x="607" y="92"/>
                  </a:lnTo>
                  <a:lnTo>
                    <a:pt x="613" y="92"/>
                  </a:lnTo>
                  <a:lnTo>
                    <a:pt x="613" y="98"/>
                  </a:lnTo>
                  <a:lnTo>
                    <a:pt x="613" y="104"/>
                  </a:lnTo>
                  <a:lnTo>
                    <a:pt x="607" y="104"/>
                  </a:lnTo>
                  <a:lnTo>
                    <a:pt x="607" y="116"/>
                  </a:lnTo>
                  <a:lnTo>
                    <a:pt x="607" y="122"/>
                  </a:lnTo>
                  <a:lnTo>
                    <a:pt x="613" y="122"/>
                  </a:lnTo>
                  <a:lnTo>
                    <a:pt x="613" y="129"/>
                  </a:lnTo>
                  <a:lnTo>
                    <a:pt x="607" y="129"/>
                  </a:lnTo>
                  <a:lnTo>
                    <a:pt x="607" y="135"/>
                  </a:lnTo>
                  <a:lnTo>
                    <a:pt x="601" y="135"/>
                  </a:lnTo>
                  <a:lnTo>
                    <a:pt x="601" y="141"/>
                  </a:lnTo>
                  <a:lnTo>
                    <a:pt x="607" y="141"/>
                  </a:lnTo>
                  <a:lnTo>
                    <a:pt x="613" y="141"/>
                  </a:lnTo>
                  <a:lnTo>
                    <a:pt x="619" y="141"/>
                  </a:lnTo>
                  <a:lnTo>
                    <a:pt x="619" y="147"/>
                  </a:lnTo>
                  <a:lnTo>
                    <a:pt x="619" y="153"/>
                  </a:lnTo>
                  <a:lnTo>
                    <a:pt x="613" y="153"/>
                  </a:lnTo>
                  <a:lnTo>
                    <a:pt x="613" y="159"/>
                  </a:lnTo>
                  <a:lnTo>
                    <a:pt x="613" y="165"/>
                  </a:lnTo>
                  <a:lnTo>
                    <a:pt x="619" y="171"/>
                  </a:lnTo>
                  <a:lnTo>
                    <a:pt x="619" y="178"/>
                  </a:lnTo>
                  <a:lnTo>
                    <a:pt x="625" y="184"/>
                  </a:lnTo>
                  <a:lnTo>
                    <a:pt x="631" y="190"/>
                  </a:lnTo>
                  <a:lnTo>
                    <a:pt x="631" y="196"/>
                  </a:lnTo>
                  <a:lnTo>
                    <a:pt x="625" y="202"/>
                  </a:lnTo>
                  <a:lnTo>
                    <a:pt x="625" y="208"/>
                  </a:lnTo>
                  <a:lnTo>
                    <a:pt x="625" y="214"/>
                  </a:lnTo>
                  <a:lnTo>
                    <a:pt x="625" y="220"/>
                  </a:lnTo>
                  <a:lnTo>
                    <a:pt x="619" y="220"/>
                  </a:lnTo>
                  <a:lnTo>
                    <a:pt x="613" y="227"/>
                  </a:lnTo>
                  <a:lnTo>
                    <a:pt x="619" y="233"/>
                  </a:lnTo>
                  <a:lnTo>
                    <a:pt x="613" y="239"/>
                  </a:lnTo>
                  <a:lnTo>
                    <a:pt x="619" y="245"/>
                  </a:lnTo>
                  <a:lnTo>
                    <a:pt x="625" y="251"/>
                  </a:lnTo>
                  <a:lnTo>
                    <a:pt x="631" y="257"/>
                  </a:lnTo>
                  <a:lnTo>
                    <a:pt x="631" y="263"/>
                  </a:lnTo>
                  <a:lnTo>
                    <a:pt x="638" y="263"/>
                  </a:lnTo>
                  <a:lnTo>
                    <a:pt x="638" y="269"/>
                  </a:lnTo>
                  <a:lnTo>
                    <a:pt x="638" y="276"/>
                  </a:lnTo>
                  <a:lnTo>
                    <a:pt x="644" y="276"/>
                  </a:lnTo>
                  <a:lnTo>
                    <a:pt x="638" y="282"/>
                  </a:lnTo>
                  <a:lnTo>
                    <a:pt x="631" y="282"/>
                  </a:lnTo>
                  <a:lnTo>
                    <a:pt x="631" y="288"/>
                  </a:lnTo>
                  <a:lnTo>
                    <a:pt x="625" y="288"/>
                  </a:lnTo>
                  <a:lnTo>
                    <a:pt x="625" y="282"/>
                  </a:lnTo>
                  <a:lnTo>
                    <a:pt x="625" y="288"/>
                  </a:lnTo>
                  <a:lnTo>
                    <a:pt x="619" y="288"/>
                  </a:lnTo>
                  <a:lnTo>
                    <a:pt x="619" y="282"/>
                  </a:lnTo>
                  <a:lnTo>
                    <a:pt x="613" y="282"/>
                  </a:lnTo>
                  <a:lnTo>
                    <a:pt x="607" y="282"/>
                  </a:lnTo>
                  <a:lnTo>
                    <a:pt x="601" y="282"/>
                  </a:lnTo>
                  <a:lnTo>
                    <a:pt x="601" y="288"/>
                  </a:lnTo>
                  <a:lnTo>
                    <a:pt x="601" y="282"/>
                  </a:lnTo>
                  <a:lnTo>
                    <a:pt x="595" y="282"/>
                  </a:lnTo>
                  <a:lnTo>
                    <a:pt x="588" y="282"/>
                  </a:lnTo>
                  <a:lnTo>
                    <a:pt x="595" y="288"/>
                  </a:lnTo>
                  <a:lnTo>
                    <a:pt x="588" y="288"/>
                  </a:lnTo>
                  <a:lnTo>
                    <a:pt x="582" y="288"/>
                  </a:lnTo>
                  <a:lnTo>
                    <a:pt x="582" y="282"/>
                  </a:lnTo>
                  <a:lnTo>
                    <a:pt x="576" y="282"/>
                  </a:lnTo>
                  <a:lnTo>
                    <a:pt x="570" y="282"/>
                  </a:lnTo>
                  <a:lnTo>
                    <a:pt x="570" y="276"/>
                  </a:lnTo>
                  <a:lnTo>
                    <a:pt x="564" y="276"/>
                  </a:lnTo>
                  <a:lnTo>
                    <a:pt x="570" y="276"/>
                  </a:lnTo>
                  <a:lnTo>
                    <a:pt x="570" y="282"/>
                  </a:lnTo>
                  <a:lnTo>
                    <a:pt x="570" y="288"/>
                  </a:lnTo>
                  <a:lnTo>
                    <a:pt x="564" y="288"/>
                  </a:lnTo>
                  <a:lnTo>
                    <a:pt x="564" y="282"/>
                  </a:lnTo>
                  <a:lnTo>
                    <a:pt x="558" y="288"/>
                  </a:lnTo>
                  <a:lnTo>
                    <a:pt x="558" y="282"/>
                  </a:lnTo>
                  <a:lnTo>
                    <a:pt x="558" y="276"/>
                  </a:lnTo>
                  <a:lnTo>
                    <a:pt x="552" y="282"/>
                  </a:lnTo>
                  <a:lnTo>
                    <a:pt x="552" y="288"/>
                  </a:lnTo>
                  <a:lnTo>
                    <a:pt x="552" y="294"/>
                  </a:lnTo>
                  <a:lnTo>
                    <a:pt x="546" y="294"/>
                  </a:lnTo>
                  <a:lnTo>
                    <a:pt x="546" y="300"/>
                  </a:lnTo>
                  <a:lnTo>
                    <a:pt x="546" y="294"/>
                  </a:lnTo>
                  <a:lnTo>
                    <a:pt x="552" y="294"/>
                  </a:lnTo>
                  <a:lnTo>
                    <a:pt x="552" y="300"/>
                  </a:lnTo>
                  <a:lnTo>
                    <a:pt x="552" y="306"/>
                  </a:lnTo>
                  <a:lnTo>
                    <a:pt x="552" y="312"/>
                  </a:lnTo>
                  <a:lnTo>
                    <a:pt x="546" y="306"/>
                  </a:lnTo>
                  <a:lnTo>
                    <a:pt x="546" y="312"/>
                  </a:lnTo>
                  <a:lnTo>
                    <a:pt x="539" y="306"/>
                  </a:lnTo>
                  <a:lnTo>
                    <a:pt x="539" y="312"/>
                  </a:lnTo>
                  <a:lnTo>
                    <a:pt x="539" y="306"/>
                  </a:lnTo>
                  <a:lnTo>
                    <a:pt x="533" y="306"/>
                  </a:lnTo>
                  <a:lnTo>
                    <a:pt x="527" y="306"/>
                  </a:lnTo>
                  <a:lnTo>
                    <a:pt x="527" y="312"/>
                  </a:lnTo>
                  <a:lnTo>
                    <a:pt x="533" y="306"/>
                  </a:lnTo>
                  <a:lnTo>
                    <a:pt x="533" y="312"/>
                  </a:lnTo>
                  <a:lnTo>
                    <a:pt x="533" y="318"/>
                  </a:lnTo>
                  <a:lnTo>
                    <a:pt x="527" y="312"/>
                  </a:lnTo>
                  <a:lnTo>
                    <a:pt x="527" y="318"/>
                  </a:lnTo>
                  <a:lnTo>
                    <a:pt x="521" y="318"/>
                  </a:lnTo>
                  <a:lnTo>
                    <a:pt x="515" y="318"/>
                  </a:lnTo>
                  <a:lnTo>
                    <a:pt x="521" y="325"/>
                  </a:lnTo>
                  <a:lnTo>
                    <a:pt x="515" y="325"/>
                  </a:lnTo>
                  <a:lnTo>
                    <a:pt x="515" y="318"/>
                  </a:lnTo>
                  <a:lnTo>
                    <a:pt x="509" y="325"/>
                  </a:lnTo>
                  <a:lnTo>
                    <a:pt x="515" y="325"/>
                  </a:lnTo>
                  <a:lnTo>
                    <a:pt x="521" y="325"/>
                  </a:lnTo>
                  <a:lnTo>
                    <a:pt x="515" y="331"/>
                  </a:lnTo>
                  <a:lnTo>
                    <a:pt x="521" y="331"/>
                  </a:lnTo>
                  <a:lnTo>
                    <a:pt x="521" y="337"/>
                  </a:lnTo>
                  <a:lnTo>
                    <a:pt x="515" y="331"/>
                  </a:lnTo>
                  <a:lnTo>
                    <a:pt x="509" y="331"/>
                  </a:lnTo>
                  <a:lnTo>
                    <a:pt x="515" y="337"/>
                  </a:lnTo>
                  <a:lnTo>
                    <a:pt x="515" y="343"/>
                  </a:lnTo>
                  <a:lnTo>
                    <a:pt x="509" y="343"/>
                  </a:lnTo>
                  <a:lnTo>
                    <a:pt x="509" y="349"/>
                  </a:lnTo>
                  <a:lnTo>
                    <a:pt x="509" y="355"/>
                  </a:lnTo>
                  <a:lnTo>
                    <a:pt x="503" y="355"/>
                  </a:lnTo>
                  <a:lnTo>
                    <a:pt x="497" y="361"/>
                  </a:lnTo>
                  <a:lnTo>
                    <a:pt x="497" y="367"/>
                  </a:lnTo>
                  <a:lnTo>
                    <a:pt x="490" y="367"/>
                  </a:lnTo>
                  <a:lnTo>
                    <a:pt x="484" y="367"/>
                  </a:lnTo>
                  <a:lnTo>
                    <a:pt x="490" y="374"/>
                  </a:lnTo>
                  <a:lnTo>
                    <a:pt x="497" y="374"/>
                  </a:lnTo>
                  <a:lnTo>
                    <a:pt x="497" y="380"/>
                  </a:lnTo>
                  <a:lnTo>
                    <a:pt x="503" y="380"/>
                  </a:lnTo>
                  <a:lnTo>
                    <a:pt x="497" y="386"/>
                  </a:lnTo>
                  <a:lnTo>
                    <a:pt x="497" y="380"/>
                  </a:lnTo>
                  <a:lnTo>
                    <a:pt x="497" y="386"/>
                  </a:lnTo>
                  <a:lnTo>
                    <a:pt x="503" y="392"/>
                  </a:lnTo>
                  <a:lnTo>
                    <a:pt x="503" y="386"/>
                  </a:lnTo>
                  <a:lnTo>
                    <a:pt x="503" y="392"/>
                  </a:lnTo>
                  <a:lnTo>
                    <a:pt x="509" y="392"/>
                  </a:lnTo>
                  <a:lnTo>
                    <a:pt x="509" y="398"/>
                  </a:lnTo>
                  <a:lnTo>
                    <a:pt x="503" y="398"/>
                  </a:lnTo>
                  <a:lnTo>
                    <a:pt x="509" y="398"/>
                  </a:lnTo>
                  <a:lnTo>
                    <a:pt x="515" y="398"/>
                  </a:lnTo>
                  <a:lnTo>
                    <a:pt x="515" y="404"/>
                  </a:lnTo>
                  <a:lnTo>
                    <a:pt x="509" y="404"/>
                  </a:lnTo>
                  <a:lnTo>
                    <a:pt x="509" y="410"/>
                  </a:lnTo>
                  <a:lnTo>
                    <a:pt x="503" y="410"/>
                  </a:lnTo>
                  <a:lnTo>
                    <a:pt x="503" y="416"/>
                  </a:lnTo>
                  <a:lnTo>
                    <a:pt x="497" y="416"/>
                  </a:lnTo>
                  <a:lnTo>
                    <a:pt x="490" y="416"/>
                  </a:lnTo>
                  <a:lnTo>
                    <a:pt x="490" y="423"/>
                  </a:lnTo>
                  <a:lnTo>
                    <a:pt x="484" y="429"/>
                  </a:lnTo>
                  <a:lnTo>
                    <a:pt x="484" y="435"/>
                  </a:lnTo>
                  <a:lnTo>
                    <a:pt x="478" y="435"/>
                  </a:lnTo>
                  <a:lnTo>
                    <a:pt x="478" y="441"/>
                  </a:lnTo>
                  <a:lnTo>
                    <a:pt x="478" y="447"/>
                  </a:lnTo>
                  <a:lnTo>
                    <a:pt x="472" y="447"/>
                  </a:lnTo>
                  <a:lnTo>
                    <a:pt x="472" y="453"/>
                  </a:lnTo>
                  <a:lnTo>
                    <a:pt x="466" y="459"/>
                  </a:lnTo>
                  <a:lnTo>
                    <a:pt x="466" y="465"/>
                  </a:lnTo>
                  <a:lnTo>
                    <a:pt x="454" y="465"/>
                  </a:lnTo>
                  <a:lnTo>
                    <a:pt x="448" y="472"/>
                  </a:lnTo>
                  <a:lnTo>
                    <a:pt x="441" y="472"/>
                  </a:lnTo>
                  <a:lnTo>
                    <a:pt x="441" y="465"/>
                  </a:lnTo>
                  <a:lnTo>
                    <a:pt x="435" y="472"/>
                  </a:lnTo>
                  <a:lnTo>
                    <a:pt x="429" y="478"/>
                  </a:lnTo>
                  <a:lnTo>
                    <a:pt x="423" y="484"/>
                  </a:lnTo>
                  <a:lnTo>
                    <a:pt x="423" y="490"/>
                  </a:lnTo>
                  <a:lnTo>
                    <a:pt x="417" y="484"/>
                  </a:lnTo>
                  <a:lnTo>
                    <a:pt x="417" y="478"/>
                  </a:lnTo>
                  <a:lnTo>
                    <a:pt x="411" y="478"/>
                  </a:lnTo>
                  <a:lnTo>
                    <a:pt x="411" y="484"/>
                  </a:lnTo>
                  <a:lnTo>
                    <a:pt x="411" y="490"/>
                  </a:lnTo>
                  <a:lnTo>
                    <a:pt x="405" y="484"/>
                  </a:lnTo>
                  <a:lnTo>
                    <a:pt x="405" y="490"/>
                  </a:lnTo>
                  <a:lnTo>
                    <a:pt x="405" y="484"/>
                  </a:lnTo>
                  <a:lnTo>
                    <a:pt x="399" y="490"/>
                  </a:lnTo>
                  <a:lnTo>
                    <a:pt x="399" y="496"/>
                  </a:lnTo>
                  <a:lnTo>
                    <a:pt x="392" y="496"/>
                  </a:lnTo>
                  <a:lnTo>
                    <a:pt x="392" y="502"/>
                  </a:lnTo>
                  <a:lnTo>
                    <a:pt x="386" y="502"/>
                  </a:lnTo>
                  <a:lnTo>
                    <a:pt x="392" y="508"/>
                  </a:lnTo>
                  <a:lnTo>
                    <a:pt x="386" y="508"/>
                  </a:lnTo>
                  <a:lnTo>
                    <a:pt x="380" y="508"/>
                  </a:lnTo>
                  <a:lnTo>
                    <a:pt x="374" y="508"/>
                  </a:lnTo>
                  <a:lnTo>
                    <a:pt x="374" y="502"/>
                  </a:lnTo>
                  <a:lnTo>
                    <a:pt x="374" y="508"/>
                  </a:lnTo>
                  <a:lnTo>
                    <a:pt x="374" y="514"/>
                  </a:lnTo>
                  <a:lnTo>
                    <a:pt x="368" y="508"/>
                  </a:lnTo>
                  <a:lnTo>
                    <a:pt x="368" y="514"/>
                  </a:lnTo>
                  <a:lnTo>
                    <a:pt x="362" y="514"/>
                  </a:lnTo>
                  <a:lnTo>
                    <a:pt x="362" y="521"/>
                  </a:lnTo>
                  <a:lnTo>
                    <a:pt x="362" y="527"/>
                  </a:lnTo>
                  <a:lnTo>
                    <a:pt x="362" y="521"/>
                  </a:lnTo>
                  <a:lnTo>
                    <a:pt x="356" y="521"/>
                  </a:lnTo>
                  <a:lnTo>
                    <a:pt x="362" y="527"/>
                  </a:lnTo>
                  <a:lnTo>
                    <a:pt x="356" y="527"/>
                  </a:lnTo>
                  <a:lnTo>
                    <a:pt x="356" y="521"/>
                  </a:lnTo>
                  <a:lnTo>
                    <a:pt x="356" y="527"/>
                  </a:lnTo>
                  <a:lnTo>
                    <a:pt x="350" y="527"/>
                  </a:lnTo>
                  <a:lnTo>
                    <a:pt x="356" y="527"/>
                  </a:lnTo>
                  <a:lnTo>
                    <a:pt x="362" y="527"/>
                  </a:lnTo>
                  <a:lnTo>
                    <a:pt x="368" y="527"/>
                  </a:lnTo>
                  <a:lnTo>
                    <a:pt x="368" y="533"/>
                  </a:lnTo>
                  <a:lnTo>
                    <a:pt x="362" y="533"/>
                  </a:lnTo>
                  <a:lnTo>
                    <a:pt x="362" y="539"/>
                  </a:lnTo>
                  <a:lnTo>
                    <a:pt x="356" y="539"/>
                  </a:lnTo>
                  <a:lnTo>
                    <a:pt x="356" y="545"/>
                  </a:lnTo>
                  <a:lnTo>
                    <a:pt x="350" y="545"/>
                  </a:lnTo>
                  <a:lnTo>
                    <a:pt x="350" y="551"/>
                  </a:lnTo>
                  <a:lnTo>
                    <a:pt x="343" y="551"/>
                  </a:lnTo>
                  <a:lnTo>
                    <a:pt x="343" y="557"/>
                  </a:lnTo>
                  <a:lnTo>
                    <a:pt x="343" y="563"/>
                  </a:lnTo>
                  <a:lnTo>
                    <a:pt x="337" y="563"/>
                  </a:lnTo>
                  <a:lnTo>
                    <a:pt x="337" y="570"/>
                  </a:lnTo>
                  <a:lnTo>
                    <a:pt x="331" y="570"/>
                  </a:lnTo>
                  <a:lnTo>
                    <a:pt x="325" y="570"/>
                  </a:lnTo>
                  <a:lnTo>
                    <a:pt x="325" y="576"/>
                  </a:lnTo>
                  <a:lnTo>
                    <a:pt x="319" y="576"/>
                  </a:lnTo>
                  <a:lnTo>
                    <a:pt x="313" y="570"/>
                  </a:lnTo>
                  <a:lnTo>
                    <a:pt x="313" y="563"/>
                  </a:lnTo>
                  <a:lnTo>
                    <a:pt x="307" y="570"/>
                  </a:lnTo>
                  <a:lnTo>
                    <a:pt x="313" y="570"/>
                  </a:lnTo>
                  <a:lnTo>
                    <a:pt x="307" y="570"/>
                  </a:lnTo>
                  <a:lnTo>
                    <a:pt x="313" y="570"/>
                  </a:lnTo>
                  <a:lnTo>
                    <a:pt x="313" y="576"/>
                  </a:lnTo>
                  <a:lnTo>
                    <a:pt x="319" y="582"/>
                  </a:lnTo>
                  <a:lnTo>
                    <a:pt x="313" y="582"/>
                  </a:lnTo>
                  <a:lnTo>
                    <a:pt x="307" y="582"/>
                  </a:lnTo>
                  <a:lnTo>
                    <a:pt x="307" y="588"/>
                  </a:lnTo>
                  <a:lnTo>
                    <a:pt x="313" y="588"/>
                  </a:lnTo>
                  <a:lnTo>
                    <a:pt x="313" y="594"/>
                  </a:lnTo>
                  <a:lnTo>
                    <a:pt x="319" y="594"/>
                  </a:lnTo>
                  <a:lnTo>
                    <a:pt x="325" y="594"/>
                  </a:lnTo>
                  <a:lnTo>
                    <a:pt x="319" y="594"/>
                  </a:lnTo>
                  <a:lnTo>
                    <a:pt x="313" y="594"/>
                  </a:lnTo>
                  <a:lnTo>
                    <a:pt x="319" y="600"/>
                  </a:lnTo>
                  <a:lnTo>
                    <a:pt x="313" y="600"/>
                  </a:lnTo>
                  <a:lnTo>
                    <a:pt x="86" y="870"/>
                  </a:lnTo>
                  <a:lnTo>
                    <a:pt x="80" y="876"/>
                  </a:lnTo>
                  <a:lnTo>
                    <a:pt x="74" y="882"/>
                  </a:lnTo>
                  <a:lnTo>
                    <a:pt x="80" y="882"/>
                  </a:lnTo>
                  <a:lnTo>
                    <a:pt x="74" y="888"/>
                  </a:lnTo>
                  <a:lnTo>
                    <a:pt x="68" y="894"/>
                  </a:lnTo>
                  <a:lnTo>
                    <a:pt x="74" y="900"/>
                  </a:lnTo>
                  <a:lnTo>
                    <a:pt x="80" y="900"/>
                  </a:lnTo>
                  <a:lnTo>
                    <a:pt x="80" y="906"/>
                  </a:lnTo>
                  <a:lnTo>
                    <a:pt x="74" y="906"/>
                  </a:lnTo>
                  <a:lnTo>
                    <a:pt x="74" y="913"/>
                  </a:lnTo>
                  <a:lnTo>
                    <a:pt x="68" y="919"/>
                  </a:lnTo>
                  <a:lnTo>
                    <a:pt x="62" y="919"/>
                  </a:lnTo>
                  <a:lnTo>
                    <a:pt x="62" y="925"/>
                  </a:lnTo>
                  <a:lnTo>
                    <a:pt x="68" y="925"/>
                  </a:lnTo>
                  <a:lnTo>
                    <a:pt x="74" y="919"/>
                  </a:lnTo>
                  <a:lnTo>
                    <a:pt x="74" y="925"/>
                  </a:lnTo>
                  <a:lnTo>
                    <a:pt x="80" y="925"/>
                  </a:lnTo>
                  <a:lnTo>
                    <a:pt x="80" y="919"/>
                  </a:lnTo>
                  <a:lnTo>
                    <a:pt x="86" y="919"/>
                  </a:lnTo>
                  <a:lnTo>
                    <a:pt x="92" y="913"/>
                  </a:lnTo>
                  <a:lnTo>
                    <a:pt x="92" y="906"/>
                  </a:lnTo>
                  <a:lnTo>
                    <a:pt x="98" y="906"/>
                  </a:lnTo>
                  <a:lnTo>
                    <a:pt x="104" y="906"/>
                  </a:lnTo>
                  <a:lnTo>
                    <a:pt x="98" y="913"/>
                  </a:lnTo>
                  <a:lnTo>
                    <a:pt x="104" y="919"/>
                  </a:lnTo>
                  <a:lnTo>
                    <a:pt x="111" y="906"/>
                  </a:lnTo>
                  <a:lnTo>
                    <a:pt x="117" y="906"/>
                  </a:lnTo>
                  <a:lnTo>
                    <a:pt x="117" y="900"/>
                  </a:lnTo>
                  <a:lnTo>
                    <a:pt x="123" y="900"/>
                  </a:lnTo>
                  <a:lnTo>
                    <a:pt x="129" y="900"/>
                  </a:lnTo>
                  <a:lnTo>
                    <a:pt x="129" y="894"/>
                  </a:lnTo>
                  <a:lnTo>
                    <a:pt x="129" y="900"/>
                  </a:lnTo>
                  <a:lnTo>
                    <a:pt x="135" y="894"/>
                  </a:lnTo>
                  <a:lnTo>
                    <a:pt x="141" y="894"/>
                  </a:lnTo>
                  <a:lnTo>
                    <a:pt x="135" y="888"/>
                  </a:lnTo>
                  <a:lnTo>
                    <a:pt x="141" y="888"/>
                  </a:lnTo>
                  <a:lnTo>
                    <a:pt x="141" y="882"/>
                  </a:lnTo>
                  <a:lnTo>
                    <a:pt x="147" y="876"/>
                  </a:lnTo>
                  <a:lnTo>
                    <a:pt x="141" y="870"/>
                  </a:lnTo>
                  <a:lnTo>
                    <a:pt x="147" y="870"/>
                  </a:lnTo>
                  <a:lnTo>
                    <a:pt x="147" y="864"/>
                  </a:lnTo>
                  <a:lnTo>
                    <a:pt x="141" y="870"/>
                  </a:lnTo>
                  <a:lnTo>
                    <a:pt x="141" y="864"/>
                  </a:lnTo>
                  <a:lnTo>
                    <a:pt x="141" y="857"/>
                  </a:lnTo>
                  <a:lnTo>
                    <a:pt x="147" y="857"/>
                  </a:lnTo>
                  <a:lnTo>
                    <a:pt x="147" y="851"/>
                  </a:lnTo>
                  <a:lnTo>
                    <a:pt x="147" y="845"/>
                  </a:lnTo>
                  <a:lnTo>
                    <a:pt x="141" y="845"/>
                  </a:lnTo>
                  <a:lnTo>
                    <a:pt x="141" y="839"/>
                  </a:lnTo>
                  <a:lnTo>
                    <a:pt x="141" y="845"/>
                  </a:lnTo>
                  <a:lnTo>
                    <a:pt x="135" y="845"/>
                  </a:lnTo>
                  <a:lnTo>
                    <a:pt x="135" y="839"/>
                  </a:lnTo>
                  <a:lnTo>
                    <a:pt x="135" y="845"/>
                  </a:lnTo>
                  <a:lnTo>
                    <a:pt x="129" y="845"/>
                  </a:lnTo>
                  <a:lnTo>
                    <a:pt x="129" y="839"/>
                  </a:lnTo>
                  <a:lnTo>
                    <a:pt x="135" y="839"/>
                  </a:lnTo>
                  <a:lnTo>
                    <a:pt x="129" y="839"/>
                  </a:lnTo>
                  <a:lnTo>
                    <a:pt x="123" y="839"/>
                  </a:lnTo>
                  <a:lnTo>
                    <a:pt x="123" y="845"/>
                  </a:lnTo>
                  <a:lnTo>
                    <a:pt x="123" y="851"/>
                  </a:lnTo>
                  <a:lnTo>
                    <a:pt x="117" y="851"/>
                  </a:lnTo>
                  <a:lnTo>
                    <a:pt x="117" y="845"/>
                  </a:lnTo>
                  <a:lnTo>
                    <a:pt x="117" y="839"/>
                  </a:lnTo>
                  <a:lnTo>
                    <a:pt x="111" y="839"/>
                  </a:lnTo>
                  <a:lnTo>
                    <a:pt x="104" y="845"/>
                  </a:lnTo>
                  <a:lnTo>
                    <a:pt x="111" y="845"/>
                  </a:lnTo>
                  <a:lnTo>
                    <a:pt x="104" y="845"/>
                  </a:lnTo>
                  <a:lnTo>
                    <a:pt x="104" y="851"/>
                  </a:lnTo>
                  <a:lnTo>
                    <a:pt x="104" y="845"/>
                  </a:lnTo>
                  <a:lnTo>
                    <a:pt x="98" y="845"/>
                  </a:lnTo>
                  <a:lnTo>
                    <a:pt x="104" y="845"/>
                  </a:lnTo>
                  <a:lnTo>
                    <a:pt x="104" y="851"/>
                  </a:lnTo>
                  <a:lnTo>
                    <a:pt x="98" y="851"/>
                  </a:lnTo>
                  <a:lnTo>
                    <a:pt x="104" y="851"/>
                  </a:lnTo>
                  <a:lnTo>
                    <a:pt x="98" y="857"/>
                  </a:lnTo>
                  <a:lnTo>
                    <a:pt x="104" y="857"/>
                  </a:lnTo>
                  <a:lnTo>
                    <a:pt x="104" y="864"/>
                  </a:lnTo>
                  <a:lnTo>
                    <a:pt x="104" y="870"/>
                  </a:lnTo>
                  <a:lnTo>
                    <a:pt x="104" y="876"/>
                  </a:lnTo>
                  <a:lnTo>
                    <a:pt x="104" y="882"/>
                  </a:lnTo>
                  <a:lnTo>
                    <a:pt x="98" y="876"/>
                  </a:lnTo>
                  <a:lnTo>
                    <a:pt x="98" y="870"/>
                  </a:lnTo>
                  <a:lnTo>
                    <a:pt x="92" y="870"/>
                  </a:lnTo>
                  <a:lnTo>
                    <a:pt x="86" y="870"/>
                  </a:lnTo>
                  <a:lnTo>
                    <a:pt x="92" y="864"/>
                  </a:lnTo>
                  <a:lnTo>
                    <a:pt x="86" y="864"/>
                  </a:lnTo>
                  <a:lnTo>
                    <a:pt x="86" y="870"/>
                  </a:lnTo>
                  <a:lnTo>
                    <a:pt x="313" y="600"/>
                  </a:lnTo>
                  <a:lnTo>
                    <a:pt x="147" y="968"/>
                  </a:lnTo>
                  <a:lnTo>
                    <a:pt x="153" y="974"/>
                  </a:lnTo>
                  <a:lnTo>
                    <a:pt x="153" y="968"/>
                  </a:lnTo>
                  <a:lnTo>
                    <a:pt x="160" y="962"/>
                  </a:lnTo>
                  <a:lnTo>
                    <a:pt x="166" y="955"/>
                  </a:lnTo>
                  <a:lnTo>
                    <a:pt x="166" y="949"/>
                  </a:lnTo>
                  <a:lnTo>
                    <a:pt x="172" y="949"/>
                  </a:lnTo>
                  <a:lnTo>
                    <a:pt x="172" y="937"/>
                  </a:lnTo>
                  <a:lnTo>
                    <a:pt x="172" y="931"/>
                  </a:lnTo>
                  <a:lnTo>
                    <a:pt x="178" y="925"/>
                  </a:lnTo>
                  <a:lnTo>
                    <a:pt x="178" y="919"/>
                  </a:lnTo>
                  <a:lnTo>
                    <a:pt x="184" y="919"/>
                  </a:lnTo>
                  <a:lnTo>
                    <a:pt x="190" y="919"/>
                  </a:lnTo>
                  <a:lnTo>
                    <a:pt x="190" y="913"/>
                  </a:lnTo>
                  <a:lnTo>
                    <a:pt x="190" y="906"/>
                  </a:lnTo>
                  <a:lnTo>
                    <a:pt x="184" y="906"/>
                  </a:lnTo>
                  <a:lnTo>
                    <a:pt x="190" y="906"/>
                  </a:lnTo>
                  <a:lnTo>
                    <a:pt x="190" y="900"/>
                  </a:lnTo>
                  <a:lnTo>
                    <a:pt x="190" y="894"/>
                  </a:lnTo>
                  <a:lnTo>
                    <a:pt x="190" y="888"/>
                  </a:lnTo>
                  <a:lnTo>
                    <a:pt x="184" y="894"/>
                  </a:lnTo>
                  <a:lnTo>
                    <a:pt x="178" y="900"/>
                  </a:lnTo>
                  <a:lnTo>
                    <a:pt x="172" y="900"/>
                  </a:lnTo>
                  <a:lnTo>
                    <a:pt x="172" y="906"/>
                  </a:lnTo>
                  <a:lnTo>
                    <a:pt x="166" y="913"/>
                  </a:lnTo>
                  <a:lnTo>
                    <a:pt x="166" y="919"/>
                  </a:lnTo>
                  <a:lnTo>
                    <a:pt x="160" y="931"/>
                  </a:lnTo>
                  <a:lnTo>
                    <a:pt x="160" y="937"/>
                  </a:lnTo>
                  <a:lnTo>
                    <a:pt x="153" y="943"/>
                  </a:lnTo>
                  <a:lnTo>
                    <a:pt x="153" y="949"/>
                  </a:lnTo>
                  <a:lnTo>
                    <a:pt x="153" y="955"/>
                  </a:lnTo>
                  <a:lnTo>
                    <a:pt x="147" y="962"/>
                  </a:lnTo>
                  <a:lnTo>
                    <a:pt x="147" y="968"/>
                  </a:lnTo>
                  <a:lnTo>
                    <a:pt x="313" y="600"/>
                  </a:lnTo>
                  <a:lnTo>
                    <a:pt x="221" y="845"/>
                  </a:lnTo>
                  <a:lnTo>
                    <a:pt x="215" y="845"/>
                  </a:lnTo>
                  <a:lnTo>
                    <a:pt x="209" y="845"/>
                  </a:lnTo>
                  <a:lnTo>
                    <a:pt x="202" y="845"/>
                  </a:lnTo>
                  <a:lnTo>
                    <a:pt x="209" y="851"/>
                  </a:lnTo>
                  <a:lnTo>
                    <a:pt x="215" y="851"/>
                  </a:lnTo>
                  <a:lnTo>
                    <a:pt x="221" y="845"/>
                  </a:lnTo>
                  <a:lnTo>
                    <a:pt x="221" y="851"/>
                  </a:lnTo>
                  <a:lnTo>
                    <a:pt x="221" y="857"/>
                  </a:lnTo>
                  <a:lnTo>
                    <a:pt x="233" y="857"/>
                  </a:lnTo>
                  <a:lnTo>
                    <a:pt x="239" y="857"/>
                  </a:lnTo>
                  <a:lnTo>
                    <a:pt x="233" y="857"/>
                  </a:lnTo>
                  <a:lnTo>
                    <a:pt x="239" y="851"/>
                  </a:lnTo>
                  <a:lnTo>
                    <a:pt x="245" y="851"/>
                  </a:lnTo>
                  <a:lnTo>
                    <a:pt x="251" y="851"/>
                  </a:lnTo>
                  <a:lnTo>
                    <a:pt x="258" y="845"/>
                  </a:lnTo>
                  <a:lnTo>
                    <a:pt x="264" y="845"/>
                  </a:lnTo>
                  <a:lnTo>
                    <a:pt x="245" y="851"/>
                  </a:lnTo>
                  <a:lnTo>
                    <a:pt x="239" y="845"/>
                  </a:lnTo>
                  <a:lnTo>
                    <a:pt x="233" y="845"/>
                  </a:lnTo>
                  <a:lnTo>
                    <a:pt x="227" y="845"/>
                  </a:lnTo>
                  <a:lnTo>
                    <a:pt x="221" y="845"/>
                  </a:lnTo>
                  <a:lnTo>
                    <a:pt x="313" y="60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0" name="Freeform 101"/>
            <p:cNvSpPr>
              <a:spLocks/>
            </p:cNvSpPr>
            <p:nvPr/>
          </p:nvSpPr>
          <p:spPr bwMode="auto">
            <a:xfrm>
              <a:off x="3852783" y="2231374"/>
              <a:ext cx="1041205" cy="1738277"/>
            </a:xfrm>
            <a:custGeom>
              <a:avLst/>
              <a:gdLst>
                <a:gd name="T0" fmla="*/ 695563060 w 644"/>
                <a:gd name="T1" fmla="*/ 2147483647 h 1188"/>
                <a:gd name="T2" fmla="*/ 710683992 w 644"/>
                <a:gd name="T3" fmla="*/ 2147483647 h 1188"/>
                <a:gd name="T4" fmla="*/ 665321196 w 644"/>
                <a:gd name="T5" fmla="*/ 2147483647 h 1188"/>
                <a:gd name="T6" fmla="*/ 680442128 w 644"/>
                <a:gd name="T7" fmla="*/ 2147483647 h 1188"/>
                <a:gd name="T8" fmla="*/ 680442128 w 644"/>
                <a:gd name="T9" fmla="*/ 2147483647 h 1188"/>
                <a:gd name="T10" fmla="*/ 632558384 w 644"/>
                <a:gd name="T11" fmla="*/ 2147483647 h 1188"/>
                <a:gd name="T12" fmla="*/ 572074657 w 644"/>
                <a:gd name="T13" fmla="*/ 2147483647 h 1188"/>
                <a:gd name="T14" fmla="*/ 493950636 w 644"/>
                <a:gd name="T15" fmla="*/ 2147483647 h 1188"/>
                <a:gd name="T16" fmla="*/ 463708773 w 644"/>
                <a:gd name="T17" fmla="*/ 2147483647 h 1188"/>
                <a:gd name="T18" fmla="*/ 385584653 w 644"/>
                <a:gd name="T19" fmla="*/ 2147483647 h 1188"/>
                <a:gd name="T20" fmla="*/ 325100926 w 644"/>
                <a:gd name="T21" fmla="*/ 2147483647 h 1188"/>
                <a:gd name="T22" fmla="*/ 216733455 w 644"/>
                <a:gd name="T23" fmla="*/ 2147483647 h 1188"/>
                <a:gd name="T24" fmla="*/ 231854386 w 644"/>
                <a:gd name="T25" fmla="*/ 2147483647 h 1188"/>
                <a:gd name="T26" fmla="*/ 186491541 w 644"/>
                <a:gd name="T27" fmla="*/ 2147483647 h 1188"/>
                <a:gd name="T28" fmla="*/ 216733455 w 644"/>
                <a:gd name="T29" fmla="*/ 2147483647 h 1188"/>
                <a:gd name="T30" fmla="*/ 186491541 w 644"/>
                <a:gd name="T31" fmla="*/ 2147483647 h 1188"/>
                <a:gd name="T32" fmla="*/ 138607797 w 644"/>
                <a:gd name="T33" fmla="*/ 2147483647 h 1188"/>
                <a:gd name="T34" fmla="*/ 108365934 w 644"/>
                <a:gd name="T35" fmla="*/ 2147483647 h 1188"/>
                <a:gd name="T36" fmla="*/ 93246564 w 644"/>
                <a:gd name="T37" fmla="*/ 2147483647 h 1188"/>
                <a:gd name="T38" fmla="*/ 93246564 w 644"/>
                <a:gd name="T39" fmla="*/ 2147483647 h 1188"/>
                <a:gd name="T40" fmla="*/ 63003113 w 644"/>
                <a:gd name="T41" fmla="*/ 2147483647 h 1188"/>
                <a:gd name="T42" fmla="*/ 32761237 w 644"/>
                <a:gd name="T43" fmla="*/ 2147483647 h 1188"/>
                <a:gd name="T44" fmla="*/ 15120938 w 644"/>
                <a:gd name="T45" fmla="*/ 2147483647 h 1188"/>
                <a:gd name="T46" fmla="*/ 93246564 w 644"/>
                <a:gd name="T47" fmla="*/ 2129531156 h 1188"/>
                <a:gd name="T48" fmla="*/ 156249678 w 644"/>
                <a:gd name="T49" fmla="*/ 2006044344 h 1188"/>
                <a:gd name="T50" fmla="*/ 186491541 w 644"/>
                <a:gd name="T51" fmla="*/ 1852314082 h 1188"/>
                <a:gd name="T52" fmla="*/ 201612473 w 644"/>
                <a:gd name="T53" fmla="*/ 1743948202 h 1188"/>
                <a:gd name="T54" fmla="*/ 156249678 w 644"/>
                <a:gd name="T55" fmla="*/ 1481851663 h 1188"/>
                <a:gd name="T56" fmla="*/ 108365934 w 644"/>
                <a:gd name="T57" fmla="*/ 1265118314 h 1188"/>
                <a:gd name="T58" fmla="*/ 355342790 w 644"/>
                <a:gd name="T59" fmla="*/ 1096267121 h 1188"/>
                <a:gd name="T60" fmla="*/ 478829704 w 644"/>
                <a:gd name="T61" fmla="*/ 632558363 h 1188"/>
                <a:gd name="T62" fmla="*/ 617437452 w 644"/>
                <a:gd name="T63" fmla="*/ 355342778 h 1188"/>
                <a:gd name="T64" fmla="*/ 864412869 w 644"/>
                <a:gd name="T65" fmla="*/ 138607793 h 1188"/>
                <a:gd name="T66" fmla="*/ 1129029969 w 644"/>
                <a:gd name="T67" fmla="*/ 93246561 h 1188"/>
                <a:gd name="T68" fmla="*/ 1267637716 w 644"/>
                <a:gd name="T69" fmla="*/ 78124043 h 1188"/>
                <a:gd name="T70" fmla="*/ 1391126119 w 644"/>
                <a:gd name="T71" fmla="*/ 138607793 h 1188"/>
                <a:gd name="T72" fmla="*/ 1514614523 w 644"/>
                <a:gd name="T73" fmla="*/ 231854379 h 1188"/>
                <a:gd name="T74" fmla="*/ 1529735454 w 644"/>
                <a:gd name="T75" fmla="*/ 325100916 h 1188"/>
                <a:gd name="T76" fmla="*/ 1544856386 w 644"/>
                <a:gd name="T77" fmla="*/ 400703985 h 1188"/>
                <a:gd name="T78" fmla="*/ 1575098250 w 644"/>
                <a:gd name="T79" fmla="*/ 554434346 h 1188"/>
                <a:gd name="T80" fmla="*/ 1607859475 w 644"/>
                <a:gd name="T81" fmla="*/ 677922745 h 1188"/>
                <a:gd name="T82" fmla="*/ 1559977318 w 644"/>
                <a:gd name="T83" fmla="*/ 710683969 h 1188"/>
                <a:gd name="T84" fmla="*/ 1466730778 w 644"/>
                <a:gd name="T85" fmla="*/ 725804900 h 1188"/>
                <a:gd name="T86" fmla="*/ 1421367983 w 644"/>
                <a:gd name="T87" fmla="*/ 710683969 h 1188"/>
                <a:gd name="T88" fmla="*/ 1391126119 w 644"/>
                <a:gd name="T89" fmla="*/ 740925831 h 1188"/>
                <a:gd name="T90" fmla="*/ 1328123031 w 644"/>
                <a:gd name="T91" fmla="*/ 771167694 h 1188"/>
                <a:gd name="T92" fmla="*/ 1297881167 w 644"/>
                <a:gd name="T93" fmla="*/ 819049849 h 1188"/>
                <a:gd name="T94" fmla="*/ 1297881167 w 644"/>
                <a:gd name="T95" fmla="*/ 849291910 h 1188"/>
                <a:gd name="T96" fmla="*/ 1234876491 w 644"/>
                <a:gd name="T97" fmla="*/ 942538447 h 1188"/>
                <a:gd name="T98" fmla="*/ 1282758648 w 644"/>
                <a:gd name="T99" fmla="*/ 987901241 h 1188"/>
                <a:gd name="T100" fmla="*/ 1252516785 w 644"/>
                <a:gd name="T101" fmla="*/ 1048384966 h 1188"/>
                <a:gd name="T102" fmla="*/ 1174392764 w 644"/>
                <a:gd name="T103" fmla="*/ 1156750846 h 1188"/>
                <a:gd name="T104" fmla="*/ 1050904361 w 644"/>
                <a:gd name="T105" fmla="*/ 1219755521 h 1188"/>
                <a:gd name="T106" fmla="*/ 987901272 w 644"/>
                <a:gd name="T107" fmla="*/ 1249997383 h 1188"/>
                <a:gd name="T108" fmla="*/ 927417545 w 644"/>
                <a:gd name="T109" fmla="*/ 1280239246 h 1188"/>
                <a:gd name="T110" fmla="*/ 897175682 w 644"/>
                <a:gd name="T111" fmla="*/ 1328122989 h 1188"/>
                <a:gd name="T112" fmla="*/ 882054750 w 644"/>
                <a:gd name="T113" fmla="*/ 1373485782 h 1188"/>
                <a:gd name="T114" fmla="*/ 803930531 w 644"/>
                <a:gd name="T115" fmla="*/ 1451609800 h 1188"/>
                <a:gd name="T116" fmla="*/ 773688668 w 644"/>
                <a:gd name="T117" fmla="*/ 1466730732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44"/>
                <a:gd name="T178" fmla="*/ 0 h 1188"/>
                <a:gd name="T179" fmla="*/ 644 w 644"/>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44" h="1188">
                  <a:moveTo>
                    <a:pt x="307" y="888"/>
                  </a:moveTo>
                  <a:lnTo>
                    <a:pt x="307" y="894"/>
                  </a:lnTo>
                  <a:lnTo>
                    <a:pt x="301" y="900"/>
                  </a:lnTo>
                  <a:lnTo>
                    <a:pt x="294" y="900"/>
                  </a:lnTo>
                  <a:lnTo>
                    <a:pt x="288" y="906"/>
                  </a:lnTo>
                  <a:lnTo>
                    <a:pt x="282" y="906"/>
                  </a:lnTo>
                  <a:lnTo>
                    <a:pt x="276" y="906"/>
                  </a:lnTo>
                  <a:lnTo>
                    <a:pt x="282" y="913"/>
                  </a:lnTo>
                  <a:lnTo>
                    <a:pt x="282" y="919"/>
                  </a:lnTo>
                  <a:lnTo>
                    <a:pt x="276" y="919"/>
                  </a:lnTo>
                  <a:lnTo>
                    <a:pt x="258" y="919"/>
                  </a:lnTo>
                  <a:lnTo>
                    <a:pt x="270" y="919"/>
                  </a:lnTo>
                  <a:lnTo>
                    <a:pt x="282" y="931"/>
                  </a:lnTo>
                  <a:lnTo>
                    <a:pt x="270" y="931"/>
                  </a:lnTo>
                  <a:lnTo>
                    <a:pt x="282" y="931"/>
                  </a:lnTo>
                  <a:lnTo>
                    <a:pt x="282" y="937"/>
                  </a:lnTo>
                  <a:lnTo>
                    <a:pt x="282" y="931"/>
                  </a:lnTo>
                  <a:lnTo>
                    <a:pt x="276" y="937"/>
                  </a:lnTo>
                  <a:lnTo>
                    <a:pt x="282" y="937"/>
                  </a:lnTo>
                  <a:lnTo>
                    <a:pt x="282" y="943"/>
                  </a:lnTo>
                  <a:lnTo>
                    <a:pt x="276" y="949"/>
                  </a:lnTo>
                  <a:lnTo>
                    <a:pt x="270" y="943"/>
                  </a:lnTo>
                  <a:lnTo>
                    <a:pt x="276" y="949"/>
                  </a:lnTo>
                  <a:lnTo>
                    <a:pt x="282" y="955"/>
                  </a:lnTo>
                  <a:lnTo>
                    <a:pt x="276" y="955"/>
                  </a:lnTo>
                  <a:lnTo>
                    <a:pt x="270" y="955"/>
                  </a:lnTo>
                  <a:lnTo>
                    <a:pt x="270" y="962"/>
                  </a:lnTo>
                  <a:lnTo>
                    <a:pt x="276" y="962"/>
                  </a:lnTo>
                  <a:lnTo>
                    <a:pt x="276" y="968"/>
                  </a:lnTo>
                  <a:lnTo>
                    <a:pt x="264" y="962"/>
                  </a:lnTo>
                  <a:lnTo>
                    <a:pt x="270" y="968"/>
                  </a:lnTo>
                  <a:lnTo>
                    <a:pt x="264" y="968"/>
                  </a:lnTo>
                  <a:lnTo>
                    <a:pt x="276" y="980"/>
                  </a:lnTo>
                  <a:lnTo>
                    <a:pt x="264" y="968"/>
                  </a:lnTo>
                  <a:lnTo>
                    <a:pt x="276" y="980"/>
                  </a:lnTo>
                  <a:lnTo>
                    <a:pt x="276" y="986"/>
                  </a:lnTo>
                  <a:lnTo>
                    <a:pt x="270" y="986"/>
                  </a:lnTo>
                  <a:lnTo>
                    <a:pt x="270" y="992"/>
                  </a:lnTo>
                  <a:lnTo>
                    <a:pt x="276" y="992"/>
                  </a:lnTo>
                  <a:lnTo>
                    <a:pt x="270" y="998"/>
                  </a:lnTo>
                  <a:lnTo>
                    <a:pt x="270" y="992"/>
                  </a:lnTo>
                  <a:lnTo>
                    <a:pt x="270" y="998"/>
                  </a:lnTo>
                  <a:lnTo>
                    <a:pt x="276" y="1004"/>
                  </a:lnTo>
                  <a:lnTo>
                    <a:pt x="276" y="1011"/>
                  </a:lnTo>
                  <a:lnTo>
                    <a:pt x="270" y="1011"/>
                  </a:lnTo>
                  <a:lnTo>
                    <a:pt x="270" y="1017"/>
                  </a:lnTo>
                  <a:lnTo>
                    <a:pt x="264" y="1023"/>
                  </a:lnTo>
                  <a:lnTo>
                    <a:pt x="264" y="1029"/>
                  </a:lnTo>
                  <a:lnTo>
                    <a:pt x="270" y="1035"/>
                  </a:lnTo>
                  <a:lnTo>
                    <a:pt x="270" y="1041"/>
                  </a:lnTo>
                  <a:lnTo>
                    <a:pt x="264" y="1047"/>
                  </a:lnTo>
                  <a:lnTo>
                    <a:pt x="264" y="1053"/>
                  </a:lnTo>
                  <a:lnTo>
                    <a:pt x="258" y="1060"/>
                  </a:lnTo>
                  <a:lnTo>
                    <a:pt x="264" y="1066"/>
                  </a:lnTo>
                  <a:lnTo>
                    <a:pt x="264" y="1060"/>
                  </a:lnTo>
                  <a:lnTo>
                    <a:pt x="264" y="1066"/>
                  </a:lnTo>
                  <a:lnTo>
                    <a:pt x="258" y="1066"/>
                  </a:lnTo>
                  <a:lnTo>
                    <a:pt x="258" y="1072"/>
                  </a:lnTo>
                  <a:lnTo>
                    <a:pt x="251" y="1078"/>
                  </a:lnTo>
                  <a:lnTo>
                    <a:pt x="251" y="1084"/>
                  </a:lnTo>
                  <a:lnTo>
                    <a:pt x="245" y="1090"/>
                  </a:lnTo>
                  <a:lnTo>
                    <a:pt x="245" y="1096"/>
                  </a:lnTo>
                  <a:lnTo>
                    <a:pt x="245" y="1102"/>
                  </a:lnTo>
                  <a:lnTo>
                    <a:pt x="245" y="1109"/>
                  </a:lnTo>
                  <a:lnTo>
                    <a:pt x="239" y="1115"/>
                  </a:lnTo>
                  <a:lnTo>
                    <a:pt x="233" y="1127"/>
                  </a:lnTo>
                  <a:lnTo>
                    <a:pt x="233" y="1121"/>
                  </a:lnTo>
                  <a:lnTo>
                    <a:pt x="233" y="1115"/>
                  </a:lnTo>
                  <a:lnTo>
                    <a:pt x="227" y="1121"/>
                  </a:lnTo>
                  <a:lnTo>
                    <a:pt x="227" y="1115"/>
                  </a:lnTo>
                  <a:lnTo>
                    <a:pt x="221" y="1115"/>
                  </a:lnTo>
                  <a:lnTo>
                    <a:pt x="215" y="1115"/>
                  </a:lnTo>
                  <a:lnTo>
                    <a:pt x="215" y="1121"/>
                  </a:lnTo>
                  <a:lnTo>
                    <a:pt x="215" y="1115"/>
                  </a:lnTo>
                  <a:lnTo>
                    <a:pt x="209" y="1115"/>
                  </a:lnTo>
                  <a:lnTo>
                    <a:pt x="209" y="1121"/>
                  </a:lnTo>
                  <a:lnTo>
                    <a:pt x="209" y="1115"/>
                  </a:lnTo>
                  <a:lnTo>
                    <a:pt x="202" y="1115"/>
                  </a:lnTo>
                  <a:lnTo>
                    <a:pt x="202" y="1121"/>
                  </a:lnTo>
                  <a:lnTo>
                    <a:pt x="196" y="1121"/>
                  </a:lnTo>
                  <a:lnTo>
                    <a:pt x="196" y="1115"/>
                  </a:lnTo>
                  <a:lnTo>
                    <a:pt x="190" y="1115"/>
                  </a:lnTo>
                  <a:lnTo>
                    <a:pt x="190" y="1121"/>
                  </a:lnTo>
                  <a:lnTo>
                    <a:pt x="184" y="1121"/>
                  </a:lnTo>
                  <a:lnTo>
                    <a:pt x="184" y="1115"/>
                  </a:lnTo>
                  <a:lnTo>
                    <a:pt x="178" y="1121"/>
                  </a:lnTo>
                  <a:lnTo>
                    <a:pt x="178" y="1115"/>
                  </a:lnTo>
                  <a:lnTo>
                    <a:pt x="178" y="1121"/>
                  </a:lnTo>
                  <a:lnTo>
                    <a:pt x="178" y="1127"/>
                  </a:lnTo>
                  <a:lnTo>
                    <a:pt x="184" y="1127"/>
                  </a:lnTo>
                  <a:lnTo>
                    <a:pt x="178" y="1133"/>
                  </a:lnTo>
                  <a:lnTo>
                    <a:pt x="172" y="1133"/>
                  </a:lnTo>
                  <a:lnTo>
                    <a:pt x="172" y="1127"/>
                  </a:lnTo>
                  <a:lnTo>
                    <a:pt x="166" y="1127"/>
                  </a:lnTo>
                  <a:lnTo>
                    <a:pt x="166" y="1133"/>
                  </a:lnTo>
                  <a:lnTo>
                    <a:pt x="160" y="1133"/>
                  </a:lnTo>
                  <a:lnTo>
                    <a:pt x="160" y="1139"/>
                  </a:lnTo>
                  <a:lnTo>
                    <a:pt x="153" y="1145"/>
                  </a:lnTo>
                  <a:lnTo>
                    <a:pt x="153" y="1151"/>
                  </a:lnTo>
                  <a:lnTo>
                    <a:pt x="153" y="1158"/>
                  </a:lnTo>
                  <a:lnTo>
                    <a:pt x="160" y="1158"/>
                  </a:lnTo>
                  <a:lnTo>
                    <a:pt x="153" y="1164"/>
                  </a:lnTo>
                  <a:lnTo>
                    <a:pt x="160" y="1170"/>
                  </a:lnTo>
                  <a:lnTo>
                    <a:pt x="160" y="1176"/>
                  </a:lnTo>
                  <a:lnTo>
                    <a:pt x="153" y="1182"/>
                  </a:lnTo>
                  <a:lnTo>
                    <a:pt x="147" y="1182"/>
                  </a:lnTo>
                  <a:lnTo>
                    <a:pt x="147" y="1188"/>
                  </a:lnTo>
                  <a:lnTo>
                    <a:pt x="141" y="1182"/>
                  </a:lnTo>
                  <a:lnTo>
                    <a:pt x="135" y="1182"/>
                  </a:lnTo>
                  <a:lnTo>
                    <a:pt x="129" y="1182"/>
                  </a:lnTo>
                  <a:lnTo>
                    <a:pt x="123" y="1182"/>
                  </a:lnTo>
                  <a:lnTo>
                    <a:pt x="117" y="1182"/>
                  </a:lnTo>
                  <a:lnTo>
                    <a:pt x="111" y="1188"/>
                  </a:lnTo>
                  <a:lnTo>
                    <a:pt x="104" y="1188"/>
                  </a:lnTo>
                  <a:lnTo>
                    <a:pt x="98" y="1188"/>
                  </a:lnTo>
                  <a:lnTo>
                    <a:pt x="92" y="1182"/>
                  </a:lnTo>
                  <a:lnTo>
                    <a:pt x="92" y="1188"/>
                  </a:lnTo>
                  <a:lnTo>
                    <a:pt x="86" y="1182"/>
                  </a:lnTo>
                  <a:lnTo>
                    <a:pt x="86" y="1188"/>
                  </a:lnTo>
                  <a:lnTo>
                    <a:pt x="86" y="1182"/>
                  </a:lnTo>
                  <a:lnTo>
                    <a:pt x="92" y="1182"/>
                  </a:lnTo>
                  <a:lnTo>
                    <a:pt x="92" y="1176"/>
                  </a:lnTo>
                  <a:lnTo>
                    <a:pt x="86" y="1176"/>
                  </a:lnTo>
                  <a:lnTo>
                    <a:pt x="92" y="1170"/>
                  </a:lnTo>
                  <a:lnTo>
                    <a:pt x="86" y="1170"/>
                  </a:lnTo>
                  <a:lnTo>
                    <a:pt x="92" y="1164"/>
                  </a:lnTo>
                  <a:lnTo>
                    <a:pt x="98" y="1164"/>
                  </a:lnTo>
                  <a:lnTo>
                    <a:pt x="98" y="1158"/>
                  </a:lnTo>
                  <a:lnTo>
                    <a:pt x="92" y="1158"/>
                  </a:lnTo>
                  <a:lnTo>
                    <a:pt x="92" y="1151"/>
                  </a:lnTo>
                  <a:lnTo>
                    <a:pt x="92" y="1145"/>
                  </a:lnTo>
                  <a:lnTo>
                    <a:pt x="86" y="1145"/>
                  </a:lnTo>
                  <a:lnTo>
                    <a:pt x="86" y="1139"/>
                  </a:lnTo>
                  <a:lnTo>
                    <a:pt x="80" y="1133"/>
                  </a:lnTo>
                  <a:lnTo>
                    <a:pt x="80" y="1127"/>
                  </a:lnTo>
                  <a:lnTo>
                    <a:pt x="74" y="1121"/>
                  </a:lnTo>
                  <a:lnTo>
                    <a:pt x="74" y="1115"/>
                  </a:lnTo>
                  <a:lnTo>
                    <a:pt x="74" y="1109"/>
                  </a:lnTo>
                  <a:lnTo>
                    <a:pt x="68" y="1109"/>
                  </a:lnTo>
                  <a:lnTo>
                    <a:pt x="74" y="1109"/>
                  </a:lnTo>
                  <a:lnTo>
                    <a:pt x="80" y="1109"/>
                  </a:lnTo>
                  <a:lnTo>
                    <a:pt x="80" y="1115"/>
                  </a:lnTo>
                  <a:lnTo>
                    <a:pt x="80" y="1109"/>
                  </a:lnTo>
                  <a:lnTo>
                    <a:pt x="86" y="1115"/>
                  </a:lnTo>
                  <a:lnTo>
                    <a:pt x="86" y="1109"/>
                  </a:lnTo>
                  <a:lnTo>
                    <a:pt x="80" y="1102"/>
                  </a:lnTo>
                  <a:lnTo>
                    <a:pt x="80" y="1096"/>
                  </a:lnTo>
                  <a:lnTo>
                    <a:pt x="74" y="1096"/>
                  </a:lnTo>
                  <a:lnTo>
                    <a:pt x="80" y="1090"/>
                  </a:lnTo>
                  <a:lnTo>
                    <a:pt x="86" y="1096"/>
                  </a:lnTo>
                  <a:lnTo>
                    <a:pt x="86" y="1090"/>
                  </a:lnTo>
                  <a:lnTo>
                    <a:pt x="92" y="1090"/>
                  </a:lnTo>
                  <a:lnTo>
                    <a:pt x="92" y="1084"/>
                  </a:lnTo>
                  <a:lnTo>
                    <a:pt x="92" y="1078"/>
                  </a:lnTo>
                  <a:lnTo>
                    <a:pt x="86" y="1072"/>
                  </a:lnTo>
                  <a:lnTo>
                    <a:pt x="86" y="1078"/>
                  </a:lnTo>
                  <a:lnTo>
                    <a:pt x="80" y="1078"/>
                  </a:lnTo>
                  <a:lnTo>
                    <a:pt x="80" y="1072"/>
                  </a:lnTo>
                  <a:lnTo>
                    <a:pt x="80" y="1066"/>
                  </a:lnTo>
                  <a:lnTo>
                    <a:pt x="74" y="1066"/>
                  </a:lnTo>
                  <a:lnTo>
                    <a:pt x="74" y="1060"/>
                  </a:lnTo>
                  <a:lnTo>
                    <a:pt x="68" y="1053"/>
                  </a:lnTo>
                  <a:lnTo>
                    <a:pt x="62" y="1053"/>
                  </a:lnTo>
                  <a:lnTo>
                    <a:pt x="62" y="1047"/>
                  </a:lnTo>
                  <a:lnTo>
                    <a:pt x="62" y="1041"/>
                  </a:lnTo>
                  <a:lnTo>
                    <a:pt x="55" y="1035"/>
                  </a:lnTo>
                  <a:lnTo>
                    <a:pt x="55" y="1023"/>
                  </a:lnTo>
                  <a:lnTo>
                    <a:pt x="49" y="1023"/>
                  </a:lnTo>
                  <a:lnTo>
                    <a:pt x="55" y="1023"/>
                  </a:lnTo>
                  <a:lnTo>
                    <a:pt x="55" y="1017"/>
                  </a:lnTo>
                  <a:lnTo>
                    <a:pt x="49" y="1017"/>
                  </a:lnTo>
                  <a:lnTo>
                    <a:pt x="49" y="1011"/>
                  </a:lnTo>
                  <a:lnTo>
                    <a:pt x="49" y="1004"/>
                  </a:lnTo>
                  <a:lnTo>
                    <a:pt x="49" y="1011"/>
                  </a:lnTo>
                  <a:lnTo>
                    <a:pt x="49" y="1017"/>
                  </a:lnTo>
                  <a:lnTo>
                    <a:pt x="43" y="1011"/>
                  </a:lnTo>
                  <a:lnTo>
                    <a:pt x="43" y="1017"/>
                  </a:lnTo>
                  <a:lnTo>
                    <a:pt x="43" y="1011"/>
                  </a:lnTo>
                  <a:lnTo>
                    <a:pt x="43" y="1004"/>
                  </a:lnTo>
                  <a:lnTo>
                    <a:pt x="43" y="998"/>
                  </a:lnTo>
                  <a:lnTo>
                    <a:pt x="43" y="992"/>
                  </a:lnTo>
                  <a:lnTo>
                    <a:pt x="43" y="986"/>
                  </a:lnTo>
                  <a:lnTo>
                    <a:pt x="37" y="992"/>
                  </a:lnTo>
                  <a:lnTo>
                    <a:pt x="37" y="986"/>
                  </a:lnTo>
                  <a:lnTo>
                    <a:pt x="43" y="980"/>
                  </a:lnTo>
                  <a:lnTo>
                    <a:pt x="37" y="986"/>
                  </a:lnTo>
                  <a:lnTo>
                    <a:pt x="31" y="986"/>
                  </a:lnTo>
                  <a:lnTo>
                    <a:pt x="31" y="980"/>
                  </a:lnTo>
                  <a:lnTo>
                    <a:pt x="37" y="980"/>
                  </a:lnTo>
                  <a:lnTo>
                    <a:pt x="37" y="974"/>
                  </a:lnTo>
                  <a:lnTo>
                    <a:pt x="31" y="974"/>
                  </a:lnTo>
                  <a:lnTo>
                    <a:pt x="31" y="968"/>
                  </a:lnTo>
                  <a:lnTo>
                    <a:pt x="37" y="968"/>
                  </a:lnTo>
                  <a:lnTo>
                    <a:pt x="37" y="962"/>
                  </a:lnTo>
                  <a:lnTo>
                    <a:pt x="31" y="962"/>
                  </a:lnTo>
                  <a:lnTo>
                    <a:pt x="37" y="955"/>
                  </a:lnTo>
                  <a:lnTo>
                    <a:pt x="37" y="949"/>
                  </a:lnTo>
                  <a:lnTo>
                    <a:pt x="37" y="943"/>
                  </a:lnTo>
                  <a:lnTo>
                    <a:pt x="37" y="937"/>
                  </a:lnTo>
                  <a:lnTo>
                    <a:pt x="37" y="931"/>
                  </a:lnTo>
                  <a:lnTo>
                    <a:pt x="43" y="931"/>
                  </a:lnTo>
                  <a:lnTo>
                    <a:pt x="37" y="931"/>
                  </a:lnTo>
                  <a:lnTo>
                    <a:pt x="31" y="931"/>
                  </a:lnTo>
                  <a:lnTo>
                    <a:pt x="31" y="937"/>
                  </a:lnTo>
                  <a:lnTo>
                    <a:pt x="25" y="937"/>
                  </a:lnTo>
                  <a:lnTo>
                    <a:pt x="25" y="931"/>
                  </a:lnTo>
                  <a:lnTo>
                    <a:pt x="31" y="919"/>
                  </a:lnTo>
                  <a:lnTo>
                    <a:pt x="25" y="925"/>
                  </a:lnTo>
                  <a:lnTo>
                    <a:pt x="25" y="919"/>
                  </a:lnTo>
                  <a:lnTo>
                    <a:pt x="25" y="931"/>
                  </a:lnTo>
                  <a:lnTo>
                    <a:pt x="19" y="931"/>
                  </a:lnTo>
                  <a:lnTo>
                    <a:pt x="19" y="925"/>
                  </a:lnTo>
                  <a:lnTo>
                    <a:pt x="13" y="931"/>
                  </a:lnTo>
                  <a:lnTo>
                    <a:pt x="19" y="925"/>
                  </a:lnTo>
                  <a:lnTo>
                    <a:pt x="13" y="925"/>
                  </a:lnTo>
                  <a:lnTo>
                    <a:pt x="6" y="931"/>
                  </a:lnTo>
                  <a:lnTo>
                    <a:pt x="6" y="919"/>
                  </a:lnTo>
                  <a:lnTo>
                    <a:pt x="13" y="919"/>
                  </a:lnTo>
                  <a:lnTo>
                    <a:pt x="6" y="913"/>
                  </a:lnTo>
                  <a:lnTo>
                    <a:pt x="13" y="913"/>
                  </a:lnTo>
                  <a:lnTo>
                    <a:pt x="13" y="906"/>
                  </a:lnTo>
                  <a:lnTo>
                    <a:pt x="13" y="900"/>
                  </a:lnTo>
                  <a:lnTo>
                    <a:pt x="6" y="900"/>
                  </a:lnTo>
                  <a:lnTo>
                    <a:pt x="6" y="894"/>
                  </a:lnTo>
                  <a:lnTo>
                    <a:pt x="6" y="888"/>
                  </a:lnTo>
                  <a:lnTo>
                    <a:pt x="6" y="882"/>
                  </a:lnTo>
                  <a:lnTo>
                    <a:pt x="6" y="876"/>
                  </a:lnTo>
                  <a:lnTo>
                    <a:pt x="0" y="876"/>
                  </a:lnTo>
                  <a:lnTo>
                    <a:pt x="0" y="870"/>
                  </a:lnTo>
                  <a:lnTo>
                    <a:pt x="6" y="870"/>
                  </a:lnTo>
                  <a:lnTo>
                    <a:pt x="13" y="864"/>
                  </a:lnTo>
                  <a:lnTo>
                    <a:pt x="19" y="870"/>
                  </a:lnTo>
                  <a:lnTo>
                    <a:pt x="19" y="876"/>
                  </a:lnTo>
                  <a:lnTo>
                    <a:pt x="19" y="882"/>
                  </a:lnTo>
                  <a:lnTo>
                    <a:pt x="25" y="882"/>
                  </a:lnTo>
                  <a:lnTo>
                    <a:pt x="31" y="882"/>
                  </a:lnTo>
                  <a:lnTo>
                    <a:pt x="31" y="870"/>
                  </a:lnTo>
                  <a:lnTo>
                    <a:pt x="37" y="864"/>
                  </a:lnTo>
                  <a:lnTo>
                    <a:pt x="37" y="857"/>
                  </a:lnTo>
                  <a:lnTo>
                    <a:pt x="37" y="845"/>
                  </a:lnTo>
                  <a:lnTo>
                    <a:pt x="37" y="833"/>
                  </a:lnTo>
                  <a:lnTo>
                    <a:pt x="31" y="821"/>
                  </a:lnTo>
                  <a:lnTo>
                    <a:pt x="37" y="815"/>
                  </a:lnTo>
                  <a:lnTo>
                    <a:pt x="43" y="815"/>
                  </a:lnTo>
                  <a:lnTo>
                    <a:pt x="43" y="808"/>
                  </a:lnTo>
                  <a:lnTo>
                    <a:pt x="43" y="802"/>
                  </a:lnTo>
                  <a:lnTo>
                    <a:pt x="37" y="802"/>
                  </a:lnTo>
                  <a:lnTo>
                    <a:pt x="43" y="796"/>
                  </a:lnTo>
                  <a:lnTo>
                    <a:pt x="55" y="796"/>
                  </a:lnTo>
                  <a:lnTo>
                    <a:pt x="62" y="796"/>
                  </a:lnTo>
                  <a:lnTo>
                    <a:pt x="62" y="790"/>
                  </a:lnTo>
                  <a:lnTo>
                    <a:pt x="68" y="784"/>
                  </a:lnTo>
                  <a:lnTo>
                    <a:pt x="74" y="778"/>
                  </a:lnTo>
                  <a:lnTo>
                    <a:pt x="74" y="772"/>
                  </a:lnTo>
                  <a:lnTo>
                    <a:pt x="74" y="759"/>
                  </a:lnTo>
                  <a:lnTo>
                    <a:pt x="74" y="753"/>
                  </a:lnTo>
                  <a:lnTo>
                    <a:pt x="80" y="753"/>
                  </a:lnTo>
                  <a:lnTo>
                    <a:pt x="80" y="747"/>
                  </a:lnTo>
                  <a:lnTo>
                    <a:pt x="74" y="741"/>
                  </a:lnTo>
                  <a:lnTo>
                    <a:pt x="74" y="735"/>
                  </a:lnTo>
                  <a:lnTo>
                    <a:pt x="74" y="729"/>
                  </a:lnTo>
                  <a:lnTo>
                    <a:pt x="68" y="723"/>
                  </a:lnTo>
                  <a:lnTo>
                    <a:pt x="68" y="717"/>
                  </a:lnTo>
                  <a:lnTo>
                    <a:pt x="62" y="710"/>
                  </a:lnTo>
                  <a:lnTo>
                    <a:pt x="62" y="704"/>
                  </a:lnTo>
                  <a:lnTo>
                    <a:pt x="55" y="698"/>
                  </a:lnTo>
                  <a:lnTo>
                    <a:pt x="62" y="698"/>
                  </a:lnTo>
                  <a:lnTo>
                    <a:pt x="68" y="698"/>
                  </a:lnTo>
                  <a:lnTo>
                    <a:pt x="74" y="698"/>
                  </a:lnTo>
                  <a:lnTo>
                    <a:pt x="80" y="692"/>
                  </a:lnTo>
                  <a:lnTo>
                    <a:pt x="80" y="686"/>
                  </a:lnTo>
                  <a:lnTo>
                    <a:pt x="86" y="680"/>
                  </a:lnTo>
                  <a:lnTo>
                    <a:pt x="86" y="674"/>
                  </a:lnTo>
                  <a:lnTo>
                    <a:pt x="86" y="668"/>
                  </a:lnTo>
                  <a:lnTo>
                    <a:pt x="74" y="649"/>
                  </a:lnTo>
                  <a:lnTo>
                    <a:pt x="68" y="649"/>
                  </a:lnTo>
                  <a:lnTo>
                    <a:pt x="49" y="637"/>
                  </a:lnTo>
                  <a:lnTo>
                    <a:pt x="55" y="606"/>
                  </a:lnTo>
                  <a:lnTo>
                    <a:pt x="55" y="600"/>
                  </a:lnTo>
                  <a:lnTo>
                    <a:pt x="62" y="588"/>
                  </a:lnTo>
                  <a:lnTo>
                    <a:pt x="55" y="582"/>
                  </a:lnTo>
                  <a:lnTo>
                    <a:pt x="55" y="576"/>
                  </a:lnTo>
                  <a:lnTo>
                    <a:pt x="49" y="570"/>
                  </a:lnTo>
                  <a:lnTo>
                    <a:pt x="49" y="557"/>
                  </a:lnTo>
                  <a:lnTo>
                    <a:pt x="49" y="545"/>
                  </a:lnTo>
                  <a:lnTo>
                    <a:pt x="49" y="533"/>
                  </a:lnTo>
                  <a:lnTo>
                    <a:pt x="55" y="527"/>
                  </a:lnTo>
                  <a:lnTo>
                    <a:pt x="55" y="521"/>
                  </a:lnTo>
                  <a:lnTo>
                    <a:pt x="49" y="508"/>
                  </a:lnTo>
                  <a:lnTo>
                    <a:pt x="43" y="502"/>
                  </a:lnTo>
                  <a:lnTo>
                    <a:pt x="49" y="496"/>
                  </a:lnTo>
                  <a:lnTo>
                    <a:pt x="55" y="484"/>
                  </a:lnTo>
                  <a:lnTo>
                    <a:pt x="49" y="478"/>
                  </a:lnTo>
                  <a:lnTo>
                    <a:pt x="55" y="472"/>
                  </a:lnTo>
                  <a:lnTo>
                    <a:pt x="62" y="465"/>
                  </a:lnTo>
                  <a:lnTo>
                    <a:pt x="68" y="453"/>
                  </a:lnTo>
                  <a:lnTo>
                    <a:pt x="80" y="441"/>
                  </a:lnTo>
                  <a:lnTo>
                    <a:pt x="92" y="435"/>
                  </a:lnTo>
                  <a:lnTo>
                    <a:pt x="104" y="429"/>
                  </a:lnTo>
                  <a:lnTo>
                    <a:pt x="141" y="435"/>
                  </a:lnTo>
                  <a:lnTo>
                    <a:pt x="153" y="423"/>
                  </a:lnTo>
                  <a:lnTo>
                    <a:pt x="147" y="398"/>
                  </a:lnTo>
                  <a:lnTo>
                    <a:pt x="129" y="386"/>
                  </a:lnTo>
                  <a:lnTo>
                    <a:pt x="160" y="343"/>
                  </a:lnTo>
                  <a:lnTo>
                    <a:pt x="160" y="331"/>
                  </a:lnTo>
                  <a:lnTo>
                    <a:pt x="166" y="325"/>
                  </a:lnTo>
                  <a:lnTo>
                    <a:pt x="166" y="288"/>
                  </a:lnTo>
                  <a:lnTo>
                    <a:pt x="172" y="282"/>
                  </a:lnTo>
                  <a:lnTo>
                    <a:pt x="166" y="251"/>
                  </a:lnTo>
                  <a:lnTo>
                    <a:pt x="190" y="251"/>
                  </a:lnTo>
                  <a:lnTo>
                    <a:pt x="215" y="239"/>
                  </a:lnTo>
                  <a:lnTo>
                    <a:pt x="215" y="233"/>
                  </a:lnTo>
                  <a:lnTo>
                    <a:pt x="209" y="220"/>
                  </a:lnTo>
                  <a:lnTo>
                    <a:pt x="227" y="214"/>
                  </a:lnTo>
                  <a:lnTo>
                    <a:pt x="239" y="184"/>
                  </a:lnTo>
                  <a:lnTo>
                    <a:pt x="251" y="178"/>
                  </a:lnTo>
                  <a:lnTo>
                    <a:pt x="258" y="171"/>
                  </a:lnTo>
                  <a:lnTo>
                    <a:pt x="258" y="159"/>
                  </a:lnTo>
                  <a:lnTo>
                    <a:pt x="251" y="153"/>
                  </a:lnTo>
                  <a:lnTo>
                    <a:pt x="245" y="141"/>
                  </a:lnTo>
                  <a:lnTo>
                    <a:pt x="245" y="135"/>
                  </a:lnTo>
                  <a:lnTo>
                    <a:pt x="264" y="135"/>
                  </a:lnTo>
                  <a:lnTo>
                    <a:pt x="270" y="122"/>
                  </a:lnTo>
                  <a:lnTo>
                    <a:pt x="276" y="104"/>
                  </a:lnTo>
                  <a:lnTo>
                    <a:pt x="276" y="98"/>
                  </a:lnTo>
                  <a:lnTo>
                    <a:pt x="301" y="86"/>
                  </a:lnTo>
                  <a:lnTo>
                    <a:pt x="325" y="92"/>
                  </a:lnTo>
                  <a:lnTo>
                    <a:pt x="331" y="98"/>
                  </a:lnTo>
                  <a:lnTo>
                    <a:pt x="343" y="73"/>
                  </a:lnTo>
                  <a:lnTo>
                    <a:pt x="343" y="55"/>
                  </a:lnTo>
                  <a:lnTo>
                    <a:pt x="343" y="49"/>
                  </a:lnTo>
                  <a:lnTo>
                    <a:pt x="356" y="43"/>
                  </a:lnTo>
                  <a:lnTo>
                    <a:pt x="362" y="43"/>
                  </a:lnTo>
                  <a:lnTo>
                    <a:pt x="368" y="49"/>
                  </a:lnTo>
                  <a:lnTo>
                    <a:pt x="386" y="49"/>
                  </a:lnTo>
                  <a:lnTo>
                    <a:pt x="435" y="61"/>
                  </a:lnTo>
                  <a:lnTo>
                    <a:pt x="448" y="49"/>
                  </a:lnTo>
                  <a:lnTo>
                    <a:pt x="435" y="49"/>
                  </a:lnTo>
                  <a:lnTo>
                    <a:pt x="435" y="43"/>
                  </a:lnTo>
                  <a:lnTo>
                    <a:pt x="448" y="37"/>
                  </a:lnTo>
                  <a:lnTo>
                    <a:pt x="454" y="24"/>
                  </a:lnTo>
                  <a:lnTo>
                    <a:pt x="454" y="12"/>
                  </a:lnTo>
                  <a:lnTo>
                    <a:pt x="441" y="0"/>
                  </a:lnTo>
                  <a:lnTo>
                    <a:pt x="466" y="0"/>
                  </a:lnTo>
                  <a:lnTo>
                    <a:pt x="472" y="0"/>
                  </a:lnTo>
                  <a:lnTo>
                    <a:pt x="478" y="6"/>
                  </a:lnTo>
                  <a:lnTo>
                    <a:pt x="478" y="12"/>
                  </a:lnTo>
                  <a:lnTo>
                    <a:pt x="490" y="18"/>
                  </a:lnTo>
                  <a:lnTo>
                    <a:pt x="497" y="24"/>
                  </a:lnTo>
                  <a:lnTo>
                    <a:pt x="503" y="31"/>
                  </a:lnTo>
                  <a:lnTo>
                    <a:pt x="503" y="37"/>
                  </a:lnTo>
                  <a:lnTo>
                    <a:pt x="509" y="37"/>
                  </a:lnTo>
                  <a:lnTo>
                    <a:pt x="515" y="37"/>
                  </a:lnTo>
                  <a:lnTo>
                    <a:pt x="521" y="43"/>
                  </a:lnTo>
                  <a:lnTo>
                    <a:pt x="527" y="43"/>
                  </a:lnTo>
                  <a:lnTo>
                    <a:pt x="533" y="43"/>
                  </a:lnTo>
                  <a:lnTo>
                    <a:pt x="533" y="49"/>
                  </a:lnTo>
                  <a:lnTo>
                    <a:pt x="539" y="55"/>
                  </a:lnTo>
                  <a:lnTo>
                    <a:pt x="546" y="49"/>
                  </a:lnTo>
                  <a:lnTo>
                    <a:pt x="552" y="55"/>
                  </a:lnTo>
                  <a:lnTo>
                    <a:pt x="564" y="55"/>
                  </a:lnTo>
                  <a:lnTo>
                    <a:pt x="570" y="55"/>
                  </a:lnTo>
                  <a:lnTo>
                    <a:pt x="576" y="61"/>
                  </a:lnTo>
                  <a:lnTo>
                    <a:pt x="582" y="67"/>
                  </a:lnTo>
                  <a:lnTo>
                    <a:pt x="588" y="67"/>
                  </a:lnTo>
                  <a:lnTo>
                    <a:pt x="588" y="73"/>
                  </a:lnTo>
                  <a:lnTo>
                    <a:pt x="588" y="80"/>
                  </a:lnTo>
                  <a:lnTo>
                    <a:pt x="595" y="80"/>
                  </a:lnTo>
                  <a:lnTo>
                    <a:pt x="601" y="86"/>
                  </a:lnTo>
                  <a:lnTo>
                    <a:pt x="601" y="92"/>
                  </a:lnTo>
                  <a:lnTo>
                    <a:pt x="607" y="92"/>
                  </a:lnTo>
                  <a:lnTo>
                    <a:pt x="613" y="92"/>
                  </a:lnTo>
                  <a:lnTo>
                    <a:pt x="613" y="98"/>
                  </a:lnTo>
                  <a:lnTo>
                    <a:pt x="613" y="104"/>
                  </a:lnTo>
                  <a:lnTo>
                    <a:pt x="607" y="104"/>
                  </a:lnTo>
                  <a:lnTo>
                    <a:pt x="607" y="116"/>
                  </a:lnTo>
                  <a:lnTo>
                    <a:pt x="607" y="122"/>
                  </a:lnTo>
                  <a:lnTo>
                    <a:pt x="613" y="122"/>
                  </a:lnTo>
                  <a:lnTo>
                    <a:pt x="613" y="129"/>
                  </a:lnTo>
                  <a:lnTo>
                    <a:pt x="607" y="129"/>
                  </a:lnTo>
                  <a:lnTo>
                    <a:pt x="607" y="135"/>
                  </a:lnTo>
                  <a:lnTo>
                    <a:pt x="601" y="135"/>
                  </a:lnTo>
                  <a:lnTo>
                    <a:pt x="601" y="141"/>
                  </a:lnTo>
                  <a:lnTo>
                    <a:pt x="607" y="141"/>
                  </a:lnTo>
                  <a:lnTo>
                    <a:pt x="613" y="141"/>
                  </a:lnTo>
                  <a:lnTo>
                    <a:pt x="619" y="141"/>
                  </a:lnTo>
                  <a:lnTo>
                    <a:pt x="619" y="147"/>
                  </a:lnTo>
                  <a:lnTo>
                    <a:pt x="619" y="153"/>
                  </a:lnTo>
                  <a:lnTo>
                    <a:pt x="613" y="153"/>
                  </a:lnTo>
                  <a:lnTo>
                    <a:pt x="613" y="159"/>
                  </a:lnTo>
                  <a:lnTo>
                    <a:pt x="613" y="165"/>
                  </a:lnTo>
                  <a:lnTo>
                    <a:pt x="619" y="171"/>
                  </a:lnTo>
                  <a:lnTo>
                    <a:pt x="619" y="178"/>
                  </a:lnTo>
                  <a:lnTo>
                    <a:pt x="625" y="184"/>
                  </a:lnTo>
                  <a:lnTo>
                    <a:pt x="631" y="190"/>
                  </a:lnTo>
                  <a:lnTo>
                    <a:pt x="631" y="196"/>
                  </a:lnTo>
                  <a:lnTo>
                    <a:pt x="625" y="202"/>
                  </a:lnTo>
                  <a:lnTo>
                    <a:pt x="625" y="208"/>
                  </a:lnTo>
                  <a:lnTo>
                    <a:pt x="625" y="214"/>
                  </a:lnTo>
                  <a:lnTo>
                    <a:pt x="625" y="220"/>
                  </a:lnTo>
                  <a:lnTo>
                    <a:pt x="619" y="220"/>
                  </a:lnTo>
                  <a:lnTo>
                    <a:pt x="613" y="227"/>
                  </a:lnTo>
                  <a:lnTo>
                    <a:pt x="619" y="233"/>
                  </a:lnTo>
                  <a:lnTo>
                    <a:pt x="613" y="239"/>
                  </a:lnTo>
                  <a:lnTo>
                    <a:pt x="619" y="245"/>
                  </a:lnTo>
                  <a:lnTo>
                    <a:pt x="625" y="251"/>
                  </a:lnTo>
                  <a:lnTo>
                    <a:pt x="631" y="257"/>
                  </a:lnTo>
                  <a:lnTo>
                    <a:pt x="631" y="263"/>
                  </a:lnTo>
                  <a:lnTo>
                    <a:pt x="638" y="263"/>
                  </a:lnTo>
                  <a:lnTo>
                    <a:pt x="638" y="269"/>
                  </a:lnTo>
                  <a:lnTo>
                    <a:pt x="638" y="276"/>
                  </a:lnTo>
                  <a:lnTo>
                    <a:pt x="644" y="276"/>
                  </a:lnTo>
                  <a:lnTo>
                    <a:pt x="638" y="282"/>
                  </a:lnTo>
                  <a:lnTo>
                    <a:pt x="631" y="282"/>
                  </a:lnTo>
                  <a:lnTo>
                    <a:pt x="631" y="288"/>
                  </a:lnTo>
                  <a:lnTo>
                    <a:pt x="625" y="288"/>
                  </a:lnTo>
                  <a:lnTo>
                    <a:pt x="625" y="282"/>
                  </a:lnTo>
                  <a:lnTo>
                    <a:pt x="625" y="288"/>
                  </a:lnTo>
                  <a:lnTo>
                    <a:pt x="619" y="288"/>
                  </a:lnTo>
                  <a:lnTo>
                    <a:pt x="619" y="282"/>
                  </a:lnTo>
                  <a:lnTo>
                    <a:pt x="613" y="282"/>
                  </a:lnTo>
                  <a:lnTo>
                    <a:pt x="607" y="282"/>
                  </a:lnTo>
                  <a:lnTo>
                    <a:pt x="601" y="282"/>
                  </a:lnTo>
                  <a:lnTo>
                    <a:pt x="601" y="288"/>
                  </a:lnTo>
                  <a:lnTo>
                    <a:pt x="601" y="282"/>
                  </a:lnTo>
                  <a:lnTo>
                    <a:pt x="595" y="282"/>
                  </a:lnTo>
                  <a:lnTo>
                    <a:pt x="588" y="282"/>
                  </a:lnTo>
                  <a:lnTo>
                    <a:pt x="595" y="288"/>
                  </a:lnTo>
                  <a:lnTo>
                    <a:pt x="588" y="288"/>
                  </a:lnTo>
                  <a:lnTo>
                    <a:pt x="582" y="288"/>
                  </a:lnTo>
                  <a:lnTo>
                    <a:pt x="582" y="282"/>
                  </a:lnTo>
                  <a:lnTo>
                    <a:pt x="576" y="282"/>
                  </a:lnTo>
                  <a:lnTo>
                    <a:pt x="570" y="282"/>
                  </a:lnTo>
                  <a:lnTo>
                    <a:pt x="570" y="276"/>
                  </a:lnTo>
                  <a:lnTo>
                    <a:pt x="564" y="276"/>
                  </a:lnTo>
                  <a:lnTo>
                    <a:pt x="570" y="276"/>
                  </a:lnTo>
                  <a:lnTo>
                    <a:pt x="570" y="282"/>
                  </a:lnTo>
                  <a:lnTo>
                    <a:pt x="570" y="288"/>
                  </a:lnTo>
                  <a:lnTo>
                    <a:pt x="564" y="288"/>
                  </a:lnTo>
                  <a:lnTo>
                    <a:pt x="564" y="282"/>
                  </a:lnTo>
                  <a:lnTo>
                    <a:pt x="558" y="288"/>
                  </a:lnTo>
                  <a:lnTo>
                    <a:pt x="558" y="282"/>
                  </a:lnTo>
                  <a:lnTo>
                    <a:pt x="558" y="276"/>
                  </a:lnTo>
                  <a:lnTo>
                    <a:pt x="552" y="282"/>
                  </a:lnTo>
                  <a:lnTo>
                    <a:pt x="552" y="288"/>
                  </a:lnTo>
                  <a:lnTo>
                    <a:pt x="552" y="294"/>
                  </a:lnTo>
                  <a:lnTo>
                    <a:pt x="546" y="294"/>
                  </a:lnTo>
                  <a:lnTo>
                    <a:pt x="546" y="300"/>
                  </a:lnTo>
                  <a:lnTo>
                    <a:pt x="546" y="294"/>
                  </a:lnTo>
                  <a:lnTo>
                    <a:pt x="552" y="294"/>
                  </a:lnTo>
                  <a:lnTo>
                    <a:pt x="552" y="300"/>
                  </a:lnTo>
                  <a:lnTo>
                    <a:pt x="552" y="306"/>
                  </a:lnTo>
                  <a:lnTo>
                    <a:pt x="552" y="312"/>
                  </a:lnTo>
                  <a:lnTo>
                    <a:pt x="546" y="306"/>
                  </a:lnTo>
                  <a:lnTo>
                    <a:pt x="546" y="312"/>
                  </a:lnTo>
                  <a:lnTo>
                    <a:pt x="539" y="306"/>
                  </a:lnTo>
                  <a:lnTo>
                    <a:pt x="539" y="312"/>
                  </a:lnTo>
                  <a:lnTo>
                    <a:pt x="539" y="306"/>
                  </a:lnTo>
                  <a:lnTo>
                    <a:pt x="533" y="306"/>
                  </a:lnTo>
                  <a:lnTo>
                    <a:pt x="527" y="306"/>
                  </a:lnTo>
                  <a:lnTo>
                    <a:pt x="527" y="312"/>
                  </a:lnTo>
                  <a:lnTo>
                    <a:pt x="533" y="306"/>
                  </a:lnTo>
                  <a:lnTo>
                    <a:pt x="533" y="312"/>
                  </a:lnTo>
                  <a:lnTo>
                    <a:pt x="533" y="318"/>
                  </a:lnTo>
                  <a:lnTo>
                    <a:pt x="527" y="312"/>
                  </a:lnTo>
                  <a:lnTo>
                    <a:pt x="527" y="318"/>
                  </a:lnTo>
                  <a:lnTo>
                    <a:pt x="521" y="318"/>
                  </a:lnTo>
                  <a:lnTo>
                    <a:pt x="515" y="318"/>
                  </a:lnTo>
                  <a:lnTo>
                    <a:pt x="521" y="325"/>
                  </a:lnTo>
                  <a:lnTo>
                    <a:pt x="515" y="325"/>
                  </a:lnTo>
                  <a:lnTo>
                    <a:pt x="515" y="318"/>
                  </a:lnTo>
                  <a:lnTo>
                    <a:pt x="509" y="325"/>
                  </a:lnTo>
                  <a:lnTo>
                    <a:pt x="515" y="325"/>
                  </a:lnTo>
                  <a:lnTo>
                    <a:pt x="521" y="325"/>
                  </a:lnTo>
                  <a:lnTo>
                    <a:pt x="515" y="331"/>
                  </a:lnTo>
                  <a:lnTo>
                    <a:pt x="521" y="331"/>
                  </a:lnTo>
                  <a:lnTo>
                    <a:pt x="521" y="337"/>
                  </a:lnTo>
                  <a:lnTo>
                    <a:pt x="515" y="331"/>
                  </a:lnTo>
                  <a:lnTo>
                    <a:pt x="509" y="331"/>
                  </a:lnTo>
                  <a:lnTo>
                    <a:pt x="515" y="337"/>
                  </a:lnTo>
                  <a:lnTo>
                    <a:pt x="515" y="343"/>
                  </a:lnTo>
                  <a:lnTo>
                    <a:pt x="509" y="343"/>
                  </a:lnTo>
                  <a:lnTo>
                    <a:pt x="509" y="349"/>
                  </a:lnTo>
                  <a:lnTo>
                    <a:pt x="509" y="355"/>
                  </a:lnTo>
                  <a:lnTo>
                    <a:pt x="503" y="355"/>
                  </a:lnTo>
                  <a:lnTo>
                    <a:pt x="497" y="361"/>
                  </a:lnTo>
                  <a:lnTo>
                    <a:pt x="497" y="367"/>
                  </a:lnTo>
                  <a:lnTo>
                    <a:pt x="490" y="367"/>
                  </a:lnTo>
                  <a:lnTo>
                    <a:pt x="484" y="367"/>
                  </a:lnTo>
                  <a:lnTo>
                    <a:pt x="490" y="374"/>
                  </a:lnTo>
                  <a:lnTo>
                    <a:pt x="497" y="374"/>
                  </a:lnTo>
                  <a:lnTo>
                    <a:pt x="497" y="380"/>
                  </a:lnTo>
                  <a:lnTo>
                    <a:pt x="503" y="380"/>
                  </a:lnTo>
                  <a:lnTo>
                    <a:pt x="497" y="386"/>
                  </a:lnTo>
                  <a:lnTo>
                    <a:pt x="497" y="380"/>
                  </a:lnTo>
                  <a:lnTo>
                    <a:pt x="497" y="386"/>
                  </a:lnTo>
                  <a:lnTo>
                    <a:pt x="503" y="392"/>
                  </a:lnTo>
                  <a:lnTo>
                    <a:pt x="503" y="386"/>
                  </a:lnTo>
                  <a:lnTo>
                    <a:pt x="503" y="392"/>
                  </a:lnTo>
                  <a:lnTo>
                    <a:pt x="509" y="392"/>
                  </a:lnTo>
                  <a:lnTo>
                    <a:pt x="509" y="398"/>
                  </a:lnTo>
                  <a:lnTo>
                    <a:pt x="503" y="398"/>
                  </a:lnTo>
                  <a:lnTo>
                    <a:pt x="509" y="398"/>
                  </a:lnTo>
                  <a:lnTo>
                    <a:pt x="515" y="398"/>
                  </a:lnTo>
                  <a:lnTo>
                    <a:pt x="515" y="404"/>
                  </a:lnTo>
                  <a:lnTo>
                    <a:pt x="509" y="404"/>
                  </a:lnTo>
                  <a:lnTo>
                    <a:pt x="509" y="410"/>
                  </a:lnTo>
                  <a:lnTo>
                    <a:pt x="503" y="410"/>
                  </a:lnTo>
                  <a:lnTo>
                    <a:pt x="503" y="416"/>
                  </a:lnTo>
                  <a:lnTo>
                    <a:pt x="497" y="416"/>
                  </a:lnTo>
                  <a:lnTo>
                    <a:pt x="490" y="416"/>
                  </a:lnTo>
                  <a:lnTo>
                    <a:pt x="490" y="423"/>
                  </a:lnTo>
                  <a:lnTo>
                    <a:pt x="484" y="429"/>
                  </a:lnTo>
                  <a:lnTo>
                    <a:pt x="484" y="435"/>
                  </a:lnTo>
                  <a:lnTo>
                    <a:pt x="478" y="435"/>
                  </a:lnTo>
                  <a:lnTo>
                    <a:pt x="478" y="441"/>
                  </a:lnTo>
                  <a:lnTo>
                    <a:pt x="478" y="447"/>
                  </a:lnTo>
                  <a:lnTo>
                    <a:pt x="472" y="447"/>
                  </a:lnTo>
                  <a:lnTo>
                    <a:pt x="472" y="453"/>
                  </a:lnTo>
                  <a:lnTo>
                    <a:pt x="466" y="459"/>
                  </a:lnTo>
                  <a:lnTo>
                    <a:pt x="466" y="465"/>
                  </a:lnTo>
                  <a:lnTo>
                    <a:pt x="454" y="465"/>
                  </a:lnTo>
                  <a:lnTo>
                    <a:pt x="448" y="472"/>
                  </a:lnTo>
                  <a:lnTo>
                    <a:pt x="441" y="472"/>
                  </a:lnTo>
                  <a:lnTo>
                    <a:pt x="441" y="465"/>
                  </a:lnTo>
                  <a:lnTo>
                    <a:pt x="435" y="472"/>
                  </a:lnTo>
                  <a:lnTo>
                    <a:pt x="429" y="478"/>
                  </a:lnTo>
                  <a:lnTo>
                    <a:pt x="423" y="484"/>
                  </a:lnTo>
                  <a:lnTo>
                    <a:pt x="423" y="490"/>
                  </a:lnTo>
                  <a:lnTo>
                    <a:pt x="417" y="484"/>
                  </a:lnTo>
                  <a:lnTo>
                    <a:pt x="417" y="478"/>
                  </a:lnTo>
                  <a:lnTo>
                    <a:pt x="411" y="478"/>
                  </a:lnTo>
                  <a:lnTo>
                    <a:pt x="411" y="484"/>
                  </a:lnTo>
                  <a:lnTo>
                    <a:pt x="411" y="490"/>
                  </a:lnTo>
                  <a:lnTo>
                    <a:pt x="405" y="484"/>
                  </a:lnTo>
                  <a:lnTo>
                    <a:pt x="405" y="490"/>
                  </a:lnTo>
                  <a:lnTo>
                    <a:pt x="405" y="484"/>
                  </a:lnTo>
                  <a:lnTo>
                    <a:pt x="399" y="490"/>
                  </a:lnTo>
                  <a:lnTo>
                    <a:pt x="399" y="496"/>
                  </a:lnTo>
                  <a:lnTo>
                    <a:pt x="392" y="496"/>
                  </a:lnTo>
                  <a:lnTo>
                    <a:pt x="392" y="502"/>
                  </a:lnTo>
                  <a:lnTo>
                    <a:pt x="386" y="502"/>
                  </a:lnTo>
                  <a:lnTo>
                    <a:pt x="392" y="508"/>
                  </a:lnTo>
                  <a:lnTo>
                    <a:pt x="386" y="508"/>
                  </a:lnTo>
                  <a:lnTo>
                    <a:pt x="380" y="508"/>
                  </a:lnTo>
                  <a:lnTo>
                    <a:pt x="374" y="508"/>
                  </a:lnTo>
                  <a:lnTo>
                    <a:pt x="374" y="502"/>
                  </a:lnTo>
                  <a:lnTo>
                    <a:pt x="374" y="508"/>
                  </a:lnTo>
                  <a:lnTo>
                    <a:pt x="374" y="514"/>
                  </a:lnTo>
                  <a:lnTo>
                    <a:pt x="368" y="508"/>
                  </a:lnTo>
                  <a:lnTo>
                    <a:pt x="368" y="514"/>
                  </a:lnTo>
                  <a:lnTo>
                    <a:pt x="362" y="514"/>
                  </a:lnTo>
                  <a:lnTo>
                    <a:pt x="362" y="521"/>
                  </a:lnTo>
                  <a:lnTo>
                    <a:pt x="362" y="527"/>
                  </a:lnTo>
                  <a:lnTo>
                    <a:pt x="362" y="521"/>
                  </a:lnTo>
                  <a:lnTo>
                    <a:pt x="356" y="521"/>
                  </a:lnTo>
                  <a:lnTo>
                    <a:pt x="362" y="527"/>
                  </a:lnTo>
                  <a:lnTo>
                    <a:pt x="356" y="527"/>
                  </a:lnTo>
                  <a:lnTo>
                    <a:pt x="356" y="521"/>
                  </a:lnTo>
                  <a:lnTo>
                    <a:pt x="356" y="527"/>
                  </a:lnTo>
                  <a:lnTo>
                    <a:pt x="350" y="527"/>
                  </a:lnTo>
                  <a:lnTo>
                    <a:pt x="356" y="527"/>
                  </a:lnTo>
                  <a:lnTo>
                    <a:pt x="362" y="527"/>
                  </a:lnTo>
                  <a:lnTo>
                    <a:pt x="368" y="527"/>
                  </a:lnTo>
                  <a:lnTo>
                    <a:pt x="368" y="533"/>
                  </a:lnTo>
                  <a:lnTo>
                    <a:pt x="362" y="533"/>
                  </a:lnTo>
                  <a:lnTo>
                    <a:pt x="362" y="539"/>
                  </a:lnTo>
                  <a:lnTo>
                    <a:pt x="356" y="539"/>
                  </a:lnTo>
                  <a:lnTo>
                    <a:pt x="356" y="545"/>
                  </a:lnTo>
                  <a:lnTo>
                    <a:pt x="350" y="545"/>
                  </a:lnTo>
                  <a:lnTo>
                    <a:pt x="350" y="551"/>
                  </a:lnTo>
                  <a:lnTo>
                    <a:pt x="343" y="551"/>
                  </a:lnTo>
                  <a:lnTo>
                    <a:pt x="343" y="557"/>
                  </a:lnTo>
                  <a:lnTo>
                    <a:pt x="343" y="563"/>
                  </a:lnTo>
                  <a:lnTo>
                    <a:pt x="337" y="563"/>
                  </a:lnTo>
                  <a:lnTo>
                    <a:pt x="337" y="570"/>
                  </a:lnTo>
                  <a:lnTo>
                    <a:pt x="331" y="570"/>
                  </a:lnTo>
                  <a:lnTo>
                    <a:pt x="325" y="570"/>
                  </a:lnTo>
                  <a:lnTo>
                    <a:pt x="325" y="576"/>
                  </a:lnTo>
                  <a:lnTo>
                    <a:pt x="319" y="576"/>
                  </a:lnTo>
                  <a:lnTo>
                    <a:pt x="313" y="570"/>
                  </a:lnTo>
                  <a:lnTo>
                    <a:pt x="313" y="563"/>
                  </a:lnTo>
                  <a:lnTo>
                    <a:pt x="307" y="570"/>
                  </a:lnTo>
                  <a:lnTo>
                    <a:pt x="313" y="570"/>
                  </a:lnTo>
                  <a:lnTo>
                    <a:pt x="307" y="570"/>
                  </a:lnTo>
                  <a:lnTo>
                    <a:pt x="313" y="570"/>
                  </a:lnTo>
                  <a:lnTo>
                    <a:pt x="313" y="576"/>
                  </a:lnTo>
                  <a:lnTo>
                    <a:pt x="319" y="582"/>
                  </a:lnTo>
                  <a:lnTo>
                    <a:pt x="313" y="582"/>
                  </a:lnTo>
                  <a:lnTo>
                    <a:pt x="307" y="582"/>
                  </a:lnTo>
                  <a:lnTo>
                    <a:pt x="307" y="588"/>
                  </a:lnTo>
                  <a:lnTo>
                    <a:pt x="313" y="588"/>
                  </a:lnTo>
                  <a:lnTo>
                    <a:pt x="313" y="594"/>
                  </a:lnTo>
                  <a:lnTo>
                    <a:pt x="319" y="594"/>
                  </a:lnTo>
                  <a:lnTo>
                    <a:pt x="325" y="594"/>
                  </a:lnTo>
                  <a:lnTo>
                    <a:pt x="319" y="594"/>
                  </a:lnTo>
                  <a:lnTo>
                    <a:pt x="313" y="594"/>
                  </a:lnTo>
                  <a:lnTo>
                    <a:pt x="319" y="600"/>
                  </a:lnTo>
                  <a:lnTo>
                    <a:pt x="313" y="600"/>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1" name="Freeform 102"/>
            <p:cNvSpPr>
              <a:spLocks/>
            </p:cNvSpPr>
            <p:nvPr/>
          </p:nvSpPr>
          <p:spPr bwMode="auto">
            <a:xfrm>
              <a:off x="4328116" y="3109292"/>
              <a:ext cx="158444" cy="430180"/>
            </a:xfrm>
            <a:custGeom>
              <a:avLst/>
              <a:gdLst>
                <a:gd name="T0" fmla="*/ 47883760 w 98"/>
                <a:gd name="T1" fmla="*/ 30241875 h 294"/>
                <a:gd name="T2" fmla="*/ 32761240 w 98"/>
                <a:gd name="T3" fmla="*/ 63003111 h 294"/>
                <a:gd name="T4" fmla="*/ 47883760 w 98"/>
                <a:gd name="T5" fmla="*/ 78124042 h 294"/>
                <a:gd name="T6" fmla="*/ 32761240 w 98"/>
                <a:gd name="T7" fmla="*/ 93244974 h 294"/>
                <a:gd name="T8" fmla="*/ 47883760 w 98"/>
                <a:gd name="T9" fmla="*/ 108365930 h 294"/>
                <a:gd name="T10" fmla="*/ 47883760 w 98"/>
                <a:gd name="T11" fmla="*/ 108365930 h 294"/>
                <a:gd name="T12" fmla="*/ 17640301 w 98"/>
                <a:gd name="T13" fmla="*/ 108365930 h 294"/>
                <a:gd name="T14" fmla="*/ 17640301 w 98"/>
                <a:gd name="T15" fmla="*/ 138607792 h 294"/>
                <a:gd name="T16" fmla="*/ 17640301 w 98"/>
                <a:gd name="T17" fmla="*/ 171370603 h 294"/>
                <a:gd name="T18" fmla="*/ 17640301 w 98"/>
                <a:gd name="T19" fmla="*/ 186491535 h 294"/>
                <a:gd name="T20" fmla="*/ 17640301 w 98"/>
                <a:gd name="T21" fmla="*/ 216733447 h 294"/>
                <a:gd name="T22" fmla="*/ 17640301 w 98"/>
                <a:gd name="T23" fmla="*/ 246975309 h 294"/>
                <a:gd name="T24" fmla="*/ 17640301 w 98"/>
                <a:gd name="T25" fmla="*/ 246975309 h 294"/>
                <a:gd name="T26" fmla="*/ 17640301 w 98"/>
                <a:gd name="T27" fmla="*/ 277217172 h 294"/>
                <a:gd name="T28" fmla="*/ 32761240 w 98"/>
                <a:gd name="T29" fmla="*/ 294857464 h 294"/>
                <a:gd name="T30" fmla="*/ 32761240 w 98"/>
                <a:gd name="T31" fmla="*/ 294857464 h 294"/>
                <a:gd name="T32" fmla="*/ 17640301 w 98"/>
                <a:gd name="T33" fmla="*/ 325100914 h 294"/>
                <a:gd name="T34" fmla="*/ 47883760 w 98"/>
                <a:gd name="T35" fmla="*/ 325100914 h 294"/>
                <a:gd name="T36" fmla="*/ 63003118 w 98"/>
                <a:gd name="T37" fmla="*/ 340221845 h 294"/>
                <a:gd name="T38" fmla="*/ 78124050 w 98"/>
                <a:gd name="T39" fmla="*/ 355342777 h 294"/>
                <a:gd name="T40" fmla="*/ 93246571 w 98"/>
                <a:gd name="T41" fmla="*/ 355342777 h 294"/>
                <a:gd name="T42" fmla="*/ 108367528 w 98"/>
                <a:gd name="T43" fmla="*/ 340221845 h 294"/>
                <a:gd name="T44" fmla="*/ 123488461 w 98"/>
                <a:gd name="T45" fmla="*/ 355342777 h 294"/>
                <a:gd name="T46" fmla="*/ 141128756 w 98"/>
                <a:gd name="T47" fmla="*/ 385583052 h 294"/>
                <a:gd name="T48" fmla="*/ 141128756 w 98"/>
                <a:gd name="T49" fmla="*/ 385583052 h 294"/>
                <a:gd name="T50" fmla="*/ 156249688 w 98"/>
                <a:gd name="T51" fmla="*/ 385583052 h 294"/>
                <a:gd name="T52" fmla="*/ 186491554 w 98"/>
                <a:gd name="T53" fmla="*/ 418345962 h 294"/>
                <a:gd name="T54" fmla="*/ 171370621 w 98"/>
                <a:gd name="T55" fmla="*/ 433466893 h 294"/>
                <a:gd name="T56" fmla="*/ 201612487 w 98"/>
                <a:gd name="T57" fmla="*/ 433466893 h 294"/>
                <a:gd name="T58" fmla="*/ 216733469 w 98"/>
                <a:gd name="T59" fmla="*/ 448587825 h 294"/>
                <a:gd name="T60" fmla="*/ 216733469 w 98"/>
                <a:gd name="T61" fmla="*/ 478829687 h 294"/>
                <a:gd name="T62" fmla="*/ 231854402 w 98"/>
                <a:gd name="T63" fmla="*/ 493950618 h 294"/>
                <a:gd name="T64" fmla="*/ 246975335 w 98"/>
                <a:gd name="T65" fmla="*/ 509071550 h 294"/>
                <a:gd name="T66" fmla="*/ 246975335 w 98"/>
                <a:gd name="T67" fmla="*/ 524192481 h 294"/>
                <a:gd name="T68" fmla="*/ 216733469 w 98"/>
                <a:gd name="T69" fmla="*/ 541832773 h 294"/>
                <a:gd name="T70" fmla="*/ 201612487 w 98"/>
                <a:gd name="T71" fmla="*/ 556953705 h 294"/>
                <a:gd name="T72" fmla="*/ 186491554 w 98"/>
                <a:gd name="T73" fmla="*/ 572074636 h 294"/>
                <a:gd name="T74" fmla="*/ 156249688 w 98"/>
                <a:gd name="T75" fmla="*/ 587195567 h 294"/>
                <a:gd name="T76" fmla="*/ 171370621 w 98"/>
                <a:gd name="T77" fmla="*/ 602316498 h 294"/>
                <a:gd name="T78" fmla="*/ 186491554 w 98"/>
                <a:gd name="T79" fmla="*/ 602316498 h 294"/>
                <a:gd name="T80" fmla="*/ 201612487 w 98"/>
                <a:gd name="T81" fmla="*/ 617437430 h 294"/>
                <a:gd name="T82" fmla="*/ 201612487 w 98"/>
                <a:gd name="T83" fmla="*/ 617437430 h 294"/>
                <a:gd name="T84" fmla="*/ 201612487 w 98"/>
                <a:gd name="T85" fmla="*/ 632558361 h 294"/>
                <a:gd name="T86" fmla="*/ 171370621 w 98"/>
                <a:gd name="T87" fmla="*/ 632558361 h 294"/>
                <a:gd name="T88" fmla="*/ 156249688 w 98"/>
                <a:gd name="T89" fmla="*/ 632558361 h 294"/>
                <a:gd name="T90" fmla="*/ 156249688 w 98"/>
                <a:gd name="T91" fmla="*/ 647680880 h 294"/>
                <a:gd name="T92" fmla="*/ 141128756 w 98"/>
                <a:gd name="T93" fmla="*/ 665321172 h 294"/>
                <a:gd name="T94" fmla="*/ 141128756 w 98"/>
                <a:gd name="T95" fmla="*/ 665321172 h 294"/>
                <a:gd name="T96" fmla="*/ 123488461 w 98"/>
                <a:gd name="T97" fmla="*/ 680442103 h 294"/>
                <a:gd name="T98" fmla="*/ 108367528 w 98"/>
                <a:gd name="T99" fmla="*/ 695563035 h 294"/>
                <a:gd name="T100" fmla="*/ 108367528 w 98"/>
                <a:gd name="T101" fmla="*/ 725804897 h 294"/>
                <a:gd name="T102" fmla="*/ 93246571 w 98"/>
                <a:gd name="T103" fmla="*/ 710683966 h 294"/>
                <a:gd name="T104" fmla="*/ 78124050 w 98"/>
                <a:gd name="T105" fmla="*/ 695563035 h 294"/>
                <a:gd name="T106" fmla="*/ 78124050 w 98"/>
                <a:gd name="T107" fmla="*/ 665321172 h 294"/>
                <a:gd name="T108" fmla="*/ 78124050 w 98"/>
                <a:gd name="T109" fmla="*/ 665321172 h 294"/>
                <a:gd name="T110" fmla="*/ 63003118 w 98"/>
                <a:gd name="T111" fmla="*/ 665321172 h 294"/>
                <a:gd name="T112" fmla="*/ 63003118 w 98"/>
                <a:gd name="T113" fmla="*/ 695563035 h 294"/>
                <a:gd name="T114" fmla="*/ 63003118 w 98"/>
                <a:gd name="T115" fmla="*/ 725804897 h 294"/>
                <a:gd name="T116" fmla="*/ 47883760 w 98"/>
                <a:gd name="T117" fmla="*/ 740925828 h 2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8"/>
                <a:gd name="T178" fmla="*/ 0 h 294"/>
                <a:gd name="T179" fmla="*/ 98 w 98"/>
                <a:gd name="T180" fmla="*/ 294 h 2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8" h="294">
                  <a:moveTo>
                    <a:pt x="19" y="0"/>
                  </a:moveTo>
                  <a:lnTo>
                    <a:pt x="19" y="12"/>
                  </a:lnTo>
                  <a:lnTo>
                    <a:pt x="13" y="19"/>
                  </a:lnTo>
                  <a:lnTo>
                    <a:pt x="13" y="25"/>
                  </a:lnTo>
                  <a:lnTo>
                    <a:pt x="13" y="31"/>
                  </a:lnTo>
                  <a:lnTo>
                    <a:pt x="19" y="31"/>
                  </a:lnTo>
                  <a:lnTo>
                    <a:pt x="13" y="31"/>
                  </a:lnTo>
                  <a:lnTo>
                    <a:pt x="13" y="37"/>
                  </a:lnTo>
                  <a:lnTo>
                    <a:pt x="19" y="37"/>
                  </a:lnTo>
                  <a:lnTo>
                    <a:pt x="19" y="43"/>
                  </a:lnTo>
                  <a:lnTo>
                    <a:pt x="19" y="49"/>
                  </a:lnTo>
                  <a:lnTo>
                    <a:pt x="19" y="43"/>
                  </a:lnTo>
                  <a:lnTo>
                    <a:pt x="13" y="43"/>
                  </a:lnTo>
                  <a:lnTo>
                    <a:pt x="7" y="43"/>
                  </a:lnTo>
                  <a:lnTo>
                    <a:pt x="7" y="49"/>
                  </a:lnTo>
                  <a:lnTo>
                    <a:pt x="7" y="55"/>
                  </a:lnTo>
                  <a:lnTo>
                    <a:pt x="7" y="61"/>
                  </a:lnTo>
                  <a:lnTo>
                    <a:pt x="7" y="68"/>
                  </a:lnTo>
                  <a:lnTo>
                    <a:pt x="0" y="68"/>
                  </a:lnTo>
                  <a:lnTo>
                    <a:pt x="7" y="74"/>
                  </a:lnTo>
                  <a:lnTo>
                    <a:pt x="7" y="80"/>
                  </a:lnTo>
                  <a:lnTo>
                    <a:pt x="7" y="86"/>
                  </a:lnTo>
                  <a:lnTo>
                    <a:pt x="7" y="92"/>
                  </a:lnTo>
                  <a:lnTo>
                    <a:pt x="7" y="98"/>
                  </a:lnTo>
                  <a:lnTo>
                    <a:pt x="0" y="98"/>
                  </a:lnTo>
                  <a:lnTo>
                    <a:pt x="7" y="98"/>
                  </a:lnTo>
                  <a:lnTo>
                    <a:pt x="7" y="104"/>
                  </a:lnTo>
                  <a:lnTo>
                    <a:pt x="7" y="110"/>
                  </a:lnTo>
                  <a:lnTo>
                    <a:pt x="13" y="110"/>
                  </a:lnTo>
                  <a:lnTo>
                    <a:pt x="13" y="117"/>
                  </a:lnTo>
                  <a:lnTo>
                    <a:pt x="7" y="117"/>
                  </a:lnTo>
                  <a:lnTo>
                    <a:pt x="13" y="117"/>
                  </a:lnTo>
                  <a:lnTo>
                    <a:pt x="13" y="123"/>
                  </a:lnTo>
                  <a:lnTo>
                    <a:pt x="7" y="129"/>
                  </a:lnTo>
                  <a:lnTo>
                    <a:pt x="13" y="129"/>
                  </a:lnTo>
                  <a:lnTo>
                    <a:pt x="19" y="129"/>
                  </a:lnTo>
                  <a:lnTo>
                    <a:pt x="25" y="129"/>
                  </a:lnTo>
                  <a:lnTo>
                    <a:pt x="25" y="135"/>
                  </a:lnTo>
                  <a:lnTo>
                    <a:pt x="25" y="141"/>
                  </a:lnTo>
                  <a:lnTo>
                    <a:pt x="31" y="141"/>
                  </a:lnTo>
                  <a:lnTo>
                    <a:pt x="37" y="135"/>
                  </a:lnTo>
                  <a:lnTo>
                    <a:pt x="37" y="141"/>
                  </a:lnTo>
                  <a:lnTo>
                    <a:pt x="37" y="135"/>
                  </a:lnTo>
                  <a:lnTo>
                    <a:pt x="43" y="135"/>
                  </a:lnTo>
                  <a:lnTo>
                    <a:pt x="43" y="141"/>
                  </a:lnTo>
                  <a:lnTo>
                    <a:pt x="49" y="141"/>
                  </a:lnTo>
                  <a:lnTo>
                    <a:pt x="49" y="147"/>
                  </a:lnTo>
                  <a:lnTo>
                    <a:pt x="56" y="153"/>
                  </a:lnTo>
                  <a:lnTo>
                    <a:pt x="62" y="153"/>
                  </a:lnTo>
                  <a:lnTo>
                    <a:pt x="56" y="153"/>
                  </a:lnTo>
                  <a:lnTo>
                    <a:pt x="56" y="159"/>
                  </a:lnTo>
                  <a:lnTo>
                    <a:pt x="62" y="153"/>
                  </a:lnTo>
                  <a:lnTo>
                    <a:pt x="68" y="159"/>
                  </a:lnTo>
                  <a:lnTo>
                    <a:pt x="74" y="166"/>
                  </a:lnTo>
                  <a:lnTo>
                    <a:pt x="68" y="166"/>
                  </a:lnTo>
                  <a:lnTo>
                    <a:pt x="68" y="172"/>
                  </a:lnTo>
                  <a:lnTo>
                    <a:pt x="74" y="172"/>
                  </a:lnTo>
                  <a:lnTo>
                    <a:pt x="80" y="172"/>
                  </a:lnTo>
                  <a:lnTo>
                    <a:pt x="80" y="178"/>
                  </a:lnTo>
                  <a:lnTo>
                    <a:pt x="86" y="178"/>
                  </a:lnTo>
                  <a:lnTo>
                    <a:pt x="86" y="184"/>
                  </a:lnTo>
                  <a:lnTo>
                    <a:pt x="86" y="190"/>
                  </a:lnTo>
                  <a:lnTo>
                    <a:pt x="92" y="190"/>
                  </a:lnTo>
                  <a:lnTo>
                    <a:pt x="92" y="196"/>
                  </a:lnTo>
                  <a:lnTo>
                    <a:pt x="98" y="196"/>
                  </a:lnTo>
                  <a:lnTo>
                    <a:pt x="98" y="202"/>
                  </a:lnTo>
                  <a:lnTo>
                    <a:pt x="92" y="202"/>
                  </a:lnTo>
                  <a:lnTo>
                    <a:pt x="98" y="208"/>
                  </a:lnTo>
                  <a:lnTo>
                    <a:pt x="92" y="208"/>
                  </a:lnTo>
                  <a:lnTo>
                    <a:pt x="86" y="215"/>
                  </a:lnTo>
                  <a:lnTo>
                    <a:pt x="80" y="215"/>
                  </a:lnTo>
                  <a:lnTo>
                    <a:pt x="80" y="221"/>
                  </a:lnTo>
                  <a:lnTo>
                    <a:pt x="74" y="221"/>
                  </a:lnTo>
                  <a:lnTo>
                    <a:pt x="74" y="227"/>
                  </a:lnTo>
                  <a:lnTo>
                    <a:pt x="68" y="227"/>
                  </a:lnTo>
                  <a:lnTo>
                    <a:pt x="62" y="233"/>
                  </a:lnTo>
                  <a:lnTo>
                    <a:pt x="62" y="239"/>
                  </a:lnTo>
                  <a:lnTo>
                    <a:pt x="68" y="239"/>
                  </a:lnTo>
                  <a:lnTo>
                    <a:pt x="68" y="233"/>
                  </a:lnTo>
                  <a:lnTo>
                    <a:pt x="74" y="239"/>
                  </a:lnTo>
                  <a:lnTo>
                    <a:pt x="80" y="239"/>
                  </a:lnTo>
                  <a:lnTo>
                    <a:pt x="80" y="245"/>
                  </a:lnTo>
                  <a:lnTo>
                    <a:pt x="74" y="245"/>
                  </a:lnTo>
                  <a:lnTo>
                    <a:pt x="80" y="245"/>
                  </a:lnTo>
                  <a:lnTo>
                    <a:pt x="86" y="245"/>
                  </a:lnTo>
                  <a:lnTo>
                    <a:pt x="80" y="251"/>
                  </a:lnTo>
                  <a:lnTo>
                    <a:pt x="74" y="251"/>
                  </a:lnTo>
                  <a:lnTo>
                    <a:pt x="68" y="251"/>
                  </a:lnTo>
                  <a:lnTo>
                    <a:pt x="62" y="245"/>
                  </a:lnTo>
                  <a:lnTo>
                    <a:pt x="62" y="251"/>
                  </a:lnTo>
                  <a:lnTo>
                    <a:pt x="68" y="257"/>
                  </a:lnTo>
                  <a:lnTo>
                    <a:pt x="62" y="257"/>
                  </a:lnTo>
                  <a:lnTo>
                    <a:pt x="62" y="264"/>
                  </a:lnTo>
                  <a:lnTo>
                    <a:pt x="56" y="264"/>
                  </a:lnTo>
                  <a:lnTo>
                    <a:pt x="62" y="264"/>
                  </a:lnTo>
                  <a:lnTo>
                    <a:pt x="56" y="264"/>
                  </a:lnTo>
                  <a:lnTo>
                    <a:pt x="49" y="264"/>
                  </a:lnTo>
                  <a:lnTo>
                    <a:pt x="49" y="270"/>
                  </a:lnTo>
                  <a:lnTo>
                    <a:pt x="43" y="270"/>
                  </a:lnTo>
                  <a:lnTo>
                    <a:pt x="43" y="276"/>
                  </a:lnTo>
                  <a:lnTo>
                    <a:pt x="43" y="282"/>
                  </a:lnTo>
                  <a:lnTo>
                    <a:pt x="43" y="288"/>
                  </a:lnTo>
                  <a:lnTo>
                    <a:pt x="37" y="288"/>
                  </a:lnTo>
                  <a:lnTo>
                    <a:pt x="37" y="282"/>
                  </a:lnTo>
                  <a:lnTo>
                    <a:pt x="31" y="282"/>
                  </a:lnTo>
                  <a:lnTo>
                    <a:pt x="31" y="276"/>
                  </a:lnTo>
                  <a:lnTo>
                    <a:pt x="31" y="270"/>
                  </a:lnTo>
                  <a:lnTo>
                    <a:pt x="31" y="264"/>
                  </a:lnTo>
                  <a:lnTo>
                    <a:pt x="31" y="270"/>
                  </a:lnTo>
                  <a:lnTo>
                    <a:pt x="31" y="264"/>
                  </a:lnTo>
                  <a:lnTo>
                    <a:pt x="25" y="257"/>
                  </a:lnTo>
                  <a:lnTo>
                    <a:pt x="25" y="264"/>
                  </a:lnTo>
                  <a:lnTo>
                    <a:pt x="25" y="270"/>
                  </a:lnTo>
                  <a:lnTo>
                    <a:pt x="25" y="276"/>
                  </a:lnTo>
                  <a:lnTo>
                    <a:pt x="25" y="282"/>
                  </a:lnTo>
                  <a:lnTo>
                    <a:pt x="25" y="288"/>
                  </a:lnTo>
                  <a:lnTo>
                    <a:pt x="19" y="288"/>
                  </a:lnTo>
                  <a:lnTo>
                    <a:pt x="19" y="294"/>
                  </a:lnTo>
                  <a:lnTo>
                    <a:pt x="13" y="288"/>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2" name="Freeform 103"/>
            <p:cNvSpPr>
              <a:spLocks/>
            </p:cNvSpPr>
            <p:nvPr/>
          </p:nvSpPr>
          <p:spPr bwMode="auto">
            <a:xfrm>
              <a:off x="3953023" y="3458996"/>
              <a:ext cx="137426" cy="125835"/>
            </a:xfrm>
            <a:custGeom>
              <a:avLst/>
              <a:gdLst>
                <a:gd name="T0" fmla="*/ 45362641 w 85"/>
                <a:gd name="T1" fmla="*/ 93246567 h 86"/>
                <a:gd name="T2" fmla="*/ 45362641 w 85"/>
                <a:gd name="T3" fmla="*/ 108367524 h 86"/>
                <a:gd name="T4" fmla="*/ 15120882 w 85"/>
                <a:gd name="T5" fmla="*/ 138607800 h 86"/>
                <a:gd name="T6" fmla="*/ 45362641 w 85"/>
                <a:gd name="T7" fmla="*/ 153728733 h 86"/>
                <a:gd name="T8" fmla="*/ 30241764 w 85"/>
                <a:gd name="T9" fmla="*/ 168851252 h 86"/>
                <a:gd name="T10" fmla="*/ 15120882 w 85"/>
                <a:gd name="T11" fmla="*/ 201612478 h 86"/>
                <a:gd name="T12" fmla="*/ 0 w 85"/>
                <a:gd name="T13" fmla="*/ 216733460 h 86"/>
                <a:gd name="T14" fmla="*/ 30241764 w 85"/>
                <a:gd name="T15" fmla="*/ 201612478 h 86"/>
                <a:gd name="T16" fmla="*/ 45362641 w 85"/>
                <a:gd name="T17" fmla="*/ 216733460 h 86"/>
                <a:gd name="T18" fmla="*/ 60483529 w 85"/>
                <a:gd name="T19" fmla="*/ 201612478 h 86"/>
                <a:gd name="T20" fmla="*/ 75604405 w 85"/>
                <a:gd name="T21" fmla="*/ 168851252 h 86"/>
                <a:gd name="T22" fmla="*/ 105846182 w 85"/>
                <a:gd name="T23" fmla="*/ 168851252 h 86"/>
                <a:gd name="T24" fmla="*/ 105846182 w 85"/>
                <a:gd name="T25" fmla="*/ 201612478 h 86"/>
                <a:gd name="T26" fmla="*/ 138607286 w 85"/>
                <a:gd name="T27" fmla="*/ 168851252 h 86"/>
                <a:gd name="T28" fmla="*/ 153728162 w 85"/>
                <a:gd name="T29" fmla="*/ 153728733 h 86"/>
                <a:gd name="T30" fmla="*/ 168849038 w 85"/>
                <a:gd name="T31" fmla="*/ 138607800 h 86"/>
                <a:gd name="T32" fmla="*/ 183969914 w 85"/>
                <a:gd name="T33" fmla="*/ 138607800 h 86"/>
                <a:gd name="T34" fmla="*/ 183969914 w 85"/>
                <a:gd name="T35" fmla="*/ 123486868 h 86"/>
                <a:gd name="T36" fmla="*/ 199090790 w 85"/>
                <a:gd name="T37" fmla="*/ 108367524 h 86"/>
                <a:gd name="T38" fmla="*/ 199090790 w 85"/>
                <a:gd name="T39" fmla="*/ 78124047 h 86"/>
                <a:gd name="T40" fmla="*/ 214211716 w 85"/>
                <a:gd name="T41" fmla="*/ 63003115 h 86"/>
                <a:gd name="T42" fmla="*/ 199090790 w 85"/>
                <a:gd name="T43" fmla="*/ 63003115 h 86"/>
                <a:gd name="T44" fmla="*/ 214211716 w 85"/>
                <a:gd name="T45" fmla="*/ 45362809 h 86"/>
                <a:gd name="T46" fmla="*/ 214211716 w 85"/>
                <a:gd name="T47" fmla="*/ 15120938 h 86"/>
                <a:gd name="T48" fmla="*/ 199090790 w 85"/>
                <a:gd name="T49" fmla="*/ 0 h 86"/>
                <a:gd name="T50" fmla="*/ 183969914 w 85"/>
                <a:gd name="T51" fmla="*/ 15120938 h 86"/>
                <a:gd name="T52" fmla="*/ 183969914 w 85"/>
                <a:gd name="T53" fmla="*/ 15120938 h 86"/>
                <a:gd name="T54" fmla="*/ 168849038 w 85"/>
                <a:gd name="T55" fmla="*/ 0 h 86"/>
                <a:gd name="T56" fmla="*/ 168849038 w 85"/>
                <a:gd name="T57" fmla="*/ 0 h 86"/>
                <a:gd name="T58" fmla="*/ 153728162 w 85"/>
                <a:gd name="T59" fmla="*/ 15120938 h 86"/>
                <a:gd name="T60" fmla="*/ 138607286 w 85"/>
                <a:gd name="T61" fmla="*/ 30241877 h 86"/>
                <a:gd name="T62" fmla="*/ 138607286 w 85"/>
                <a:gd name="T63" fmla="*/ 0 h 86"/>
                <a:gd name="T64" fmla="*/ 105846182 w 85"/>
                <a:gd name="T65" fmla="*/ 15120938 h 86"/>
                <a:gd name="T66" fmla="*/ 105846182 w 85"/>
                <a:gd name="T67" fmla="*/ 15120938 h 86"/>
                <a:gd name="T68" fmla="*/ 105846182 w 85"/>
                <a:gd name="T69" fmla="*/ 15120938 h 86"/>
                <a:gd name="T70" fmla="*/ 105846182 w 85"/>
                <a:gd name="T71" fmla="*/ 15120938 h 86"/>
                <a:gd name="T72" fmla="*/ 90725281 w 85"/>
                <a:gd name="T73" fmla="*/ 30241877 h 86"/>
                <a:gd name="T74" fmla="*/ 90725281 w 85"/>
                <a:gd name="T75" fmla="*/ 45362809 h 86"/>
                <a:gd name="T76" fmla="*/ 105846182 w 85"/>
                <a:gd name="T77" fmla="*/ 63003115 h 86"/>
                <a:gd name="T78" fmla="*/ 105846182 w 85"/>
                <a:gd name="T79" fmla="*/ 93246567 h 86"/>
                <a:gd name="T80" fmla="*/ 90725281 w 85"/>
                <a:gd name="T81" fmla="*/ 93246567 h 86"/>
                <a:gd name="T82" fmla="*/ 75604405 w 85"/>
                <a:gd name="T83" fmla="*/ 78124047 h 86"/>
                <a:gd name="T84" fmla="*/ 75604405 w 85"/>
                <a:gd name="T85" fmla="*/ 63003115 h 86"/>
                <a:gd name="T86" fmla="*/ 60483529 w 85"/>
                <a:gd name="T87" fmla="*/ 78124047 h 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5"/>
                <a:gd name="T133" fmla="*/ 0 h 86"/>
                <a:gd name="T134" fmla="*/ 85 w 85"/>
                <a:gd name="T135" fmla="*/ 86 h 8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5" h="86">
                  <a:moveTo>
                    <a:pt x="24" y="31"/>
                  </a:moveTo>
                  <a:lnTo>
                    <a:pt x="18" y="37"/>
                  </a:lnTo>
                  <a:lnTo>
                    <a:pt x="12" y="43"/>
                  </a:lnTo>
                  <a:lnTo>
                    <a:pt x="18" y="43"/>
                  </a:lnTo>
                  <a:lnTo>
                    <a:pt x="12" y="49"/>
                  </a:lnTo>
                  <a:lnTo>
                    <a:pt x="6" y="55"/>
                  </a:lnTo>
                  <a:lnTo>
                    <a:pt x="12" y="61"/>
                  </a:lnTo>
                  <a:lnTo>
                    <a:pt x="18" y="61"/>
                  </a:lnTo>
                  <a:lnTo>
                    <a:pt x="18" y="67"/>
                  </a:lnTo>
                  <a:lnTo>
                    <a:pt x="12" y="67"/>
                  </a:lnTo>
                  <a:lnTo>
                    <a:pt x="12" y="74"/>
                  </a:lnTo>
                  <a:lnTo>
                    <a:pt x="6" y="80"/>
                  </a:lnTo>
                  <a:lnTo>
                    <a:pt x="0" y="80"/>
                  </a:lnTo>
                  <a:lnTo>
                    <a:pt x="0" y="86"/>
                  </a:lnTo>
                  <a:lnTo>
                    <a:pt x="6" y="86"/>
                  </a:lnTo>
                  <a:lnTo>
                    <a:pt x="12" y="80"/>
                  </a:lnTo>
                  <a:lnTo>
                    <a:pt x="12" y="86"/>
                  </a:lnTo>
                  <a:lnTo>
                    <a:pt x="18" y="86"/>
                  </a:lnTo>
                  <a:lnTo>
                    <a:pt x="18" y="80"/>
                  </a:lnTo>
                  <a:lnTo>
                    <a:pt x="24" y="80"/>
                  </a:lnTo>
                  <a:lnTo>
                    <a:pt x="30" y="74"/>
                  </a:lnTo>
                  <a:lnTo>
                    <a:pt x="30" y="67"/>
                  </a:lnTo>
                  <a:lnTo>
                    <a:pt x="36" y="67"/>
                  </a:lnTo>
                  <a:lnTo>
                    <a:pt x="42" y="67"/>
                  </a:lnTo>
                  <a:lnTo>
                    <a:pt x="36" y="74"/>
                  </a:lnTo>
                  <a:lnTo>
                    <a:pt x="42" y="80"/>
                  </a:lnTo>
                  <a:lnTo>
                    <a:pt x="49" y="67"/>
                  </a:lnTo>
                  <a:lnTo>
                    <a:pt x="55" y="67"/>
                  </a:lnTo>
                  <a:lnTo>
                    <a:pt x="55" y="61"/>
                  </a:lnTo>
                  <a:lnTo>
                    <a:pt x="61" y="61"/>
                  </a:lnTo>
                  <a:lnTo>
                    <a:pt x="67" y="61"/>
                  </a:lnTo>
                  <a:lnTo>
                    <a:pt x="67" y="55"/>
                  </a:lnTo>
                  <a:lnTo>
                    <a:pt x="67" y="61"/>
                  </a:lnTo>
                  <a:lnTo>
                    <a:pt x="73" y="55"/>
                  </a:lnTo>
                  <a:lnTo>
                    <a:pt x="79" y="55"/>
                  </a:lnTo>
                  <a:lnTo>
                    <a:pt x="73" y="49"/>
                  </a:lnTo>
                  <a:lnTo>
                    <a:pt x="79" y="49"/>
                  </a:lnTo>
                  <a:lnTo>
                    <a:pt x="79" y="43"/>
                  </a:lnTo>
                  <a:lnTo>
                    <a:pt x="85" y="37"/>
                  </a:lnTo>
                  <a:lnTo>
                    <a:pt x="79" y="31"/>
                  </a:lnTo>
                  <a:lnTo>
                    <a:pt x="85" y="31"/>
                  </a:lnTo>
                  <a:lnTo>
                    <a:pt x="85" y="25"/>
                  </a:lnTo>
                  <a:lnTo>
                    <a:pt x="79" y="31"/>
                  </a:lnTo>
                  <a:lnTo>
                    <a:pt x="79" y="25"/>
                  </a:lnTo>
                  <a:lnTo>
                    <a:pt x="79" y="18"/>
                  </a:lnTo>
                  <a:lnTo>
                    <a:pt x="85" y="18"/>
                  </a:lnTo>
                  <a:lnTo>
                    <a:pt x="85" y="12"/>
                  </a:lnTo>
                  <a:lnTo>
                    <a:pt x="85" y="6"/>
                  </a:lnTo>
                  <a:lnTo>
                    <a:pt x="79" y="6"/>
                  </a:lnTo>
                  <a:lnTo>
                    <a:pt x="79" y="0"/>
                  </a:lnTo>
                  <a:lnTo>
                    <a:pt x="79" y="6"/>
                  </a:lnTo>
                  <a:lnTo>
                    <a:pt x="73" y="6"/>
                  </a:lnTo>
                  <a:lnTo>
                    <a:pt x="73" y="0"/>
                  </a:lnTo>
                  <a:lnTo>
                    <a:pt x="73" y="6"/>
                  </a:lnTo>
                  <a:lnTo>
                    <a:pt x="67" y="6"/>
                  </a:lnTo>
                  <a:lnTo>
                    <a:pt x="67" y="0"/>
                  </a:lnTo>
                  <a:lnTo>
                    <a:pt x="73" y="0"/>
                  </a:lnTo>
                  <a:lnTo>
                    <a:pt x="67" y="0"/>
                  </a:lnTo>
                  <a:lnTo>
                    <a:pt x="61" y="0"/>
                  </a:lnTo>
                  <a:lnTo>
                    <a:pt x="61" y="6"/>
                  </a:lnTo>
                  <a:lnTo>
                    <a:pt x="61" y="12"/>
                  </a:lnTo>
                  <a:lnTo>
                    <a:pt x="55" y="12"/>
                  </a:lnTo>
                  <a:lnTo>
                    <a:pt x="55" y="6"/>
                  </a:lnTo>
                  <a:lnTo>
                    <a:pt x="55" y="0"/>
                  </a:lnTo>
                  <a:lnTo>
                    <a:pt x="49" y="0"/>
                  </a:lnTo>
                  <a:lnTo>
                    <a:pt x="42" y="6"/>
                  </a:lnTo>
                  <a:lnTo>
                    <a:pt x="49" y="6"/>
                  </a:lnTo>
                  <a:lnTo>
                    <a:pt x="42" y="6"/>
                  </a:lnTo>
                  <a:lnTo>
                    <a:pt x="42" y="12"/>
                  </a:lnTo>
                  <a:lnTo>
                    <a:pt x="42" y="6"/>
                  </a:lnTo>
                  <a:lnTo>
                    <a:pt x="36" y="6"/>
                  </a:lnTo>
                  <a:lnTo>
                    <a:pt x="42" y="6"/>
                  </a:lnTo>
                  <a:lnTo>
                    <a:pt x="42" y="12"/>
                  </a:lnTo>
                  <a:lnTo>
                    <a:pt x="36" y="12"/>
                  </a:lnTo>
                  <a:lnTo>
                    <a:pt x="42" y="12"/>
                  </a:lnTo>
                  <a:lnTo>
                    <a:pt x="36" y="18"/>
                  </a:lnTo>
                  <a:lnTo>
                    <a:pt x="42" y="18"/>
                  </a:lnTo>
                  <a:lnTo>
                    <a:pt x="42" y="25"/>
                  </a:lnTo>
                  <a:lnTo>
                    <a:pt x="42" y="31"/>
                  </a:lnTo>
                  <a:lnTo>
                    <a:pt x="42" y="37"/>
                  </a:lnTo>
                  <a:lnTo>
                    <a:pt x="42" y="43"/>
                  </a:lnTo>
                  <a:lnTo>
                    <a:pt x="36" y="37"/>
                  </a:lnTo>
                  <a:lnTo>
                    <a:pt x="36" y="31"/>
                  </a:lnTo>
                  <a:lnTo>
                    <a:pt x="30" y="31"/>
                  </a:lnTo>
                  <a:lnTo>
                    <a:pt x="24" y="31"/>
                  </a:lnTo>
                  <a:lnTo>
                    <a:pt x="30" y="25"/>
                  </a:lnTo>
                  <a:lnTo>
                    <a:pt x="24" y="25"/>
                  </a:lnTo>
                  <a:lnTo>
                    <a:pt x="24" y="3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3" name="Freeform 104"/>
            <p:cNvSpPr>
              <a:spLocks/>
            </p:cNvSpPr>
            <p:nvPr/>
          </p:nvSpPr>
          <p:spPr bwMode="auto">
            <a:xfrm>
              <a:off x="4090449" y="3530693"/>
              <a:ext cx="69522" cy="125835"/>
            </a:xfrm>
            <a:custGeom>
              <a:avLst/>
              <a:gdLst>
                <a:gd name="T0" fmla="*/ 0 w 43"/>
                <a:gd name="T1" fmla="*/ 201612478 h 86"/>
                <a:gd name="T2" fmla="*/ 15121049 w 43"/>
                <a:gd name="T3" fmla="*/ 216733460 h 86"/>
                <a:gd name="T4" fmla="*/ 15121049 w 43"/>
                <a:gd name="T5" fmla="*/ 201612478 h 86"/>
                <a:gd name="T6" fmla="*/ 32763066 w 43"/>
                <a:gd name="T7" fmla="*/ 186491546 h 86"/>
                <a:gd name="T8" fmla="*/ 47884109 w 43"/>
                <a:gd name="T9" fmla="*/ 168851252 h 86"/>
                <a:gd name="T10" fmla="*/ 47884109 w 43"/>
                <a:gd name="T11" fmla="*/ 153728733 h 86"/>
                <a:gd name="T12" fmla="*/ 63005164 w 43"/>
                <a:gd name="T13" fmla="*/ 153728733 h 86"/>
                <a:gd name="T14" fmla="*/ 63005164 w 43"/>
                <a:gd name="T15" fmla="*/ 123486868 h 86"/>
                <a:gd name="T16" fmla="*/ 63005164 w 43"/>
                <a:gd name="T17" fmla="*/ 108367524 h 86"/>
                <a:gd name="T18" fmla="*/ 78126207 w 43"/>
                <a:gd name="T19" fmla="*/ 93246567 h 86"/>
                <a:gd name="T20" fmla="*/ 78126207 w 43"/>
                <a:gd name="T21" fmla="*/ 78124047 h 86"/>
                <a:gd name="T22" fmla="*/ 93247250 w 43"/>
                <a:gd name="T23" fmla="*/ 78124047 h 86"/>
                <a:gd name="T24" fmla="*/ 108368317 w 43"/>
                <a:gd name="T25" fmla="*/ 78124047 h 86"/>
                <a:gd name="T26" fmla="*/ 108368317 w 43"/>
                <a:gd name="T27" fmla="*/ 63003115 h 86"/>
                <a:gd name="T28" fmla="*/ 108368317 w 43"/>
                <a:gd name="T29" fmla="*/ 45362809 h 86"/>
                <a:gd name="T30" fmla="*/ 93247250 w 43"/>
                <a:gd name="T31" fmla="*/ 45362809 h 86"/>
                <a:gd name="T32" fmla="*/ 108368317 w 43"/>
                <a:gd name="T33" fmla="*/ 45362809 h 86"/>
                <a:gd name="T34" fmla="*/ 108368317 w 43"/>
                <a:gd name="T35" fmla="*/ 30241877 h 86"/>
                <a:gd name="T36" fmla="*/ 108368317 w 43"/>
                <a:gd name="T37" fmla="*/ 15120938 h 86"/>
                <a:gd name="T38" fmla="*/ 108368317 w 43"/>
                <a:gd name="T39" fmla="*/ 0 h 86"/>
                <a:gd name="T40" fmla="*/ 93247250 w 43"/>
                <a:gd name="T41" fmla="*/ 15120938 h 86"/>
                <a:gd name="T42" fmla="*/ 78126207 w 43"/>
                <a:gd name="T43" fmla="*/ 30241877 h 86"/>
                <a:gd name="T44" fmla="*/ 63005164 w 43"/>
                <a:gd name="T45" fmla="*/ 30241877 h 86"/>
                <a:gd name="T46" fmla="*/ 63005164 w 43"/>
                <a:gd name="T47" fmla="*/ 45362809 h 86"/>
                <a:gd name="T48" fmla="*/ 47884109 w 43"/>
                <a:gd name="T49" fmla="*/ 63003115 h 86"/>
                <a:gd name="T50" fmla="*/ 47884109 w 43"/>
                <a:gd name="T51" fmla="*/ 78124047 h 86"/>
                <a:gd name="T52" fmla="*/ 32763066 w 43"/>
                <a:gd name="T53" fmla="*/ 108367524 h 86"/>
                <a:gd name="T54" fmla="*/ 32763066 w 43"/>
                <a:gd name="T55" fmla="*/ 123486868 h 86"/>
                <a:gd name="T56" fmla="*/ 15121049 w 43"/>
                <a:gd name="T57" fmla="*/ 138607800 h 86"/>
                <a:gd name="T58" fmla="*/ 15121049 w 43"/>
                <a:gd name="T59" fmla="*/ 153728733 h 86"/>
                <a:gd name="T60" fmla="*/ 15121049 w 43"/>
                <a:gd name="T61" fmla="*/ 168851252 h 86"/>
                <a:gd name="T62" fmla="*/ 0 w 43"/>
                <a:gd name="T63" fmla="*/ 186491546 h 86"/>
                <a:gd name="T64" fmla="*/ 0 w 43"/>
                <a:gd name="T65" fmla="*/ 201612478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
                <a:gd name="T100" fmla="*/ 0 h 86"/>
                <a:gd name="T101" fmla="*/ 43 w 4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 h="86">
                  <a:moveTo>
                    <a:pt x="0" y="80"/>
                  </a:moveTo>
                  <a:lnTo>
                    <a:pt x="6" y="86"/>
                  </a:lnTo>
                  <a:lnTo>
                    <a:pt x="6" y="80"/>
                  </a:lnTo>
                  <a:lnTo>
                    <a:pt x="13" y="74"/>
                  </a:lnTo>
                  <a:lnTo>
                    <a:pt x="19" y="67"/>
                  </a:lnTo>
                  <a:lnTo>
                    <a:pt x="19" y="61"/>
                  </a:lnTo>
                  <a:lnTo>
                    <a:pt x="25" y="61"/>
                  </a:lnTo>
                  <a:lnTo>
                    <a:pt x="25" y="49"/>
                  </a:lnTo>
                  <a:lnTo>
                    <a:pt x="25" y="43"/>
                  </a:lnTo>
                  <a:lnTo>
                    <a:pt x="31" y="37"/>
                  </a:lnTo>
                  <a:lnTo>
                    <a:pt x="31" y="31"/>
                  </a:lnTo>
                  <a:lnTo>
                    <a:pt x="37" y="31"/>
                  </a:lnTo>
                  <a:lnTo>
                    <a:pt x="43" y="31"/>
                  </a:lnTo>
                  <a:lnTo>
                    <a:pt x="43" y="25"/>
                  </a:lnTo>
                  <a:lnTo>
                    <a:pt x="43" y="18"/>
                  </a:lnTo>
                  <a:lnTo>
                    <a:pt x="37" y="18"/>
                  </a:lnTo>
                  <a:lnTo>
                    <a:pt x="43" y="18"/>
                  </a:lnTo>
                  <a:lnTo>
                    <a:pt x="43" y="12"/>
                  </a:lnTo>
                  <a:lnTo>
                    <a:pt x="43" y="6"/>
                  </a:lnTo>
                  <a:lnTo>
                    <a:pt x="43" y="0"/>
                  </a:lnTo>
                  <a:lnTo>
                    <a:pt x="37" y="6"/>
                  </a:lnTo>
                  <a:lnTo>
                    <a:pt x="31" y="12"/>
                  </a:lnTo>
                  <a:lnTo>
                    <a:pt x="25" y="12"/>
                  </a:lnTo>
                  <a:lnTo>
                    <a:pt x="25" y="18"/>
                  </a:lnTo>
                  <a:lnTo>
                    <a:pt x="19" y="25"/>
                  </a:lnTo>
                  <a:lnTo>
                    <a:pt x="19" y="31"/>
                  </a:lnTo>
                  <a:lnTo>
                    <a:pt x="13" y="43"/>
                  </a:lnTo>
                  <a:lnTo>
                    <a:pt x="13" y="49"/>
                  </a:lnTo>
                  <a:lnTo>
                    <a:pt x="6" y="55"/>
                  </a:lnTo>
                  <a:lnTo>
                    <a:pt x="6" y="61"/>
                  </a:lnTo>
                  <a:lnTo>
                    <a:pt x="6" y="67"/>
                  </a:lnTo>
                  <a:lnTo>
                    <a:pt x="0" y="74"/>
                  </a:lnTo>
                  <a:lnTo>
                    <a:pt x="0" y="8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4" name="Freeform 105"/>
            <p:cNvSpPr>
              <a:spLocks/>
            </p:cNvSpPr>
            <p:nvPr/>
          </p:nvSpPr>
          <p:spPr bwMode="auto">
            <a:xfrm>
              <a:off x="4179373" y="3467775"/>
              <a:ext cx="100240" cy="17558"/>
            </a:xfrm>
            <a:custGeom>
              <a:avLst/>
              <a:gdLst>
                <a:gd name="T0" fmla="*/ 47883763 w 62"/>
                <a:gd name="T1" fmla="*/ 0 h 12"/>
                <a:gd name="T2" fmla="*/ 32762829 w 62"/>
                <a:gd name="T3" fmla="*/ 0 h 12"/>
                <a:gd name="T4" fmla="*/ 17641889 w 62"/>
                <a:gd name="T5" fmla="*/ 0 h 12"/>
                <a:gd name="T6" fmla="*/ 0 w 62"/>
                <a:gd name="T7" fmla="*/ 0 h 12"/>
                <a:gd name="T8" fmla="*/ 17641889 w 62"/>
                <a:gd name="T9" fmla="*/ 15120939 h 12"/>
                <a:gd name="T10" fmla="*/ 32762829 w 62"/>
                <a:gd name="T11" fmla="*/ 15120939 h 12"/>
                <a:gd name="T12" fmla="*/ 47883763 w 62"/>
                <a:gd name="T13" fmla="*/ 0 h 12"/>
                <a:gd name="T14" fmla="*/ 47883763 w 62"/>
                <a:gd name="T15" fmla="*/ 15120939 h 12"/>
                <a:gd name="T16" fmla="*/ 47883763 w 62"/>
                <a:gd name="T17" fmla="*/ 30241878 h 12"/>
                <a:gd name="T18" fmla="*/ 78125643 w 62"/>
                <a:gd name="T19" fmla="*/ 30241878 h 12"/>
                <a:gd name="T20" fmla="*/ 93246577 w 62"/>
                <a:gd name="T21" fmla="*/ 30241878 h 12"/>
                <a:gd name="T22" fmla="*/ 78125643 w 62"/>
                <a:gd name="T23" fmla="*/ 30241878 h 12"/>
                <a:gd name="T24" fmla="*/ 93246577 w 62"/>
                <a:gd name="T25" fmla="*/ 15120939 h 12"/>
                <a:gd name="T26" fmla="*/ 108367535 w 62"/>
                <a:gd name="T27" fmla="*/ 15120939 h 12"/>
                <a:gd name="T28" fmla="*/ 123488469 w 62"/>
                <a:gd name="T29" fmla="*/ 15120939 h 12"/>
                <a:gd name="T30" fmla="*/ 141128765 w 62"/>
                <a:gd name="T31" fmla="*/ 0 h 12"/>
                <a:gd name="T32" fmla="*/ 156249699 w 62"/>
                <a:gd name="T33" fmla="*/ 0 h 12"/>
                <a:gd name="T34" fmla="*/ 108367535 w 62"/>
                <a:gd name="T35" fmla="*/ 15120939 h 12"/>
                <a:gd name="T36" fmla="*/ 93246577 w 62"/>
                <a:gd name="T37" fmla="*/ 0 h 12"/>
                <a:gd name="T38" fmla="*/ 78125643 w 62"/>
                <a:gd name="T39" fmla="*/ 0 h 12"/>
                <a:gd name="T40" fmla="*/ 63004709 w 62"/>
                <a:gd name="T41" fmla="*/ 0 h 12"/>
                <a:gd name="T42" fmla="*/ 47883763 w 62"/>
                <a:gd name="T43" fmla="*/ 0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2"/>
                <a:gd name="T67" fmla="*/ 0 h 12"/>
                <a:gd name="T68" fmla="*/ 62 w 62"/>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2" h="12">
                  <a:moveTo>
                    <a:pt x="19" y="0"/>
                  </a:moveTo>
                  <a:lnTo>
                    <a:pt x="13" y="0"/>
                  </a:lnTo>
                  <a:lnTo>
                    <a:pt x="7" y="0"/>
                  </a:lnTo>
                  <a:lnTo>
                    <a:pt x="0" y="0"/>
                  </a:lnTo>
                  <a:lnTo>
                    <a:pt x="7" y="6"/>
                  </a:lnTo>
                  <a:lnTo>
                    <a:pt x="13" y="6"/>
                  </a:lnTo>
                  <a:lnTo>
                    <a:pt x="19" y="0"/>
                  </a:lnTo>
                  <a:lnTo>
                    <a:pt x="19" y="6"/>
                  </a:lnTo>
                  <a:lnTo>
                    <a:pt x="19" y="12"/>
                  </a:lnTo>
                  <a:lnTo>
                    <a:pt x="31" y="12"/>
                  </a:lnTo>
                  <a:lnTo>
                    <a:pt x="37" y="12"/>
                  </a:lnTo>
                  <a:lnTo>
                    <a:pt x="31" y="12"/>
                  </a:lnTo>
                  <a:lnTo>
                    <a:pt x="37" y="6"/>
                  </a:lnTo>
                  <a:lnTo>
                    <a:pt x="43" y="6"/>
                  </a:lnTo>
                  <a:lnTo>
                    <a:pt x="49" y="6"/>
                  </a:lnTo>
                  <a:lnTo>
                    <a:pt x="56" y="0"/>
                  </a:lnTo>
                  <a:lnTo>
                    <a:pt x="62" y="0"/>
                  </a:lnTo>
                  <a:lnTo>
                    <a:pt x="43" y="6"/>
                  </a:lnTo>
                  <a:lnTo>
                    <a:pt x="37" y="0"/>
                  </a:lnTo>
                  <a:lnTo>
                    <a:pt x="31" y="0"/>
                  </a:lnTo>
                  <a:lnTo>
                    <a:pt x="25" y="0"/>
                  </a:lnTo>
                  <a:lnTo>
                    <a:pt x="19"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5" name="Freeform 106"/>
            <p:cNvSpPr>
              <a:spLocks/>
            </p:cNvSpPr>
            <p:nvPr/>
          </p:nvSpPr>
          <p:spPr bwMode="auto">
            <a:xfrm>
              <a:off x="4407338" y="3628726"/>
              <a:ext cx="100240" cy="134614"/>
            </a:xfrm>
            <a:custGeom>
              <a:avLst/>
              <a:gdLst>
                <a:gd name="T0" fmla="*/ 17641889 w 62"/>
                <a:gd name="T1" fmla="*/ 156249685 h 92"/>
                <a:gd name="T2" fmla="*/ 17641889 w 62"/>
                <a:gd name="T3" fmla="*/ 186491550 h 92"/>
                <a:gd name="T4" fmla="*/ 32762829 w 62"/>
                <a:gd name="T5" fmla="*/ 201612483 h 92"/>
                <a:gd name="T6" fmla="*/ 32762829 w 62"/>
                <a:gd name="T7" fmla="*/ 201612483 h 92"/>
                <a:gd name="T8" fmla="*/ 17641889 w 62"/>
                <a:gd name="T9" fmla="*/ 216733465 h 92"/>
                <a:gd name="T10" fmla="*/ 32762829 w 62"/>
                <a:gd name="T11" fmla="*/ 231854397 h 92"/>
                <a:gd name="T12" fmla="*/ 47883763 w 62"/>
                <a:gd name="T13" fmla="*/ 216733465 h 92"/>
                <a:gd name="T14" fmla="*/ 32762829 w 62"/>
                <a:gd name="T15" fmla="*/ 201612483 h 92"/>
                <a:gd name="T16" fmla="*/ 47883763 w 62"/>
                <a:gd name="T17" fmla="*/ 186491550 h 92"/>
                <a:gd name="T18" fmla="*/ 63004709 w 62"/>
                <a:gd name="T19" fmla="*/ 156249685 h 92"/>
                <a:gd name="T20" fmla="*/ 78125643 w 62"/>
                <a:gd name="T21" fmla="*/ 171370618 h 92"/>
                <a:gd name="T22" fmla="*/ 78125643 w 62"/>
                <a:gd name="T23" fmla="*/ 171370618 h 92"/>
                <a:gd name="T24" fmla="*/ 78125643 w 62"/>
                <a:gd name="T25" fmla="*/ 141128753 h 92"/>
                <a:gd name="T26" fmla="*/ 108367535 w 62"/>
                <a:gd name="T27" fmla="*/ 123486871 h 92"/>
                <a:gd name="T28" fmla="*/ 93246577 w 62"/>
                <a:gd name="T29" fmla="*/ 108367526 h 92"/>
                <a:gd name="T30" fmla="*/ 93246577 w 62"/>
                <a:gd name="T31" fmla="*/ 78124049 h 92"/>
                <a:gd name="T32" fmla="*/ 93246577 w 62"/>
                <a:gd name="T33" fmla="*/ 47883759 h 92"/>
                <a:gd name="T34" fmla="*/ 93246577 w 62"/>
                <a:gd name="T35" fmla="*/ 47883759 h 92"/>
                <a:gd name="T36" fmla="*/ 108367535 w 62"/>
                <a:gd name="T37" fmla="*/ 47883759 h 92"/>
                <a:gd name="T38" fmla="*/ 108367535 w 62"/>
                <a:gd name="T39" fmla="*/ 47883759 h 92"/>
                <a:gd name="T40" fmla="*/ 123488469 w 62"/>
                <a:gd name="T41" fmla="*/ 32761239 h 92"/>
                <a:gd name="T42" fmla="*/ 141128765 w 62"/>
                <a:gd name="T43" fmla="*/ 17640300 h 92"/>
                <a:gd name="T44" fmla="*/ 156249699 w 62"/>
                <a:gd name="T45" fmla="*/ 0 h 92"/>
                <a:gd name="T46" fmla="*/ 123488469 w 62"/>
                <a:gd name="T47" fmla="*/ 0 h 92"/>
                <a:gd name="T48" fmla="*/ 123488469 w 62"/>
                <a:gd name="T49" fmla="*/ 32761239 h 92"/>
                <a:gd name="T50" fmla="*/ 108367535 w 62"/>
                <a:gd name="T51" fmla="*/ 17640300 h 92"/>
                <a:gd name="T52" fmla="*/ 93246577 w 62"/>
                <a:gd name="T53" fmla="*/ 32761239 h 92"/>
                <a:gd name="T54" fmla="*/ 78125643 w 62"/>
                <a:gd name="T55" fmla="*/ 17640300 h 92"/>
                <a:gd name="T56" fmla="*/ 63004709 w 62"/>
                <a:gd name="T57" fmla="*/ 32761239 h 92"/>
                <a:gd name="T58" fmla="*/ 47883763 w 62"/>
                <a:gd name="T59" fmla="*/ 47883759 h 92"/>
                <a:gd name="T60" fmla="*/ 32762829 w 62"/>
                <a:gd name="T61" fmla="*/ 78124049 h 92"/>
                <a:gd name="T62" fmla="*/ 17641889 w 62"/>
                <a:gd name="T63" fmla="*/ 93246569 h 92"/>
                <a:gd name="T64" fmla="*/ 17641889 w 62"/>
                <a:gd name="T65" fmla="*/ 108367526 h 92"/>
                <a:gd name="T66" fmla="*/ 17641889 w 62"/>
                <a:gd name="T67" fmla="*/ 141128753 h 9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
                <a:gd name="T103" fmla="*/ 0 h 92"/>
                <a:gd name="T104" fmla="*/ 62 w 62"/>
                <a:gd name="T105" fmla="*/ 92 h 9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 h="92">
                  <a:moveTo>
                    <a:pt x="0" y="62"/>
                  </a:moveTo>
                  <a:lnTo>
                    <a:pt x="7" y="62"/>
                  </a:lnTo>
                  <a:lnTo>
                    <a:pt x="7" y="68"/>
                  </a:lnTo>
                  <a:lnTo>
                    <a:pt x="7" y="74"/>
                  </a:lnTo>
                  <a:lnTo>
                    <a:pt x="7" y="80"/>
                  </a:lnTo>
                  <a:lnTo>
                    <a:pt x="13" y="80"/>
                  </a:lnTo>
                  <a:lnTo>
                    <a:pt x="13" y="74"/>
                  </a:lnTo>
                  <a:lnTo>
                    <a:pt x="13" y="80"/>
                  </a:lnTo>
                  <a:lnTo>
                    <a:pt x="7" y="80"/>
                  </a:lnTo>
                  <a:lnTo>
                    <a:pt x="7" y="86"/>
                  </a:lnTo>
                  <a:lnTo>
                    <a:pt x="7" y="92"/>
                  </a:lnTo>
                  <a:lnTo>
                    <a:pt x="13" y="92"/>
                  </a:lnTo>
                  <a:lnTo>
                    <a:pt x="13" y="86"/>
                  </a:lnTo>
                  <a:lnTo>
                    <a:pt x="19" y="86"/>
                  </a:lnTo>
                  <a:lnTo>
                    <a:pt x="19" y="80"/>
                  </a:lnTo>
                  <a:lnTo>
                    <a:pt x="13" y="80"/>
                  </a:lnTo>
                  <a:lnTo>
                    <a:pt x="13" y="74"/>
                  </a:lnTo>
                  <a:lnTo>
                    <a:pt x="19" y="74"/>
                  </a:lnTo>
                  <a:lnTo>
                    <a:pt x="25" y="68"/>
                  </a:lnTo>
                  <a:lnTo>
                    <a:pt x="25" y="62"/>
                  </a:lnTo>
                  <a:lnTo>
                    <a:pt x="31" y="62"/>
                  </a:lnTo>
                  <a:lnTo>
                    <a:pt x="31" y="68"/>
                  </a:lnTo>
                  <a:lnTo>
                    <a:pt x="31" y="62"/>
                  </a:lnTo>
                  <a:lnTo>
                    <a:pt x="31" y="68"/>
                  </a:lnTo>
                  <a:lnTo>
                    <a:pt x="31" y="62"/>
                  </a:lnTo>
                  <a:lnTo>
                    <a:pt x="31" y="56"/>
                  </a:lnTo>
                  <a:lnTo>
                    <a:pt x="37" y="49"/>
                  </a:lnTo>
                  <a:lnTo>
                    <a:pt x="43" y="49"/>
                  </a:lnTo>
                  <a:lnTo>
                    <a:pt x="43" y="43"/>
                  </a:lnTo>
                  <a:lnTo>
                    <a:pt x="37" y="43"/>
                  </a:lnTo>
                  <a:lnTo>
                    <a:pt x="37" y="37"/>
                  </a:lnTo>
                  <a:lnTo>
                    <a:pt x="37" y="31"/>
                  </a:lnTo>
                  <a:lnTo>
                    <a:pt x="37" y="25"/>
                  </a:lnTo>
                  <a:lnTo>
                    <a:pt x="37" y="19"/>
                  </a:lnTo>
                  <a:lnTo>
                    <a:pt x="37" y="25"/>
                  </a:lnTo>
                  <a:lnTo>
                    <a:pt x="37" y="19"/>
                  </a:lnTo>
                  <a:lnTo>
                    <a:pt x="43" y="25"/>
                  </a:lnTo>
                  <a:lnTo>
                    <a:pt x="43" y="19"/>
                  </a:lnTo>
                  <a:lnTo>
                    <a:pt x="49" y="19"/>
                  </a:lnTo>
                  <a:lnTo>
                    <a:pt x="43" y="19"/>
                  </a:lnTo>
                  <a:lnTo>
                    <a:pt x="43" y="13"/>
                  </a:lnTo>
                  <a:lnTo>
                    <a:pt x="49" y="13"/>
                  </a:lnTo>
                  <a:lnTo>
                    <a:pt x="49" y="7"/>
                  </a:lnTo>
                  <a:lnTo>
                    <a:pt x="56" y="7"/>
                  </a:lnTo>
                  <a:lnTo>
                    <a:pt x="56" y="0"/>
                  </a:lnTo>
                  <a:lnTo>
                    <a:pt x="62" y="0"/>
                  </a:lnTo>
                  <a:lnTo>
                    <a:pt x="56" y="0"/>
                  </a:lnTo>
                  <a:lnTo>
                    <a:pt x="49" y="0"/>
                  </a:lnTo>
                  <a:lnTo>
                    <a:pt x="49" y="7"/>
                  </a:lnTo>
                  <a:lnTo>
                    <a:pt x="49" y="13"/>
                  </a:lnTo>
                  <a:lnTo>
                    <a:pt x="49" y="7"/>
                  </a:lnTo>
                  <a:lnTo>
                    <a:pt x="43" y="7"/>
                  </a:lnTo>
                  <a:lnTo>
                    <a:pt x="37" y="7"/>
                  </a:lnTo>
                  <a:lnTo>
                    <a:pt x="37" y="13"/>
                  </a:lnTo>
                  <a:lnTo>
                    <a:pt x="37" y="7"/>
                  </a:lnTo>
                  <a:lnTo>
                    <a:pt x="31" y="7"/>
                  </a:lnTo>
                  <a:lnTo>
                    <a:pt x="25" y="7"/>
                  </a:lnTo>
                  <a:lnTo>
                    <a:pt x="25" y="13"/>
                  </a:lnTo>
                  <a:lnTo>
                    <a:pt x="19" y="13"/>
                  </a:lnTo>
                  <a:lnTo>
                    <a:pt x="19" y="19"/>
                  </a:lnTo>
                  <a:lnTo>
                    <a:pt x="13" y="25"/>
                  </a:lnTo>
                  <a:lnTo>
                    <a:pt x="13" y="31"/>
                  </a:lnTo>
                  <a:lnTo>
                    <a:pt x="7" y="31"/>
                  </a:lnTo>
                  <a:lnTo>
                    <a:pt x="7" y="37"/>
                  </a:lnTo>
                  <a:lnTo>
                    <a:pt x="0" y="37"/>
                  </a:lnTo>
                  <a:lnTo>
                    <a:pt x="7" y="43"/>
                  </a:lnTo>
                  <a:lnTo>
                    <a:pt x="7" y="49"/>
                  </a:lnTo>
                  <a:lnTo>
                    <a:pt x="7" y="56"/>
                  </a:lnTo>
                  <a:lnTo>
                    <a:pt x="0" y="6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6" name="Freeform 107"/>
            <p:cNvSpPr>
              <a:spLocks/>
            </p:cNvSpPr>
            <p:nvPr/>
          </p:nvSpPr>
          <p:spPr bwMode="auto">
            <a:xfrm>
              <a:off x="4269912" y="3710665"/>
              <a:ext cx="58204" cy="152172"/>
            </a:xfrm>
            <a:custGeom>
              <a:avLst/>
              <a:gdLst>
                <a:gd name="T0" fmla="*/ 0 w 36"/>
                <a:gd name="T1" fmla="*/ 199093129 h 104"/>
                <a:gd name="T2" fmla="*/ 0 w 36"/>
                <a:gd name="T3" fmla="*/ 214214111 h 104"/>
                <a:gd name="T4" fmla="*/ 0 w 36"/>
                <a:gd name="T5" fmla="*/ 229335044 h 104"/>
                <a:gd name="T6" fmla="*/ 15120937 w 36"/>
                <a:gd name="T7" fmla="*/ 229335044 h 104"/>
                <a:gd name="T8" fmla="*/ 0 w 36"/>
                <a:gd name="T9" fmla="*/ 246975339 h 104"/>
                <a:gd name="T10" fmla="*/ 0 w 36"/>
                <a:gd name="T11" fmla="*/ 262096272 h 104"/>
                <a:gd name="T12" fmla="*/ 15120937 w 36"/>
                <a:gd name="T13" fmla="*/ 262096272 h 104"/>
                <a:gd name="T14" fmla="*/ 30241875 w 36"/>
                <a:gd name="T15" fmla="*/ 229335044 h 104"/>
                <a:gd name="T16" fmla="*/ 30241875 w 36"/>
                <a:gd name="T17" fmla="*/ 214214111 h 104"/>
                <a:gd name="T18" fmla="*/ 30241875 w 36"/>
                <a:gd name="T19" fmla="*/ 199093129 h 104"/>
                <a:gd name="T20" fmla="*/ 30241875 w 36"/>
                <a:gd name="T21" fmla="*/ 183972196 h 104"/>
                <a:gd name="T22" fmla="*/ 45362806 w 36"/>
                <a:gd name="T23" fmla="*/ 168851263 h 104"/>
                <a:gd name="T24" fmla="*/ 45362806 w 36"/>
                <a:gd name="T25" fmla="*/ 153728742 h 104"/>
                <a:gd name="T26" fmla="*/ 45362806 w 36"/>
                <a:gd name="T27" fmla="*/ 138607809 h 104"/>
                <a:gd name="T28" fmla="*/ 60483749 w 36"/>
                <a:gd name="T29" fmla="*/ 123488463 h 104"/>
                <a:gd name="T30" fmla="*/ 60483749 w 36"/>
                <a:gd name="T31" fmla="*/ 105846581 h 104"/>
                <a:gd name="T32" fmla="*/ 60483749 w 36"/>
                <a:gd name="T33" fmla="*/ 90725623 h 104"/>
                <a:gd name="T34" fmla="*/ 75604680 w 36"/>
                <a:gd name="T35" fmla="*/ 75604690 h 104"/>
                <a:gd name="T36" fmla="*/ 75604680 w 36"/>
                <a:gd name="T37" fmla="*/ 60483757 h 104"/>
                <a:gd name="T38" fmla="*/ 90725611 w 36"/>
                <a:gd name="T39" fmla="*/ 45362812 h 104"/>
                <a:gd name="T40" fmla="*/ 90725611 w 36"/>
                <a:gd name="T41" fmla="*/ 30241879 h 104"/>
                <a:gd name="T42" fmla="*/ 90725611 w 36"/>
                <a:gd name="T43" fmla="*/ 15120939 h 104"/>
                <a:gd name="T44" fmla="*/ 90725611 w 36"/>
                <a:gd name="T45" fmla="*/ 0 h 104"/>
                <a:gd name="T46" fmla="*/ 90725611 w 36"/>
                <a:gd name="T47" fmla="*/ 15120939 h 104"/>
                <a:gd name="T48" fmla="*/ 90725611 w 36"/>
                <a:gd name="T49" fmla="*/ 0 h 104"/>
                <a:gd name="T50" fmla="*/ 75604680 w 36"/>
                <a:gd name="T51" fmla="*/ 15120939 h 104"/>
                <a:gd name="T52" fmla="*/ 75604680 w 36"/>
                <a:gd name="T53" fmla="*/ 30241879 h 104"/>
                <a:gd name="T54" fmla="*/ 60483749 w 36"/>
                <a:gd name="T55" fmla="*/ 45362812 h 104"/>
                <a:gd name="T56" fmla="*/ 75604680 w 36"/>
                <a:gd name="T57" fmla="*/ 45362812 h 104"/>
                <a:gd name="T58" fmla="*/ 60483749 w 36"/>
                <a:gd name="T59" fmla="*/ 60483757 h 104"/>
                <a:gd name="T60" fmla="*/ 60483749 w 36"/>
                <a:gd name="T61" fmla="*/ 75604690 h 104"/>
                <a:gd name="T62" fmla="*/ 60483749 w 36"/>
                <a:gd name="T63" fmla="*/ 90725623 h 104"/>
                <a:gd name="T64" fmla="*/ 45362806 w 36"/>
                <a:gd name="T65" fmla="*/ 105846581 h 104"/>
                <a:gd name="T66" fmla="*/ 30241875 w 36"/>
                <a:gd name="T67" fmla="*/ 105846581 h 104"/>
                <a:gd name="T68" fmla="*/ 30241875 w 36"/>
                <a:gd name="T69" fmla="*/ 123488463 h 104"/>
                <a:gd name="T70" fmla="*/ 15120937 w 36"/>
                <a:gd name="T71" fmla="*/ 138607809 h 104"/>
                <a:gd name="T72" fmla="*/ 15120937 w 36"/>
                <a:gd name="T73" fmla="*/ 153728742 h 104"/>
                <a:gd name="T74" fmla="*/ 15120937 w 36"/>
                <a:gd name="T75" fmla="*/ 183972196 h 104"/>
                <a:gd name="T76" fmla="*/ 0 w 36"/>
                <a:gd name="T77" fmla="*/ 199093129 h 1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
                <a:gd name="T118" fmla="*/ 0 h 104"/>
                <a:gd name="T119" fmla="*/ 36 w 36"/>
                <a:gd name="T120" fmla="*/ 104 h 1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 h="104">
                  <a:moveTo>
                    <a:pt x="0" y="79"/>
                  </a:moveTo>
                  <a:lnTo>
                    <a:pt x="0" y="85"/>
                  </a:lnTo>
                  <a:lnTo>
                    <a:pt x="0" y="91"/>
                  </a:lnTo>
                  <a:lnTo>
                    <a:pt x="6" y="91"/>
                  </a:lnTo>
                  <a:lnTo>
                    <a:pt x="0" y="98"/>
                  </a:lnTo>
                  <a:lnTo>
                    <a:pt x="0" y="104"/>
                  </a:lnTo>
                  <a:lnTo>
                    <a:pt x="6" y="104"/>
                  </a:lnTo>
                  <a:lnTo>
                    <a:pt x="12" y="91"/>
                  </a:lnTo>
                  <a:lnTo>
                    <a:pt x="12" y="85"/>
                  </a:lnTo>
                  <a:lnTo>
                    <a:pt x="12" y="79"/>
                  </a:lnTo>
                  <a:lnTo>
                    <a:pt x="12" y="73"/>
                  </a:lnTo>
                  <a:lnTo>
                    <a:pt x="18" y="67"/>
                  </a:lnTo>
                  <a:lnTo>
                    <a:pt x="18" y="61"/>
                  </a:lnTo>
                  <a:lnTo>
                    <a:pt x="18" y="55"/>
                  </a:lnTo>
                  <a:lnTo>
                    <a:pt x="24" y="49"/>
                  </a:lnTo>
                  <a:lnTo>
                    <a:pt x="24" y="42"/>
                  </a:lnTo>
                  <a:lnTo>
                    <a:pt x="24" y="36"/>
                  </a:lnTo>
                  <a:lnTo>
                    <a:pt x="30" y="30"/>
                  </a:lnTo>
                  <a:lnTo>
                    <a:pt x="30" y="24"/>
                  </a:lnTo>
                  <a:lnTo>
                    <a:pt x="36" y="18"/>
                  </a:lnTo>
                  <a:lnTo>
                    <a:pt x="36" y="12"/>
                  </a:lnTo>
                  <a:lnTo>
                    <a:pt x="36" y="6"/>
                  </a:lnTo>
                  <a:lnTo>
                    <a:pt x="36" y="0"/>
                  </a:lnTo>
                  <a:lnTo>
                    <a:pt x="36" y="6"/>
                  </a:lnTo>
                  <a:lnTo>
                    <a:pt x="36" y="0"/>
                  </a:lnTo>
                  <a:lnTo>
                    <a:pt x="30" y="6"/>
                  </a:lnTo>
                  <a:lnTo>
                    <a:pt x="30" y="12"/>
                  </a:lnTo>
                  <a:lnTo>
                    <a:pt x="24" y="18"/>
                  </a:lnTo>
                  <a:lnTo>
                    <a:pt x="30" y="18"/>
                  </a:lnTo>
                  <a:lnTo>
                    <a:pt x="24" y="24"/>
                  </a:lnTo>
                  <a:lnTo>
                    <a:pt x="24" y="30"/>
                  </a:lnTo>
                  <a:lnTo>
                    <a:pt x="24" y="36"/>
                  </a:lnTo>
                  <a:lnTo>
                    <a:pt x="18" y="42"/>
                  </a:lnTo>
                  <a:lnTo>
                    <a:pt x="12" y="42"/>
                  </a:lnTo>
                  <a:lnTo>
                    <a:pt x="12" y="49"/>
                  </a:lnTo>
                  <a:lnTo>
                    <a:pt x="6" y="55"/>
                  </a:lnTo>
                  <a:lnTo>
                    <a:pt x="6" y="61"/>
                  </a:lnTo>
                  <a:lnTo>
                    <a:pt x="6" y="73"/>
                  </a:lnTo>
                  <a:lnTo>
                    <a:pt x="0" y="7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7" name="Freeform 108"/>
            <p:cNvSpPr>
              <a:spLocks/>
            </p:cNvSpPr>
            <p:nvPr/>
          </p:nvSpPr>
          <p:spPr bwMode="auto">
            <a:xfrm>
              <a:off x="3615116" y="3665307"/>
              <a:ext cx="227966" cy="376041"/>
            </a:xfrm>
            <a:custGeom>
              <a:avLst/>
              <a:gdLst>
                <a:gd name="T0" fmla="*/ 30241942 w 141"/>
                <a:gd name="T1" fmla="*/ 493949983 h 257"/>
                <a:gd name="T2" fmla="*/ 63004838 w 141"/>
                <a:gd name="T3" fmla="*/ 509070895 h 257"/>
                <a:gd name="T4" fmla="*/ 78125803 w 141"/>
                <a:gd name="T5" fmla="*/ 587194812 h 257"/>
                <a:gd name="T6" fmla="*/ 93246768 w 141"/>
                <a:gd name="T7" fmla="*/ 632557548 h 257"/>
                <a:gd name="T8" fmla="*/ 156250018 w 141"/>
                <a:gd name="T9" fmla="*/ 647678460 h 257"/>
                <a:gd name="T10" fmla="*/ 201612913 w 141"/>
                <a:gd name="T11" fmla="*/ 632557548 h 257"/>
                <a:gd name="T12" fmla="*/ 201612913 w 141"/>
                <a:gd name="T13" fmla="*/ 602315724 h 257"/>
                <a:gd name="T14" fmla="*/ 171370983 w 141"/>
                <a:gd name="T15" fmla="*/ 587194812 h 257"/>
                <a:gd name="T16" fmla="*/ 186491948 w 141"/>
                <a:gd name="T17" fmla="*/ 554433631 h 257"/>
                <a:gd name="T18" fmla="*/ 201612913 w 141"/>
                <a:gd name="T19" fmla="*/ 524191807 h 257"/>
                <a:gd name="T20" fmla="*/ 186491948 w 141"/>
                <a:gd name="T21" fmla="*/ 493949983 h 257"/>
                <a:gd name="T22" fmla="*/ 216733927 w 141"/>
                <a:gd name="T23" fmla="*/ 493949983 h 257"/>
                <a:gd name="T24" fmla="*/ 201612913 w 141"/>
                <a:gd name="T25" fmla="*/ 448587248 h 257"/>
                <a:gd name="T26" fmla="*/ 246975856 w 141"/>
                <a:gd name="T27" fmla="*/ 448587248 h 257"/>
                <a:gd name="T28" fmla="*/ 216733927 w 141"/>
                <a:gd name="T29" fmla="*/ 415824380 h 257"/>
                <a:gd name="T30" fmla="*/ 262096821 w 141"/>
                <a:gd name="T31" fmla="*/ 415824380 h 257"/>
                <a:gd name="T32" fmla="*/ 279738740 w 141"/>
                <a:gd name="T33" fmla="*/ 385582556 h 257"/>
                <a:gd name="T34" fmla="*/ 279738740 w 141"/>
                <a:gd name="T35" fmla="*/ 325098909 h 257"/>
                <a:gd name="T36" fmla="*/ 279738740 w 141"/>
                <a:gd name="T37" fmla="*/ 340219821 h 257"/>
                <a:gd name="T38" fmla="*/ 309980670 w 141"/>
                <a:gd name="T39" fmla="*/ 355340732 h 257"/>
                <a:gd name="T40" fmla="*/ 309980670 w 141"/>
                <a:gd name="T41" fmla="*/ 340219821 h 257"/>
                <a:gd name="T42" fmla="*/ 355343564 w 141"/>
                <a:gd name="T43" fmla="*/ 307458639 h 257"/>
                <a:gd name="T44" fmla="*/ 325101635 w 141"/>
                <a:gd name="T45" fmla="*/ 262095904 h 257"/>
                <a:gd name="T46" fmla="*/ 279738740 w 141"/>
                <a:gd name="T47" fmla="*/ 262095904 h 257"/>
                <a:gd name="T48" fmla="*/ 279738740 w 141"/>
                <a:gd name="T49" fmla="*/ 216733168 h 257"/>
                <a:gd name="T50" fmla="*/ 246975856 w 141"/>
                <a:gd name="T51" fmla="*/ 153728526 h 257"/>
                <a:gd name="T52" fmla="*/ 186491948 w 141"/>
                <a:gd name="T53" fmla="*/ 168849437 h 257"/>
                <a:gd name="T54" fmla="*/ 138609687 w 141"/>
                <a:gd name="T55" fmla="*/ 216733168 h 257"/>
                <a:gd name="T56" fmla="*/ 156250018 w 141"/>
                <a:gd name="T57" fmla="*/ 262095904 h 257"/>
                <a:gd name="T58" fmla="*/ 123488722 w 141"/>
                <a:gd name="T59" fmla="*/ 246974992 h 257"/>
                <a:gd name="T60" fmla="*/ 123488722 w 141"/>
                <a:gd name="T61" fmla="*/ 216733168 h 257"/>
                <a:gd name="T62" fmla="*/ 78125803 w 141"/>
                <a:gd name="T63" fmla="*/ 246974992 h 257"/>
                <a:gd name="T64" fmla="*/ 63004838 w 141"/>
                <a:gd name="T65" fmla="*/ 277216815 h 257"/>
                <a:gd name="T66" fmla="*/ 63004838 w 141"/>
                <a:gd name="T67" fmla="*/ 231854080 h 257"/>
                <a:gd name="T68" fmla="*/ 63004838 w 141"/>
                <a:gd name="T69" fmla="*/ 216733168 h 257"/>
                <a:gd name="T70" fmla="*/ 93246768 w 141"/>
                <a:gd name="T71" fmla="*/ 183970349 h 257"/>
                <a:gd name="T72" fmla="*/ 138609687 w 141"/>
                <a:gd name="T73" fmla="*/ 153728526 h 257"/>
                <a:gd name="T74" fmla="*/ 201612913 w 141"/>
                <a:gd name="T75" fmla="*/ 153728526 h 257"/>
                <a:gd name="T76" fmla="*/ 262096821 w 141"/>
                <a:gd name="T77" fmla="*/ 168849437 h 257"/>
                <a:gd name="T78" fmla="*/ 309980670 w 141"/>
                <a:gd name="T79" fmla="*/ 123486702 h 257"/>
                <a:gd name="T80" fmla="*/ 294859705 w 141"/>
                <a:gd name="T81" fmla="*/ 45362748 h 257"/>
                <a:gd name="T82" fmla="*/ 279738740 w 141"/>
                <a:gd name="T83" fmla="*/ 30241836 h 257"/>
                <a:gd name="T84" fmla="*/ 216733927 w 141"/>
                <a:gd name="T85" fmla="*/ 60483672 h 257"/>
                <a:gd name="T86" fmla="*/ 138609687 w 141"/>
                <a:gd name="T87" fmla="*/ 138607614 h 257"/>
                <a:gd name="T88" fmla="*/ 63004838 w 141"/>
                <a:gd name="T89" fmla="*/ 138607614 h 257"/>
                <a:gd name="T90" fmla="*/ 30241942 w 141"/>
                <a:gd name="T91" fmla="*/ 201612207 h 257"/>
                <a:gd name="T92" fmla="*/ 47883861 w 141"/>
                <a:gd name="T93" fmla="*/ 231854080 h 257"/>
                <a:gd name="T94" fmla="*/ 30241942 w 141"/>
                <a:gd name="T95" fmla="*/ 262095904 h 257"/>
                <a:gd name="T96" fmla="*/ 15120971 w 141"/>
                <a:gd name="T97" fmla="*/ 231854080 h 257"/>
                <a:gd name="T98" fmla="*/ 15120971 w 141"/>
                <a:gd name="T99" fmla="*/ 370461644 h 257"/>
                <a:gd name="T100" fmla="*/ 30241942 w 141"/>
                <a:gd name="T101" fmla="*/ 370461644 h 257"/>
                <a:gd name="T102" fmla="*/ 15120971 w 141"/>
                <a:gd name="T103" fmla="*/ 415824380 h 2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1"/>
                <a:gd name="T157" fmla="*/ 0 h 257"/>
                <a:gd name="T158" fmla="*/ 141 w 141"/>
                <a:gd name="T159" fmla="*/ 257 h 2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1" h="257">
                  <a:moveTo>
                    <a:pt x="6" y="171"/>
                  </a:moveTo>
                  <a:lnTo>
                    <a:pt x="6" y="178"/>
                  </a:lnTo>
                  <a:lnTo>
                    <a:pt x="0" y="190"/>
                  </a:lnTo>
                  <a:lnTo>
                    <a:pt x="6" y="190"/>
                  </a:lnTo>
                  <a:lnTo>
                    <a:pt x="12" y="196"/>
                  </a:lnTo>
                  <a:lnTo>
                    <a:pt x="12" y="190"/>
                  </a:lnTo>
                  <a:lnTo>
                    <a:pt x="12" y="184"/>
                  </a:lnTo>
                  <a:lnTo>
                    <a:pt x="12" y="190"/>
                  </a:lnTo>
                  <a:lnTo>
                    <a:pt x="19" y="196"/>
                  </a:lnTo>
                  <a:lnTo>
                    <a:pt x="25" y="202"/>
                  </a:lnTo>
                  <a:lnTo>
                    <a:pt x="31" y="202"/>
                  </a:lnTo>
                  <a:lnTo>
                    <a:pt x="31" y="208"/>
                  </a:lnTo>
                  <a:lnTo>
                    <a:pt x="31" y="214"/>
                  </a:lnTo>
                  <a:lnTo>
                    <a:pt x="31" y="227"/>
                  </a:lnTo>
                  <a:lnTo>
                    <a:pt x="31" y="233"/>
                  </a:lnTo>
                  <a:lnTo>
                    <a:pt x="31" y="245"/>
                  </a:lnTo>
                  <a:lnTo>
                    <a:pt x="31" y="251"/>
                  </a:lnTo>
                  <a:lnTo>
                    <a:pt x="37" y="251"/>
                  </a:lnTo>
                  <a:lnTo>
                    <a:pt x="37" y="245"/>
                  </a:lnTo>
                  <a:lnTo>
                    <a:pt x="37" y="251"/>
                  </a:lnTo>
                  <a:lnTo>
                    <a:pt x="43" y="245"/>
                  </a:lnTo>
                  <a:lnTo>
                    <a:pt x="43" y="251"/>
                  </a:lnTo>
                  <a:lnTo>
                    <a:pt x="49" y="251"/>
                  </a:lnTo>
                  <a:lnTo>
                    <a:pt x="55" y="251"/>
                  </a:lnTo>
                  <a:lnTo>
                    <a:pt x="62" y="257"/>
                  </a:lnTo>
                  <a:lnTo>
                    <a:pt x="68" y="251"/>
                  </a:lnTo>
                  <a:lnTo>
                    <a:pt x="74" y="251"/>
                  </a:lnTo>
                  <a:lnTo>
                    <a:pt x="80" y="251"/>
                  </a:lnTo>
                  <a:lnTo>
                    <a:pt x="74" y="251"/>
                  </a:lnTo>
                  <a:lnTo>
                    <a:pt x="80" y="251"/>
                  </a:lnTo>
                  <a:lnTo>
                    <a:pt x="86" y="251"/>
                  </a:lnTo>
                  <a:lnTo>
                    <a:pt x="80" y="245"/>
                  </a:lnTo>
                  <a:lnTo>
                    <a:pt x="86" y="245"/>
                  </a:lnTo>
                  <a:lnTo>
                    <a:pt x="86" y="239"/>
                  </a:lnTo>
                  <a:lnTo>
                    <a:pt x="80" y="239"/>
                  </a:lnTo>
                  <a:lnTo>
                    <a:pt x="74" y="239"/>
                  </a:lnTo>
                  <a:lnTo>
                    <a:pt x="74" y="233"/>
                  </a:lnTo>
                  <a:lnTo>
                    <a:pt x="74" y="239"/>
                  </a:lnTo>
                  <a:lnTo>
                    <a:pt x="68" y="239"/>
                  </a:lnTo>
                  <a:lnTo>
                    <a:pt x="68" y="233"/>
                  </a:lnTo>
                  <a:lnTo>
                    <a:pt x="74" y="233"/>
                  </a:lnTo>
                  <a:lnTo>
                    <a:pt x="74" y="227"/>
                  </a:lnTo>
                  <a:lnTo>
                    <a:pt x="68" y="227"/>
                  </a:lnTo>
                  <a:lnTo>
                    <a:pt x="74" y="227"/>
                  </a:lnTo>
                  <a:lnTo>
                    <a:pt x="74" y="220"/>
                  </a:lnTo>
                  <a:lnTo>
                    <a:pt x="80" y="220"/>
                  </a:lnTo>
                  <a:lnTo>
                    <a:pt x="80" y="214"/>
                  </a:lnTo>
                  <a:lnTo>
                    <a:pt x="80" y="208"/>
                  </a:lnTo>
                  <a:lnTo>
                    <a:pt x="74" y="208"/>
                  </a:lnTo>
                  <a:lnTo>
                    <a:pt x="80" y="208"/>
                  </a:lnTo>
                  <a:lnTo>
                    <a:pt x="80" y="202"/>
                  </a:lnTo>
                  <a:lnTo>
                    <a:pt x="74" y="202"/>
                  </a:lnTo>
                  <a:lnTo>
                    <a:pt x="80" y="202"/>
                  </a:lnTo>
                  <a:lnTo>
                    <a:pt x="80" y="196"/>
                  </a:lnTo>
                  <a:lnTo>
                    <a:pt x="74" y="196"/>
                  </a:lnTo>
                  <a:lnTo>
                    <a:pt x="68" y="196"/>
                  </a:lnTo>
                  <a:lnTo>
                    <a:pt x="74" y="196"/>
                  </a:lnTo>
                  <a:lnTo>
                    <a:pt x="80" y="196"/>
                  </a:lnTo>
                  <a:lnTo>
                    <a:pt x="80" y="190"/>
                  </a:lnTo>
                  <a:lnTo>
                    <a:pt x="86" y="196"/>
                  </a:lnTo>
                  <a:lnTo>
                    <a:pt x="80" y="190"/>
                  </a:lnTo>
                  <a:lnTo>
                    <a:pt x="86" y="190"/>
                  </a:lnTo>
                  <a:lnTo>
                    <a:pt x="86" y="184"/>
                  </a:lnTo>
                  <a:lnTo>
                    <a:pt x="80" y="184"/>
                  </a:lnTo>
                  <a:lnTo>
                    <a:pt x="80" y="178"/>
                  </a:lnTo>
                  <a:lnTo>
                    <a:pt x="74" y="178"/>
                  </a:lnTo>
                  <a:lnTo>
                    <a:pt x="80" y="178"/>
                  </a:lnTo>
                  <a:lnTo>
                    <a:pt x="86" y="178"/>
                  </a:lnTo>
                  <a:lnTo>
                    <a:pt x="92" y="178"/>
                  </a:lnTo>
                  <a:lnTo>
                    <a:pt x="98" y="178"/>
                  </a:lnTo>
                  <a:lnTo>
                    <a:pt x="92" y="178"/>
                  </a:lnTo>
                  <a:lnTo>
                    <a:pt x="98" y="178"/>
                  </a:lnTo>
                  <a:lnTo>
                    <a:pt x="98" y="171"/>
                  </a:lnTo>
                  <a:lnTo>
                    <a:pt x="98" y="165"/>
                  </a:lnTo>
                  <a:lnTo>
                    <a:pt x="86" y="165"/>
                  </a:lnTo>
                  <a:lnTo>
                    <a:pt x="92" y="165"/>
                  </a:lnTo>
                  <a:lnTo>
                    <a:pt x="92" y="159"/>
                  </a:lnTo>
                  <a:lnTo>
                    <a:pt x="98" y="165"/>
                  </a:lnTo>
                  <a:lnTo>
                    <a:pt x="98" y="159"/>
                  </a:lnTo>
                  <a:lnTo>
                    <a:pt x="104" y="165"/>
                  </a:lnTo>
                  <a:lnTo>
                    <a:pt x="104" y="159"/>
                  </a:lnTo>
                  <a:lnTo>
                    <a:pt x="104" y="165"/>
                  </a:lnTo>
                  <a:lnTo>
                    <a:pt x="104" y="159"/>
                  </a:lnTo>
                  <a:lnTo>
                    <a:pt x="111" y="159"/>
                  </a:lnTo>
                  <a:lnTo>
                    <a:pt x="111" y="153"/>
                  </a:lnTo>
                  <a:lnTo>
                    <a:pt x="111" y="147"/>
                  </a:lnTo>
                  <a:lnTo>
                    <a:pt x="111" y="141"/>
                  </a:lnTo>
                  <a:lnTo>
                    <a:pt x="104" y="141"/>
                  </a:lnTo>
                  <a:lnTo>
                    <a:pt x="111" y="135"/>
                  </a:lnTo>
                  <a:lnTo>
                    <a:pt x="111" y="129"/>
                  </a:lnTo>
                  <a:lnTo>
                    <a:pt x="117" y="129"/>
                  </a:lnTo>
                  <a:lnTo>
                    <a:pt x="123" y="129"/>
                  </a:lnTo>
                  <a:lnTo>
                    <a:pt x="117" y="129"/>
                  </a:lnTo>
                  <a:lnTo>
                    <a:pt x="117" y="135"/>
                  </a:lnTo>
                  <a:lnTo>
                    <a:pt x="111" y="135"/>
                  </a:lnTo>
                  <a:lnTo>
                    <a:pt x="117" y="141"/>
                  </a:lnTo>
                  <a:lnTo>
                    <a:pt x="117" y="135"/>
                  </a:lnTo>
                  <a:lnTo>
                    <a:pt x="123" y="141"/>
                  </a:lnTo>
                  <a:lnTo>
                    <a:pt x="123" y="135"/>
                  </a:lnTo>
                  <a:lnTo>
                    <a:pt x="123" y="141"/>
                  </a:lnTo>
                  <a:lnTo>
                    <a:pt x="117" y="141"/>
                  </a:lnTo>
                  <a:lnTo>
                    <a:pt x="123" y="141"/>
                  </a:lnTo>
                  <a:lnTo>
                    <a:pt x="123" y="147"/>
                  </a:lnTo>
                  <a:lnTo>
                    <a:pt x="123" y="141"/>
                  </a:lnTo>
                  <a:lnTo>
                    <a:pt x="123" y="135"/>
                  </a:lnTo>
                  <a:lnTo>
                    <a:pt x="129" y="135"/>
                  </a:lnTo>
                  <a:lnTo>
                    <a:pt x="129" y="141"/>
                  </a:lnTo>
                  <a:lnTo>
                    <a:pt x="129" y="135"/>
                  </a:lnTo>
                  <a:lnTo>
                    <a:pt x="135" y="129"/>
                  </a:lnTo>
                  <a:lnTo>
                    <a:pt x="141" y="122"/>
                  </a:lnTo>
                  <a:lnTo>
                    <a:pt x="141" y="116"/>
                  </a:lnTo>
                  <a:lnTo>
                    <a:pt x="141" y="110"/>
                  </a:lnTo>
                  <a:lnTo>
                    <a:pt x="135" y="110"/>
                  </a:lnTo>
                  <a:lnTo>
                    <a:pt x="135" y="104"/>
                  </a:lnTo>
                  <a:lnTo>
                    <a:pt x="129" y="104"/>
                  </a:lnTo>
                  <a:lnTo>
                    <a:pt x="129" y="110"/>
                  </a:lnTo>
                  <a:lnTo>
                    <a:pt x="123" y="110"/>
                  </a:lnTo>
                  <a:lnTo>
                    <a:pt x="117" y="110"/>
                  </a:lnTo>
                  <a:lnTo>
                    <a:pt x="117" y="104"/>
                  </a:lnTo>
                  <a:lnTo>
                    <a:pt x="111" y="104"/>
                  </a:lnTo>
                  <a:lnTo>
                    <a:pt x="111" y="98"/>
                  </a:lnTo>
                  <a:lnTo>
                    <a:pt x="111" y="92"/>
                  </a:lnTo>
                  <a:lnTo>
                    <a:pt x="104" y="92"/>
                  </a:lnTo>
                  <a:lnTo>
                    <a:pt x="111" y="92"/>
                  </a:lnTo>
                  <a:lnTo>
                    <a:pt x="111" y="86"/>
                  </a:lnTo>
                  <a:lnTo>
                    <a:pt x="111" y="80"/>
                  </a:lnTo>
                  <a:lnTo>
                    <a:pt x="111" y="73"/>
                  </a:lnTo>
                  <a:lnTo>
                    <a:pt x="111" y="67"/>
                  </a:lnTo>
                  <a:lnTo>
                    <a:pt x="104" y="67"/>
                  </a:lnTo>
                  <a:lnTo>
                    <a:pt x="98" y="61"/>
                  </a:lnTo>
                  <a:lnTo>
                    <a:pt x="92" y="61"/>
                  </a:lnTo>
                  <a:lnTo>
                    <a:pt x="86" y="61"/>
                  </a:lnTo>
                  <a:lnTo>
                    <a:pt x="80" y="61"/>
                  </a:lnTo>
                  <a:lnTo>
                    <a:pt x="80" y="67"/>
                  </a:lnTo>
                  <a:lnTo>
                    <a:pt x="74" y="67"/>
                  </a:lnTo>
                  <a:lnTo>
                    <a:pt x="68" y="67"/>
                  </a:lnTo>
                  <a:lnTo>
                    <a:pt x="62" y="67"/>
                  </a:lnTo>
                  <a:lnTo>
                    <a:pt x="55" y="73"/>
                  </a:lnTo>
                  <a:lnTo>
                    <a:pt x="55" y="80"/>
                  </a:lnTo>
                  <a:lnTo>
                    <a:pt x="55" y="86"/>
                  </a:lnTo>
                  <a:lnTo>
                    <a:pt x="55" y="92"/>
                  </a:lnTo>
                  <a:lnTo>
                    <a:pt x="55" y="98"/>
                  </a:lnTo>
                  <a:lnTo>
                    <a:pt x="62" y="92"/>
                  </a:lnTo>
                  <a:lnTo>
                    <a:pt x="62" y="98"/>
                  </a:lnTo>
                  <a:lnTo>
                    <a:pt x="62" y="104"/>
                  </a:lnTo>
                  <a:lnTo>
                    <a:pt x="68" y="104"/>
                  </a:lnTo>
                  <a:lnTo>
                    <a:pt x="62" y="104"/>
                  </a:lnTo>
                  <a:lnTo>
                    <a:pt x="62" y="98"/>
                  </a:lnTo>
                  <a:lnTo>
                    <a:pt x="55" y="98"/>
                  </a:lnTo>
                  <a:lnTo>
                    <a:pt x="49" y="98"/>
                  </a:lnTo>
                  <a:lnTo>
                    <a:pt x="49" y="104"/>
                  </a:lnTo>
                  <a:lnTo>
                    <a:pt x="49" y="98"/>
                  </a:lnTo>
                  <a:lnTo>
                    <a:pt x="55" y="92"/>
                  </a:lnTo>
                  <a:lnTo>
                    <a:pt x="55" y="86"/>
                  </a:lnTo>
                  <a:lnTo>
                    <a:pt x="49" y="86"/>
                  </a:lnTo>
                  <a:lnTo>
                    <a:pt x="43" y="86"/>
                  </a:lnTo>
                  <a:lnTo>
                    <a:pt x="37" y="92"/>
                  </a:lnTo>
                  <a:lnTo>
                    <a:pt x="43" y="92"/>
                  </a:lnTo>
                  <a:lnTo>
                    <a:pt x="37" y="92"/>
                  </a:lnTo>
                  <a:lnTo>
                    <a:pt x="31" y="98"/>
                  </a:lnTo>
                  <a:lnTo>
                    <a:pt x="31" y="104"/>
                  </a:lnTo>
                  <a:lnTo>
                    <a:pt x="37" y="104"/>
                  </a:lnTo>
                  <a:lnTo>
                    <a:pt x="31" y="104"/>
                  </a:lnTo>
                  <a:lnTo>
                    <a:pt x="31" y="110"/>
                  </a:lnTo>
                  <a:lnTo>
                    <a:pt x="25" y="110"/>
                  </a:lnTo>
                  <a:lnTo>
                    <a:pt x="25" y="104"/>
                  </a:lnTo>
                  <a:lnTo>
                    <a:pt x="25" y="98"/>
                  </a:lnTo>
                  <a:lnTo>
                    <a:pt x="31" y="98"/>
                  </a:lnTo>
                  <a:lnTo>
                    <a:pt x="25" y="98"/>
                  </a:lnTo>
                  <a:lnTo>
                    <a:pt x="25" y="92"/>
                  </a:lnTo>
                  <a:lnTo>
                    <a:pt x="25" y="98"/>
                  </a:lnTo>
                  <a:lnTo>
                    <a:pt x="19" y="92"/>
                  </a:lnTo>
                  <a:lnTo>
                    <a:pt x="25" y="92"/>
                  </a:lnTo>
                  <a:lnTo>
                    <a:pt x="19" y="92"/>
                  </a:lnTo>
                  <a:lnTo>
                    <a:pt x="25" y="86"/>
                  </a:lnTo>
                  <a:lnTo>
                    <a:pt x="19" y="86"/>
                  </a:lnTo>
                  <a:lnTo>
                    <a:pt x="25" y="80"/>
                  </a:lnTo>
                  <a:lnTo>
                    <a:pt x="31" y="80"/>
                  </a:lnTo>
                  <a:lnTo>
                    <a:pt x="31" y="73"/>
                  </a:lnTo>
                  <a:lnTo>
                    <a:pt x="37" y="73"/>
                  </a:lnTo>
                  <a:lnTo>
                    <a:pt x="37" y="67"/>
                  </a:lnTo>
                  <a:lnTo>
                    <a:pt x="43" y="67"/>
                  </a:lnTo>
                  <a:lnTo>
                    <a:pt x="49" y="67"/>
                  </a:lnTo>
                  <a:lnTo>
                    <a:pt x="49" y="61"/>
                  </a:lnTo>
                  <a:lnTo>
                    <a:pt x="55" y="61"/>
                  </a:lnTo>
                  <a:lnTo>
                    <a:pt x="55" y="67"/>
                  </a:lnTo>
                  <a:lnTo>
                    <a:pt x="62" y="67"/>
                  </a:lnTo>
                  <a:lnTo>
                    <a:pt x="68" y="61"/>
                  </a:lnTo>
                  <a:lnTo>
                    <a:pt x="74" y="61"/>
                  </a:lnTo>
                  <a:lnTo>
                    <a:pt x="80" y="61"/>
                  </a:lnTo>
                  <a:lnTo>
                    <a:pt x="86" y="61"/>
                  </a:lnTo>
                  <a:lnTo>
                    <a:pt x="86" y="55"/>
                  </a:lnTo>
                  <a:lnTo>
                    <a:pt x="92" y="61"/>
                  </a:lnTo>
                  <a:lnTo>
                    <a:pt x="98" y="61"/>
                  </a:lnTo>
                  <a:lnTo>
                    <a:pt x="104" y="67"/>
                  </a:lnTo>
                  <a:lnTo>
                    <a:pt x="111" y="67"/>
                  </a:lnTo>
                  <a:lnTo>
                    <a:pt x="117" y="61"/>
                  </a:lnTo>
                  <a:lnTo>
                    <a:pt x="117" y="55"/>
                  </a:lnTo>
                  <a:lnTo>
                    <a:pt x="117" y="49"/>
                  </a:lnTo>
                  <a:lnTo>
                    <a:pt x="123" y="49"/>
                  </a:lnTo>
                  <a:lnTo>
                    <a:pt x="123" y="43"/>
                  </a:lnTo>
                  <a:lnTo>
                    <a:pt x="123" y="37"/>
                  </a:lnTo>
                  <a:lnTo>
                    <a:pt x="123" y="31"/>
                  </a:lnTo>
                  <a:lnTo>
                    <a:pt x="123" y="24"/>
                  </a:lnTo>
                  <a:lnTo>
                    <a:pt x="117" y="18"/>
                  </a:lnTo>
                  <a:lnTo>
                    <a:pt x="117" y="12"/>
                  </a:lnTo>
                  <a:lnTo>
                    <a:pt x="123" y="6"/>
                  </a:lnTo>
                  <a:lnTo>
                    <a:pt x="129" y="0"/>
                  </a:lnTo>
                  <a:lnTo>
                    <a:pt x="123" y="0"/>
                  </a:lnTo>
                  <a:lnTo>
                    <a:pt x="111" y="12"/>
                  </a:lnTo>
                  <a:lnTo>
                    <a:pt x="104" y="12"/>
                  </a:lnTo>
                  <a:lnTo>
                    <a:pt x="98" y="18"/>
                  </a:lnTo>
                  <a:lnTo>
                    <a:pt x="92" y="12"/>
                  </a:lnTo>
                  <a:lnTo>
                    <a:pt x="92" y="18"/>
                  </a:lnTo>
                  <a:lnTo>
                    <a:pt x="86" y="24"/>
                  </a:lnTo>
                  <a:lnTo>
                    <a:pt x="86" y="31"/>
                  </a:lnTo>
                  <a:lnTo>
                    <a:pt x="74" y="43"/>
                  </a:lnTo>
                  <a:lnTo>
                    <a:pt x="74" y="49"/>
                  </a:lnTo>
                  <a:lnTo>
                    <a:pt x="68" y="55"/>
                  </a:lnTo>
                  <a:lnTo>
                    <a:pt x="55" y="55"/>
                  </a:lnTo>
                  <a:lnTo>
                    <a:pt x="49" y="55"/>
                  </a:lnTo>
                  <a:lnTo>
                    <a:pt x="43" y="55"/>
                  </a:lnTo>
                  <a:lnTo>
                    <a:pt x="37" y="55"/>
                  </a:lnTo>
                  <a:lnTo>
                    <a:pt x="31" y="55"/>
                  </a:lnTo>
                  <a:lnTo>
                    <a:pt x="25" y="55"/>
                  </a:lnTo>
                  <a:lnTo>
                    <a:pt x="25" y="61"/>
                  </a:lnTo>
                  <a:lnTo>
                    <a:pt x="19" y="61"/>
                  </a:lnTo>
                  <a:lnTo>
                    <a:pt x="19" y="67"/>
                  </a:lnTo>
                  <a:lnTo>
                    <a:pt x="12" y="73"/>
                  </a:lnTo>
                  <a:lnTo>
                    <a:pt x="12" y="80"/>
                  </a:lnTo>
                  <a:lnTo>
                    <a:pt x="6" y="86"/>
                  </a:lnTo>
                  <a:lnTo>
                    <a:pt x="12" y="92"/>
                  </a:lnTo>
                  <a:lnTo>
                    <a:pt x="12" y="86"/>
                  </a:lnTo>
                  <a:lnTo>
                    <a:pt x="12" y="92"/>
                  </a:lnTo>
                  <a:lnTo>
                    <a:pt x="19" y="92"/>
                  </a:lnTo>
                  <a:lnTo>
                    <a:pt x="19" y="98"/>
                  </a:lnTo>
                  <a:lnTo>
                    <a:pt x="25" y="98"/>
                  </a:lnTo>
                  <a:lnTo>
                    <a:pt x="25" y="104"/>
                  </a:lnTo>
                  <a:lnTo>
                    <a:pt x="19" y="104"/>
                  </a:lnTo>
                  <a:lnTo>
                    <a:pt x="12" y="104"/>
                  </a:lnTo>
                  <a:lnTo>
                    <a:pt x="12" y="98"/>
                  </a:lnTo>
                  <a:lnTo>
                    <a:pt x="6" y="98"/>
                  </a:lnTo>
                  <a:lnTo>
                    <a:pt x="6" y="92"/>
                  </a:lnTo>
                  <a:lnTo>
                    <a:pt x="12" y="92"/>
                  </a:lnTo>
                  <a:lnTo>
                    <a:pt x="6" y="92"/>
                  </a:lnTo>
                  <a:lnTo>
                    <a:pt x="6" y="98"/>
                  </a:lnTo>
                  <a:lnTo>
                    <a:pt x="6" y="104"/>
                  </a:lnTo>
                  <a:lnTo>
                    <a:pt x="6" y="110"/>
                  </a:lnTo>
                  <a:lnTo>
                    <a:pt x="6" y="135"/>
                  </a:lnTo>
                  <a:lnTo>
                    <a:pt x="6" y="147"/>
                  </a:lnTo>
                  <a:lnTo>
                    <a:pt x="6" y="153"/>
                  </a:lnTo>
                  <a:lnTo>
                    <a:pt x="6" y="147"/>
                  </a:lnTo>
                  <a:lnTo>
                    <a:pt x="6" y="141"/>
                  </a:lnTo>
                  <a:lnTo>
                    <a:pt x="12" y="141"/>
                  </a:lnTo>
                  <a:lnTo>
                    <a:pt x="12" y="147"/>
                  </a:lnTo>
                  <a:lnTo>
                    <a:pt x="12" y="153"/>
                  </a:lnTo>
                  <a:lnTo>
                    <a:pt x="19" y="153"/>
                  </a:lnTo>
                  <a:lnTo>
                    <a:pt x="19" y="159"/>
                  </a:lnTo>
                  <a:lnTo>
                    <a:pt x="12" y="165"/>
                  </a:lnTo>
                  <a:lnTo>
                    <a:pt x="6" y="165"/>
                  </a:lnTo>
                  <a:lnTo>
                    <a:pt x="6" y="159"/>
                  </a:lnTo>
                  <a:lnTo>
                    <a:pt x="6" y="153"/>
                  </a:lnTo>
                  <a:lnTo>
                    <a:pt x="6" y="159"/>
                  </a:lnTo>
                  <a:lnTo>
                    <a:pt x="6" y="17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8" name="Freeform 109"/>
            <p:cNvSpPr>
              <a:spLocks/>
            </p:cNvSpPr>
            <p:nvPr/>
          </p:nvSpPr>
          <p:spPr bwMode="auto">
            <a:xfrm>
              <a:off x="3833382" y="3871617"/>
              <a:ext cx="139043" cy="143393"/>
            </a:xfrm>
            <a:custGeom>
              <a:avLst/>
              <a:gdLst>
                <a:gd name="T0" fmla="*/ 123486868 w 86"/>
                <a:gd name="T1" fmla="*/ 75604689 h 98"/>
                <a:gd name="T2" fmla="*/ 138607800 w 86"/>
                <a:gd name="T3" fmla="*/ 60483756 h 98"/>
                <a:gd name="T4" fmla="*/ 153728733 w 86"/>
                <a:gd name="T5" fmla="*/ 45362811 h 98"/>
                <a:gd name="T6" fmla="*/ 153728733 w 86"/>
                <a:gd name="T7" fmla="*/ 75604689 h 98"/>
                <a:gd name="T8" fmla="*/ 138607800 w 86"/>
                <a:gd name="T9" fmla="*/ 93246571 h 98"/>
                <a:gd name="T10" fmla="*/ 153728733 w 86"/>
                <a:gd name="T11" fmla="*/ 108367528 h 98"/>
                <a:gd name="T12" fmla="*/ 153728733 w 86"/>
                <a:gd name="T13" fmla="*/ 75604689 h 98"/>
                <a:gd name="T14" fmla="*/ 153728733 w 86"/>
                <a:gd name="T15" fmla="*/ 45362811 h 98"/>
                <a:gd name="T16" fmla="*/ 138607800 w 86"/>
                <a:gd name="T17" fmla="*/ 30241878 h 98"/>
                <a:gd name="T18" fmla="*/ 123486868 w 86"/>
                <a:gd name="T19" fmla="*/ 45362811 h 98"/>
                <a:gd name="T20" fmla="*/ 138607800 w 86"/>
                <a:gd name="T21" fmla="*/ 30241878 h 98"/>
                <a:gd name="T22" fmla="*/ 168851252 w 86"/>
                <a:gd name="T23" fmla="*/ 0 h 98"/>
                <a:gd name="T24" fmla="*/ 201612478 w 86"/>
                <a:gd name="T25" fmla="*/ 15120939 h 98"/>
                <a:gd name="T26" fmla="*/ 216733460 w 86"/>
                <a:gd name="T27" fmla="*/ 30241878 h 98"/>
                <a:gd name="T28" fmla="*/ 216733460 w 86"/>
                <a:gd name="T29" fmla="*/ 60483756 h 98"/>
                <a:gd name="T30" fmla="*/ 216733460 w 86"/>
                <a:gd name="T31" fmla="*/ 93246571 h 98"/>
                <a:gd name="T32" fmla="*/ 201612478 w 86"/>
                <a:gd name="T33" fmla="*/ 108367528 h 98"/>
                <a:gd name="T34" fmla="*/ 201612478 w 86"/>
                <a:gd name="T35" fmla="*/ 108367528 h 98"/>
                <a:gd name="T36" fmla="*/ 168851252 w 86"/>
                <a:gd name="T37" fmla="*/ 138607806 h 98"/>
                <a:gd name="T38" fmla="*/ 186491546 w 86"/>
                <a:gd name="T39" fmla="*/ 153728739 h 98"/>
                <a:gd name="T40" fmla="*/ 201612478 w 86"/>
                <a:gd name="T41" fmla="*/ 183972192 h 98"/>
                <a:gd name="T42" fmla="*/ 186491546 w 86"/>
                <a:gd name="T43" fmla="*/ 199093125 h 98"/>
                <a:gd name="T44" fmla="*/ 153728733 w 86"/>
                <a:gd name="T45" fmla="*/ 199093125 h 98"/>
                <a:gd name="T46" fmla="*/ 168851252 w 86"/>
                <a:gd name="T47" fmla="*/ 216733469 h 98"/>
                <a:gd name="T48" fmla="*/ 168851252 w 86"/>
                <a:gd name="T49" fmla="*/ 246975335 h 98"/>
                <a:gd name="T50" fmla="*/ 138607800 w 86"/>
                <a:gd name="T51" fmla="*/ 246975335 h 98"/>
                <a:gd name="T52" fmla="*/ 108367524 w 86"/>
                <a:gd name="T53" fmla="*/ 231854402 h 98"/>
                <a:gd name="T54" fmla="*/ 123486868 w 86"/>
                <a:gd name="T55" fmla="*/ 216733469 h 98"/>
                <a:gd name="T56" fmla="*/ 108367524 w 86"/>
                <a:gd name="T57" fmla="*/ 199093125 h 98"/>
                <a:gd name="T58" fmla="*/ 78124047 w 86"/>
                <a:gd name="T59" fmla="*/ 199093125 h 98"/>
                <a:gd name="T60" fmla="*/ 45362809 w 86"/>
                <a:gd name="T61" fmla="*/ 199093125 h 98"/>
                <a:gd name="T62" fmla="*/ 45362809 w 86"/>
                <a:gd name="T63" fmla="*/ 168851260 h 98"/>
                <a:gd name="T64" fmla="*/ 45362809 w 86"/>
                <a:gd name="T65" fmla="*/ 168851260 h 98"/>
                <a:gd name="T66" fmla="*/ 45362809 w 86"/>
                <a:gd name="T67" fmla="*/ 138607806 h 98"/>
                <a:gd name="T68" fmla="*/ 45362809 w 86"/>
                <a:gd name="T69" fmla="*/ 138607806 h 98"/>
                <a:gd name="T70" fmla="*/ 45362809 w 86"/>
                <a:gd name="T71" fmla="*/ 123488461 h 98"/>
                <a:gd name="T72" fmla="*/ 30241877 w 86"/>
                <a:gd name="T73" fmla="*/ 108367528 h 98"/>
                <a:gd name="T74" fmla="*/ 15120938 w 86"/>
                <a:gd name="T75" fmla="*/ 93246571 h 98"/>
                <a:gd name="T76" fmla="*/ 30241877 w 86"/>
                <a:gd name="T77" fmla="*/ 108367528 h 98"/>
                <a:gd name="T78" fmla="*/ 30241877 w 86"/>
                <a:gd name="T79" fmla="*/ 108367528 h 98"/>
                <a:gd name="T80" fmla="*/ 15120938 w 86"/>
                <a:gd name="T81" fmla="*/ 93246571 h 98"/>
                <a:gd name="T82" fmla="*/ 15120938 w 86"/>
                <a:gd name="T83" fmla="*/ 75604689 h 98"/>
                <a:gd name="T84" fmla="*/ 30241877 w 86"/>
                <a:gd name="T85" fmla="*/ 75604689 h 98"/>
                <a:gd name="T86" fmla="*/ 45362809 w 86"/>
                <a:gd name="T87" fmla="*/ 93246571 h 98"/>
                <a:gd name="T88" fmla="*/ 63003115 w 86"/>
                <a:gd name="T89" fmla="*/ 93246571 h 98"/>
                <a:gd name="T90" fmla="*/ 78124047 w 86"/>
                <a:gd name="T91" fmla="*/ 75604689 h 98"/>
                <a:gd name="T92" fmla="*/ 63003115 w 86"/>
                <a:gd name="T93" fmla="*/ 60483756 h 98"/>
                <a:gd name="T94" fmla="*/ 93246567 w 86"/>
                <a:gd name="T95" fmla="*/ 60483756 h 98"/>
                <a:gd name="T96" fmla="*/ 78124047 w 86"/>
                <a:gd name="T97" fmla="*/ 45362811 h 98"/>
                <a:gd name="T98" fmla="*/ 63003115 w 86"/>
                <a:gd name="T99" fmla="*/ 30241878 h 98"/>
                <a:gd name="T100" fmla="*/ 93246567 w 86"/>
                <a:gd name="T101" fmla="*/ 30241878 h 98"/>
                <a:gd name="T102" fmla="*/ 108367524 w 86"/>
                <a:gd name="T103" fmla="*/ 45362811 h 98"/>
                <a:gd name="T104" fmla="*/ 123486868 w 86"/>
                <a:gd name="T105" fmla="*/ 30241878 h 98"/>
                <a:gd name="T106" fmla="*/ 108367524 w 86"/>
                <a:gd name="T107" fmla="*/ 45362811 h 98"/>
                <a:gd name="T108" fmla="*/ 108367524 w 86"/>
                <a:gd name="T109" fmla="*/ 75604689 h 98"/>
                <a:gd name="T110" fmla="*/ 108367524 w 86"/>
                <a:gd name="T111" fmla="*/ 75604689 h 98"/>
                <a:gd name="T112" fmla="*/ 108367524 w 86"/>
                <a:gd name="T113" fmla="*/ 75604689 h 98"/>
                <a:gd name="T114" fmla="*/ 108367524 w 86"/>
                <a:gd name="T115" fmla="*/ 75604689 h 98"/>
                <a:gd name="T116" fmla="*/ 123486868 w 86"/>
                <a:gd name="T117" fmla="*/ 93246571 h 9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6"/>
                <a:gd name="T178" fmla="*/ 0 h 98"/>
                <a:gd name="T179" fmla="*/ 86 w 86"/>
                <a:gd name="T180" fmla="*/ 98 h 9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6" h="98">
                  <a:moveTo>
                    <a:pt x="49" y="37"/>
                  </a:moveTo>
                  <a:lnTo>
                    <a:pt x="49" y="30"/>
                  </a:lnTo>
                  <a:lnTo>
                    <a:pt x="49" y="24"/>
                  </a:lnTo>
                  <a:lnTo>
                    <a:pt x="55" y="24"/>
                  </a:lnTo>
                  <a:lnTo>
                    <a:pt x="55" y="18"/>
                  </a:lnTo>
                  <a:lnTo>
                    <a:pt x="61" y="18"/>
                  </a:lnTo>
                  <a:lnTo>
                    <a:pt x="61" y="24"/>
                  </a:lnTo>
                  <a:lnTo>
                    <a:pt x="61" y="30"/>
                  </a:lnTo>
                  <a:lnTo>
                    <a:pt x="61" y="37"/>
                  </a:lnTo>
                  <a:lnTo>
                    <a:pt x="55" y="37"/>
                  </a:lnTo>
                  <a:lnTo>
                    <a:pt x="61" y="37"/>
                  </a:lnTo>
                  <a:lnTo>
                    <a:pt x="61" y="43"/>
                  </a:lnTo>
                  <a:lnTo>
                    <a:pt x="61" y="37"/>
                  </a:lnTo>
                  <a:lnTo>
                    <a:pt x="61" y="30"/>
                  </a:lnTo>
                  <a:lnTo>
                    <a:pt x="61" y="24"/>
                  </a:lnTo>
                  <a:lnTo>
                    <a:pt x="61" y="18"/>
                  </a:lnTo>
                  <a:lnTo>
                    <a:pt x="61" y="12"/>
                  </a:lnTo>
                  <a:lnTo>
                    <a:pt x="55" y="12"/>
                  </a:lnTo>
                  <a:lnTo>
                    <a:pt x="55" y="18"/>
                  </a:lnTo>
                  <a:lnTo>
                    <a:pt x="49" y="18"/>
                  </a:lnTo>
                  <a:lnTo>
                    <a:pt x="49" y="12"/>
                  </a:lnTo>
                  <a:lnTo>
                    <a:pt x="55" y="12"/>
                  </a:lnTo>
                  <a:lnTo>
                    <a:pt x="61" y="6"/>
                  </a:lnTo>
                  <a:lnTo>
                    <a:pt x="67" y="0"/>
                  </a:lnTo>
                  <a:lnTo>
                    <a:pt x="74" y="0"/>
                  </a:lnTo>
                  <a:lnTo>
                    <a:pt x="80" y="6"/>
                  </a:lnTo>
                  <a:lnTo>
                    <a:pt x="86" y="6"/>
                  </a:lnTo>
                  <a:lnTo>
                    <a:pt x="86" y="12"/>
                  </a:lnTo>
                  <a:lnTo>
                    <a:pt x="86" y="18"/>
                  </a:lnTo>
                  <a:lnTo>
                    <a:pt x="86" y="24"/>
                  </a:lnTo>
                  <a:lnTo>
                    <a:pt x="86" y="30"/>
                  </a:lnTo>
                  <a:lnTo>
                    <a:pt x="86" y="37"/>
                  </a:lnTo>
                  <a:lnTo>
                    <a:pt x="86" y="43"/>
                  </a:lnTo>
                  <a:lnTo>
                    <a:pt x="80" y="43"/>
                  </a:lnTo>
                  <a:lnTo>
                    <a:pt x="80" y="49"/>
                  </a:lnTo>
                  <a:lnTo>
                    <a:pt x="80" y="43"/>
                  </a:lnTo>
                  <a:lnTo>
                    <a:pt x="74" y="49"/>
                  </a:lnTo>
                  <a:lnTo>
                    <a:pt x="67" y="55"/>
                  </a:lnTo>
                  <a:lnTo>
                    <a:pt x="67" y="61"/>
                  </a:lnTo>
                  <a:lnTo>
                    <a:pt x="74" y="61"/>
                  </a:lnTo>
                  <a:lnTo>
                    <a:pt x="80" y="67"/>
                  </a:lnTo>
                  <a:lnTo>
                    <a:pt x="80" y="73"/>
                  </a:lnTo>
                  <a:lnTo>
                    <a:pt x="74" y="73"/>
                  </a:lnTo>
                  <a:lnTo>
                    <a:pt x="74" y="79"/>
                  </a:lnTo>
                  <a:lnTo>
                    <a:pt x="67" y="79"/>
                  </a:lnTo>
                  <a:lnTo>
                    <a:pt x="61" y="79"/>
                  </a:lnTo>
                  <a:lnTo>
                    <a:pt x="61" y="86"/>
                  </a:lnTo>
                  <a:lnTo>
                    <a:pt x="67" y="86"/>
                  </a:lnTo>
                  <a:lnTo>
                    <a:pt x="67" y="92"/>
                  </a:lnTo>
                  <a:lnTo>
                    <a:pt x="67" y="98"/>
                  </a:lnTo>
                  <a:lnTo>
                    <a:pt x="61" y="98"/>
                  </a:lnTo>
                  <a:lnTo>
                    <a:pt x="55" y="98"/>
                  </a:lnTo>
                  <a:lnTo>
                    <a:pt x="49" y="92"/>
                  </a:lnTo>
                  <a:lnTo>
                    <a:pt x="43" y="92"/>
                  </a:lnTo>
                  <a:lnTo>
                    <a:pt x="43" y="86"/>
                  </a:lnTo>
                  <a:lnTo>
                    <a:pt x="49" y="86"/>
                  </a:lnTo>
                  <a:lnTo>
                    <a:pt x="43" y="86"/>
                  </a:lnTo>
                  <a:lnTo>
                    <a:pt x="43" y="79"/>
                  </a:lnTo>
                  <a:lnTo>
                    <a:pt x="37" y="79"/>
                  </a:lnTo>
                  <a:lnTo>
                    <a:pt x="31" y="79"/>
                  </a:lnTo>
                  <a:lnTo>
                    <a:pt x="25" y="79"/>
                  </a:lnTo>
                  <a:lnTo>
                    <a:pt x="18" y="79"/>
                  </a:lnTo>
                  <a:lnTo>
                    <a:pt x="18" y="73"/>
                  </a:lnTo>
                  <a:lnTo>
                    <a:pt x="18" y="67"/>
                  </a:lnTo>
                  <a:lnTo>
                    <a:pt x="12" y="67"/>
                  </a:lnTo>
                  <a:lnTo>
                    <a:pt x="18" y="67"/>
                  </a:lnTo>
                  <a:lnTo>
                    <a:pt x="18" y="61"/>
                  </a:lnTo>
                  <a:lnTo>
                    <a:pt x="18" y="55"/>
                  </a:lnTo>
                  <a:lnTo>
                    <a:pt x="12" y="55"/>
                  </a:lnTo>
                  <a:lnTo>
                    <a:pt x="18" y="55"/>
                  </a:lnTo>
                  <a:lnTo>
                    <a:pt x="12" y="55"/>
                  </a:lnTo>
                  <a:lnTo>
                    <a:pt x="18" y="49"/>
                  </a:lnTo>
                  <a:lnTo>
                    <a:pt x="18" y="43"/>
                  </a:lnTo>
                  <a:lnTo>
                    <a:pt x="12" y="43"/>
                  </a:lnTo>
                  <a:lnTo>
                    <a:pt x="6" y="43"/>
                  </a:lnTo>
                  <a:lnTo>
                    <a:pt x="6" y="37"/>
                  </a:lnTo>
                  <a:lnTo>
                    <a:pt x="6" y="43"/>
                  </a:lnTo>
                  <a:lnTo>
                    <a:pt x="12" y="43"/>
                  </a:lnTo>
                  <a:lnTo>
                    <a:pt x="12" y="37"/>
                  </a:lnTo>
                  <a:lnTo>
                    <a:pt x="12" y="43"/>
                  </a:lnTo>
                  <a:lnTo>
                    <a:pt x="12" y="37"/>
                  </a:lnTo>
                  <a:lnTo>
                    <a:pt x="6" y="37"/>
                  </a:lnTo>
                  <a:lnTo>
                    <a:pt x="0" y="30"/>
                  </a:lnTo>
                  <a:lnTo>
                    <a:pt x="6" y="30"/>
                  </a:lnTo>
                  <a:lnTo>
                    <a:pt x="12" y="37"/>
                  </a:lnTo>
                  <a:lnTo>
                    <a:pt x="12" y="30"/>
                  </a:lnTo>
                  <a:lnTo>
                    <a:pt x="18" y="30"/>
                  </a:lnTo>
                  <a:lnTo>
                    <a:pt x="18" y="37"/>
                  </a:lnTo>
                  <a:lnTo>
                    <a:pt x="18" y="30"/>
                  </a:lnTo>
                  <a:lnTo>
                    <a:pt x="25" y="37"/>
                  </a:lnTo>
                  <a:lnTo>
                    <a:pt x="25" y="30"/>
                  </a:lnTo>
                  <a:lnTo>
                    <a:pt x="31" y="30"/>
                  </a:lnTo>
                  <a:lnTo>
                    <a:pt x="31" y="24"/>
                  </a:lnTo>
                  <a:lnTo>
                    <a:pt x="25" y="24"/>
                  </a:lnTo>
                  <a:lnTo>
                    <a:pt x="31" y="24"/>
                  </a:lnTo>
                  <a:lnTo>
                    <a:pt x="37" y="24"/>
                  </a:lnTo>
                  <a:lnTo>
                    <a:pt x="37" y="18"/>
                  </a:lnTo>
                  <a:lnTo>
                    <a:pt x="31" y="18"/>
                  </a:lnTo>
                  <a:lnTo>
                    <a:pt x="31" y="12"/>
                  </a:lnTo>
                  <a:lnTo>
                    <a:pt x="25" y="12"/>
                  </a:lnTo>
                  <a:lnTo>
                    <a:pt x="31" y="12"/>
                  </a:lnTo>
                  <a:lnTo>
                    <a:pt x="37" y="12"/>
                  </a:lnTo>
                  <a:lnTo>
                    <a:pt x="37" y="18"/>
                  </a:lnTo>
                  <a:lnTo>
                    <a:pt x="43" y="18"/>
                  </a:lnTo>
                  <a:lnTo>
                    <a:pt x="43" y="12"/>
                  </a:lnTo>
                  <a:lnTo>
                    <a:pt x="49" y="12"/>
                  </a:lnTo>
                  <a:lnTo>
                    <a:pt x="49" y="18"/>
                  </a:lnTo>
                  <a:lnTo>
                    <a:pt x="43" y="18"/>
                  </a:lnTo>
                  <a:lnTo>
                    <a:pt x="43" y="24"/>
                  </a:lnTo>
                  <a:lnTo>
                    <a:pt x="43" y="30"/>
                  </a:lnTo>
                  <a:lnTo>
                    <a:pt x="37" y="30"/>
                  </a:lnTo>
                  <a:lnTo>
                    <a:pt x="43" y="30"/>
                  </a:lnTo>
                  <a:lnTo>
                    <a:pt x="49" y="30"/>
                  </a:lnTo>
                  <a:lnTo>
                    <a:pt x="43" y="30"/>
                  </a:lnTo>
                  <a:lnTo>
                    <a:pt x="49" y="30"/>
                  </a:lnTo>
                  <a:lnTo>
                    <a:pt x="43" y="30"/>
                  </a:lnTo>
                  <a:lnTo>
                    <a:pt x="43" y="37"/>
                  </a:lnTo>
                  <a:lnTo>
                    <a:pt x="49" y="3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89" name="Freeform 110"/>
            <p:cNvSpPr>
              <a:spLocks/>
            </p:cNvSpPr>
            <p:nvPr/>
          </p:nvSpPr>
          <p:spPr bwMode="auto">
            <a:xfrm>
              <a:off x="3744459" y="3934535"/>
              <a:ext cx="88923" cy="71696"/>
            </a:xfrm>
            <a:custGeom>
              <a:avLst/>
              <a:gdLst>
                <a:gd name="T0" fmla="*/ 0 w 55"/>
                <a:gd name="T1" fmla="*/ 30241684 h 49"/>
                <a:gd name="T2" fmla="*/ 15121026 w 55"/>
                <a:gd name="T3" fmla="*/ 30241684 h 49"/>
                <a:gd name="T4" fmla="*/ 15121026 w 55"/>
                <a:gd name="T5" fmla="*/ 15120842 h 49"/>
                <a:gd name="T6" fmla="*/ 30242052 w 55"/>
                <a:gd name="T7" fmla="*/ 30241684 h 49"/>
                <a:gd name="T8" fmla="*/ 45363072 w 55"/>
                <a:gd name="T9" fmla="*/ 15120842 h 49"/>
                <a:gd name="T10" fmla="*/ 60484104 w 55"/>
                <a:gd name="T11" fmla="*/ 15120842 h 49"/>
                <a:gd name="T12" fmla="*/ 60484104 w 55"/>
                <a:gd name="T13" fmla="*/ 0 h 49"/>
                <a:gd name="T14" fmla="*/ 78126088 w 55"/>
                <a:gd name="T15" fmla="*/ 0 h 49"/>
                <a:gd name="T16" fmla="*/ 78126088 w 55"/>
                <a:gd name="T17" fmla="*/ 15120842 h 49"/>
                <a:gd name="T18" fmla="*/ 78126088 w 55"/>
                <a:gd name="T19" fmla="*/ 0 h 49"/>
                <a:gd name="T20" fmla="*/ 93247108 w 55"/>
                <a:gd name="T21" fmla="*/ 15120842 h 49"/>
                <a:gd name="T22" fmla="*/ 108368153 w 55"/>
                <a:gd name="T23" fmla="*/ 15120842 h 49"/>
                <a:gd name="T24" fmla="*/ 93247108 w 55"/>
                <a:gd name="T25" fmla="*/ 15120842 h 49"/>
                <a:gd name="T26" fmla="*/ 108368153 w 55"/>
                <a:gd name="T27" fmla="*/ 30241684 h 49"/>
                <a:gd name="T28" fmla="*/ 93247108 w 55"/>
                <a:gd name="T29" fmla="*/ 30241684 h 49"/>
                <a:gd name="T30" fmla="*/ 93247108 w 55"/>
                <a:gd name="T31" fmla="*/ 45362519 h 49"/>
                <a:gd name="T32" fmla="*/ 108368153 w 55"/>
                <a:gd name="T33" fmla="*/ 30241684 h 49"/>
                <a:gd name="T34" fmla="*/ 123489173 w 55"/>
                <a:gd name="T35" fmla="*/ 30241684 h 49"/>
                <a:gd name="T36" fmla="*/ 108368153 w 55"/>
                <a:gd name="T37" fmla="*/ 30241684 h 49"/>
                <a:gd name="T38" fmla="*/ 108368153 w 55"/>
                <a:gd name="T39" fmla="*/ 15120842 h 49"/>
                <a:gd name="T40" fmla="*/ 108368153 w 55"/>
                <a:gd name="T41" fmla="*/ 30241684 h 49"/>
                <a:gd name="T42" fmla="*/ 123489173 w 55"/>
                <a:gd name="T43" fmla="*/ 30241684 h 49"/>
                <a:gd name="T44" fmla="*/ 108368153 w 55"/>
                <a:gd name="T45" fmla="*/ 15120842 h 49"/>
                <a:gd name="T46" fmla="*/ 123489173 w 55"/>
                <a:gd name="T47" fmla="*/ 15120842 h 49"/>
                <a:gd name="T48" fmla="*/ 108368153 w 55"/>
                <a:gd name="T49" fmla="*/ 0 h 49"/>
                <a:gd name="T50" fmla="*/ 123489173 w 55"/>
                <a:gd name="T51" fmla="*/ 15120842 h 49"/>
                <a:gd name="T52" fmla="*/ 123489173 w 55"/>
                <a:gd name="T53" fmla="*/ 30241684 h 49"/>
                <a:gd name="T54" fmla="*/ 138610192 w 55"/>
                <a:gd name="T55" fmla="*/ 30241684 h 49"/>
                <a:gd name="T56" fmla="*/ 123489173 w 55"/>
                <a:gd name="T57" fmla="*/ 30241684 h 49"/>
                <a:gd name="T58" fmla="*/ 123489173 w 55"/>
                <a:gd name="T59" fmla="*/ 45362519 h 49"/>
                <a:gd name="T60" fmla="*/ 138610192 w 55"/>
                <a:gd name="T61" fmla="*/ 60483367 h 49"/>
                <a:gd name="T62" fmla="*/ 138610192 w 55"/>
                <a:gd name="T63" fmla="*/ 75604203 h 49"/>
                <a:gd name="T64" fmla="*/ 138610192 w 55"/>
                <a:gd name="T65" fmla="*/ 90725038 h 49"/>
                <a:gd name="T66" fmla="*/ 138610192 w 55"/>
                <a:gd name="T67" fmla="*/ 108365244 h 49"/>
                <a:gd name="T68" fmla="*/ 138610192 w 55"/>
                <a:gd name="T69" fmla="*/ 123486080 h 49"/>
                <a:gd name="T70" fmla="*/ 123489173 w 55"/>
                <a:gd name="T71" fmla="*/ 123486080 h 49"/>
                <a:gd name="T72" fmla="*/ 108368153 w 55"/>
                <a:gd name="T73" fmla="*/ 123486080 h 49"/>
                <a:gd name="T74" fmla="*/ 93247108 w 55"/>
                <a:gd name="T75" fmla="*/ 123486080 h 49"/>
                <a:gd name="T76" fmla="*/ 78126088 w 55"/>
                <a:gd name="T77" fmla="*/ 123486080 h 49"/>
                <a:gd name="T78" fmla="*/ 60484104 w 55"/>
                <a:gd name="T79" fmla="*/ 108365244 h 49"/>
                <a:gd name="T80" fmla="*/ 60484104 w 55"/>
                <a:gd name="T81" fmla="*/ 123486080 h 49"/>
                <a:gd name="T82" fmla="*/ 45363072 w 55"/>
                <a:gd name="T83" fmla="*/ 123486080 h 49"/>
                <a:gd name="T84" fmla="*/ 45363072 w 55"/>
                <a:gd name="T85" fmla="*/ 108365244 h 49"/>
                <a:gd name="T86" fmla="*/ 60484104 w 55"/>
                <a:gd name="T87" fmla="*/ 108365244 h 49"/>
                <a:gd name="T88" fmla="*/ 60484104 w 55"/>
                <a:gd name="T89" fmla="*/ 90725038 h 49"/>
                <a:gd name="T90" fmla="*/ 45363072 w 55"/>
                <a:gd name="T91" fmla="*/ 90725038 h 49"/>
                <a:gd name="T92" fmla="*/ 45363072 w 55"/>
                <a:gd name="T93" fmla="*/ 108365244 h 49"/>
                <a:gd name="T94" fmla="*/ 30242052 w 55"/>
                <a:gd name="T95" fmla="*/ 108365244 h 49"/>
                <a:gd name="T96" fmla="*/ 45363072 w 55"/>
                <a:gd name="T97" fmla="*/ 90725038 h 49"/>
                <a:gd name="T98" fmla="*/ 30242052 w 55"/>
                <a:gd name="T99" fmla="*/ 90725038 h 49"/>
                <a:gd name="T100" fmla="*/ 30242052 w 55"/>
                <a:gd name="T101" fmla="*/ 60483367 h 49"/>
                <a:gd name="T102" fmla="*/ 15121026 w 55"/>
                <a:gd name="T103" fmla="*/ 60483367 h 49"/>
                <a:gd name="T104" fmla="*/ 15121026 w 55"/>
                <a:gd name="T105" fmla="*/ 45362519 h 49"/>
                <a:gd name="T106" fmla="*/ 0 w 55"/>
                <a:gd name="T107" fmla="*/ 30241684 h 49"/>
                <a:gd name="T108" fmla="*/ 15121026 w 55"/>
                <a:gd name="T109" fmla="*/ 45362519 h 49"/>
                <a:gd name="T110" fmla="*/ 15121026 w 55"/>
                <a:gd name="T111" fmla="*/ 30241684 h 49"/>
                <a:gd name="T112" fmla="*/ 0 w 55"/>
                <a:gd name="T113" fmla="*/ 30241684 h 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
                <a:gd name="T172" fmla="*/ 0 h 49"/>
                <a:gd name="T173" fmla="*/ 55 w 55"/>
                <a:gd name="T174" fmla="*/ 49 h 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 h="49">
                  <a:moveTo>
                    <a:pt x="0" y="12"/>
                  </a:moveTo>
                  <a:lnTo>
                    <a:pt x="6" y="12"/>
                  </a:lnTo>
                  <a:lnTo>
                    <a:pt x="6" y="6"/>
                  </a:lnTo>
                  <a:lnTo>
                    <a:pt x="12" y="12"/>
                  </a:lnTo>
                  <a:lnTo>
                    <a:pt x="18" y="6"/>
                  </a:lnTo>
                  <a:lnTo>
                    <a:pt x="24" y="6"/>
                  </a:lnTo>
                  <a:lnTo>
                    <a:pt x="24" y="0"/>
                  </a:lnTo>
                  <a:lnTo>
                    <a:pt x="31" y="0"/>
                  </a:lnTo>
                  <a:lnTo>
                    <a:pt x="31" y="6"/>
                  </a:lnTo>
                  <a:lnTo>
                    <a:pt x="31" y="0"/>
                  </a:lnTo>
                  <a:lnTo>
                    <a:pt x="37" y="6"/>
                  </a:lnTo>
                  <a:lnTo>
                    <a:pt x="43" y="6"/>
                  </a:lnTo>
                  <a:lnTo>
                    <a:pt x="37" y="6"/>
                  </a:lnTo>
                  <a:lnTo>
                    <a:pt x="43" y="12"/>
                  </a:lnTo>
                  <a:lnTo>
                    <a:pt x="37" y="12"/>
                  </a:lnTo>
                  <a:lnTo>
                    <a:pt x="37" y="18"/>
                  </a:lnTo>
                  <a:lnTo>
                    <a:pt x="43" y="12"/>
                  </a:lnTo>
                  <a:lnTo>
                    <a:pt x="49" y="12"/>
                  </a:lnTo>
                  <a:lnTo>
                    <a:pt x="43" y="12"/>
                  </a:lnTo>
                  <a:lnTo>
                    <a:pt x="43" y="6"/>
                  </a:lnTo>
                  <a:lnTo>
                    <a:pt x="43" y="12"/>
                  </a:lnTo>
                  <a:lnTo>
                    <a:pt x="49" y="12"/>
                  </a:lnTo>
                  <a:lnTo>
                    <a:pt x="43" y="6"/>
                  </a:lnTo>
                  <a:lnTo>
                    <a:pt x="49" y="6"/>
                  </a:lnTo>
                  <a:lnTo>
                    <a:pt x="43" y="0"/>
                  </a:lnTo>
                  <a:lnTo>
                    <a:pt x="49" y="6"/>
                  </a:lnTo>
                  <a:lnTo>
                    <a:pt x="49" y="12"/>
                  </a:lnTo>
                  <a:lnTo>
                    <a:pt x="55" y="12"/>
                  </a:lnTo>
                  <a:lnTo>
                    <a:pt x="49" y="12"/>
                  </a:lnTo>
                  <a:lnTo>
                    <a:pt x="49" y="18"/>
                  </a:lnTo>
                  <a:lnTo>
                    <a:pt x="55" y="24"/>
                  </a:lnTo>
                  <a:lnTo>
                    <a:pt x="55" y="30"/>
                  </a:lnTo>
                  <a:lnTo>
                    <a:pt x="55" y="36"/>
                  </a:lnTo>
                  <a:lnTo>
                    <a:pt x="55" y="43"/>
                  </a:lnTo>
                  <a:lnTo>
                    <a:pt x="55" y="49"/>
                  </a:lnTo>
                  <a:lnTo>
                    <a:pt x="49" y="49"/>
                  </a:lnTo>
                  <a:lnTo>
                    <a:pt x="43" y="49"/>
                  </a:lnTo>
                  <a:lnTo>
                    <a:pt x="37" y="49"/>
                  </a:lnTo>
                  <a:lnTo>
                    <a:pt x="31" y="49"/>
                  </a:lnTo>
                  <a:lnTo>
                    <a:pt x="24" y="43"/>
                  </a:lnTo>
                  <a:lnTo>
                    <a:pt x="24" y="49"/>
                  </a:lnTo>
                  <a:lnTo>
                    <a:pt x="18" y="49"/>
                  </a:lnTo>
                  <a:lnTo>
                    <a:pt x="18" y="43"/>
                  </a:lnTo>
                  <a:lnTo>
                    <a:pt x="24" y="43"/>
                  </a:lnTo>
                  <a:lnTo>
                    <a:pt x="24" y="36"/>
                  </a:lnTo>
                  <a:lnTo>
                    <a:pt x="18" y="36"/>
                  </a:lnTo>
                  <a:lnTo>
                    <a:pt x="18" y="43"/>
                  </a:lnTo>
                  <a:lnTo>
                    <a:pt x="12" y="43"/>
                  </a:lnTo>
                  <a:lnTo>
                    <a:pt x="18" y="36"/>
                  </a:lnTo>
                  <a:lnTo>
                    <a:pt x="12" y="36"/>
                  </a:lnTo>
                  <a:lnTo>
                    <a:pt x="12" y="24"/>
                  </a:lnTo>
                  <a:lnTo>
                    <a:pt x="6" y="24"/>
                  </a:lnTo>
                  <a:lnTo>
                    <a:pt x="6" y="18"/>
                  </a:lnTo>
                  <a:lnTo>
                    <a:pt x="0" y="12"/>
                  </a:lnTo>
                  <a:lnTo>
                    <a:pt x="6" y="18"/>
                  </a:lnTo>
                  <a:lnTo>
                    <a:pt x="6"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0" name="Freeform 111"/>
            <p:cNvSpPr>
              <a:spLocks/>
            </p:cNvSpPr>
            <p:nvPr/>
          </p:nvSpPr>
          <p:spPr bwMode="auto">
            <a:xfrm>
              <a:off x="3843082" y="4023789"/>
              <a:ext cx="69521" cy="35117"/>
            </a:xfrm>
            <a:custGeom>
              <a:avLst/>
              <a:gdLst>
                <a:gd name="T0" fmla="*/ 0 w 43"/>
                <a:gd name="T1" fmla="*/ 30241878 h 24"/>
                <a:gd name="T2" fmla="*/ 15120828 w 43"/>
                <a:gd name="T3" fmla="*/ 30241878 h 24"/>
                <a:gd name="T4" fmla="*/ 0 w 43"/>
                <a:gd name="T5" fmla="*/ 15120939 h 24"/>
                <a:gd name="T6" fmla="*/ 15120828 w 43"/>
                <a:gd name="T7" fmla="*/ 30241878 h 24"/>
                <a:gd name="T8" fmla="*/ 30241655 w 43"/>
                <a:gd name="T9" fmla="*/ 15120939 h 24"/>
                <a:gd name="T10" fmla="*/ 15120828 w 43"/>
                <a:gd name="T11" fmla="*/ 15120939 h 24"/>
                <a:gd name="T12" fmla="*/ 15120828 w 43"/>
                <a:gd name="T13" fmla="*/ 0 h 24"/>
                <a:gd name="T14" fmla="*/ 15120828 w 43"/>
                <a:gd name="T15" fmla="*/ 15120939 h 24"/>
                <a:gd name="T16" fmla="*/ 15120828 w 43"/>
                <a:gd name="T17" fmla="*/ 0 h 24"/>
                <a:gd name="T18" fmla="*/ 30241655 w 43"/>
                <a:gd name="T19" fmla="*/ 0 h 24"/>
                <a:gd name="T20" fmla="*/ 47881820 w 43"/>
                <a:gd name="T21" fmla="*/ 0 h 24"/>
                <a:gd name="T22" fmla="*/ 63002653 w 43"/>
                <a:gd name="T23" fmla="*/ 15120939 h 24"/>
                <a:gd name="T24" fmla="*/ 78123475 w 43"/>
                <a:gd name="T25" fmla="*/ 15120939 h 24"/>
                <a:gd name="T26" fmla="*/ 78123475 w 43"/>
                <a:gd name="T27" fmla="*/ 30241878 h 24"/>
                <a:gd name="T28" fmla="*/ 78123475 w 43"/>
                <a:gd name="T29" fmla="*/ 15120939 h 24"/>
                <a:gd name="T30" fmla="*/ 93244296 w 43"/>
                <a:gd name="T31" fmla="*/ 15120939 h 24"/>
                <a:gd name="T32" fmla="*/ 93244296 w 43"/>
                <a:gd name="T33" fmla="*/ 0 h 24"/>
                <a:gd name="T34" fmla="*/ 93244296 w 43"/>
                <a:gd name="T35" fmla="*/ 15120939 h 24"/>
                <a:gd name="T36" fmla="*/ 108365142 w 43"/>
                <a:gd name="T37" fmla="*/ 15120939 h 24"/>
                <a:gd name="T38" fmla="*/ 108365142 w 43"/>
                <a:gd name="T39" fmla="*/ 30241878 h 24"/>
                <a:gd name="T40" fmla="*/ 108365142 w 43"/>
                <a:gd name="T41" fmla="*/ 45362810 h 24"/>
                <a:gd name="T42" fmla="*/ 108365142 w 43"/>
                <a:gd name="T43" fmla="*/ 60483756 h 24"/>
                <a:gd name="T44" fmla="*/ 93244296 w 43"/>
                <a:gd name="T45" fmla="*/ 60483756 h 24"/>
                <a:gd name="T46" fmla="*/ 93244296 w 43"/>
                <a:gd name="T47" fmla="*/ 45362810 h 24"/>
                <a:gd name="T48" fmla="*/ 93244296 w 43"/>
                <a:gd name="T49" fmla="*/ 60483756 h 24"/>
                <a:gd name="T50" fmla="*/ 93244296 w 43"/>
                <a:gd name="T51" fmla="*/ 45362810 h 24"/>
                <a:gd name="T52" fmla="*/ 78123475 w 43"/>
                <a:gd name="T53" fmla="*/ 45362810 h 24"/>
                <a:gd name="T54" fmla="*/ 78123475 w 43"/>
                <a:gd name="T55" fmla="*/ 60483756 h 24"/>
                <a:gd name="T56" fmla="*/ 63002653 w 43"/>
                <a:gd name="T57" fmla="*/ 60483756 h 24"/>
                <a:gd name="T58" fmla="*/ 47881820 w 43"/>
                <a:gd name="T59" fmla="*/ 60483756 h 24"/>
                <a:gd name="T60" fmla="*/ 30241655 w 43"/>
                <a:gd name="T61" fmla="*/ 45362810 h 24"/>
                <a:gd name="T62" fmla="*/ 15120828 w 43"/>
                <a:gd name="T63" fmla="*/ 45362810 h 24"/>
                <a:gd name="T64" fmla="*/ 15120828 w 43"/>
                <a:gd name="T65" fmla="*/ 30241878 h 24"/>
                <a:gd name="T66" fmla="*/ 0 w 43"/>
                <a:gd name="T67" fmla="*/ 30241878 h 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3"/>
                <a:gd name="T103" fmla="*/ 0 h 24"/>
                <a:gd name="T104" fmla="*/ 43 w 43"/>
                <a:gd name="T105" fmla="*/ 24 h 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3" h="24">
                  <a:moveTo>
                    <a:pt x="0" y="12"/>
                  </a:moveTo>
                  <a:lnTo>
                    <a:pt x="6" y="12"/>
                  </a:lnTo>
                  <a:lnTo>
                    <a:pt x="0" y="6"/>
                  </a:lnTo>
                  <a:lnTo>
                    <a:pt x="6" y="12"/>
                  </a:lnTo>
                  <a:lnTo>
                    <a:pt x="12" y="6"/>
                  </a:lnTo>
                  <a:lnTo>
                    <a:pt x="6" y="6"/>
                  </a:lnTo>
                  <a:lnTo>
                    <a:pt x="6" y="0"/>
                  </a:lnTo>
                  <a:lnTo>
                    <a:pt x="6" y="6"/>
                  </a:lnTo>
                  <a:lnTo>
                    <a:pt x="6" y="0"/>
                  </a:lnTo>
                  <a:lnTo>
                    <a:pt x="12" y="0"/>
                  </a:lnTo>
                  <a:lnTo>
                    <a:pt x="19" y="0"/>
                  </a:lnTo>
                  <a:lnTo>
                    <a:pt x="25" y="6"/>
                  </a:lnTo>
                  <a:lnTo>
                    <a:pt x="31" y="6"/>
                  </a:lnTo>
                  <a:lnTo>
                    <a:pt x="31" y="12"/>
                  </a:lnTo>
                  <a:lnTo>
                    <a:pt x="31" y="6"/>
                  </a:lnTo>
                  <a:lnTo>
                    <a:pt x="37" y="6"/>
                  </a:lnTo>
                  <a:lnTo>
                    <a:pt x="37" y="0"/>
                  </a:lnTo>
                  <a:lnTo>
                    <a:pt x="37" y="6"/>
                  </a:lnTo>
                  <a:lnTo>
                    <a:pt x="43" y="6"/>
                  </a:lnTo>
                  <a:lnTo>
                    <a:pt x="43" y="12"/>
                  </a:lnTo>
                  <a:lnTo>
                    <a:pt x="43" y="18"/>
                  </a:lnTo>
                  <a:lnTo>
                    <a:pt x="43" y="24"/>
                  </a:lnTo>
                  <a:lnTo>
                    <a:pt x="37" y="24"/>
                  </a:lnTo>
                  <a:lnTo>
                    <a:pt x="37" y="18"/>
                  </a:lnTo>
                  <a:lnTo>
                    <a:pt x="37" y="24"/>
                  </a:lnTo>
                  <a:lnTo>
                    <a:pt x="37" y="18"/>
                  </a:lnTo>
                  <a:lnTo>
                    <a:pt x="31" y="18"/>
                  </a:lnTo>
                  <a:lnTo>
                    <a:pt x="31" y="24"/>
                  </a:lnTo>
                  <a:lnTo>
                    <a:pt x="25" y="24"/>
                  </a:lnTo>
                  <a:lnTo>
                    <a:pt x="19" y="24"/>
                  </a:lnTo>
                  <a:lnTo>
                    <a:pt x="12" y="18"/>
                  </a:lnTo>
                  <a:lnTo>
                    <a:pt x="6" y="18"/>
                  </a:lnTo>
                  <a:lnTo>
                    <a:pt x="6"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1" name="Freeform 112"/>
            <p:cNvSpPr>
              <a:spLocks/>
            </p:cNvSpPr>
            <p:nvPr/>
          </p:nvSpPr>
          <p:spPr bwMode="auto">
            <a:xfrm>
              <a:off x="4140570" y="3978431"/>
              <a:ext cx="29102" cy="36579"/>
            </a:xfrm>
            <a:custGeom>
              <a:avLst/>
              <a:gdLst>
                <a:gd name="T0" fmla="*/ 0 w 18"/>
                <a:gd name="T1" fmla="*/ 47881570 h 25"/>
                <a:gd name="T2" fmla="*/ 15120937 w 18"/>
                <a:gd name="T3" fmla="*/ 47881570 h 25"/>
                <a:gd name="T4" fmla="*/ 30241875 w 18"/>
                <a:gd name="T5" fmla="*/ 63002324 h 25"/>
                <a:gd name="T6" fmla="*/ 45362806 w 18"/>
                <a:gd name="T7" fmla="*/ 63002324 h 25"/>
                <a:gd name="T8" fmla="*/ 45362806 w 18"/>
                <a:gd name="T9" fmla="*/ 32760827 h 25"/>
                <a:gd name="T10" fmla="*/ 30241875 w 18"/>
                <a:gd name="T11" fmla="*/ 15120749 h 25"/>
                <a:gd name="T12" fmla="*/ 15120937 w 18"/>
                <a:gd name="T13" fmla="*/ 15120749 h 25"/>
                <a:gd name="T14" fmla="*/ 15120937 w 18"/>
                <a:gd name="T15" fmla="*/ 0 h 25"/>
                <a:gd name="T16" fmla="*/ 0 w 18"/>
                <a:gd name="T17" fmla="*/ 0 h 25"/>
                <a:gd name="T18" fmla="*/ 15120937 w 18"/>
                <a:gd name="T19" fmla="*/ 0 h 25"/>
                <a:gd name="T20" fmla="*/ 0 w 18"/>
                <a:gd name="T21" fmla="*/ 0 h 25"/>
                <a:gd name="T22" fmla="*/ 0 w 18"/>
                <a:gd name="T23" fmla="*/ 15120749 h 25"/>
                <a:gd name="T24" fmla="*/ 0 w 18"/>
                <a:gd name="T25" fmla="*/ 32760827 h 25"/>
                <a:gd name="T26" fmla="*/ 0 w 18"/>
                <a:gd name="T27" fmla="*/ 4788157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
                <a:gd name="T43" fmla="*/ 0 h 25"/>
                <a:gd name="T44" fmla="*/ 18 w 18"/>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 h="25">
                  <a:moveTo>
                    <a:pt x="0" y="19"/>
                  </a:moveTo>
                  <a:lnTo>
                    <a:pt x="6" y="19"/>
                  </a:lnTo>
                  <a:lnTo>
                    <a:pt x="12" y="25"/>
                  </a:lnTo>
                  <a:lnTo>
                    <a:pt x="18" y="25"/>
                  </a:lnTo>
                  <a:lnTo>
                    <a:pt x="18" y="13"/>
                  </a:lnTo>
                  <a:lnTo>
                    <a:pt x="12" y="6"/>
                  </a:lnTo>
                  <a:lnTo>
                    <a:pt x="6" y="6"/>
                  </a:lnTo>
                  <a:lnTo>
                    <a:pt x="6" y="0"/>
                  </a:lnTo>
                  <a:lnTo>
                    <a:pt x="0" y="0"/>
                  </a:lnTo>
                  <a:lnTo>
                    <a:pt x="6" y="0"/>
                  </a:lnTo>
                  <a:lnTo>
                    <a:pt x="0" y="0"/>
                  </a:lnTo>
                  <a:lnTo>
                    <a:pt x="0" y="6"/>
                  </a:lnTo>
                  <a:lnTo>
                    <a:pt x="0" y="13"/>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2" name="Freeform 113"/>
            <p:cNvSpPr>
              <a:spLocks/>
            </p:cNvSpPr>
            <p:nvPr/>
          </p:nvSpPr>
          <p:spPr bwMode="auto">
            <a:xfrm>
              <a:off x="3902902" y="4015010"/>
              <a:ext cx="38803" cy="54139"/>
            </a:xfrm>
            <a:custGeom>
              <a:avLst/>
              <a:gdLst>
                <a:gd name="T0" fmla="*/ 0 w 24"/>
                <a:gd name="T1" fmla="*/ 15121066 h 37"/>
                <a:gd name="T2" fmla="*/ 15120939 w 24"/>
                <a:gd name="T3" fmla="*/ 15121066 h 37"/>
                <a:gd name="T4" fmla="*/ 15120939 w 24"/>
                <a:gd name="T5" fmla="*/ 0 h 37"/>
                <a:gd name="T6" fmla="*/ 15120939 w 24"/>
                <a:gd name="T7" fmla="*/ 15121066 h 37"/>
                <a:gd name="T8" fmla="*/ 30241878 w 24"/>
                <a:gd name="T9" fmla="*/ 15121066 h 37"/>
                <a:gd name="T10" fmla="*/ 45362810 w 24"/>
                <a:gd name="T11" fmla="*/ 15121066 h 37"/>
                <a:gd name="T12" fmla="*/ 45362810 w 24"/>
                <a:gd name="T13" fmla="*/ 30242132 h 37"/>
                <a:gd name="T14" fmla="*/ 60483756 w 24"/>
                <a:gd name="T15" fmla="*/ 30242132 h 37"/>
                <a:gd name="T16" fmla="*/ 60483756 w 24"/>
                <a:gd name="T17" fmla="*/ 45363192 h 37"/>
                <a:gd name="T18" fmla="*/ 45362810 w 24"/>
                <a:gd name="T19" fmla="*/ 45363192 h 37"/>
                <a:gd name="T20" fmla="*/ 45362810 w 24"/>
                <a:gd name="T21" fmla="*/ 60484265 h 37"/>
                <a:gd name="T22" fmla="*/ 30241878 w 24"/>
                <a:gd name="T23" fmla="*/ 60484265 h 37"/>
                <a:gd name="T24" fmla="*/ 30241878 w 24"/>
                <a:gd name="T25" fmla="*/ 75605325 h 37"/>
                <a:gd name="T26" fmla="*/ 30241878 w 24"/>
                <a:gd name="T27" fmla="*/ 93247355 h 37"/>
                <a:gd name="T28" fmla="*/ 15120939 w 24"/>
                <a:gd name="T29" fmla="*/ 75605325 h 37"/>
                <a:gd name="T30" fmla="*/ 30241878 w 24"/>
                <a:gd name="T31" fmla="*/ 60484265 h 37"/>
                <a:gd name="T32" fmla="*/ 15120939 w 24"/>
                <a:gd name="T33" fmla="*/ 60484265 h 37"/>
                <a:gd name="T34" fmla="*/ 15120939 w 24"/>
                <a:gd name="T35" fmla="*/ 45363192 h 37"/>
                <a:gd name="T36" fmla="*/ 15120939 w 24"/>
                <a:gd name="T37" fmla="*/ 30242132 h 37"/>
                <a:gd name="T38" fmla="*/ 0 w 24"/>
                <a:gd name="T39" fmla="*/ 30242132 h 37"/>
                <a:gd name="T40" fmla="*/ 15120939 w 24"/>
                <a:gd name="T41" fmla="*/ 30242132 h 37"/>
                <a:gd name="T42" fmla="*/ 15120939 w 24"/>
                <a:gd name="T43" fmla="*/ 15121066 h 37"/>
                <a:gd name="T44" fmla="*/ 0 w 24"/>
                <a:gd name="T45" fmla="*/ 15121066 h 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
                <a:gd name="T70" fmla="*/ 0 h 37"/>
                <a:gd name="T71" fmla="*/ 24 w 24"/>
                <a:gd name="T72" fmla="*/ 37 h 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 h="37">
                  <a:moveTo>
                    <a:pt x="0" y="6"/>
                  </a:moveTo>
                  <a:lnTo>
                    <a:pt x="6" y="6"/>
                  </a:lnTo>
                  <a:lnTo>
                    <a:pt x="6" y="0"/>
                  </a:lnTo>
                  <a:lnTo>
                    <a:pt x="6" y="6"/>
                  </a:lnTo>
                  <a:lnTo>
                    <a:pt x="12" y="6"/>
                  </a:lnTo>
                  <a:lnTo>
                    <a:pt x="18" y="6"/>
                  </a:lnTo>
                  <a:lnTo>
                    <a:pt x="18" y="12"/>
                  </a:lnTo>
                  <a:lnTo>
                    <a:pt x="24" y="12"/>
                  </a:lnTo>
                  <a:lnTo>
                    <a:pt x="24" y="18"/>
                  </a:lnTo>
                  <a:lnTo>
                    <a:pt x="18" y="18"/>
                  </a:lnTo>
                  <a:lnTo>
                    <a:pt x="18" y="24"/>
                  </a:lnTo>
                  <a:lnTo>
                    <a:pt x="12" y="24"/>
                  </a:lnTo>
                  <a:lnTo>
                    <a:pt x="12" y="30"/>
                  </a:lnTo>
                  <a:lnTo>
                    <a:pt x="12" y="37"/>
                  </a:lnTo>
                  <a:lnTo>
                    <a:pt x="6" y="30"/>
                  </a:lnTo>
                  <a:lnTo>
                    <a:pt x="12" y="24"/>
                  </a:lnTo>
                  <a:lnTo>
                    <a:pt x="6" y="24"/>
                  </a:lnTo>
                  <a:lnTo>
                    <a:pt x="6" y="18"/>
                  </a:lnTo>
                  <a:lnTo>
                    <a:pt x="6" y="12"/>
                  </a:lnTo>
                  <a:lnTo>
                    <a:pt x="0" y="12"/>
                  </a:lnTo>
                  <a:lnTo>
                    <a:pt x="6" y="12"/>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3" name="Freeform 114"/>
            <p:cNvSpPr>
              <a:spLocks/>
            </p:cNvSpPr>
            <p:nvPr/>
          </p:nvSpPr>
          <p:spPr bwMode="auto">
            <a:xfrm>
              <a:off x="3655536" y="3763340"/>
              <a:ext cx="29102" cy="36580"/>
            </a:xfrm>
            <a:custGeom>
              <a:avLst/>
              <a:gdLst>
                <a:gd name="T0" fmla="*/ 0 w 18"/>
                <a:gd name="T1" fmla="*/ 47884364 h 25"/>
                <a:gd name="T2" fmla="*/ 0 w 18"/>
                <a:gd name="T3" fmla="*/ 63005499 h 25"/>
                <a:gd name="T4" fmla="*/ 15120937 w 18"/>
                <a:gd name="T5" fmla="*/ 63005499 h 25"/>
                <a:gd name="T6" fmla="*/ 30241875 w 18"/>
                <a:gd name="T7" fmla="*/ 63005499 h 25"/>
                <a:gd name="T8" fmla="*/ 45362806 w 18"/>
                <a:gd name="T9" fmla="*/ 47884364 h 25"/>
                <a:gd name="T10" fmla="*/ 30241875 w 18"/>
                <a:gd name="T11" fmla="*/ 32763240 h 25"/>
                <a:gd name="T12" fmla="*/ 45362806 w 18"/>
                <a:gd name="T13" fmla="*/ 32763240 h 25"/>
                <a:gd name="T14" fmla="*/ 45362806 w 18"/>
                <a:gd name="T15" fmla="*/ 15121130 h 25"/>
                <a:gd name="T16" fmla="*/ 45362806 w 18"/>
                <a:gd name="T17" fmla="*/ 0 h 25"/>
                <a:gd name="T18" fmla="*/ 45362806 w 18"/>
                <a:gd name="T19" fmla="*/ 15121130 h 25"/>
                <a:gd name="T20" fmla="*/ 30241875 w 18"/>
                <a:gd name="T21" fmla="*/ 15121130 h 25"/>
                <a:gd name="T22" fmla="*/ 15120937 w 18"/>
                <a:gd name="T23" fmla="*/ 15121130 h 25"/>
                <a:gd name="T24" fmla="*/ 15120937 w 18"/>
                <a:gd name="T25" fmla="*/ 32763240 h 25"/>
                <a:gd name="T26" fmla="*/ 15120937 w 18"/>
                <a:gd name="T27" fmla="*/ 47884364 h 25"/>
                <a:gd name="T28" fmla="*/ 0 w 18"/>
                <a:gd name="T29" fmla="*/ 47884364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25"/>
                <a:gd name="T47" fmla="*/ 18 w 1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25">
                  <a:moveTo>
                    <a:pt x="0" y="19"/>
                  </a:moveTo>
                  <a:lnTo>
                    <a:pt x="0" y="25"/>
                  </a:lnTo>
                  <a:lnTo>
                    <a:pt x="6" y="25"/>
                  </a:lnTo>
                  <a:lnTo>
                    <a:pt x="12" y="25"/>
                  </a:lnTo>
                  <a:lnTo>
                    <a:pt x="18" y="19"/>
                  </a:lnTo>
                  <a:lnTo>
                    <a:pt x="12" y="13"/>
                  </a:lnTo>
                  <a:lnTo>
                    <a:pt x="18" y="13"/>
                  </a:lnTo>
                  <a:lnTo>
                    <a:pt x="18" y="6"/>
                  </a:lnTo>
                  <a:lnTo>
                    <a:pt x="18" y="0"/>
                  </a:lnTo>
                  <a:lnTo>
                    <a:pt x="18" y="6"/>
                  </a:lnTo>
                  <a:lnTo>
                    <a:pt x="12" y="6"/>
                  </a:lnTo>
                  <a:lnTo>
                    <a:pt x="6" y="6"/>
                  </a:lnTo>
                  <a:lnTo>
                    <a:pt x="6" y="13"/>
                  </a:lnTo>
                  <a:lnTo>
                    <a:pt x="6" y="19"/>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4" name="Freeform 115"/>
            <p:cNvSpPr>
              <a:spLocks/>
            </p:cNvSpPr>
            <p:nvPr/>
          </p:nvSpPr>
          <p:spPr bwMode="auto">
            <a:xfrm>
              <a:off x="3744459" y="4006231"/>
              <a:ext cx="29102" cy="26338"/>
            </a:xfrm>
            <a:custGeom>
              <a:avLst/>
              <a:gdLst>
                <a:gd name="T0" fmla="*/ 0 w 18"/>
                <a:gd name="T1" fmla="*/ 0 h 18"/>
                <a:gd name="T2" fmla="*/ 15120937 w 18"/>
                <a:gd name="T3" fmla="*/ 0 h 18"/>
                <a:gd name="T4" fmla="*/ 30241875 w 18"/>
                <a:gd name="T5" fmla="*/ 15120937 h 18"/>
                <a:gd name="T6" fmla="*/ 45362806 w 18"/>
                <a:gd name="T7" fmla="*/ 30241875 h 18"/>
                <a:gd name="T8" fmla="*/ 45362806 w 18"/>
                <a:gd name="T9" fmla="*/ 45362806 h 18"/>
                <a:gd name="T10" fmla="*/ 30241875 w 18"/>
                <a:gd name="T11" fmla="*/ 45362806 h 18"/>
                <a:gd name="T12" fmla="*/ 15120937 w 18"/>
                <a:gd name="T13" fmla="*/ 45362806 h 18"/>
                <a:gd name="T14" fmla="*/ 30241875 w 18"/>
                <a:gd name="T15" fmla="*/ 30241875 h 18"/>
                <a:gd name="T16" fmla="*/ 30241875 w 18"/>
                <a:gd name="T17" fmla="*/ 45362806 h 18"/>
                <a:gd name="T18" fmla="*/ 30241875 w 18"/>
                <a:gd name="T19" fmla="*/ 30241875 h 18"/>
                <a:gd name="T20" fmla="*/ 15120937 w 18"/>
                <a:gd name="T21" fmla="*/ 30241875 h 18"/>
                <a:gd name="T22" fmla="*/ 15120937 w 18"/>
                <a:gd name="T23" fmla="*/ 15120937 h 18"/>
                <a:gd name="T24" fmla="*/ 15120937 w 18"/>
                <a:gd name="T25" fmla="*/ 30241875 h 18"/>
                <a:gd name="T26" fmla="*/ 15120937 w 18"/>
                <a:gd name="T27" fmla="*/ 15120937 h 18"/>
                <a:gd name="T28" fmla="*/ 0 w 18"/>
                <a:gd name="T29" fmla="*/ 15120937 h 18"/>
                <a:gd name="T30" fmla="*/ 0 w 18"/>
                <a:gd name="T31" fmla="*/ 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8"/>
                <a:gd name="T50" fmla="*/ 18 w 18"/>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8">
                  <a:moveTo>
                    <a:pt x="0" y="0"/>
                  </a:moveTo>
                  <a:lnTo>
                    <a:pt x="6" y="0"/>
                  </a:lnTo>
                  <a:lnTo>
                    <a:pt x="12" y="6"/>
                  </a:lnTo>
                  <a:lnTo>
                    <a:pt x="18" y="12"/>
                  </a:lnTo>
                  <a:lnTo>
                    <a:pt x="18" y="18"/>
                  </a:lnTo>
                  <a:lnTo>
                    <a:pt x="12" y="18"/>
                  </a:lnTo>
                  <a:lnTo>
                    <a:pt x="6" y="18"/>
                  </a:lnTo>
                  <a:lnTo>
                    <a:pt x="12" y="12"/>
                  </a:lnTo>
                  <a:lnTo>
                    <a:pt x="12" y="18"/>
                  </a:lnTo>
                  <a:lnTo>
                    <a:pt x="12" y="12"/>
                  </a:lnTo>
                  <a:lnTo>
                    <a:pt x="6" y="12"/>
                  </a:lnTo>
                  <a:lnTo>
                    <a:pt x="6" y="6"/>
                  </a:lnTo>
                  <a:lnTo>
                    <a:pt x="6" y="12"/>
                  </a:lnTo>
                  <a:lnTo>
                    <a:pt x="6" y="6"/>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5" name="Freeform 116"/>
            <p:cNvSpPr>
              <a:spLocks/>
            </p:cNvSpPr>
            <p:nvPr/>
          </p:nvSpPr>
          <p:spPr bwMode="auto">
            <a:xfrm>
              <a:off x="3813981" y="3997451"/>
              <a:ext cx="29102" cy="52675"/>
            </a:xfrm>
            <a:custGeom>
              <a:avLst/>
              <a:gdLst>
                <a:gd name="T0" fmla="*/ 0 w 18"/>
                <a:gd name="T1" fmla="*/ 60483749 h 36"/>
                <a:gd name="T2" fmla="*/ 15120937 w 18"/>
                <a:gd name="T3" fmla="*/ 60483749 h 36"/>
                <a:gd name="T4" fmla="*/ 15120937 w 18"/>
                <a:gd name="T5" fmla="*/ 75604680 h 36"/>
                <a:gd name="T6" fmla="*/ 15120937 w 18"/>
                <a:gd name="T7" fmla="*/ 90725611 h 36"/>
                <a:gd name="T8" fmla="*/ 30241875 w 18"/>
                <a:gd name="T9" fmla="*/ 30241875 h 36"/>
                <a:gd name="T10" fmla="*/ 45362806 w 18"/>
                <a:gd name="T11" fmla="*/ 30241875 h 36"/>
                <a:gd name="T12" fmla="*/ 45362806 w 18"/>
                <a:gd name="T13" fmla="*/ 15120937 h 36"/>
                <a:gd name="T14" fmla="*/ 45362806 w 18"/>
                <a:gd name="T15" fmla="*/ 0 h 36"/>
                <a:gd name="T16" fmla="*/ 30241875 w 18"/>
                <a:gd name="T17" fmla="*/ 15120937 h 36"/>
                <a:gd name="T18" fmla="*/ 30241875 w 18"/>
                <a:gd name="T19" fmla="*/ 30241875 h 36"/>
                <a:gd name="T20" fmla="*/ 15120937 w 18"/>
                <a:gd name="T21" fmla="*/ 45362806 h 36"/>
                <a:gd name="T22" fmla="*/ 15120937 w 18"/>
                <a:gd name="T23" fmla="*/ 60483749 h 36"/>
                <a:gd name="T24" fmla="*/ 0 w 18"/>
                <a:gd name="T25" fmla="*/ 60483749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36"/>
                <a:gd name="T41" fmla="*/ 18 w 18"/>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36">
                  <a:moveTo>
                    <a:pt x="0" y="24"/>
                  </a:moveTo>
                  <a:lnTo>
                    <a:pt x="6" y="24"/>
                  </a:lnTo>
                  <a:lnTo>
                    <a:pt x="6" y="30"/>
                  </a:lnTo>
                  <a:lnTo>
                    <a:pt x="6" y="36"/>
                  </a:lnTo>
                  <a:lnTo>
                    <a:pt x="12" y="12"/>
                  </a:lnTo>
                  <a:lnTo>
                    <a:pt x="18" y="12"/>
                  </a:lnTo>
                  <a:lnTo>
                    <a:pt x="18" y="6"/>
                  </a:lnTo>
                  <a:lnTo>
                    <a:pt x="18" y="0"/>
                  </a:lnTo>
                  <a:lnTo>
                    <a:pt x="12" y="6"/>
                  </a:lnTo>
                  <a:lnTo>
                    <a:pt x="12" y="12"/>
                  </a:lnTo>
                  <a:lnTo>
                    <a:pt x="6" y="18"/>
                  </a:lnTo>
                  <a:lnTo>
                    <a:pt x="6" y="24"/>
                  </a:lnTo>
                  <a:lnTo>
                    <a:pt x="0" y="2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6" name="Freeform 117"/>
            <p:cNvSpPr>
              <a:spLocks/>
            </p:cNvSpPr>
            <p:nvPr/>
          </p:nvSpPr>
          <p:spPr bwMode="auto">
            <a:xfrm>
              <a:off x="3932004" y="4006231"/>
              <a:ext cx="40420" cy="26338"/>
            </a:xfrm>
            <a:custGeom>
              <a:avLst/>
              <a:gdLst>
                <a:gd name="T0" fmla="*/ 0 w 25"/>
                <a:gd name="T1" fmla="*/ 30241875 h 18"/>
                <a:gd name="T2" fmla="*/ 15121130 w 25"/>
                <a:gd name="T3" fmla="*/ 30241875 h 18"/>
                <a:gd name="T4" fmla="*/ 0 w 25"/>
                <a:gd name="T5" fmla="*/ 30241875 h 18"/>
                <a:gd name="T6" fmla="*/ 15121130 w 25"/>
                <a:gd name="T7" fmla="*/ 15120937 h 18"/>
                <a:gd name="T8" fmla="*/ 32763240 w 25"/>
                <a:gd name="T9" fmla="*/ 15120937 h 18"/>
                <a:gd name="T10" fmla="*/ 32763240 w 25"/>
                <a:gd name="T11" fmla="*/ 0 h 18"/>
                <a:gd name="T12" fmla="*/ 15121130 w 25"/>
                <a:gd name="T13" fmla="*/ 15120937 h 18"/>
                <a:gd name="T14" fmla="*/ 15121130 w 25"/>
                <a:gd name="T15" fmla="*/ 0 h 18"/>
                <a:gd name="T16" fmla="*/ 32763240 w 25"/>
                <a:gd name="T17" fmla="*/ 0 h 18"/>
                <a:gd name="T18" fmla="*/ 32763240 w 25"/>
                <a:gd name="T19" fmla="*/ 15120937 h 18"/>
                <a:gd name="T20" fmla="*/ 47884364 w 25"/>
                <a:gd name="T21" fmla="*/ 15120937 h 18"/>
                <a:gd name="T22" fmla="*/ 63005499 w 25"/>
                <a:gd name="T23" fmla="*/ 15120937 h 18"/>
                <a:gd name="T24" fmla="*/ 63005499 w 25"/>
                <a:gd name="T25" fmla="*/ 30241875 h 18"/>
                <a:gd name="T26" fmla="*/ 47884364 w 25"/>
                <a:gd name="T27" fmla="*/ 15120937 h 18"/>
                <a:gd name="T28" fmla="*/ 32763240 w 25"/>
                <a:gd name="T29" fmla="*/ 15120937 h 18"/>
                <a:gd name="T30" fmla="*/ 32763240 w 25"/>
                <a:gd name="T31" fmla="*/ 30241875 h 18"/>
                <a:gd name="T32" fmla="*/ 15121130 w 25"/>
                <a:gd name="T33" fmla="*/ 45362806 h 18"/>
                <a:gd name="T34" fmla="*/ 0 w 25"/>
                <a:gd name="T35" fmla="*/ 30241875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
                <a:gd name="T55" fmla="*/ 0 h 18"/>
                <a:gd name="T56" fmla="*/ 25 w 25"/>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 h="18">
                  <a:moveTo>
                    <a:pt x="0" y="12"/>
                  </a:moveTo>
                  <a:lnTo>
                    <a:pt x="6" y="12"/>
                  </a:lnTo>
                  <a:lnTo>
                    <a:pt x="0" y="12"/>
                  </a:lnTo>
                  <a:lnTo>
                    <a:pt x="6" y="6"/>
                  </a:lnTo>
                  <a:lnTo>
                    <a:pt x="13" y="6"/>
                  </a:lnTo>
                  <a:lnTo>
                    <a:pt x="13" y="0"/>
                  </a:lnTo>
                  <a:lnTo>
                    <a:pt x="6" y="6"/>
                  </a:lnTo>
                  <a:lnTo>
                    <a:pt x="6" y="0"/>
                  </a:lnTo>
                  <a:lnTo>
                    <a:pt x="13" y="0"/>
                  </a:lnTo>
                  <a:lnTo>
                    <a:pt x="13" y="6"/>
                  </a:lnTo>
                  <a:lnTo>
                    <a:pt x="19" y="6"/>
                  </a:lnTo>
                  <a:lnTo>
                    <a:pt x="25" y="6"/>
                  </a:lnTo>
                  <a:lnTo>
                    <a:pt x="25" y="12"/>
                  </a:lnTo>
                  <a:lnTo>
                    <a:pt x="19" y="6"/>
                  </a:lnTo>
                  <a:lnTo>
                    <a:pt x="13" y="6"/>
                  </a:lnTo>
                  <a:lnTo>
                    <a:pt x="13" y="12"/>
                  </a:lnTo>
                  <a:lnTo>
                    <a:pt x="6" y="18"/>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7" name="Freeform 118"/>
            <p:cNvSpPr>
              <a:spLocks/>
            </p:cNvSpPr>
            <p:nvPr/>
          </p:nvSpPr>
          <p:spPr bwMode="auto">
            <a:xfrm>
              <a:off x="3813980" y="3889175"/>
              <a:ext cx="9701" cy="26338"/>
            </a:xfrm>
            <a:custGeom>
              <a:avLst/>
              <a:gdLst>
                <a:gd name="T0" fmla="*/ 0 w 6"/>
                <a:gd name="T1" fmla="*/ 0 h 18"/>
                <a:gd name="T2" fmla="*/ 0 w 6"/>
                <a:gd name="T3" fmla="*/ 15120937 h 18"/>
                <a:gd name="T4" fmla="*/ 15120939 w 6"/>
                <a:gd name="T5" fmla="*/ 15120937 h 18"/>
                <a:gd name="T6" fmla="*/ 15120939 w 6"/>
                <a:gd name="T7" fmla="*/ 30241875 h 18"/>
                <a:gd name="T8" fmla="*/ 15120939 w 6"/>
                <a:gd name="T9" fmla="*/ 15120937 h 18"/>
                <a:gd name="T10" fmla="*/ 15120939 w 6"/>
                <a:gd name="T11" fmla="*/ 30241875 h 18"/>
                <a:gd name="T12" fmla="*/ 15120939 w 6"/>
                <a:gd name="T13" fmla="*/ 45362806 h 18"/>
                <a:gd name="T14" fmla="*/ 0 w 6"/>
                <a:gd name="T15" fmla="*/ 45362806 h 18"/>
                <a:gd name="T16" fmla="*/ 0 w 6"/>
                <a:gd name="T17" fmla="*/ 30241875 h 18"/>
                <a:gd name="T18" fmla="*/ 0 w 6"/>
                <a:gd name="T19" fmla="*/ 15120937 h 18"/>
                <a:gd name="T20" fmla="*/ 0 w 6"/>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8"/>
                <a:gd name="T35" fmla="*/ 6 w 6"/>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8">
                  <a:moveTo>
                    <a:pt x="0" y="0"/>
                  </a:moveTo>
                  <a:lnTo>
                    <a:pt x="0" y="6"/>
                  </a:lnTo>
                  <a:lnTo>
                    <a:pt x="6" y="6"/>
                  </a:lnTo>
                  <a:lnTo>
                    <a:pt x="6" y="12"/>
                  </a:lnTo>
                  <a:lnTo>
                    <a:pt x="6" y="6"/>
                  </a:lnTo>
                  <a:lnTo>
                    <a:pt x="6" y="12"/>
                  </a:lnTo>
                  <a:lnTo>
                    <a:pt x="6" y="18"/>
                  </a:lnTo>
                  <a:lnTo>
                    <a:pt x="0" y="18"/>
                  </a:lnTo>
                  <a:lnTo>
                    <a:pt x="0" y="12"/>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8" name="Freeform 119"/>
            <p:cNvSpPr>
              <a:spLocks/>
            </p:cNvSpPr>
            <p:nvPr/>
          </p:nvSpPr>
          <p:spPr bwMode="auto">
            <a:xfrm>
              <a:off x="3843082" y="3719444"/>
              <a:ext cx="19401" cy="17558"/>
            </a:xfrm>
            <a:custGeom>
              <a:avLst/>
              <a:gdLst>
                <a:gd name="T0" fmla="*/ 0 w 12"/>
                <a:gd name="T1" fmla="*/ 15120939 h 12"/>
                <a:gd name="T2" fmla="*/ 0 w 12"/>
                <a:gd name="T3" fmla="*/ 30241878 h 12"/>
                <a:gd name="T4" fmla="*/ 0 w 12"/>
                <a:gd name="T5" fmla="*/ 15120939 h 12"/>
                <a:gd name="T6" fmla="*/ 0 w 12"/>
                <a:gd name="T7" fmla="*/ 30241878 h 12"/>
                <a:gd name="T8" fmla="*/ 15120939 w 12"/>
                <a:gd name="T9" fmla="*/ 30241878 h 12"/>
                <a:gd name="T10" fmla="*/ 15120939 w 12"/>
                <a:gd name="T11" fmla="*/ 15120939 h 12"/>
                <a:gd name="T12" fmla="*/ 30241878 w 12"/>
                <a:gd name="T13" fmla="*/ 15120939 h 12"/>
                <a:gd name="T14" fmla="*/ 30241878 w 12"/>
                <a:gd name="T15" fmla="*/ 0 h 12"/>
                <a:gd name="T16" fmla="*/ 30241878 w 12"/>
                <a:gd name="T17" fmla="*/ 15120939 h 12"/>
                <a:gd name="T18" fmla="*/ 30241878 w 12"/>
                <a:gd name="T19" fmla="*/ 0 h 12"/>
                <a:gd name="T20" fmla="*/ 15120939 w 12"/>
                <a:gd name="T21" fmla="*/ 0 h 12"/>
                <a:gd name="T22" fmla="*/ 15120939 w 12"/>
                <a:gd name="T23" fmla="*/ 15120939 h 12"/>
                <a:gd name="T24" fmla="*/ 0 w 12"/>
                <a:gd name="T25" fmla="*/ 15120939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2"/>
                <a:gd name="T41" fmla="*/ 12 w 12"/>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2">
                  <a:moveTo>
                    <a:pt x="0" y="6"/>
                  </a:moveTo>
                  <a:lnTo>
                    <a:pt x="0" y="12"/>
                  </a:lnTo>
                  <a:lnTo>
                    <a:pt x="0" y="6"/>
                  </a:lnTo>
                  <a:lnTo>
                    <a:pt x="0" y="12"/>
                  </a:lnTo>
                  <a:lnTo>
                    <a:pt x="6" y="12"/>
                  </a:lnTo>
                  <a:lnTo>
                    <a:pt x="6" y="6"/>
                  </a:lnTo>
                  <a:lnTo>
                    <a:pt x="12" y="6"/>
                  </a:lnTo>
                  <a:lnTo>
                    <a:pt x="12" y="0"/>
                  </a:lnTo>
                  <a:lnTo>
                    <a:pt x="12" y="6"/>
                  </a:lnTo>
                  <a:lnTo>
                    <a:pt x="12" y="0"/>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399" name="Freeform 120"/>
            <p:cNvSpPr>
              <a:spLocks/>
            </p:cNvSpPr>
            <p:nvPr/>
          </p:nvSpPr>
          <p:spPr bwMode="auto">
            <a:xfrm>
              <a:off x="3783261" y="4015010"/>
              <a:ext cx="30719" cy="26338"/>
            </a:xfrm>
            <a:custGeom>
              <a:avLst/>
              <a:gdLst>
                <a:gd name="T0" fmla="*/ 0 w 19"/>
                <a:gd name="T1" fmla="*/ 0 h 18"/>
                <a:gd name="T2" fmla="*/ 0 w 19"/>
                <a:gd name="T3" fmla="*/ 15120937 h 18"/>
                <a:gd name="T4" fmla="*/ 17642179 w 19"/>
                <a:gd name="T5" fmla="*/ 30241875 h 18"/>
                <a:gd name="T6" fmla="*/ 32763367 w 19"/>
                <a:gd name="T7" fmla="*/ 45362806 h 18"/>
                <a:gd name="T8" fmla="*/ 32763367 w 19"/>
                <a:gd name="T9" fmla="*/ 30241875 h 18"/>
                <a:gd name="T10" fmla="*/ 47884549 w 19"/>
                <a:gd name="T11" fmla="*/ 30241875 h 18"/>
                <a:gd name="T12" fmla="*/ 32763367 w 19"/>
                <a:gd name="T13" fmla="*/ 30241875 h 18"/>
                <a:gd name="T14" fmla="*/ 32763367 w 19"/>
                <a:gd name="T15" fmla="*/ 15120937 h 18"/>
                <a:gd name="T16" fmla="*/ 32763367 w 19"/>
                <a:gd name="T17" fmla="*/ 30241875 h 18"/>
                <a:gd name="T18" fmla="*/ 17642179 w 19"/>
                <a:gd name="T19" fmla="*/ 30241875 h 18"/>
                <a:gd name="T20" fmla="*/ 17642179 w 19"/>
                <a:gd name="T21" fmla="*/ 15120937 h 18"/>
                <a:gd name="T22" fmla="*/ 0 w 1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8"/>
                <a:gd name="T38" fmla="*/ 19 w 1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8">
                  <a:moveTo>
                    <a:pt x="0" y="0"/>
                  </a:moveTo>
                  <a:lnTo>
                    <a:pt x="0" y="6"/>
                  </a:lnTo>
                  <a:lnTo>
                    <a:pt x="7" y="12"/>
                  </a:lnTo>
                  <a:lnTo>
                    <a:pt x="13" y="18"/>
                  </a:lnTo>
                  <a:lnTo>
                    <a:pt x="13" y="12"/>
                  </a:lnTo>
                  <a:lnTo>
                    <a:pt x="19" y="12"/>
                  </a:lnTo>
                  <a:lnTo>
                    <a:pt x="13" y="12"/>
                  </a:lnTo>
                  <a:lnTo>
                    <a:pt x="13" y="6"/>
                  </a:lnTo>
                  <a:lnTo>
                    <a:pt x="13" y="12"/>
                  </a:lnTo>
                  <a:lnTo>
                    <a:pt x="7" y="12"/>
                  </a:lnTo>
                  <a:lnTo>
                    <a:pt x="7"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0" name="Freeform 121"/>
            <p:cNvSpPr>
              <a:spLocks/>
            </p:cNvSpPr>
            <p:nvPr/>
          </p:nvSpPr>
          <p:spPr bwMode="auto">
            <a:xfrm>
              <a:off x="3972425" y="3925755"/>
              <a:ext cx="9701" cy="17558"/>
            </a:xfrm>
            <a:custGeom>
              <a:avLst/>
              <a:gdLst>
                <a:gd name="T0" fmla="*/ 0 w 6"/>
                <a:gd name="T1" fmla="*/ 15120939 h 12"/>
                <a:gd name="T2" fmla="*/ 0 w 6"/>
                <a:gd name="T3" fmla="*/ 0 h 12"/>
                <a:gd name="T4" fmla="*/ 15120939 w 6"/>
                <a:gd name="T5" fmla="*/ 15120939 h 12"/>
                <a:gd name="T6" fmla="*/ 15120939 w 6"/>
                <a:gd name="T7" fmla="*/ 30241878 h 12"/>
                <a:gd name="T8" fmla="*/ 0 w 6"/>
                <a:gd name="T9" fmla="*/ 30241878 h 12"/>
                <a:gd name="T10" fmla="*/ 0 w 6"/>
                <a:gd name="T11" fmla="*/ 15120939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0" y="6"/>
                  </a:moveTo>
                  <a:lnTo>
                    <a:pt x="0" y="0"/>
                  </a:lnTo>
                  <a:lnTo>
                    <a:pt x="6" y="6"/>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1" name="Freeform 122"/>
            <p:cNvSpPr>
              <a:spLocks/>
            </p:cNvSpPr>
            <p:nvPr/>
          </p:nvSpPr>
          <p:spPr bwMode="auto">
            <a:xfrm>
              <a:off x="3655536" y="3987210"/>
              <a:ext cx="1616" cy="19021"/>
            </a:xfrm>
            <a:custGeom>
              <a:avLst/>
              <a:gdLst>
                <a:gd name="T0" fmla="*/ 0 w 1587"/>
                <a:gd name="T1" fmla="*/ 0 h 13"/>
                <a:gd name="T2" fmla="*/ 0 w 1587"/>
                <a:gd name="T3" fmla="*/ 17639874 h 13"/>
                <a:gd name="T4" fmla="*/ 0 w 1587"/>
                <a:gd name="T5" fmla="*/ 32760447 h 13"/>
                <a:gd name="T6" fmla="*/ 0 w 1587"/>
                <a:gd name="T7" fmla="*/ 0 h 13"/>
                <a:gd name="T8" fmla="*/ 0 60000 65536"/>
                <a:gd name="T9" fmla="*/ 0 60000 65536"/>
                <a:gd name="T10" fmla="*/ 0 60000 65536"/>
                <a:gd name="T11" fmla="*/ 0 60000 65536"/>
                <a:gd name="T12" fmla="*/ 0 w 1587"/>
                <a:gd name="T13" fmla="*/ 0 h 13"/>
                <a:gd name="T14" fmla="*/ 1587 w 1587"/>
                <a:gd name="T15" fmla="*/ 13 h 13"/>
              </a:gdLst>
              <a:ahLst/>
              <a:cxnLst>
                <a:cxn ang="T8">
                  <a:pos x="T0" y="T1"/>
                </a:cxn>
                <a:cxn ang="T9">
                  <a:pos x="T2" y="T3"/>
                </a:cxn>
                <a:cxn ang="T10">
                  <a:pos x="T4" y="T5"/>
                </a:cxn>
                <a:cxn ang="T11">
                  <a:pos x="T6" y="T7"/>
                </a:cxn>
              </a:cxnLst>
              <a:rect l="T12" t="T13" r="T14" b="T15"/>
              <a:pathLst>
                <a:path w="1587" h="13">
                  <a:moveTo>
                    <a:pt x="0" y="0"/>
                  </a:moveTo>
                  <a:lnTo>
                    <a:pt x="0" y="7"/>
                  </a:lnTo>
                  <a:lnTo>
                    <a:pt x="0" y="13"/>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2" name="Freeform 123"/>
            <p:cNvSpPr>
              <a:spLocks/>
            </p:cNvSpPr>
            <p:nvPr/>
          </p:nvSpPr>
          <p:spPr bwMode="auto">
            <a:xfrm>
              <a:off x="3813980" y="4006231"/>
              <a:ext cx="9701" cy="17558"/>
            </a:xfrm>
            <a:custGeom>
              <a:avLst/>
              <a:gdLst>
                <a:gd name="T0" fmla="*/ 0 w 6"/>
                <a:gd name="T1" fmla="*/ 15120939 h 12"/>
                <a:gd name="T2" fmla="*/ 0 w 6"/>
                <a:gd name="T3" fmla="*/ 30241878 h 12"/>
                <a:gd name="T4" fmla="*/ 0 w 6"/>
                <a:gd name="T5" fmla="*/ 15120939 h 12"/>
                <a:gd name="T6" fmla="*/ 15120939 w 6"/>
                <a:gd name="T7" fmla="*/ 30241878 h 12"/>
                <a:gd name="T8" fmla="*/ 15120939 w 6"/>
                <a:gd name="T9" fmla="*/ 15120939 h 12"/>
                <a:gd name="T10" fmla="*/ 15120939 w 6"/>
                <a:gd name="T11" fmla="*/ 0 h 12"/>
                <a:gd name="T12" fmla="*/ 0 w 6"/>
                <a:gd name="T13" fmla="*/ 0 h 12"/>
                <a:gd name="T14" fmla="*/ 0 w 6"/>
                <a:gd name="T15" fmla="*/ 15120939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6"/>
                  </a:moveTo>
                  <a:lnTo>
                    <a:pt x="0" y="12"/>
                  </a:lnTo>
                  <a:lnTo>
                    <a:pt x="0" y="6"/>
                  </a:lnTo>
                  <a:lnTo>
                    <a:pt x="6" y="12"/>
                  </a:lnTo>
                  <a:lnTo>
                    <a:pt x="6" y="6"/>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3" name="Freeform 124"/>
            <p:cNvSpPr>
              <a:spLocks/>
            </p:cNvSpPr>
            <p:nvPr/>
          </p:nvSpPr>
          <p:spPr bwMode="auto">
            <a:xfrm>
              <a:off x="3634518" y="3952093"/>
              <a:ext cx="11318" cy="17558"/>
            </a:xfrm>
            <a:custGeom>
              <a:avLst/>
              <a:gdLst>
                <a:gd name="T0" fmla="*/ 0 w 7"/>
                <a:gd name="T1" fmla="*/ 0 h 12"/>
                <a:gd name="T2" fmla="*/ 0 w 7"/>
                <a:gd name="T3" fmla="*/ 15120939 h 12"/>
                <a:gd name="T4" fmla="*/ 17642683 w 7"/>
                <a:gd name="T5" fmla="*/ 15120939 h 12"/>
                <a:gd name="T6" fmla="*/ 17642683 w 7"/>
                <a:gd name="T7" fmla="*/ 30241878 h 12"/>
                <a:gd name="T8" fmla="*/ 17642683 w 7"/>
                <a:gd name="T9" fmla="*/ 15120939 h 12"/>
                <a:gd name="T10" fmla="*/ 17642683 w 7"/>
                <a:gd name="T11" fmla="*/ 0 h 12"/>
                <a:gd name="T12" fmla="*/ 0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0"/>
                  </a:moveTo>
                  <a:lnTo>
                    <a:pt x="0" y="6"/>
                  </a:lnTo>
                  <a:lnTo>
                    <a:pt x="7" y="6"/>
                  </a:lnTo>
                  <a:lnTo>
                    <a:pt x="7" y="12"/>
                  </a:lnTo>
                  <a:lnTo>
                    <a:pt x="7" y="6"/>
                  </a:ln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4" name="Freeform 125"/>
            <p:cNvSpPr>
              <a:spLocks/>
            </p:cNvSpPr>
            <p:nvPr/>
          </p:nvSpPr>
          <p:spPr bwMode="auto">
            <a:xfrm>
              <a:off x="3893202" y="3791142"/>
              <a:ext cx="9701" cy="8779"/>
            </a:xfrm>
            <a:custGeom>
              <a:avLst/>
              <a:gdLst>
                <a:gd name="T0" fmla="*/ 0 w 6"/>
                <a:gd name="T1" fmla="*/ 15120939 h 6"/>
                <a:gd name="T2" fmla="*/ 15120939 w 6"/>
                <a:gd name="T3" fmla="*/ 15120939 h 6"/>
                <a:gd name="T4" fmla="*/ 15120939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5" name="Freeform 126"/>
            <p:cNvSpPr>
              <a:spLocks/>
            </p:cNvSpPr>
            <p:nvPr/>
          </p:nvSpPr>
          <p:spPr bwMode="auto">
            <a:xfrm>
              <a:off x="3684638" y="3782363"/>
              <a:ext cx="9701" cy="8779"/>
            </a:xfrm>
            <a:custGeom>
              <a:avLst/>
              <a:gdLst>
                <a:gd name="T0" fmla="*/ 0 w 6"/>
                <a:gd name="T1" fmla="*/ 0 h 6"/>
                <a:gd name="T2" fmla="*/ 15120939 w 6"/>
                <a:gd name="T3" fmla="*/ 0 h 6"/>
                <a:gd name="T4" fmla="*/ 15120939 w 6"/>
                <a:gd name="T5" fmla="*/ 15120939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6"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6" name="Freeform 127"/>
            <p:cNvSpPr>
              <a:spLocks/>
            </p:cNvSpPr>
            <p:nvPr/>
          </p:nvSpPr>
          <p:spPr bwMode="auto">
            <a:xfrm>
              <a:off x="3982125" y="3934535"/>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7" name="Freeform 128"/>
            <p:cNvSpPr>
              <a:spLocks/>
            </p:cNvSpPr>
            <p:nvPr/>
          </p:nvSpPr>
          <p:spPr bwMode="auto">
            <a:xfrm>
              <a:off x="3873801" y="4015010"/>
              <a:ext cx="9701" cy="8779"/>
            </a:xfrm>
            <a:custGeom>
              <a:avLst/>
              <a:gdLst>
                <a:gd name="T0" fmla="*/ 0 w 6"/>
                <a:gd name="T1" fmla="*/ 15120939 h 6"/>
                <a:gd name="T2" fmla="*/ 15120939 w 6"/>
                <a:gd name="T3" fmla="*/ 15120939 h 6"/>
                <a:gd name="T4" fmla="*/ 15120939 w 6"/>
                <a:gd name="T5" fmla="*/ 0 h 6"/>
                <a:gd name="T6" fmla="*/ 15120939 w 6"/>
                <a:gd name="T7" fmla="*/ 15120939 h 6"/>
                <a:gd name="T8" fmla="*/ 0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6" y="6"/>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8" name="Freeform 129"/>
            <p:cNvSpPr>
              <a:spLocks/>
            </p:cNvSpPr>
            <p:nvPr/>
          </p:nvSpPr>
          <p:spPr bwMode="auto">
            <a:xfrm>
              <a:off x="3852783" y="3897955"/>
              <a:ext cx="9701" cy="8779"/>
            </a:xfrm>
            <a:custGeom>
              <a:avLst/>
              <a:gdLst>
                <a:gd name="T0" fmla="*/ 0 w 6"/>
                <a:gd name="T1" fmla="*/ 0 h 6"/>
                <a:gd name="T2" fmla="*/ 15120939 w 6"/>
                <a:gd name="T3" fmla="*/ 15120939 h 6"/>
                <a:gd name="T4" fmla="*/ 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0"/>
                  </a:moveTo>
                  <a:lnTo>
                    <a:pt x="6"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09" name="Freeform 130"/>
            <p:cNvSpPr>
              <a:spLocks/>
            </p:cNvSpPr>
            <p:nvPr/>
          </p:nvSpPr>
          <p:spPr bwMode="auto">
            <a:xfrm>
              <a:off x="3783261" y="3915512"/>
              <a:ext cx="11318" cy="1464"/>
            </a:xfrm>
            <a:custGeom>
              <a:avLst/>
              <a:gdLst>
                <a:gd name="T0" fmla="*/ 0 w 7"/>
                <a:gd name="T1" fmla="*/ 0 h 1588"/>
                <a:gd name="T2" fmla="*/ 17642683 w 7"/>
                <a:gd name="T3" fmla="*/ 0 h 1588"/>
                <a:gd name="T4" fmla="*/ 0 w 7"/>
                <a:gd name="T5" fmla="*/ 0 h 1588"/>
                <a:gd name="T6" fmla="*/ 0 60000 65536"/>
                <a:gd name="T7" fmla="*/ 0 60000 65536"/>
                <a:gd name="T8" fmla="*/ 0 60000 65536"/>
                <a:gd name="T9" fmla="*/ 0 w 7"/>
                <a:gd name="T10" fmla="*/ 0 h 1588"/>
                <a:gd name="T11" fmla="*/ 7 w 7"/>
                <a:gd name="T12" fmla="*/ 1588 h 1588"/>
              </a:gdLst>
              <a:ahLst/>
              <a:cxnLst>
                <a:cxn ang="T6">
                  <a:pos x="T0" y="T1"/>
                </a:cxn>
                <a:cxn ang="T7">
                  <a:pos x="T2" y="T3"/>
                </a:cxn>
                <a:cxn ang="T8">
                  <a:pos x="T4" y="T5"/>
                </a:cxn>
              </a:cxnLst>
              <a:rect l="T9" t="T10" r="T11" b="T12"/>
              <a:pathLst>
                <a:path w="7" h="1588">
                  <a:moveTo>
                    <a:pt x="0" y="0"/>
                  </a:move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0" name="Freeform 131"/>
            <p:cNvSpPr>
              <a:spLocks/>
            </p:cNvSpPr>
            <p:nvPr/>
          </p:nvSpPr>
          <p:spPr bwMode="auto">
            <a:xfrm>
              <a:off x="3922304" y="4023789"/>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1" name="Freeform 132"/>
            <p:cNvSpPr>
              <a:spLocks/>
            </p:cNvSpPr>
            <p:nvPr/>
          </p:nvSpPr>
          <p:spPr bwMode="auto">
            <a:xfrm>
              <a:off x="3624817" y="3897955"/>
              <a:ext cx="9701" cy="8779"/>
            </a:xfrm>
            <a:custGeom>
              <a:avLst/>
              <a:gdLst>
                <a:gd name="T0" fmla="*/ 0 w 6"/>
                <a:gd name="T1" fmla="*/ 15120939 h 6"/>
                <a:gd name="T2" fmla="*/ 0 w 6"/>
                <a:gd name="T3" fmla="*/ 0 h 6"/>
                <a:gd name="T4" fmla="*/ 15120939 w 6"/>
                <a:gd name="T5" fmla="*/ 0 h 6"/>
                <a:gd name="T6" fmla="*/ 0 w 6"/>
                <a:gd name="T7" fmla="*/ 0 h 6"/>
                <a:gd name="T8" fmla="*/ 15120939 w 6"/>
                <a:gd name="T9" fmla="*/ 15120939 h 6"/>
                <a:gd name="T10" fmla="*/ 15120939 w 6"/>
                <a:gd name="T11" fmla="*/ 0 h 6"/>
                <a:gd name="T12" fmla="*/ 15120939 w 6"/>
                <a:gd name="T13" fmla="*/ 15120939 h 6"/>
                <a:gd name="T14" fmla="*/ 0 w 6"/>
                <a:gd name="T15" fmla="*/ 15120939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6"/>
                  </a:moveTo>
                  <a:lnTo>
                    <a:pt x="0" y="0"/>
                  </a:lnTo>
                  <a:lnTo>
                    <a:pt x="6" y="0"/>
                  </a:lnTo>
                  <a:lnTo>
                    <a:pt x="0" y="0"/>
                  </a:lnTo>
                  <a:lnTo>
                    <a:pt x="6" y="6"/>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2" name="Freeform 133"/>
            <p:cNvSpPr>
              <a:spLocks/>
            </p:cNvSpPr>
            <p:nvPr/>
          </p:nvSpPr>
          <p:spPr bwMode="auto">
            <a:xfrm>
              <a:off x="3893202" y="4015010"/>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3" name="Freeform 134"/>
            <p:cNvSpPr>
              <a:spLocks/>
            </p:cNvSpPr>
            <p:nvPr/>
          </p:nvSpPr>
          <p:spPr bwMode="auto">
            <a:xfrm>
              <a:off x="3783261" y="4006231"/>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4" name="Freeform 135"/>
            <p:cNvSpPr>
              <a:spLocks/>
            </p:cNvSpPr>
            <p:nvPr/>
          </p:nvSpPr>
          <p:spPr bwMode="auto">
            <a:xfrm>
              <a:off x="3783261" y="4006231"/>
              <a:ext cx="11318" cy="8779"/>
            </a:xfrm>
            <a:custGeom>
              <a:avLst/>
              <a:gdLst>
                <a:gd name="T0" fmla="*/ 0 w 7"/>
                <a:gd name="T1" fmla="*/ 0 h 6"/>
                <a:gd name="T2" fmla="*/ 17642683 w 7"/>
                <a:gd name="T3" fmla="*/ 0 h 6"/>
                <a:gd name="T4" fmla="*/ 17642683 w 7"/>
                <a:gd name="T5" fmla="*/ 15120939 h 6"/>
                <a:gd name="T6" fmla="*/ 0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0" y="0"/>
                  </a:moveTo>
                  <a:lnTo>
                    <a:pt x="7" y="0"/>
                  </a:lnTo>
                  <a:lnTo>
                    <a:pt x="7"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5" name="Freeform 136"/>
            <p:cNvSpPr>
              <a:spLocks/>
            </p:cNvSpPr>
            <p:nvPr/>
          </p:nvSpPr>
          <p:spPr bwMode="auto">
            <a:xfrm>
              <a:off x="4606202" y="2105539"/>
              <a:ext cx="861742" cy="1299318"/>
            </a:xfrm>
            <a:custGeom>
              <a:avLst/>
              <a:gdLst>
                <a:gd name="T0" fmla="*/ 123486783 w 533"/>
                <a:gd name="T1" fmla="*/ 1852315922 h 888"/>
                <a:gd name="T2" fmla="*/ 123486783 w 533"/>
                <a:gd name="T3" fmla="*/ 1930439951 h 888"/>
                <a:gd name="T4" fmla="*/ 78123993 w 533"/>
                <a:gd name="T5" fmla="*/ 1990923684 h 888"/>
                <a:gd name="T6" fmla="*/ 93244914 w 533"/>
                <a:gd name="T7" fmla="*/ 2053928367 h 888"/>
                <a:gd name="T8" fmla="*/ 108365861 w 533"/>
                <a:gd name="T9" fmla="*/ 2084170233 h 888"/>
                <a:gd name="T10" fmla="*/ 138607704 w 533"/>
                <a:gd name="T11" fmla="*/ 2114412100 h 888"/>
                <a:gd name="T12" fmla="*/ 183970469 w 533"/>
                <a:gd name="T13" fmla="*/ 2147173328 h 888"/>
                <a:gd name="T14" fmla="*/ 231854231 w 533"/>
                <a:gd name="T15" fmla="*/ 2129533033 h 888"/>
                <a:gd name="T16" fmla="*/ 216733309 w 533"/>
                <a:gd name="T17" fmla="*/ 2147483647 h 888"/>
                <a:gd name="T18" fmla="*/ 277216996 w 533"/>
                <a:gd name="T19" fmla="*/ 2147483647 h 888"/>
                <a:gd name="T20" fmla="*/ 292337918 w 533"/>
                <a:gd name="T21" fmla="*/ 2147483647 h 888"/>
                <a:gd name="T22" fmla="*/ 370461886 w 533"/>
                <a:gd name="T23" fmla="*/ 2147483647 h 888"/>
                <a:gd name="T24" fmla="*/ 478829384 w 533"/>
                <a:gd name="T25" fmla="*/ 2147483647 h 888"/>
                <a:gd name="T26" fmla="*/ 572074273 w 533"/>
                <a:gd name="T27" fmla="*/ 2147173328 h 888"/>
                <a:gd name="T28" fmla="*/ 680441672 w 533"/>
                <a:gd name="T29" fmla="*/ 2129533033 h 888"/>
                <a:gd name="T30" fmla="*/ 803928405 w 533"/>
                <a:gd name="T31" fmla="*/ 2084170233 h 888"/>
                <a:gd name="T32" fmla="*/ 879533212 w 533"/>
                <a:gd name="T33" fmla="*/ 2084170233 h 888"/>
                <a:gd name="T34" fmla="*/ 1003021532 w 533"/>
                <a:gd name="T35" fmla="*/ 1960681817 h 888"/>
                <a:gd name="T36" fmla="*/ 1111387344 w 533"/>
                <a:gd name="T37" fmla="*/ 1867436855 h 888"/>
                <a:gd name="T38" fmla="*/ 1234874077 w 533"/>
                <a:gd name="T39" fmla="*/ 1713706573 h 888"/>
                <a:gd name="T40" fmla="*/ 1282757789 w 533"/>
                <a:gd name="T41" fmla="*/ 1481851864 h 888"/>
                <a:gd name="T42" fmla="*/ 1189511312 w 533"/>
                <a:gd name="T43" fmla="*/ 1328123169 h 888"/>
                <a:gd name="T44" fmla="*/ 1156750108 w 533"/>
                <a:gd name="T45" fmla="*/ 1219755687 h 888"/>
                <a:gd name="T46" fmla="*/ 1096266422 w 533"/>
                <a:gd name="T47" fmla="*/ 1096268858 h 888"/>
                <a:gd name="T48" fmla="*/ 1111387344 w 533"/>
                <a:gd name="T49" fmla="*/ 1018143242 h 888"/>
                <a:gd name="T50" fmla="*/ 1174390390 w 533"/>
                <a:gd name="T51" fmla="*/ 942538575 h 888"/>
                <a:gd name="T52" fmla="*/ 1096266422 w 533"/>
                <a:gd name="T53" fmla="*/ 771167799 h 888"/>
                <a:gd name="T54" fmla="*/ 1066024579 w 533"/>
                <a:gd name="T55" fmla="*/ 433466954 h 888"/>
                <a:gd name="T56" fmla="*/ 1018142454 w 533"/>
                <a:gd name="T57" fmla="*/ 201612494 h 888"/>
                <a:gd name="T58" fmla="*/ 894654133 w 533"/>
                <a:gd name="T59" fmla="*/ 0 h 888"/>
                <a:gd name="T60" fmla="*/ 740925359 w 533"/>
                <a:gd name="T61" fmla="*/ 30241879 h 888"/>
                <a:gd name="T62" fmla="*/ 647678882 w 533"/>
                <a:gd name="T63" fmla="*/ 123488466 h 888"/>
                <a:gd name="T64" fmla="*/ 617437038 w 533"/>
                <a:gd name="T65" fmla="*/ 246975344 h 888"/>
                <a:gd name="T66" fmla="*/ 493950305 w 533"/>
                <a:gd name="T67" fmla="*/ 309978439 h 888"/>
                <a:gd name="T68" fmla="*/ 385582807 w 533"/>
                <a:gd name="T69" fmla="*/ 294857506 h 888"/>
                <a:gd name="T70" fmla="*/ 93244914 w 533"/>
                <a:gd name="T71" fmla="*/ 171370627 h 888"/>
                <a:gd name="T72" fmla="*/ 60483711 w 533"/>
                <a:gd name="T73" fmla="*/ 262096277 h 888"/>
                <a:gd name="T74" fmla="*/ 201612338 w 533"/>
                <a:gd name="T75" fmla="*/ 340221893 h 888"/>
                <a:gd name="T76" fmla="*/ 340220042 w 533"/>
                <a:gd name="T77" fmla="*/ 448587888 h 888"/>
                <a:gd name="T78" fmla="*/ 355340964 w 533"/>
                <a:gd name="T79" fmla="*/ 556955370 h 888"/>
                <a:gd name="T80" fmla="*/ 385582807 w 533"/>
                <a:gd name="T81" fmla="*/ 647680970 h 888"/>
                <a:gd name="T82" fmla="*/ 385582807 w 533"/>
                <a:gd name="T83" fmla="*/ 803930615 h 888"/>
                <a:gd name="T84" fmla="*/ 448587540 w 533"/>
                <a:gd name="T85" fmla="*/ 942538575 h 888"/>
                <a:gd name="T86" fmla="*/ 509071227 w 533"/>
                <a:gd name="T87" fmla="*/ 912296709 h 888"/>
                <a:gd name="T88" fmla="*/ 556953352 w 533"/>
                <a:gd name="T89" fmla="*/ 972780442 h 888"/>
                <a:gd name="T90" fmla="*/ 587195195 w 533"/>
                <a:gd name="T91" fmla="*/ 1050906058 h 888"/>
                <a:gd name="T92" fmla="*/ 587195195 w 533"/>
                <a:gd name="T93" fmla="*/ 1111389791 h 888"/>
                <a:gd name="T94" fmla="*/ 556953352 w 533"/>
                <a:gd name="T95" fmla="*/ 1126509137 h 888"/>
                <a:gd name="T96" fmla="*/ 448587540 w 533"/>
                <a:gd name="T97" fmla="*/ 1204634753 h 888"/>
                <a:gd name="T98" fmla="*/ 355340964 w 533"/>
                <a:gd name="T99" fmla="*/ 1313002236 h 888"/>
                <a:gd name="T100" fmla="*/ 246975153 w 533"/>
                <a:gd name="T101" fmla="*/ 1388606903 h 888"/>
                <a:gd name="T102" fmla="*/ 216733309 w 533"/>
                <a:gd name="T103" fmla="*/ 1466730931 h 888"/>
                <a:gd name="T104" fmla="*/ 123486783 w 533"/>
                <a:gd name="T105" fmla="*/ 1496972798 h 888"/>
                <a:gd name="T106" fmla="*/ 108365861 w 533"/>
                <a:gd name="T107" fmla="*/ 1559977480 h 888"/>
                <a:gd name="T108" fmla="*/ 60483711 w 533"/>
                <a:gd name="T109" fmla="*/ 1590219347 h 888"/>
                <a:gd name="T110" fmla="*/ 78123993 w 533"/>
                <a:gd name="T111" fmla="*/ 1683464706 h 888"/>
                <a:gd name="T112" fmla="*/ 93244914 w 533"/>
                <a:gd name="T113" fmla="*/ 1728827506 h 888"/>
                <a:gd name="T114" fmla="*/ 1003021532 w 533"/>
                <a:gd name="T115" fmla="*/ 834172680 h 888"/>
                <a:gd name="T116" fmla="*/ 957658767 w 533"/>
                <a:gd name="T117" fmla="*/ 879535480 h 888"/>
                <a:gd name="T118" fmla="*/ 987900611 w 533"/>
                <a:gd name="T119" fmla="*/ 879535480 h 8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3"/>
                <a:gd name="T181" fmla="*/ 0 h 888"/>
                <a:gd name="T182" fmla="*/ 533 w 533"/>
                <a:gd name="T183" fmla="*/ 888 h 8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3" h="888">
                  <a:moveTo>
                    <a:pt x="37" y="705"/>
                  </a:moveTo>
                  <a:lnTo>
                    <a:pt x="43" y="705"/>
                  </a:lnTo>
                  <a:lnTo>
                    <a:pt x="43" y="711"/>
                  </a:lnTo>
                  <a:lnTo>
                    <a:pt x="43" y="717"/>
                  </a:lnTo>
                  <a:lnTo>
                    <a:pt x="49" y="717"/>
                  </a:lnTo>
                  <a:lnTo>
                    <a:pt x="49" y="723"/>
                  </a:lnTo>
                  <a:lnTo>
                    <a:pt x="43" y="723"/>
                  </a:lnTo>
                  <a:lnTo>
                    <a:pt x="49" y="729"/>
                  </a:lnTo>
                  <a:lnTo>
                    <a:pt x="49" y="735"/>
                  </a:lnTo>
                  <a:lnTo>
                    <a:pt x="55" y="735"/>
                  </a:lnTo>
                  <a:lnTo>
                    <a:pt x="49" y="735"/>
                  </a:lnTo>
                  <a:lnTo>
                    <a:pt x="43" y="735"/>
                  </a:lnTo>
                  <a:lnTo>
                    <a:pt x="43" y="729"/>
                  </a:lnTo>
                  <a:lnTo>
                    <a:pt x="43" y="735"/>
                  </a:lnTo>
                  <a:lnTo>
                    <a:pt x="49" y="741"/>
                  </a:lnTo>
                  <a:lnTo>
                    <a:pt x="43" y="741"/>
                  </a:lnTo>
                  <a:lnTo>
                    <a:pt x="49" y="747"/>
                  </a:lnTo>
                  <a:lnTo>
                    <a:pt x="43" y="747"/>
                  </a:lnTo>
                  <a:lnTo>
                    <a:pt x="43" y="754"/>
                  </a:lnTo>
                  <a:lnTo>
                    <a:pt x="49" y="754"/>
                  </a:lnTo>
                  <a:lnTo>
                    <a:pt x="43" y="760"/>
                  </a:lnTo>
                  <a:lnTo>
                    <a:pt x="49" y="766"/>
                  </a:lnTo>
                  <a:lnTo>
                    <a:pt x="43" y="766"/>
                  </a:lnTo>
                  <a:lnTo>
                    <a:pt x="43" y="772"/>
                  </a:lnTo>
                  <a:lnTo>
                    <a:pt x="43" y="778"/>
                  </a:lnTo>
                  <a:lnTo>
                    <a:pt x="37" y="778"/>
                  </a:lnTo>
                  <a:lnTo>
                    <a:pt x="43" y="778"/>
                  </a:lnTo>
                  <a:lnTo>
                    <a:pt x="37" y="778"/>
                  </a:lnTo>
                  <a:lnTo>
                    <a:pt x="37" y="784"/>
                  </a:lnTo>
                  <a:lnTo>
                    <a:pt x="43" y="790"/>
                  </a:lnTo>
                  <a:lnTo>
                    <a:pt x="37" y="790"/>
                  </a:lnTo>
                  <a:lnTo>
                    <a:pt x="31" y="784"/>
                  </a:lnTo>
                  <a:lnTo>
                    <a:pt x="31" y="790"/>
                  </a:lnTo>
                  <a:lnTo>
                    <a:pt x="37" y="790"/>
                  </a:lnTo>
                  <a:lnTo>
                    <a:pt x="31" y="790"/>
                  </a:lnTo>
                  <a:lnTo>
                    <a:pt x="31" y="796"/>
                  </a:lnTo>
                  <a:lnTo>
                    <a:pt x="37" y="796"/>
                  </a:lnTo>
                  <a:lnTo>
                    <a:pt x="37" y="790"/>
                  </a:lnTo>
                  <a:lnTo>
                    <a:pt x="43" y="796"/>
                  </a:lnTo>
                  <a:lnTo>
                    <a:pt x="37" y="796"/>
                  </a:lnTo>
                  <a:lnTo>
                    <a:pt x="37" y="803"/>
                  </a:lnTo>
                  <a:lnTo>
                    <a:pt x="43" y="809"/>
                  </a:lnTo>
                  <a:lnTo>
                    <a:pt x="37" y="809"/>
                  </a:lnTo>
                  <a:lnTo>
                    <a:pt x="37" y="815"/>
                  </a:lnTo>
                  <a:lnTo>
                    <a:pt x="43" y="815"/>
                  </a:lnTo>
                  <a:lnTo>
                    <a:pt x="37" y="821"/>
                  </a:lnTo>
                  <a:lnTo>
                    <a:pt x="43" y="821"/>
                  </a:lnTo>
                  <a:lnTo>
                    <a:pt x="37" y="821"/>
                  </a:lnTo>
                  <a:lnTo>
                    <a:pt x="37" y="815"/>
                  </a:lnTo>
                  <a:lnTo>
                    <a:pt x="31" y="815"/>
                  </a:lnTo>
                  <a:lnTo>
                    <a:pt x="31" y="821"/>
                  </a:lnTo>
                  <a:lnTo>
                    <a:pt x="37" y="827"/>
                  </a:lnTo>
                  <a:lnTo>
                    <a:pt x="43" y="827"/>
                  </a:lnTo>
                  <a:lnTo>
                    <a:pt x="43" y="833"/>
                  </a:lnTo>
                  <a:lnTo>
                    <a:pt x="43" y="827"/>
                  </a:lnTo>
                  <a:lnTo>
                    <a:pt x="49" y="827"/>
                  </a:lnTo>
                  <a:lnTo>
                    <a:pt x="55" y="821"/>
                  </a:lnTo>
                  <a:lnTo>
                    <a:pt x="49" y="821"/>
                  </a:lnTo>
                  <a:lnTo>
                    <a:pt x="55" y="821"/>
                  </a:lnTo>
                  <a:lnTo>
                    <a:pt x="55" y="827"/>
                  </a:lnTo>
                  <a:lnTo>
                    <a:pt x="55" y="833"/>
                  </a:lnTo>
                  <a:lnTo>
                    <a:pt x="55" y="827"/>
                  </a:lnTo>
                  <a:lnTo>
                    <a:pt x="61" y="827"/>
                  </a:lnTo>
                  <a:lnTo>
                    <a:pt x="61" y="833"/>
                  </a:lnTo>
                  <a:lnTo>
                    <a:pt x="55" y="833"/>
                  </a:lnTo>
                  <a:lnTo>
                    <a:pt x="55" y="839"/>
                  </a:lnTo>
                  <a:lnTo>
                    <a:pt x="61" y="839"/>
                  </a:lnTo>
                  <a:lnTo>
                    <a:pt x="67" y="839"/>
                  </a:lnTo>
                  <a:lnTo>
                    <a:pt x="67" y="833"/>
                  </a:lnTo>
                  <a:lnTo>
                    <a:pt x="73" y="833"/>
                  </a:lnTo>
                  <a:lnTo>
                    <a:pt x="80" y="833"/>
                  </a:lnTo>
                  <a:lnTo>
                    <a:pt x="80" y="839"/>
                  </a:lnTo>
                  <a:lnTo>
                    <a:pt x="86" y="839"/>
                  </a:lnTo>
                  <a:lnTo>
                    <a:pt x="86" y="845"/>
                  </a:lnTo>
                  <a:lnTo>
                    <a:pt x="80" y="845"/>
                  </a:lnTo>
                  <a:lnTo>
                    <a:pt x="73" y="845"/>
                  </a:lnTo>
                  <a:lnTo>
                    <a:pt x="73" y="852"/>
                  </a:lnTo>
                  <a:lnTo>
                    <a:pt x="80" y="852"/>
                  </a:lnTo>
                  <a:lnTo>
                    <a:pt x="73" y="845"/>
                  </a:lnTo>
                  <a:lnTo>
                    <a:pt x="80" y="845"/>
                  </a:lnTo>
                  <a:lnTo>
                    <a:pt x="80" y="852"/>
                  </a:lnTo>
                  <a:lnTo>
                    <a:pt x="80" y="858"/>
                  </a:lnTo>
                  <a:lnTo>
                    <a:pt x="86" y="858"/>
                  </a:lnTo>
                  <a:lnTo>
                    <a:pt x="86" y="852"/>
                  </a:lnTo>
                  <a:lnTo>
                    <a:pt x="86" y="845"/>
                  </a:lnTo>
                  <a:lnTo>
                    <a:pt x="86" y="852"/>
                  </a:lnTo>
                  <a:lnTo>
                    <a:pt x="92" y="852"/>
                  </a:lnTo>
                  <a:lnTo>
                    <a:pt x="92" y="845"/>
                  </a:lnTo>
                  <a:lnTo>
                    <a:pt x="92" y="839"/>
                  </a:lnTo>
                  <a:lnTo>
                    <a:pt x="92" y="845"/>
                  </a:lnTo>
                  <a:lnTo>
                    <a:pt x="92" y="839"/>
                  </a:lnTo>
                  <a:lnTo>
                    <a:pt x="98" y="839"/>
                  </a:lnTo>
                  <a:lnTo>
                    <a:pt x="92" y="845"/>
                  </a:lnTo>
                  <a:lnTo>
                    <a:pt x="92" y="852"/>
                  </a:lnTo>
                  <a:lnTo>
                    <a:pt x="98" y="845"/>
                  </a:lnTo>
                  <a:lnTo>
                    <a:pt x="98" y="852"/>
                  </a:lnTo>
                  <a:lnTo>
                    <a:pt x="92" y="852"/>
                  </a:lnTo>
                  <a:lnTo>
                    <a:pt x="92" y="858"/>
                  </a:lnTo>
                  <a:lnTo>
                    <a:pt x="86" y="858"/>
                  </a:lnTo>
                  <a:lnTo>
                    <a:pt x="92" y="858"/>
                  </a:lnTo>
                  <a:lnTo>
                    <a:pt x="98" y="858"/>
                  </a:lnTo>
                  <a:lnTo>
                    <a:pt x="92" y="858"/>
                  </a:lnTo>
                  <a:lnTo>
                    <a:pt x="92" y="864"/>
                  </a:lnTo>
                  <a:lnTo>
                    <a:pt x="86" y="864"/>
                  </a:lnTo>
                  <a:lnTo>
                    <a:pt x="86" y="870"/>
                  </a:lnTo>
                  <a:lnTo>
                    <a:pt x="86" y="876"/>
                  </a:lnTo>
                  <a:lnTo>
                    <a:pt x="92" y="876"/>
                  </a:lnTo>
                  <a:lnTo>
                    <a:pt x="98" y="876"/>
                  </a:lnTo>
                  <a:lnTo>
                    <a:pt x="104" y="876"/>
                  </a:lnTo>
                  <a:lnTo>
                    <a:pt x="110" y="870"/>
                  </a:lnTo>
                  <a:lnTo>
                    <a:pt x="104" y="870"/>
                  </a:lnTo>
                  <a:lnTo>
                    <a:pt x="104" y="864"/>
                  </a:lnTo>
                  <a:lnTo>
                    <a:pt x="110" y="864"/>
                  </a:lnTo>
                  <a:lnTo>
                    <a:pt x="110" y="858"/>
                  </a:lnTo>
                  <a:lnTo>
                    <a:pt x="116" y="864"/>
                  </a:lnTo>
                  <a:lnTo>
                    <a:pt x="110" y="864"/>
                  </a:lnTo>
                  <a:lnTo>
                    <a:pt x="116" y="864"/>
                  </a:lnTo>
                  <a:lnTo>
                    <a:pt x="116" y="870"/>
                  </a:lnTo>
                  <a:lnTo>
                    <a:pt x="110" y="876"/>
                  </a:lnTo>
                  <a:lnTo>
                    <a:pt x="110" y="882"/>
                  </a:lnTo>
                  <a:lnTo>
                    <a:pt x="116" y="882"/>
                  </a:lnTo>
                  <a:lnTo>
                    <a:pt x="122" y="876"/>
                  </a:lnTo>
                  <a:lnTo>
                    <a:pt x="129" y="876"/>
                  </a:lnTo>
                  <a:lnTo>
                    <a:pt x="122" y="882"/>
                  </a:lnTo>
                  <a:lnTo>
                    <a:pt x="116" y="882"/>
                  </a:lnTo>
                  <a:lnTo>
                    <a:pt x="116" y="888"/>
                  </a:lnTo>
                  <a:lnTo>
                    <a:pt x="122" y="888"/>
                  </a:lnTo>
                  <a:lnTo>
                    <a:pt x="129" y="888"/>
                  </a:lnTo>
                  <a:lnTo>
                    <a:pt x="129" y="882"/>
                  </a:lnTo>
                  <a:lnTo>
                    <a:pt x="135" y="882"/>
                  </a:lnTo>
                  <a:lnTo>
                    <a:pt x="135" y="876"/>
                  </a:lnTo>
                  <a:lnTo>
                    <a:pt x="147" y="876"/>
                  </a:lnTo>
                  <a:lnTo>
                    <a:pt x="153" y="876"/>
                  </a:lnTo>
                  <a:lnTo>
                    <a:pt x="159" y="876"/>
                  </a:lnTo>
                  <a:lnTo>
                    <a:pt x="165" y="870"/>
                  </a:lnTo>
                  <a:lnTo>
                    <a:pt x="172" y="870"/>
                  </a:lnTo>
                  <a:lnTo>
                    <a:pt x="178" y="870"/>
                  </a:lnTo>
                  <a:lnTo>
                    <a:pt x="178" y="864"/>
                  </a:lnTo>
                  <a:lnTo>
                    <a:pt x="184" y="864"/>
                  </a:lnTo>
                  <a:lnTo>
                    <a:pt x="184" y="870"/>
                  </a:lnTo>
                  <a:lnTo>
                    <a:pt x="184" y="876"/>
                  </a:lnTo>
                  <a:lnTo>
                    <a:pt x="184" y="870"/>
                  </a:lnTo>
                  <a:lnTo>
                    <a:pt x="190" y="870"/>
                  </a:lnTo>
                  <a:lnTo>
                    <a:pt x="184" y="870"/>
                  </a:lnTo>
                  <a:lnTo>
                    <a:pt x="184" y="876"/>
                  </a:lnTo>
                  <a:lnTo>
                    <a:pt x="190" y="876"/>
                  </a:lnTo>
                  <a:lnTo>
                    <a:pt x="190" y="870"/>
                  </a:lnTo>
                  <a:lnTo>
                    <a:pt x="196" y="864"/>
                  </a:lnTo>
                  <a:lnTo>
                    <a:pt x="202" y="864"/>
                  </a:lnTo>
                  <a:lnTo>
                    <a:pt x="208" y="858"/>
                  </a:lnTo>
                  <a:lnTo>
                    <a:pt x="214" y="858"/>
                  </a:lnTo>
                  <a:lnTo>
                    <a:pt x="221" y="858"/>
                  </a:lnTo>
                  <a:lnTo>
                    <a:pt x="221" y="852"/>
                  </a:lnTo>
                  <a:lnTo>
                    <a:pt x="227" y="852"/>
                  </a:lnTo>
                  <a:lnTo>
                    <a:pt x="233" y="852"/>
                  </a:lnTo>
                  <a:lnTo>
                    <a:pt x="239" y="852"/>
                  </a:lnTo>
                  <a:lnTo>
                    <a:pt x="239" y="845"/>
                  </a:lnTo>
                  <a:lnTo>
                    <a:pt x="245" y="845"/>
                  </a:lnTo>
                  <a:lnTo>
                    <a:pt x="245" y="839"/>
                  </a:lnTo>
                  <a:lnTo>
                    <a:pt x="245" y="845"/>
                  </a:lnTo>
                  <a:lnTo>
                    <a:pt x="245" y="852"/>
                  </a:lnTo>
                  <a:lnTo>
                    <a:pt x="251" y="852"/>
                  </a:lnTo>
                  <a:lnTo>
                    <a:pt x="257" y="852"/>
                  </a:lnTo>
                  <a:lnTo>
                    <a:pt x="263" y="852"/>
                  </a:lnTo>
                  <a:lnTo>
                    <a:pt x="270" y="845"/>
                  </a:lnTo>
                  <a:lnTo>
                    <a:pt x="276" y="839"/>
                  </a:lnTo>
                  <a:lnTo>
                    <a:pt x="288" y="839"/>
                  </a:lnTo>
                  <a:lnTo>
                    <a:pt x="294" y="839"/>
                  </a:lnTo>
                  <a:lnTo>
                    <a:pt x="294" y="833"/>
                  </a:lnTo>
                  <a:lnTo>
                    <a:pt x="300" y="833"/>
                  </a:lnTo>
                  <a:lnTo>
                    <a:pt x="306" y="833"/>
                  </a:lnTo>
                  <a:lnTo>
                    <a:pt x="312" y="833"/>
                  </a:lnTo>
                  <a:lnTo>
                    <a:pt x="312" y="839"/>
                  </a:lnTo>
                  <a:lnTo>
                    <a:pt x="312" y="833"/>
                  </a:lnTo>
                  <a:lnTo>
                    <a:pt x="312" y="827"/>
                  </a:lnTo>
                  <a:lnTo>
                    <a:pt x="319" y="827"/>
                  </a:lnTo>
                  <a:lnTo>
                    <a:pt x="325" y="827"/>
                  </a:lnTo>
                  <a:lnTo>
                    <a:pt x="331" y="827"/>
                  </a:lnTo>
                  <a:lnTo>
                    <a:pt x="331" y="833"/>
                  </a:lnTo>
                  <a:lnTo>
                    <a:pt x="337" y="833"/>
                  </a:lnTo>
                  <a:lnTo>
                    <a:pt x="331" y="827"/>
                  </a:lnTo>
                  <a:lnTo>
                    <a:pt x="337" y="827"/>
                  </a:lnTo>
                  <a:lnTo>
                    <a:pt x="343" y="833"/>
                  </a:lnTo>
                  <a:lnTo>
                    <a:pt x="343" y="827"/>
                  </a:lnTo>
                  <a:lnTo>
                    <a:pt x="337" y="827"/>
                  </a:lnTo>
                  <a:lnTo>
                    <a:pt x="343" y="827"/>
                  </a:lnTo>
                  <a:lnTo>
                    <a:pt x="349" y="827"/>
                  </a:lnTo>
                  <a:lnTo>
                    <a:pt x="343" y="827"/>
                  </a:lnTo>
                  <a:lnTo>
                    <a:pt x="349" y="821"/>
                  </a:lnTo>
                  <a:lnTo>
                    <a:pt x="361" y="815"/>
                  </a:lnTo>
                  <a:lnTo>
                    <a:pt x="361" y="809"/>
                  </a:lnTo>
                  <a:lnTo>
                    <a:pt x="368" y="803"/>
                  </a:lnTo>
                  <a:lnTo>
                    <a:pt x="374" y="796"/>
                  </a:lnTo>
                  <a:lnTo>
                    <a:pt x="380" y="790"/>
                  </a:lnTo>
                  <a:lnTo>
                    <a:pt x="386" y="790"/>
                  </a:lnTo>
                  <a:lnTo>
                    <a:pt x="392" y="784"/>
                  </a:lnTo>
                  <a:lnTo>
                    <a:pt x="392" y="778"/>
                  </a:lnTo>
                  <a:lnTo>
                    <a:pt x="398" y="778"/>
                  </a:lnTo>
                  <a:lnTo>
                    <a:pt x="398" y="772"/>
                  </a:lnTo>
                  <a:lnTo>
                    <a:pt x="404" y="772"/>
                  </a:lnTo>
                  <a:lnTo>
                    <a:pt x="410" y="766"/>
                  </a:lnTo>
                  <a:lnTo>
                    <a:pt x="417" y="766"/>
                  </a:lnTo>
                  <a:lnTo>
                    <a:pt x="417" y="760"/>
                  </a:lnTo>
                  <a:lnTo>
                    <a:pt x="423" y="760"/>
                  </a:lnTo>
                  <a:lnTo>
                    <a:pt x="423" y="754"/>
                  </a:lnTo>
                  <a:lnTo>
                    <a:pt x="429" y="747"/>
                  </a:lnTo>
                  <a:lnTo>
                    <a:pt x="435" y="747"/>
                  </a:lnTo>
                  <a:lnTo>
                    <a:pt x="435" y="741"/>
                  </a:lnTo>
                  <a:lnTo>
                    <a:pt x="441" y="741"/>
                  </a:lnTo>
                  <a:lnTo>
                    <a:pt x="441" y="735"/>
                  </a:lnTo>
                  <a:lnTo>
                    <a:pt x="447" y="729"/>
                  </a:lnTo>
                  <a:lnTo>
                    <a:pt x="453" y="729"/>
                  </a:lnTo>
                  <a:lnTo>
                    <a:pt x="453" y="723"/>
                  </a:lnTo>
                  <a:lnTo>
                    <a:pt x="459" y="717"/>
                  </a:lnTo>
                  <a:lnTo>
                    <a:pt x="466" y="711"/>
                  </a:lnTo>
                  <a:lnTo>
                    <a:pt x="472" y="705"/>
                  </a:lnTo>
                  <a:lnTo>
                    <a:pt x="478" y="698"/>
                  </a:lnTo>
                  <a:lnTo>
                    <a:pt x="484" y="692"/>
                  </a:lnTo>
                  <a:lnTo>
                    <a:pt x="484" y="686"/>
                  </a:lnTo>
                  <a:lnTo>
                    <a:pt x="490" y="680"/>
                  </a:lnTo>
                  <a:lnTo>
                    <a:pt x="496" y="674"/>
                  </a:lnTo>
                  <a:lnTo>
                    <a:pt x="502" y="674"/>
                  </a:lnTo>
                  <a:lnTo>
                    <a:pt x="502" y="668"/>
                  </a:lnTo>
                  <a:lnTo>
                    <a:pt x="509" y="662"/>
                  </a:lnTo>
                  <a:lnTo>
                    <a:pt x="515" y="656"/>
                  </a:lnTo>
                  <a:lnTo>
                    <a:pt x="521" y="649"/>
                  </a:lnTo>
                  <a:lnTo>
                    <a:pt x="533" y="625"/>
                  </a:lnTo>
                  <a:lnTo>
                    <a:pt x="527" y="613"/>
                  </a:lnTo>
                  <a:lnTo>
                    <a:pt x="515" y="600"/>
                  </a:lnTo>
                  <a:lnTo>
                    <a:pt x="515" y="594"/>
                  </a:lnTo>
                  <a:lnTo>
                    <a:pt x="509" y="588"/>
                  </a:lnTo>
                  <a:lnTo>
                    <a:pt x="502" y="588"/>
                  </a:lnTo>
                  <a:lnTo>
                    <a:pt x="502" y="582"/>
                  </a:lnTo>
                  <a:lnTo>
                    <a:pt x="496" y="582"/>
                  </a:lnTo>
                  <a:lnTo>
                    <a:pt x="496" y="576"/>
                  </a:lnTo>
                  <a:lnTo>
                    <a:pt x="478" y="570"/>
                  </a:lnTo>
                  <a:lnTo>
                    <a:pt x="472" y="564"/>
                  </a:lnTo>
                  <a:lnTo>
                    <a:pt x="453" y="545"/>
                  </a:lnTo>
                  <a:lnTo>
                    <a:pt x="459" y="539"/>
                  </a:lnTo>
                  <a:lnTo>
                    <a:pt x="466" y="539"/>
                  </a:lnTo>
                  <a:lnTo>
                    <a:pt x="472" y="533"/>
                  </a:lnTo>
                  <a:lnTo>
                    <a:pt x="472" y="527"/>
                  </a:lnTo>
                  <a:lnTo>
                    <a:pt x="478" y="527"/>
                  </a:lnTo>
                  <a:lnTo>
                    <a:pt x="478" y="521"/>
                  </a:lnTo>
                  <a:lnTo>
                    <a:pt x="484" y="521"/>
                  </a:lnTo>
                  <a:lnTo>
                    <a:pt x="484" y="515"/>
                  </a:lnTo>
                  <a:lnTo>
                    <a:pt x="478" y="509"/>
                  </a:lnTo>
                  <a:lnTo>
                    <a:pt x="478" y="502"/>
                  </a:lnTo>
                  <a:lnTo>
                    <a:pt x="472" y="502"/>
                  </a:lnTo>
                  <a:lnTo>
                    <a:pt x="472" y="496"/>
                  </a:lnTo>
                  <a:lnTo>
                    <a:pt x="466" y="496"/>
                  </a:lnTo>
                  <a:lnTo>
                    <a:pt x="459" y="490"/>
                  </a:lnTo>
                  <a:lnTo>
                    <a:pt x="459" y="484"/>
                  </a:lnTo>
                  <a:lnTo>
                    <a:pt x="453" y="478"/>
                  </a:lnTo>
                  <a:lnTo>
                    <a:pt x="453" y="472"/>
                  </a:lnTo>
                  <a:lnTo>
                    <a:pt x="459" y="472"/>
                  </a:lnTo>
                  <a:lnTo>
                    <a:pt x="459" y="466"/>
                  </a:lnTo>
                  <a:lnTo>
                    <a:pt x="459" y="460"/>
                  </a:lnTo>
                  <a:lnTo>
                    <a:pt x="453" y="453"/>
                  </a:lnTo>
                  <a:lnTo>
                    <a:pt x="447" y="453"/>
                  </a:lnTo>
                  <a:lnTo>
                    <a:pt x="441" y="453"/>
                  </a:lnTo>
                  <a:lnTo>
                    <a:pt x="435" y="447"/>
                  </a:lnTo>
                  <a:lnTo>
                    <a:pt x="435" y="441"/>
                  </a:lnTo>
                  <a:lnTo>
                    <a:pt x="435" y="435"/>
                  </a:lnTo>
                  <a:lnTo>
                    <a:pt x="441" y="435"/>
                  </a:lnTo>
                  <a:lnTo>
                    <a:pt x="441" y="429"/>
                  </a:lnTo>
                  <a:lnTo>
                    <a:pt x="447" y="429"/>
                  </a:lnTo>
                  <a:lnTo>
                    <a:pt x="447" y="423"/>
                  </a:lnTo>
                  <a:lnTo>
                    <a:pt x="441" y="417"/>
                  </a:lnTo>
                  <a:lnTo>
                    <a:pt x="435" y="417"/>
                  </a:lnTo>
                  <a:lnTo>
                    <a:pt x="441" y="417"/>
                  </a:lnTo>
                  <a:lnTo>
                    <a:pt x="441" y="411"/>
                  </a:lnTo>
                  <a:lnTo>
                    <a:pt x="447" y="411"/>
                  </a:lnTo>
                  <a:lnTo>
                    <a:pt x="447" y="404"/>
                  </a:lnTo>
                  <a:lnTo>
                    <a:pt x="441" y="404"/>
                  </a:lnTo>
                  <a:lnTo>
                    <a:pt x="441" y="398"/>
                  </a:lnTo>
                  <a:lnTo>
                    <a:pt x="447" y="398"/>
                  </a:lnTo>
                  <a:lnTo>
                    <a:pt x="447" y="392"/>
                  </a:lnTo>
                  <a:lnTo>
                    <a:pt x="453" y="392"/>
                  </a:lnTo>
                  <a:lnTo>
                    <a:pt x="447" y="386"/>
                  </a:lnTo>
                  <a:lnTo>
                    <a:pt x="441" y="380"/>
                  </a:lnTo>
                  <a:lnTo>
                    <a:pt x="447" y="380"/>
                  </a:lnTo>
                  <a:lnTo>
                    <a:pt x="453" y="380"/>
                  </a:lnTo>
                  <a:lnTo>
                    <a:pt x="459" y="380"/>
                  </a:lnTo>
                  <a:lnTo>
                    <a:pt x="466" y="380"/>
                  </a:lnTo>
                  <a:lnTo>
                    <a:pt x="466" y="374"/>
                  </a:lnTo>
                  <a:lnTo>
                    <a:pt x="459" y="368"/>
                  </a:lnTo>
                  <a:lnTo>
                    <a:pt x="459" y="362"/>
                  </a:lnTo>
                  <a:lnTo>
                    <a:pt x="459" y="355"/>
                  </a:lnTo>
                  <a:lnTo>
                    <a:pt x="459" y="349"/>
                  </a:lnTo>
                  <a:lnTo>
                    <a:pt x="453" y="343"/>
                  </a:lnTo>
                  <a:lnTo>
                    <a:pt x="453" y="337"/>
                  </a:lnTo>
                  <a:lnTo>
                    <a:pt x="447" y="331"/>
                  </a:lnTo>
                  <a:lnTo>
                    <a:pt x="441" y="325"/>
                  </a:lnTo>
                  <a:lnTo>
                    <a:pt x="441" y="319"/>
                  </a:lnTo>
                  <a:lnTo>
                    <a:pt x="435" y="313"/>
                  </a:lnTo>
                  <a:lnTo>
                    <a:pt x="435" y="306"/>
                  </a:lnTo>
                  <a:lnTo>
                    <a:pt x="429" y="300"/>
                  </a:lnTo>
                  <a:lnTo>
                    <a:pt x="423" y="294"/>
                  </a:lnTo>
                  <a:lnTo>
                    <a:pt x="417" y="282"/>
                  </a:lnTo>
                  <a:lnTo>
                    <a:pt x="410" y="276"/>
                  </a:lnTo>
                  <a:lnTo>
                    <a:pt x="410" y="270"/>
                  </a:lnTo>
                  <a:lnTo>
                    <a:pt x="435" y="239"/>
                  </a:lnTo>
                  <a:lnTo>
                    <a:pt x="441" y="239"/>
                  </a:lnTo>
                  <a:lnTo>
                    <a:pt x="453" y="221"/>
                  </a:lnTo>
                  <a:lnTo>
                    <a:pt x="459" y="208"/>
                  </a:lnTo>
                  <a:lnTo>
                    <a:pt x="441" y="196"/>
                  </a:lnTo>
                  <a:lnTo>
                    <a:pt x="423" y="172"/>
                  </a:lnTo>
                  <a:lnTo>
                    <a:pt x="392" y="159"/>
                  </a:lnTo>
                  <a:lnTo>
                    <a:pt x="380" y="129"/>
                  </a:lnTo>
                  <a:lnTo>
                    <a:pt x="398" y="117"/>
                  </a:lnTo>
                  <a:lnTo>
                    <a:pt x="398" y="104"/>
                  </a:lnTo>
                  <a:lnTo>
                    <a:pt x="392" y="104"/>
                  </a:lnTo>
                  <a:lnTo>
                    <a:pt x="386" y="104"/>
                  </a:lnTo>
                  <a:lnTo>
                    <a:pt x="380" y="98"/>
                  </a:lnTo>
                  <a:lnTo>
                    <a:pt x="404" y="86"/>
                  </a:lnTo>
                  <a:lnTo>
                    <a:pt x="398" y="86"/>
                  </a:lnTo>
                  <a:lnTo>
                    <a:pt x="398" y="80"/>
                  </a:lnTo>
                  <a:lnTo>
                    <a:pt x="404" y="80"/>
                  </a:lnTo>
                  <a:lnTo>
                    <a:pt x="404" y="74"/>
                  </a:lnTo>
                  <a:lnTo>
                    <a:pt x="429" y="49"/>
                  </a:lnTo>
                  <a:lnTo>
                    <a:pt x="417" y="31"/>
                  </a:lnTo>
                  <a:lnTo>
                    <a:pt x="380" y="19"/>
                  </a:lnTo>
                  <a:lnTo>
                    <a:pt x="380" y="12"/>
                  </a:lnTo>
                  <a:lnTo>
                    <a:pt x="374" y="12"/>
                  </a:lnTo>
                  <a:lnTo>
                    <a:pt x="368" y="12"/>
                  </a:lnTo>
                  <a:lnTo>
                    <a:pt x="368" y="6"/>
                  </a:lnTo>
                  <a:lnTo>
                    <a:pt x="361" y="6"/>
                  </a:lnTo>
                  <a:lnTo>
                    <a:pt x="361" y="0"/>
                  </a:lnTo>
                  <a:lnTo>
                    <a:pt x="355" y="0"/>
                  </a:lnTo>
                  <a:lnTo>
                    <a:pt x="349" y="0"/>
                  </a:lnTo>
                  <a:lnTo>
                    <a:pt x="343" y="0"/>
                  </a:lnTo>
                  <a:lnTo>
                    <a:pt x="337" y="0"/>
                  </a:lnTo>
                  <a:lnTo>
                    <a:pt x="331" y="6"/>
                  </a:lnTo>
                  <a:lnTo>
                    <a:pt x="325" y="6"/>
                  </a:lnTo>
                  <a:lnTo>
                    <a:pt x="312" y="12"/>
                  </a:lnTo>
                  <a:lnTo>
                    <a:pt x="306" y="12"/>
                  </a:lnTo>
                  <a:lnTo>
                    <a:pt x="306" y="6"/>
                  </a:lnTo>
                  <a:lnTo>
                    <a:pt x="300" y="12"/>
                  </a:lnTo>
                  <a:lnTo>
                    <a:pt x="300" y="6"/>
                  </a:lnTo>
                  <a:lnTo>
                    <a:pt x="294" y="12"/>
                  </a:lnTo>
                  <a:lnTo>
                    <a:pt x="288" y="12"/>
                  </a:lnTo>
                  <a:lnTo>
                    <a:pt x="282" y="19"/>
                  </a:lnTo>
                  <a:lnTo>
                    <a:pt x="276" y="25"/>
                  </a:lnTo>
                  <a:lnTo>
                    <a:pt x="270" y="25"/>
                  </a:lnTo>
                  <a:lnTo>
                    <a:pt x="270" y="31"/>
                  </a:lnTo>
                  <a:lnTo>
                    <a:pt x="263" y="31"/>
                  </a:lnTo>
                  <a:lnTo>
                    <a:pt x="257" y="37"/>
                  </a:lnTo>
                  <a:lnTo>
                    <a:pt x="263" y="37"/>
                  </a:lnTo>
                  <a:lnTo>
                    <a:pt x="263" y="43"/>
                  </a:lnTo>
                  <a:lnTo>
                    <a:pt x="257" y="43"/>
                  </a:lnTo>
                  <a:lnTo>
                    <a:pt x="257" y="49"/>
                  </a:lnTo>
                  <a:lnTo>
                    <a:pt x="257" y="55"/>
                  </a:lnTo>
                  <a:lnTo>
                    <a:pt x="257" y="61"/>
                  </a:lnTo>
                  <a:lnTo>
                    <a:pt x="251" y="61"/>
                  </a:lnTo>
                  <a:lnTo>
                    <a:pt x="251" y="68"/>
                  </a:lnTo>
                  <a:lnTo>
                    <a:pt x="245" y="74"/>
                  </a:lnTo>
                  <a:lnTo>
                    <a:pt x="251" y="74"/>
                  </a:lnTo>
                  <a:lnTo>
                    <a:pt x="251" y="80"/>
                  </a:lnTo>
                  <a:lnTo>
                    <a:pt x="251" y="86"/>
                  </a:lnTo>
                  <a:lnTo>
                    <a:pt x="251" y="92"/>
                  </a:lnTo>
                  <a:lnTo>
                    <a:pt x="251" y="98"/>
                  </a:lnTo>
                  <a:lnTo>
                    <a:pt x="245" y="98"/>
                  </a:lnTo>
                  <a:lnTo>
                    <a:pt x="239" y="104"/>
                  </a:lnTo>
                  <a:lnTo>
                    <a:pt x="233" y="104"/>
                  </a:lnTo>
                  <a:lnTo>
                    <a:pt x="227" y="104"/>
                  </a:lnTo>
                  <a:lnTo>
                    <a:pt x="227" y="110"/>
                  </a:lnTo>
                  <a:lnTo>
                    <a:pt x="221" y="110"/>
                  </a:lnTo>
                  <a:lnTo>
                    <a:pt x="221" y="117"/>
                  </a:lnTo>
                  <a:lnTo>
                    <a:pt x="221" y="123"/>
                  </a:lnTo>
                  <a:lnTo>
                    <a:pt x="214" y="129"/>
                  </a:lnTo>
                  <a:lnTo>
                    <a:pt x="208" y="129"/>
                  </a:lnTo>
                  <a:lnTo>
                    <a:pt x="202" y="123"/>
                  </a:lnTo>
                  <a:lnTo>
                    <a:pt x="196" y="123"/>
                  </a:lnTo>
                  <a:lnTo>
                    <a:pt x="196" y="117"/>
                  </a:lnTo>
                  <a:lnTo>
                    <a:pt x="190" y="117"/>
                  </a:lnTo>
                  <a:lnTo>
                    <a:pt x="184" y="117"/>
                  </a:lnTo>
                  <a:lnTo>
                    <a:pt x="178" y="117"/>
                  </a:lnTo>
                  <a:lnTo>
                    <a:pt x="172" y="110"/>
                  </a:lnTo>
                  <a:lnTo>
                    <a:pt x="165" y="110"/>
                  </a:lnTo>
                  <a:lnTo>
                    <a:pt x="165" y="104"/>
                  </a:lnTo>
                  <a:lnTo>
                    <a:pt x="159" y="104"/>
                  </a:lnTo>
                  <a:lnTo>
                    <a:pt x="159" y="110"/>
                  </a:lnTo>
                  <a:lnTo>
                    <a:pt x="153" y="110"/>
                  </a:lnTo>
                  <a:lnTo>
                    <a:pt x="153" y="117"/>
                  </a:lnTo>
                  <a:lnTo>
                    <a:pt x="141" y="117"/>
                  </a:lnTo>
                  <a:lnTo>
                    <a:pt x="129" y="123"/>
                  </a:lnTo>
                  <a:lnTo>
                    <a:pt x="122" y="117"/>
                  </a:lnTo>
                  <a:lnTo>
                    <a:pt x="110" y="117"/>
                  </a:lnTo>
                  <a:lnTo>
                    <a:pt x="98" y="117"/>
                  </a:lnTo>
                  <a:lnTo>
                    <a:pt x="92" y="117"/>
                  </a:lnTo>
                  <a:lnTo>
                    <a:pt x="86" y="104"/>
                  </a:lnTo>
                  <a:lnTo>
                    <a:pt x="80" y="98"/>
                  </a:lnTo>
                  <a:lnTo>
                    <a:pt x="67" y="86"/>
                  </a:lnTo>
                  <a:lnTo>
                    <a:pt x="55" y="68"/>
                  </a:lnTo>
                  <a:lnTo>
                    <a:pt x="37" y="68"/>
                  </a:lnTo>
                  <a:lnTo>
                    <a:pt x="24" y="68"/>
                  </a:lnTo>
                  <a:lnTo>
                    <a:pt x="24" y="74"/>
                  </a:lnTo>
                  <a:lnTo>
                    <a:pt x="18" y="74"/>
                  </a:lnTo>
                  <a:lnTo>
                    <a:pt x="24" y="80"/>
                  </a:lnTo>
                  <a:lnTo>
                    <a:pt x="24" y="86"/>
                  </a:lnTo>
                  <a:lnTo>
                    <a:pt x="12" y="80"/>
                  </a:lnTo>
                  <a:lnTo>
                    <a:pt x="0" y="86"/>
                  </a:lnTo>
                  <a:lnTo>
                    <a:pt x="6" y="86"/>
                  </a:lnTo>
                  <a:lnTo>
                    <a:pt x="12" y="92"/>
                  </a:lnTo>
                  <a:lnTo>
                    <a:pt x="12" y="98"/>
                  </a:lnTo>
                  <a:lnTo>
                    <a:pt x="24" y="104"/>
                  </a:lnTo>
                  <a:lnTo>
                    <a:pt x="31" y="110"/>
                  </a:lnTo>
                  <a:lnTo>
                    <a:pt x="37" y="117"/>
                  </a:lnTo>
                  <a:lnTo>
                    <a:pt x="37" y="123"/>
                  </a:lnTo>
                  <a:lnTo>
                    <a:pt x="43" y="123"/>
                  </a:lnTo>
                  <a:lnTo>
                    <a:pt x="49" y="123"/>
                  </a:lnTo>
                  <a:lnTo>
                    <a:pt x="55" y="129"/>
                  </a:lnTo>
                  <a:lnTo>
                    <a:pt x="61" y="129"/>
                  </a:lnTo>
                  <a:lnTo>
                    <a:pt x="67" y="129"/>
                  </a:lnTo>
                  <a:lnTo>
                    <a:pt x="67" y="135"/>
                  </a:lnTo>
                  <a:lnTo>
                    <a:pt x="73" y="141"/>
                  </a:lnTo>
                  <a:lnTo>
                    <a:pt x="80" y="135"/>
                  </a:lnTo>
                  <a:lnTo>
                    <a:pt x="86" y="141"/>
                  </a:lnTo>
                  <a:lnTo>
                    <a:pt x="98" y="141"/>
                  </a:lnTo>
                  <a:lnTo>
                    <a:pt x="104" y="141"/>
                  </a:lnTo>
                  <a:lnTo>
                    <a:pt x="110" y="147"/>
                  </a:lnTo>
                  <a:lnTo>
                    <a:pt x="116" y="153"/>
                  </a:lnTo>
                  <a:lnTo>
                    <a:pt x="122" y="153"/>
                  </a:lnTo>
                  <a:lnTo>
                    <a:pt x="122" y="159"/>
                  </a:lnTo>
                  <a:lnTo>
                    <a:pt x="122" y="166"/>
                  </a:lnTo>
                  <a:lnTo>
                    <a:pt x="129" y="166"/>
                  </a:lnTo>
                  <a:lnTo>
                    <a:pt x="135" y="172"/>
                  </a:lnTo>
                  <a:lnTo>
                    <a:pt x="135" y="178"/>
                  </a:lnTo>
                  <a:lnTo>
                    <a:pt x="141" y="178"/>
                  </a:lnTo>
                  <a:lnTo>
                    <a:pt x="147" y="178"/>
                  </a:lnTo>
                  <a:lnTo>
                    <a:pt x="147" y="184"/>
                  </a:lnTo>
                  <a:lnTo>
                    <a:pt x="147" y="190"/>
                  </a:lnTo>
                  <a:lnTo>
                    <a:pt x="141" y="190"/>
                  </a:lnTo>
                  <a:lnTo>
                    <a:pt x="141" y="202"/>
                  </a:lnTo>
                  <a:lnTo>
                    <a:pt x="141" y="208"/>
                  </a:lnTo>
                  <a:lnTo>
                    <a:pt x="147" y="208"/>
                  </a:lnTo>
                  <a:lnTo>
                    <a:pt x="147" y="215"/>
                  </a:lnTo>
                  <a:lnTo>
                    <a:pt x="141" y="215"/>
                  </a:lnTo>
                  <a:lnTo>
                    <a:pt x="141" y="221"/>
                  </a:lnTo>
                  <a:lnTo>
                    <a:pt x="135" y="221"/>
                  </a:lnTo>
                  <a:lnTo>
                    <a:pt x="135" y="227"/>
                  </a:lnTo>
                  <a:lnTo>
                    <a:pt x="141" y="227"/>
                  </a:lnTo>
                  <a:lnTo>
                    <a:pt x="147" y="227"/>
                  </a:lnTo>
                  <a:lnTo>
                    <a:pt x="153" y="227"/>
                  </a:lnTo>
                  <a:lnTo>
                    <a:pt x="153" y="233"/>
                  </a:lnTo>
                  <a:lnTo>
                    <a:pt x="153" y="239"/>
                  </a:lnTo>
                  <a:lnTo>
                    <a:pt x="147" y="239"/>
                  </a:lnTo>
                  <a:lnTo>
                    <a:pt x="147" y="245"/>
                  </a:lnTo>
                  <a:lnTo>
                    <a:pt x="147" y="251"/>
                  </a:lnTo>
                  <a:lnTo>
                    <a:pt x="153" y="257"/>
                  </a:lnTo>
                  <a:lnTo>
                    <a:pt x="153" y="264"/>
                  </a:lnTo>
                  <a:lnTo>
                    <a:pt x="159" y="270"/>
                  </a:lnTo>
                  <a:lnTo>
                    <a:pt x="165" y="276"/>
                  </a:lnTo>
                  <a:lnTo>
                    <a:pt x="165" y="282"/>
                  </a:lnTo>
                  <a:lnTo>
                    <a:pt x="159" y="288"/>
                  </a:lnTo>
                  <a:lnTo>
                    <a:pt x="159" y="294"/>
                  </a:lnTo>
                  <a:lnTo>
                    <a:pt x="159" y="300"/>
                  </a:lnTo>
                  <a:lnTo>
                    <a:pt x="159" y="306"/>
                  </a:lnTo>
                  <a:lnTo>
                    <a:pt x="153" y="306"/>
                  </a:lnTo>
                  <a:lnTo>
                    <a:pt x="147" y="313"/>
                  </a:lnTo>
                  <a:lnTo>
                    <a:pt x="153" y="319"/>
                  </a:lnTo>
                  <a:lnTo>
                    <a:pt x="147" y="325"/>
                  </a:lnTo>
                  <a:lnTo>
                    <a:pt x="153" y="331"/>
                  </a:lnTo>
                  <a:lnTo>
                    <a:pt x="159" y="337"/>
                  </a:lnTo>
                  <a:lnTo>
                    <a:pt x="165" y="343"/>
                  </a:lnTo>
                  <a:lnTo>
                    <a:pt x="165" y="349"/>
                  </a:lnTo>
                  <a:lnTo>
                    <a:pt x="172" y="349"/>
                  </a:lnTo>
                  <a:lnTo>
                    <a:pt x="172" y="355"/>
                  </a:lnTo>
                  <a:lnTo>
                    <a:pt x="172" y="362"/>
                  </a:lnTo>
                  <a:lnTo>
                    <a:pt x="178" y="362"/>
                  </a:lnTo>
                  <a:lnTo>
                    <a:pt x="172" y="368"/>
                  </a:lnTo>
                  <a:lnTo>
                    <a:pt x="178" y="374"/>
                  </a:lnTo>
                  <a:lnTo>
                    <a:pt x="178" y="368"/>
                  </a:lnTo>
                  <a:lnTo>
                    <a:pt x="184" y="368"/>
                  </a:lnTo>
                  <a:lnTo>
                    <a:pt x="184" y="374"/>
                  </a:lnTo>
                  <a:lnTo>
                    <a:pt x="190" y="368"/>
                  </a:lnTo>
                  <a:lnTo>
                    <a:pt x="190" y="362"/>
                  </a:lnTo>
                  <a:lnTo>
                    <a:pt x="196" y="362"/>
                  </a:lnTo>
                  <a:lnTo>
                    <a:pt x="196" y="355"/>
                  </a:lnTo>
                  <a:lnTo>
                    <a:pt x="196" y="349"/>
                  </a:lnTo>
                  <a:lnTo>
                    <a:pt x="202" y="349"/>
                  </a:lnTo>
                  <a:lnTo>
                    <a:pt x="202" y="355"/>
                  </a:lnTo>
                  <a:lnTo>
                    <a:pt x="202" y="362"/>
                  </a:lnTo>
                  <a:lnTo>
                    <a:pt x="196" y="362"/>
                  </a:lnTo>
                  <a:lnTo>
                    <a:pt x="196" y="368"/>
                  </a:lnTo>
                  <a:lnTo>
                    <a:pt x="196" y="374"/>
                  </a:lnTo>
                  <a:lnTo>
                    <a:pt x="190" y="374"/>
                  </a:lnTo>
                  <a:lnTo>
                    <a:pt x="196" y="374"/>
                  </a:lnTo>
                  <a:lnTo>
                    <a:pt x="196" y="380"/>
                  </a:lnTo>
                  <a:lnTo>
                    <a:pt x="202" y="386"/>
                  </a:lnTo>
                  <a:lnTo>
                    <a:pt x="202" y="380"/>
                  </a:lnTo>
                  <a:lnTo>
                    <a:pt x="208" y="386"/>
                  </a:lnTo>
                  <a:lnTo>
                    <a:pt x="214" y="386"/>
                  </a:lnTo>
                  <a:lnTo>
                    <a:pt x="221" y="386"/>
                  </a:lnTo>
                  <a:lnTo>
                    <a:pt x="221" y="392"/>
                  </a:lnTo>
                  <a:lnTo>
                    <a:pt x="227" y="392"/>
                  </a:lnTo>
                  <a:lnTo>
                    <a:pt x="227" y="398"/>
                  </a:lnTo>
                  <a:lnTo>
                    <a:pt x="233" y="398"/>
                  </a:lnTo>
                  <a:lnTo>
                    <a:pt x="233" y="404"/>
                  </a:lnTo>
                  <a:lnTo>
                    <a:pt x="227" y="404"/>
                  </a:lnTo>
                  <a:lnTo>
                    <a:pt x="227" y="411"/>
                  </a:lnTo>
                  <a:lnTo>
                    <a:pt x="233" y="411"/>
                  </a:lnTo>
                  <a:lnTo>
                    <a:pt x="227" y="411"/>
                  </a:lnTo>
                  <a:lnTo>
                    <a:pt x="227" y="417"/>
                  </a:lnTo>
                  <a:lnTo>
                    <a:pt x="233" y="417"/>
                  </a:lnTo>
                  <a:lnTo>
                    <a:pt x="227" y="417"/>
                  </a:lnTo>
                  <a:lnTo>
                    <a:pt x="233" y="417"/>
                  </a:lnTo>
                  <a:lnTo>
                    <a:pt x="227" y="423"/>
                  </a:lnTo>
                  <a:lnTo>
                    <a:pt x="233" y="423"/>
                  </a:lnTo>
                  <a:lnTo>
                    <a:pt x="227" y="423"/>
                  </a:lnTo>
                  <a:lnTo>
                    <a:pt x="227" y="429"/>
                  </a:lnTo>
                  <a:lnTo>
                    <a:pt x="233" y="429"/>
                  </a:lnTo>
                  <a:lnTo>
                    <a:pt x="233" y="435"/>
                  </a:lnTo>
                  <a:lnTo>
                    <a:pt x="233" y="441"/>
                  </a:lnTo>
                  <a:lnTo>
                    <a:pt x="239" y="441"/>
                  </a:lnTo>
                  <a:lnTo>
                    <a:pt x="233" y="441"/>
                  </a:lnTo>
                  <a:lnTo>
                    <a:pt x="227" y="441"/>
                  </a:lnTo>
                  <a:lnTo>
                    <a:pt x="221" y="441"/>
                  </a:lnTo>
                  <a:lnTo>
                    <a:pt x="227" y="441"/>
                  </a:lnTo>
                  <a:lnTo>
                    <a:pt x="227" y="447"/>
                  </a:lnTo>
                  <a:lnTo>
                    <a:pt x="233" y="447"/>
                  </a:lnTo>
                  <a:lnTo>
                    <a:pt x="233" y="453"/>
                  </a:lnTo>
                  <a:lnTo>
                    <a:pt x="227" y="453"/>
                  </a:lnTo>
                  <a:lnTo>
                    <a:pt x="227" y="447"/>
                  </a:lnTo>
                  <a:lnTo>
                    <a:pt x="227" y="453"/>
                  </a:lnTo>
                  <a:lnTo>
                    <a:pt x="227" y="447"/>
                  </a:lnTo>
                  <a:lnTo>
                    <a:pt x="221" y="447"/>
                  </a:lnTo>
                  <a:lnTo>
                    <a:pt x="214" y="447"/>
                  </a:lnTo>
                  <a:lnTo>
                    <a:pt x="208" y="447"/>
                  </a:lnTo>
                  <a:lnTo>
                    <a:pt x="202" y="447"/>
                  </a:lnTo>
                  <a:lnTo>
                    <a:pt x="202" y="453"/>
                  </a:lnTo>
                  <a:lnTo>
                    <a:pt x="196" y="453"/>
                  </a:lnTo>
                  <a:lnTo>
                    <a:pt x="196" y="460"/>
                  </a:lnTo>
                  <a:lnTo>
                    <a:pt x="190" y="466"/>
                  </a:lnTo>
                  <a:lnTo>
                    <a:pt x="184" y="466"/>
                  </a:lnTo>
                  <a:lnTo>
                    <a:pt x="184" y="472"/>
                  </a:lnTo>
                  <a:lnTo>
                    <a:pt x="184" y="478"/>
                  </a:lnTo>
                  <a:lnTo>
                    <a:pt x="178" y="478"/>
                  </a:lnTo>
                  <a:lnTo>
                    <a:pt x="178" y="484"/>
                  </a:lnTo>
                  <a:lnTo>
                    <a:pt x="172" y="484"/>
                  </a:lnTo>
                  <a:lnTo>
                    <a:pt x="172" y="490"/>
                  </a:lnTo>
                  <a:lnTo>
                    <a:pt x="165" y="490"/>
                  </a:lnTo>
                  <a:lnTo>
                    <a:pt x="165" y="496"/>
                  </a:lnTo>
                  <a:lnTo>
                    <a:pt x="159" y="502"/>
                  </a:lnTo>
                  <a:lnTo>
                    <a:pt x="153" y="502"/>
                  </a:lnTo>
                  <a:lnTo>
                    <a:pt x="153" y="509"/>
                  </a:lnTo>
                  <a:lnTo>
                    <a:pt x="147" y="515"/>
                  </a:lnTo>
                  <a:lnTo>
                    <a:pt x="147" y="521"/>
                  </a:lnTo>
                  <a:lnTo>
                    <a:pt x="141" y="521"/>
                  </a:lnTo>
                  <a:lnTo>
                    <a:pt x="135" y="521"/>
                  </a:lnTo>
                  <a:lnTo>
                    <a:pt x="135" y="527"/>
                  </a:lnTo>
                  <a:lnTo>
                    <a:pt x="135" y="533"/>
                  </a:lnTo>
                  <a:lnTo>
                    <a:pt x="129" y="533"/>
                  </a:lnTo>
                  <a:lnTo>
                    <a:pt x="122" y="533"/>
                  </a:lnTo>
                  <a:lnTo>
                    <a:pt x="122" y="539"/>
                  </a:lnTo>
                  <a:lnTo>
                    <a:pt x="116" y="539"/>
                  </a:lnTo>
                  <a:lnTo>
                    <a:pt x="110" y="539"/>
                  </a:lnTo>
                  <a:lnTo>
                    <a:pt x="104" y="539"/>
                  </a:lnTo>
                  <a:lnTo>
                    <a:pt x="104" y="545"/>
                  </a:lnTo>
                  <a:lnTo>
                    <a:pt x="98" y="551"/>
                  </a:lnTo>
                  <a:lnTo>
                    <a:pt x="92" y="558"/>
                  </a:lnTo>
                  <a:lnTo>
                    <a:pt x="92" y="564"/>
                  </a:lnTo>
                  <a:lnTo>
                    <a:pt x="92" y="570"/>
                  </a:lnTo>
                  <a:lnTo>
                    <a:pt x="86" y="570"/>
                  </a:lnTo>
                  <a:lnTo>
                    <a:pt x="86" y="564"/>
                  </a:lnTo>
                  <a:lnTo>
                    <a:pt x="86" y="570"/>
                  </a:lnTo>
                  <a:lnTo>
                    <a:pt x="86" y="576"/>
                  </a:lnTo>
                  <a:lnTo>
                    <a:pt x="86" y="570"/>
                  </a:lnTo>
                  <a:lnTo>
                    <a:pt x="80" y="570"/>
                  </a:lnTo>
                  <a:lnTo>
                    <a:pt x="80" y="576"/>
                  </a:lnTo>
                  <a:lnTo>
                    <a:pt x="86" y="582"/>
                  </a:lnTo>
                  <a:lnTo>
                    <a:pt x="86" y="588"/>
                  </a:lnTo>
                  <a:lnTo>
                    <a:pt x="80" y="582"/>
                  </a:lnTo>
                  <a:lnTo>
                    <a:pt x="73" y="582"/>
                  </a:lnTo>
                  <a:lnTo>
                    <a:pt x="73" y="588"/>
                  </a:lnTo>
                  <a:lnTo>
                    <a:pt x="73" y="594"/>
                  </a:lnTo>
                  <a:lnTo>
                    <a:pt x="73" y="588"/>
                  </a:lnTo>
                  <a:lnTo>
                    <a:pt x="67" y="588"/>
                  </a:lnTo>
                  <a:lnTo>
                    <a:pt x="61" y="588"/>
                  </a:lnTo>
                  <a:lnTo>
                    <a:pt x="55" y="588"/>
                  </a:lnTo>
                  <a:lnTo>
                    <a:pt x="55" y="594"/>
                  </a:lnTo>
                  <a:lnTo>
                    <a:pt x="49" y="594"/>
                  </a:lnTo>
                  <a:lnTo>
                    <a:pt x="49" y="588"/>
                  </a:lnTo>
                  <a:lnTo>
                    <a:pt x="43" y="588"/>
                  </a:lnTo>
                  <a:lnTo>
                    <a:pt x="43" y="594"/>
                  </a:lnTo>
                  <a:lnTo>
                    <a:pt x="43" y="600"/>
                  </a:lnTo>
                  <a:lnTo>
                    <a:pt x="49" y="600"/>
                  </a:lnTo>
                  <a:lnTo>
                    <a:pt x="49" y="607"/>
                  </a:lnTo>
                  <a:lnTo>
                    <a:pt x="43" y="607"/>
                  </a:lnTo>
                  <a:lnTo>
                    <a:pt x="37" y="607"/>
                  </a:lnTo>
                  <a:lnTo>
                    <a:pt x="37" y="613"/>
                  </a:lnTo>
                  <a:lnTo>
                    <a:pt x="43" y="613"/>
                  </a:lnTo>
                  <a:lnTo>
                    <a:pt x="43" y="619"/>
                  </a:lnTo>
                  <a:lnTo>
                    <a:pt x="37" y="619"/>
                  </a:lnTo>
                  <a:lnTo>
                    <a:pt x="37" y="625"/>
                  </a:lnTo>
                  <a:lnTo>
                    <a:pt x="31" y="619"/>
                  </a:lnTo>
                  <a:lnTo>
                    <a:pt x="31" y="613"/>
                  </a:lnTo>
                  <a:lnTo>
                    <a:pt x="24" y="613"/>
                  </a:lnTo>
                  <a:lnTo>
                    <a:pt x="24" y="619"/>
                  </a:lnTo>
                  <a:lnTo>
                    <a:pt x="31" y="619"/>
                  </a:lnTo>
                  <a:lnTo>
                    <a:pt x="31" y="625"/>
                  </a:lnTo>
                  <a:lnTo>
                    <a:pt x="31" y="631"/>
                  </a:lnTo>
                  <a:lnTo>
                    <a:pt x="31" y="625"/>
                  </a:lnTo>
                  <a:lnTo>
                    <a:pt x="24" y="631"/>
                  </a:lnTo>
                  <a:lnTo>
                    <a:pt x="31" y="631"/>
                  </a:lnTo>
                  <a:lnTo>
                    <a:pt x="31" y="637"/>
                  </a:lnTo>
                  <a:lnTo>
                    <a:pt x="24" y="637"/>
                  </a:lnTo>
                  <a:lnTo>
                    <a:pt x="24" y="643"/>
                  </a:lnTo>
                  <a:lnTo>
                    <a:pt x="31" y="643"/>
                  </a:lnTo>
                  <a:lnTo>
                    <a:pt x="31" y="649"/>
                  </a:lnTo>
                  <a:lnTo>
                    <a:pt x="24" y="649"/>
                  </a:lnTo>
                  <a:lnTo>
                    <a:pt x="24" y="656"/>
                  </a:lnTo>
                  <a:lnTo>
                    <a:pt x="31" y="656"/>
                  </a:lnTo>
                  <a:lnTo>
                    <a:pt x="31" y="662"/>
                  </a:lnTo>
                  <a:lnTo>
                    <a:pt x="31" y="668"/>
                  </a:lnTo>
                  <a:lnTo>
                    <a:pt x="31" y="662"/>
                  </a:lnTo>
                  <a:lnTo>
                    <a:pt x="37" y="662"/>
                  </a:lnTo>
                  <a:lnTo>
                    <a:pt x="37" y="656"/>
                  </a:lnTo>
                  <a:lnTo>
                    <a:pt x="37" y="662"/>
                  </a:lnTo>
                  <a:lnTo>
                    <a:pt x="37" y="668"/>
                  </a:lnTo>
                  <a:lnTo>
                    <a:pt x="37" y="674"/>
                  </a:lnTo>
                  <a:lnTo>
                    <a:pt x="37" y="668"/>
                  </a:lnTo>
                  <a:lnTo>
                    <a:pt x="37" y="674"/>
                  </a:lnTo>
                  <a:lnTo>
                    <a:pt x="37" y="680"/>
                  </a:lnTo>
                  <a:lnTo>
                    <a:pt x="31" y="686"/>
                  </a:lnTo>
                  <a:lnTo>
                    <a:pt x="37" y="686"/>
                  </a:lnTo>
                  <a:lnTo>
                    <a:pt x="37" y="692"/>
                  </a:lnTo>
                  <a:lnTo>
                    <a:pt x="31" y="698"/>
                  </a:lnTo>
                  <a:lnTo>
                    <a:pt x="37" y="698"/>
                  </a:lnTo>
                  <a:lnTo>
                    <a:pt x="37" y="705"/>
                  </a:lnTo>
                  <a:lnTo>
                    <a:pt x="398" y="343"/>
                  </a:lnTo>
                  <a:lnTo>
                    <a:pt x="392" y="343"/>
                  </a:lnTo>
                  <a:lnTo>
                    <a:pt x="380" y="343"/>
                  </a:lnTo>
                  <a:lnTo>
                    <a:pt x="386" y="343"/>
                  </a:lnTo>
                  <a:lnTo>
                    <a:pt x="392" y="337"/>
                  </a:lnTo>
                  <a:lnTo>
                    <a:pt x="398" y="337"/>
                  </a:lnTo>
                  <a:lnTo>
                    <a:pt x="398" y="331"/>
                  </a:lnTo>
                  <a:lnTo>
                    <a:pt x="404" y="331"/>
                  </a:lnTo>
                  <a:lnTo>
                    <a:pt x="404" y="325"/>
                  </a:lnTo>
                  <a:lnTo>
                    <a:pt x="410" y="331"/>
                  </a:lnTo>
                  <a:lnTo>
                    <a:pt x="410" y="337"/>
                  </a:lnTo>
                  <a:lnTo>
                    <a:pt x="404" y="337"/>
                  </a:lnTo>
                  <a:lnTo>
                    <a:pt x="398" y="337"/>
                  </a:lnTo>
                  <a:lnTo>
                    <a:pt x="398" y="343"/>
                  </a:lnTo>
                  <a:lnTo>
                    <a:pt x="37" y="705"/>
                  </a:lnTo>
                  <a:lnTo>
                    <a:pt x="392" y="349"/>
                  </a:lnTo>
                  <a:lnTo>
                    <a:pt x="386" y="349"/>
                  </a:lnTo>
                  <a:lnTo>
                    <a:pt x="380" y="349"/>
                  </a:lnTo>
                  <a:lnTo>
                    <a:pt x="386" y="349"/>
                  </a:lnTo>
                  <a:lnTo>
                    <a:pt x="380" y="349"/>
                  </a:lnTo>
                  <a:lnTo>
                    <a:pt x="374" y="349"/>
                  </a:lnTo>
                  <a:lnTo>
                    <a:pt x="368" y="349"/>
                  </a:lnTo>
                  <a:lnTo>
                    <a:pt x="368" y="343"/>
                  </a:lnTo>
                  <a:lnTo>
                    <a:pt x="374" y="343"/>
                  </a:lnTo>
                  <a:lnTo>
                    <a:pt x="380" y="343"/>
                  </a:lnTo>
                  <a:lnTo>
                    <a:pt x="380" y="349"/>
                  </a:lnTo>
                  <a:lnTo>
                    <a:pt x="392" y="343"/>
                  </a:lnTo>
                  <a:lnTo>
                    <a:pt x="398" y="343"/>
                  </a:lnTo>
                  <a:lnTo>
                    <a:pt x="392" y="349"/>
                  </a:lnTo>
                  <a:lnTo>
                    <a:pt x="37" y="70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6" name="Freeform 137"/>
            <p:cNvSpPr>
              <a:spLocks/>
            </p:cNvSpPr>
            <p:nvPr/>
          </p:nvSpPr>
          <p:spPr bwMode="auto">
            <a:xfrm>
              <a:off x="4606202" y="2105539"/>
              <a:ext cx="861742" cy="1299318"/>
            </a:xfrm>
            <a:custGeom>
              <a:avLst/>
              <a:gdLst>
                <a:gd name="T0" fmla="*/ 108365861 w 533"/>
                <a:gd name="T1" fmla="*/ 2038807433 h 888"/>
                <a:gd name="T2" fmla="*/ 93244914 w 533"/>
                <a:gd name="T3" fmla="*/ 2084170233 h 888"/>
                <a:gd name="T4" fmla="*/ 138607704 w 533"/>
                <a:gd name="T5" fmla="*/ 2084170233 h 888"/>
                <a:gd name="T6" fmla="*/ 201612338 w 533"/>
                <a:gd name="T7" fmla="*/ 2114412100 h 888"/>
                <a:gd name="T8" fmla="*/ 201612338 w 533"/>
                <a:gd name="T9" fmla="*/ 2147483647 h 888"/>
                <a:gd name="T10" fmla="*/ 246975153 w 533"/>
                <a:gd name="T11" fmla="*/ 2114412100 h 888"/>
                <a:gd name="T12" fmla="*/ 231854231 w 533"/>
                <a:gd name="T13" fmla="*/ 2147483647 h 888"/>
                <a:gd name="T14" fmla="*/ 262096074 w 533"/>
                <a:gd name="T15" fmla="*/ 2147483647 h 888"/>
                <a:gd name="T16" fmla="*/ 307458839 w 533"/>
                <a:gd name="T17" fmla="*/ 2147483647 h 888"/>
                <a:gd name="T18" fmla="*/ 370461886 w 533"/>
                <a:gd name="T19" fmla="*/ 2147483647 h 888"/>
                <a:gd name="T20" fmla="*/ 463708462 w 533"/>
                <a:gd name="T21" fmla="*/ 2147483647 h 888"/>
                <a:gd name="T22" fmla="*/ 556953352 w 533"/>
                <a:gd name="T23" fmla="*/ 2147483647 h 888"/>
                <a:gd name="T24" fmla="*/ 632557960 w 533"/>
                <a:gd name="T25" fmla="*/ 2147173328 h 888"/>
                <a:gd name="T26" fmla="*/ 786288124 w 533"/>
                <a:gd name="T27" fmla="*/ 2099291167 h 888"/>
                <a:gd name="T28" fmla="*/ 849291368 w 533"/>
                <a:gd name="T29" fmla="*/ 2084170233 h 888"/>
                <a:gd name="T30" fmla="*/ 927416924 w 533"/>
                <a:gd name="T31" fmla="*/ 2023686500 h 888"/>
                <a:gd name="T32" fmla="*/ 1050903657 w 533"/>
                <a:gd name="T33" fmla="*/ 1930439951 h 888"/>
                <a:gd name="T34" fmla="*/ 1141629187 w 533"/>
                <a:gd name="T35" fmla="*/ 1837194989 h 888"/>
                <a:gd name="T36" fmla="*/ 1265115920 w 533"/>
                <a:gd name="T37" fmla="*/ 1698585639 h 888"/>
                <a:gd name="T38" fmla="*/ 1265115920 w 533"/>
                <a:gd name="T39" fmla="*/ 1481851864 h 888"/>
                <a:gd name="T40" fmla="*/ 1189511312 w 533"/>
                <a:gd name="T41" fmla="*/ 1328123169 h 888"/>
                <a:gd name="T42" fmla="*/ 1156750108 w 533"/>
                <a:gd name="T43" fmla="*/ 1234876620 h 888"/>
                <a:gd name="T44" fmla="*/ 1096266422 w 533"/>
                <a:gd name="T45" fmla="*/ 1126509137 h 888"/>
                <a:gd name="T46" fmla="*/ 1111387344 w 533"/>
                <a:gd name="T47" fmla="*/ 1035785125 h 888"/>
                <a:gd name="T48" fmla="*/ 1126508265 w 533"/>
                <a:gd name="T49" fmla="*/ 957659509 h 888"/>
                <a:gd name="T50" fmla="*/ 1141629187 w 533"/>
                <a:gd name="T51" fmla="*/ 849293613 h 888"/>
                <a:gd name="T52" fmla="*/ 1033263376 w 533"/>
                <a:gd name="T53" fmla="*/ 680442199 h 888"/>
                <a:gd name="T54" fmla="*/ 1003021532 w 533"/>
                <a:gd name="T55" fmla="*/ 262096277 h 888"/>
                <a:gd name="T56" fmla="*/ 1050903657 w 533"/>
                <a:gd name="T57" fmla="*/ 78124053 h 888"/>
                <a:gd name="T58" fmla="*/ 864412290 w 533"/>
                <a:gd name="T59" fmla="*/ 0 h 888"/>
                <a:gd name="T60" fmla="*/ 725804437 w 533"/>
                <a:gd name="T61" fmla="*/ 30241879 h 888"/>
                <a:gd name="T62" fmla="*/ 647678882 w 533"/>
                <a:gd name="T63" fmla="*/ 123488466 h 888"/>
                <a:gd name="T64" fmla="*/ 632557960 w 533"/>
                <a:gd name="T65" fmla="*/ 246975344 h 888"/>
                <a:gd name="T66" fmla="*/ 524192149 w 533"/>
                <a:gd name="T67" fmla="*/ 325100960 h 888"/>
                <a:gd name="T68" fmla="*/ 400703729 w 533"/>
                <a:gd name="T69" fmla="*/ 262096277 h 888"/>
                <a:gd name="T70" fmla="*/ 216733309 w 533"/>
                <a:gd name="T71" fmla="*/ 262096277 h 888"/>
                <a:gd name="T72" fmla="*/ 30241856 w 533"/>
                <a:gd name="T73" fmla="*/ 201612494 h 888"/>
                <a:gd name="T74" fmla="*/ 123486783 w 533"/>
                <a:gd name="T75" fmla="*/ 309978439 h 888"/>
                <a:gd name="T76" fmla="*/ 277216996 w 533"/>
                <a:gd name="T77" fmla="*/ 370463760 h 888"/>
                <a:gd name="T78" fmla="*/ 370461886 w 533"/>
                <a:gd name="T79" fmla="*/ 463708821 h 888"/>
                <a:gd name="T80" fmla="*/ 340220042 w 533"/>
                <a:gd name="T81" fmla="*/ 572074716 h 888"/>
                <a:gd name="T82" fmla="*/ 385582807 w 533"/>
                <a:gd name="T83" fmla="*/ 665321266 h 888"/>
                <a:gd name="T84" fmla="*/ 385582807 w 533"/>
                <a:gd name="T85" fmla="*/ 803930615 h 888"/>
                <a:gd name="T86" fmla="*/ 433466619 w 533"/>
                <a:gd name="T87" fmla="*/ 927417642 h 888"/>
                <a:gd name="T88" fmla="*/ 509071227 w 533"/>
                <a:gd name="T89" fmla="*/ 879535480 h 888"/>
                <a:gd name="T90" fmla="*/ 509071227 w 533"/>
                <a:gd name="T91" fmla="*/ 957659509 h 888"/>
                <a:gd name="T92" fmla="*/ 572074273 w 533"/>
                <a:gd name="T93" fmla="*/ 1035785125 h 888"/>
                <a:gd name="T94" fmla="*/ 572074273 w 533"/>
                <a:gd name="T95" fmla="*/ 1081147925 h 888"/>
                <a:gd name="T96" fmla="*/ 587195195 w 533"/>
                <a:gd name="T97" fmla="*/ 1126509137 h 888"/>
                <a:gd name="T98" fmla="*/ 509071227 w 533"/>
                <a:gd name="T99" fmla="*/ 1141630071 h 888"/>
                <a:gd name="T100" fmla="*/ 433466619 w 533"/>
                <a:gd name="T101" fmla="*/ 1234876620 h 888"/>
                <a:gd name="T102" fmla="*/ 340220042 w 533"/>
                <a:gd name="T103" fmla="*/ 1328123169 h 888"/>
                <a:gd name="T104" fmla="*/ 231854231 w 533"/>
                <a:gd name="T105" fmla="*/ 1406247198 h 888"/>
                <a:gd name="T106" fmla="*/ 216733309 w 533"/>
                <a:gd name="T107" fmla="*/ 1466730931 h 888"/>
                <a:gd name="T108" fmla="*/ 138607704 w 533"/>
                <a:gd name="T109" fmla="*/ 1496972798 h 888"/>
                <a:gd name="T110" fmla="*/ 93244914 w 533"/>
                <a:gd name="T111" fmla="*/ 1544856547 h 888"/>
                <a:gd name="T112" fmla="*/ 78123993 w 533"/>
                <a:gd name="T113" fmla="*/ 1575098414 h 888"/>
                <a:gd name="T114" fmla="*/ 60483711 w 533"/>
                <a:gd name="T115" fmla="*/ 1635582147 h 888"/>
                <a:gd name="T116" fmla="*/ 93244914 w 533"/>
                <a:gd name="T117" fmla="*/ 1698585639 h 8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3"/>
                <a:gd name="T178" fmla="*/ 0 h 888"/>
                <a:gd name="T179" fmla="*/ 533 w 533"/>
                <a:gd name="T180" fmla="*/ 888 h 8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3" h="888">
                  <a:moveTo>
                    <a:pt x="31" y="790"/>
                  </a:moveTo>
                  <a:lnTo>
                    <a:pt x="37" y="790"/>
                  </a:lnTo>
                  <a:lnTo>
                    <a:pt x="31" y="790"/>
                  </a:lnTo>
                  <a:lnTo>
                    <a:pt x="31" y="796"/>
                  </a:lnTo>
                  <a:lnTo>
                    <a:pt x="37" y="796"/>
                  </a:lnTo>
                  <a:lnTo>
                    <a:pt x="37" y="790"/>
                  </a:lnTo>
                  <a:lnTo>
                    <a:pt x="43" y="796"/>
                  </a:lnTo>
                  <a:lnTo>
                    <a:pt x="37" y="796"/>
                  </a:lnTo>
                  <a:lnTo>
                    <a:pt x="37" y="803"/>
                  </a:lnTo>
                  <a:lnTo>
                    <a:pt x="43" y="809"/>
                  </a:lnTo>
                  <a:lnTo>
                    <a:pt x="37" y="809"/>
                  </a:lnTo>
                  <a:lnTo>
                    <a:pt x="37" y="815"/>
                  </a:lnTo>
                  <a:lnTo>
                    <a:pt x="43" y="815"/>
                  </a:lnTo>
                  <a:lnTo>
                    <a:pt x="37" y="821"/>
                  </a:lnTo>
                  <a:lnTo>
                    <a:pt x="43" y="821"/>
                  </a:lnTo>
                  <a:lnTo>
                    <a:pt x="37" y="821"/>
                  </a:lnTo>
                  <a:lnTo>
                    <a:pt x="37" y="815"/>
                  </a:lnTo>
                  <a:lnTo>
                    <a:pt x="31" y="815"/>
                  </a:lnTo>
                  <a:lnTo>
                    <a:pt x="31" y="821"/>
                  </a:lnTo>
                  <a:lnTo>
                    <a:pt x="37" y="827"/>
                  </a:lnTo>
                  <a:lnTo>
                    <a:pt x="43" y="827"/>
                  </a:lnTo>
                  <a:lnTo>
                    <a:pt x="43" y="833"/>
                  </a:lnTo>
                  <a:lnTo>
                    <a:pt x="43" y="827"/>
                  </a:lnTo>
                  <a:lnTo>
                    <a:pt x="49" y="827"/>
                  </a:lnTo>
                  <a:lnTo>
                    <a:pt x="55" y="821"/>
                  </a:lnTo>
                  <a:lnTo>
                    <a:pt x="49" y="821"/>
                  </a:lnTo>
                  <a:lnTo>
                    <a:pt x="55" y="821"/>
                  </a:lnTo>
                  <a:lnTo>
                    <a:pt x="55" y="827"/>
                  </a:lnTo>
                  <a:lnTo>
                    <a:pt x="55" y="833"/>
                  </a:lnTo>
                  <a:lnTo>
                    <a:pt x="55" y="827"/>
                  </a:lnTo>
                  <a:lnTo>
                    <a:pt x="61" y="827"/>
                  </a:lnTo>
                  <a:lnTo>
                    <a:pt x="61" y="833"/>
                  </a:lnTo>
                  <a:lnTo>
                    <a:pt x="55" y="833"/>
                  </a:lnTo>
                  <a:lnTo>
                    <a:pt x="55" y="839"/>
                  </a:lnTo>
                  <a:lnTo>
                    <a:pt x="61" y="839"/>
                  </a:lnTo>
                  <a:lnTo>
                    <a:pt x="67" y="839"/>
                  </a:lnTo>
                  <a:lnTo>
                    <a:pt x="67" y="833"/>
                  </a:lnTo>
                  <a:lnTo>
                    <a:pt x="73" y="833"/>
                  </a:lnTo>
                  <a:lnTo>
                    <a:pt x="80" y="833"/>
                  </a:lnTo>
                  <a:lnTo>
                    <a:pt x="80" y="839"/>
                  </a:lnTo>
                  <a:lnTo>
                    <a:pt x="86" y="839"/>
                  </a:lnTo>
                  <a:lnTo>
                    <a:pt x="86" y="845"/>
                  </a:lnTo>
                  <a:lnTo>
                    <a:pt x="80" y="845"/>
                  </a:lnTo>
                  <a:lnTo>
                    <a:pt x="73" y="845"/>
                  </a:lnTo>
                  <a:lnTo>
                    <a:pt x="73" y="852"/>
                  </a:lnTo>
                  <a:lnTo>
                    <a:pt x="80" y="852"/>
                  </a:lnTo>
                  <a:lnTo>
                    <a:pt x="73" y="845"/>
                  </a:lnTo>
                  <a:lnTo>
                    <a:pt x="80" y="845"/>
                  </a:lnTo>
                  <a:lnTo>
                    <a:pt x="80" y="852"/>
                  </a:lnTo>
                  <a:lnTo>
                    <a:pt x="80" y="858"/>
                  </a:lnTo>
                  <a:lnTo>
                    <a:pt x="86" y="858"/>
                  </a:lnTo>
                  <a:lnTo>
                    <a:pt x="86" y="852"/>
                  </a:lnTo>
                  <a:lnTo>
                    <a:pt x="86" y="845"/>
                  </a:lnTo>
                  <a:lnTo>
                    <a:pt x="86" y="852"/>
                  </a:lnTo>
                  <a:lnTo>
                    <a:pt x="92" y="852"/>
                  </a:lnTo>
                  <a:lnTo>
                    <a:pt x="92" y="845"/>
                  </a:lnTo>
                  <a:lnTo>
                    <a:pt x="92" y="839"/>
                  </a:lnTo>
                  <a:lnTo>
                    <a:pt x="92" y="845"/>
                  </a:lnTo>
                  <a:lnTo>
                    <a:pt x="92" y="839"/>
                  </a:lnTo>
                  <a:lnTo>
                    <a:pt x="98" y="839"/>
                  </a:lnTo>
                  <a:lnTo>
                    <a:pt x="92" y="845"/>
                  </a:lnTo>
                  <a:lnTo>
                    <a:pt x="92" y="852"/>
                  </a:lnTo>
                  <a:lnTo>
                    <a:pt x="98" y="845"/>
                  </a:lnTo>
                  <a:lnTo>
                    <a:pt x="98" y="852"/>
                  </a:lnTo>
                  <a:lnTo>
                    <a:pt x="92" y="852"/>
                  </a:lnTo>
                  <a:lnTo>
                    <a:pt x="92" y="858"/>
                  </a:lnTo>
                  <a:lnTo>
                    <a:pt x="86" y="858"/>
                  </a:lnTo>
                  <a:lnTo>
                    <a:pt x="92" y="858"/>
                  </a:lnTo>
                  <a:lnTo>
                    <a:pt x="98" y="858"/>
                  </a:lnTo>
                  <a:lnTo>
                    <a:pt x="92" y="858"/>
                  </a:lnTo>
                  <a:lnTo>
                    <a:pt x="92" y="864"/>
                  </a:lnTo>
                  <a:lnTo>
                    <a:pt x="86" y="864"/>
                  </a:lnTo>
                  <a:lnTo>
                    <a:pt x="86" y="870"/>
                  </a:lnTo>
                  <a:lnTo>
                    <a:pt x="86" y="876"/>
                  </a:lnTo>
                  <a:lnTo>
                    <a:pt x="92" y="876"/>
                  </a:lnTo>
                  <a:lnTo>
                    <a:pt x="98" y="876"/>
                  </a:lnTo>
                  <a:lnTo>
                    <a:pt x="104" y="876"/>
                  </a:lnTo>
                  <a:lnTo>
                    <a:pt x="110" y="870"/>
                  </a:lnTo>
                  <a:lnTo>
                    <a:pt x="104" y="870"/>
                  </a:lnTo>
                  <a:lnTo>
                    <a:pt x="104" y="864"/>
                  </a:lnTo>
                  <a:lnTo>
                    <a:pt x="110" y="864"/>
                  </a:lnTo>
                  <a:lnTo>
                    <a:pt x="110" y="858"/>
                  </a:lnTo>
                  <a:lnTo>
                    <a:pt x="116" y="864"/>
                  </a:lnTo>
                  <a:lnTo>
                    <a:pt x="110" y="864"/>
                  </a:lnTo>
                  <a:lnTo>
                    <a:pt x="116" y="864"/>
                  </a:lnTo>
                  <a:lnTo>
                    <a:pt x="116" y="870"/>
                  </a:lnTo>
                  <a:lnTo>
                    <a:pt x="110" y="876"/>
                  </a:lnTo>
                  <a:lnTo>
                    <a:pt x="110" y="882"/>
                  </a:lnTo>
                  <a:lnTo>
                    <a:pt x="116" y="882"/>
                  </a:lnTo>
                  <a:lnTo>
                    <a:pt x="122" y="876"/>
                  </a:lnTo>
                  <a:lnTo>
                    <a:pt x="129" y="876"/>
                  </a:lnTo>
                  <a:lnTo>
                    <a:pt x="122" y="882"/>
                  </a:lnTo>
                  <a:lnTo>
                    <a:pt x="116" y="882"/>
                  </a:lnTo>
                  <a:lnTo>
                    <a:pt x="116" y="888"/>
                  </a:lnTo>
                  <a:lnTo>
                    <a:pt x="122" y="888"/>
                  </a:lnTo>
                  <a:lnTo>
                    <a:pt x="129" y="888"/>
                  </a:lnTo>
                  <a:lnTo>
                    <a:pt x="129" y="882"/>
                  </a:lnTo>
                  <a:lnTo>
                    <a:pt x="135" y="882"/>
                  </a:lnTo>
                  <a:lnTo>
                    <a:pt x="135" y="876"/>
                  </a:lnTo>
                  <a:lnTo>
                    <a:pt x="147" y="876"/>
                  </a:lnTo>
                  <a:lnTo>
                    <a:pt x="153" y="876"/>
                  </a:lnTo>
                  <a:lnTo>
                    <a:pt x="159" y="876"/>
                  </a:lnTo>
                  <a:lnTo>
                    <a:pt x="165" y="870"/>
                  </a:lnTo>
                  <a:lnTo>
                    <a:pt x="172" y="870"/>
                  </a:lnTo>
                  <a:lnTo>
                    <a:pt x="178" y="870"/>
                  </a:lnTo>
                  <a:lnTo>
                    <a:pt x="178" y="864"/>
                  </a:lnTo>
                  <a:lnTo>
                    <a:pt x="184" y="864"/>
                  </a:lnTo>
                  <a:lnTo>
                    <a:pt x="184" y="870"/>
                  </a:lnTo>
                  <a:lnTo>
                    <a:pt x="184" y="876"/>
                  </a:lnTo>
                  <a:lnTo>
                    <a:pt x="184" y="870"/>
                  </a:lnTo>
                  <a:lnTo>
                    <a:pt x="190" y="870"/>
                  </a:lnTo>
                  <a:lnTo>
                    <a:pt x="184" y="870"/>
                  </a:lnTo>
                  <a:lnTo>
                    <a:pt x="184" y="876"/>
                  </a:lnTo>
                  <a:lnTo>
                    <a:pt x="190" y="876"/>
                  </a:lnTo>
                  <a:lnTo>
                    <a:pt x="190" y="870"/>
                  </a:lnTo>
                  <a:lnTo>
                    <a:pt x="196" y="864"/>
                  </a:lnTo>
                  <a:lnTo>
                    <a:pt x="202" y="864"/>
                  </a:lnTo>
                  <a:lnTo>
                    <a:pt x="208" y="858"/>
                  </a:lnTo>
                  <a:lnTo>
                    <a:pt x="214" y="858"/>
                  </a:lnTo>
                  <a:lnTo>
                    <a:pt x="221" y="858"/>
                  </a:lnTo>
                  <a:lnTo>
                    <a:pt x="221" y="852"/>
                  </a:lnTo>
                  <a:lnTo>
                    <a:pt x="227" y="852"/>
                  </a:lnTo>
                  <a:lnTo>
                    <a:pt x="233" y="852"/>
                  </a:lnTo>
                  <a:lnTo>
                    <a:pt x="239" y="852"/>
                  </a:lnTo>
                  <a:lnTo>
                    <a:pt x="239" y="845"/>
                  </a:lnTo>
                  <a:lnTo>
                    <a:pt x="245" y="845"/>
                  </a:lnTo>
                  <a:lnTo>
                    <a:pt x="245" y="839"/>
                  </a:lnTo>
                  <a:lnTo>
                    <a:pt x="245" y="845"/>
                  </a:lnTo>
                  <a:lnTo>
                    <a:pt x="245" y="852"/>
                  </a:lnTo>
                  <a:lnTo>
                    <a:pt x="251" y="852"/>
                  </a:lnTo>
                  <a:lnTo>
                    <a:pt x="257" y="852"/>
                  </a:lnTo>
                  <a:lnTo>
                    <a:pt x="263" y="852"/>
                  </a:lnTo>
                  <a:lnTo>
                    <a:pt x="270" y="845"/>
                  </a:lnTo>
                  <a:lnTo>
                    <a:pt x="276" y="839"/>
                  </a:lnTo>
                  <a:lnTo>
                    <a:pt x="288" y="839"/>
                  </a:lnTo>
                  <a:lnTo>
                    <a:pt x="294" y="839"/>
                  </a:lnTo>
                  <a:lnTo>
                    <a:pt x="294" y="833"/>
                  </a:lnTo>
                  <a:lnTo>
                    <a:pt x="300" y="833"/>
                  </a:lnTo>
                  <a:lnTo>
                    <a:pt x="306" y="833"/>
                  </a:lnTo>
                  <a:lnTo>
                    <a:pt x="312" y="833"/>
                  </a:lnTo>
                  <a:lnTo>
                    <a:pt x="312" y="839"/>
                  </a:lnTo>
                  <a:lnTo>
                    <a:pt x="312" y="833"/>
                  </a:lnTo>
                  <a:lnTo>
                    <a:pt x="312" y="827"/>
                  </a:lnTo>
                  <a:lnTo>
                    <a:pt x="319" y="827"/>
                  </a:lnTo>
                  <a:lnTo>
                    <a:pt x="325" y="827"/>
                  </a:lnTo>
                  <a:lnTo>
                    <a:pt x="331" y="827"/>
                  </a:lnTo>
                  <a:lnTo>
                    <a:pt x="331" y="833"/>
                  </a:lnTo>
                  <a:lnTo>
                    <a:pt x="337" y="833"/>
                  </a:lnTo>
                  <a:lnTo>
                    <a:pt x="331" y="827"/>
                  </a:lnTo>
                  <a:lnTo>
                    <a:pt x="337" y="827"/>
                  </a:lnTo>
                  <a:lnTo>
                    <a:pt x="343" y="833"/>
                  </a:lnTo>
                  <a:lnTo>
                    <a:pt x="343" y="827"/>
                  </a:lnTo>
                  <a:lnTo>
                    <a:pt x="337" y="827"/>
                  </a:lnTo>
                  <a:lnTo>
                    <a:pt x="343" y="827"/>
                  </a:lnTo>
                  <a:lnTo>
                    <a:pt x="349" y="827"/>
                  </a:lnTo>
                  <a:lnTo>
                    <a:pt x="343" y="827"/>
                  </a:lnTo>
                  <a:lnTo>
                    <a:pt x="349" y="821"/>
                  </a:lnTo>
                  <a:lnTo>
                    <a:pt x="361" y="815"/>
                  </a:lnTo>
                  <a:lnTo>
                    <a:pt x="361" y="809"/>
                  </a:lnTo>
                  <a:lnTo>
                    <a:pt x="368" y="803"/>
                  </a:lnTo>
                  <a:lnTo>
                    <a:pt x="374" y="796"/>
                  </a:lnTo>
                  <a:lnTo>
                    <a:pt x="380" y="790"/>
                  </a:lnTo>
                  <a:lnTo>
                    <a:pt x="386" y="790"/>
                  </a:lnTo>
                  <a:lnTo>
                    <a:pt x="392" y="784"/>
                  </a:lnTo>
                  <a:lnTo>
                    <a:pt x="392" y="778"/>
                  </a:lnTo>
                  <a:lnTo>
                    <a:pt x="398" y="778"/>
                  </a:lnTo>
                  <a:lnTo>
                    <a:pt x="398" y="772"/>
                  </a:lnTo>
                  <a:lnTo>
                    <a:pt x="404" y="772"/>
                  </a:lnTo>
                  <a:lnTo>
                    <a:pt x="410" y="766"/>
                  </a:lnTo>
                  <a:lnTo>
                    <a:pt x="417" y="766"/>
                  </a:lnTo>
                  <a:lnTo>
                    <a:pt x="417" y="760"/>
                  </a:lnTo>
                  <a:lnTo>
                    <a:pt x="423" y="760"/>
                  </a:lnTo>
                  <a:lnTo>
                    <a:pt x="423" y="754"/>
                  </a:lnTo>
                  <a:lnTo>
                    <a:pt x="429" y="747"/>
                  </a:lnTo>
                  <a:lnTo>
                    <a:pt x="435" y="747"/>
                  </a:lnTo>
                  <a:lnTo>
                    <a:pt x="435" y="741"/>
                  </a:lnTo>
                  <a:lnTo>
                    <a:pt x="441" y="741"/>
                  </a:lnTo>
                  <a:lnTo>
                    <a:pt x="441" y="735"/>
                  </a:lnTo>
                  <a:lnTo>
                    <a:pt x="447" y="729"/>
                  </a:lnTo>
                  <a:lnTo>
                    <a:pt x="453" y="729"/>
                  </a:lnTo>
                  <a:lnTo>
                    <a:pt x="453" y="723"/>
                  </a:lnTo>
                  <a:lnTo>
                    <a:pt x="459" y="717"/>
                  </a:lnTo>
                  <a:lnTo>
                    <a:pt x="466" y="711"/>
                  </a:lnTo>
                  <a:lnTo>
                    <a:pt x="472" y="705"/>
                  </a:lnTo>
                  <a:lnTo>
                    <a:pt x="478" y="698"/>
                  </a:lnTo>
                  <a:lnTo>
                    <a:pt x="484" y="692"/>
                  </a:lnTo>
                  <a:lnTo>
                    <a:pt x="484" y="686"/>
                  </a:lnTo>
                  <a:lnTo>
                    <a:pt x="490" y="680"/>
                  </a:lnTo>
                  <a:lnTo>
                    <a:pt x="496" y="674"/>
                  </a:lnTo>
                  <a:lnTo>
                    <a:pt x="502" y="674"/>
                  </a:lnTo>
                  <a:lnTo>
                    <a:pt x="502" y="668"/>
                  </a:lnTo>
                  <a:lnTo>
                    <a:pt x="509" y="662"/>
                  </a:lnTo>
                  <a:lnTo>
                    <a:pt x="515" y="656"/>
                  </a:lnTo>
                  <a:lnTo>
                    <a:pt x="521" y="649"/>
                  </a:lnTo>
                  <a:lnTo>
                    <a:pt x="533" y="625"/>
                  </a:lnTo>
                  <a:lnTo>
                    <a:pt x="527" y="613"/>
                  </a:lnTo>
                  <a:lnTo>
                    <a:pt x="515" y="600"/>
                  </a:lnTo>
                  <a:lnTo>
                    <a:pt x="515" y="594"/>
                  </a:lnTo>
                  <a:lnTo>
                    <a:pt x="509" y="588"/>
                  </a:lnTo>
                  <a:lnTo>
                    <a:pt x="502" y="588"/>
                  </a:lnTo>
                  <a:lnTo>
                    <a:pt x="502" y="582"/>
                  </a:lnTo>
                  <a:lnTo>
                    <a:pt x="496" y="582"/>
                  </a:lnTo>
                  <a:lnTo>
                    <a:pt x="496" y="576"/>
                  </a:lnTo>
                  <a:lnTo>
                    <a:pt x="478" y="570"/>
                  </a:lnTo>
                  <a:lnTo>
                    <a:pt x="472" y="564"/>
                  </a:lnTo>
                  <a:lnTo>
                    <a:pt x="453" y="545"/>
                  </a:lnTo>
                  <a:lnTo>
                    <a:pt x="459" y="539"/>
                  </a:lnTo>
                  <a:lnTo>
                    <a:pt x="466" y="539"/>
                  </a:lnTo>
                  <a:lnTo>
                    <a:pt x="472" y="533"/>
                  </a:lnTo>
                  <a:lnTo>
                    <a:pt x="472" y="527"/>
                  </a:lnTo>
                  <a:lnTo>
                    <a:pt x="478" y="527"/>
                  </a:lnTo>
                  <a:lnTo>
                    <a:pt x="478" y="521"/>
                  </a:lnTo>
                  <a:lnTo>
                    <a:pt x="484" y="521"/>
                  </a:lnTo>
                  <a:lnTo>
                    <a:pt x="484" y="515"/>
                  </a:lnTo>
                  <a:lnTo>
                    <a:pt x="478" y="509"/>
                  </a:lnTo>
                  <a:lnTo>
                    <a:pt x="478" y="502"/>
                  </a:lnTo>
                  <a:lnTo>
                    <a:pt x="472" y="502"/>
                  </a:lnTo>
                  <a:lnTo>
                    <a:pt x="472" y="496"/>
                  </a:lnTo>
                  <a:lnTo>
                    <a:pt x="466" y="496"/>
                  </a:lnTo>
                  <a:lnTo>
                    <a:pt x="459" y="490"/>
                  </a:lnTo>
                  <a:lnTo>
                    <a:pt x="459" y="484"/>
                  </a:lnTo>
                  <a:lnTo>
                    <a:pt x="453" y="478"/>
                  </a:lnTo>
                  <a:lnTo>
                    <a:pt x="453" y="472"/>
                  </a:lnTo>
                  <a:lnTo>
                    <a:pt x="459" y="472"/>
                  </a:lnTo>
                  <a:lnTo>
                    <a:pt x="459" y="466"/>
                  </a:lnTo>
                  <a:lnTo>
                    <a:pt x="459" y="460"/>
                  </a:lnTo>
                  <a:lnTo>
                    <a:pt x="453" y="453"/>
                  </a:lnTo>
                  <a:lnTo>
                    <a:pt x="447" y="453"/>
                  </a:lnTo>
                  <a:lnTo>
                    <a:pt x="441" y="453"/>
                  </a:lnTo>
                  <a:lnTo>
                    <a:pt x="435" y="447"/>
                  </a:lnTo>
                  <a:lnTo>
                    <a:pt x="435" y="441"/>
                  </a:lnTo>
                  <a:lnTo>
                    <a:pt x="435" y="435"/>
                  </a:lnTo>
                  <a:lnTo>
                    <a:pt x="441" y="435"/>
                  </a:lnTo>
                  <a:lnTo>
                    <a:pt x="441" y="429"/>
                  </a:lnTo>
                  <a:lnTo>
                    <a:pt x="447" y="429"/>
                  </a:lnTo>
                  <a:lnTo>
                    <a:pt x="447" y="423"/>
                  </a:lnTo>
                  <a:lnTo>
                    <a:pt x="441" y="417"/>
                  </a:lnTo>
                  <a:lnTo>
                    <a:pt x="435" y="417"/>
                  </a:lnTo>
                  <a:lnTo>
                    <a:pt x="441" y="417"/>
                  </a:lnTo>
                  <a:lnTo>
                    <a:pt x="441" y="411"/>
                  </a:lnTo>
                  <a:lnTo>
                    <a:pt x="447" y="411"/>
                  </a:lnTo>
                  <a:lnTo>
                    <a:pt x="447" y="404"/>
                  </a:lnTo>
                  <a:lnTo>
                    <a:pt x="441" y="404"/>
                  </a:lnTo>
                  <a:lnTo>
                    <a:pt x="441" y="398"/>
                  </a:lnTo>
                  <a:lnTo>
                    <a:pt x="447" y="398"/>
                  </a:lnTo>
                  <a:lnTo>
                    <a:pt x="447" y="392"/>
                  </a:lnTo>
                  <a:lnTo>
                    <a:pt x="453" y="392"/>
                  </a:lnTo>
                  <a:lnTo>
                    <a:pt x="447" y="386"/>
                  </a:lnTo>
                  <a:lnTo>
                    <a:pt x="441" y="380"/>
                  </a:lnTo>
                  <a:lnTo>
                    <a:pt x="447" y="380"/>
                  </a:lnTo>
                  <a:lnTo>
                    <a:pt x="453" y="380"/>
                  </a:lnTo>
                  <a:lnTo>
                    <a:pt x="459" y="380"/>
                  </a:lnTo>
                  <a:lnTo>
                    <a:pt x="466" y="380"/>
                  </a:lnTo>
                  <a:lnTo>
                    <a:pt x="466" y="374"/>
                  </a:lnTo>
                  <a:lnTo>
                    <a:pt x="459" y="368"/>
                  </a:lnTo>
                  <a:lnTo>
                    <a:pt x="459" y="362"/>
                  </a:lnTo>
                  <a:lnTo>
                    <a:pt x="459" y="355"/>
                  </a:lnTo>
                  <a:lnTo>
                    <a:pt x="459" y="349"/>
                  </a:lnTo>
                  <a:lnTo>
                    <a:pt x="453" y="343"/>
                  </a:lnTo>
                  <a:lnTo>
                    <a:pt x="453" y="337"/>
                  </a:lnTo>
                  <a:lnTo>
                    <a:pt x="447" y="331"/>
                  </a:lnTo>
                  <a:lnTo>
                    <a:pt x="441" y="325"/>
                  </a:lnTo>
                  <a:lnTo>
                    <a:pt x="441" y="319"/>
                  </a:lnTo>
                  <a:lnTo>
                    <a:pt x="435" y="313"/>
                  </a:lnTo>
                  <a:lnTo>
                    <a:pt x="435" y="306"/>
                  </a:lnTo>
                  <a:lnTo>
                    <a:pt x="429" y="300"/>
                  </a:lnTo>
                  <a:lnTo>
                    <a:pt x="423" y="294"/>
                  </a:lnTo>
                  <a:lnTo>
                    <a:pt x="417" y="282"/>
                  </a:lnTo>
                  <a:lnTo>
                    <a:pt x="410" y="276"/>
                  </a:lnTo>
                  <a:lnTo>
                    <a:pt x="410" y="270"/>
                  </a:lnTo>
                  <a:lnTo>
                    <a:pt x="435" y="239"/>
                  </a:lnTo>
                  <a:lnTo>
                    <a:pt x="441" y="239"/>
                  </a:lnTo>
                  <a:lnTo>
                    <a:pt x="453" y="221"/>
                  </a:lnTo>
                  <a:lnTo>
                    <a:pt x="459" y="208"/>
                  </a:lnTo>
                  <a:lnTo>
                    <a:pt x="441" y="196"/>
                  </a:lnTo>
                  <a:lnTo>
                    <a:pt x="423" y="172"/>
                  </a:lnTo>
                  <a:lnTo>
                    <a:pt x="392" y="159"/>
                  </a:lnTo>
                  <a:lnTo>
                    <a:pt x="380" y="129"/>
                  </a:lnTo>
                  <a:lnTo>
                    <a:pt x="398" y="117"/>
                  </a:lnTo>
                  <a:lnTo>
                    <a:pt x="398" y="104"/>
                  </a:lnTo>
                  <a:lnTo>
                    <a:pt x="392" y="104"/>
                  </a:lnTo>
                  <a:lnTo>
                    <a:pt x="386" y="104"/>
                  </a:lnTo>
                  <a:lnTo>
                    <a:pt x="380" y="98"/>
                  </a:lnTo>
                  <a:lnTo>
                    <a:pt x="404" y="86"/>
                  </a:lnTo>
                  <a:lnTo>
                    <a:pt x="398" y="86"/>
                  </a:lnTo>
                  <a:lnTo>
                    <a:pt x="398" y="80"/>
                  </a:lnTo>
                  <a:lnTo>
                    <a:pt x="404" y="80"/>
                  </a:lnTo>
                  <a:lnTo>
                    <a:pt x="404" y="74"/>
                  </a:lnTo>
                  <a:lnTo>
                    <a:pt x="429" y="49"/>
                  </a:lnTo>
                  <a:lnTo>
                    <a:pt x="417" y="31"/>
                  </a:lnTo>
                  <a:lnTo>
                    <a:pt x="380" y="19"/>
                  </a:lnTo>
                  <a:lnTo>
                    <a:pt x="380" y="12"/>
                  </a:lnTo>
                  <a:lnTo>
                    <a:pt x="374" y="12"/>
                  </a:lnTo>
                  <a:lnTo>
                    <a:pt x="368" y="12"/>
                  </a:lnTo>
                  <a:lnTo>
                    <a:pt x="368" y="6"/>
                  </a:lnTo>
                  <a:lnTo>
                    <a:pt x="361" y="6"/>
                  </a:lnTo>
                  <a:lnTo>
                    <a:pt x="361" y="0"/>
                  </a:lnTo>
                  <a:lnTo>
                    <a:pt x="355" y="0"/>
                  </a:lnTo>
                  <a:lnTo>
                    <a:pt x="349" y="0"/>
                  </a:lnTo>
                  <a:lnTo>
                    <a:pt x="343" y="0"/>
                  </a:lnTo>
                  <a:lnTo>
                    <a:pt x="337" y="0"/>
                  </a:lnTo>
                  <a:lnTo>
                    <a:pt x="331" y="6"/>
                  </a:lnTo>
                  <a:lnTo>
                    <a:pt x="325" y="6"/>
                  </a:lnTo>
                  <a:lnTo>
                    <a:pt x="312" y="12"/>
                  </a:lnTo>
                  <a:lnTo>
                    <a:pt x="306" y="12"/>
                  </a:lnTo>
                  <a:lnTo>
                    <a:pt x="306" y="6"/>
                  </a:lnTo>
                  <a:lnTo>
                    <a:pt x="300" y="12"/>
                  </a:lnTo>
                  <a:lnTo>
                    <a:pt x="300" y="6"/>
                  </a:lnTo>
                  <a:lnTo>
                    <a:pt x="294" y="12"/>
                  </a:lnTo>
                  <a:lnTo>
                    <a:pt x="288" y="12"/>
                  </a:lnTo>
                  <a:lnTo>
                    <a:pt x="282" y="19"/>
                  </a:lnTo>
                  <a:lnTo>
                    <a:pt x="276" y="25"/>
                  </a:lnTo>
                  <a:lnTo>
                    <a:pt x="270" y="25"/>
                  </a:lnTo>
                  <a:lnTo>
                    <a:pt x="270" y="31"/>
                  </a:lnTo>
                  <a:lnTo>
                    <a:pt x="263" y="31"/>
                  </a:lnTo>
                  <a:lnTo>
                    <a:pt x="257" y="37"/>
                  </a:lnTo>
                  <a:lnTo>
                    <a:pt x="263" y="37"/>
                  </a:lnTo>
                  <a:lnTo>
                    <a:pt x="263" y="43"/>
                  </a:lnTo>
                  <a:lnTo>
                    <a:pt x="257" y="43"/>
                  </a:lnTo>
                  <a:lnTo>
                    <a:pt x="257" y="49"/>
                  </a:lnTo>
                  <a:lnTo>
                    <a:pt x="257" y="55"/>
                  </a:lnTo>
                  <a:lnTo>
                    <a:pt x="257" y="61"/>
                  </a:lnTo>
                  <a:lnTo>
                    <a:pt x="251" y="61"/>
                  </a:lnTo>
                  <a:lnTo>
                    <a:pt x="251" y="68"/>
                  </a:lnTo>
                  <a:lnTo>
                    <a:pt x="245" y="74"/>
                  </a:lnTo>
                  <a:lnTo>
                    <a:pt x="251" y="74"/>
                  </a:lnTo>
                  <a:lnTo>
                    <a:pt x="251" y="80"/>
                  </a:lnTo>
                  <a:lnTo>
                    <a:pt x="251" y="86"/>
                  </a:lnTo>
                  <a:lnTo>
                    <a:pt x="251" y="92"/>
                  </a:lnTo>
                  <a:lnTo>
                    <a:pt x="251" y="98"/>
                  </a:lnTo>
                  <a:lnTo>
                    <a:pt x="245" y="98"/>
                  </a:lnTo>
                  <a:lnTo>
                    <a:pt x="239" y="104"/>
                  </a:lnTo>
                  <a:lnTo>
                    <a:pt x="233" y="104"/>
                  </a:lnTo>
                  <a:lnTo>
                    <a:pt x="227" y="104"/>
                  </a:lnTo>
                  <a:lnTo>
                    <a:pt x="227" y="110"/>
                  </a:lnTo>
                  <a:lnTo>
                    <a:pt x="221" y="110"/>
                  </a:lnTo>
                  <a:lnTo>
                    <a:pt x="221" y="117"/>
                  </a:lnTo>
                  <a:lnTo>
                    <a:pt x="221" y="123"/>
                  </a:lnTo>
                  <a:lnTo>
                    <a:pt x="214" y="129"/>
                  </a:lnTo>
                  <a:lnTo>
                    <a:pt x="208" y="129"/>
                  </a:lnTo>
                  <a:lnTo>
                    <a:pt x="202" y="123"/>
                  </a:lnTo>
                  <a:lnTo>
                    <a:pt x="196" y="123"/>
                  </a:lnTo>
                  <a:lnTo>
                    <a:pt x="196" y="117"/>
                  </a:lnTo>
                  <a:lnTo>
                    <a:pt x="190" y="117"/>
                  </a:lnTo>
                  <a:lnTo>
                    <a:pt x="184" y="117"/>
                  </a:lnTo>
                  <a:lnTo>
                    <a:pt x="178" y="117"/>
                  </a:lnTo>
                  <a:lnTo>
                    <a:pt x="172" y="110"/>
                  </a:lnTo>
                  <a:lnTo>
                    <a:pt x="165" y="110"/>
                  </a:lnTo>
                  <a:lnTo>
                    <a:pt x="165" y="104"/>
                  </a:lnTo>
                  <a:lnTo>
                    <a:pt x="159" y="104"/>
                  </a:lnTo>
                  <a:lnTo>
                    <a:pt x="159" y="110"/>
                  </a:lnTo>
                  <a:lnTo>
                    <a:pt x="153" y="110"/>
                  </a:lnTo>
                  <a:lnTo>
                    <a:pt x="153" y="117"/>
                  </a:lnTo>
                  <a:lnTo>
                    <a:pt x="141" y="117"/>
                  </a:lnTo>
                  <a:lnTo>
                    <a:pt x="129" y="123"/>
                  </a:lnTo>
                  <a:lnTo>
                    <a:pt x="122" y="117"/>
                  </a:lnTo>
                  <a:lnTo>
                    <a:pt x="110" y="117"/>
                  </a:lnTo>
                  <a:lnTo>
                    <a:pt x="98" y="117"/>
                  </a:lnTo>
                  <a:lnTo>
                    <a:pt x="92" y="117"/>
                  </a:lnTo>
                  <a:lnTo>
                    <a:pt x="86" y="104"/>
                  </a:lnTo>
                  <a:lnTo>
                    <a:pt x="80" y="98"/>
                  </a:lnTo>
                  <a:lnTo>
                    <a:pt x="67" y="86"/>
                  </a:lnTo>
                  <a:lnTo>
                    <a:pt x="55" y="68"/>
                  </a:lnTo>
                  <a:lnTo>
                    <a:pt x="37" y="68"/>
                  </a:lnTo>
                  <a:lnTo>
                    <a:pt x="24" y="68"/>
                  </a:lnTo>
                  <a:lnTo>
                    <a:pt x="24" y="74"/>
                  </a:lnTo>
                  <a:lnTo>
                    <a:pt x="18" y="74"/>
                  </a:lnTo>
                  <a:lnTo>
                    <a:pt x="24" y="80"/>
                  </a:lnTo>
                  <a:lnTo>
                    <a:pt x="24" y="86"/>
                  </a:lnTo>
                  <a:lnTo>
                    <a:pt x="12" y="80"/>
                  </a:lnTo>
                  <a:lnTo>
                    <a:pt x="0" y="86"/>
                  </a:lnTo>
                  <a:lnTo>
                    <a:pt x="6" y="86"/>
                  </a:lnTo>
                  <a:lnTo>
                    <a:pt x="12" y="92"/>
                  </a:lnTo>
                  <a:lnTo>
                    <a:pt x="12" y="98"/>
                  </a:lnTo>
                  <a:lnTo>
                    <a:pt x="24" y="104"/>
                  </a:lnTo>
                  <a:lnTo>
                    <a:pt x="31" y="110"/>
                  </a:lnTo>
                  <a:lnTo>
                    <a:pt x="37" y="117"/>
                  </a:lnTo>
                  <a:lnTo>
                    <a:pt x="37" y="123"/>
                  </a:lnTo>
                  <a:lnTo>
                    <a:pt x="43" y="123"/>
                  </a:lnTo>
                  <a:lnTo>
                    <a:pt x="49" y="123"/>
                  </a:lnTo>
                  <a:lnTo>
                    <a:pt x="55" y="129"/>
                  </a:lnTo>
                  <a:lnTo>
                    <a:pt x="61" y="129"/>
                  </a:lnTo>
                  <a:lnTo>
                    <a:pt x="67" y="129"/>
                  </a:lnTo>
                  <a:lnTo>
                    <a:pt x="67" y="135"/>
                  </a:lnTo>
                  <a:lnTo>
                    <a:pt x="73" y="141"/>
                  </a:lnTo>
                  <a:lnTo>
                    <a:pt x="80" y="135"/>
                  </a:lnTo>
                  <a:lnTo>
                    <a:pt x="86" y="141"/>
                  </a:lnTo>
                  <a:lnTo>
                    <a:pt x="98" y="141"/>
                  </a:lnTo>
                  <a:lnTo>
                    <a:pt x="104" y="141"/>
                  </a:lnTo>
                  <a:lnTo>
                    <a:pt x="110" y="147"/>
                  </a:lnTo>
                  <a:lnTo>
                    <a:pt x="116" y="153"/>
                  </a:lnTo>
                  <a:lnTo>
                    <a:pt x="122" y="153"/>
                  </a:lnTo>
                  <a:lnTo>
                    <a:pt x="122" y="159"/>
                  </a:lnTo>
                  <a:lnTo>
                    <a:pt x="122" y="166"/>
                  </a:lnTo>
                  <a:lnTo>
                    <a:pt x="129" y="166"/>
                  </a:lnTo>
                  <a:lnTo>
                    <a:pt x="135" y="172"/>
                  </a:lnTo>
                  <a:lnTo>
                    <a:pt x="135" y="178"/>
                  </a:lnTo>
                  <a:lnTo>
                    <a:pt x="141" y="178"/>
                  </a:lnTo>
                  <a:lnTo>
                    <a:pt x="147" y="178"/>
                  </a:lnTo>
                  <a:lnTo>
                    <a:pt x="147" y="184"/>
                  </a:lnTo>
                  <a:lnTo>
                    <a:pt x="147" y="190"/>
                  </a:lnTo>
                  <a:lnTo>
                    <a:pt x="141" y="190"/>
                  </a:lnTo>
                  <a:lnTo>
                    <a:pt x="141" y="202"/>
                  </a:lnTo>
                  <a:lnTo>
                    <a:pt x="141" y="208"/>
                  </a:lnTo>
                  <a:lnTo>
                    <a:pt x="147" y="208"/>
                  </a:lnTo>
                  <a:lnTo>
                    <a:pt x="147" y="215"/>
                  </a:lnTo>
                  <a:lnTo>
                    <a:pt x="141" y="215"/>
                  </a:lnTo>
                  <a:lnTo>
                    <a:pt x="141" y="221"/>
                  </a:lnTo>
                  <a:lnTo>
                    <a:pt x="135" y="221"/>
                  </a:lnTo>
                  <a:lnTo>
                    <a:pt x="135" y="227"/>
                  </a:lnTo>
                  <a:lnTo>
                    <a:pt x="141" y="227"/>
                  </a:lnTo>
                  <a:lnTo>
                    <a:pt x="147" y="227"/>
                  </a:lnTo>
                  <a:lnTo>
                    <a:pt x="153" y="227"/>
                  </a:lnTo>
                  <a:lnTo>
                    <a:pt x="153" y="233"/>
                  </a:lnTo>
                  <a:lnTo>
                    <a:pt x="153" y="239"/>
                  </a:lnTo>
                  <a:lnTo>
                    <a:pt x="147" y="239"/>
                  </a:lnTo>
                  <a:lnTo>
                    <a:pt x="147" y="245"/>
                  </a:lnTo>
                  <a:lnTo>
                    <a:pt x="147" y="251"/>
                  </a:lnTo>
                  <a:lnTo>
                    <a:pt x="153" y="257"/>
                  </a:lnTo>
                  <a:lnTo>
                    <a:pt x="153" y="264"/>
                  </a:lnTo>
                  <a:lnTo>
                    <a:pt x="159" y="270"/>
                  </a:lnTo>
                  <a:lnTo>
                    <a:pt x="165" y="276"/>
                  </a:lnTo>
                  <a:lnTo>
                    <a:pt x="165" y="282"/>
                  </a:lnTo>
                  <a:lnTo>
                    <a:pt x="159" y="288"/>
                  </a:lnTo>
                  <a:lnTo>
                    <a:pt x="159" y="294"/>
                  </a:lnTo>
                  <a:lnTo>
                    <a:pt x="159" y="300"/>
                  </a:lnTo>
                  <a:lnTo>
                    <a:pt x="159" y="306"/>
                  </a:lnTo>
                  <a:lnTo>
                    <a:pt x="153" y="306"/>
                  </a:lnTo>
                  <a:lnTo>
                    <a:pt x="147" y="313"/>
                  </a:lnTo>
                  <a:lnTo>
                    <a:pt x="153" y="319"/>
                  </a:lnTo>
                  <a:lnTo>
                    <a:pt x="147" y="325"/>
                  </a:lnTo>
                  <a:lnTo>
                    <a:pt x="153" y="331"/>
                  </a:lnTo>
                  <a:lnTo>
                    <a:pt x="159" y="337"/>
                  </a:lnTo>
                  <a:lnTo>
                    <a:pt x="165" y="343"/>
                  </a:lnTo>
                  <a:lnTo>
                    <a:pt x="165" y="349"/>
                  </a:lnTo>
                  <a:lnTo>
                    <a:pt x="172" y="349"/>
                  </a:lnTo>
                  <a:lnTo>
                    <a:pt x="172" y="355"/>
                  </a:lnTo>
                  <a:lnTo>
                    <a:pt x="172" y="362"/>
                  </a:lnTo>
                  <a:lnTo>
                    <a:pt x="178" y="362"/>
                  </a:lnTo>
                  <a:lnTo>
                    <a:pt x="172" y="368"/>
                  </a:lnTo>
                  <a:lnTo>
                    <a:pt x="178" y="374"/>
                  </a:lnTo>
                  <a:lnTo>
                    <a:pt x="178" y="368"/>
                  </a:lnTo>
                  <a:lnTo>
                    <a:pt x="184" y="368"/>
                  </a:lnTo>
                  <a:lnTo>
                    <a:pt x="184" y="374"/>
                  </a:lnTo>
                  <a:lnTo>
                    <a:pt x="190" y="368"/>
                  </a:lnTo>
                  <a:lnTo>
                    <a:pt x="190" y="362"/>
                  </a:lnTo>
                  <a:lnTo>
                    <a:pt x="196" y="362"/>
                  </a:lnTo>
                  <a:lnTo>
                    <a:pt x="196" y="355"/>
                  </a:lnTo>
                  <a:lnTo>
                    <a:pt x="196" y="349"/>
                  </a:lnTo>
                  <a:lnTo>
                    <a:pt x="202" y="349"/>
                  </a:lnTo>
                  <a:lnTo>
                    <a:pt x="202" y="355"/>
                  </a:lnTo>
                  <a:lnTo>
                    <a:pt x="202" y="362"/>
                  </a:lnTo>
                  <a:lnTo>
                    <a:pt x="196" y="362"/>
                  </a:lnTo>
                  <a:lnTo>
                    <a:pt x="196" y="368"/>
                  </a:lnTo>
                  <a:lnTo>
                    <a:pt x="196" y="374"/>
                  </a:lnTo>
                  <a:lnTo>
                    <a:pt x="190" y="374"/>
                  </a:lnTo>
                  <a:lnTo>
                    <a:pt x="196" y="374"/>
                  </a:lnTo>
                  <a:lnTo>
                    <a:pt x="196" y="380"/>
                  </a:lnTo>
                  <a:lnTo>
                    <a:pt x="202" y="386"/>
                  </a:lnTo>
                  <a:lnTo>
                    <a:pt x="202" y="380"/>
                  </a:lnTo>
                  <a:lnTo>
                    <a:pt x="208" y="386"/>
                  </a:lnTo>
                  <a:lnTo>
                    <a:pt x="214" y="386"/>
                  </a:lnTo>
                  <a:lnTo>
                    <a:pt x="221" y="386"/>
                  </a:lnTo>
                  <a:lnTo>
                    <a:pt x="221" y="392"/>
                  </a:lnTo>
                  <a:lnTo>
                    <a:pt x="227" y="392"/>
                  </a:lnTo>
                  <a:lnTo>
                    <a:pt x="227" y="398"/>
                  </a:lnTo>
                  <a:lnTo>
                    <a:pt x="233" y="398"/>
                  </a:lnTo>
                  <a:lnTo>
                    <a:pt x="233" y="404"/>
                  </a:lnTo>
                  <a:lnTo>
                    <a:pt x="227" y="404"/>
                  </a:lnTo>
                  <a:lnTo>
                    <a:pt x="227" y="411"/>
                  </a:lnTo>
                  <a:lnTo>
                    <a:pt x="233" y="411"/>
                  </a:lnTo>
                  <a:lnTo>
                    <a:pt x="227" y="411"/>
                  </a:lnTo>
                  <a:lnTo>
                    <a:pt x="227" y="417"/>
                  </a:lnTo>
                  <a:lnTo>
                    <a:pt x="233" y="417"/>
                  </a:lnTo>
                  <a:lnTo>
                    <a:pt x="227" y="417"/>
                  </a:lnTo>
                  <a:lnTo>
                    <a:pt x="233" y="417"/>
                  </a:lnTo>
                  <a:lnTo>
                    <a:pt x="227" y="423"/>
                  </a:lnTo>
                  <a:lnTo>
                    <a:pt x="233" y="423"/>
                  </a:lnTo>
                  <a:lnTo>
                    <a:pt x="227" y="423"/>
                  </a:lnTo>
                  <a:lnTo>
                    <a:pt x="227" y="429"/>
                  </a:lnTo>
                  <a:lnTo>
                    <a:pt x="233" y="429"/>
                  </a:lnTo>
                  <a:lnTo>
                    <a:pt x="233" y="435"/>
                  </a:lnTo>
                  <a:lnTo>
                    <a:pt x="233" y="441"/>
                  </a:lnTo>
                  <a:lnTo>
                    <a:pt x="239" y="441"/>
                  </a:lnTo>
                  <a:lnTo>
                    <a:pt x="233" y="441"/>
                  </a:lnTo>
                  <a:lnTo>
                    <a:pt x="227" y="441"/>
                  </a:lnTo>
                  <a:lnTo>
                    <a:pt x="221" y="441"/>
                  </a:lnTo>
                  <a:lnTo>
                    <a:pt x="227" y="441"/>
                  </a:lnTo>
                  <a:lnTo>
                    <a:pt x="227" y="447"/>
                  </a:lnTo>
                  <a:lnTo>
                    <a:pt x="233" y="447"/>
                  </a:lnTo>
                  <a:lnTo>
                    <a:pt x="233" y="453"/>
                  </a:lnTo>
                  <a:lnTo>
                    <a:pt x="227" y="453"/>
                  </a:lnTo>
                  <a:lnTo>
                    <a:pt x="227" y="447"/>
                  </a:lnTo>
                  <a:lnTo>
                    <a:pt x="227" y="453"/>
                  </a:lnTo>
                  <a:lnTo>
                    <a:pt x="227" y="447"/>
                  </a:lnTo>
                  <a:lnTo>
                    <a:pt x="221" y="447"/>
                  </a:lnTo>
                  <a:lnTo>
                    <a:pt x="214" y="447"/>
                  </a:lnTo>
                  <a:lnTo>
                    <a:pt x="208" y="447"/>
                  </a:lnTo>
                  <a:lnTo>
                    <a:pt x="202" y="447"/>
                  </a:lnTo>
                  <a:lnTo>
                    <a:pt x="202" y="453"/>
                  </a:lnTo>
                  <a:lnTo>
                    <a:pt x="196" y="453"/>
                  </a:lnTo>
                  <a:lnTo>
                    <a:pt x="196" y="460"/>
                  </a:lnTo>
                  <a:lnTo>
                    <a:pt x="190" y="466"/>
                  </a:lnTo>
                  <a:lnTo>
                    <a:pt x="184" y="466"/>
                  </a:lnTo>
                  <a:lnTo>
                    <a:pt x="184" y="472"/>
                  </a:lnTo>
                  <a:lnTo>
                    <a:pt x="184" y="478"/>
                  </a:lnTo>
                  <a:lnTo>
                    <a:pt x="178" y="478"/>
                  </a:lnTo>
                  <a:lnTo>
                    <a:pt x="178" y="484"/>
                  </a:lnTo>
                  <a:lnTo>
                    <a:pt x="172" y="484"/>
                  </a:lnTo>
                  <a:lnTo>
                    <a:pt x="172" y="490"/>
                  </a:lnTo>
                  <a:lnTo>
                    <a:pt x="165" y="490"/>
                  </a:lnTo>
                  <a:lnTo>
                    <a:pt x="165" y="496"/>
                  </a:lnTo>
                  <a:lnTo>
                    <a:pt x="159" y="502"/>
                  </a:lnTo>
                  <a:lnTo>
                    <a:pt x="153" y="502"/>
                  </a:lnTo>
                  <a:lnTo>
                    <a:pt x="153" y="509"/>
                  </a:lnTo>
                  <a:lnTo>
                    <a:pt x="147" y="515"/>
                  </a:lnTo>
                  <a:lnTo>
                    <a:pt x="147" y="521"/>
                  </a:lnTo>
                  <a:lnTo>
                    <a:pt x="141" y="521"/>
                  </a:lnTo>
                  <a:lnTo>
                    <a:pt x="135" y="521"/>
                  </a:lnTo>
                  <a:lnTo>
                    <a:pt x="135" y="527"/>
                  </a:lnTo>
                  <a:lnTo>
                    <a:pt x="135" y="533"/>
                  </a:lnTo>
                  <a:lnTo>
                    <a:pt x="129" y="533"/>
                  </a:lnTo>
                  <a:lnTo>
                    <a:pt x="122" y="533"/>
                  </a:lnTo>
                  <a:lnTo>
                    <a:pt x="122" y="539"/>
                  </a:lnTo>
                  <a:lnTo>
                    <a:pt x="116" y="539"/>
                  </a:lnTo>
                  <a:lnTo>
                    <a:pt x="110" y="539"/>
                  </a:lnTo>
                  <a:lnTo>
                    <a:pt x="104" y="539"/>
                  </a:lnTo>
                  <a:lnTo>
                    <a:pt x="104" y="545"/>
                  </a:lnTo>
                  <a:lnTo>
                    <a:pt x="98" y="551"/>
                  </a:lnTo>
                  <a:lnTo>
                    <a:pt x="92" y="558"/>
                  </a:lnTo>
                  <a:lnTo>
                    <a:pt x="92" y="564"/>
                  </a:lnTo>
                  <a:lnTo>
                    <a:pt x="92" y="570"/>
                  </a:lnTo>
                  <a:lnTo>
                    <a:pt x="86" y="570"/>
                  </a:lnTo>
                  <a:lnTo>
                    <a:pt x="86" y="564"/>
                  </a:lnTo>
                  <a:lnTo>
                    <a:pt x="86" y="570"/>
                  </a:lnTo>
                  <a:lnTo>
                    <a:pt x="86" y="576"/>
                  </a:lnTo>
                  <a:lnTo>
                    <a:pt x="86" y="570"/>
                  </a:lnTo>
                  <a:lnTo>
                    <a:pt x="80" y="570"/>
                  </a:lnTo>
                  <a:lnTo>
                    <a:pt x="80" y="576"/>
                  </a:lnTo>
                  <a:lnTo>
                    <a:pt x="86" y="582"/>
                  </a:lnTo>
                  <a:lnTo>
                    <a:pt x="86" y="588"/>
                  </a:lnTo>
                  <a:lnTo>
                    <a:pt x="80" y="582"/>
                  </a:lnTo>
                  <a:lnTo>
                    <a:pt x="73" y="582"/>
                  </a:lnTo>
                  <a:lnTo>
                    <a:pt x="73" y="588"/>
                  </a:lnTo>
                  <a:lnTo>
                    <a:pt x="73" y="594"/>
                  </a:lnTo>
                  <a:lnTo>
                    <a:pt x="73" y="588"/>
                  </a:lnTo>
                  <a:lnTo>
                    <a:pt x="67" y="588"/>
                  </a:lnTo>
                  <a:lnTo>
                    <a:pt x="61" y="588"/>
                  </a:lnTo>
                  <a:lnTo>
                    <a:pt x="55" y="588"/>
                  </a:lnTo>
                  <a:lnTo>
                    <a:pt x="55" y="594"/>
                  </a:lnTo>
                  <a:lnTo>
                    <a:pt x="49" y="594"/>
                  </a:lnTo>
                  <a:lnTo>
                    <a:pt x="49" y="588"/>
                  </a:lnTo>
                  <a:lnTo>
                    <a:pt x="43" y="588"/>
                  </a:lnTo>
                  <a:lnTo>
                    <a:pt x="43" y="594"/>
                  </a:lnTo>
                  <a:lnTo>
                    <a:pt x="43" y="600"/>
                  </a:lnTo>
                  <a:lnTo>
                    <a:pt x="49" y="600"/>
                  </a:lnTo>
                  <a:lnTo>
                    <a:pt x="49" y="607"/>
                  </a:lnTo>
                  <a:lnTo>
                    <a:pt x="43" y="607"/>
                  </a:lnTo>
                  <a:lnTo>
                    <a:pt x="37" y="607"/>
                  </a:lnTo>
                  <a:lnTo>
                    <a:pt x="37" y="613"/>
                  </a:lnTo>
                  <a:lnTo>
                    <a:pt x="43" y="613"/>
                  </a:lnTo>
                  <a:lnTo>
                    <a:pt x="43" y="619"/>
                  </a:lnTo>
                  <a:lnTo>
                    <a:pt x="37" y="619"/>
                  </a:lnTo>
                  <a:lnTo>
                    <a:pt x="37" y="625"/>
                  </a:lnTo>
                  <a:lnTo>
                    <a:pt x="31" y="619"/>
                  </a:lnTo>
                  <a:lnTo>
                    <a:pt x="31" y="613"/>
                  </a:lnTo>
                  <a:lnTo>
                    <a:pt x="24" y="613"/>
                  </a:lnTo>
                  <a:lnTo>
                    <a:pt x="24" y="619"/>
                  </a:lnTo>
                  <a:lnTo>
                    <a:pt x="31" y="619"/>
                  </a:lnTo>
                  <a:lnTo>
                    <a:pt x="31" y="625"/>
                  </a:lnTo>
                  <a:lnTo>
                    <a:pt x="31" y="631"/>
                  </a:lnTo>
                  <a:lnTo>
                    <a:pt x="31" y="625"/>
                  </a:lnTo>
                  <a:lnTo>
                    <a:pt x="24" y="631"/>
                  </a:lnTo>
                  <a:lnTo>
                    <a:pt x="31" y="631"/>
                  </a:lnTo>
                  <a:lnTo>
                    <a:pt x="31" y="637"/>
                  </a:lnTo>
                  <a:lnTo>
                    <a:pt x="24" y="637"/>
                  </a:lnTo>
                  <a:lnTo>
                    <a:pt x="24" y="643"/>
                  </a:lnTo>
                  <a:lnTo>
                    <a:pt x="31" y="643"/>
                  </a:lnTo>
                  <a:lnTo>
                    <a:pt x="31" y="649"/>
                  </a:lnTo>
                  <a:lnTo>
                    <a:pt x="24" y="649"/>
                  </a:lnTo>
                  <a:lnTo>
                    <a:pt x="24" y="656"/>
                  </a:lnTo>
                  <a:lnTo>
                    <a:pt x="31" y="656"/>
                  </a:lnTo>
                  <a:lnTo>
                    <a:pt x="31" y="662"/>
                  </a:lnTo>
                  <a:lnTo>
                    <a:pt x="31" y="668"/>
                  </a:lnTo>
                  <a:lnTo>
                    <a:pt x="31" y="662"/>
                  </a:lnTo>
                  <a:lnTo>
                    <a:pt x="37" y="662"/>
                  </a:lnTo>
                  <a:lnTo>
                    <a:pt x="37" y="656"/>
                  </a:lnTo>
                  <a:lnTo>
                    <a:pt x="37" y="662"/>
                  </a:lnTo>
                  <a:lnTo>
                    <a:pt x="37" y="668"/>
                  </a:lnTo>
                  <a:lnTo>
                    <a:pt x="37" y="674"/>
                  </a:lnTo>
                  <a:lnTo>
                    <a:pt x="37" y="668"/>
                  </a:lnTo>
                  <a:lnTo>
                    <a:pt x="37" y="674"/>
                  </a:lnTo>
                  <a:lnTo>
                    <a:pt x="37" y="680"/>
                  </a:lnTo>
                  <a:lnTo>
                    <a:pt x="31" y="686"/>
                  </a:lnTo>
                  <a:lnTo>
                    <a:pt x="37" y="686"/>
                  </a:lnTo>
                  <a:lnTo>
                    <a:pt x="37" y="692"/>
                  </a:lnTo>
                  <a:lnTo>
                    <a:pt x="31" y="698"/>
                  </a:lnTo>
                  <a:lnTo>
                    <a:pt x="37" y="698"/>
                  </a:lnTo>
                  <a:lnTo>
                    <a:pt x="37" y="705"/>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7" name="Freeform 138"/>
            <p:cNvSpPr>
              <a:spLocks/>
            </p:cNvSpPr>
            <p:nvPr/>
          </p:nvSpPr>
          <p:spPr bwMode="auto">
            <a:xfrm>
              <a:off x="4656321" y="3137092"/>
              <a:ext cx="38803" cy="124372"/>
            </a:xfrm>
            <a:custGeom>
              <a:avLst/>
              <a:gdLst>
                <a:gd name="T0" fmla="*/ 15120939 w 24"/>
                <a:gd name="T1" fmla="*/ 0 h 85"/>
                <a:gd name="T2" fmla="*/ 30241878 w 24"/>
                <a:gd name="T3" fmla="*/ 0 h 85"/>
                <a:gd name="T4" fmla="*/ 30241878 w 24"/>
                <a:gd name="T5" fmla="*/ 15120994 h 85"/>
                <a:gd name="T6" fmla="*/ 30241878 w 24"/>
                <a:gd name="T7" fmla="*/ 30241989 h 85"/>
                <a:gd name="T8" fmla="*/ 45362810 w 24"/>
                <a:gd name="T9" fmla="*/ 30241989 h 85"/>
                <a:gd name="T10" fmla="*/ 45362810 w 24"/>
                <a:gd name="T11" fmla="*/ 45362977 h 85"/>
                <a:gd name="T12" fmla="*/ 30241878 w 24"/>
                <a:gd name="T13" fmla="*/ 45362977 h 85"/>
                <a:gd name="T14" fmla="*/ 45362810 w 24"/>
                <a:gd name="T15" fmla="*/ 60483977 h 85"/>
                <a:gd name="T16" fmla="*/ 45362810 w 24"/>
                <a:gd name="T17" fmla="*/ 75604965 h 85"/>
                <a:gd name="T18" fmla="*/ 60483756 w 24"/>
                <a:gd name="T19" fmla="*/ 75604965 h 85"/>
                <a:gd name="T20" fmla="*/ 45362810 w 24"/>
                <a:gd name="T21" fmla="*/ 75604965 h 85"/>
                <a:gd name="T22" fmla="*/ 30241878 w 24"/>
                <a:gd name="T23" fmla="*/ 75604965 h 85"/>
                <a:gd name="T24" fmla="*/ 30241878 w 24"/>
                <a:gd name="T25" fmla="*/ 60483977 h 85"/>
                <a:gd name="T26" fmla="*/ 30241878 w 24"/>
                <a:gd name="T27" fmla="*/ 75604965 h 85"/>
                <a:gd name="T28" fmla="*/ 45362810 w 24"/>
                <a:gd name="T29" fmla="*/ 90725953 h 85"/>
                <a:gd name="T30" fmla="*/ 30241878 w 24"/>
                <a:gd name="T31" fmla="*/ 90725953 h 85"/>
                <a:gd name="T32" fmla="*/ 45362810 w 24"/>
                <a:gd name="T33" fmla="*/ 105846966 h 85"/>
                <a:gd name="T34" fmla="*/ 30241878 w 24"/>
                <a:gd name="T35" fmla="*/ 105846966 h 85"/>
                <a:gd name="T36" fmla="*/ 30241878 w 24"/>
                <a:gd name="T37" fmla="*/ 123488913 h 85"/>
                <a:gd name="T38" fmla="*/ 45362810 w 24"/>
                <a:gd name="T39" fmla="*/ 123488913 h 85"/>
                <a:gd name="T40" fmla="*/ 30241878 w 24"/>
                <a:gd name="T41" fmla="*/ 138609901 h 85"/>
                <a:gd name="T42" fmla="*/ 45362810 w 24"/>
                <a:gd name="T43" fmla="*/ 153730889 h 85"/>
                <a:gd name="T44" fmla="*/ 30241878 w 24"/>
                <a:gd name="T45" fmla="*/ 153730889 h 85"/>
                <a:gd name="T46" fmla="*/ 30241878 w 24"/>
                <a:gd name="T47" fmla="*/ 168851877 h 85"/>
                <a:gd name="T48" fmla="*/ 30241878 w 24"/>
                <a:gd name="T49" fmla="*/ 183972865 h 85"/>
                <a:gd name="T50" fmla="*/ 15120939 w 24"/>
                <a:gd name="T51" fmla="*/ 183972865 h 85"/>
                <a:gd name="T52" fmla="*/ 30241878 w 24"/>
                <a:gd name="T53" fmla="*/ 183972865 h 85"/>
                <a:gd name="T54" fmla="*/ 15120939 w 24"/>
                <a:gd name="T55" fmla="*/ 183972865 h 85"/>
                <a:gd name="T56" fmla="*/ 15120939 w 24"/>
                <a:gd name="T57" fmla="*/ 199093853 h 85"/>
                <a:gd name="T58" fmla="*/ 30241878 w 24"/>
                <a:gd name="T59" fmla="*/ 214214891 h 85"/>
                <a:gd name="T60" fmla="*/ 15120939 w 24"/>
                <a:gd name="T61" fmla="*/ 214214891 h 85"/>
                <a:gd name="T62" fmla="*/ 0 w 24"/>
                <a:gd name="T63" fmla="*/ 199093853 h 85"/>
                <a:gd name="T64" fmla="*/ 0 w 24"/>
                <a:gd name="T65" fmla="*/ 214214891 h 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85"/>
                <a:gd name="T101" fmla="*/ 24 w 24"/>
                <a:gd name="T102" fmla="*/ 85 h 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85">
                  <a:moveTo>
                    <a:pt x="6" y="0"/>
                  </a:moveTo>
                  <a:lnTo>
                    <a:pt x="12" y="0"/>
                  </a:lnTo>
                  <a:lnTo>
                    <a:pt x="12" y="6"/>
                  </a:lnTo>
                  <a:lnTo>
                    <a:pt x="12" y="12"/>
                  </a:lnTo>
                  <a:lnTo>
                    <a:pt x="18" y="12"/>
                  </a:lnTo>
                  <a:lnTo>
                    <a:pt x="18" y="18"/>
                  </a:lnTo>
                  <a:lnTo>
                    <a:pt x="12" y="18"/>
                  </a:lnTo>
                  <a:lnTo>
                    <a:pt x="18" y="24"/>
                  </a:lnTo>
                  <a:lnTo>
                    <a:pt x="18" y="30"/>
                  </a:lnTo>
                  <a:lnTo>
                    <a:pt x="24" y="30"/>
                  </a:lnTo>
                  <a:lnTo>
                    <a:pt x="18" y="30"/>
                  </a:lnTo>
                  <a:lnTo>
                    <a:pt x="12" y="30"/>
                  </a:lnTo>
                  <a:lnTo>
                    <a:pt x="12" y="24"/>
                  </a:lnTo>
                  <a:lnTo>
                    <a:pt x="12" y="30"/>
                  </a:lnTo>
                  <a:lnTo>
                    <a:pt x="18" y="36"/>
                  </a:lnTo>
                  <a:lnTo>
                    <a:pt x="12" y="36"/>
                  </a:lnTo>
                  <a:lnTo>
                    <a:pt x="18" y="42"/>
                  </a:lnTo>
                  <a:lnTo>
                    <a:pt x="12" y="42"/>
                  </a:lnTo>
                  <a:lnTo>
                    <a:pt x="12" y="49"/>
                  </a:lnTo>
                  <a:lnTo>
                    <a:pt x="18" y="49"/>
                  </a:lnTo>
                  <a:lnTo>
                    <a:pt x="12" y="55"/>
                  </a:lnTo>
                  <a:lnTo>
                    <a:pt x="18" y="61"/>
                  </a:lnTo>
                  <a:lnTo>
                    <a:pt x="12" y="61"/>
                  </a:lnTo>
                  <a:lnTo>
                    <a:pt x="12" y="67"/>
                  </a:lnTo>
                  <a:lnTo>
                    <a:pt x="12" y="73"/>
                  </a:lnTo>
                  <a:lnTo>
                    <a:pt x="6" y="73"/>
                  </a:lnTo>
                  <a:lnTo>
                    <a:pt x="12" y="73"/>
                  </a:lnTo>
                  <a:lnTo>
                    <a:pt x="6" y="73"/>
                  </a:lnTo>
                  <a:lnTo>
                    <a:pt x="6" y="79"/>
                  </a:lnTo>
                  <a:lnTo>
                    <a:pt x="12" y="85"/>
                  </a:lnTo>
                  <a:lnTo>
                    <a:pt x="6" y="85"/>
                  </a:lnTo>
                  <a:lnTo>
                    <a:pt x="0" y="79"/>
                  </a:lnTo>
                  <a:lnTo>
                    <a:pt x="0" y="85"/>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8" name="Freeform 139"/>
            <p:cNvSpPr>
              <a:spLocks/>
            </p:cNvSpPr>
            <p:nvPr/>
          </p:nvSpPr>
          <p:spPr bwMode="auto">
            <a:xfrm>
              <a:off x="5220578" y="2581078"/>
              <a:ext cx="48503" cy="26338"/>
            </a:xfrm>
            <a:custGeom>
              <a:avLst/>
              <a:gdLst>
                <a:gd name="T0" fmla="*/ 45362813 w 30"/>
                <a:gd name="T1" fmla="*/ 45362806 h 18"/>
                <a:gd name="T2" fmla="*/ 30241880 w 30"/>
                <a:gd name="T3" fmla="*/ 45362806 h 18"/>
                <a:gd name="T4" fmla="*/ 0 w 30"/>
                <a:gd name="T5" fmla="*/ 45362806 h 18"/>
                <a:gd name="T6" fmla="*/ 15120940 w 30"/>
                <a:gd name="T7" fmla="*/ 45362806 h 18"/>
                <a:gd name="T8" fmla="*/ 30241880 w 30"/>
                <a:gd name="T9" fmla="*/ 30241875 h 18"/>
                <a:gd name="T10" fmla="*/ 45362813 w 30"/>
                <a:gd name="T11" fmla="*/ 30241875 h 18"/>
                <a:gd name="T12" fmla="*/ 45362813 w 30"/>
                <a:gd name="T13" fmla="*/ 15120937 h 18"/>
                <a:gd name="T14" fmla="*/ 60483759 w 30"/>
                <a:gd name="T15" fmla="*/ 15120937 h 18"/>
                <a:gd name="T16" fmla="*/ 60483759 w 30"/>
                <a:gd name="T17" fmla="*/ 0 h 18"/>
                <a:gd name="T18" fmla="*/ 75604693 w 30"/>
                <a:gd name="T19" fmla="*/ 15120937 h 18"/>
                <a:gd name="T20" fmla="*/ 75604693 w 30"/>
                <a:gd name="T21" fmla="*/ 30241875 h 18"/>
                <a:gd name="T22" fmla="*/ 60483759 w 30"/>
                <a:gd name="T23" fmla="*/ 30241875 h 18"/>
                <a:gd name="T24" fmla="*/ 45362813 w 30"/>
                <a:gd name="T25" fmla="*/ 30241875 h 18"/>
                <a:gd name="T26" fmla="*/ 45362813 w 30"/>
                <a:gd name="T27" fmla="*/ 45362806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18"/>
                <a:gd name="T44" fmla="*/ 30 w 30"/>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18">
                  <a:moveTo>
                    <a:pt x="18" y="18"/>
                  </a:moveTo>
                  <a:lnTo>
                    <a:pt x="12" y="18"/>
                  </a:lnTo>
                  <a:lnTo>
                    <a:pt x="0" y="18"/>
                  </a:lnTo>
                  <a:lnTo>
                    <a:pt x="6" y="18"/>
                  </a:lnTo>
                  <a:lnTo>
                    <a:pt x="12" y="12"/>
                  </a:lnTo>
                  <a:lnTo>
                    <a:pt x="18" y="12"/>
                  </a:lnTo>
                  <a:lnTo>
                    <a:pt x="18" y="6"/>
                  </a:lnTo>
                  <a:lnTo>
                    <a:pt x="24" y="6"/>
                  </a:lnTo>
                  <a:lnTo>
                    <a:pt x="24" y="0"/>
                  </a:lnTo>
                  <a:lnTo>
                    <a:pt x="30" y="6"/>
                  </a:lnTo>
                  <a:lnTo>
                    <a:pt x="30" y="12"/>
                  </a:lnTo>
                  <a:lnTo>
                    <a:pt x="24" y="12"/>
                  </a:lnTo>
                  <a:lnTo>
                    <a:pt x="18" y="12"/>
                  </a:lnTo>
                  <a:lnTo>
                    <a:pt x="18"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19" name="Freeform 140"/>
            <p:cNvSpPr>
              <a:spLocks/>
            </p:cNvSpPr>
            <p:nvPr/>
          </p:nvSpPr>
          <p:spPr bwMode="auto">
            <a:xfrm>
              <a:off x="5201176" y="2607416"/>
              <a:ext cx="48503" cy="8779"/>
            </a:xfrm>
            <a:custGeom>
              <a:avLst/>
              <a:gdLst>
                <a:gd name="T0" fmla="*/ 60483759 w 30"/>
                <a:gd name="T1" fmla="*/ 15120939 h 6"/>
                <a:gd name="T2" fmla="*/ 45362813 w 30"/>
                <a:gd name="T3" fmla="*/ 15120939 h 6"/>
                <a:gd name="T4" fmla="*/ 30241880 w 30"/>
                <a:gd name="T5" fmla="*/ 15120939 h 6"/>
                <a:gd name="T6" fmla="*/ 45362813 w 30"/>
                <a:gd name="T7" fmla="*/ 15120939 h 6"/>
                <a:gd name="T8" fmla="*/ 30241880 w 30"/>
                <a:gd name="T9" fmla="*/ 15120939 h 6"/>
                <a:gd name="T10" fmla="*/ 15120940 w 30"/>
                <a:gd name="T11" fmla="*/ 15120939 h 6"/>
                <a:gd name="T12" fmla="*/ 0 w 30"/>
                <a:gd name="T13" fmla="*/ 15120939 h 6"/>
                <a:gd name="T14" fmla="*/ 0 w 30"/>
                <a:gd name="T15" fmla="*/ 0 h 6"/>
                <a:gd name="T16" fmla="*/ 15120940 w 30"/>
                <a:gd name="T17" fmla="*/ 0 h 6"/>
                <a:gd name="T18" fmla="*/ 30241880 w 30"/>
                <a:gd name="T19" fmla="*/ 0 h 6"/>
                <a:gd name="T20" fmla="*/ 30241880 w 30"/>
                <a:gd name="T21" fmla="*/ 15120939 h 6"/>
                <a:gd name="T22" fmla="*/ 60483759 w 30"/>
                <a:gd name="T23" fmla="*/ 0 h 6"/>
                <a:gd name="T24" fmla="*/ 75604693 w 30"/>
                <a:gd name="T25" fmla="*/ 0 h 6"/>
                <a:gd name="T26" fmla="*/ 60483759 w 30"/>
                <a:gd name="T27" fmla="*/ 15120939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6"/>
                <a:gd name="T44" fmla="*/ 30 w 30"/>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6">
                  <a:moveTo>
                    <a:pt x="24" y="6"/>
                  </a:moveTo>
                  <a:lnTo>
                    <a:pt x="18" y="6"/>
                  </a:lnTo>
                  <a:lnTo>
                    <a:pt x="12" y="6"/>
                  </a:lnTo>
                  <a:lnTo>
                    <a:pt x="18" y="6"/>
                  </a:lnTo>
                  <a:lnTo>
                    <a:pt x="12" y="6"/>
                  </a:lnTo>
                  <a:lnTo>
                    <a:pt x="6" y="6"/>
                  </a:lnTo>
                  <a:lnTo>
                    <a:pt x="0" y="6"/>
                  </a:lnTo>
                  <a:lnTo>
                    <a:pt x="0" y="0"/>
                  </a:lnTo>
                  <a:lnTo>
                    <a:pt x="6" y="0"/>
                  </a:lnTo>
                  <a:lnTo>
                    <a:pt x="12" y="0"/>
                  </a:lnTo>
                  <a:lnTo>
                    <a:pt x="12" y="6"/>
                  </a:lnTo>
                  <a:lnTo>
                    <a:pt x="24" y="0"/>
                  </a:lnTo>
                  <a:lnTo>
                    <a:pt x="30" y="0"/>
                  </a:lnTo>
                  <a:lnTo>
                    <a:pt x="24"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0" name="Freeform 141"/>
            <p:cNvSpPr>
              <a:spLocks/>
            </p:cNvSpPr>
            <p:nvPr/>
          </p:nvSpPr>
          <p:spPr bwMode="auto">
            <a:xfrm>
              <a:off x="4517279" y="3324382"/>
              <a:ext cx="69522" cy="62918"/>
            </a:xfrm>
            <a:custGeom>
              <a:avLst/>
              <a:gdLst>
                <a:gd name="T0" fmla="*/ 0 w 43"/>
                <a:gd name="T1" fmla="*/ 47884109 h 43"/>
                <a:gd name="T2" fmla="*/ 0 w 43"/>
                <a:gd name="T3" fmla="*/ 30242098 h 43"/>
                <a:gd name="T4" fmla="*/ 15121049 w 43"/>
                <a:gd name="T5" fmla="*/ 30242098 h 43"/>
                <a:gd name="T6" fmla="*/ 30242098 w 43"/>
                <a:gd name="T7" fmla="*/ 30242098 h 43"/>
                <a:gd name="T8" fmla="*/ 45363141 w 43"/>
                <a:gd name="T9" fmla="*/ 30242098 h 43"/>
                <a:gd name="T10" fmla="*/ 30242098 w 43"/>
                <a:gd name="T11" fmla="*/ 30242098 h 43"/>
                <a:gd name="T12" fmla="*/ 30242098 w 43"/>
                <a:gd name="T13" fmla="*/ 47884109 h 43"/>
                <a:gd name="T14" fmla="*/ 45363141 w 43"/>
                <a:gd name="T15" fmla="*/ 47884109 h 43"/>
                <a:gd name="T16" fmla="*/ 60484196 w 43"/>
                <a:gd name="T17" fmla="*/ 30242098 h 43"/>
                <a:gd name="T18" fmla="*/ 45363141 w 43"/>
                <a:gd name="T19" fmla="*/ 30242098 h 43"/>
                <a:gd name="T20" fmla="*/ 30242098 w 43"/>
                <a:gd name="T21" fmla="*/ 15121049 h 43"/>
                <a:gd name="T22" fmla="*/ 45363141 w 43"/>
                <a:gd name="T23" fmla="*/ 0 h 43"/>
                <a:gd name="T24" fmla="*/ 60484196 w 43"/>
                <a:gd name="T25" fmla="*/ 0 h 43"/>
                <a:gd name="T26" fmla="*/ 60484196 w 43"/>
                <a:gd name="T27" fmla="*/ 15121049 h 43"/>
                <a:gd name="T28" fmla="*/ 75605239 w 43"/>
                <a:gd name="T29" fmla="*/ 15121049 h 43"/>
                <a:gd name="T30" fmla="*/ 93247250 w 43"/>
                <a:gd name="T31" fmla="*/ 15121049 h 43"/>
                <a:gd name="T32" fmla="*/ 93247250 w 43"/>
                <a:gd name="T33" fmla="*/ 30242098 h 43"/>
                <a:gd name="T34" fmla="*/ 93247250 w 43"/>
                <a:gd name="T35" fmla="*/ 47884109 h 43"/>
                <a:gd name="T36" fmla="*/ 93247250 w 43"/>
                <a:gd name="T37" fmla="*/ 63005164 h 43"/>
                <a:gd name="T38" fmla="*/ 75605239 w 43"/>
                <a:gd name="T39" fmla="*/ 63005164 h 43"/>
                <a:gd name="T40" fmla="*/ 75605239 w 43"/>
                <a:gd name="T41" fmla="*/ 47884109 h 43"/>
                <a:gd name="T42" fmla="*/ 75605239 w 43"/>
                <a:gd name="T43" fmla="*/ 30242098 h 43"/>
                <a:gd name="T44" fmla="*/ 60484196 w 43"/>
                <a:gd name="T45" fmla="*/ 30242098 h 43"/>
                <a:gd name="T46" fmla="*/ 60484196 w 43"/>
                <a:gd name="T47" fmla="*/ 47884109 h 43"/>
                <a:gd name="T48" fmla="*/ 75605239 w 43"/>
                <a:gd name="T49" fmla="*/ 47884109 h 43"/>
                <a:gd name="T50" fmla="*/ 75605239 w 43"/>
                <a:gd name="T51" fmla="*/ 63005164 h 43"/>
                <a:gd name="T52" fmla="*/ 75605239 w 43"/>
                <a:gd name="T53" fmla="*/ 78126207 h 43"/>
                <a:gd name="T54" fmla="*/ 60484196 w 43"/>
                <a:gd name="T55" fmla="*/ 78126207 h 43"/>
                <a:gd name="T56" fmla="*/ 75605239 w 43"/>
                <a:gd name="T57" fmla="*/ 78126207 h 43"/>
                <a:gd name="T58" fmla="*/ 93247250 w 43"/>
                <a:gd name="T59" fmla="*/ 78126207 h 43"/>
                <a:gd name="T60" fmla="*/ 93247250 w 43"/>
                <a:gd name="T61" fmla="*/ 63005164 h 43"/>
                <a:gd name="T62" fmla="*/ 108368317 w 43"/>
                <a:gd name="T63" fmla="*/ 63005164 h 43"/>
                <a:gd name="T64" fmla="*/ 93247250 w 43"/>
                <a:gd name="T65" fmla="*/ 78126207 h 43"/>
                <a:gd name="T66" fmla="*/ 93247250 w 43"/>
                <a:gd name="T67" fmla="*/ 93247250 h 43"/>
                <a:gd name="T68" fmla="*/ 93247250 w 43"/>
                <a:gd name="T69" fmla="*/ 108368317 h 43"/>
                <a:gd name="T70" fmla="*/ 93247250 w 43"/>
                <a:gd name="T71" fmla="*/ 93247250 h 43"/>
                <a:gd name="T72" fmla="*/ 75605239 w 43"/>
                <a:gd name="T73" fmla="*/ 93247250 h 43"/>
                <a:gd name="T74" fmla="*/ 60484196 w 43"/>
                <a:gd name="T75" fmla="*/ 93247250 h 43"/>
                <a:gd name="T76" fmla="*/ 60484196 w 43"/>
                <a:gd name="T77" fmla="*/ 78126207 h 43"/>
                <a:gd name="T78" fmla="*/ 45363141 w 43"/>
                <a:gd name="T79" fmla="*/ 78126207 h 43"/>
                <a:gd name="T80" fmla="*/ 30242098 w 43"/>
                <a:gd name="T81" fmla="*/ 78126207 h 43"/>
                <a:gd name="T82" fmla="*/ 30242098 w 43"/>
                <a:gd name="T83" fmla="*/ 63005164 h 43"/>
                <a:gd name="T84" fmla="*/ 30242098 w 43"/>
                <a:gd name="T85" fmla="*/ 47884109 h 43"/>
                <a:gd name="T86" fmla="*/ 30242098 w 43"/>
                <a:gd name="T87" fmla="*/ 63005164 h 43"/>
                <a:gd name="T88" fmla="*/ 15121049 w 43"/>
                <a:gd name="T89" fmla="*/ 63005164 h 43"/>
                <a:gd name="T90" fmla="*/ 0 w 43"/>
                <a:gd name="T91" fmla="*/ 47884109 h 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3"/>
                <a:gd name="T139" fmla="*/ 0 h 43"/>
                <a:gd name="T140" fmla="*/ 43 w 43"/>
                <a:gd name="T141" fmla="*/ 43 h 4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3" h="43">
                  <a:moveTo>
                    <a:pt x="0" y="19"/>
                  </a:moveTo>
                  <a:lnTo>
                    <a:pt x="0" y="12"/>
                  </a:lnTo>
                  <a:lnTo>
                    <a:pt x="6" y="12"/>
                  </a:lnTo>
                  <a:lnTo>
                    <a:pt x="12" y="12"/>
                  </a:lnTo>
                  <a:lnTo>
                    <a:pt x="18" y="12"/>
                  </a:lnTo>
                  <a:lnTo>
                    <a:pt x="12" y="12"/>
                  </a:lnTo>
                  <a:lnTo>
                    <a:pt x="12" y="19"/>
                  </a:lnTo>
                  <a:lnTo>
                    <a:pt x="18" y="19"/>
                  </a:lnTo>
                  <a:lnTo>
                    <a:pt x="24" y="12"/>
                  </a:lnTo>
                  <a:lnTo>
                    <a:pt x="18" y="12"/>
                  </a:lnTo>
                  <a:lnTo>
                    <a:pt x="12" y="6"/>
                  </a:lnTo>
                  <a:lnTo>
                    <a:pt x="18" y="0"/>
                  </a:lnTo>
                  <a:lnTo>
                    <a:pt x="24" y="0"/>
                  </a:lnTo>
                  <a:lnTo>
                    <a:pt x="24" y="6"/>
                  </a:lnTo>
                  <a:lnTo>
                    <a:pt x="30" y="6"/>
                  </a:lnTo>
                  <a:lnTo>
                    <a:pt x="37" y="6"/>
                  </a:lnTo>
                  <a:lnTo>
                    <a:pt x="37" y="12"/>
                  </a:lnTo>
                  <a:lnTo>
                    <a:pt x="37" y="19"/>
                  </a:lnTo>
                  <a:lnTo>
                    <a:pt x="37" y="25"/>
                  </a:lnTo>
                  <a:lnTo>
                    <a:pt x="30" y="25"/>
                  </a:lnTo>
                  <a:lnTo>
                    <a:pt x="30" y="19"/>
                  </a:lnTo>
                  <a:lnTo>
                    <a:pt x="30" y="12"/>
                  </a:lnTo>
                  <a:lnTo>
                    <a:pt x="24" y="12"/>
                  </a:lnTo>
                  <a:lnTo>
                    <a:pt x="24" y="19"/>
                  </a:lnTo>
                  <a:lnTo>
                    <a:pt x="30" y="19"/>
                  </a:lnTo>
                  <a:lnTo>
                    <a:pt x="30" y="25"/>
                  </a:lnTo>
                  <a:lnTo>
                    <a:pt x="30" y="31"/>
                  </a:lnTo>
                  <a:lnTo>
                    <a:pt x="24" y="31"/>
                  </a:lnTo>
                  <a:lnTo>
                    <a:pt x="30" y="31"/>
                  </a:lnTo>
                  <a:lnTo>
                    <a:pt x="37" y="31"/>
                  </a:lnTo>
                  <a:lnTo>
                    <a:pt x="37" y="25"/>
                  </a:lnTo>
                  <a:lnTo>
                    <a:pt x="43" y="25"/>
                  </a:lnTo>
                  <a:lnTo>
                    <a:pt x="37" y="31"/>
                  </a:lnTo>
                  <a:lnTo>
                    <a:pt x="37" y="37"/>
                  </a:lnTo>
                  <a:lnTo>
                    <a:pt x="37" y="43"/>
                  </a:lnTo>
                  <a:lnTo>
                    <a:pt x="37" y="37"/>
                  </a:lnTo>
                  <a:lnTo>
                    <a:pt x="30" y="37"/>
                  </a:lnTo>
                  <a:lnTo>
                    <a:pt x="24" y="37"/>
                  </a:lnTo>
                  <a:lnTo>
                    <a:pt x="24" y="31"/>
                  </a:lnTo>
                  <a:lnTo>
                    <a:pt x="18" y="31"/>
                  </a:lnTo>
                  <a:lnTo>
                    <a:pt x="12" y="31"/>
                  </a:lnTo>
                  <a:lnTo>
                    <a:pt x="12" y="25"/>
                  </a:lnTo>
                  <a:lnTo>
                    <a:pt x="12" y="19"/>
                  </a:lnTo>
                  <a:lnTo>
                    <a:pt x="12" y="25"/>
                  </a:lnTo>
                  <a:lnTo>
                    <a:pt x="6" y="25"/>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1" name="Freeform 142"/>
            <p:cNvSpPr>
              <a:spLocks/>
            </p:cNvSpPr>
            <p:nvPr/>
          </p:nvSpPr>
          <p:spPr bwMode="auto">
            <a:xfrm>
              <a:off x="4645004" y="2957120"/>
              <a:ext cx="30718" cy="26338"/>
            </a:xfrm>
            <a:custGeom>
              <a:avLst/>
              <a:gdLst>
                <a:gd name="T0" fmla="*/ 0 w 19"/>
                <a:gd name="T1" fmla="*/ 15120937 h 18"/>
                <a:gd name="T2" fmla="*/ 17640007 w 19"/>
                <a:gd name="T3" fmla="*/ 15120937 h 18"/>
                <a:gd name="T4" fmla="*/ 17640007 w 19"/>
                <a:gd name="T5" fmla="*/ 0 h 18"/>
                <a:gd name="T6" fmla="*/ 17640007 w 19"/>
                <a:gd name="T7" fmla="*/ 15120937 h 18"/>
                <a:gd name="T8" fmla="*/ 17640007 w 19"/>
                <a:gd name="T9" fmla="*/ 30241875 h 18"/>
                <a:gd name="T10" fmla="*/ 17640007 w 19"/>
                <a:gd name="T11" fmla="*/ 15120937 h 18"/>
                <a:gd name="T12" fmla="*/ 32760694 w 19"/>
                <a:gd name="T13" fmla="*/ 30241875 h 18"/>
                <a:gd name="T14" fmla="*/ 32760694 w 19"/>
                <a:gd name="T15" fmla="*/ 15120937 h 18"/>
                <a:gd name="T16" fmla="*/ 47881374 w 19"/>
                <a:gd name="T17" fmla="*/ 15120937 h 18"/>
                <a:gd name="T18" fmla="*/ 47881374 w 19"/>
                <a:gd name="T19" fmla="*/ 30241875 h 18"/>
                <a:gd name="T20" fmla="*/ 32760694 w 19"/>
                <a:gd name="T21" fmla="*/ 30241875 h 18"/>
                <a:gd name="T22" fmla="*/ 17640007 w 19"/>
                <a:gd name="T23" fmla="*/ 30241875 h 18"/>
                <a:gd name="T24" fmla="*/ 32760694 w 19"/>
                <a:gd name="T25" fmla="*/ 30241875 h 18"/>
                <a:gd name="T26" fmla="*/ 32760694 w 19"/>
                <a:gd name="T27" fmla="*/ 45362806 h 18"/>
                <a:gd name="T28" fmla="*/ 17640007 w 19"/>
                <a:gd name="T29" fmla="*/ 45362806 h 18"/>
                <a:gd name="T30" fmla="*/ 17640007 w 19"/>
                <a:gd name="T31" fmla="*/ 30241875 h 18"/>
                <a:gd name="T32" fmla="*/ 0 w 19"/>
                <a:gd name="T33" fmla="*/ 30241875 h 18"/>
                <a:gd name="T34" fmla="*/ 0 w 19"/>
                <a:gd name="T35" fmla="*/ 1512093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18"/>
                <a:gd name="T56" fmla="*/ 19 w 19"/>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18">
                  <a:moveTo>
                    <a:pt x="0" y="6"/>
                  </a:moveTo>
                  <a:lnTo>
                    <a:pt x="7" y="6"/>
                  </a:lnTo>
                  <a:lnTo>
                    <a:pt x="7" y="0"/>
                  </a:lnTo>
                  <a:lnTo>
                    <a:pt x="7" y="6"/>
                  </a:lnTo>
                  <a:lnTo>
                    <a:pt x="7" y="12"/>
                  </a:lnTo>
                  <a:lnTo>
                    <a:pt x="7" y="6"/>
                  </a:lnTo>
                  <a:lnTo>
                    <a:pt x="13" y="12"/>
                  </a:lnTo>
                  <a:lnTo>
                    <a:pt x="13" y="6"/>
                  </a:lnTo>
                  <a:lnTo>
                    <a:pt x="19" y="6"/>
                  </a:lnTo>
                  <a:lnTo>
                    <a:pt x="19" y="12"/>
                  </a:lnTo>
                  <a:lnTo>
                    <a:pt x="13" y="12"/>
                  </a:lnTo>
                  <a:lnTo>
                    <a:pt x="7" y="12"/>
                  </a:lnTo>
                  <a:lnTo>
                    <a:pt x="13" y="12"/>
                  </a:lnTo>
                  <a:lnTo>
                    <a:pt x="13" y="18"/>
                  </a:lnTo>
                  <a:lnTo>
                    <a:pt x="7" y="18"/>
                  </a:lnTo>
                  <a:lnTo>
                    <a:pt x="7"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2" name="Freeform 143"/>
            <p:cNvSpPr>
              <a:spLocks/>
            </p:cNvSpPr>
            <p:nvPr/>
          </p:nvSpPr>
          <p:spPr bwMode="auto">
            <a:xfrm>
              <a:off x="4695124" y="3352183"/>
              <a:ext cx="29102" cy="17558"/>
            </a:xfrm>
            <a:custGeom>
              <a:avLst/>
              <a:gdLst>
                <a:gd name="T0" fmla="*/ 0 w 18"/>
                <a:gd name="T1" fmla="*/ 15120939 h 12"/>
                <a:gd name="T2" fmla="*/ 0 w 18"/>
                <a:gd name="T3" fmla="*/ 0 h 12"/>
                <a:gd name="T4" fmla="*/ 15120937 w 18"/>
                <a:gd name="T5" fmla="*/ 0 h 12"/>
                <a:gd name="T6" fmla="*/ 15120937 w 18"/>
                <a:gd name="T7" fmla="*/ 15120939 h 12"/>
                <a:gd name="T8" fmla="*/ 30241875 w 18"/>
                <a:gd name="T9" fmla="*/ 15120939 h 12"/>
                <a:gd name="T10" fmla="*/ 30241875 w 18"/>
                <a:gd name="T11" fmla="*/ 0 h 12"/>
                <a:gd name="T12" fmla="*/ 45362806 w 18"/>
                <a:gd name="T13" fmla="*/ 0 h 12"/>
                <a:gd name="T14" fmla="*/ 45362806 w 18"/>
                <a:gd name="T15" fmla="*/ 15120939 h 12"/>
                <a:gd name="T16" fmla="*/ 30241875 w 18"/>
                <a:gd name="T17" fmla="*/ 15120939 h 12"/>
                <a:gd name="T18" fmla="*/ 15120937 w 18"/>
                <a:gd name="T19" fmla="*/ 15120939 h 12"/>
                <a:gd name="T20" fmla="*/ 0 w 18"/>
                <a:gd name="T21" fmla="*/ 15120939 h 12"/>
                <a:gd name="T22" fmla="*/ 0 w 18"/>
                <a:gd name="T23" fmla="*/ 30241878 h 12"/>
                <a:gd name="T24" fmla="*/ 0 w 18"/>
                <a:gd name="T25" fmla="*/ 15120939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2"/>
                <a:gd name="T41" fmla="*/ 18 w 1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2">
                  <a:moveTo>
                    <a:pt x="0" y="6"/>
                  </a:moveTo>
                  <a:lnTo>
                    <a:pt x="0" y="0"/>
                  </a:lnTo>
                  <a:lnTo>
                    <a:pt x="6" y="0"/>
                  </a:lnTo>
                  <a:lnTo>
                    <a:pt x="6" y="6"/>
                  </a:lnTo>
                  <a:lnTo>
                    <a:pt x="12" y="6"/>
                  </a:lnTo>
                  <a:lnTo>
                    <a:pt x="12" y="0"/>
                  </a:lnTo>
                  <a:lnTo>
                    <a:pt x="18" y="0"/>
                  </a:lnTo>
                  <a:lnTo>
                    <a:pt x="18" y="6"/>
                  </a:lnTo>
                  <a:lnTo>
                    <a:pt x="12" y="6"/>
                  </a:lnTo>
                  <a:lnTo>
                    <a:pt x="6" y="6"/>
                  </a:lnTo>
                  <a:lnTo>
                    <a:pt x="0" y="6"/>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3" name="Freeform 144"/>
            <p:cNvSpPr>
              <a:spLocks/>
            </p:cNvSpPr>
            <p:nvPr/>
          </p:nvSpPr>
          <p:spPr bwMode="auto">
            <a:xfrm>
              <a:off x="4675722" y="3360962"/>
              <a:ext cx="19401" cy="8779"/>
            </a:xfrm>
            <a:custGeom>
              <a:avLst/>
              <a:gdLst>
                <a:gd name="T0" fmla="*/ 0 w 12"/>
                <a:gd name="T1" fmla="*/ 0 h 6"/>
                <a:gd name="T2" fmla="*/ 15120939 w 12"/>
                <a:gd name="T3" fmla="*/ 0 h 6"/>
                <a:gd name="T4" fmla="*/ 0 w 12"/>
                <a:gd name="T5" fmla="*/ 0 h 6"/>
                <a:gd name="T6" fmla="*/ 0 w 12"/>
                <a:gd name="T7" fmla="*/ 15120939 h 6"/>
                <a:gd name="T8" fmla="*/ 15120939 w 12"/>
                <a:gd name="T9" fmla="*/ 15120939 h 6"/>
                <a:gd name="T10" fmla="*/ 15120939 w 12"/>
                <a:gd name="T11" fmla="*/ 0 h 6"/>
                <a:gd name="T12" fmla="*/ 30241878 w 12"/>
                <a:gd name="T13" fmla="*/ 0 h 6"/>
                <a:gd name="T14" fmla="*/ 15120939 w 12"/>
                <a:gd name="T15" fmla="*/ 0 h 6"/>
                <a:gd name="T16" fmla="*/ 0 w 12"/>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6"/>
                <a:gd name="T29" fmla="*/ 12 w 12"/>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6">
                  <a:moveTo>
                    <a:pt x="0" y="0"/>
                  </a:moveTo>
                  <a:lnTo>
                    <a:pt x="6" y="0"/>
                  </a:lnTo>
                  <a:lnTo>
                    <a:pt x="0" y="0"/>
                  </a:lnTo>
                  <a:lnTo>
                    <a:pt x="0" y="6"/>
                  </a:lnTo>
                  <a:lnTo>
                    <a:pt x="6" y="6"/>
                  </a:lnTo>
                  <a:lnTo>
                    <a:pt x="6" y="0"/>
                  </a:lnTo>
                  <a:lnTo>
                    <a:pt x="12"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4" name="Freeform 145"/>
            <p:cNvSpPr>
              <a:spLocks/>
            </p:cNvSpPr>
            <p:nvPr/>
          </p:nvSpPr>
          <p:spPr bwMode="auto">
            <a:xfrm>
              <a:off x="4577100" y="3341940"/>
              <a:ext cx="19401" cy="19022"/>
            </a:xfrm>
            <a:custGeom>
              <a:avLst/>
              <a:gdLst>
                <a:gd name="T0" fmla="*/ 0 w 12"/>
                <a:gd name="T1" fmla="*/ 32763622 h 13"/>
                <a:gd name="T2" fmla="*/ 0 w 12"/>
                <a:gd name="T3" fmla="*/ 17642316 h 13"/>
                <a:gd name="T4" fmla="*/ 15120939 w 12"/>
                <a:gd name="T5" fmla="*/ 17642316 h 13"/>
                <a:gd name="T6" fmla="*/ 15120939 w 12"/>
                <a:gd name="T7" fmla="*/ 0 h 13"/>
                <a:gd name="T8" fmla="*/ 15120939 w 12"/>
                <a:gd name="T9" fmla="*/ 17642316 h 13"/>
                <a:gd name="T10" fmla="*/ 30241878 w 12"/>
                <a:gd name="T11" fmla="*/ 17642316 h 13"/>
                <a:gd name="T12" fmla="*/ 15120939 w 12"/>
                <a:gd name="T13" fmla="*/ 17642316 h 13"/>
                <a:gd name="T14" fmla="*/ 15120939 w 12"/>
                <a:gd name="T15" fmla="*/ 32763622 h 13"/>
                <a:gd name="T16" fmla="*/ 0 w 12"/>
                <a:gd name="T17" fmla="*/ 3276362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3"/>
                <a:gd name="T29" fmla="*/ 12 w 1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3">
                  <a:moveTo>
                    <a:pt x="0" y="13"/>
                  </a:moveTo>
                  <a:lnTo>
                    <a:pt x="0" y="7"/>
                  </a:lnTo>
                  <a:lnTo>
                    <a:pt x="6" y="7"/>
                  </a:lnTo>
                  <a:lnTo>
                    <a:pt x="6" y="0"/>
                  </a:lnTo>
                  <a:lnTo>
                    <a:pt x="6" y="7"/>
                  </a:lnTo>
                  <a:lnTo>
                    <a:pt x="12" y="7"/>
                  </a:lnTo>
                  <a:lnTo>
                    <a:pt x="6" y="7"/>
                  </a:lnTo>
                  <a:lnTo>
                    <a:pt x="6" y="13"/>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5" name="Freeform 146"/>
            <p:cNvSpPr>
              <a:spLocks/>
            </p:cNvSpPr>
            <p:nvPr/>
          </p:nvSpPr>
          <p:spPr bwMode="auto">
            <a:xfrm>
              <a:off x="4586800" y="3378521"/>
              <a:ext cx="9701" cy="8779"/>
            </a:xfrm>
            <a:custGeom>
              <a:avLst/>
              <a:gdLst>
                <a:gd name="T0" fmla="*/ 0 w 6"/>
                <a:gd name="T1" fmla="*/ 15120939 h 6"/>
                <a:gd name="T2" fmla="*/ 0 w 6"/>
                <a:gd name="T3" fmla="*/ 0 h 6"/>
                <a:gd name="T4" fmla="*/ 15120939 w 6"/>
                <a:gd name="T5" fmla="*/ 0 h 6"/>
                <a:gd name="T6" fmla="*/ 0 w 6"/>
                <a:gd name="T7" fmla="*/ 15120939 h 6"/>
                <a:gd name="T8" fmla="*/ 0 w 6"/>
                <a:gd name="T9" fmla="*/ 0 h 6"/>
                <a:gd name="T10" fmla="*/ 0 w 6"/>
                <a:gd name="T11" fmla="*/ 15120939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6"/>
                  </a:moveTo>
                  <a:lnTo>
                    <a:pt x="0" y="0"/>
                  </a:lnTo>
                  <a:lnTo>
                    <a:pt x="6" y="0"/>
                  </a:lnTo>
                  <a:lnTo>
                    <a:pt x="0"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6" name="Freeform 147"/>
            <p:cNvSpPr>
              <a:spLocks/>
            </p:cNvSpPr>
            <p:nvPr/>
          </p:nvSpPr>
          <p:spPr bwMode="auto">
            <a:xfrm>
              <a:off x="4596501" y="3369741"/>
              <a:ext cx="9701" cy="8779"/>
            </a:xfrm>
            <a:custGeom>
              <a:avLst/>
              <a:gdLst>
                <a:gd name="T0" fmla="*/ 0 w 6"/>
                <a:gd name="T1" fmla="*/ 15120939 h 6"/>
                <a:gd name="T2" fmla="*/ 15120939 w 6"/>
                <a:gd name="T3" fmla="*/ 15120939 h 6"/>
                <a:gd name="T4" fmla="*/ 15120939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7" name="Rectangle 148"/>
            <p:cNvSpPr>
              <a:spLocks noChangeArrowheads="1"/>
            </p:cNvSpPr>
            <p:nvPr/>
          </p:nvSpPr>
          <p:spPr bwMode="auto">
            <a:xfrm>
              <a:off x="4615902" y="3341940"/>
              <a:ext cx="9701" cy="10243"/>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428" name="Freeform 149"/>
            <p:cNvSpPr>
              <a:spLocks/>
            </p:cNvSpPr>
            <p:nvPr/>
          </p:nvSpPr>
          <p:spPr bwMode="auto">
            <a:xfrm>
              <a:off x="4596501" y="3369741"/>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29" name="Freeform 150"/>
            <p:cNvSpPr>
              <a:spLocks/>
            </p:cNvSpPr>
            <p:nvPr/>
          </p:nvSpPr>
          <p:spPr bwMode="auto">
            <a:xfrm>
              <a:off x="4586800" y="3369741"/>
              <a:ext cx="9701" cy="8779"/>
            </a:xfrm>
            <a:custGeom>
              <a:avLst/>
              <a:gdLst>
                <a:gd name="T0" fmla="*/ 0 w 6"/>
                <a:gd name="T1" fmla="*/ 15120939 h 6"/>
                <a:gd name="T2" fmla="*/ 15120939 w 6"/>
                <a:gd name="T3" fmla="*/ 15120939 h 6"/>
                <a:gd name="T4" fmla="*/ 15120939 w 6"/>
                <a:gd name="T5" fmla="*/ 0 h 6"/>
                <a:gd name="T6" fmla="*/ 15120939 w 6"/>
                <a:gd name="T7" fmla="*/ 15120939 h 6"/>
                <a:gd name="T8" fmla="*/ 0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6" y="6"/>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0" name="Freeform 151"/>
            <p:cNvSpPr>
              <a:spLocks/>
            </p:cNvSpPr>
            <p:nvPr/>
          </p:nvSpPr>
          <p:spPr bwMode="auto">
            <a:xfrm>
              <a:off x="3367749" y="1970926"/>
              <a:ext cx="2061392" cy="1668043"/>
            </a:xfrm>
            <a:custGeom>
              <a:avLst/>
              <a:gdLst>
                <a:gd name="T0" fmla="*/ 168849618 w 1275"/>
                <a:gd name="T1" fmla="*/ 2147483647 h 1140"/>
                <a:gd name="T2" fmla="*/ 45362796 w 1275"/>
                <a:gd name="T3" fmla="*/ 2147483647 h 1140"/>
                <a:gd name="T4" fmla="*/ 186491495 w 1275"/>
                <a:gd name="T5" fmla="*/ 2147483647 h 1140"/>
                <a:gd name="T6" fmla="*/ 93244954 w 1275"/>
                <a:gd name="T7" fmla="*/ 2147483647 h 1140"/>
                <a:gd name="T8" fmla="*/ 63003098 w 1275"/>
                <a:gd name="T9" fmla="*/ 2147483647 h 1140"/>
                <a:gd name="T10" fmla="*/ 78124026 w 1275"/>
                <a:gd name="T11" fmla="*/ 2147483647 h 1140"/>
                <a:gd name="T12" fmla="*/ 45362796 w 1275"/>
                <a:gd name="T13" fmla="*/ 2147483647 h 1140"/>
                <a:gd name="T14" fmla="*/ 30241868 w 1275"/>
                <a:gd name="T15" fmla="*/ 2069047395 h 1140"/>
                <a:gd name="T16" fmla="*/ 15120934 w 1275"/>
                <a:gd name="T17" fmla="*/ 2008563671 h 1140"/>
                <a:gd name="T18" fmla="*/ 168849618 w 1275"/>
                <a:gd name="T19" fmla="*/ 1975802447 h 1140"/>
                <a:gd name="T20" fmla="*/ 201612423 w 1275"/>
                <a:gd name="T21" fmla="*/ 1852314050 h 1140"/>
                <a:gd name="T22" fmla="*/ 309978329 w 1275"/>
                <a:gd name="T23" fmla="*/ 1791830326 h 1140"/>
                <a:gd name="T24" fmla="*/ 433466800 w 1275"/>
                <a:gd name="T25" fmla="*/ 1728827241 h 1140"/>
                <a:gd name="T26" fmla="*/ 572074513 w 1275"/>
                <a:gd name="T27" fmla="*/ 1653222189 h 1140"/>
                <a:gd name="T28" fmla="*/ 803928742 w 1275"/>
                <a:gd name="T29" fmla="*/ 1605338447 h 1140"/>
                <a:gd name="T30" fmla="*/ 602316369 w 1275"/>
                <a:gd name="T31" fmla="*/ 1620459378 h 1140"/>
                <a:gd name="T32" fmla="*/ 680441957 w 1275"/>
                <a:gd name="T33" fmla="*/ 1481851637 h 1140"/>
                <a:gd name="T34" fmla="*/ 771167525 w 1275"/>
                <a:gd name="T35" fmla="*/ 1391126051 h 1140"/>
                <a:gd name="T36" fmla="*/ 927417313 w 1275"/>
                <a:gd name="T37" fmla="*/ 1282758585 h 1140"/>
                <a:gd name="T38" fmla="*/ 942538241 w 1275"/>
                <a:gd name="T39" fmla="*/ 1174392706 h 1140"/>
                <a:gd name="T40" fmla="*/ 942538241 w 1275"/>
                <a:gd name="T41" fmla="*/ 1111388033 h 1140"/>
                <a:gd name="T42" fmla="*/ 1003021952 w 1275"/>
                <a:gd name="T43" fmla="*/ 1035783378 h 1140"/>
                <a:gd name="T44" fmla="*/ 1035783169 w 1275"/>
                <a:gd name="T45" fmla="*/ 972780293 h 1140"/>
                <a:gd name="T46" fmla="*/ 1174392470 w 1275"/>
                <a:gd name="T47" fmla="*/ 864412827 h 1140"/>
                <a:gd name="T48" fmla="*/ 1313000182 w 1275"/>
                <a:gd name="T49" fmla="*/ 819049835 h 1140"/>
                <a:gd name="T50" fmla="*/ 1313000182 w 1275"/>
                <a:gd name="T51" fmla="*/ 725804888 h 1140"/>
                <a:gd name="T52" fmla="*/ 1358362966 w 1275"/>
                <a:gd name="T53" fmla="*/ 710683957 h 1140"/>
                <a:gd name="T54" fmla="*/ 1406246698 w 1275"/>
                <a:gd name="T55" fmla="*/ 695563026 h 1140"/>
                <a:gd name="T56" fmla="*/ 1388604822 w 1275"/>
                <a:gd name="T57" fmla="*/ 617437421 h 1140"/>
                <a:gd name="T58" fmla="*/ 1544854411 w 1275"/>
                <a:gd name="T59" fmla="*/ 572074628 h 1140"/>
                <a:gd name="T60" fmla="*/ 1297879254 w 1275"/>
                <a:gd name="T61" fmla="*/ 587195559 h 1140"/>
                <a:gd name="T62" fmla="*/ 1219755253 w 1275"/>
                <a:gd name="T63" fmla="*/ 541832766 h 1140"/>
                <a:gd name="T64" fmla="*/ 1249997109 w 1275"/>
                <a:gd name="T65" fmla="*/ 493950612 h 1140"/>
                <a:gd name="T66" fmla="*/ 1343242038 w 1275"/>
                <a:gd name="T67" fmla="*/ 448587819 h 1140"/>
                <a:gd name="T68" fmla="*/ 1529733483 w 1275"/>
                <a:gd name="T69" fmla="*/ 526711835 h 1140"/>
                <a:gd name="T70" fmla="*/ 1638100927 w 1275"/>
                <a:gd name="T71" fmla="*/ 355342772 h 1140"/>
                <a:gd name="T72" fmla="*/ 1776709037 w 1275"/>
                <a:gd name="T73" fmla="*/ 418345957 h 1140"/>
                <a:gd name="T74" fmla="*/ 1852313677 w 1275"/>
                <a:gd name="T75" fmla="*/ 340221841 h 1140"/>
                <a:gd name="T76" fmla="*/ 1960681121 w 1275"/>
                <a:gd name="T77" fmla="*/ 355342772 h 1140"/>
                <a:gd name="T78" fmla="*/ 2099288834 w 1275"/>
                <a:gd name="T79" fmla="*/ 279736529 h 1140"/>
                <a:gd name="T80" fmla="*/ 2084167906 w 1275"/>
                <a:gd name="T81" fmla="*/ 171370601 h 1140"/>
                <a:gd name="T82" fmla="*/ 2147483647 w 1275"/>
                <a:gd name="T83" fmla="*/ 246975306 h 1140"/>
                <a:gd name="T84" fmla="*/ 2147483647 w 1275"/>
                <a:gd name="T85" fmla="*/ 138607790 h 1140"/>
                <a:gd name="T86" fmla="*/ 2147483647 w 1275"/>
                <a:gd name="T87" fmla="*/ 32761236 h 1140"/>
                <a:gd name="T88" fmla="*/ 2147483647 w 1275"/>
                <a:gd name="T89" fmla="*/ 93244972 h 1140"/>
                <a:gd name="T90" fmla="*/ 2147483647 w 1275"/>
                <a:gd name="T91" fmla="*/ 93244972 h 1140"/>
                <a:gd name="T92" fmla="*/ 2147483647 w 1275"/>
                <a:gd name="T93" fmla="*/ 108365928 h 1140"/>
                <a:gd name="T94" fmla="*/ 2147483647 w 1275"/>
                <a:gd name="T95" fmla="*/ 32761236 h 1140"/>
                <a:gd name="T96" fmla="*/ 2147483647 w 1275"/>
                <a:gd name="T97" fmla="*/ 156249670 h 1140"/>
                <a:gd name="T98" fmla="*/ 2147483647 w 1275"/>
                <a:gd name="T99" fmla="*/ 78124041 h 1140"/>
                <a:gd name="T100" fmla="*/ 2147483647 w 1275"/>
                <a:gd name="T101" fmla="*/ 186491532 h 1140"/>
                <a:gd name="T102" fmla="*/ 2147483647 w 1275"/>
                <a:gd name="T103" fmla="*/ 262096237 h 1140"/>
                <a:gd name="T104" fmla="*/ 2147483647 w 1275"/>
                <a:gd name="T105" fmla="*/ 279736529 h 1140"/>
                <a:gd name="T106" fmla="*/ 2147483647 w 1275"/>
                <a:gd name="T107" fmla="*/ 433466888 h 1140"/>
                <a:gd name="T108" fmla="*/ 2147483647 w 1275"/>
                <a:gd name="T109" fmla="*/ 355342772 h 1140"/>
                <a:gd name="T110" fmla="*/ 2147483647 w 1275"/>
                <a:gd name="T111" fmla="*/ 526711835 h 1140"/>
                <a:gd name="T112" fmla="*/ 1575096267 w 1275"/>
                <a:gd name="T113" fmla="*/ 680442094 h 1140"/>
                <a:gd name="T114" fmla="*/ 879533580 w 1275"/>
                <a:gd name="T115" fmla="*/ 1653222189 h 1140"/>
                <a:gd name="T116" fmla="*/ 942538241 w 1275"/>
                <a:gd name="T117" fmla="*/ 2147483647 h 1140"/>
                <a:gd name="T118" fmla="*/ 756046597 w 1275"/>
                <a:gd name="T119" fmla="*/ 2147483647 h 1140"/>
                <a:gd name="T120" fmla="*/ 632558225 w 1275"/>
                <a:gd name="T121" fmla="*/ 2147483647 h 1140"/>
                <a:gd name="T122" fmla="*/ 340220185 w 1275"/>
                <a:gd name="T123" fmla="*/ 2147483647 h 11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75"/>
                <a:gd name="T187" fmla="*/ 0 h 1140"/>
                <a:gd name="T188" fmla="*/ 1275 w 1275"/>
                <a:gd name="T189" fmla="*/ 1140 h 114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75" h="1140">
                  <a:moveTo>
                    <a:pt x="74" y="1109"/>
                  </a:moveTo>
                  <a:lnTo>
                    <a:pt x="67" y="1109"/>
                  </a:lnTo>
                  <a:lnTo>
                    <a:pt x="61" y="1109"/>
                  </a:lnTo>
                  <a:lnTo>
                    <a:pt x="55" y="1103"/>
                  </a:lnTo>
                  <a:lnTo>
                    <a:pt x="55" y="1097"/>
                  </a:lnTo>
                  <a:lnTo>
                    <a:pt x="49" y="1097"/>
                  </a:lnTo>
                  <a:lnTo>
                    <a:pt x="43" y="1097"/>
                  </a:lnTo>
                  <a:lnTo>
                    <a:pt x="37" y="1084"/>
                  </a:lnTo>
                  <a:lnTo>
                    <a:pt x="31" y="1084"/>
                  </a:lnTo>
                  <a:lnTo>
                    <a:pt x="31" y="1078"/>
                  </a:lnTo>
                  <a:lnTo>
                    <a:pt x="31" y="1072"/>
                  </a:lnTo>
                  <a:lnTo>
                    <a:pt x="31" y="1066"/>
                  </a:lnTo>
                  <a:lnTo>
                    <a:pt x="31" y="1060"/>
                  </a:lnTo>
                  <a:lnTo>
                    <a:pt x="31" y="1054"/>
                  </a:lnTo>
                  <a:lnTo>
                    <a:pt x="31" y="1048"/>
                  </a:lnTo>
                  <a:lnTo>
                    <a:pt x="43" y="1054"/>
                  </a:lnTo>
                  <a:lnTo>
                    <a:pt x="43" y="1060"/>
                  </a:lnTo>
                  <a:lnTo>
                    <a:pt x="49" y="1054"/>
                  </a:lnTo>
                  <a:lnTo>
                    <a:pt x="49" y="1060"/>
                  </a:lnTo>
                  <a:lnTo>
                    <a:pt x="61" y="1066"/>
                  </a:lnTo>
                  <a:lnTo>
                    <a:pt x="55" y="1060"/>
                  </a:lnTo>
                  <a:lnTo>
                    <a:pt x="86" y="1048"/>
                  </a:lnTo>
                  <a:lnTo>
                    <a:pt x="61" y="1054"/>
                  </a:lnTo>
                  <a:lnTo>
                    <a:pt x="55" y="1054"/>
                  </a:lnTo>
                  <a:lnTo>
                    <a:pt x="55" y="1048"/>
                  </a:lnTo>
                  <a:lnTo>
                    <a:pt x="49" y="1048"/>
                  </a:lnTo>
                  <a:lnTo>
                    <a:pt x="49" y="1042"/>
                  </a:lnTo>
                  <a:lnTo>
                    <a:pt x="61" y="1035"/>
                  </a:lnTo>
                  <a:lnTo>
                    <a:pt x="55" y="1042"/>
                  </a:lnTo>
                  <a:lnTo>
                    <a:pt x="61" y="1029"/>
                  </a:lnTo>
                  <a:lnTo>
                    <a:pt x="74" y="1023"/>
                  </a:lnTo>
                  <a:lnTo>
                    <a:pt x="61" y="1029"/>
                  </a:lnTo>
                  <a:lnTo>
                    <a:pt x="61" y="1023"/>
                  </a:lnTo>
                  <a:lnTo>
                    <a:pt x="67" y="1023"/>
                  </a:lnTo>
                  <a:lnTo>
                    <a:pt x="55" y="1023"/>
                  </a:lnTo>
                  <a:lnTo>
                    <a:pt x="55" y="1017"/>
                  </a:lnTo>
                  <a:lnTo>
                    <a:pt x="61" y="1017"/>
                  </a:lnTo>
                  <a:lnTo>
                    <a:pt x="67" y="1011"/>
                  </a:lnTo>
                  <a:lnTo>
                    <a:pt x="80" y="1005"/>
                  </a:lnTo>
                  <a:lnTo>
                    <a:pt x="74" y="1005"/>
                  </a:lnTo>
                  <a:lnTo>
                    <a:pt x="67" y="1005"/>
                  </a:lnTo>
                  <a:lnTo>
                    <a:pt x="74" y="993"/>
                  </a:lnTo>
                  <a:lnTo>
                    <a:pt x="61" y="1011"/>
                  </a:lnTo>
                  <a:lnTo>
                    <a:pt x="55" y="1017"/>
                  </a:lnTo>
                  <a:lnTo>
                    <a:pt x="49" y="1023"/>
                  </a:lnTo>
                  <a:lnTo>
                    <a:pt x="49" y="1011"/>
                  </a:lnTo>
                  <a:lnTo>
                    <a:pt x="61" y="1011"/>
                  </a:lnTo>
                  <a:lnTo>
                    <a:pt x="49" y="1011"/>
                  </a:lnTo>
                  <a:lnTo>
                    <a:pt x="43" y="1005"/>
                  </a:lnTo>
                  <a:lnTo>
                    <a:pt x="43" y="1011"/>
                  </a:lnTo>
                  <a:lnTo>
                    <a:pt x="37" y="1017"/>
                  </a:lnTo>
                  <a:lnTo>
                    <a:pt x="43" y="1011"/>
                  </a:lnTo>
                  <a:lnTo>
                    <a:pt x="49" y="1017"/>
                  </a:lnTo>
                  <a:lnTo>
                    <a:pt x="49" y="1023"/>
                  </a:lnTo>
                  <a:lnTo>
                    <a:pt x="37" y="1023"/>
                  </a:lnTo>
                  <a:lnTo>
                    <a:pt x="37" y="1029"/>
                  </a:lnTo>
                  <a:lnTo>
                    <a:pt x="37" y="1023"/>
                  </a:lnTo>
                  <a:lnTo>
                    <a:pt x="37" y="1011"/>
                  </a:lnTo>
                  <a:lnTo>
                    <a:pt x="25" y="1011"/>
                  </a:lnTo>
                  <a:lnTo>
                    <a:pt x="31" y="1011"/>
                  </a:lnTo>
                  <a:lnTo>
                    <a:pt x="31" y="1029"/>
                  </a:lnTo>
                  <a:lnTo>
                    <a:pt x="18" y="1029"/>
                  </a:lnTo>
                  <a:lnTo>
                    <a:pt x="18" y="1035"/>
                  </a:lnTo>
                  <a:lnTo>
                    <a:pt x="12" y="1035"/>
                  </a:lnTo>
                  <a:lnTo>
                    <a:pt x="12" y="1017"/>
                  </a:lnTo>
                  <a:lnTo>
                    <a:pt x="18" y="1011"/>
                  </a:lnTo>
                  <a:lnTo>
                    <a:pt x="12" y="1005"/>
                  </a:lnTo>
                  <a:lnTo>
                    <a:pt x="18" y="999"/>
                  </a:lnTo>
                  <a:lnTo>
                    <a:pt x="25" y="999"/>
                  </a:lnTo>
                  <a:lnTo>
                    <a:pt x="31" y="999"/>
                  </a:lnTo>
                  <a:lnTo>
                    <a:pt x="25" y="993"/>
                  </a:lnTo>
                  <a:lnTo>
                    <a:pt x="31" y="993"/>
                  </a:lnTo>
                  <a:lnTo>
                    <a:pt x="31" y="1005"/>
                  </a:lnTo>
                  <a:lnTo>
                    <a:pt x="25" y="1005"/>
                  </a:lnTo>
                  <a:lnTo>
                    <a:pt x="25" y="1011"/>
                  </a:lnTo>
                  <a:lnTo>
                    <a:pt x="31" y="1005"/>
                  </a:lnTo>
                  <a:lnTo>
                    <a:pt x="31" y="993"/>
                  </a:lnTo>
                  <a:lnTo>
                    <a:pt x="43" y="999"/>
                  </a:lnTo>
                  <a:lnTo>
                    <a:pt x="49" y="993"/>
                  </a:lnTo>
                  <a:lnTo>
                    <a:pt x="43" y="999"/>
                  </a:lnTo>
                  <a:lnTo>
                    <a:pt x="43" y="993"/>
                  </a:lnTo>
                  <a:lnTo>
                    <a:pt x="49" y="986"/>
                  </a:lnTo>
                  <a:lnTo>
                    <a:pt x="55" y="986"/>
                  </a:lnTo>
                  <a:lnTo>
                    <a:pt x="67" y="980"/>
                  </a:lnTo>
                  <a:lnTo>
                    <a:pt x="49" y="986"/>
                  </a:lnTo>
                  <a:lnTo>
                    <a:pt x="55" y="980"/>
                  </a:lnTo>
                  <a:lnTo>
                    <a:pt x="49" y="986"/>
                  </a:lnTo>
                  <a:lnTo>
                    <a:pt x="43" y="980"/>
                  </a:lnTo>
                  <a:lnTo>
                    <a:pt x="37" y="980"/>
                  </a:lnTo>
                  <a:lnTo>
                    <a:pt x="43" y="974"/>
                  </a:lnTo>
                  <a:lnTo>
                    <a:pt x="49" y="968"/>
                  </a:lnTo>
                  <a:lnTo>
                    <a:pt x="55" y="968"/>
                  </a:lnTo>
                  <a:lnTo>
                    <a:pt x="55" y="962"/>
                  </a:lnTo>
                  <a:lnTo>
                    <a:pt x="61" y="956"/>
                  </a:lnTo>
                  <a:lnTo>
                    <a:pt x="67" y="956"/>
                  </a:lnTo>
                  <a:lnTo>
                    <a:pt x="67" y="950"/>
                  </a:lnTo>
                  <a:lnTo>
                    <a:pt x="67" y="956"/>
                  </a:lnTo>
                  <a:lnTo>
                    <a:pt x="61" y="956"/>
                  </a:lnTo>
                  <a:lnTo>
                    <a:pt x="55" y="950"/>
                  </a:lnTo>
                  <a:lnTo>
                    <a:pt x="61" y="950"/>
                  </a:lnTo>
                  <a:lnTo>
                    <a:pt x="67" y="944"/>
                  </a:lnTo>
                  <a:lnTo>
                    <a:pt x="74" y="937"/>
                  </a:lnTo>
                  <a:lnTo>
                    <a:pt x="74" y="931"/>
                  </a:lnTo>
                  <a:lnTo>
                    <a:pt x="80" y="931"/>
                  </a:lnTo>
                  <a:lnTo>
                    <a:pt x="80" y="925"/>
                  </a:lnTo>
                  <a:lnTo>
                    <a:pt x="86" y="931"/>
                  </a:lnTo>
                  <a:lnTo>
                    <a:pt x="86" y="937"/>
                  </a:lnTo>
                  <a:lnTo>
                    <a:pt x="80" y="944"/>
                  </a:lnTo>
                  <a:lnTo>
                    <a:pt x="80" y="956"/>
                  </a:lnTo>
                  <a:lnTo>
                    <a:pt x="86" y="950"/>
                  </a:lnTo>
                  <a:lnTo>
                    <a:pt x="86" y="944"/>
                  </a:lnTo>
                  <a:lnTo>
                    <a:pt x="86" y="931"/>
                  </a:lnTo>
                  <a:lnTo>
                    <a:pt x="92" y="931"/>
                  </a:lnTo>
                  <a:lnTo>
                    <a:pt x="92" y="925"/>
                  </a:lnTo>
                  <a:lnTo>
                    <a:pt x="98" y="925"/>
                  </a:lnTo>
                  <a:lnTo>
                    <a:pt x="104" y="925"/>
                  </a:lnTo>
                  <a:lnTo>
                    <a:pt x="104" y="919"/>
                  </a:lnTo>
                  <a:lnTo>
                    <a:pt x="98" y="925"/>
                  </a:lnTo>
                  <a:lnTo>
                    <a:pt x="92" y="925"/>
                  </a:lnTo>
                  <a:lnTo>
                    <a:pt x="86" y="931"/>
                  </a:lnTo>
                  <a:lnTo>
                    <a:pt x="86" y="925"/>
                  </a:lnTo>
                  <a:lnTo>
                    <a:pt x="86" y="919"/>
                  </a:lnTo>
                  <a:lnTo>
                    <a:pt x="80" y="925"/>
                  </a:lnTo>
                  <a:lnTo>
                    <a:pt x="74" y="931"/>
                  </a:lnTo>
                  <a:lnTo>
                    <a:pt x="67" y="931"/>
                  </a:lnTo>
                  <a:lnTo>
                    <a:pt x="61" y="931"/>
                  </a:lnTo>
                  <a:lnTo>
                    <a:pt x="61" y="937"/>
                  </a:lnTo>
                  <a:lnTo>
                    <a:pt x="61" y="944"/>
                  </a:lnTo>
                  <a:lnTo>
                    <a:pt x="55" y="944"/>
                  </a:lnTo>
                  <a:lnTo>
                    <a:pt x="49" y="950"/>
                  </a:lnTo>
                  <a:lnTo>
                    <a:pt x="49" y="956"/>
                  </a:lnTo>
                  <a:lnTo>
                    <a:pt x="49" y="962"/>
                  </a:lnTo>
                  <a:lnTo>
                    <a:pt x="43" y="968"/>
                  </a:lnTo>
                  <a:lnTo>
                    <a:pt x="37" y="962"/>
                  </a:lnTo>
                  <a:lnTo>
                    <a:pt x="37" y="968"/>
                  </a:lnTo>
                  <a:lnTo>
                    <a:pt x="37" y="974"/>
                  </a:lnTo>
                  <a:lnTo>
                    <a:pt x="31" y="974"/>
                  </a:lnTo>
                  <a:lnTo>
                    <a:pt x="25" y="968"/>
                  </a:lnTo>
                  <a:lnTo>
                    <a:pt x="31" y="962"/>
                  </a:lnTo>
                  <a:lnTo>
                    <a:pt x="37" y="962"/>
                  </a:lnTo>
                  <a:lnTo>
                    <a:pt x="43" y="962"/>
                  </a:lnTo>
                  <a:lnTo>
                    <a:pt x="43" y="956"/>
                  </a:lnTo>
                  <a:lnTo>
                    <a:pt x="37" y="950"/>
                  </a:lnTo>
                  <a:lnTo>
                    <a:pt x="37" y="956"/>
                  </a:lnTo>
                  <a:lnTo>
                    <a:pt x="31" y="950"/>
                  </a:lnTo>
                  <a:lnTo>
                    <a:pt x="37" y="944"/>
                  </a:lnTo>
                  <a:lnTo>
                    <a:pt x="43" y="944"/>
                  </a:lnTo>
                  <a:lnTo>
                    <a:pt x="37" y="944"/>
                  </a:lnTo>
                  <a:lnTo>
                    <a:pt x="37" y="937"/>
                  </a:lnTo>
                  <a:lnTo>
                    <a:pt x="43" y="931"/>
                  </a:lnTo>
                  <a:lnTo>
                    <a:pt x="37" y="931"/>
                  </a:lnTo>
                  <a:lnTo>
                    <a:pt x="37" y="937"/>
                  </a:lnTo>
                  <a:lnTo>
                    <a:pt x="31" y="937"/>
                  </a:lnTo>
                  <a:lnTo>
                    <a:pt x="31" y="944"/>
                  </a:lnTo>
                  <a:lnTo>
                    <a:pt x="31" y="950"/>
                  </a:lnTo>
                  <a:lnTo>
                    <a:pt x="25" y="950"/>
                  </a:lnTo>
                  <a:lnTo>
                    <a:pt x="18" y="950"/>
                  </a:lnTo>
                  <a:lnTo>
                    <a:pt x="18" y="944"/>
                  </a:lnTo>
                  <a:lnTo>
                    <a:pt x="12" y="944"/>
                  </a:lnTo>
                  <a:lnTo>
                    <a:pt x="12" y="950"/>
                  </a:lnTo>
                  <a:lnTo>
                    <a:pt x="6" y="944"/>
                  </a:lnTo>
                  <a:lnTo>
                    <a:pt x="6" y="937"/>
                  </a:lnTo>
                  <a:lnTo>
                    <a:pt x="0" y="937"/>
                  </a:lnTo>
                  <a:lnTo>
                    <a:pt x="6" y="931"/>
                  </a:lnTo>
                  <a:lnTo>
                    <a:pt x="12" y="931"/>
                  </a:lnTo>
                  <a:lnTo>
                    <a:pt x="18" y="931"/>
                  </a:lnTo>
                  <a:lnTo>
                    <a:pt x="18" y="925"/>
                  </a:lnTo>
                  <a:lnTo>
                    <a:pt x="18" y="919"/>
                  </a:lnTo>
                  <a:lnTo>
                    <a:pt x="25" y="919"/>
                  </a:lnTo>
                  <a:lnTo>
                    <a:pt x="25" y="913"/>
                  </a:lnTo>
                  <a:lnTo>
                    <a:pt x="31" y="913"/>
                  </a:lnTo>
                  <a:lnTo>
                    <a:pt x="31" y="907"/>
                  </a:lnTo>
                  <a:lnTo>
                    <a:pt x="31" y="913"/>
                  </a:lnTo>
                  <a:lnTo>
                    <a:pt x="25" y="913"/>
                  </a:lnTo>
                  <a:lnTo>
                    <a:pt x="18" y="919"/>
                  </a:lnTo>
                  <a:lnTo>
                    <a:pt x="12" y="913"/>
                  </a:lnTo>
                  <a:lnTo>
                    <a:pt x="6" y="907"/>
                  </a:lnTo>
                  <a:lnTo>
                    <a:pt x="0" y="907"/>
                  </a:lnTo>
                  <a:lnTo>
                    <a:pt x="0" y="901"/>
                  </a:lnTo>
                  <a:lnTo>
                    <a:pt x="6" y="907"/>
                  </a:lnTo>
                  <a:lnTo>
                    <a:pt x="12" y="907"/>
                  </a:lnTo>
                  <a:lnTo>
                    <a:pt x="18" y="907"/>
                  </a:lnTo>
                  <a:lnTo>
                    <a:pt x="18" y="913"/>
                  </a:lnTo>
                  <a:lnTo>
                    <a:pt x="18" y="907"/>
                  </a:lnTo>
                  <a:lnTo>
                    <a:pt x="12" y="907"/>
                  </a:lnTo>
                  <a:lnTo>
                    <a:pt x="12" y="901"/>
                  </a:lnTo>
                  <a:lnTo>
                    <a:pt x="6" y="901"/>
                  </a:lnTo>
                  <a:lnTo>
                    <a:pt x="0" y="901"/>
                  </a:lnTo>
                  <a:lnTo>
                    <a:pt x="0" y="895"/>
                  </a:lnTo>
                  <a:lnTo>
                    <a:pt x="6" y="895"/>
                  </a:lnTo>
                  <a:lnTo>
                    <a:pt x="12" y="895"/>
                  </a:lnTo>
                  <a:lnTo>
                    <a:pt x="18" y="901"/>
                  </a:lnTo>
                  <a:lnTo>
                    <a:pt x="18" y="895"/>
                  </a:lnTo>
                  <a:lnTo>
                    <a:pt x="12" y="895"/>
                  </a:lnTo>
                  <a:lnTo>
                    <a:pt x="6" y="888"/>
                  </a:lnTo>
                  <a:lnTo>
                    <a:pt x="12" y="888"/>
                  </a:lnTo>
                  <a:lnTo>
                    <a:pt x="12" y="882"/>
                  </a:lnTo>
                  <a:lnTo>
                    <a:pt x="6" y="882"/>
                  </a:lnTo>
                  <a:lnTo>
                    <a:pt x="6" y="876"/>
                  </a:lnTo>
                  <a:lnTo>
                    <a:pt x="12" y="870"/>
                  </a:lnTo>
                  <a:lnTo>
                    <a:pt x="18" y="870"/>
                  </a:lnTo>
                  <a:lnTo>
                    <a:pt x="18" y="876"/>
                  </a:lnTo>
                  <a:lnTo>
                    <a:pt x="25" y="876"/>
                  </a:lnTo>
                  <a:lnTo>
                    <a:pt x="31" y="876"/>
                  </a:lnTo>
                  <a:lnTo>
                    <a:pt x="37" y="870"/>
                  </a:lnTo>
                  <a:lnTo>
                    <a:pt x="43" y="870"/>
                  </a:lnTo>
                  <a:lnTo>
                    <a:pt x="49" y="864"/>
                  </a:lnTo>
                  <a:lnTo>
                    <a:pt x="55" y="870"/>
                  </a:lnTo>
                  <a:lnTo>
                    <a:pt x="61" y="870"/>
                  </a:lnTo>
                  <a:lnTo>
                    <a:pt x="67" y="870"/>
                  </a:lnTo>
                  <a:lnTo>
                    <a:pt x="74" y="870"/>
                  </a:lnTo>
                  <a:lnTo>
                    <a:pt x="80" y="870"/>
                  </a:lnTo>
                  <a:lnTo>
                    <a:pt x="86" y="864"/>
                  </a:lnTo>
                  <a:lnTo>
                    <a:pt x="98" y="864"/>
                  </a:lnTo>
                  <a:lnTo>
                    <a:pt x="98" y="870"/>
                  </a:lnTo>
                  <a:lnTo>
                    <a:pt x="104" y="870"/>
                  </a:lnTo>
                  <a:lnTo>
                    <a:pt x="116" y="870"/>
                  </a:lnTo>
                  <a:lnTo>
                    <a:pt x="110" y="864"/>
                  </a:lnTo>
                  <a:lnTo>
                    <a:pt x="104" y="864"/>
                  </a:lnTo>
                  <a:lnTo>
                    <a:pt x="98" y="870"/>
                  </a:lnTo>
                  <a:lnTo>
                    <a:pt x="98" y="864"/>
                  </a:lnTo>
                  <a:lnTo>
                    <a:pt x="104" y="864"/>
                  </a:lnTo>
                  <a:lnTo>
                    <a:pt x="98" y="864"/>
                  </a:lnTo>
                  <a:lnTo>
                    <a:pt x="86" y="864"/>
                  </a:lnTo>
                  <a:lnTo>
                    <a:pt x="80" y="858"/>
                  </a:lnTo>
                  <a:lnTo>
                    <a:pt x="80" y="864"/>
                  </a:lnTo>
                  <a:lnTo>
                    <a:pt x="74" y="870"/>
                  </a:lnTo>
                  <a:lnTo>
                    <a:pt x="67" y="870"/>
                  </a:lnTo>
                  <a:lnTo>
                    <a:pt x="67" y="864"/>
                  </a:lnTo>
                  <a:lnTo>
                    <a:pt x="61" y="864"/>
                  </a:lnTo>
                  <a:lnTo>
                    <a:pt x="55" y="864"/>
                  </a:lnTo>
                  <a:lnTo>
                    <a:pt x="49" y="864"/>
                  </a:lnTo>
                  <a:lnTo>
                    <a:pt x="43" y="864"/>
                  </a:lnTo>
                  <a:lnTo>
                    <a:pt x="37" y="864"/>
                  </a:lnTo>
                  <a:lnTo>
                    <a:pt x="31" y="870"/>
                  </a:lnTo>
                  <a:lnTo>
                    <a:pt x="25" y="870"/>
                  </a:lnTo>
                  <a:lnTo>
                    <a:pt x="18" y="870"/>
                  </a:lnTo>
                  <a:lnTo>
                    <a:pt x="18" y="864"/>
                  </a:lnTo>
                  <a:lnTo>
                    <a:pt x="12" y="864"/>
                  </a:lnTo>
                  <a:lnTo>
                    <a:pt x="18" y="864"/>
                  </a:lnTo>
                  <a:lnTo>
                    <a:pt x="12" y="858"/>
                  </a:lnTo>
                  <a:lnTo>
                    <a:pt x="6" y="858"/>
                  </a:lnTo>
                  <a:lnTo>
                    <a:pt x="12" y="858"/>
                  </a:lnTo>
                  <a:lnTo>
                    <a:pt x="6" y="858"/>
                  </a:lnTo>
                  <a:lnTo>
                    <a:pt x="6" y="852"/>
                  </a:lnTo>
                  <a:lnTo>
                    <a:pt x="12" y="852"/>
                  </a:lnTo>
                  <a:lnTo>
                    <a:pt x="18" y="852"/>
                  </a:lnTo>
                  <a:lnTo>
                    <a:pt x="18" y="846"/>
                  </a:lnTo>
                  <a:lnTo>
                    <a:pt x="6" y="846"/>
                  </a:lnTo>
                  <a:lnTo>
                    <a:pt x="12" y="839"/>
                  </a:lnTo>
                  <a:lnTo>
                    <a:pt x="6" y="839"/>
                  </a:lnTo>
                  <a:lnTo>
                    <a:pt x="6" y="846"/>
                  </a:lnTo>
                  <a:lnTo>
                    <a:pt x="6" y="839"/>
                  </a:lnTo>
                  <a:lnTo>
                    <a:pt x="12" y="839"/>
                  </a:lnTo>
                  <a:lnTo>
                    <a:pt x="18" y="839"/>
                  </a:lnTo>
                  <a:lnTo>
                    <a:pt x="25" y="839"/>
                  </a:lnTo>
                  <a:lnTo>
                    <a:pt x="31" y="839"/>
                  </a:lnTo>
                  <a:lnTo>
                    <a:pt x="37" y="839"/>
                  </a:lnTo>
                  <a:lnTo>
                    <a:pt x="37" y="833"/>
                  </a:lnTo>
                  <a:lnTo>
                    <a:pt x="43" y="839"/>
                  </a:lnTo>
                  <a:lnTo>
                    <a:pt x="43" y="833"/>
                  </a:lnTo>
                  <a:lnTo>
                    <a:pt x="37" y="833"/>
                  </a:lnTo>
                  <a:lnTo>
                    <a:pt x="31" y="839"/>
                  </a:lnTo>
                  <a:lnTo>
                    <a:pt x="25" y="833"/>
                  </a:lnTo>
                  <a:lnTo>
                    <a:pt x="18" y="833"/>
                  </a:lnTo>
                  <a:lnTo>
                    <a:pt x="12" y="833"/>
                  </a:lnTo>
                  <a:lnTo>
                    <a:pt x="12" y="827"/>
                  </a:lnTo>
                  <a:lnTo>
                    <a:pt x="18" y="833"/>
                  </a:lnTo>
                  <a:lnTo>
                    <a:pt x="25" y="827"/>
                  </a:lnTo>
                  <a:lnTo>
                    <a:pt x="18" y="827"/>
                  </a:lnTo>
                  <a:lnTo>
                    <a:pt x="12" y="827"/>
                  </a:lnTo>
                  <a:lnTo>
                    <a:pt x="12" y="821"/>
                  </a:lnTo>
                  <a:lnTo>
                    <a:pt x="6" y="821"/>
                  </a:lnTo>
                  <a:lnTo>
                    <a:pt x="6" y="815"/>
                  </a:lnTo>
                  <a:lnTo>
                    <a:pt x="6" y="809"/>
                  </a:lnTo>
                  <a:lnTo>
                    <a:pt x="12" y="815"/>
                  </a:lnTo>
                  <a:lnTo>
                    <a:pt x="12" y="809"/>
                  </a:lnTo>
                  <a:lnTo>
                    <a:pt x="18" y="809"/>
                  </a:lnTo>
                  <a:lnTo>
                    <a:pt x="6" y="809"/>
                  </a:lnTo>
                  <a:lnTo>
                    <a:pt x="12" y="809"/>
                  </a:lnTo>
                  <a:lnTo>
                    <a:pt x="18" y="803"/>
                  </a:lnTo>
                  <a:lnTo>
                    <a:pt x="25" y="803"/>
                  </a:lnTo>
                  <a:lnTo>
                    <a:pt x="18" y="803"/>
                  </a:lnTo>
                  <a:lnTo>
                    <a:pt x="25" y="797"/>
                  </a:lnTo>
                  <a:lnTo>
                    <a:pt x="37" y="803"/>
                  </a:lnTo>
                  <a:lnTo>
                    <a:pt x="49" y="803"/>
                  </a:lnTo>
                  <a:lnTo>
                    <a:pt x="55" y="803"/>
                  </a:lnTo>
                  <a:lnTo>
                    <a:pt x="49" y="803"/>
                  </a:lnTo>
                  <a:lnTo>
                    <a:pt x="49" y="809"/>
                  </a:lnTo>
                  <a:lnTo>
                    <a:pt x="49" y="815"/>
                  </a:lnTo>
                  <a:lnTo>
                    <a:pt x="49" y="809"/>
                  </a:lnTo>
                  <a:lnTo>
                    <a:pt x="55" y="809"/>
                  </a:lnTo>
                  <a:lnTo>
                    <a:pt x="55" y="803"/>
                  </a:lnTo>
                  <a:lnTo>
                    <a:pt x="49" y="803"/>
                  </a:lnTo>
                  <a:lnTo>
                    <a:pt x="43" y="803"/>
                  </a:lnTo>
                  <a:lnTo>
                    <a:pt x="43" y="797"/>
                  </a:lnTo>
                  <a:lnTo>
                    <a:pt x="49" y="797"/>
                  </a:lnTo>
                  <a:lnTo>
                    <a:pt x="55" y="797"/>
                  </a:lnTo>
                  <a:lnTo>
                    <a:pt x="49" y="797"/>
                  </a:lnTo>
                  <a:lnTo>
                    <a:pt x="43" y="797"/>
                  </a:lnTo>
                  <a:lnTo>
                    <a:pt x="37" y="797"/>
                  </a:lnTo>
                  <a:lnTo>
                    <a:pt x="31" y="797"/>
                  </a:lnTo>
                  <a:lnTo>
                    <a:pt x="25" y="797"/>
                  </a:lnTo>
                  <a:lnTo>
                    <a:pt x="18" y="797"/>
                  </a:lnTo>
                  <a:lnTo>
                    <a:pt x="12" y="797"/>
                  </a:lnTo>
                  <a:lnTo>
                    <a:pt x="6" y="797"/>
                  </a:lnTo>
                  <a:lnTo>
                    <a:pt x="6" y="790"/>
                  </a:lnTo>
                  <a:lnTo>
                    <a:pt x="6" y="784"/>
                  </a:lnTo>
                  <a:lnTo>
                    <a:pt x="6" y="790"/>
                  </a:lnTo>
                  <a:lnTo>
                    <a:pt x="12" y="784"/>
                  </a:lnTo>
                  <a:lnTo>
                    <a:pt x="12" y="790"/>
                  </a:lnTo>
                  <a:lnTo>
                    <a:pt x="18" y="790"/>
                  </a:lnTo>
                  <a:lnTo>
                    <a:pt x="25" y="784"/>
                  </a:lnTo>
                  <a:lnTo>
                    <a:pt x="18" y="784"/>
                  </a:lnTo>
                  <a:lnTo>
                    <a:pt x="18" y="778"/>
                  </a:lnTo>
                  <a:lnTo>
                    <a:pt x="12" y="778"/>
                  </a:lnTo>
                  <a:lnTo>
                    <a:pt x="6" y="772"/>
                  </a:lnTo>
                  <a:lnTo>
                    <a:pt x="12" y="772"/>
                  </a:lnTo>
                  <a:lnTo>
                    <a:pt x="18" y="772"/>
                  </a:lnTo>
                  <a:lnTo>
                    <a:pt x="18" y="778"/>
                  </a:lnTo>
                  <a:lnTo>
                    <a:pt x="31" y="784"/>
                  </a:lnTo>
                  <a:lnTo>
                    <a:pt x="37" y="784"/>
                  </a:lnTo>
                  <a:lnTo>
                    <a:pt x="31" y="784"/>
                  </a:lnTo>
                  <a:lnTo>
                    <a:pt x="31" y="778"/>
                  </a:lnTo>
                  <a:lnTo>
                    <a:pt x="25" y="778"/>
                  </a:lnTo>
                  <a:lnTo>
                    <a:pt x="25" y="772"/>
                  </a:lnTo>
                  <a:lnTo>
                    <a:pt x="31" y="772"/>
                  </a:lnTo>
                  <a:lnTo>
                    <a:pt x="31" y="778"/>
                  </a:lnTo>
                  <a:lnTo>
                    <a:pt x="37" y="778"/>
                  </a:lnTo>
                  <a:lnTo>
                    <a:pt x="43" y="772"/>
                  </a:lnTo>
                  <a:lnTo>
                    <a:pt x="49" y="772"/>
                  </a:lnTo>
                  <a:lnTo>
                    <a:pt x="49" y="778"/>
                  </a:lnTo>
                  <a:lnTo>
                    <a:pt x="43" y="784"/>
                  </a:lnTo>
                  <a:lnTo>
                    <a:pt x="43" y="790"/>
                  </a:lnTo>
                  <a:lnTo>
                    <a:pt x="49" y="784"/>
                  </a:lnTo>
                  <a:lnTo>
                    <a:pt x="55" y="784"/>
                  </a:lnTo>
                  <a:lnTo>
                    <a:pt x="55" y="778"/>
                  </a:lnTo>
                  <a:lnTo>
                    <a:pt x="55" y="784"/>
                  </a:lnTo>
                  <a:lnTo>
                    <a:pt x="61" y="784"/>
                  </a:lnTo>
                  <a:lnTo>
                    <a:pt x="67" y="784"/>
                  </a:lnTo>
                  <a:lnTo>
                    <a:pt x="61" y="784"/>
                  </a:lnTo>
                  <a:lnTo>
                    <a:pt x="55" y="778"/>
                  </a:lnTo>
                  <a:lnTo>
                    <a:pt x="49" y="772"/>
                  </a:lnTo>
                  <a:lnTo>
                    <a:pt x="55" y="772"/>
                  </a:lnTo>
                  <a:lnTo>
                    <a:pt x="49" y="766"/>
                  </a:lnTo>
                  <a:lnTo>
                    <a:pt x="61" y="760"/>
                  </a:lnTo>
                  <a:lnTo>
                    <a:pt x="67" y="760"/>
                  </a:lnTo>
                  <a:lnTo>
                    <a:pt x="74" y="760"/>
                  </a:lnTo>
                  <a:lnTo>
                    <a:pt x="74" y="766"/>
                  </a:lnTo>
                  <a:lnTo>
                    <a:pt x="80" y="772"/>
                  </a:lnTo>
                  <a:lnTo>
                    <a:pt x="80" y="778"/>
                  </a:lnTo>
                  <a:lnTo>
                    <a:pt x="86" y="778"/>
                  </a:lnTo>
                  <a:lnTo>
                    <a:pt x="80" y="766"/>
                  </a:lnTo>
                  <a:lnTo>
                    <a:pt x="74" y="760"/>
                  </a:lnTo>
                  <a:lnTo>
                    <a:pt x="74" y="754"/>
                  </a:lnTo>
                  <a:lnTo>
                    <a:pt x="80" y="754"/>
                  </a:lnTo>
                  <a:lnTo>
                    <a:pt x="80" y="760"/>
                  </a:lnTo>
                  <a:lnTo>
                    <a:pt x="86" y="760"/>
                  </a:lnTo>
                  <a:lnTo>
                    <a:pt x="80" y="754"/>
                  </a:lnTo>
                  <a:lnTo>
                    <a:pt x="74" y="754"/>
                  </a:lnTo>
                  <a:lnTo>
                    <a:pt x="61" y="754"/>
                  </a:lnTo>
                  <a:lnTo>
                    <a:pt x="55" y="754"/>
                  </a:lnTo>
                  <a:lnTo>
                    <a:pt x="61" y="754"/>
                  </a:lnTo>
                  <a:lnTo>
                    <a:pt x="67" y="754"/>
                  </a:lnTo>
                  <a:lnTo>
                    <a:pt x="67" y="748"/>
                  </a:lnTo>
                  <a:lnTo>
                    <a:pt x="61" y="748"/>
                  </a:lnTo>
                  <a:lnTo>
                    <a:pt x="67" y="748"/>
                  </a:lnTo>
                  <a:lnTo>
                    <a:pt x="74" y="748"/>
                  </a:lnTo>
                  <a:lnTo>
                    <a:pt x="80" y="741"/>
                  </a:lnTo>
                  <a:lnTo>
                    <a:pt x="67" y="741"/>
                  </a:lnTo>
                  <a:lnTo>
                    <a:pt x="74" y="735"/>
                  </a:lnTo>
                  <a:lnTo>
                    <a:pt x="74" y="741"/>
                  </a:lnTo>
                  <a:lnTo>
                    <a:pt x="74" y="735"/>
                  </a:lnTo>
                  <a:lnTo>
                    <a:pt x="80" y="735"/>
                  </a:lnTo>
                  <a:lnTo>
                    <a:pt x="86" y="741"/>
                  </a:lnTo>
                  <a:lnTo>
                    <a:pt x="86" y="735"/>
                  </a:lnTo>
                  <a:lnTo>
                    <a:pt x="92" y="735"/>
                  </a:lnTo>
                  <a:lnTo>
                    <a:pt x="98" y="741"/>
                  </a:lnTo>
                  <a:lnTo>
                    <a:pt x="98" y="735"/>
                  </a:lnTo>
                  <a:lnTo>
                    <a:pt x="104" y="735"/>
                  </a:lnTo>
                  <a:lnTo>
                    <a:pt x="104" y="741"/>
                  </a:lnTo>
                  <a:lnTo>
                    <a:pt x="110" y="741"/>
                  </a:lnTo>
                  <a:lnTo>
                    <a:pt x="110" y="735"/>
                  </a:lnTo>
                  <a:lnTo>
                    <a:pt x="116" y="735"/>
                  </a:lnTo>
                  <a:lnTo>
                    <a:pt x="123" y="735"/>
                  </a:lnTo>
                  <a:lnTo>
                    <a:pt x="123" y="741"/>
                  </a:lnTo>
                  <a:lnTo>
                    <a:pt x="129" y="741"/>
                  </a:lnTo>
                  <a:lnTo>
                    <a:pt x="129" y="748"/>
                  </a:lnTo>
                  <a:lnTo>
                    <a:pt x="135" y="741"/>
                  </a:lnTo>
                  <a:lnTo>
                    <a:pt x="141" y="741"/>
                  </a:lnTo>
                  <a:lnTo>
                    <a:pt x="141" y="735"/>
                  </a:lnTo>
                  <a:lnTo>
                    <a:pt x="135" y="735"/>
                  </a:lnTo>
                  <a:lnTo>
                    <a:pt x="135" y="741"/>
                  </a:lnTo>
                  <a:lnTo>
                    <a:pt x="129" y="741"/>
                  </a:lnTo>
                  <a:lnTo>
                    <a:pt x="129" y="735"/>
                  </a:lnTo>
                  <a:lnTo>
                    <a:pt x="123" y="729"/>
                  </a:lnTo>
                  <a:lnTo>
                    <a:pt x="116" y="729"/>
                  </a:lnTo>
                  <a:lnTo>
                    <a:pt x="110" y="723"/>
                  </a:lnTo>
                  <a:lnTo>
                    <a:pt x="104" y="729"/>
                  </a:lnTo>
                  <a:lnTo>
                    <a:pt x="98" y="723"/>
                  </a:lnTo>
                  <a:lnTo>
                    <a:pt x="104" y="717"/>
                  </a:lnTo>
                  <a:lnTo>
                    <a:pt x="110" y="717"/>
                  </a:lnTo>
                  <a:lnTo>
                    <a:pt x="104" y="717"/>
                  </a:lnTo>
                  <a:lnTo>
                    <a:pt x="98" y="711"/>
                  </a:lnTo>
                  <a:lnTo>
                    <a:pt x="104" y="705"/>
                  </a:lnTo>
                  <a:lnTo>
                    <a:pt x="116" y="705"/>
                  </a:lnTo>
                  <a:lnTo>
                    <a:pt x="123" y="705"/>
                  </a:lnTo>
                  <a:lnTo>
                    <a:pt x="123" y="711"/>
                  </a:lnTo>
                  <a:lnTo>
                    <a:pt x="135" y="711"/>
                  </a:lnTo>
                  <a:lnTo>
                    <a:pt x="141" y="705"/>
                  </a:lnTo>
                  <a:lnTo>
                    <a:pt x="135" y="705"/>
                  </a:lnTo>
                  <a:lnTo>
                    <a:pt x="129" y="705"/>
                  </a:lnTo>
                  <a:lnTo>
                    <a:pt x="123" y="705"/>
                  </a:lnTo>
                  <a:lnTo>
                    <a:pt x="123" y="699"/>
                  </a:lnTo>
                  <a:lnTo>
                    <a:pt x="116" y="699"/>
                  </a:lnTo>
                  <a:lnTo>
                    <a:pt x="129" y="699"/>
                  </a:lnTo>
                  <a:lnTo>
                    <a:pt x="129" y="705"/>
                  </a:lnTo>
                  <a:lnTo>
                    <a:pt x="129" y="699"/>
                  </a:lnTo>
                  <a:lnTo>
                    <a:pt x="135" y="692"/>
                  </a:lnTo>
                  <a:lnTo>
                    <a:pt x="135" y="699"/>
                  </a:lnTo>
                  <a:lnTo>
                    <a:pt x="147" y="692"/>
                  </a:lnTo>
                  <a:lnTo>
                    <a:pt x="147" y="699"/>
                  </a:lnTo>
                  <a:lnTo>
                    <a:pt x="141" y="699"/>
                  </a:lnTo>
                  <a:lnTo>
                    <a:pt x="141" y="705"/>
                  </a:lnTo>
                  <a:lnTo>
                    <a:pt x="147" y="699"/>
                  </a:lnTo>
                  <a:lnTo>
                    <a:pt x="153" y="692"/>
                  </a:lnTo>
                  <a:lnTo>
                    <a:pt x="159" y="699"/>
                  </a:lnTo>
                  <a:lnTo>
                    <a:pt x="159" y="705"/>
                  </a:lnTo>
                  <a:lnTo>
                    <a:pt x="165" y="705"/>
                  </a:lnTo>
                  <a:lnTo>
                    <a:pt x="165" y="711"/>
                  </a:lnTo>
                  <a:lnTo>
                    <a:pt x="178" y="717"/>
                  </a:lnTo>
                  <a:lnTo>
                    <a:pt x="178" y="711"/>
                  </a:lnTo>
                  <a:lnTo>
                    <a:pt x="172" y="711"/>
                  </a:lnTo>
                  <a:lnTo>
                    <a:pt x="172" y="705"/>
                  </a:lnTo>
                  <a:lnTo>
                    <a:pt x="165" y="705"/>
                  </a:lnTo>
                  <a:lnTo>
                    <a:pt x="159" y="699"/>
                  </a:lnTo>
                  <a:lnTo>
                    <a:pt x="159" y="692"/>
                  </a:lnTo>
                  <a:lnTo>
                    <a:pt x="172" y="692"/>
                  </a:lnTo>
                  <a:lnTo>
                    <a:pt x="178" y="692"/>
                  </a:lnTo>
                  <a:lnTo>
                    <a:pt x="184" y="692"/>
                  </a:lnTo>
                  <a:lnTo>
                    <a:pt x="178" y="686"/>
                  </a:lnTo>
                  <a:lnTo>
                    <a:pt x="172" y="686"/>
                  </a:lnTo>
                  <a:lnTo>
                    <a:pt x="165" y="686"/>
                  </a:lnTo>
                  <a:lnTo>
                    <a:pt x="159" y="680"/>
                  </a:lnTo>
                  <a:lnTo>
                    <a:pt x="165" y="680"/>
                  </a:lnTo>
                  <a:lnTo>
                    <a:pt x="172" y="680"/>
                  </a:lnTo>
                  <a:lnTo>
                    <a:pt x="178" y="680"/>
                  </a:lnTo>
                  <a:lnTo>
                    <a:pt x="178" y="686"/>
                  </a:lnTo>
                  <a:lnTo>
                    <a:pt x="178" y="680"/>
                  </a:lnTo>
                  <a:lnTo>
                    <a:pt x="178" y="674"/>
                  </a:lnTo>
                  <a:lnTo>
                    <a:pt x="190" y="674"/>
                  </a:lnTo>
                  <a:lnTo>
                    <a:pt x="184" y="668"/>
                  </a:lnTo>
                  <a:lnTo>
                    <a:pt x="190" y="668"/>
                  </a:lnTo>
                  <a:lnTo>
                    <a:pt x="196" y="668"/>
                  </a:lnTo>
                  <a:lnTo>
                    <a:pt x="202" y="668"/>
                  </a:lnTo>
                  <a:lnTo>
                    <a:pt x="196" y="662"/>
                  </a:lnTo>
                  <a:lnTo>
                    <a:pt x="202" y="662"/>
                  </a:lnTo>
                  <a:lnTo>
                    <a:pt x="208" y="668"/>
                  </a:lnTo>
                  <a:lnTo>
                    <a:pt x="202" y="674"/>
                  </a:lnTo>
                  <a:lnTo>
                    <a:pt x="196" y="680"/>
                  </a:lnTo>
                  <a:lnTo>
                    <a:pt x="202" y="680"/>
                  </a:lnTo>
                  <a:lnTo>
                    <a:pt x="208" y="674"/>
                  </a:lnTo>
                  <a:lnTo>
                    <a:pt x="215" y="674"/>
                  </a:lnTo>
                  <a:lnTo>
                    <a:pt x="221" y="668"/>
                  </a:lnTo>
                  <a:lnTo>
                    <a:pt x="215" y="674"/>
                  </a:lnTo>
                  <a:lnTo>
                    <a:pt x="208" y="674"/>
                  </a:lnTo>
                  <a:lnTo>
                    <a:pt x="208" y="668"/>
                  </a:lnTo>
                  <a:lnTo>
                    <a:pt x="215" y="668"/>
                  </a:lnTo>
                  <a:lnTo>
                    <a:pt x="221" y="662"/>
                  </a:lnTo>
                  <a:lnTo>
                    <a:pt x="215" y="662"/>
                  </a:lnTo>
                  <a:lnTo>
                    <a:pt x="208" y="662"/>
                  </a:lnTo>
                  <a:lnTo>
                    <a:pt x="215" y="656"/>
                  </a:lnTo>
                  <a:lnTo>
                    <a:pt x="221" y="656"/>
                  </a:lnTo>
                  <a:lnTo>
                    <a:pt x="221" y="662"/>
                  </a:lnTo>
                  <a:lnTo>
                    <a:pt x="221" y="656"/>
                  </a:lnTo>
                  <a:lnTo>
                    <a:pt x="227" y="656"/>
                  </a:lnTo>
                  <a:lnTo>
                    <a:pt x="233" y="650"/>
                  </a:lnTo>
                  <a:lnTo>
                    <a:pt x="239" y="656"/>
                  </a:lnTo>
                  <a:lnTo>
                    <a:pt x="239" y="662"/>
                  </a:lnTo>
                  <a:lnTo>
                    <a:pt x="245" y="662"/>
                  </a:lnTo>
                  <a:lnTo>
                    <a:pt x="245" y="668"/>
                  </a:lnTo>
                  <a:lnTo>
                    <a:pt x="245" y="674"/>
                  </a:lnTo>
                  <a:lnTo>
                    <a:pt x="239" y="674"/>
                  </a:lnTo>
                  <a:lnTo>
                    <a:pt x="245" y="674"/>
                  </a:lnTo>
                  <a:lnTo>
                    <a:pt x="251" y="674"/>
                  </a:lnTo>
                  <a:lnTo>
                    <a:pt x="257" y="674"/>
                  </a:lnTo>
                  <a:lnTo>
                    <a:pt x="251" y="668"/>
                  </a:lnTo>
                  <a:lnTo>
                    <a:pt x="257" y="668"/>
                  </a:lnTo>
                  <a:lnTo>
                    <a:pt x="257" y="662"/>
                  </a:lnTo>
                  <a:lnTo>
                    <a:pt x="264" y="668"/>
                  </a:lnTo>
                  <a:lnTo>
                    <a:pt x="270" y="668"/>
                  </a:lnTo>
                  <a:lnTo>
                    <a:pt x="270" y="662"/>
                  </a:lnTo>
                  <a:lnTo>
                    <a:pt x="270" y="668"/>
                  </a:lnTo>
                  <a:lnTo>
                    <a:pt x="276" y="662"/>
                  </a:lnTo>
                  <a:lnTo>
                    <a:pt x="282" y="668"/>
                  </a:lnTo>
                  <a:lnTo>
                    <a:pt x="288" y="668"/>
                  </a:lnTo>
                  <a:lnTo>
                    <a:pt x="288" y="662"/>
                  </a:lnTo>
                  <a:lnTo>
                    <a:pt x="294" y="662"/>
                  </a:lnTo>
                  <a:lnTo>
                    <a:pt x="288" y="662"/>
                  </a:lnTo>
                  <a:lnTo>
                    <a:pt x="282" y="662"/>
                  </a:lnTo>
                  <a:lnTo>
                    <a:pt x="288" y="656"/>
                  </a:lnTo>
                  <a:lnTo>
                    <a:pt x="294" y="650"/>
                  </a:lnTo>
                  <a:lnTo>
                    <a:pt x="282" y="656"/>
                  </a:lnTo>
                  <a:lnTo>
                    <a:pt x="282" y="650"/>
                  </a:lnTo>
                  <a:lnTo>
                    <a:pt x="288" y="650"/>
                  </a:lnTo>
                  <a:lnTo>
                    <a:pt x="294" y="643"/>
                  </a:lnTo>
                  <a:lnTo>
                    <a:pt x="300" y="643"/>
                  </a:lnTo>
                  <a:lnTo>
                    <a:pt x="306" y="637"/>
                  </a:lnTo>
                  <a:lnTo>
                    <a:pt x="313" y="637"/>
                  </a:lnTo>
                  <a:lnTo>
                    <a:pt x="319" y="637"/>
                  </a:lnTo>
                  <a:lnTo>
                    <a:pt x="319" y="631"/>
                  </a:lnTo>
                  <a:lnTo>
                    <a:pt x="313" y="631"/>
                  </a:lnTo>
                  <a:lnTo>
                    <a:pt x="313" y="625"/>
                  </a:lnTo>
                  <a:lnTo>
                    <a:pt x="306" y="631"/>
                  </a:lnTo>
                  <a:lnTo>
                    <a:pt x="300" y="631"/>
                  </a:lnTo>
                  <a:lnTo>
                    <a:pt x="300" y="625"/>
                  </a:lnTo>
                  <a:lnTo>
                    <a:pt x="306" y="625"/>
                  </a:lnTo>
                  <a:lnTo>
                    <a:pt x="306" y="619"/>
                  </a:lnTo>
                  <a:lnTo>
                    <a:pt x="313" y="619"/>
                  </a:lnTo>
                  <a:lnTo>
                    <a:pt x="319" y="619"/>
                  </a:lnTo>
                  <a:lnTo>
                    <a:pt x="319" y="613"/>
                  </a:lnTo>
                  <a:lnTo>
                    <a:pt x="306" y="613"/>
                  </a:lnTo>
                  <a:lnTo>
                    <a:pt x="313" y="607"/>
                  </a:lnTo>
                  <a:lnTo>
                    <a:pt x="306" y="613"/>
                  </a:lnTo>
                  <a:lnTo>
                    <a:pt x="306" y="619"/>
                  </a:lnTo>
                  <a:lnTo>
                    <a:pt x="294" y="619"/>
                  </a:lnTo>
                  <a:lnTo>
                    <a:pt x="288" y="625"/>
                  </a:lnTo>
                  <a:lnTo>
                    <a:pt x="276" y="631"/>
                  </a:lnTo>
                  <a:lnTo>
                    <a:pt x="282" y="631"/>
                  </a:lnTo>
                  <a:lnTo>
                    <a:pt x="288" y="631"/>
                  </a:lnTo>
                  <a:lnTo>
                    <a:pt x="294" y="625"/>
                  </a:lnTo>
                  <a:lnTo>
                    <a:pt x="300" y="625"/>
                  </a:lnTo>
                  <a:lnTo>
                    <a:pt x="300" y="631"/>
                  </a:lnTo>
                  <a:lnTo>
                    <a:pt x="294" y="631"/>
                  </a:lnTo>
                  <a:lnTo>
                    <a:pt x="294" y="637"/>
                  </a:lnTo>
                  <a:lnTo>
                    <a:pt x="282" y="643"/>
                  </a:lnTo>
                  <a:lnTo>
                    <a:pt x="270" y="656"/>
                  </a:lnTo>
                  <a:lnTo>
                    <a:pt x="257" y="656"/>
                  </a:lnTo>
                  <a:lnTo>
                    <a:pt x="251" y="662"/>
                  </a:lnTo>
                  <a:lnTo>
                    <a:pt x="245" y="662"/>
                  </a:lnTo>
                  <a:lnTo>
                    <a:pt x="245" y="656"/>
                  </a:lnTo>
                  <a:lnTo>
                    <a:pt x="245" y="650"/>
                  </a:lnTo>
                  <a:lnTo>
                    <a:pt x="239" y="650"/>
                  </a:lnTo>
                  <a:lnTo>
                    <a:pt x="239" y="643"/>
                  </a:lnTo>
                  <a:lnTo>
                    <a:pt x="245" y="643"/>
                  </a:lnTo>
                  <a:lnTo>
                    <a:pt x="251" y="643"/>
                  </a:lnTo>
                  <a:lnTo>
                    <a:pt x="257" y="637"/>
                  </a:lnTo>
                  <a:lnTo>
                    <a:pt x="245" y="637"/>
                  </a:lnTo>
                  <a:lnTo>
                    <a:pt x="239" y="643"/>
                  </a:lnTo>
                  <a:lnTo>
                    <a:pt x="233" y="643"/>
                  </a:lnTo>
                  <a:lnTo>
                    <a:pt x="227" y="643"/>
                  </a:lnTo>
                  <a:lnTo>
                    <a:pt x="239" y="637"/>
                  </a:lnTo>
                  <a:lnTo>
                    <a:pt x="227" y="637"/>
                  </a:lnTo>
                  <a:lnTo>
                    <a:pt x="233" y="631"/>
                  </a:lnTo>
                  <a:lnTo>
                    <a:pt x="239" y="631"/>
                  </a:lnTo>
                  <a:lnTo>
                    <a:pt x="245" y="625"/>
                  </a:lnTo>
                  <a:lnTo>
                    <a:pt x="251" y="625"/>
                  </a:lnTo>
                  <a:lnTo>
                    <a:pt x="257" y="625"/>
                  </a:lnTo>
                  <a:lnTo>
                    <a:pt x="257" y="619"/>
                  </a:lnTo>
                  <a:lnTo>
                    <a:pt x="251" y="625"/>
                  </a:lnTo>
                  <a:lnTo>
                    <a:pt x="251" y="619"/>
                  </a:lnTo>
                  <a:lnTo>
                    <a:pt x="257" y="619"/>
                  </a:lnTo>
                  <a:lnTo>
                    <a:pt x="251" y="619"/>
                  </a:lnTo>
                  <a:lnTo>
                    <a:pt x="245" y="619"/>
                  </a:lnTo>
                  <a:lnTo>
                    <a:pt x="245" y="613"/>
                  </a:lnTo>
                  <a:lnTo>
                    <a:pt x="251" y="613"/>
                  </a:lnTo>
                  <a:lnTo>
                    <a:pt x="245" y="613"/>
                  </a:lnTo>
                  <a:lnTo>
                    <a:pt x="245" y="607"/>
                  </a:lnTo>
                  <a:lnTo>
                    <a:pt x="251" y="613"/>
                  </a:lnTo>
                  <a:lnTo>
                    <a:pt x="251" y="607"/>
                  </a:lnTo>
                  <a:lnTo>
                    <a:pt x="251" y="613"/>
                  </a:lnTo>
                  <a:lnTo>
                    <a:pt x="257" y="607"/>
                  </a:lnTo>
                  <a:lnTo>
                    <a:pt x="257" y="601"/>
                  </a:lnTo>
                  <a:lnTo>
                    <a:pt x="264" y="601"/>
                  </a:lnTo>
                  <a:lnTo>
                    <a:pt x="264" y="594"/>
                  </a:lnTo>
                  <a:lnTo>
                    <a:pt x="270" y="588"/>
                  </a:lnTo>
                  <a:lnTo>
                    <a:pt x="276" y="588"/>
                  </a:lnTo>
                  <a:lnTo>
                    <a:pt x="270" y="588"/>
                  </a:lnTo>
                  <a:lnTo>
                    <a:pt x="276" y="582"/>
                  </a:lnTo>
                  <a:lnTo>
                    <a:pt x="276" y="576"/>
                  </a:lnTo>
                  <a:lnTo>
                    <a:pt x="282" y="576"/>
                  </a:lnTo>
                  <a:lnTo>
                    <a:pt x="288" y="570"/>
                  </a:lnTo>
                  <a:lnTo>
                    <a:pt x="294" y="570"/>
                  </a:lnTo>
                  <a:lnTo>
                    <a:pt x="294" y="564"/>
                  </a:lnTo>
                  <a:lnTo>
                    <a:pt x="300" y="564"/>
                  </a:lnTo>
                  <a:lnTo>
                    <a:pt x="300" y="570"/>
                  </a:lnTo>
                  <a:lnTo>
                    <a:pt x="306" y="576"/>
                  </a:lnTo>
                  <a:lnTo>
                    <a:pt x="313" y="576"/>
                  </a:lnTo>
                  <a:lnTo>
                    <a:pt x="313" y="582"/>
                  </a:lnTo>
                  <a:lnTo>
                    <a:pt x="306" y="588"/>
                  </a:lnTo>
                  <a:lnTo>
                    <a:pt x="319" y="576"/>
                  </a:lnTo>
                  <a:lnTo>
                    <a:pt x="325" y="576"/>
                  </a:lnTo>
                  <a:lnTo>
                    <a:pt x="331" y="576"/>
                  </a:lnTo>
                  <a:lnTo>
                    <a:pt x="343" y="576"/>
                  </a:lnTo>
                  <a:lnTo>
                    <a:pt x="343" y="570"/>
                  </a:lnTo>
                  <a:lnTo>
                    <a:pt x="337" y="576"/>
                  </a:lnTo>
                  <a:lnTo>
                    <a:pt x="325" y="570"/>
                  </a:lnTo>
                  <a:lnTo>
                    <a:pt x="319" y="576"/>
                  </a:lnTo>
                  <a:lnTo>
                    <a:pt x="313" y="570"/>
                  </a:lnTo>
                  <a:lnTo>
                    <a:pt x="300" y="570"/>
                  </a:lnTo>
                  <a:lnTo>
                    <a:pt x="300" y="558"/>
                  </a:lnTo>
                  <a:lnTo>
                    <a:pt x="306" y="558"/>
                  </a:lnTo>
                  <a:lnTo>
                    <a:pt x="313" y="558"/>
                  </a:lnTo>
                  <a:lnTo>
                    <a:pt x="319" y="558"/>
                  </a:lnTo>
                  <a:lnTo>
                    <a:pt x="325" y="552"/>
                  </a:lnTo>
                  <a:lnTo>
                    <a:pt x="331" y="545"/>
                  </a:lnTo>
                  <a:lnTo>
                    <a:pt x="337" y="545"/>
                  </a:lnTo>
                  <a:lnTo>
                    <a:pt x="331" y="545"/>
                  </a:lnTo>
                  <a:lnTo>
                    <a:pt x="325" y="545"/>
                  </a:lnTo>
                  <a:lnTo>
                    <a:pt x="319" y="545"/>
                  </a:lnTo>
                  <a:lnTo>
                    <a:pt x="313" y="552"/>
                  </a:lnTo>
                  <a:lnTo>
                    <a:pt x="306" y="552"/>
                  </a:lnTo>
                  <a:lnTo>
                    <a:pt x="319" y="545"/>
                  </a:lnTo>
                  <a:lnTo>
                    <a:pt x="306" y="545"/>
                  </a:lnTo>
                  <a:lnTo>
                    <a:pt x="306" y="539"/>
                  </a:lnTo>
                  <a:lnTo>
                    <a:pt x="313" y="539"/>
                  </a:lnTo>
                  <a:lnTo>
                    <a:pt x="319" y="533"/>
                  </a:lnTo>
                  <a:lnTo>
                    <a:pt x="325" y="533"/>
                  </a:lnTo>
                  <a:lnTo>
                    <a:pt x="331" y="533"/>
                  </a:lnTo>
                  <a:lnTo>
                    <a:pt x="331" y="527"/>
                  </a:lnTo>
                  <a:lnTo>
                    <a:pt x="325" y="527"/>
                  </a:lnTo>
                  <a:lnTo>
                    <a:pt x="331" y="527"/>
                  </a:lnTo>
                  <a:lnTo>
                    <a:pt x="337" y="527"/>
                  </a:lnTo>
                  <a:lnTo>
                    <a:pt x="331" y="527"/>
                  </a:lnTo>
                  <a:lnTo>
                    <a:pt x="337" y="521"/>
                  </a:lnTo>
                  <a:lnTo>
                    <a:pt x="343" y="515"/>
                  </a:lnTo>
                  <a:lnTo>
                    <a:pt x="349" y="515"/>
                  </a:lnTo>
                  <a:lnTo>
                    <a:pt x="343" y="521"/>
                  </a:lnTo>
                  <a:lnTo>
                    <a:pt x="349" y="521"/>
                  </a:lnTo>
                  <a:lnTo>
                    <a:pt x="355" y="521"/>
                  </a:lnTo>
                  <a:lnTo>
                    <a:pt x="349" y="515"/>
                  </a:lnTo>
                  <a:lnTo>
                    <a:pt x="355" y="515"/>
                  </a:lnTo>
                  <a:lnTo>
                    <a:pt x="362" y="515"/>
                  </a:lnTo>
                  <a:lnTo>
                    <a:pt x="355" y="521"/>
                  </a:lnTo>
                  <a:lnTo>
                    <a:pt x="362" y="521"/>
                  </a:lnTo>
                  <a:lnTo>
                    <a:pt x="355" y="527"/>
                  </a:lnTo>
                  <a:lnTo>
                    <a:pt x="368" y="521"/>
                  </a:lnTo>
                  <a:lnTo>
                    <a:pt x="380" y="515"/>
                  </a:lnTo>
                  <a:lnTo>
                    <a:pt x="386" y="509"/>
                  </a:lnTo>
                  <a:lnTo>
                    <a:pt x="392" y="503"/>
                  </a:lnTo>
                  <a:lnTo>
                    <a:pt x="386" y="509"/>
                  </a:lnTo>
                  <a:lnTo>
                    <a:pt x="374" y="515"/>
                  </a:lnTo>
                  <a:lnTo>
                    <a:pt x="368" y="521"/>
                  </a:lnTo>
                  <a:lnTo>
                    <a:pt x="362" y="515"/>
                  </a:lnTo>
                  <a:lnTo>
                    <a:pt x="368" y="515"/>
                  </a:lnTo>
                  <a:lnTo>
                    <a:pt x="368" y="509"/>
                  </a:lnTo>
                  <a:lnTo>
                    <a:pt x="362" y="509"/>
                  </a:lnTo>
                  <a:lnTo>
                    <a:pt x="368" y="509"/>
                  </a:lnTo>
                  <a:lnTo>
                    <a:pt x="362" y="509"/>
                  </a:lnTo>
                  <a:lnTo>
                    <a:pt x="362" y="503"/>
                  </a:lnTo>
                  <a:lnTo>
                    <a:pt x="368" y="503"/>
                  </a:lnTo>
                  <a:lnTo>
                    <a:pt x="374" y="496"/>
                  </a:lnTo>
                  <a:lnTo>
                    <a:pt x="368" y="496"/>
                  </a:lnTo>
                  <a:lnTo>
                    <a:pt x="362" y="503"/>
                  </a:lnTo>
                  <a:lnTo>
                    <a:pt x="355" y="503"/>
                  </a:lnTo>
                  <a:lnTo>
                    <a:pt x="362" y="503"/>
                  </a:lnTo>
                  <a:lnTo>
                    <a:pt x="355" y="509"/>
                  </a:lnTo>
                  <a:lnTo>
                    <a:pt x="349" y="515"/>
                  </a:lnTo>
                  <a:lnTo>
                    <a:pt x="349" y="509"/>
                  </a:lnTo>
                  <a:lnTo>
                    <a:pt x="349" y="503"/>
                  </a:lnTo>
                  <a:lnTo>
                    <a:pt x="355" y="496"/>
                  </a:lnTo>
                  <a:lnTo>
                    <a:pt x="355" y="503"/>
                  </a:lnTo>
                  <a:lnTo>
                    <a:pt x="355" y="496"/>
                  </a:lnTo>
                  <a:lnTo>
                    <a:pt x="362" y="490"/>
                  </a:lnTo>
                  <a:lnTo>
                    <a:pt x="355" y="490"/>
                  </a:lnTo>
                  <a:lnTo>
                    <a:pt x="362" y="478"/>
                  </a:lnTo>
                  <a:lnTo>
                    <a:pt x="362" y="484"/>
                  </a:lnTo>
                  <a:lnTo>
                    <a:pt x="368" y="490"/>
                  </a:lnTo>
                  <a:lnTo>
                    <a:pt x="374" y="490"/>
                  </a:lnTo>
                  <a:lnTo>
                    <a:pt x="380" y="490"/>
                  </a:lnTo>
                  <a:lnTo>
                    <a:pt x="374" y="484"/>
                  </a:lnTo>
                  <a:lnTo>
                    <a:pt x="374" y="478"/>
                  </a:lnTo>
                  <a:lnTo>
                    <a:pt x="374" y="484"/>
                  </a:lnTo>
                  <a:lnTo>
                    <a:pt x="368" y="484"/>
                  </a:lnTo>
                  <a:lnTo>
                    <a:pt x="374" y="478"/>
                  </a:lnTo>
                  <a:lnTo>
                    <a:pt x="368" y="484"/>
                  </a:lnTo>
                  <a:lnTo>
                    <a:pt x="368" y="478"/>
                  </a:lnTo>
                  <a:lnTo>
                    <a:pt x="362" y="478"/>
                  </a:lnTo>
                  <a:lnTo>
                    <a:pt x="368" y="466"/>
                  </a:lnTo>
                  <a:lnTo>
                    <a:pt x="374" y="466"/>
                  </a:lnTo>
                  <a:lnTo>
                    <a:pt x="374" y="472"/>
                  </a:lnTo>
                  <a:lnTo>
                    <a:pt x="380" y="478"/>
                  </a:lnTo>
                  <a:lnTo>
                    <a:pt x="386" y="478"/>
                  </a:lnTo>
                  <a:lnTo>
                    <a:pt x="380" y="472"/>
                  </a:lnTo>
                  <a:lnTo>
                    <a:pt x="374" y="472"/>
                  </a:lnTo>
                  <a:lnTo>
                    <a:pt x="374" y="466"/>
                  </a:lnTo>
                  <a:lnTo>
                    <a:pt x="374" y="460"/>
                  </a:lnTo>
                  <a:lnTo>
                    <a:pt x="380" y="460"/>
                  </a:lnTo>
                  <a:lnTo>
                    <a:pt x="380" y="466"/>
                  </a:lnTo>
                  <a:lnTo>
                    <a:pt x="380" y="460"/>
                  </a:lnTo>
                  <a:lnTo>
                    <a:pt x="374" y="460"/>
                  </a:lnTo>
                  <a:lnTo>
                    <a:pt x="374" y="454"/>
                  </a:lnTo>
                  <a:lnTo>
                    <a:pt x="386" y="447"/>
                  </a:lnTo>
                  <a:lnTo>
                    <a:pt x="392" y="454"/>
                  </a:lnTo>
                  <a:lnTo>
                    <a:pt x="398" y="454"/>
                  </a:lnTo>
                  <a:lnTo>
                    <a:pt x="404" y="460"/>
                  </a:lnTo>
                  <a:lnTo>
                    <a:pt x="404" y="466"/>
                  </a:lnTo>
                  <a:lnTo>
                    <a:pt x="404" y="460"/>
                  </a:lnTo>
                  <a:lnTo>
                    <a:pt x="404" y="454"/>
                  </a:lnTo>
                  <a:lnTo>
                    <a:pt x="398" y="447"/>
                  </a:lnTo>
                  <a:lnTo>
                    <a:pt x="392" y="447"/>
                  </a:lnTo>
                  <a:lnTo>
                    <a:pt x="392" y="441"/>
                  </a:lnTo>
                  <a:lnTo>
                    <a:pt x="398" y="441"/>
                  </a:lnTo>
                  <a:lnTo>
                    <a:pt x="386" y="441"/>
                  </a:lnTo>
                  <a:lnTo>
                    <a:pt x="380" y="441"/>
                  </a:lnTo>
                  <a:lnTo>
                    <a:pt x="374" y="447"/>
                  </a:lnTo>
                  <a:lnTo>
                    <a:pt x="392" y="441"/>
                  </a:lnTo>
                  <a:lnTo>
                    <a:pt x="392" y="447"/>
                  </a:lnTo>
                  <a:lnTo>
                    <a:pt x="380" y="447"/>
                  </a:lnTo>
                  <a:lnTo>
                    <a:pt x="374" y="454"/>
                  </a:lnTo>
                  <a:lnTo>
                    <a:pt x="368" y="460"/>
                  </a:lnTo>
                  <a:lnTo>
                    <a:pt x="368" y="454"/>
                  </a:lnTo>
                  <a:lnTo>
                    <a:pt x="368" y="447"/>
                  </a:lnTo>
                  <a:lnTo>
                    <a:pt x="374" y="441"/>
                  </a:lnTo>
                  <a:lnTo>
                    <a:pt x="380" y="435"/>
                  </a:lnTo>
                  <a:lnTo>
                    <a:pt x="386" y="435"/>
                  </a:lnTo>
                  <a:lnTo>
                    <a:pt x="398" y="429"/>
                  </a:lnTo>
                  <a:lnTo>
                    <a:pt x="404" y="429"/>
                  </a:lnTo>
                  <a:lnTo>
                    <a:pt x="411" y="423"/>
                  </a:lnTo>
                  <a:lnTo>
                    <a:pt x="423" y="423"/>
                  </a:lnTo>
                  <a:lnTo>
                    <a:pt x="417" y="429"/>
                  </a:lnTo>
                  <a:lnTo>
                    <a:pt x="423" y="429"/>
                  </a:lnTo>
                  <a:lnTo>
                    <a:pt x="423" y="435"/>
                  </a:lnTo>
                  <a:lnTo>
                    <a:pt x="423" y="429"/>
                  </a:lnTo>
                  <a:lnTo>
                    <a:pt x="429" y="429"/>
                  </a:lnTo>
                  <a:lnTo>
                    <a:pt x="435" y="435"/>
                  </a:lnTo>
                  <a:lnTo>
                    <a:pt x="435" y="429"/>
                  </a:lnTo>
                  <a:lnTo>
                    <a:pt x="429" y="429"/>
                  </a:lnTo>
                  <a:lnTo>
                    <a:pt x="423" y="423"/>
                  </a:lnTo>
                  <a:lnTo>
                    <a:pt x="435" y="423"/>
                  </a:lnTo>
                  <a:lnTo>
                    <a:pt x="441" y="423"/>
                  </a:lnTo>
                  <a:lnTo>
                    <a:pt x="447" y="417"/>
                  </a:lnTo>
                  <a:lnTo>
                    <a:pt x="441" y="423"/>
                  </a:lnTo>
                  <a:lnTo>
                    <a:pt x="435" y="423"/>
                  </a:lnTo>
                  <a:lnTo>
                    <a:pt x="423" y="423"/>
                  </a:lnTo>
                  <a:lnTo>
                    <a:pt x="417" y="423"/>
                  </a:lnTo>
                  <a:lnTo>
                    <a:pt x="411" y="423"/>
                  </a:lnTo>
                  <a:lnTo>
                    <a:pt x="398" y="429"/>
                  </a:lnTo>
                  <a:lnTo>
                    <a:pt x="392" y="429"/>
                  </a:lnTo>
                  <a:lnTo>
                    <a:pt x="404" y="423"/>
                  </a:lnTo>
                  <a:lnTo>
                    <a:pt x="411" y="417"/>
                  </a:lnTo>
                  <a:lnTo>
                    <a:pt x="423" y="417"/>
                  </a:lnTo>
                  <a:lnTo>
                    <a:pt x="417" y="417"/>
                  </a:lnTo>
                  <a:lnTo>
                    <a:pt x="411" y="417"/>
                  </a:lnTo>
                  <a:lnTo>
                    <a:pt x="404" y="417"/>
                  </a:lnTo>
                  <a:lnTo>
                    <a:pt x="398" y="417"/>
                  </a:lnTo>
                  <a:lnTo>
                    <a:pt x="392" y="417"/>
                  </a:lnTo>
                  <a:lnTo>
                    <a:pt x="398" y="411"/>
                  </a:lnTo>
                  <a:lnTo>
                    <a:pt x="404" y="411"/>
                  </a:lnTo>
                  <a:lnTo>
                    <a:pt x="404" y="405"/>
                  </a:lnTo>
                  <a:lnTo>
                    <a:pt x="398" y="405"/>
                  </a:lnTo>
                  <a:lnTo>
                    <a:pt x="404" y="405"/>
                  </a:lnTo>
                  <a:lnTo>
                    <a:pt x="398" y="405"/>
                  </a:lnTo>
                  <a:lnTo>
                    <a:pt x="392" y="398"/>
                  </a:lnTo>
                  <a:lnTo>
                    <a:pt x="398" y="398"/>
                  </a:lnTo>
                  <a:lnTo>
                    <a:pt x="404" y="398"/>
                  </a:lnTo>
                  <a:lnTo>
                    <a:pt x="404" y="405"/>
                  </a:lnTo>
                  <a:lnTo>
                    <a:pt x="411" y="405"/>
                  </a:lnTo>
                  <a:lnTo>
                    <a:pt x="417" y="405"/>
                  </a:lnTo>
                  <a:lnTo>
                    <a:pt x="411" y="405"/>
                  </a:lnTo>
                  <a:lnTo>
                    <a:pt x="411" y="398"/>
                  </a:lnTo>
                  <a:lnTo>
                    <a:pt x="417" y="398"/>
                  </a:lnTo>
                  <a:lnTo>
                    <a:pt x="423" y="398"/>
                  </a:lnTo>
                  <a:lnTo>
                    <a:pt x="429" y="398"/>
                  </a:lnTo>
                  <a:lnTo>
                    <a:pt x="423" y="398"/>
                  </a:lnTo>
                  <a:lnTo>
                    <a:pt x="417" y="398"/>
                  </a:lnTo>
                  <a:lnTo>
                    <a:pt x="423" y="392"/>
                  </a:lnTo>
                  <a:lnTo>
                    <a:pt x="429" y="392"/>
                  </a:lnTo>
                  <a:lnTo>
                    <a:pt x="423" y="392"/>
                  </a:lnTo>
                  <a:lnTo>
                    <a:pt x="417" y="392"/>
                  </a:lnTo>
                  <a:lnTo>
                    <a:pt x="417" y="398"/>
                  </a:lnTo>
                  <a:lnTo>
                    <a:pt x="411" y="398"/>
                  </a:lnTo>
                  <a:lnTo>
                    <a:pt x="404" y="398"/>
                  </a:lnTo>
                  <a:lnTo>
                    <a:pt x="404" y="392"/>
                  </a:lnTo>
                  <a:lnTo>
                    <a:pt x="411" y="392"/>
                  </a:lnTo>
                  <a:lnTo>
                    <a:pt x="404" y="392"/>
                  </a:lnTo>
                  <a:lnTo>
                    <a:pt x="404" y="386"/>
                  </a:lnTo>
                  <a:lnTo>
                    <a:pt x="411" y="386"/>
                  </a:lnTo>
                  <a:lnTo>
                    <a:pt x="417" y="386"/>
                  </a:lnTo>
                  <a:lnTo>
                    <a:pt x="423" y="386"/>
                  </a:lnTo>
                  <a:lnTo>
                    <a:pt x="417" y="386"/>
                  </a:lnTo>
                  <a:lnTo>
                    <a:pt x="411" y="386"/>
                  </a:lnTo>
                  <a:lnTo>
                    <a:pt x="404" y="380"/>
                  </a:lnTo>
                  <a:lnTo>
                    <a:pt x="411" y="380"/>
                  </a:lnTo>
                  <a:lnTo>
                    <a:pt x="417" y="380"/>
                  </a:lnTo>
                  <a:lnTo>
                    <a:pt x="423" y="386"/>
                  </a:lnTo>
                  <a:lnTo>
                    <a:pt x="429" y="386"/>
                  </a:lnTo>
                  <a:lnTo>
                    <a:pt x="429" y="380"/>
                  </a:lnTo>
                  <a:lnTo>
                    <a:pt x="441" y="380"/>
                  </a:lnTo>
                  <a:lnTo>
                    <a:pt x="429" y="380"/>
                  </a:lnTo>
                  <a:lnTo>
                    <a:pt x="423" y="380"/>
                  </a:lnTo>
                  <a:lnTo>
                    <a:pt x="417" y="374"/>
                  </a:lnTo>
                  <a:lnTo>
                    <a:pt x="429" y="374"/>
                  </a:lnTo>
                  <a:lnTo>
                    <a:pt x="435" y="374"/>
                  </a:lnTo>
                  <a:lnTo>
                    <a:pt x="441" y="374"/>
                  </a:lnTo>
                  <a:lnTo>
                    <a:pt x="435" y="374"/>
                  </a:lnTo>
                  <a:lnTo>
                    <a:pt x="429" y="374"/>
                  </a:lnTo>
                  <a:lnTo>
                    <a:pt x="429" y="368"/>
                  </a:lnTo>
                  <a:lnTo>
                    <a:pt x="423" y="368"/>
                  </a:lnTo>
                  <a:lnTo>
                    <a:pt x="417" y="362"/>
                  </a:lnTo>
                  <a:lnTo>
                    <a:pt x="423" y="362"/>
                  </a:lnTo>
                  <a:lnTo>
                    <a:pt x="429" y="362"/>
                  </a:lnTo>
                  <a:lnTo>
                    <a:pt x="435" y="362"/>
                  </a:lnTo>
                  <a:lnTo>
                    <a:pt x="429" y="362"/>
                  </a:lnTo>
                  <a:lnTo>
                    <a:pt x="435" y="362"/>
                  </a:lnTo>
                  <a:lnTo>
                    <a:pt x="435" y="356"/>
                  </a:lnTo>
                  <a:lnTo>
                    <a:pt x="441" y="356"/>
                  </a:lnTo>
                  <a:lnTo>
                    <a:pt x="441" y="362"/>
                  </a:lnTo>
                  <a:lnTo>
                    <a:pt x="447" y="362"/>
                  </a:lnTo>
                  <a:lnTo>
                    <a:pt x="447" y="356"/>
                  </a:lnTo>
                  <a:lnTo>
                    <a:pt x="453" y="362"/>
                  </a:lnTo>
                  <a:lnTo>
                    <a:pt x="453" y="356"/>
                  </a:lnTo>
                  <a:lnTo>
                    <a:pt x="460" y="356"/>
                  </a:lnTo>
                  <a:lnTo>
                    <a:pt x="460" y="349"/>
                  </a:lnTo>
                  <a:lnTo>
                    <a:pt x="460" y="343"/>
                  </a:lnTo>
                  <a:lnTo>
                    <a:pt x="466" y="343"/>
                  </a:lnTo>
                  <a:lnTo>
                    <a:pt x="472" y="343"/>
                  </a:lnTo>
                  <a:lnTo>
                    <a:pt x="472" y="337"/>
                  </a:lnTo>
                  <a:lnTo>
                    <a:pt x="478" y="337"/>
                  </a:lnTo>
                  <a:lnTo>
                    <a:pt x="478" y="331"/>
                  </a:lnTo>
                  <a:lnTo>
                    <a:pt x="472" y="331"/>
                  </a:lnTo>
                  <a:lnTo>
                    <a:pt x="466" y="337"/>
                  </a:lnTo>
                  <a:lnTo>
                    <a:pt x="460" y="337"/>
                  </a:lnTo>
                  <a:lnTo>
                    <a:pt x="460" y="331"/>
                  </a:lnTo>
                  <a:lnTo>
                    <a:pt x="466" y="331"/>
                  </a:lnTo>
                  <a:lnTo>
                    <a:pt x="472" y="325"/>
                  </a:lnTo>
                  <a:lnTo>
                    <a:pt x="472" y="319"/>
                  </a:lnTo>
                  <a:lnTo>
                    <a:pt x="478" y="319"/>
                  </a:lnTo>
                  <a:lnTo>
                    <a:pt x="484" y="319"/>
                  </a:lnTo>
                  <a:lnTo>
                    <a:pt x="484" y="325"/>
                  </a:lnTo>
                  <a:lnTo>
                    <a:pt x="490" y="319"/>
                  </a:lnTo>
                  <a:lnTo>
                    <a:pt x="496" y="319"/>
                  </a:lnTo>
                  <a:lnTo>
                    <a:pt x="490" y="319"/>
                  </a:lnTo>
                  <a:lnTo>
                    <a:pt x="484" y="319"/>
                  </a:lnTo>
                  <a:lnTo>
                    <a:pt x="478" y="319"/>
                  </a:lnTo>
                  <a:lnTo>
                    <a:pt x="478" y="313"/>
                  </a:lnTo>
                  <a:lnTo>
                    <a:pt x="484" y="307"/>
                  </a:lnTo>
                  <a:lnTo>
                    <a:pt x="496" y="307"/>
                  </a:lnTo>
                  <a:lnTo>
                    <a:pt x="496" y="313"/>
                  </a:lnTo>
                  <a:lnTo>
                    <a:pt x="490" y="313"/>
                  </a:lnTo>
                  <a:lnTo>
                    <a:pt x="496" y="313"/>
                  </a:lnTo>
                  <a:lnTo>
                    <a:pt x="502" y="313"/>
                  </a:lnTo>
                  <a:lnTo>
                    <a:pt x="496" y="313"/>
                  </a:lnTo>
                  <a:lnTo>
                    <a:pt x="496" y="319"/>
                  </a:lnTo>
                  <a:lnTo>
                    <a:pt x="502" y="313"/>
                  </a:lnTo>
                  <a:lnTo>
                    <a:pt x="509" y="313"/>
                  </a:lnTo>
                  <a:lnTo>
                    <a:pt x="515" y="313"/>
                  </a:lnTo>
                  <a:lnTo>
                    <a:pt x="515" y="319"/>
                  </a:lnTo>
                  <a:lnTo>
                    <a:pt x="515" y="325"/>
                  </a:lnTo>
                  <a:lnTo>
                    <a:pt x="521" y="325"/>
                  </a:lnTo>
                  <a:lnTo>
                    <a:pt x="521" y="331"/>
                  </a:lnTo>
                  <a:lnTo>
                    <a:pt x="527" y="331"/>
                  </a:lnTo>
                  <a:lnTo>
                    <a:pt x="521" y="325"/>
                  </a:lnTo>
                  <a:lnTo>
                    <a:pt x="521" y="319"/>
                  </a:lnTo>
                  <a:lnTo>
                    <a:pt x="521" y="313"/>
                  </a:lnTo>
                  <a:lnTo>
                    <a:pt x="527" y="307"/>
                  </a:lnTo>
                  <a:lnTo>
                    <a:pt x="533" y="307"/>
                  </a:lnTo>
                  <a:lnTo>
                    <a:pt x="539" y="307"/>
                  </a:lnTo>
                  <a:lnTo>
                    <a:pt x="533" y="307"/>
                  </a:lnTo>
                  <a:lnTo>
                    <a:pt x="527" y="307"/>
                  </a:lnTo>
                  <a:lnTo>
                    <a:pt x="521" y="307"/>
                  </a:lnTo>
                  <a:lnTo>
                    <a:pt x="521" y="313"/>
                  </a:lnTo>
                  <a:lnTo>
                    <a:pt x="515" y="313"/>
                  </a:lnTo>
                  <a:lnTo>
                    <a:pt x="509" y="313"/>
                  </a:lnTo>
                  <a:lnTo>
                    <a:pt x="502" y="313"/>
                  </a:lnTo>
                  <a:lnTo>
                    <a:pt x="502" y="307"/>
                  </a:lnTo>
                  <a:lnTo>
                    <a:pt x="502" y="300"/>
                  </a:lnTo>
                  <a:lnTo>
                    <a:pt x="509" y="307"/>
                  </a:lnTo>
                  <a:lnTo>
                    <a:pt x="515" y="307"/>
                  </a:lnTo>
                  <a:lnTo>
                    <a:pt x="515" y="300"/>
                  </a:lnTo>
                  <a:lnTo>
                    <a:pt x="509" y="300"/>
                  </a:lnTo>
                  <a:lnTo>
                    <a:pt x="502" y="300"/>
                  </a:lnTo>
                  <a:lnTo>
                    <a:pt x="509" y="294"/>
                  </a:lnTo>
                  <a:lnTo>
                    <a:pt x="515" y="294"/>
                  </a:lnTo>
                  <a:lnTo>
                    <a:pt x="521" y="294"/>
                  </a:lnTo>
                  <a:lnTo>
                    <a:pt x="515" y="294"/>
                  </a:lnTo>
                  <a:lnTo>
                    <a:pt x="515" y="288"/>
                  </a:lnTo>
                  <a:lnTo>
                    <a:pt x="521" y="288"/>
                  </a:lnTo>
                  <a:lnTo>
                    <a:pt x="521" y="294"/>
                  </a:lnTo>
                  <a:lnTo>
                    <a:pt x="527" y="294"/>
                  </a:lnTo>
                  <a:lnTo>
                    <a:pt x="533" y="294"/>
                  </a:lnTo>
                  <a:lnTo>
                    <a:pt x="527" y="294"/>
                  </a:lnTo>
                  <a:lnTo>
                    <a:pt x="527" y="288"/>
                  </a:lnTo>
                  <a:lnTo>
                    <a:pt x="521" y="288"/>
                  </a:lnTo>
                  <a:lnTo>
                    <a:pt x="515" y="288"/>
                  </a:lnTo>
                  <a:lnTo>
                    <a:pt x="515" y="282"/>
                  </a:lnTo>
                  <a:lnTo>
                    <a:pt x="509" y="282"/>
                  </a:lnTo>
                  <a:lnTo>
                    <a:pt x="509" y="288"/>
                  </a:lnTo>
                  <a:lnTo>
                    <a:pt x="502" y="288"/>
                  </a:lnTo>
                  <a:lnTo>
                    <a:pt x="502" y="294"/>
                  </a:lnTo>
                  <a:lnTo>
                    <a:pt x="496" y="294"/>
                  </a:lnTo>
                  <a:lnTo>
                    <a:pt x="490" y="300"/>
                  </a:lnTo>
                  <a:lnTo>
                    <a:pt x="484" y="300"/>
                  </a:lnTo>
                  <a:lnTo>
                    <a:pt x="478" y="300"/>
                  </a:lnTo>
                  <a:lnTo>
                    <a:pt x="484" y="294"/>
                  </a:lnTo>
                  <a:lnTo>
                    <a:pt x="490" y="294"/>
                  </a:lnTo>
                  <a:lnTo>
                    <a:pt x="496" y="294"/>
                  </a:lnTo>
                  <a:lnTo>
                    <a:pt x="496" y="288"/>
                  </a:lnTo>
                  <a:lnTo>
                    <a:pt x="490" y="288"/>
                  </a:lnTo>
                  <a:lnTo>
                    <a:pt x="484" y="288"/>
                  </a:lnTo>
                  <a:lnTo>
                    <a:pt x="478" y="288"/>
                  </a:lnTo>
                  <a:lnTo>
                    <a:pt x="484" y="282"/>
                  </a:lnTo>
                  <a:lnTo>
                    <a:pt x="490" y="282"/>
                  </a:lnTo>
                  <a:lnTo>
                    <a:pt x="496" y="282"/>
                  </a:lnTo>
                  <a:lnTo>
                    <a:pt x="490" y="282"/>
                  </a:lnTo>
                  <a:lnTo>
                    <a:pt x="484" y="282"/>
                  </a:lnTo>
                  <a:lnTo>
                    <a:pt x="490" y="276"/>
                  </a:lnTo>
                  <a:lnTo>
                    <a:pt x="490" y="282"/>
                  </a:lnTo>
                  <a:lnTo>
                    <a:pt x="496" y="282"/>
                  </a:lnTo>
                  <a:lnTo>
                    <a:pt x="496" y="276"/>
                  </a:lnTo>
                  <a:lnTo>
                    <a:pt x="502" y="282"/>
                  </a:lnTo>
                  <a:lnTo>
                    <a:pt x="509" y="276"/>
                  </a:lnTo>
                  <a:lnTo>
                    <a:pt x="515" y="276"/>
                  </a:lnTo>
                  <a:lnTo>
                    <a:pt x="521" y="276"/>
                  </a:lnTo>
                  <a:lnTo>
                    <a:pt x="527" y="270"/>
                  </a:lnTo>
                  <a:lnTo>
                    <a:pt x="533" y="276"/>
                  </a:lnTo>
                  <a:lnTo>
                    <a:pt x="533" y="282"/>
                  </a:lnTo>
                  <a:lnTo>
                    <a:pt x="539" y="282"/>
                  </a:lnTo>
                  <a:lnTo>
                    <a:pt x="533" y="276"/>
                  </a:lnTo>
                  <a:lnTo>
                    <a:pt x="539" y="270"/>
                  </a:lnTo>
                  <a:lnTo>
                    <a:pt x="539" y="264"/>
                  </a:lnTo>
                  <a:lnTo>
                    <a:pt x="533" y="270"/>
                  </a:lnTo>
                  <a:lnTo>
                    <a:pt x="533" y="264"/>
                  </a:lnTo>
                  <a:lnTo>
                    <a:pt x="527" y="264"/>
                  </a:lnTo>
                  <a:lnTo>
                    <a:pt x="521" y="264"/>
                  </a:lnTo>
                  <a:lnTo>
                    <a:pt x="515" y="264"/>
                  </a:lnTo>
                  <a:lnTo>
                    <a:pt x="515" y="270"/>
                  </a:lnTo>
                  <a:lnTo>
                    <a:pt x="509" y="270"/>
                  </a:lnTo>
                  <a:lnTo>
                    <a:pt x="509" y="264"/>
                  </a:lnTo>
                  <a:lnTo>
                    <a:pt x="509" y="258"/>
                  </a:lnTo>
                  <a:lnTo>
                    <a:pt x="515" y="258"/>
                  </a:lnTo>
                  <a:lnTo>
                    <a:pt x="521" y="258"/>
                  </a:lnTo>
                  <a:lnTo>
                    <a:pt x="521" y="251"/>
                  </a:lnTo>
                  <a:lnTo>
                    <a:pt x="527" y="258"/>
                  </a:lnTo>
                  <a:lnTo>
                    <a:pt x="533" y="258"/>
                  </a:lnTo>
                  <a:lnTo>
                    <a:pt x="533" y="251"/>
                  </a:lnTo>
                  <a:lnTo>
                    <a:pt x="539" y="251"/>
                  </a:lnTo>
                  <a:lnTo>
                    <a:pt x="539" y="245"/>
                  </a:lnTo>
                  <a:lnTo>
                    <a:pt x="545" y="245"/>
                  </a:lnTo>
                  <a:lnTo>
                    <a:pt x="545" y="251"/>
                  </a:lnTo>
                  <a:lnTo>
                    <a:pt x="545" y="258"/>
                  </a:lnTo>
                  <a:lnTo>
                    <a:pt x="545" y="264"/>
                  </a:lnTo>
                  <a:lnTo>
                    <a:pt x="539" y="264"/>
                  </a:lnTo>
                  <a:lnTo>
                    <a:pt x="551" y="270"/>
                  </a:lnTo>
                  <a:lnTo>
                    <a:pt x="551" y="276"/>
                  </a:lnTo>
                  <a:lnTo>
                    <a:pt x="551" y="282"/>
                  </a:lnTo>
                  <a:lnTo>
                    <a:pt x="558" y="282"/>
                  </a:lnTo>
                  <a:lnTo>
                    <a:pt x="558" y="288"/>
                  </a:lnTo>
                  <a:lnTo>
                    <a:pt x="564" y="288"/>
                  </a:lnTo>
                  <a:lnTo>
                    <a:pt x="564" y="282"/>
                  </a:lnTo>
                  <a:lnTo>
                    <a:pt x="558" y="282"/>
                  </a:lnTo>
                  <a:lnTo>
                    <a:pt x="558" y="276"/>
                  </a:lnTo>
                  <a:lnTo>
                    <a:pt x="551" y="276"/>
                  </a:lnTo>
                  <a:lnTo>
                    <a:pt x="558" y="276"/>
                  </a:lnTo>
                  <a:lnTo>
                    <a:pt x="558" y="270"/>
                  </a:lnTo>
                  <a:lnTo>
                    <a:pt x="551" y="270"/>
                  </a:lnTo>
                  <a:lnTo>
                    <a:pt x="558" y="270"/>
                  </a:lnTo>
                  <a:lnTo>
                    <a:pt x="558" y="276"/>
                  </a:lnTo>
                  <a:lnTo>
                    <a:pt x="564" y="276"/>
                  </a:lnTo>
                  <a:lnTo>
                    <a:pt x="558" y="270"/>
                  </a:lnTo>
                  <a:lnTo>
                    <a:pt x="564" y="270"/>
                  </a:lnTo>
                  <a:lnTo>
                    <a:pt x="564" y="276"/>
                  </a:lnTo>
                  <a:lnTo>
                    <a:pt x="570" y="270"/>
                  </a:lnTo>
                  <a:lnTo>
                    <a:pt x="564" y="270"/>
                  </a:lnTo>
                  <a:lnTo>
                    <a:pt x="564" y="264"/>
                  </a:lnTo>
                  <a:lnTo>
                    <a:pt x="564" y="270"/>
                  </a:lnTo>
                  <a:lnTo>
                    <a:pt x="558" y="270"/>
                  </a:lnTo>
                  <a:lnTo>
                    <a:pt x="558" y="264"/>
                  </a:lnTo>
                  <a:lnTo>
                    <a:pt x="564" y="264"/>
                  </a:lnTo>
                  <a:lnTo>
                    <a:pt x="564" y="258"/>
                  </a:lnTo>
                  <a:lnTo>
                    <a:pt x="570" y="264"/>
                  </a:lnTo>
                  <a:lnTo>
                    <a:pt x="576" y="264"/>
                  </a:lnTo>
                  <a:lnTo>
                    <a:pt x="570" y="264"/>
                  </a:lnTo>
                  <a:lnTo>
                    <a:pt x="570" y="258"/>
                  </a:lnTo>
                  <a:lnTo>
                    <a:pt x="564" y="258"/>
                  </a:lnTo>
                  <a:lnTo>
                    <a:pt x="558" y="264"/>
                  </a:lnTo>
                  <a:lnTo>
                    <a:pt x="558" y="258"/>
                  </a:lnTo>
                  <a:lnTo>
                    <a:pt x="564" y="258"/>
                  </a:lnTo>
                  <a:lnTo>
                    <a:pt x="570" y="258"/>
                  </a:lnTo>
                  <a:lnTo>
                    <a:pt x="564" y="251"/>
                  </a:lnTo>
                  <a:lnTo>
                    <a:pt x="558" y="251"/>
                  </a:lnTo>
                  <a:lnTo>
                    <a:pt x="551" y="251"/>
                  </a:lnTo>
                  <a:lnTo>
                    <a:pt x="558" y="245"/>
                  </a:lnTo>
                  <a:lnTo>
                    <a:pt x="551" y="245"/>
                  </a:lnTo>
                  <a:lnTo>
                    <a:pt x="545" y="245"/>
                  </a:lnTo>
                  <a:lnTo>
                    <a:pt x="551" y="245"/>
                  </a:lnTo>
                  <a:lnTo>
                    <a:pt x="558" y="245"/>
                  </a:lnTo>
                  <a:lnTo>
                    <a:pt x="564" y="245"/>
                  </a:lnTo>
                  <a:lnTo>
                    <a:pt x="570" y="245"/>
                  </a:lnTo>
                  <a:lnTo>
                    <a:pt x="570" y="251"/>
                  </a:lnTo>
                  <a:lnTo>
                    <a:pt x="576" y="258"/>
                  </a:lnTo>
                  <a:lnTo>
                    <a:pt x="582" y="258"/>
                  </a:lnTo>
                  <a:lnTo>
                    <a:pt x="582" y="251"/>
                  </a:lnTo>
                  <a:lnTo>
                    <a:pt x="576" y="251"/>
                  </a:lnTo>
                  <a:lnTo>
                    <a:pt x="570" y="251"/>
                  </a:lnTo>
                  <a:lnTo>
                    <a:pt x="570" y="245"/>
                  </a:lnTo>
                  <a:lnTo>
                    <a:pt x="564" y="245"/>
                  </a:lnTo>
                  <a:lnTo>
                    <a:pt x="558" y="245"/>
                  </a:lnTo>
                  <a:lnTo>
                    <a:pt x="558" y="239"/>
                  </a:lnTo>
                  <a:lnTo>
                    <a:pt x="551" y="239"/>
                  </a:lnTo>
                  <a:lnTo>
                    <a:pt x="558" y="239"/>
                  </a:lnTo>
                  <a:lnTo>
                    <a:pt x="564" y="239"/>
                  </a:lnTo>
                  <a:lnTo>
                    <a:pt x="564" y="233"/>
                  </a:lnTo>
                  <a:lnTo>
                    <a:pt x="570" y="233"/>
                  </a:lnTo>
                  <a:lnTo>
                    <a:pt x="576" y="233"/>
                  </a:lnTo>
                  <a:lnTo>
                    <a:pt x="582" y="233"/>
                  </a:lnTo>
                  <a:lnTo>
                    <a:pt x="582" y="239"/>
                  </a:lnTo>
                  <a:lnTo>
                    <a:pt x="582" y="245"/>
                  </a:lnTo>
                  <a:lnTo>
                    <a:pt x="588" y="239"/>
                  </a:lnTo>
                  <a:lnTo>
                    <a:pt x="594" y="239"/>
                  </a:lnTo>
                  <a:lnTo>
                    <a:pt x="594" y="233"/>
                  </a:lnTo>
                  <a:lnTo>
                    <a:pt x="601" y="239"/>
                  </a:lnTo>
                  <a:lnTo>
                    <a:pt x="607" y="233"/>
                  </a:lnTo>
                  <a:lnTo>
                    <a:pt x="613" y="233"/>
                  </a:lnTo>
                  <a:lnTo>
                    <a:pt x="619" y="233"/>
                  </a:lnTo>
                  <a:lnTo>
                    <a:pt x="625" y="233"/>
                  </a:lnTo>
                  <a:lnTo>
                    <a:pt x="619" y="233"/>
                  </a:lnTo>
                  <a:lnTo>
                    <a:pt x="619" y="227"/>
                  </a:lnTo>
                  <a:lnTo>
                    <a:pt x="613" y="233"/>
                  </a:lnTo>
                  <a:lnTo>
                    <a:pt x="613" y="227"/>
                  </a:lnTo>
                  <a:lnTo>
                    <a:pt x="619" y="227"/>
                  </a:lnTo>
                  <a:lnTo>
                    <a:pt x="613" y="227"/>
                  </a:lnTo>
                  <a:lnTo>
                    <a:pt x="607" y="227"/>
                  </a:lnTo>
                  <a:lnTo>
                    <a:pt x="601" y="227"/>
                  </a:lnTo>
                  <a:lnTo>
                    <a:pt x="594" y="233"/>
                  </a:lnTo>
                  <a:lnTo>
                    <a:pt x="588" y="233"/>
                  </a:lnTo>
                  <a:lnTo>
                    <a:pt x="588" y="227"/>
                  </a:lnTo>
                  <a:lnTo>
                    <a:pt x="594" y="227"/>
                  </a:lnTo>
                  <a:lnTo>
                    <a:pt x="588" y="227"/>
                  </a:lnTo>
                  <a:lnTo>
                    <a:pt x="582" y="233"/>
                  </a:lnTo>
                  <a:lnTo>
                    <a:pt x="576" y="233"/>
                  </a:lnTo>
                  <a:lnTo>
                    <a:pt x="570" y="233"/>
                  </a:lnTo>
                  <a:lnTo>
                    <a:pt x="564" y="233"/>
                  </a:lnTo>
                  <a:lnTo>
                    <a:pt x="564" y="227"/>
                  </a:lnTo>
                  <a:lnTo>
                    <a:pt x="564" y="221"/>
                  </a:lnTo>
                  <a:lnTo>
                    <a:pt x="558" y="221"/>
                  </a:lnTo>
                  <a:lnTo>
                    <a:pt x="551" y="221"/>
                  </a:lnTo>
                  <a:lnTo>
                    <a:pt x="545" y="221"/>
                  </a:lnTo>
                  <a:lnTo>
                    <a:pt x="545" y="227"/>
                  </a:lnTo>
                  <a:lnTo>
                    <a:pt x="539" y="233"/>
                  </a:lnTo>
                  <a:lnTo>
                    <a:pt x="539" y="239"/>
                  </a:lnTo>
                  <a:lnTo>
                    <a:pt x="533" y="239"/>
                  </a:lnTo>
                  <a:lnTo>
                    <a:pt x="533" y="233"/>
                  </a:lnTo>
                  <a:lnTo>
                    <a:pt x="533" y="227"/>
                  </a:lnTo>
                  <a:lnTo>
                    <a:pt x="533" y="233"/>
                  </a:lnTo>
                  <a:lnTo>
                    <a:pt x="527" y="233"/>
                  </a:lnTo>
                  <a:lnTo>
                    <a:pt x="533" y="233"/>
                  </a:lnTo>
                  <a:lnTo>
                    <a:pt x="533" y="239"/>
                  </a:lnTo>
                  <a:lnTo>
                    <a:pt x="527" y="239"/>
                  </a:lnTo>
                  <a:lnTo>
                    <a:pt x="521" y="245"/>
                  </a:lnTo>
                  <a:lnTo>
                    <a:pt x="521" y="239"/>
                  </a:lnTo>
                  <a:lnTo>
                    <a:pt x="515" y="239"/>
                  </a:lnTo>
                  <a:lnTo>
                    <a:pt x="509" y="239"/>
                  </a:lnTo>
                  <a:lnTo>
                    <a:pt x="515" y="233"/>
                  </a:lnTo>
                  <a:lnTo>
                    <a:pt x="521" y="227"/>
                  </a:lnTo>
                  <a:lnTo>
                    <a:pt x="515" y="227"/>
                  </a:lnTo>
                  <a:lnTo>
                    <a:pt x="515" y="233"/>
                  </a:lnTo>
                  <a:lnTo>
                    <a:pt x="509" y="233"/>
                  </a:lnTo>
                  <a:lnTo>
                    <a:pt x="509" y="239"/>
                  </a:lnTo>
                  <a:lnTo>
                    <a:pt x="502" y="239"/>
                  </a:lnTo>
                  <a:lnTo>
                    <a:pt x="502" y="245"/>
                  </a:lnTo>
                  <a:lnTo>
                    <a:pt x="496" y="245"/>
                  </a:lnTo>
                  <a:lnTo>
                    <a:pt x="490" y="245"/>
                  </a:lnTo>
                  <a:lnTo>
                    <a:pt x="496" y="239"/>
                  </a:lnTo>
                  <a:lnTo>
                    <a:pt x="502" y="233"/>
                  </a:lnTo>
                  <a:lnTo>
                    <a:pt x="509" y="233"/>
                  </a:lnTo>
                  <a:lnTo>
                    <a:pt x="509" y="227"/>
                  </a:lnTo>
                  <a:lnTo>
                    <a:pt x="502" y="227"/>
                  </a:lnTo>
                  <a:lnTo>
                    <a:pt x="509" y="227"/>
                  </a:lnTo>
                  <a:lnTo>
                    <a:pt x="502" y="227"/>
                  </a:lnTo>
                  <a:lnTo>
                    <a:pt x="502" y="221"/>
                  </a:lnTo>
                  <a:lnTo>
                    <a:pt x="509" y="221"/>
                  </a:lnTo>
                  <a:lnTo>
                    <a:pt x="515" y="215"/>
                  </a:lnTo>
                  <a:lnTo>
                    <a:pt x="521" y="215"/>
                  </a:lnTo>
                  <a:lnTo>
                    <a:pt x="515" y="215"/>
                  </a:lnTo>
                  <a:lnTo>
                    <a:pt x="515" y="209"/>
                  </a:lnTo>
                  <a:lnTo>
                    <a:pt x="509" y="215"/>
                  </a:lnTo>
                  <a:lnTo>
                    <a:pt x="502" y="215"/>
                  </a:lnTo>
                  <a:lnTo>
                    <a:pt x="502" y="221"/>
                  </a:lnTo>
                  <a:lnTo>
                    <a:pt x="496" y="221"/>
                  </a:lnTo>
                  <a:lnTo>
                    <a:pt x="490" y="221"/>
                  </a:lnTo>
                  <a:lnTo>
                    <a:pt x="490" y="227"/>
                  </a:lnTo>
                  <a:lnTo>
                    <a:pt x="484" y="227"/>
                  </a:lnTo>
                  <a:lnTo>
                    <a:pt x="478" y="227"/>
                  </a:lnTo>
                  <a:lnTo>
                    <a:pt x="472" y="221"/>
                  </a:lnTo>
                  <a:lnTo>
                    <a:pt x="478" y="221"/>
                  </a:lnTo>
                  <a:lnTo>
                    <a:pt x="484" y="221"/>
                  </a:lnTo>
                  <a:lnTo>
                    <a:pt x="484" y="215"/>
                  </a:lnTo>
                  <a:lnTo>
                    <a:pt x="490" y="215"/>
                  </a:lnTo>
                  <a:lnTo>
                    <a:pt x="496" y="209"/>
                  </a:lnTo>
                  <a:lnTo>
                    <a:pt x="502" y="209"/>
                  </a:lnTo>
                  <a:lnTo>
                    <a:pt x="502" y="202"/>
                  </a:lnTo>
                  <a:lnTo>
                    <a:pt x="496" y="202"/>
                  </a:lnTo>
                  <a:lnTo>
                    <a:pt x="496" y="209"/>
                  </a:lnTo>
                  <a:lnTo>
                    <a:pt x="490" y="209"/>
                  </a:lnTo>
                  <a:lnTo>
                    <a:pt x="484" y="215"/>
                  </a:lnTo>
                  <a:lnTo>
                    <a:pt x="484" y="209"/>
                  </a:lnTo>
                  <a:lnTo>
                    <a:pt x="484" y="215"/>
                  </a:lnTo>
                  <a:lnTo>
                    <a:pt x="478" y="215"/>
                  </a:lnTo>
                  <a:lnTo>
                    <a:pt x="478" y="209"/>
                  </a:lnTo>
                  <a:lnTo>
                    <a:pt x="478" y="215"/>
                  </a:lnTo>
                  <a:lnTo>
                    <a:pt x="472" y="215"/>
                  </a:lnTo>
                  <a:lnTo>
                    <a:pt x="466" y="221"/>
                  </a:lnTo>
                  <a:lnTo>
                    <a:pt x="466" y="215"/>
                  </a:lnTo>
                  <a:lnTo>
                    <a:pt x="466" y="209"/>
                  </a:lnTo>
                  <a:lnTo>
                    <a:pt x="472" y="209"/>
                  </a:lnTo>
                  <a:lnTo>
                    <a:pt x="466" y="209"/>
                  </a:lnTo>
                  <a:lnTo>
                    <a:pt x="466" y="202"/>
                  </a:lnTo>
                  <a:lnTo>
                    <a:pt x="472" y="202"/>
                  </a:lnTo>
                  <a:lnTo>
                    <a:pt x="472" y="209"/>
                  </a:lnTo>
                  <a:lnTo>
                    <a:pt x="472" y="202"/>
                  </a:lnTo>
                  <a:lnTo>
                    <a:pt x="478" y="202"/>
                  </a:lnTo>
                  <a:lnTo>
                    <a:pt x="472" y="202"/>
                  </a:lnTo>
                  <a:lnTo>
                    <a:pt x="478" y="202"/>
                  </a:lnTo>
                  <a:lnTo>
                    <a:pt x="478" y="196"/>
                  </a:lnTo>
                  <a:lnTo>
                    <a:pt x="478" y="202"/>
                  </a:lnTo>
                  <a:lnTo>
                    <a:pt x="484" y="202"/>
                  </a:lnTo>
                  <a:lnTo>
                    <a:pt x="490" y="202"/>
                  </a:lnTo>
                  <a:lnTo>
                    <a:pt x="490" y="196"/>
                  </a:lnTo>
                  <a:lnTo>
                    <a:pt x="496" y="196"/>
                  </a:lnTo>
                  <a:lnTo>
                    <a:pt x="490" y="202"/>
                  </a:lnTo>
                  <a:lnTo>
                    <a:pt x="496" y="196"/>
                  </a:lnTo>
                  <a:lnTo>
                    <a:pt x="496" y="202"/>
                  </a:lnTo>
                  <a:lnTo>
                    <a:pt x="502" y="202"/>
                  </a:lnTo>
                  <a:lnTo>
                    <a:pt x="502" y="196"/>
                  </a:lnTo>
                  <a:lnTo>
                    <a:pt x="496" y="196"/>
                  </a:lnTo>
                  <a:lnTo>
                    <a:pt x="496" y="190"/>
                  </a:lnTo>
                  <a:lnTo>
                    <a:pt x="496" y="184"/>
                  </a:lnTo>
                  <a:lnTo>
                    <a:pt x="502" y="184"/>
                  </a:lnTo>
                  <a:lnTo>
                    <a:pt x="502" y="190"/>
                  </a:lnTo>
                  <a:lnTo>
                    <a:pt x="509" y="190"/>
                  </a:lnTo>
                  <a:lnTo>
                    <a:pt x="509" y="196"/>
                  </a:lnTo>
                  <a:lnTo>
                    <a:pt x="502" y="196"/>
                  </a:lnTo>
                  <a:lnTo>
                    <a:pt x="509" y="196"/>
                  </a:lnTo>
                  <a:lnTo>
                    <a:pt x="509" y="202"/>
                  </a:lnTo>
                  <a:lnTo>
                    <a:pt x="509" y="209"/>
                  </a:lnTo>
                  <a:lnTo>
                    <a:pt x="515" y="209"/>
                  </a:lnTo>
                  <a:lnTo>
                    <a:pt x="515" y="202"/>
                  </a:lnTo>
                  <a:lnTo>
                    <a:pt x="521" y="196"/>
                  </a:lnTo>
                  <a:lnTo>
                    <a:pt x="527" y="202"/>
                  </a:lnTo>
                  <a:lnTo>
                    <a:pt x="527" y="196"/>
                  </a:lnTo>
                  <a:lnTo>
                    <a:pt x="521" y="196"/>
                  </a:lnTo>
                  <a:lnTo>
                    <a:pt x="521" y="190"/>
                  </a:lnTo>
                  <a:lnTo>
                    <a:pt x="527" y="190"/>
                  </a:lnTo>
                  <a:lnTo>
                    <a:pt x="521" y="184"/>
                  </a:lnTo>
                  <a:lnTo>
                    <a:pt x="521" y="178"/>
                  </a:lnTo>
                  <a:lnTo>
                    <a:pt x="521" y="172"/>
                  </a:lnTo>
                  <a:lnTo>
                    <a:pt x="527" y="172"/>
                  </a:lnTo>
                  <a:lnTo>
                    <a:pt x="533" y="172"/>
                  </a:lnTo>
                  <a:lnTo>
                    <a:pt x="533" y="166"/>
                  </a:lnTo>
                  <a:lnTo>
                    <a:pt x="545" y="160"/>
                  </a:lnTo>
                  <a:lnTo>
                    <a:pt x="551" y="160"/>
                  </a:lnTo>
                  <a:lnTo>
                    <a:pt x="545" y="166"/>
                  </a:lnTo>
                  <a:lnTo>
                    <a:pt x="545" y="172"/>
                  </a:lnTo>
                  <a:lnTo>
                    <a:pt x="539" y="178"/>
                  </a:lnTo>
                  <a:lnTo>
                    <a:pt x="533" y="178"/>
                  </a:lnTo>
                  <a:lnTo>
                    <a:pt x="533" y="184"/>
                  </a:lnTo>
                  <a:lnTo>
                    <a:pt x="527" y="184"/>
                  </a:lnTo>
                  <a:lnTo>
                    <a:pt x="527" y="190"/>
                  </a:lnTo>
                  <a:lnTo>
                    <a:pt x="533" y="184"/>
                  </a:lnTo>
                  <a:lnTo>
                    <a:pt x="533" y="190"/>
                  </a:lnTo>
                  <a:lnTo>
                    <a:pt x="539" y="190"/>
                  </a:lnTo>
                  <a:lnTo>
                    <a:pt x="539" y="196"/>
                  </a:lnTo>
                  <a:lnTo>
                    <a:pt x="539" y="202"/>
                  </a:lnTo>
                  <a:lnTo>
                    <a:pt x="533" y="202"/>
                  </a:lnTo>
                  <a:lnTo>
                    <a:pt x="539" y="202"/>
                  </a:lnTo>
                  <a:lnTo>
                    <a:pt x="539" y="209"/>
                  </a:lnTo>
                  <a:lnTo>
                    <a:pt x="539" y="215"/>
                  </a:lnTo>
                  <a:lnTo>
                    <a:pt x="539" y="209"/>
                  </a:lnTo>
                  <a:lnTo>
                    <a:pt x="545" y="209"/>
                  </a:lnTo>
                  <a:lnTo>
                    <a:pt x="551" y="209"/>
                  </a:lnTo>
                  <a:lnTo>
                    <a:pt x="551" y="202"/>
                  </a:lnTo>
                  <a:lnTo>
                    <a:pt x="545" y="202"/>
                  </a:lnTo>
                  <a:lnTo>
                    <a:pt x="545" y="196"/>
                  </a:lnTo>
                  <a:lnTo>
                    <a:pt x="551" y="196"/>
                  </a:lnTo>
                  <a:lnTo>
                    <a:pt x="558" y="196"/>
                  </a:lnTo>
                  <a:lnTo>
                    <a:pt x="551" y="190"/>
                  </a:lnTo>
                  <a:lnTo>
                    <a:pt x="558" y="190"/>
                  </a:lnTo>
                  <a:lnTo>
                    <a:pt x="558" y="196"/>
                  </a:lnTo>
                  <a:lnTo>
                    <a:pt x="564" y="196"/>
                  </a:lnTo>
                  <a:lnTo>
                    <a:pt x="570" y="196"/>
                  </a:lnTo>
                  <a:lnTo>
                    <a:pt x="570" y="202"/>
                  </a:lnTo>
                  <a:lnTo>
                    <a:pt x="570" y="209"/>
                  </a:lnTo>
                  <a:lnTo>
                    <a:pt x="570" y="215"/>
                  </a:lnTo>
                  <a:lnTo>
                    <a:pt x="576" y="215"/>
                  </a:lnTo>
                  <a:lnTo>
                    <a:pt x="582" y="209"/>
                  </a:lnTo>
                  <a:lnTo>
                    <a:pt x="588" y="209"/>
                  </a:lnTo>
                  <a:lnTo>
                    <a:pt x="594" y="209"/>
                  </a:lnTo>
                  <a:lnTo>
                    <a:pt x="601" y="209"/>
                  </a:lnTo>
                  <a:lnTo>
                    <a:pt x="607" y="209"/>
                  </a:lnTo>
                  <a:lnTo>
                    <a:pt x="613" y="209"/>
                  </a:lnTo>
                  <a:lnTo>
                    <a:pt x="613" y="215"/>
                  </a:lnTo>
                  <a:lnTo>
                    <a:pt x="613" y="209"/>
                  </a:lnTo>
                  <a:lnTo>
                    <a:pt x="613" y="202"/>
                  </a:lnTo>
                  <a:lnTo>
                    <a:pt x="607" y="202"/>
                  </a:lnTo>
                  <a:lnTo>
                    <a:pt x="601" y="209"/>
                  </a:lnTo>
                  <a:lnTo>
                    <a:pt x="601" y="202"/>
                  </a:lnTo>
                  <a:lnTo>
                    <a:pt x="607" y="202"/>
                  </a:lnTo>
                  <a:lnTo>
                    <a:pt x="613" y="202"/>
                  </a:lnTo>
                  <a:lnTo>
                    <a:pt x="619" y="202"/>
                  </a:lnTo>
                  <a:lnTo>
                    <a:pt x="625" y="202"/>
                  </a:lnTo>
                  <a:lnTo>
                    <a:pt x="619" y="202"/>
                  </a:lnTo>
                  <a:lnTo>
                    <a:pt x="613" y="196"/>
                  </a:lnTo>
                  <a:lnTo>
                    <a:pt x="619" y="196"/>
                  </a:lnTo>
                  <a:lnTo>
                    <a:pt x="625" y="196"/>
                  </a:lnTo>
                  <a:lnTo>
                    <a:pt x="631" y="196"/>
                  </a:lnTo>
                  <a:lnTo>
                    <a:pt x="625" y="190"/>
                  </a:lnTo>
                  <a:lnTo>
                    <a:pt x="619" y="190"/>
                  </a:lnTo>
                  <a:lnTo>
                    <a:pt x="613" y="190"/>
                  </a:lnTo>
                  <a:lnTo>
                    <a:pt x="619" y="190"/>
                  </a:lnTo>
                  <a:lnTo>
                    <a:pt x="619" y="184"/>
                  </a:lnTo>
                  <a:lnTo>
                    <a:pt x="613" y="184"/>
                  </a:lnTo>
                  <a:lnTo>
                    <a:pt x="619" y="178"/>
                  </a:lnTo>
                  <a:lnTo>
                    <a:pt x="625" y="172"/>
                  </a:lnTo>
                  <a:lnTo>
                    <a:pt x="631" y="172"/>
                  </a:lnTo>
                  <a:lnTo>
                    <a:pt x="637" y="172"/>
                  </a:lnTo>
                  <a:lnTo>
                    <a:pt x="643" y="172"/>
                  </a:lnTo>
                  <a:lnTo>
                    <a:pt x="637" y="172"/>
                  </a:lnTo>
                  <a:lnTo>
                    <a:pt x="637" y="166"/>
                  </a:lnTo>
                  <a:lnTo>
                    <a:pt x="637" y="160"/>
                  </a:lnTo>
                  <a:lnTo>
                    <a:pt x="643" y="153"/>
                  </a:lnTo>
                  <a:lnTo>
                    <a:pt x="650" y="153"/>
                  </a:lnTo>
                  <a:lnTo>
                    <a:pt x="643" y="147"/>
                  </a:lnTo>
                  <a:lnTo>
                    <a:pt x="650" y="141"/>
                  </a:lnTo>
                  <a:lnTo>
                    <a:pt x="656" y="147"/>
                  </a:lnTo>
                  <a:lnTo>
                    <a:pt x="656" y="153"/>
                  </a:lnTo>
                  <a:lnTo>
                    <a:pt x="650" y="153"/>
                  </a:lnTo>
                  <a:lnTo>
                    <a:pt x="650" y="160"/>
                  </a:lnTo>
                  <a:lnTo>
                    <a:pt x="656" y="153"/>
                  </a:lnTo>
                  <a:lnTo>
                    <a:pt x="662" y="153"/>
                  </a:lnTo>
                  <a:lnTo>
                    <a:pt x="662" y="160"/>
                  </a:lnTo>
                  <a:lnTo>
                    <a:pt x="662" y="166"/>
                  </a:lnTo>
                  <a:lnTo>
                    <a:pt x="662" y="172"/>
                  </a:lnTo>
                  <a:lnTo>
                    <a:pt x="668" y="166"/>
                  </a:lnTo>
                  <a:lnTo>
                    <a:pt x="668" y="160"/>
                  </a:lnTo>
                  <a:lnTo>
                    <a:pt x="674" y="160"/>
                  </a:lnTo>
                  <a:lnTo>
                    <a:pt x="674" y="153"/>
                  </a:lnTo>
                  <a:lnTo>
                    <a:pt x="680" y="160"/>
                  </a:lnTo>
                  <a:lnTo>
                    <a:pt x="686" y="160"/>
                  </a:lnTo>
                  <a:lnTo>
                    <a:pt x="686" y="153"/>
                  </a:lnTo>
                  <a:lnTo>
                    <a:pt x="680" y="153"/>
                  </a:lnTo>
                  <a:lnTo>
                    <a:pt x="674" y="153"/>
                  </a:lnTo>
                  <a:lnTo>
                    <a:pt x="668" y="153"/>
                  </a:lnTo>
                  <a:lnTo>
                    <a:pt x="668" y="147"/>
                  </a:lnTo>
                  <a:lnTo>
                    <a:pt x="662" y="147"/>
                  </a:lnTo>
                  <a:lnTo>
                    <a:pt x="662" y="141"/>
                  </a:lnTo>
                  <a:lnTo>
                    <a:pt x="668" y="141"/>
                  </a:lnTo>
                  <a:lnTo>
                    <a:pt x="674" y="135"/>
                  </a:lnTo>
                  <a:lnTo>
                    <a:pt x="680" y="135"/>
                  </a:lnTo>
                  <a:lnTo>
                    <a:pt x="680" y="141"/>
                  </a:lnTo>
                  <a:lnTo>
                    <a:pt x="680" y="147"/>
                  </a:lnTo>
                  <a:lnTo>
                    <a:pt x="686" y="153"/>
                  </a:lnTo>
                  <a:lnTo>
                    <a:pt x="692" y="153"/>
                  </a:lnTo>
                  <a:lnTo>
                    <a:pt x="699" y="153"/>
                  </a:lnTo>
                  <a:lnTo>
                    <a:pt x="705" y="160"/>
                  </a:lnTo>
                  <a:lnTo>
                    <a:pt x="699" y="160"/>
                  </a:lnTo>
                  <a:lnTo>
                    <a:pt x="699" y="166"/>
                  </a:lnTo>
                  <a:lnTo>
                    <a:pt x="705" y="166"/>
                  </a:lnTo>
                  <a:lnTo>
                    <a:pt x="711" y="166"/>
                  </a:lnTo>
                  <a:lnTo>
                    <a:pt x="717" y="166"/>
                  </a:lnTo>
                  <a:lnTo>
                    <a:pt x="711" y="166"/>
                  </a:lnTo>
                  <a:lnTo>
                    <a:pt x="711" y="160"/>
                  </a:lnTo>
                  <a:lnTo>
                    <a:pt x="705" y="160"/>
                  </a:lnTo>
                  <a:lnTo>
                    <a:pt x="711" y="160"/>
                  </a:lnTo>
                  <a:lnTo>
                    <a:pt x="705" y="153"/>
                  </a:lnTo>
                  <a:lnTo>
                    <a:pt x="699" y="153"/>
                  </a:lnTo>
                  <a:lnTo>
                    <a:pt x="692" y="153"/>
                  </a:lnTo>
                  <a:lnTo>
                    <a:pt x="692" y="147"/>
                  </a:lnTo>
                  <a:lnTo>
                    <a:pt x="686" y="147"/>
                  </a:lnTo>
                  <a:lnTo>
                    <a:pt x="686" y="141"/>
                  </a:lnTo>
                  <a:lnTo>
                    <a:pt x="686" y="135"/>
                  </a:lnTo>
                  <a:lnTo>
                    <a:pt x="680" y="129"/>
                  </a:lnTo>
                  <a:lnTo>
                    <a:pt x="686" y="129"/>
                  </a:lnTo>
                  <a:lnTo>
                    <a:pt x="686" y="123"/>
                  </a:lnTo>
                  <a:lnTo>
                    <a:pt x="692" y="123"/>
                  </a:lnTo>
                  <a:lnTo>
                    <a:pt x="699" y="117"/>
                  </a:lnTo>
                  <a:lnTo>
                    <a:pt x="705" y="117"/>
                  </a:lnTo>
                  <a:lnTo>
                    <a:pt x="711" y="117"/>
                  </a:lnTo>
                  <a:lnTo>
                    <a:pt x="717" y="117"/>
                  </a:lnTo>
                  <a:lnTo>
                    <a:pt x="723" y="117"/>
                  </a:lnTo>
                  <a:lnTo>
                    <a:pt x="723" y="123"/>
                  </a:lnTo>
                  <a:lnTo>
                    <a:pt x="717" y="123"/>
                  </a:lnTo>
                  <a:lnTo>
                    <a:pt x="717" y="129"/>
                  </a:lnTo>
                  <a:lnTo>
                    <a:pt x="723" y="129"/>
                  </a:lnTo>
                  <a:lnTo>
                    <a:pt x="717" y="135"/>
                  </a:lnTo>
                  <a:lnTo>
                    <a:pt x="717" y="141"/>
                  </a:lnTo>
                  <a:lnTo>
                    <a:pt x="723" y="141"/>
                  </a:lnTo>
                  <a:lnTo>
                    <a:pt x="723" y="135"/>
                  </a:lnTo>
                  <a:lnTo>
                    <a:pt x="729" y="135"/>
                  </a:lnTo>
                  <a:lnTo>
                    <a:pt x="735" y="135"/>
                  </a:lnTo>
                  <a:lnTo>
                    <a:pt x="741" y="135"/>
                  </a:lnTo>
                  <a:lnTo>
                    <a:pt x="735" y="135"/>
                  </a:lnTo>
                  <a:lnTo>
                    <a:pt x="735" y="129"/>
                  </a:lnTo>
                  <a:lnTo>
                    <a:pt x="729" y="129"/>
                  </a:lnTo>
                  <a:lnTo>
                    <a:pt x="723" y="129"/>
                  </a:lnTo>
                  <a:lnTo>
                    <a:pt x="723" y="123"/>
                  </a:lnTo>
                  <a:lnTo>
                    <a:pt x="729" y="123"/>
                  </a:lnTo>
                  <a:lnTo>
                    <a:pt x="729" y="117"/>
                  </a:lnTo>
                  <a:lnTo>
                    <a:pt x="735" y="111"/>
                  </a:lnTo>
                  <a:lnTo>
                    <a:pt x="735" y="117"/>
                  </a:lnTo>
                  <a:lnTo>
                    <a:pt x="741" y="111"/>
                  </a:lnTo>
                  <a:lnTo>
                    <a:pt x="741" y="104"/>
                  </a:lnTo>
                  <a:lnTo>
                    <a:pt x="748" y="104"/>
                  </a:lnTo>
                  <a:lnTo>
                    <a:pt x="748" y="98"/>
                  </a:lnTo>
                  <a:lnTo>
                    <a:pt x="748" y="104"/>
                  </a:lnTo>
                  <a:lnTo>
                    <a:pt x="754" y="104"/>
                  </a:lnTo>
                  <a:lnTo>
                    <a:pt x="754" y="111"/>
                  </a:lnTo>
                  <a:lnTo>
                    <a:pt x="748" y="117"/>
                  </a:lnTo>
                  <a:lnTo>
                    <a:pt x="748" y="123"/>
                  </a:lnTo>
                  <a:lnTo>
                    <a:pt x="748" y="129"/>
                  </a:lnTo>
                  <a:lnTo>
                    <a:pt x="754" y="129"/>
                  </a:lnTo>
                  <a:lnTo>
                    <a:pt x="748" y="135"/>
                  </a:lnTo>
                  <a:lnTo>
                    <a:pt x="748" y="141"/>
                  </a:lnTo>
                  <a:lnTo>
                    <a:pt x="741" y="147"/>
                  </a:lnTo>
                  <a:lnTo>
                    <a:pt x="735" y="153"/>
                  </a:lnTo>
                  <a:lnTo>
                    <a:pt x="729" y="160"/>
                  </a:lnTo>
                  <a:lnTo>
                    <a:pt x="735" y="160"/>
                  </a:lnTo>
                  <a:lnTo>
                    <a:pt x="741" y="153"/>
                  </a:lnTo>
                  <a:lnTo>
                    <a:pt x="748" y="153"/>
                  </a:lnTo>
                  <a:lnTo>
                    <a:pt x="754" y="141"/>
                  </a:lnTo>
                  <a:lnTo>
                    <a:pt x="754" y="135"/>
                  </a:lnTo>
                  <a:lnTo>
                    <a:pt x="760" y="135"/>
                  </a:lnTo>
                  <a:lnTo>
                    <a:pt x="760" y="141"/>
                  </a:lnTo>
                  <a:lnTo>
                    <a:pt x="766" y="141"/>
                  </a:lnTo>
                  <a:lnTo>
                    <a:pt x="772" y="141"/>
                  </a:lnTo>
                  <a:lnTo>
                    <a:pt x="778" y="141"/>
                  </a:lnTo>
                  <a:lnTo>
                    <a:pt x="772" y="141"/>
                  </a:lnTo>
                  <a:lnTo>
                    <a:pt x="772" y="135"/>
                  </a:lnTo>
                  <a:lnTo>
                    <a:pt x="766" y="135"/>
                  </a:lnTo>
                  <a:lnTo>
                    <a:pt x="766" y="129"/>
                  </a:lnTo>
                  <a:lnTo>
                    <a:pt x="760" y="129"/>
                  </a:lnTo>
                  <a:lnTo>
                    <a:pt x="760" y="123"/>
                  </a:lnTo>
                  <a:lnTo>
                    <a:pt x="760" y="117"/>
                  </a:lnTo>
                  <a:lnTo>
                    <a:pt x="766" y="117"/>
                  </a:lnTo>
                  <a:lnTo>
                    <a:pt x="772" y="117"/>
                  </a:lnTo>
                  <a:lnTo>
                    <a:pt x="772" y="111"/>
                  </a:lnTo>
                  <a:lnTo>
                    <a:pt x="772" y="104"/>
                  </a:lnTo>
                  <a:lnTo>
                    <a:pt x="778" y="104"/>
                  </a:lnTo>
                  <a:lnTo>
                    <a:pt x="784" y="104"/>
                  </a:lnTo>
                  <a:lnTo>
                    <a:pt x="784" y="98"/>
                  </a:lnTo>
                  <a:lnTo>
                    <a:pt x="790" y="104"/>
                  </a:lnTo>
                  <a:lnTo>
                    <a:pt x="784" y="104"/>
                  </a:lnTo>
                  <a:lnTo>
                    <a:pt x="778" y="111"/>
                  </a:lnTo>
                  <a:lnTo>
                    <a:pt x="784" y="111"/>
                  </a:lnTo>
                  <a:lnTo>
                    <a:pt x="778" y="111"/>
                  </a:lnTo>
                  <a:lnTo>
                    <a:pt x="784" y="117"/>
                  </a:lnTo>
                  <a:lnTo>
                    <a:pt x="784" y="111"/>
                  </a:lnTo>
                  <a:lnTo>
                    <a:pt x="790" y="111"/>
                  </a:lnTo>
                  <a:lnTo>
                    <a:pt x="790" y="117"/>
                  </a:lnTo>
                  <a:lnTo>
                    <a:pt x="797" y="117"/>
                  </a:lnTo>
                  <a:lnTo>
                    <a:pt x="797" y="111"/>
                  </a:lnTo>
                  <a:lnTo>
                    <a:pt x="797" y="104"/>
                  </a:lnTo>
                  <a:lnTo>
                    <a:pt x="797" y="98"/>
                  </a:lnTo>
                  <a:lnTo>
                    <a:pt x="803" y="98"/>
                  </a:lnTo>
                  <a:lnTo>
                    <a:pt x="809" y="98"/>
                  </a:lnTo>
                  <a:lnTo>
                    <a:pt x="815" y="104"/>
                  </a:lnTo>
                  <a:lnTo>
                    <a:pt x="815" y="111"/>
                  </a:lnTo>
                  <a:lnTo>
                    <a:pt x="821" y="111"/>
                  </a:lnTo>
                  <a:lnTo>
                    <a:pt x="827" y="111"/>
                  </a:lnTo>
                  <a:lnTo>
                    <a:pt x="833" y="111"/>
                  </a:lnTo>
                  <a:lnTo>
                    <a:pt x="833" y="104"/>
                  </a:lnTo>
                  <a:lnTo>
                    <a:pt x="827" y="104"/>
                  </a:lnTo>
                  <a:lnTo>
                    <a:pt x="833" y="98"/>
                  </a:lnTo>
                  <a:lnTo>
                    <a:pt x="839" y="98"/>
                  </a:lnTo>
                  <a:lnTo>
                    <a:pt x="833" y="98"/>
                  </a:lnTo>
                  <a:lnTo>
                    <a:pt x="827" y="98"/>
                  </a:lnTo>
                  <a:lnTo>
                    <a:pt x="827" y="92"/>
                  </a:lnTo>
                  <a:lnTo>
                    <a:pt x="821" y="92"/>
                  </a:lnTo>
                  <a:lnTo>
                    <a:pt x="827" y="92"/>
                  </a:lnTo>
                  <a:lnTo>
                    <a:pt x="833" y="92"/>
                  </a:lnTo>
                  <a:lnTo>
                    <a:pt x="839" y="92"/>
                  </a:lnTo>
                  <a:lnTo>
                    <a:pt x="839" y="86"/>
                  </a:lnTo>
                  <a:lnTo>
                    <a:pt x="833" y="92"/>
                  </a:lnTo>
                  <a:lnTo>
                    <a:pt x="827" y="92"/>
                  </a:lnTo>
                  <a:lnTo>
                    <a:pt x="821" y="92"/>
                  </a:lnTo>
                  <a:lnTo>
                    <a:pt x="815" y="92"/>
                  </a:lnTo>
                  <a:lnTo>
                    <a:pt x="815" y="86"/>
                  </a:lnTo>
                  <a:lnTo>
                    <a:pt x="809" y="92"/>
                  </a:lnTo>
                  <a:lnTo>
                    <a:pt x="809" y="86"/>
                  </a:lnTo>
                  <a:lnTo>
                    <a:pt x="803" y="86"/>
                  </a:lnTo>
                  <a:lnTo>
                    <a:pt x="809" y="86"/>
                  </a:lnTo>
                  <a:lnTo>
                    <a:pt x="803" y="86"/>
                  </a:lnTo>
                  <a:lnTo>
                    <a:pt x="797" y="80"/>
                  </a:lnTo>
                  <a:lnTo>
                    <a:pt x="797" y="74"/>
                  </a:lnTo>
                  <a:lnTo>
                    <a:pt x="803" y="74"/>
                  </a:lnTo>
                  <a:lnTo>
                    <a:pt x="809" y="80"/>
                  </a:lnTo>
                  <a:lnTo>
                    <a:pt x="809" y="74"/>
                  </a:lnTo>
                  <a:lnTo>
                    <a:pt x="815" y="68"/>
                  </a:lnTo>
                  <a:lnTo>
                    <a:pt x="815" y="74"/>
                  </a:lnTo>
                  <a:lnTo>
                    <a:pt x="821" y="80"/>
                  </a:lnTo>
                  <a:lnTo>
                    <a:pt x="821" y="86"/>
                  </a:lnTo>
                  <a:lnTo>
                    <a:pt x="827" y="80"/>
                  </a:lnTo>
                  <a:lnTo>
                    <a:pt x="821" y="74"/>
                  </a:lnTo>
                  <a:lnTo>
                    <a:pt x="827" y="68"/>
                  </a:lnTo>
                  <a:lnTo>
                    <a:pt x="833" y="68"/>
                  </a:lnTo>
                  <a:lnTo>
                    <a:pt x="833" y="74"/>
                  </a:lnTo>
                  <a:lnTo>
                    <a:pt x="839" y="68"/>
                  </a:lnTo>
                  <a:lnTo>
                    <a:pt x="839" y="74"/>
                  </a:lnTo>
                  <a:lnTo>
                    <a:pt x="839" y="80"/>
                  </a:lnTo>
                  <a:lnTo>
                    <a:pt x="839" y="74"/>
                  </a:lnTo>
                  <a:lnTo>
                    <a:pt x="846" y="74"/>
                  </a:lnTo>
                  <a:lnTo>
                    <a:pt x="846" y="80"/>
                  </a:lnTo>
                  <a:lnTo>
                    <a:pt x="846" y="86"/>
                  </a:lnTo>
                  <a:lnTo>
                    <a:pt x="852" y="86"/>
                  </a:lnTo>
                  <a:lnTo>
                    <a:pt x="858" y="86"/>
                  </a:lnTo>
                  <a:lnTo>
                    <a:pt x="852" y="86"/>
                  </a:lnTo>
                  <a:lnTo>
                    <a:pt x="852" y="80"/>
                  </a:lnTo>
                  <a:lnTo>
                    <a:pt x="852" y="74"/>
                  </a:lnTo>
                  <a:lnTo>
                    <a:pt x="858" y="74"/>
                  </a:lnTo>
                  <a:lnTo>
                    <a:pt x="858" y="80"/>
                  </a:lnTo>
                  <a:lnTo>
                    <a:pt x="864" y="80"/>
                  </a:lnTo>
                  <a:lnTo>
                    <a:pt x="870" y="80"/>
                  </a:lnTo>
                  <a:lnTo>
                    <a:pt x="876" y="80"/>
                  </a:lnTo>
                  <a:lnTo>
                    <a:pt x="882" y="80"/>
                  </a:lnTo>
                  <a:lnTo>
                    <a:pt x="876" y="86"/>
                  </a:lnTo>
                  <a:lnTo>
                    <a:pt x="870" y="86"/>
                  </a:lnTo>
                  <a:lnTo>
                    <a:pt x="864" y="92"/>
                  </a:lnTo>
                  <a:lnTo>
                    <a:pt x="858" y="92"/>
                  </a:lnTo>
                  <a:lnTo>
                    <a:pt x="852" y="92"/>
                  </a:lnTo>
                  <a:lnTo>
                    <a:pt x="852" y="98"/>
                  </a:lnTo>
                  <a:lnTo>
                    <a:pt x="852" y="92"/>
                  </a:lnTo>
                  <a:lnTo>
                    <a:pt x="858" y="92"/>
                  </a:lnTo>
                  <a:lnTo>
                    <a:pt x="864" y="92"/>
                  </a:lnTo>
                  <a:lnTo>
                    <a:pt x="870" y="92"/>
                  </a:lnTo>
                  <a:lnTo>
                    <a:pt x="876" y="86"/>
                  </a:lnTo>
                  <a:lnTo>
                    <a:pt x="882" y="86"/>
                  </a:lnTo>
                  <a:lnTo>
                    <a:pt x="882" y="92"/>
                  </a:lnTo>
                  <a:lnTo>
                    <a:pt x="882" y="98"/>
                  </a:lnTo>
                  <a:lnTo>
                    <a:pt x="888" y="92"/>
                  </a:lnTo>
                  <a:lnTo>
                    <a:pt x="888" y="98"/>
                  </a:lnTo>
                  <a:lnTo>
                    <a:pt x="888" y="104"/>
                  </a:lnTo>
                  <a:lnTo>
                    <a:pt x="895" y="104"/>
                  </a:lnTo>
                  <a:lnTo>
                    <a:pt x="895" y="98"/>
                  </a:lnTo>
                  <a:lnTo>
                    <a:pt x="901" y="98"/>
                  </a:lnTo>
                  <a:lnTo>
                    <a:pt x="907" y="98"/>
                  </a:lnTo>
                  <a:lnTo>
                    <a:pt x="901" y="98"/>
                  </a:lnTo>
                  <a:lnTo>
                    <a:pt x="895" y="92"/>
                  </a:lnTo>
                  <a:lnTo>
                    <a:pt x="888" y="92"/>
                  </a:lnTo>
                  <a:lnTo>
                    <a:pt x="895" y="92"/>
                  </a:lnTo>
                  <a:lnTo>
                    <a:pt x="901" y="86"/>
                  </a:lnTo>
                  <a:lnTo>
                    <a:pt x="901" y="92"/>
                  </a:lnTo>
                  <a:lnTo>
                    <a:pt x="901" y="86"/>
                  </a:lnTo>
                  <a:lnTo>
                    <a:pt x="895" y="86"/>
                  </a:lnTo>
                  <a:lnTo>
                    <a:pt x="895" y="80"/>
                  </a:lnTo>
                  <a:lnTo>
                    <a:pt x="901" y="86"/>
                  </a:lnTo>
                  <a:lnTo>
                    <a:pt x="901" y="80"/>
                  </a:lnTo>
                  <a:lnTo>
                    <a:pt x="895" y="80"/>
                  </a:lnTo>
                  <a:lnTo>
                    <a:pt x="901" y="80"/>
                  </a:lnTo>
                  <a:lnTo>
                    <a:pt x="901" y="74"/>
                  </a:lnTo>
                  <a:lnTo>
                    <a:pt x="895" y="74"/>
                  </a:lnTo>
                  <a:lnTo>
                    <a:pt x="895" y="80"/>
                  </a:lnTo>
                  <a:lnTo>
                    <a:pt x="895" y="74"/>
                  </a:lnTo>
                  <a:lnTo>
                    <a:pt x="901" y="74"/>
                  </a:lnTo>
                  <a:lnTo>
                    <a:pt x="907" y="74"/>
                  </a:lnTo>
                  <a:lnTo>
                    <a:pt x="907" y="68"/>
                  </a:lnTo>
                  <a:lnTo>
                    <a:pt x="901" y="68"/>
                  </a:lnTo>
                  <a:lnTo>
                    <a:pt x="907" y="68"/>
                  </a:lnTo>
                  <a:lnTo>
                    <a:pt x="913" y="68"/>
                  </a:lnTo>
                  <a:lnTo>
                    <a:pt x="913" y="62"/>
                  </a:lnTo>
                  <a:lnTo>
                    <a:pt x="919" y="62"/>
                  </a:lnTo>
                  <a:lnTo>
                    <a:pt x="919" y="55"/>
                  </a:lnTo>
                  <a:lnTo>
                    <a:pt x="925" y="55"/>
                  </a:lnTo>
                  <a:lnTo>
                    <a:pt x="931" y="55"/>
                  </a:lnTo>
                  <a:lnTo>
                    <a:pt x="938" y="55"/>
                  </a:lnTo>
                  <a:lnTo>
                    <a:pt x="944" y="55"/>
                  </a:lnTo>
                  <a:lnTo>
                    <a:pt x="944" y="62"/>
                  </a:lnTo>
                  <a:lnTo>
                    <a:pt x="950" y="55"/>
                  </a:lnTo>
                  <a:lnTo>
                    <a:pt x="944" y="55"/>
                  </a:lnTo>
                  <a:lnTo>
                    <a:pt x="938" y="49"/>
                  </a:lnTo>
                  <a:lnTo>
                    <a:pt x="944" y="43"/>
                  </a:lnTo>
                  <a:lnTo>
                    <a:pt x="944" y="37"/>
                  </a:lnTo>
                  <a:lnTo>
                    <a:pt x="950" y="37"/>
                  </a:lnTo>
                  <a:lnTo>
                    <a:pt x="956" y="37"/>
                  </a:lnTo>
                  <a:lnTo>
                    <a:pt x="956" y="43"/>
                  </a:lnTo>
                  <a:lnTo>
                    <a:pt x="962" y="43"/>
                  </a:lnTo>
                  <a:lnTo>
                    <a:pt x="962" y="37"/>
                  </a:lnTo>
                  <a:lnTo>
                    <a:pt x="956" y="37"/>
                  </a:lnTo>
                  <a:lnTo>
                    <a:pt x="956" y="31"/>
                  </a:lnTo>
                  <a:lnTo>
                    <a:pt x="950" y="31"/>
                  </a:lnTo>
                  <a:lnTo>
                    <a:pt x="944" y="31"/>
                  </a:lnTo>
                  <a:lnTo>
                    <a:pt x="944" y="25"/>
                  </a:lnTo>
                  <a:lnTo>
                    <a:pt x="950" y="25"/>
                  </a:lnTo>
                  <a:lnTo>
                    <a:pt x="956" y="25"/>
                  </a:lnTo>
                  <a:lnTo>
                    <a:pt x="956" y="31"/>
                  </a:lnTo>
                  <a:lnTo>
                    <a:pt x="962" y="31"/>
                  </a:lnTo>
                  <a:lnTo>
                    <a:pt x="962" y="25"/>
                  </a:lnTo>
                  <a:lnTo>
                    <a:pt x="956" y="25"/>
                  </a:lnTo>
                  <a:lnTo>
                    <a:pt x="962" y="25"/>
                  </a:lnTo>
                  <a:lnTo>
                    <a:pt x="962" y="19"/>
                  </a:lnTo>
                  <a:lnTo>
                    <a:pt x="956" y="19"/>
                  </a:lnTo>
                  <a:lnTo>
                    <a:pt x="962" y="19"/>
                  </a:lnTo>
                  <a:lnTo>
                    <a:pt x="956" y="19"/>
                  </a:lnTo>
                  <a:lnTo>
                    <a:pt x="956" y="13"/>
                  </a:lnTo>
                  <a:lnTo>
                    <a:pt x="962" y="13"/>
                  </a:lnTo>
                  <a:lnTo>
                    <a:pt x="956" y="13"/>
                  </a:lnTo>
                  <a:lnTo>
                    <a:pt x="962" y="13"/>
                  </a:lnTo>
                  <a:lnTo>
                    <a:pt x="968" y="13"/>
                  </a:lnTo>
                  <a:lnTo>
                    <a:pt x="968" y="19"/>
                  </a:lnTo>
                  <a:lnTo>
                    <a:pt x="974" y="19"/>
                  </a:lnTo>
                  <a:lnTo>
                    <a:pt x="968" y="19"/>
                  </a:lnTo>
                  <a:lnTo>
                    <a:pt x="974" y="19"/>
                  </a:lnTo>
                  <a:lnTo>
                    <a:pt x="980" y="19"/>
                  </a:lnTo>
                  <a:lnTo>
                    <a:pt x="974" y="19"/>
                  </a:lnTo>
                  <a:lnTo>
                    <a:pt x="980" y="13"/>
                  </a:lnTo>
                  <a:lnTo>
                    <a:pt x="980" y="19"/>
                  </a:lnTo>
                  <a:lnTo>
                    <a:pt x="974" y="19"/>
                  </a:lnTo>
                  <a:lnTo>
                    <a:pt x="980" y="25"/>
                  </a:lnTo>
                  <a:lnTo>
                    <a:pt x="980" y="19"/>
                  </a:lnTo>
                  <a:lnTo>
                    <a:pt x="987" y="19"/>
                  </a:lnTo>
                  <a:lnTo>
                    <a:pt x="993" y="25"/>
                  </a:lnTo>
                  <a:lnTo>
                    <a:pt x="999" y="25"/>
                  </a:lnTo>
                  <a:lnTo>
                    <a:pt x="999" y="19"/>
                  </a:lnTo>
                  <a:lnTo>
                    <a:pt x="993" y="19"/>
                  </a:lnTo>
                  <a:lnTo>
                    <a:pt x="993" y="13"/>
                  </a:lnTo>
                  <a:lnTo>
                    <a:pt x="999" y="13"/>
                  </a:lnTo>
                  <a:lnTo>
                    <a:pt x="999" y="19"/>
                  </a:lnTo>
                  <a:lnTo>
                    <a:pt x="1005" y="19"/>
                  </a:lnTo>
                  <a:lnTo>
                    <a:pt x="999" y="25"/>
                  </a:lnTo>
                  <a:lnTo>
                    <a:pt x="1005" y="25"/>
                  </a:lnTo>
                  <a:lnTo>
                    <a:pt x="1005" y="19"/>
                  </a:lnTo>
                  <a:lnTo>
                    <a:pt x="1011" y="19"/>
                  </a:lnTo>
                  <a:lnTo>
                    <a:pt x="1017" y="19"/>
                  </a:lnTo>
                  <a:lnTo>
                    <a:pt x="1017" y="25"/>
                  </a:lnTo>
                  <a:lnTo>
                    <a:pt x="1017" y="19"/>
                  </a:lnTo>
                  <a:lnTo>
                    <a:pt x="1023" y="19"/>
                  </a:lnTo>
                  <a:lnTo>
                    <a:pt x="1023" y="25"/>
                  </a:lnTo>
                  <a:lnTo>
                    <a:pt x="1017" y="31"/>
                  </a:lnTo>
                  <a:lnTo>
                    <a:pt x="1011" y="31"/>
                  </a:lnTo>
                  <a:lnTo>
                    <a:pt x="1011" y="37"/>
                  </a:lnTo>
                  <a:lnTo>
                    <a:pt x="1005" y="37"/>
                  </a:lnTo>
                  <a:lnTo>
                    <a:pt x="999" y="37"/>
                  </a:lnTo>
                  <a:lnTo>
                    <a:pt x="999" y="43"/>
                  </a:lnTo>
                  <a:lnTo>
                    <a:pt x="993" y="43"/>
                  </a:lnTo>
                  <a:lnTo>
                    <a:pt x="993" y="49"/>
                  </a:lnTo>
                  <a:lnTo>
                    <a:pt x="987" y="49"/>
                  </a:lnTo>
                  <a:lnTo>
                    <a:pt x="980" y="55"/>
                  </a:lnTo>
                  <a:lnTo>
                    <a:pt x="987" y="55"/>
                  </a:lnTo>
                  <a:lnTo>
                    <a:pt x="993" y="55"/>
                  </a:lnTo>
                  <a:lnTo>
                    <a:pt x="993" y="62"/>
                  </a:lnTo>
                  <a:lnTo>
                    <a:pt x="987" y="62"/>
                  </a:lnTo>
                  <a:lnTo>
                    <a:pt x="987" y="68"/>
                  </a:lnTo>
                  <a:lnTo>
                    <a:pt x="987" y="74"/>
                  </a:lnTo>
                  <a:lnTo>
                    <a:pt x="980" y="74"/>
                  </a:lnTo>
                  <a:lnTo>
                    <a:pt x="980" y="80"/>
                  </a:lnTo>
                  <a:lnTo>
                    <a:pt x="974" y="80"/>
                  </a:lnTo>
                  <a:lnTo>
                    <a:pt x="974" y="86"/>
                  </a:lnTo>
                  <a:lnTo>
                    <a:pt x="980" y="92"/>
                  </a:lnTo>
                  <a:lnTo>
                    <a:pt x="980" y="86"/>
                  </a:lnTo>
                  <a:lnTo>
                    <a:pt x="987" y="86"/>
                  </a:lnTo>
                  <a:lnTo>
                    <a:pt x="987" y="92"/>
                  </a:lnTo>
                  <a:lnTo>
                    <a:pt x="993" y="86"/>
                  </a:lnTo>
                  <a:lnTo>
                    <a:pt x="993" y="80"/>
                  </a:lnTo>
                  <a:lnTo>
                    <a:pt x="999" y="80"/>
                  </a:lnTo>
                  <a:lnTo>
                    <a:pt x="999" y="74"/>
                  </a:lnTo>
                  <a:lnTo>
                    <a:pt x="1005" y="74"/>
                  </a:lnTo>
                  <a:lnTo>
                    <a:pt x="1005" y="68"/>
                  </a:lnTo>
                  <a:lnTo>
                    <a:pt x="999" y="68"/>
                  </a:lnTo>
                  <a:lnTo>
                    <a:pt x="1005" y="68"/>
                  </a:lnTo>
                  <a:lnTo>
                    <a:pt x="1005" y="62"/>
                  </a:lnTo>
                  <a:lnTo>
                    <a:pt x="1011" y="62"/>
                  </a:lnTo>
                  <a:lnTo>
                    <a:pt x="1011" y="55"/>
                  </a:lnTo>
                  <a:lnTo>
                    <a:pt x="1023" y="49"/>
                  </a:lnTo>
                  <a:lnTo>
                    <a:pt x="1029" y="43"/>
                  </a:lnTo>
                  <a:lnTo>
                    <a:pt x="1029" y="37"/>
                  </a:lnTo>
                  <a:lnTo>
                    <a:pt x="1036" y="37"/>
                  </a:lnTo>
                  <a:lnTo>
                    <a:pt x="1036" y="31"/>
                  </a:lnTo>
                  <a:lnTo>
                    <a:pt x="1042" y="31"/>
                  </a:lnTo>
                  <a:lnTo>
                    <a:pt x="1048" y="25"/>
                  </a:lnTo>
                  <a:lnTo>
                    <a:pt x="1048" y="19"/>
                  </a:lnTo>
                  <a:lnTo>
                    <a:pt x="1054" y="19"/>
                  </a:lnTo>
                  <a:lnTo>
                    <a:pt x="1060" y="13"/>
                  </a:lnTo>
                  <a:lnTo>
                    <a:pt x="1066" y="19"/>
                  </a:lnTo>
                  <a:lnTo>
                    <a:pt x="1060" y="25"/>
                  </a:lnTo>
                  <a:lnTo>
                    <a:pt x="1066" y="25"/>
                  </a:lnTo>
                  <a:lnTo>
                    <a:pt x="1066" y="31"/>
                  </a:lnTo>
                  <a:lnTo>
                    <a:pt x="1060" y="37"/>
                  </a:lnTo>
                  <a:lnTo>
                    <a:pt x="1054" y="37"/>
                  </a:lnTo>
                  <a:lnTo>
                    <a:pt x="1048" y="37"/>
                  </a:lnTo>
                  <a:lnTo>
                    <a:pt x="1048" y="43"/>
                  </a:lnTo>
                  <a:lnTo>
                    <a:pt x="1054" y="37"/>
                  </a:lnTo>
                  <a:lnTo>
                    <a:pt x="1060" y="37"/>
                  </a:lnTo>
                  <a:lnTo>
                    <a:pt x="1060" y="43"/>
                  </a:lnTo>
                  <a:lnTo>
                    <a:pt x="1060" y="49"/>
                  </a:lnTo>
                  <a:lnTo>
                    <a:pt x="1054" y="55"/>
                  </a:lnTo>
                  <a:lnTo>
                    <a:pt x="1054" y="62"/>
                  </a:lnTo>
                  <a:lnTo>
                    <a:pt x="1054" y="68"/>
                  </a:lnTo>
                  <a:lnTo>
                    <a:pt x="1054" y="62"/>
                  </a:lnTo>
                  <a:lnTo>
                    <a:pt x="1060" y="62"/>
                  </a:lnTo>
                  <a:lnTo>
                    <a:pt x="1066" y="62"/>
                  </a:lnTo>
                  <a:lnTo>
                    <a:pt x="1066" y="55"/>
                  </a:lnTo>
                  <a:lnTo>
                    <a:pt x="1072" y="55"/>
                  </a:lnTo>
                  <a:lnTo>
                    <a:pt x="1078" y="55"/>
                  </a:lnTo>
                  <a:lnTo>
                    <a:pt x="1078" y="49"/>
                  </a:lnTo>
                  <a:lnTo>
                    <a:pt x="1078" y="43"/>
                  </a:lnTo>
                  <a:lnTo>
                    <a:pt x="1085" y="49"/>
                  </a:lnTo>
                  <a:lnTo>
                    <a:pt x="1091" y="49"/>
                  </a:lnTo>
                  <a:lnTo>
                    <a:pt x="1091" y="43"/>
                  </a:lnTo>
                  <a:lnTo>
                    <a:pt x="1085" y="43"/>
                  </a:lnTo>
                  <a:lnTo>
                    <a:pt x="1085" y="37"/>
                  </a:lnTo>
                  <a:lnTo>
                    <a:pt x="1085" y="31"/>
                  </a:lnTo>
                  <a:lnTo>
                    <a:pt x="1091" y="31"/>
                  </a:lnTo>
                  <a:lnTo>
                    <a:pt x="1091" y="37"/>
                  </a:lnTo>
                  <a:lnTo>
                    <a:pt x="1097" y="37"/>
                  </a:lnTo>
                  <a:lnTo>
                    <a:pt x="1097" y="31"/>
                  </a:lnTo>
                  <a:lnTo>
                    <a:pt x="1091" y="31"/>
                  </a:lnTo>
                  <a:lnTo>
                    <a:pt x="1091" y="25"/>
                  </a:lnTo>
                  <a:lnTo>
                    <a:pt x="1103" y="25"/>
                  </a:lnTo>
                  <a:lnTo>
                    <a:pt x="1109" y="25"/>
                  </a:lnTo>
                  <a:lnTo>
                    <a:pt x="1103" y="25"/>
                  </a:lnTo>
                  <a:lnTo>
                    <a:pt x="1103" y="19"/>
                  </a:lnTo>
                  <a:lnTo>
                    <a:pt x="1097" y="19"/>
                  </a:lnTo>
                  <a:lnTo>
                    <a:pt x="1091" y="19"/>
                  </a:lnTo>
                  <a:lnTo>
                    <a:pt x="1085" y="19"/>
                  </a:lnTo>
                  <a:lnTo>
                    <a:pt x="1085" y="13"/>
                  </a:lnTo>
                  <a:lnTo>
                    <a:pt x="1091" y="13"/>
                  </a:lnTo>
                  <a:lnTo>
                    <a:pt x="1097" y="13"/>
                  </a:lnTo>
                  <a:lnTo>
                    <a:pt x="1091" y="13"/>
                  </a:lnTo>
                  <a:lnTo>
                    <a:pt x="1091" y="6"/>
                  </a:lnTo>
                  <a:lnTo>
                    <a:pt x="1097" y="6"/>
                  </a:lnTo>
                  <a:lnTo>
                    <a:pt x="1103" y="13"/>
                  </a:lnTo>
                  <a:lnTo>
                    <a:pt x="1103" y="6"/>
                  </a:lnTo>
                  <a:lnTo>
                    <a:pt x="1103" y="0"/>
                  </a:lnTo>
                  <a:lnTo>
                    <a:pt x="1109" y="0"/>
                  </a:lnTo>
                  <a:lnTo>
                    <a:pt x="1115" y="0"/>
                  </a:lnTo>
                  <a:lnTo>
                    <a:pt x="1115" y="6"/>
                  </a:lnTo>
                  <a:lnTo>
                    <a:pt x="1121" y="6"/>
                  </a:lnTo>
                  <a:lnTo>
                    <a:pt x="1127" y="6"/>
                  </a:lnTo>
                  <a:lnTo>
                    <a:pt x="1134" y="6"/>
                  </a:lnTo>
                  <a:lnTo>
                    <a:pt x="1140" y="0"/>
                  </a:lnTo>
                  <a:lnTo>
                    <a:pt x="1140" y="6"/>
                  </a:lnTo>
                  <a:lnTo>
                    <a:pt x="1134" y="13"/>
                  </a:lnTo>
                  <a:lnTo>
                    <a:pt x="1140" y="13"/>
                  </a:lnTo>
                  <a:lnTo>
                    <a:pt x="1146" y="13"/>
                  </a:lnTo>
                  <a:lnTo>
                    <a:pt x="1152" y="13"/>
                  </a:lnTo>
                  <a:lnTo>
                    <a:pt x="1152" y="19"/>
                  </a:lnTo>
                  <a:lnTo>
                    <a:pt x="1146" y="19"/>
                  </a:lnTo>
                  <a:lnTo>
                    <a:pt x="1152" y="19"/>
                  </a:lnTo>
                  <a:lnTo>
                    <a:pt x="1146" y="25"/>
                  </a:lnTo>
                  <a:lnTo>
                    <a:pt x="1140" y="25"/>
                  </a:lnTo>
                  <a:lnTo>
                    <a:pt x="1140" y="31"/>
                  </a:lnTo>
                  <a:lnTo>
                    <a:pt x="1134" y="25"/>
                  </a:lnTo>
                  <a:lnTo>
                    <a:pt x="1127" y="25"/>
                  </a:lnTo>
                  <a:lnTo>
                    <a:pt x="1115" y="31"/>
                  </a:lnTo>
                  <a:lnTo>
                    <a:pt x="1121" y="31"/>
                  </a:lnTo>
                  <a:lnTo>
                    <a:pt x="1127" y="31"/>
                  </a:lnTo>
                  <a:lnTo>
                    <a:pt x="1134" y="31"/>
                  </a:lnTo>
                  <a:lnTo>
                    <a:pt x="1127" y="37"/>
                  </a:lnTo>
                  <a:lnTo>
                    <a:pt x="1121" y="37"/>
                  </a:lnTo>
                  <a:lnTo>
                    <a:pt x="1121" y="43"/>
                  </a:lnTo>
                  <a:lnTo>
                    <a:pt x="1109" y="43"/>
                  </a:lnTo>
                  <a:lnTo>
                    <a:pt x="1115" y="43"/>
                  </a:lnTo>
                  <a:lnTo>
                    <a:pt x="1127" y="43"/>
                  </a:lnTo>
                  <a:lnTo>
                    <a:pt x="1127" y="37"/>
                  </a:lnTo>
                  <a:lnTo>
                    <a:pt x="1134" y="37"/>
                  </a:lnTo>
                  <a:lnTo>
                    <a:pt x="1140" y="37"/>
                  </a:lnTo>
                  <a:lnTo>
                    <a:pt x="1140" y="43"/>
                  </a:lnTo>
                  <a:lnTo>
                    <a:pt x="1134" y="49"/>
                  </a:lnTo>
                  <a:lnTo>
                    <a:pt x="1127" y="49"/>
                  </a:lnTo>
                  <a:lnTo>
                    <a:pt x="1121" y="55"/>
                  </a:lnTo>
                  <a:lnTo>
                    <a:pt x="1121" y="62"/>
                  </a:lnTo>
                  <a:lnTo>
                    <a:pt x="1121" y="55"/>
                  </a:lnTo>
                  <a:lnTo>
                    <a:pt x="1127" y="55"/>
                  </a:lnTo>
                  <a:lnTo>
                    <a:pt x="1134" y="55"/>
                  </a:lnTo>
                  <a:lnTo>
                    <a:pt x="1140" y="55"/>
                  </a:lnTo>
                  <a:lnTo>
                    <a:pt x="1134" y="55"/>
                  </a:lnTo>
                  <a:lnTo>
                    <a:pt x="1127" y="62"/>
                  </a:lnTo>
                  <a:lnTo>
                    <a:pt x="1134" y="62"/>
                  </a:lnTo>
                  <a:lnTo>
                    <a:pt x="1134" y="55"/>
                  </a:lnTo>
                  <a:lnTo>
                    <a:pt x="1140" y="55"/>
                  </a:lnTo>
                  <a:lnTo>
                    <a:pt x="1146" y="55"/>
                  </a:lnTo>
                  <a:lnTo>
                    <a:pt x="1140" y="62"/>
                  </a:lnTo>
                  <a:lnTo>
                    <a:pt x="1134" y="68"/>
                  </a:lnTo>
                  <a:lnTo>
                    <a:pt x="1134" y="74"/>
                  </a:lnTo>
                  <a:lnTo>
                    <a:pt x="1134" y="80"/>
                  </a:lnTo>
                  <a:lnTo>
                    <a:pt x="1134" y="86"/>
                  </a:lnTo>
                  <a:lnTo>
                    <a:pt x="1127" y="92"/>
                  </a:lnTo>
                  <a:lnTo>
                    <a:pt x="1134" y="92"/>
                  </a:lnTo>
                  <a:lnTo>
                    <a:pt x="1140" y="86"/>
                  </a:lnTo>
                  <a:lnTo>
                    <a:pt x="1140" y="80"/>
                  </a:lnTo>
                  <a:lnTo>
                    <a:pt x="1140" y="74"/>
                  </a:lnTo>
                  <a:lnTo>
                    <a:pt x="1140" y="68"/>
                  </a:lnTo>
                  <a:lnTo>
                    <a:pt x="1140" y="62"/>
                  </a:lnTo>
                  <a:lnTo>
                    <a:pt x="1146" y="55"/>
                  </a:lnTo>
                  <a:lnTo>
                    <a:pt x="1152" y="55"/>
                  </a:lnTo>
                  <a:lnTo>
                    <a:pt x="1152" y="49"/>
                  </a:lnTo>
                  <a:lnTo>
                    <a:pt x="1152" y="55"/>
                  </a:lnTo>
                  <a:lnTo>
                    <a:pt x="1146" y="49"/>
                  </a:lnTo>
                  <a:lnTo>
                    <a:pt x="1152" y="43"/>
                  </a:lnTo>
                  <a:lnTo>
                    <a:pt x="1152" y="37"/>
                  </a:lnTo>
                  <a:lnTo>
                    <a:pt x="1158" y="37"/>
                  </a:lnTo>
                  <a:lnTo>
                    <a:pt x="1152" y="37"/>
                  </a:lnTo>
                  <a:lnTo>
                    <a:pt x="1152" y="31"/>
                  </a:lnTo>
                  <a:lnTo>
                    <a:pt x="1158" y="31"/>
                  </a:lnTo>
                  <a:lnTo>
                    <a:pt x="1158" y="25"/>
                  </a:lnTo>
                  <a:lnTo>
                    <a:pt x="1164" y="25"/>
                  </a:lnTo>
                  <a:lnTo>
                    <a:pt x="1170" y="19"/>
                  </a:lnTo>
                  <a:lnTo>
                    <a:pt x="1176" y="19"/>
                  </a:lnTo>
                  <a:lnTo>
                    <a:pt x="1183" y="25"/>
                  </a:lnTo>
                  <a:lnTo>
                    <a:pt x="1189" y="25"/>
                  </a:lnTo>
                  <a:lnTo>
                    <a:pt x="1195" y="31"/>
                  </a:lnTo>
                  <a:lnTo>
                    <a:pt x="1189" y="31"/>
                  </a:lnTo>
                  <a:lnTo>
                    <a:pt x="1195" y="31"/>
                  </a:lnTo>
                  <a:lnTo>
                    <a:pt x="1195" y="37"/>
                  </a:lnTo>
                  <a:lnTo>
                    <a:pt x="1189" y="37"/>
                  </a:lnTo>
                  <a:lnTo>
                    <a:pt x="1195" y="37"/>
                  </a:lnTo>
                  <a:lnTo>
                    <a:pt x="1207" y="37"/>
                  </a:lnTo>
                  <a:lnTo>
                    <a:pt x="1207" y="31"/>
                  </a:lnTo>
                  <a:lnTo>
                    <a:pt x="1213" y="31"/>
                  </a:lnTo>
                  <a:lnTo>
                    <a:pt x="1213" y="37"/>
                  </a:lnTo>
                  <a:lnTo>
                    <a:pt x="1213" y="43"/>
                  </a:lnTo>
                  <a:lnTo>
                    <a:pt x="1219" y="43"/>
                  </a:lnTo>
                  <a:lnTo>
                    <a:pt x="1219" y="37"/>
                  </a:lnTo>
                  <a:lnTo>
                    <a:pt x="1225" y="37"/>
                  </a:lnTo>
                  <a:lnTo>
                    <a:pt x="1232" y="37"/>
                  </a:lnTo>
                  <a:lnTo>
                    <a:pt x="1232" y="43"/>
                  </a:lnTo>
                  <a:lnTo>
                    <a:pt x="1238" y="43"/>
                  </a:lnTo>
                  <a:lnTo>
                    <a:pt x="1238" y="49"/>
                  </a:lnTo>
                  <a:lnTo>
                    <a:pt x="1232" y="49"/>
                  </a:lnTo>
                  <a:lnTo>
                    <a:pt x="1238" y="49"/>
                  </a:lnTo>
                  <a:lnTo>
                    <a:pt x="1232" y="49"/>
                  </a:lnTo>
                  <a:lnTo>
                    <a:pt x="1225" y="49"/>
                  </a:lnTo>
                  <a:lnTo>
                    <a:pt x="1232" y="49"/>
                  </a:lnTo>
                  <a:lnTo>
                    <a:pt x="1244" y="49"/>
                  </a:lnTo>
                  <a:lnTo>
                    <a:pt x="1250" y="49"/>
                  </a:lnTo>
                  <a:lnTo>
                    <a:pt x="1256" y="49"/>
                  </a:lnTo>
                  <a:lnTo>
                    <a:pt x="1262" y="55"/>
                  </a:lnTo>
                  <a:lnTo>
                    <a:pt x="1262" y="62"/>
                  </a:lnTo>
                  <a:lnTo>
                    <a:pt x="1268" y="55"/>
                  </a:lnTo>
                  <a:lnTo>
                    <a:pt x="1268" y="62"/>
                  </a:lnTo>
                  <a:lnTo>
                    <a:pt x="1275" y="62"/>
                  </a:lnTo>
                  <a:lnTo>
                    <a:pt x="1275" y="68"/>
                  </a:lnTo>
                  <a:lnTo>
                    <a:pt x="1275" y="74"/>
                  </a:lnTo>
                  <a:lnTo>
                    <a:pt x="1268" y="74"/>
                  </a:lnTo>
                  <a:lnTo>
                    <a:pt x="1262" y="74"/>
                  </a:lnTo>
                  <a:lnTo>
                    <a:pt x="1256" y="74"/>
                  </a:lnTo>
                  <a:lnTo>
                    <a:pt x="1250" y="74"/>
                  </a:lnTo>
                  <a:lnTo>
                    <a:pt x="1250" y="80"/>
                  </a:lnTo>
                  <a:lnTo>
                    <a:pt x="1244" y="80"/>
                  </a:lnTo>
                  <a:lnTo>
                    <a:pt x="1238" y="80"/>
                  </a:lnTo>
                  <a:lnTo>
                    <a:pt x="1244" y="86"/>
                  </a:lnTo>
                  <a:lnTo>
                    <a:pt x="1238" y="86"/>
                  </a:lnTo>
                  <a:lnTo>
                    <a:pt x="1232" y="86"/>
                  </a:lnTo>
                  <a:lnTo>
                    <a:pt x="1232" y="92"/>
                  </a:lnTo>
                  <a:lnTo>
                    <a:pt x="1225" y="92"/>
                  </a:lnTo>
                  <a:lnTo>
                    <a:pt x="1219" y="92"/>
                  </a:lnTo>
                  <a:lnTo>
                    <a:pt x="1213" y="92"/>
                  </a:lnTo>
                  <a:lnTo>
                    <a:pt x="1201" y="86"/>
                  </a:lnTo>
                  <a:lnTo>
                    <a:pt x="1195" y="92"/>
                  </a:lnTo>
                  <a:lnTo>
                    <a:pt x="1189" y="86"/>
                  </a:lnTo>
                  <a:lnTo>
                    <a:pt x="1183" y="86"/>
                  </a:lnTo>
                  <a:lnTo>
                    <a:pt x="1176" y="86"/>
                  </a:lnTo>
                  <a:lnTo>
                    <a:pt x="1170" y="86"/>
                  </a:lnTo>
                  <a:lnTo>
                    <a:pt x="1164" y="80"/>
                  </a:lnTo>
                  <a:lnTo>
                    <a:pt x="1158" y="80"/>
                  </a:lnTo>
                  <a:lnTo>
                    <a:pt x="1164" y="80"/>
                  </a:lnTo>
                  <a:lnTo>
                    <a:pt x="1164" y="86"/>
                  </a:lnTo>
                  <a:lnTo>
                    <a:pt x="1158" y="86"/>
                  </a:lnTo>
                  <a:lnTo>
                    <a:pt x="1164" y="86"/>
                  </a:lnTo>
                  <a:lnTo>
                    <a:pt x="1170" y="92"/>
                  </a:lnTo>
                  <a:lnTo>
                    <a:pt x="1164" y="92"/>
                  </a:lnTo>
                  <a:lnTo>
                    <a:pt x="1176" y="92"/>
                  </a:lnTo>
                  <a:lnTo>
                    <a:pt x="1183" y="92"/>
                  </a:lnTo>
                  <a:lnTo>
                    <a:pt x="1183" y="98"/>
                  </a:lnTo>
                  <a:lnTo>
                    <a:pt x="1189" y="98"/>
                  </a:lnTo>
                  <a:lnTo>
                    <a:pt x="1195" y="98"/>
                  </a:lnTo>
                  <a:lnTo>
                    <a:pt x="1201" y="98"/>
                  </a:lnTo>
                  <a:lnTo>
                    <a:pt x="1207" y="98"/>
                  </a:lnTo>
                  <a:lnTo>
                    <a:pt x="1207" y="104"/>
                  </a:lnTo>
                  <a:lnTo>
                    <a:pt x="1201" y="104"/>
                  </a:lnTo>
                  <a:lnTo>
                    <a:pt x="1195" y="104"/>
                  </a:lnTo>
                  <a:lnTo>
                    <a:pt x="1195" y="111"/>
                  </a:lnTo>
                  <a:lnTo>
                    <a:pt x="1201" y="111"/>
                  </a:lnTo>
                  <a:lnTo>
                    <a:pt x="1201" y="104"/>
                  </a:lnTo>
                  <a:lnTo>
                    <a:pt x="1207" y="104"/>
                  </a:lnTo>
                  <a:lnTo>
                    <a:pt x="1213" y="104"/>
                  </a:lnTo>
                  <a:lnTo>
                    <a:pt x="1213" y="111"/>
                  </a:lnTo>
                  <a:lnTo>
                    <a:pt x="1207" y="117"/>
                  </a:lnTo>
                  <a:lnTo>
                    <a:pt x="1207" y="123"/>
                  </a:lnTo>
                  <a:lnTo>
                    <a:pt x="1201" y="123"/>
                  </a:lnTo>
                  <a:lnTo>
                    <a:pt x="1201" y="129"/>
                  </a:lnTo>
                  <a:lnTo>
                    <a:pt x="1201" y="123"/>
                  </a:lnTo>
                  <a:lnTo>
                    <a:pt x="1207" y="123"/>
                  </a:lnTo>
                  <a:lnTo>
                    <a:pt x="1213" y="117"/>
                  </a:lnTo>
                  <a:lnTo>
                    <a:pt x="1219" y="117"/>
                  </a:lnTo>
                  <a:lnTo>
                    <a:pt x="1225" y="117"/>
                  </a:lnTo>
                  <a:lnTo>
                    <a:pt x="1225" y="123"/>
                  </a:lnTo>
                  <a:lnTo>
                    <a:pt x="1219" y="123"/>
                  </a:lnTo>
                  <a:lnTo>
                    <a:pt x="1225" y="123"/>
                  </a:lnTo>
                  <a:lnTo>
                    <a:pt x="1232" y="123"/>
                  </a:lnTo>
                  <a:lnTo>
                    <a:pt x="1232" y="117"/>
                  </a:lnTo>
                  <a:lnTo>
                    <a:pt x="1238" y="117"/>
                  </a:lnTo>
                  <a:lnTo>
                    <a:pt x="1232" y="117"/>
                  </a:lnTo>
                  <a:lnTo>
                    <a:pt x="1232" y="111"/>
                  </a:lnTo>
                  <a:lnTo>
                    <a:pt x="1238" y="111"/>
                  </a:lnTo>
                  <a:lnTo>
                    <a:pt x="1244" y="111"/>
                  </a:lnTo>
                  <a:lnTo>
                    <a:pt x="1244" y="117"/>
                  </a:lnTo>
                  <a:lnTo>
                    <a:pt x="1244" y="123"/>
                  </a:lnTo>
                  <a:lnTo>
                    <a:pt x="1250" y="123"/>
                  </a:lnTo>
                  <a:lnTo>
                    <a:pt x="1250" y="117"/>
                  </a:lnTo>
                  <a:lnTo>
                    <a:pt x="1250" y="111"/>
                  </a:lnTo>
                  <a:lnTo>
                    <a:pt x="1256" y="111"/>
                  </a:lnTo>
                  <a:lnTo>
                    <a:pt x="1262" y="111"/>
                  </a:lnTo>
                  <a:lnTo>
                    <a:pt x="1262" y="117"/>
                  </a:lnTo>
                  <a:lnTo>
                    <a:pt x="1256" y="117"/>
                  </a:lnTo>
                  <a:lnTo>
                    <a:pt x="1262" y="117"/>
                  </a:lnTo>
                  <a:lnTo>
                    <a:pt x="1268" y="123"/>
                  </a:lnTo>
                  <a:lnTo>
                    <a:pt x="1268" y="129"/>
                  </a:lnTo>
                  <a:lnTo>
                    <a:pt x="1268" y="135"/>
                  </a:lnTo>
                  <a:lnTo>
                    <a:pt x="1262" y="135"/>
                  </a:lnTo>
                  <a:lnTo>
                    <a:pt x="1256" y="135"/>
                  </a:lnTo>
                  <a:lnTo>
                    <a:pt x="1250" y="135"/>
                  </a:lnTo>
                  <a:lnTo>
                    <a:pt x="1244" y="135"/>
                  </a:lnTo>
                  <a:lnTo>
                    <a:pt x="1244" y="129"/>
                  </a:lnTo>
                  <a:lnTo>
                    <a:pt x="1238" y="129"/>
                  </a:lnTo>
                  <a:lnTo>
                    <a:pt x="1232" y="123"/>
                  </a:lnTo>
                  <a:lnTo>
                    <a:pt x="1232" y="129"/>
                  </a:lnTo>
                  <a:lnTo>
                    <a:pt x="1232" y="135"/>
                  </a:lnTo>
                  <a:lnTo>
                    <a:pt x="1232" y="141"/>
                  </a:lnTo>
                  <a:lnTo>
                    <a:pt x="1232" y="147"/>
                  </a:lnTo>
                  <a:lnTo>
                    <a:pt x="1225" y="147"/>
                  </a:lnTo>
                  <a:lnTo>
                    <a:pt x="1219" y="147"/>
                  </a:lnTo>
                  <a:lnTo>
                    <a:pt x="1213" y="147"/>
                  </a:lnTo>
                  <a:lnTo>
                    <a:pt x="1207" y="147"/>
                  </a:lnTo>
                  <a:lnTo>
                    <a:pt x="1207" y="153"/>
                  </a:lnTo>
                  <a:lnTo>
                    <a:pt x="1201" y="153"/>
                  </a:lnTo>
                  <a:lnTo>
                    <a:pt x="1195" y="153"/>
                  </a:lnTo>
                  <a:lnTo>
                    <a:pt x="1189" y="160"/>
                  </a:lnTo>
                  <a:lnTo>
                    <a:pt x="1189" y="166"/>
                  </a:lnTo>
                  <a:lnTo>
                    <a:pt x="1189" y="172"/>
                  </a:lnTo>
                  <a:lnTo>
                    <a:pt x="1183" y="172"/>
                  </a:lnTo>
                  <a:lnTo>
                    <a:pt x="1183" y="178"/>
                  </a:lnTo>
                  <a:lnTo>
                    <a:pt x="1176" y="184"/>
                  </a:lnTo>
                  <a:lnTo>
                    <a:pt x="1176" y="178"/>
                  </a:lnTo>
                  <a:lnTo>
                    <a:pt x="1170" y="178"/>
                  </a:lnTo>
                  <a:lnTo>
                    <a:pt x="1164" y="178"/>
                  </a:lnTo>
                  <a:lnTo>
                    <a:pt x="1164" y="172"/>
                  </a:lnTo>
                  <a:lnTo>
                    <a:pt x="1170" y="172"/>
                  </a:lnTo>
                  <a:lnTo>
                    <a:pt x="1170" y="166"/>
                  </a:lnTo>
                  <a:lnTo>
                    <a:pt x="1195" y="141"/>
                  </a:lnTo>
                  <a:lnTo>
                    <a:pt x="1183" y="123"/>
                  </a:lnTo>
                  <a:lnTo>
                    <a:pt x="1146" y="111"/>
                  </a:lnTo>
                  <a:lnTo>
                    <a:pt x="1146" y="104"/>
                  </a:lnTo>
                  <a:lnTo>
                    <a:pt x="1140" y="104"/>
                  </a:lnTo>
                  <a:lnTo>
                    <a:pt x="1134" y="104"/>
                  </a:lnTo>
                  <a:lnTo>
                    <a:pt x="1134" y="98"/>
                  </a:lnTo>
                  <a:lnTo>
                    <a:pt x="1127" y="98"/>
                  </a:lnTo>
                  <a:lnTo>
                    <a:pt x="1127" y="92"/>
                  </a:lnTo>
                  <a:lnTo>
                    <a:pt x="1121" y="92"/>
                  </a:lnTo>
                  <a:lnTo>
                    <a:pt x="1115" y="92"/>
                  </a:lnTo>
                  <a:lnTo>
                    <a:pt x="1109" y="92"/>
                  </a:lnTo>
                  <a:lnTo>
                    <a:pt x="1103" y="92"/>
                  </a:lnTo>
                  <a:lnTo>
                    <a:pt x="1097" y="98"/>
                  </a:lnTo>
                  <a:lnTo>
                    <a:pt x="1091" y="98"/>
                  </a:lnTo>
                  <a:lnTo>
                    <a:pt x="1078" y="104"/>
                  </a:lnTo>
                  <a:lnTo>
                    <a:pt x="1072" y="104"/>
                  </a:lnTo>
                  <a:lnTo>
                    <a:pt x="1072" y="98"/>
                  </a:lnTo>
                  <a:lnTo>
                    <a:pt x="1066" y="104"/>
                  </a:lnTo>
                  <a:lnTo>
                    <a:pt x="1066" y="98"/>
                  </a:lnTo>
                  <a:lnTo>
                    <a:pt x="1060" y="104"/>
                  </a:lnTo>
                  <a:lnTo>
                    <a:pt x="1054" y="104"/>
                  </a:lnTo>
                  <a:lnTo>
                    <a:pt x="1048" y="111"/>
                  </a:lnTo>
                  <a:lnTo>
                    <a:pt x="1042" y="117"/>
                  </a:lnTo>
                  <a:lnTo>
                    <a:pt x="1036" y="117"/>
                  </a:lnTo>
                  <a:lnTo>
                    <a:pt x="1036" y="123"/>
                  </a:lnTo>
                  <a:lnTo>
                    <a:pt x="1029" y="123"/>
                  </a:lnTo>
                  <a:lnTo>
                    <a:pt x="1023" y="129"/>
                  </a:lnTo>
                  <a:lnTo>
                    <a:pt x="1029" y="129"/>
                  </a:lnTo>
                  <a:lnTo>
                    <a:pt x="1029" y="135"/>
                  </a:lnTo>
                  <a:lnTo>
                    <a:pt x="1023" y="135"/>
                  </a:lnTo>
                  <a:lnTo>
                    <a:pt x="1023" y="141"/>
                  </a:lnTo>
                  <a:lnTo>
                    <a:pt x="1023" y="147"/>
                  </a:lnTo>
                  <a:lnTo>
                    <a:pt x="1023" y="153"/>
                  </a:lnTo>
                  <a:lnTo>
                    <a:pt x="1017" y="153"/>
                  </a:lnTo>
                  <a:lnTo>
                    <a:pt x="1017" y="160"/>
                  </a:lnTo>
                  <a:lnTo>
                    <a:pt x="1011" y="166"/>
                  </a:lnTo>
                  <a:lnTo>
                    <a:pt x="1017" y="166"/>
                  </a:lnTo>
                  <a:lnTo>
                    <a:pt x="1017" y="172"/>
                  </a:lnTo>
                  <a:lnTo>
                    <a:pt x="1017" y="178"/>
                  </a:lnTo>
                  <a:lnTo>
                    <a:pt x="1017" y="184"/>
                  </a:lnTo>
                  <a:lnTo>
                    <a:pt x="1017" y="190"/>
                  </a:lnTo>
                  <a:lnTo>
                    <a:pt x="1011" y="190"/>
                  </a:lnTo>
                  <a:lnTo>
                    <a:pt x="1005" y="196"/>
                  </a:lnTo>
                  <a:lnTo>
                    <a:pt x="999" y="196"/>
                  </a:lnTo>
                  <a:lnTo>
                    <a:pt x="993" y="196"/>
                  </a:lnTo>
                  <a:lnTo>
                    <a:pt x="993" y="202"/>
                  </a:lnTo>
                  <a:lnTo>
                    <a:pt x="987" y="202"/>
                  </a:lnTo>
                  <a:lnTo>
                    <a:pt x="987" y="209"/>
                  </a:lnTo>
                  <a:lnTo>
                    <a:pt x="987" y="215"/>
                  </a:lnTo>
                  <a:lnTo>
                    <a:pt x="980" y="221"/>
                  </a:lnTo>
                  <a:lnTo>
                    <a:pt x="974" y="221"/>
                  </a:lnTo>
                  <a:lnTo>
                    <a:pt x="968" y="215"/>
                  </a:lnTo>
                  <a:lnTo>
                    <a:pt x="962" y="215"/>
                  </a:lnTo>
                  <a:lnTo>
                    <a:pt x="962" y="209"/>
                  </a:lnTo>
                  <a:lnTo>
                    <a:pt x="956" y="209"/>
                  </a:lnTo>
                  <a:lnTo>
                    <a:pt x="950" y="209"/>
                  </a:lnTo>
                  <a:lnTo>
                    <a:pt x="944" y="209"/>
                  </a:lnTo>
                  <a:lnTo>
                    <a:pt x="938" y="202"/>
                  </a:lnTo>
                  <a:lnTo>
                    <a:pt x="931" y="202"/>
                  </a:lnTo>
                  <a:lnTo>
                    <a:pt x="931" y="196"/>
                  </a:lnTo>
                  <a:lnTo>
                    <a:pt x="925" y="196"/>
                  </a:lnTo>
                  <a:lnTo>
                    <a:pt x="925" y="202"/>
                  </a:lnTo>
                  <a:lnTo>
                    <a:pt x="919" y="202"/>
                  </a:lnTo>
                  <a:lnTo>
                    <a:pt x="919" y="209"/>
                  </a:lnTo>
                  <a:lnTo>
                    <a:pt x="907" y="209"/>
                  </a:lnTo>
                  <a:lnTo>
                    <a:pt x="895" y="215"/>
                  </a:lnTo>
                  <a:lnTo>
                    <a:pt x="888" y="209"/>
                  </a:lnTo>
                  <a:lnTo>
                    <a:pt x="876" y="209"/>
                  </a:lnTo>
                  <a:lnTo>
                    <a:pt x="864" y="209"/>
                  </a:lnTo>
                  <a:lnTo>
                    <a:pt x="858" y="209"/>
                  </a:lnTo>
                  <a:lnTo>
                    <a:pt x="852" y="196"/>
                  </a:lnTo>
                  <a:lnTo>
                    <a:pt x="846" y="190"/>
                  </a:lnTo>
                  <a:lnTo>
                    <a:pt x="833" y="178"/>
                  </a:lnTo>
                  <a:lnTo>
                    <a:pt x="821" y="160"/>
                  </a:lnTo>
                  <a:lnTo>
                    <a:pt x="803" y="160"/>
                  </a:lnTo>
                  <a:lnTo>
                    <a:pt x="790" y="160"/>
                  </a:lnTo>
                  <a:lnTo>
                    <a:pt x="790" y="166"/>
                  </a:lnTo>
                  <a:lnTo>
                    <a:pt x="784" y="166"/>
                  </a:lnTo>
                  <a:lnTo>
                    <a:pt x="790" y="172"/>
                  </a:lnTo>
                  <a:lnTo>
                    <a:pt x="790" y="178"/>
                  </a:lnTo>
                  <a:lnTo>
                    <a:pt x="778" y="172"/>
                  </a:lnTo>
                  <a:lnTo>
                    <a:pt x="766" y="178"/>
                  </a:lnTo>
                  <a:lnTo>
                    <a:pt x="741" y="178"/>
                  </a:lnTo>
                  <a:lnTo>
                    <a:pt x="754" y="190"/>
                  </a:lnTo>
                  <a:lnTo>
                    <a:pt x="754" y="202"/>
                  </a:lnTo>
                  <a:lnTo>
                    <a:pt x="748" y="215"/>
                  </a:lnTo>
                  <a:lnTo>
                    <a:pt x="735" y="221"/>
                  </a:lnTo>
                  <a:lnTo>
                    <a:pt x="735" y="227"/>
                  </a:lnTo>
                  <a:lnTo>
                    <a:pt x="748" y="227"/>
                  </a:lnTo>
                  <a:lnTo>
                    <a:pt x="735" y="239"/>
                  </a:lnTo>
                  <a:lnTo>
                    <a:pt x="686" y="227"/>
                  </a:lnTo>
                  <a:lnTo>
                    <a:pt x="668" y="227"/>
                  </a:lnTo>
                  <a:lnTo>
                    <a:pt x="662" y="221"/>
                  </a:lnTo>
                  <a:lnTo>
                    <a:pt x="656" y="221"/>
                  </a:lnTo>
                  <a:lnTo>
                    <a:pt x="643" y="227"/>
                  </a:lnTo>
                  <a:lnTo>
                    <a:pt x="643" y="233"/>
                  </a:lnTo>
                  <a:lnTo>
                    <a:pt x="643" y="251"/>
                  </a:lnTo>
                  <a:lnTo>
                    <a:pt x="631" y="276"/>
                  </a:lnTo>
                  <a:lnTo>
                    <a:pt x="625" y="270"/>
                  </a:lnTo>
                  <a:lnTo>
                    <a:pt x="601" y="264"/>
                  </a:lnTo>
                  <a:lnTo>
                    <a:pt x="576" y="276"/>
                  </a:lnTo>
                  <a:lnTo>
                    <a:pt x="576" y="282"/>
                  </a:lnTo>
                  <a:lnTo>
                    <a:pt x="570" y="300"/>
                  </a:lnTo>
                  <a:lnTo>
                    <a:pt x="564" y="313"/>
                  </a:lnTo>
                  <a:lnTo>
                    <a:pt x="545" y="313"/>
                  </a:lnTo>
                  <a:lnTo>
                    <a:pt x="545" y="319"/>
                  </a:lnTo>
                  <a:lnTo>
                    <a:pt x="551" y="331"/>
                  </a:lnTo>
                  <a:lnTo>
                    <a:pt x="558" y="337"/>
                  </a:lnTo>
                  <a:lnTo>
                    <a:pt x="558" y="349"/>
                  </a:lnTo>
                  <a:lnTo>
                    <a:pt x="551" y="356"/>
                  </a:lnTo>
                  <a:lnTo>
                    <a:pt x="539" y="362"/>
                  </a:lnTo>
                  <a:lnTo>
                    <a:pt x="527" y="392"/>
                  </a:lnTo>
                  <a:lnTo>
                    <a:pt x="509" y="398"/>
                  </a:lnTo>
                  <a:lnTo>
                    <a:pt x="515" y="411"/>
                  </a:lnTo>
                  <a:lnTo>
                    <a:pt x="515" y="417"/>
                  </a:lnTo>
                  <a:lnTo>
                    <a:pt x="490" y="429"/>
                  </a:lnTo>
                  <a:lnTo>
                    <a:pt x="466" y="429"/>
                  </a:lnTo>
                  <a:lnTo>
                    <a:pt x="472" y="460"/>
                  </a:lnTo>
                  <a:lnTo>
                    <a:pt x="466" y="466"/>
                  </a:lnTo>
                  <a:lnTo>
                    <a:pt x="466" y="503"/>
                  </a:lnTo>
                  <a:lnTo>
                    <a:pt x="460" y="509"/>
                  </a:lnTo>
                  <a:lnTo>
                    <a:pt x="460" y="521"/>
                  </a:lnTo>
                  <a:lnTo>
                    <a:pt x="429" y="564"/>
                  </a:lnTo>
                  <a:lnTo>
                    <a:pt x="447" y="576"/>
                  </a:lnTo>
                  <a:lnTo>
                    <a:pt x="453" y="601"/>
                  </a:lnTo>
                  <a:lnTo>
                    <a:pt x="441" y="613"/>
                  </a:lnTo>
                  <a:lnTo>
                    <a:pt x="404" y="607"/>
                  </a:lnTo>
                  <a:lnTo>
                    <a:pt x="392" y="613"/>
                  </a:lnTo>
                  <a:lnTo>
                    <a:pt x="380" y="619"/>
                  </a:lnTo>
                  <a:lnTo>
                    <a:pt x="368" y="631"/>
                  </a:lnTo>
                  <a:lnTo>
                    <a:pt x="362" y="643"/>
                  </a:lnTo>
                  <a:lnTo>
                    <a:pt x="355" y="650"/>
                  </a:lnTo>
                  <a:lnTo>
                    <a:pt x="349" y="656"/>
                  </a:lnTo>
                  <a:lnTo>
                    <a:pt x="355" y="662"/>
                  </a:lnTo>
                  <a:lnTo>
                    <a:pt x="349" y="674"/>
                  </a:lnTo>
                  <a:lnTo>
                    <a:pt x="343" y="680"/>
                  </a:lnTo>
                  <a:lnTo>
                    <a:pt x="349" y="686"/>
                  </a:lnTo>
                  <a:lnTo>
                    <a:pt x="355" y="699"/>
                  </a:lnTo>
                  <a:lnTo>
                    <a:pt x="355" y="705"/>
                  </a:lnTo>
                  <a:lnTo>
                    <a:pt x="349" y="711"/>
                  </a:lnTo>
                  <a:lnTo>
                    <a:pt x="349" y="723"/>
                  </a:lnTo>
                  <a:lnTo>
                    <a:pt x="349" y="735"/>
                  </a:lnTo>
                  <a:lnTo>
                    <a:pt x="349" y="748"/>
                  </a:lnTo>
                  <a:lnTo>
                    <a:pt x="355" y="754"/>
                  </a:lnTo>
                  <a:lnTo>
                    <a:pt x="355" y="760"/>
                  </a:lnTo>
                  <a:lnTo>
                    <a:pt x="362" y="766"/>
                  </a:lnTo>
                  <a:lnTo>
                    <a:pt x="355" y="778"/>
                  </a:lnTo>
                  <a:lnTo>
                    <a:pt x="355" y="784"/>
                  </a:lnTo>
                  <a:lnTo>
                    <a:pt x="349" y="815"/>
                  </a:lnTo>
                  <a:lnTo>
                    <a:pt x="368" y="827"/>
                  </a:lnTo>
                  <a:lnTo>
                    <a:pt x="374" y="827"/>
                  </a:lnTo>
                  <a:lnTo>
                    <a:pt x="386" y="846"/>
                  </a:lnTo>
                  <a:lnTo>
                    <a:pt x="386" y="852"/>
                  </a:lnTo>
                  <a:lnTo>
                    <a:pt x="386" y="858"/>
                  </a:lnTo>
                  <a:lnTo>
                    <a:pt x="380" y="864"/>
                  </a:lnTo>
                  <a:lnTo>
                    <a:pt x="380" y="870"/>
                  </a:lnTo>
                  <a:lnTo>
                    <a:pt x="374" y="876"/>
                  </a:lnTo>
                  <a:lnTo>
                    <a:pt x="368" y="876"/>
                  </a:lnTo>
                  <a:lnTo>
                    <a:pt x="362" y="876"/>
                  </a:lnTo>
                  <a:lnTo>
                    <a:pt x="355" y="876"/>
                  </a:lnTo>
                  <a:lnTo>
                    <a:pt x="362" y="882"/>
                  </a:lnTo>
                  <a:lnTo>
                    <a:pt x="362" y="888"/>
                  </a:lnTo>
                  <a:lnTo>
                    <a:pt x="368" y="895"/>
                  </a:lnTo>
                  <a:lnTo>
                    <a:pt x="368" y="901"/>
                  </a:lnTo>
                  <a:lnTo>
                    <a:pt x="374" y="907"/>
                  </a:lnTo>
                  <a:lnTo>
                    <a:pt x="374" y="913"/>
                  </a:lnTo>
                  <a:lnTo>
                    <a:pt x="374" y="919"/>
                  </a:lnTo>
                  <a:lnTo>
                    <a:pt x="380" y="925"/>
                  </a:lnTo>
                  <a:lnTo>
                    <a:pt x="380" y="931"/>
                  </a:lnTo>
                  <a:lnTo>
                    <a:pt x="374" y="931"/>
                  </a:lnTo>
                  <a:lnTo>
                    <a:pt x="374" y="937"/>
                  </a:lnTo>
                  <a:lnTo>
                    <a:pt x="374" y="950"/>
                  </a:lnTo>
                  <a:lnTo>
                    <a:pt x="374" y="956"/>
                  </a:lnTo>
                  <a:lnTo>
                    <a:pt x="368" y="962"/>
                  </a:lnTo>
                  <a:lnTo>
                    <a:pt x="362" y="968"/>
                  </a:lnTo>
                  <a:lnTo>
                    <a:pt x="362" y="974"/>
                  </a:lnTo>
                  <a:lnTo>
                    <a:pt x="355" y="974"/>
                  </a:lnTo>
                  <a:lnTo>
                    <a:pt x="343" y="974"/>
                  </a:lnTo>
                  <a:lnTo>
                    <a:pt x="337" y="980"/>
                  </a:lnTo>
                  <a:lnTo>
                    <a:pt x="343" y="980"/>
                  </a:lnTo>
                  <a:lnTo>
                    <a:pt x="343" y="986"/>
                  </a:lnTo>
                  <a:lnTo>
                    <a:pt x="343" y="993"/>
                  </a:lnTo>
                  <a:lnTo>
                    <a:pt x="337" y="993"/>
                  </a:lnTo>
                  <a:lnTo>
                    <a:pt x="331" y="999"/>
                  </a:lnTo>
                  <a:lnTo>
                    <a:pt x="337" y="1011"/>
                  </a:lnTo>
                  <a:lnTo>
                    <a:pt x="337" y="1023"/>
                  </a:lnTo>
                  <a:lnTo>
                    <a:pt x="337" y="1035"/>
                  </a:lnTo>
                  <a:lnTo>
                    <a:pt x="337" y="1042"/>
                  </a:lnTo>
                  <a:lnTo>
                    <a:pt x="331" y="1048"/>
                  </a:lnTo>
                  <a:lnTo>
                    <a:pt x="331" y="1060"/>
                  </a:lnTo>
                  <a:lnTo>
                    <a:pt x="325" y="1060"/>
                  </a:lnTo>
                  <a:lnTo>
                    <a:pt x="319" y="1060"/>
                  </a:lnTo>
                  <a:lnTo>
                    <a:pt x="319" y="1054"/>
                  </a:lnTo>
                  <a:lnTo>
                    <a:pt x="319" y="1048"/>
                  </a:lnTo>
                  <a:lnTo>
                    <a:pt x="313" y="1042"/>
                  </a:lnTo>
                  <a:lnTo>
                    <a:pt x="306" y="1048"/>
                  </a:lnTo>
                  <a:lnTo>
                    <a:pt x="300" y="1048"/>
                  </a:lnTo>
                  <a:lnTo>
                    <a:pt x="306" y="1048"/>
                  </a:lnTo>
                  <a:lnTo>
                    <a:pt x="306" y="1042"/>
                  </a:lnTo>
                  <a:lnTo>
                    <a:pt x="306" y="1035"/>
                  </a:lnTo>
                  <a:lnTo>
                    <a:pt x="300" y="1035"/>
                  </a:lnTo>
                  <a:lnTo>
                    <a:pt x="300" y="1042"/>
                  </a:lnTo>
                  <a:lnTo>
                    <a:pt x="300" y="1035"/>
                  </a:lnTo>
                  <a:lnTo>
                    <a:pt x="294" y="1035"/>
                  </a:lnTo>
                  <a:lnTo>
                    <a:pt x="288" y="1042"/>
                  </a:lnTo>
                  <a:lnTo>
                    <a:pt x="288" y="1035"/>
                  </a:lnTo>
                  <a:lnTo>
                    <a:pt x="282" y="1029"/>
                  </a:lnTo>
                  <a:lnTo>
                    <a:pt x="288" y="1023"/>
                  </a:lnTo>
                  <a:lnTo>
                    <a:pt x="282" y="1023"/>
                  </a:lnTo>
                  <a:lnTo>
                    <a:pt x="282" y="1017"/>
                  </a:lnTo>
                  <a:lnTo>
                    <a:pt x="276" y="1011"/>
                  </a:lnTo>
                  <a:lnTo>
                    <a:pt x="282" y="1011"/>
                  </a:lnTo>
                  <a:lnTo>
                    <a:pt x="282" y="999"/>
                  </a:lnTo>
                  <a:lnTo>
                    <a:pt x="276" y="993"/>
                  </a:lnTo>
                  <a:lnTo>
                    <a:pt x="276" y="986"/>
                  </a:lnTo>
                  <a:lnTo>
                    <a:pt x="282" y="974"/>
                  </a:lnTo>
                  <a:lnTo>
                    <a:pt x="282" y="986"/>
                  </a:lnTo>
                  <a:lnTo>
                    <a:pt x="288" y="980"/>
                  </a:lnTo>
                  <a:lnTo>
                    <a:pt x="282" y="974"/>
                  </a:lnTo>
                  <a:lnTo>
                    <a:pt x="276" y="974"/>
                  </a:lnTo>
                  <a:lnTo>
                    <a:pt x="270" y="980"/>
                  </a:lnTo>
                  <a:lnTo>
                    <a:pt x="276" y="986"/>
                  </a:lnTo>
                  <a:lnTo>
                    <a:pt x="276" y="993"/>
                  </a:lnTo>
                  <a:lnTo>
                    <a:pt x="276" y="1005"/>
                  </a:lnTo>
                  <a:lnTo>
                    <a:pt x="270" y="1005"/>
                  </a:lnTo>
                  <a:lnTo>
                    <a:pt x="257" y="1005"/>
                  </a:lnTo>
                  <a:lnTo>
                    <a:pt x="264" y="1011"/>
                  </a:lnTo>
                  <a:lnTo>
                    <a:pt x="270" y="1017"/>
                  </a:lnTo>
                  <a:lnTo>
                    <a:pt x="276" y="1023"/>
                  </a:lnTo>
                  <a:lnTo>
                    <a:pt x="270" y="1029"/>
                  </a:lnTo>
                  <a:lnTo>
                    <a:pt x="270" y="1035"/>
                  </a:lnTo>
                  <a:lnTo>
                    <a:pt x="264" y="1029"/>
                  </a:lnTo>
                  <a:lnTo>
                    <a:pt x="264" y="1042"/>
                  </a:lnTo>
                  <a:lnTo>
                    <a:pt x="257" y="1048"/>
                  </a:lnTo>
                  <a:lnTo>
                    <a:pt x="251" y="1048"/>
                  </a:lnTo>
                  <a:lnTo>
                    <a:pt x="245" y="1042"/>
                  </a:lnTo>
                  <a:lnTo>
                    <a:pt x="251" y="1054"/>
                  </a:lnTo>
                  <a:lnTo>
                    <a:pt x="239" y="1054"/>
                  </a:lnTo>
                  <a:lnTo>
                    <a:pt x="239" y="1042"/>
                  </a:lnTo>
                  <a:lnTo>
                    <a:pt x="233" y="1042"/>
                  </a:lnTo>
                  <a:lnTo>
                    <a:pt x="233" y="1048"/>
                  </a:lnTo>
                  <a:lnTo>
                    <a:pt x="233" y="1054"/>
                  </a:lnTo>
                  <a:lnTo>
                    <a:pt x="227" y="1060"/>
                  </a:lnTo>
                  <a:lnTo>
                    <a:pt x="215" y="1060"/>
                  </a:lnTo>
                  <a:lnTo>
                    <a:pt x="215" y="1066"/>
                  </a:lnTo>
                  <a:lnTo>
                    <a:pt x="221" y="1066"/>
                  </a:lnTo>
                  <a:lnTo>
                    <a:pt x="215" y="1072"/>
                  </a:lnTo>
                  <a:lnTo>
                    <a:pt x="202" y="1072"/>
                  </a:lnTo>
                  <a:lnTo>
                    <a:pt x="208" y="1072"/>
                  </a:lnTo>
                  <a:lnTo>
                    <a:pt x="208" y="1078"/>
                  </a:lnTo>
                  <a:lnTo>
                    <a:pt x="202" y="1084"/>
                  </a:lnTo>
                  <a:lnTo>
                    <a:pt x="196" y="1084"/>
                  </a:lnTo>
                  <a:lnTo>
                    <a:pt x="190" y="1091"/>
                  </a:lnTo>
                  <a:lnTo>
                    <a:pt x="190" y="1097"/>
                  </a:lnTo>
                  <a:lnTo>
                    <a:pt x="184" y="1097"/>
                  </a:lnTo>
                  <a:lnTo>
                    <a:pt x="184" y="1109"/>
                  </a:lnTo>
                  <a:lnTo>
                    <a:pt x="178" y="1109"/>
                  </a:lnTo>
                  <a:lnTo>
                    <a:pt x="172" y="1115"/>
                  </a:lnTo>
                  <a:lnTo>
                    <a:pt x="165" y="1115"/>
                  </a:lnTo>
                  <a:lnTo>
                    <a:pt x="165" y="1121"/>
                  </a:lnTo>
                  <a:lnTo>
                    <a:pt x="159" y="1127"/>
                  </a:lnTo>
                  <a:lnTo>
                    <a:pt x="153" y="1121"/>
                  </a:lnTo>
                  <a:lnTo>
                    <a:pt x="153" y="1115"/>
                  </a:lnTo>
                  <a:lnTo>
                    <a:pt x="153" y="1121"/>
                  </a:lnTo>
                  <a:lnTo>
                    <a:pt x="153" y="1127"/>
                  </a:lnTo>
                  <a:lnTo>
                    <a:pt x="141" y="1127"/>
                  </a:lnTo>
                  <a:lnTo>
                    <a:pt x="135" y="1133"/>
                  </a:lnTo>
                  <a:lnTo>
                    <a:pt x="135" y="1127"/>
                  </a:lnTo>
                  <a:lnTo>
                    <a:pt x="135" y="1133"/>
                  </a:lnTo>
                  <a:lnTo>
                    <a:pt x="129" y="1133"/>
                  </a:lnTo>
                  <a:lnTo>
                    <a:pt x="123" y="1133"/>
                  </a:lnTo>
                  <a:lnTo>
                    <a:pt x="116" y="1133"/>
                  </a:lnTo>
                  <a:lnTo>
                    <a:pt x="110" y="1133"/>
                  </a:lnTo>
                  <a:lnTo>
                    <a:pt x="104" y="1140"/>
                  </a:lnTo>
                  <a:lnTo>
                    <a:pt x="104" y="1133"/>
                  </a:lnTo>
                  <a:lnTo>
                    <a:pt x="110" y="1127"/>
                  </a:lnTo>
                  <a:lnTo>
                    <a:pt x="104" y="1127"/>
                  </a:lnTo>
                  <a:lnTo>
                    <a:pt x="104" y="1133"/>
                  </a:lnTo>
                  <a:lnTo>
                    <a:pt x="104" y="1127"/>
                  </a:lnTo>
                  <a:lnTo>
                    <a:pt x="98" y="1133"/>
                  </a:lnTo>
                  <a:lnTo>
                    <a:pt x="98" y="1127"/>
                  </a:lnTo>
                  <a:lnTo>
                    <a:pt x="104" y="1121"/>
                  </a:lnTo>
                  <a:lnTo>
                    <a:pt x="98" y="1121"/>
                  </a:lnTo>
                  <a:lnTo>
                    <a:pt x="92" y="1121"/>
                  </a:lnTo>
                  <a:lnTo>
                    <a:pt x="98" y="1127"/>
                  </a:lnTo>
                  <a:lnTo>
                    <a:pt x="92" y="1127"/>
                  </a:lnTo>
                  <a:lnTo>
                    <a:pt x="86" y="1127"/>
                  </a:lnTo>
                  <a:lnTo>
                    <a:pt x="80" y="1127"/>
                  </a:lnTo>
                  <a:lnTo>
                    <a:pt x="86" y="1121"/>
                  </a:lnTo>
                  <a:lnTo>
                    <a:pt x="92" y="1115"/>
                  </a:lnTo>
                  <a:lnTo>
                    <a:pt x="86" y="1115"/>
                  </a:lnTo>
                  <a:lnTo>
                    <a:pt x="86" y="1109"/>
                  </a:lnTo>
                  <a:lnTo>
                    <a:pt x="86" y="1115"/>
                  </a:lnTo>
                  <a:lnTo>
                    <a:pt x="80" y="1115"/>
                  </a:lnTo>
                  <a:lnTo>
                    <a:pt x="74" y="1115"/>
                  </a:lnTo>
                  <a:lnTo>
                    <a:pt x="74" y="110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1" name="Freeform 152"/>
            <p:cNvSpPr>
              <a:spLocks/>
            </p:cNvSpPr>
            <p:nvPr/>
          </p:nvSpPr>
          <p:spPr bwMode="auto">
            <a:xfrm>
              <a:off x="3487391" y="1970926"/>
              <a:ext cx="1941750" cy="1668043"/>
            </a:xfrm>
            <a:custGeom>
              <a:avLst/>
              <a:gdLst>
                <a:gd name="T0" fmla="*/ 2147483647 w 1201"/>
                <a:gd name="T1" fmla="*/ 216733444 h 1140"/>
                <a:gd name="T2" fmla="*/ 2147483647 w 1201"/>
                <a:gd name="T3" fmla="*/ 171370601 h 1140"/>
                <a:gd name="T4" fmla="*/ 2147483647 w 1201"/>
                <a:gd name="T5" fmla="*/ 78124041 h 1140"/>
                <a:gd name="T6" fmla="*/ 2147483647 w 1201"/>
                <a:gd name="T7" fmla="*/ 93244972 h 1140"/>
                <a:gd name="T8" fmla="*/ 2147483647 w 1201"/>
                <a:gd name="T9" fmla="*/ 171370601 h 1140"/>
                <a:gd name="T10" fmla="*/ 2147483647 w 1201"/>
                <a:gd name="T11" fmla="*/ 123486859 h 1140"/>
                <a:gd name="T12" fmla="*/ 2147483647 w 1201"/>
                <a:gd name="T13" fmla="*/ 63003110 h 1140"/>
                <a:gd name="T14" fmla="*/ 2147483647 w 1201"/>
                <a:gd name="T15" fmla="*/ 32761236 h 1140"/>
                <a:gd name="T16" fmla="*/ 2147483647 w 1201"/>
                <a:gd name="T17" fmla="*/ 15120937 h 1140"/>
                <a:gd name="T18" fmla="*/ 2147483647 w 1201"/>
                <a:gd name="T19" fmla="*/ 47882167 h 1140"/>
                <a:gd name="T20" fmla="*/ 2147483647 w 1201"/>
                <a:gd name="T21" fmla="*/ 78124041 h 1140"/>
                <a:gd name="T22" fmla="*/ 2147483647 w 1201"/>
                <a:gd name="T23" fmla="*/ 108365928 h 1140"/>
                <a:gd name="T24" fmla="*/ 2147483647 w 1201"/>
                <a:gd name="T25" fmla="*/ 156249670 h 1140"/>
                <a:gd name="T26" fmla="*/ 2147483647 w 1201"/>
                <a:gd name="T27" fmla="*/ 231854375 h 1140"/>
                <a:gd name="T28" fmla="*/ 2147483647 w 1201"/>
                <a:gd name="T29" fmla="*/ 138607790 h 1140"/>
                <a:gd name="T30" fmla="*/ 2147483647 w 1201"/>
                <a:gd name="T31" fmla="*/ 47882167 h 1140"/>
                <a:gd name="T32" fmla="*/ 2147483647 w 1201"/>
                <a:gd name="T33" fmla="*/ 93244972 h 1140"/>
                <a:gd name="T34" fmla="*/ 2147483647 w 1201"/>
                <a:gd name="T35" fmla="*/ 108365928 h 1140"/>
                <a:gd name="T36" fmla="*/ 2147483647 w 1201"/>
                <a:gd name="T37" fmla="*/ 138607790 h 1140"/>
                <a:gd name="T38" fmla="*/ 2147483647 w 1201"/>
                <a:gd name="T39" fmla="*/ 186491532 h 1140"/>
                <a:gd name="T40" fmla="*/ 2147483647 w 1201"/>
                <a:gd name="T41" fmla="*/ 231854375 h 1140"/>
                <a:gd name="T42" fmla="*/ 2147483647 w 1201"/>
                <a:gd name="T43" fmla="*/ 216733444 h 1140"/>
                <a:gd name="T44" fmla="*/ 2147483647 w 1201"/>
                <a:gd name="T45" fmla="*/ 246975306 h 1140"/>
                <a:gd name="T46" fmla="*/ 2147483647 w 1201"/>
                <a:gd name="T47" fmla="*/ 279736529 h 1140"/>
                <a:gd name="T48" fmla="*/ 2147483647 w 1201"/>
                <a:gd name="T49" fmla="*/ 309978391 h 1140"/>
                <a:gd name="T50" fmla="*/ 2147483647 w 1201"/>
                <a:gd name="T51" fmla="*/ 294857460 h 1140"/>
                <a:gd name="T52" fmla="*/ 2147483647 w 1201"/>
                <a:gd name="T53" fmla="*/ 309978391 h 1140"/>
                <a:gd name="T54" fmla="*/ 2147483647 w 1201"/>
                <a:gd name="T55" fmla="*/ 325100910 h 1140"/>
                <a:gd name="T56" fmla="*/ 2147483647 w 1201"/>
                <a:gd name="T57" fmla="*/ 385583047 h 1140"/>
                <a:gd name="T58" fmla="*/ 2147483647 w 1201"/>
                <a:gd name="T59" fmla="*/ 433466888 h 1140"/>
                <a:gd name="T60" fmla="*/ 2147483647 w 1201"/>
                <a:gd name="T61" fmla="*/ 246975306 h 1140"/>
                <a:gd name="T62" fmla="*/ 2147483647 w 1201"/>
                <a:gd name="T63" fmla="*/ 246975306 h 1140"/>
                <a:gd name="T64" fmla="*/ 2147483647 w 1201"/>
                <a:gd name="T65" fmla="*/ 325100910 h 1140"/>
                <a:gd name="T66" fmla="*/ 2147483647 w 1201"/>
                <a:gd name="T67" fmla="*/ 418345957 h 1140"/>
                <a:gd name="T68" fmla="*/ 2147483647 w 1201"/>
                <a:gd name="T69" fmla="*/ 509071543 h 1140"/>
                <a:gd name="T70" fmla="*/ 2147483647 w 1201"/>
                <a:gd name="T71" fmla="*/ 526711835 h 1140"/>
                <a:gd name="T72" fmla="*/ 2051406609 w 1201"/>
                <a:gd name="T73" fmla="*/ 526711835 h 1140"/>
                <a:gd name="T74" fmla="*/ 1804431462 w 1201"/>
                <a:gd name="T75" fmla="*/ 418345957 h 1140"/>
                <a:gd name="T76" fmla="*/ 1665822167 w 1201"/>
                <a:gd name="T77" fmla="*/ 556953697 h 1140"/>
                <a:gd name="T78" fmla="*/ 1433967550 w 1201"/>
                <a:gd name="T79" fmla="*/ 632558353 h 1140"/>
                <a:gd name="T80" fmla="*/ 1202113330 w 1201"/>
                <a:gd name="T81" fmla="*/ 834170965 h 1140"/>
                <a:gd name="T82" fmla="*/ 987900986 w 1201"/>
                <a:gd name="T83" fmla="*/ 1081146171 h 1140"/>
                <a:gd name="T84" fmla="*/ 831651205 w 1201"/>
                <a:gd name="T85" fmla="*/ 1529733792 h 1140"/>
                <a:gd name="T86" fmla="*/ 693041910 w 1201"/>
                <a:gd name="T87" fmla="*/ 1728827241 h 1140"/>
                <a:gd name="T88" fmla="*/ 708162837 w 1201"/>
                <a:gd name="T89" fmla="*/ 1960681516 h 1140"/>
                <a:gd name="T90" fmla="*/ 756046568 w 1201"/>
                <a:gd name="T91" fmla="*/ 2147483647 h 1140"/>
                <a:gd name="T92" fmla="*/ 756046568 w 1201"/>
                <a:gd name="T93" fmla="*/ 2147483647 h 1140"/>
                <a:gd name="T94" fmla="*/ 708162837 w 1201"/>
                <a:gd name="T95" fmla="*/ 2147483647 h 1140"/>
                <a:gd name="T96" fmla="*/ 662800055 w 1201"/>
                <a:gd name="T97" fmla="*/ 2147483647 h 1140"/>
                <a:gd name="T98" fmla="*/ 569555130 w 1201"/>
                <a:gd name="T99" fmla="*/ 2147483647 h 1140"/>
                <a:gd name="T100" fmla="*/ 524192348 w 1201"/>
                <a:gd name="T101" fmla="*/ 2147483647 h 1140"/>
                <a:gd name="T102" fmla="*/ 524192348 w 1201"/>
                <a:gd name="T103" fmla="*/ 2147483647 h 1140"/>
                <a:gd name="T104" fmla="*/ 478829566 w 1201"/>
                <a:gd name="T105" fmla="*/ 2147483647 h 1140"/>
                <a:gd name="T106" fmla="*/ 446066763 w 1201"/>
                <a:gd name="T107" fmla="*/ 2147483647 h 1140"/>
                <a:gd name="T108" fmla="*/ 355341099 w 1201"/>
                <a:gd name="T109" fmla="*/ 2147483647 h 1140"/>
                <a:gd name="T110" fmla="*/ 262096174 w 1201"/>
                <a:gd name="T111" fmla="*/ 2147483647 h 1140"/>
                <a:gd name="T112" fmla="*/ 153728684 w 1201"/>
                <a:gd name="T113" fmla="*/ 2147483647 h 1140"/>
                <a:gd name="T114" fmla="*/ 75604662 w 1201"/>
                <a:gd name="T115" fmla="*/ 2147483647 h 1140"/>
                <a:gd name="T116" fmla="*/ 30241867 w 1201"/>
                <a:gd name="T117" fmla="*/ 2147483647 h 11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01"/>
                <a:gd name="T178" fmla="*/ 0 h 1140"/>
                <a:gd name="T179" fmla="*/ 1201 w 1201"/>
                <a:gd name="T180" fmla="*/ 1140 h 11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01" h="1140">
                  <a:moveTo>
                    <a:pt x="913" y="55"/>
                  </a:moveTo>
                  <a:lnTo>
                    <a:pt x="919" y="55"/>
                  </a:lnTo>
                  <a:lnTo>
                    <a:pt x="919" y="62"/>
                  </a:lnTo>
                  <a:lnTo>
                    <a:pt x="913" y="62"/>
                  </a:lnTo>
                  <a:lnTo>
                    <a:pt x="913" y="68"/>
                  </a:lnTo>
                  <a:lnTo>
                    <a:pt x="913" y="74"/>
                  </a:lnTo>
                  <a:lnTo>
                    <a:pt x="906" y="74"/>
                  </a:lnTo>
                  <a:lnTo>
                    <a:pt x="906" y="80"/>
                  </a:lnTo>
                  <a:lnTo>
                    <a:pt x="900" y="80"/>
                  </a:lnTo>
                  <a:lnTo>
                    <a:pt x="900" y="86"/>
                  </a:lnTo>
                  <a:lnTo>
                    <a:pt x="906" y="92"/>
                  </a:lnTo>
                  <a:lnTo>
                    <a:pt x="906" y="86"/>
                  </a:lnTo>
                  <a:lnTo>
                    <a:pt x="913" y="86"/>
                  </a:lnTo>
                  <a:lnTo>
                    <a:pt x="913" y="92"/>
                  </a:lnTo>
                  <a:lnTo>
                    <a:pt x="919" y="86"/>
                  </a:lnTo>
                  <a:lnTo>
                    <a:pt x="919" y="80"/>
                  </a:lnTo>
                  <a:lnTo>
                    <a:pt x="925" y="80"/>
                  </a:lnTo>
                  <a:lnTo>
                    <a:pt x="925" y="74"/>
                  </a:lnTo>
                  <a:lnTo>
                    <a:pt x="931" y="74"/>
                  </a:lnTo>
                  <a:lnTo>
                    <a:pt x="931" y="68"/>
                  </a:lnTo>
                  <a:lnTo>
                    <a:pt x="925" y="68"/>
                  </a:lnTo>
                  <a:lnTo>
                    <a:pt x="931" y="68"/>
                  </a:lnTo>
                  <a:lnTo>
                    <a:pt x="931" y="62"/>
                  </a:lnTo>
                  <a:lnTo>
                    <a:pt x="937" y="62"/>
                  </a:lnTo>
                  <a:lnTo>
                    <a:pt x="937" y="55"/>
                  </a:lnTo>
                  <a:lnTo>
                    <a:pt x="949" y="49"/>
                  </a:lnTo>
                  <a:lnTo>
                    <a:pt x="955" y="43"/>
                  </a:lnTo>
                  <a:lnTo>
                    <a:pt x="955" y="37"/>
                  </a:lnTo>
                  <a:lnTo>
                    <a:pt x="962" y="37"/>
                  </a:lnTo>
                  <a:lnTo>
                    <a:pt x="962" y="31"/>
                  </a:lnTo>
                  <a:lnTo>
                    <a:pt x="968" y="31"/>
                  </a:lnTo>
                  <a:lnTo>
                    <a:pt x="974" y="25"/>
                  </a:lnTo>
                  <a:lnTo>
                    <a:pt x="974" y="19"/>
                  </a:lnTo>
                  <a:lnTo>
                    <a:pt x="980" y="19"/>
                  </a:lnTo>
                  <a:lnTo>
                    <a:pt x="986" y="13"/>
                  </a:lnTo>
                  <a:lnTo>
                    <a:pt x="992" y="19"/>
                  </a:lnTo>
                  <a:lnTo>
                    <a:pt x="986" y="25"/>
                  </a:lnTo>
                  <a:lnTo>
                    <a:pt x="992" y="25"/>
                  </a:lnTo>
                  <a:lnTo>
                    <a:pt x="992" y="31"/>
                  </a:lnTo>
                  <a:lnTo>
                    <a:pt x="986" y="37"/>
                  </a:lnTo>
                  <a:lnTo>
                    <a:pt x="980" y="37"/>
                  </a:lnTo>
                  <a:lnTo>
                    <a:pt x="974" y="37"/>
                  </a:lnTo>
                  <a:lnTo>
                    <a:pt x="974" y="43"/>
                  </a:lnTo>
                  <a:lnTo>
                    <a:pt x="980" y="37"/>
                  </a:lnTo>
                  <a:lnTo>
                    <a:pt x="986" y="37"/>
                  </a:lnTo>
                  <a:lnTo>
                    <a:pt x="986" y="43"/>
                  </a:lnTo>
                  <a:lnTo>
                    <a:pt x="986" y="49"/>
                  </a:lnTo>
                  <a:lnTo>
                    <a:pt x="980" y="55"/>
                  </a:lnTo>
                  <a:lnTo>
                    <a:pt x="980" y="62"/>
                  </a:lnTo>
                  <a:lnTo>
                    <a:pt x="980" y="68"/>
                  </a:lnTo>
                  <a:lnTo>
                    <a:pt x="980" y="62"/>
                  </a:lnTo>
                  <a:lnTo>
                    <a:pt x="986" y="62"/>
                  </a:lnTo>
                  <a:lnTo>
                    <a:pt x="992" y="62"/>
                  </a:lnTo>
                  <a:lnTo>
                    <a:pt x="992" y="55"/>
                  </a:lnTo>
                  <a:lnTo>
                    <a:pt x="998" y="55"/>
                  </a:lnTo>
                  <a:lnTo>
                    <a:pt x="1004" y="55"/>
                  </a:lnTo>
                  <a:lnTo>
                    <a:pt x="1004" y="49"/>
                  </a:lnTo>
                  <a:lnTo>
                    <a:pt x="1004" y="43"/>
                  </a:lnTo>
                  <a:lnTo>
                    <a:pt x="1011" y="49"/>
                  </a:lnTo>
                  <a:lnTo>
                    <a:pt x="1017" y="49"/>
                  </a:lnTo>
                  <a:lnTo>
                    <a:pt x="1017" y="43"/>
                  </a:lnTo>
                  <a:lnTo>
                    <a:pt x="1011" y="43"/>
                  </a:lnTo>
                  <a:lnTo>
                    <a:pt x="1011" y="37"/>
                  </a:lnTo>
                  <a:lnTo>
                    <a:pt x="1011" y="31"/>
                  </a:lnTo>
                  <a:lnTo>
                    <a:pt x="1017" y="31"/>
                  </a:lnTo>
                  <a:lnTo>
                    <a:pt x="1017" y="37"/>
                  </a:lnTo>
                  <a:lnTo>
                    <a:pt x="1023" y="37"/>
                  </a:lnTo>
                  <a:lnTo>
                    <a:pt x="1023" y="31"/>
                  </a:lnTo>
                  <a:lnTo>
                    <a:pt x="1017" y="31"/>
                  </a:lnTo>
                  <a:lnTo>
                    <a:pt x="1017" y="25"/>
                  </a:lnTo>
                  <a:lnTo>
                    <a:pt x="1029" y="25"/>
                  </a:lnTo>
                  <a:lnTo>
                    <a:pt x="1035" y="25"/>
                  </a:lnTo>
                  <a:lnTo>
                    <a:pt x="1029" y="25"/>
                  </a:lnTo>
                  <a:lnTo>
                    <a:pt x="1029" y="19"/>
                  </a:lnTo>
                  <a:lnTo>
                    <a:pt x="1023" y="19"/>
                  </a:lnTo>
                  <a:lnTo>
                    <a:pt x="1017" y="19"/>
                  </a:lnTo>
                  <a:lnTo>
                    <a:pt x="1011" y="19"/>
                  </a:lnTo>
                  <a:lnTo>
                    <a:pt x="1011" y="13"/>
                  </a:lnTo>
                  <a:lnTo>
                    <a:pt x="1017" y="13"/>
                  </a:lnTo>
                  <a:lnTo>
                    <a:pt x="1023" y="13"/>
                  </a:lnTo>
                  <a:lnTo>
                    <a:pt x="1017" y="13"/>
                  </a:lnTo>
                  <a:lnTo>
                    <a:pt x="1017" y="6"/>
                  </a:lnTo>
                  <a:lnTo>
                    <a:pt x="1023" y="6"/>
                  </a:lnTo>
                  <a:lnTo>
                    <a:pt x="1029" y="13"/>
                  </a:lnTo>
                  <a:lnTo>
                    <a:pt x="1029" y="6"/>
                  </a:lnTo>
                  <a:lnTo>
                    <a:pt x="1029" y="0"/>
                  </a:lnTo>
                  <a:lnTo>
                    <a:pt x="1035" y="0"/>
                  </a:lnTo>
                  <a:lnTo>
                    <a:pt x="1041" y="0"/>
                  </a:lnTo>
                  <a:lnTo>
                    <a:pt x="1041" y="6"/>
                  </a:lnTo>
                  <a:lnTo>
                    <a:pt x="1047" y="6"/>
                  </a:lnTo>
                  <a:lnTo>
                    <a:pt x="1053" y="6"/>
                  </a:lnTo>
                  <a:lnTo>
                    <a:pt x="1060" y="6"/>
                  </a:lnTo>
                  <a:lnTo>
                    <a:pt x="1066" y="0"/>
                  </a:lnTo>
                  <a:lnTo>
                    <a:pt x="1066" y="6"/>
                  </a:lnTo>
                  <a:lnTo>
                    <a:pt x="1060" y="13"/>
                  </a:lnTo>
                  <a:lnTo>
                    <a:pt x="1066" y="13"/>
                  </a:lnTo>
                  <a:lnTo>
                    <a:pt x="1072" y="13"/>
                  </a:lnTo>
                  <a:lnTo>
                    <a:pt x="1078" y="13"/>
                  </a:lnTo>
                  <a:lnTo>
                    <a:pt x="1078" y="19"/>
                  </a:lnTo>
                  <a:lnTo>
                    <a:pt x="1072" y="19"/>
                  </a:lnTo>
                  <a:lnTo>
                    <a:pt x="1078" y="19"/>
                  </a:lnTo>
                  <a:lnTo>
                    <a:pt x="1072" y="25"/>
                  </a:lnTo>
                  <a:lnTo>
                    <a:pt x="1066" y="25"/>
                  </a:lnTo>
                  <a:lnTo>
                    <a:pt x="1066" y="31"/>
                  </a:lnTo>
                  <a:lnTo>
                    <a:pt x="1060" y="25"/>
                  </a:lnTo>
                  <a:lnTo>
                    <a:pt x="1053" y="25"/>
                  </a:lnTo>
                  <a:lnTo>
                    <a:pt x="1041" y="31"/>
                  </a:lnTo>
                  <a:lnTo>
                    <a:pt x="1047" y="31"/>
                  </a:lnTo>
                  <a:lnTo>
                    <a:pt x="1053" y="31"/>
                  </a:lnTo>
                  <a:lnTo>
                    <a:pt x="1060" y="31"/>
                  </a:lnTo>
                  <a:lnTo>
                    <a:pt x="1053" y="37"/>
                  </a:lnTo>
                  <a:lnTo>
                    <a:pt x="1047" y="37"/>
                  </a:lnTo>
                  <a:lnTo>
                    <a:pt x="1047" y="43"/>
                  </a:lnTo>
                  <a:lnTo>
                    <a:pt x="1035" y="43"/>
                  </a:lnTo>
                  <a:lnTo>
                    <a:pt x="1041" y="43"/>
                  </a:lnTo>
                  <a:lnTo>
                    <a:pt x="1053" y="43"/>
                  </a:lnTo>
                  <a:lnTo>
                    <a:pt x="1053" y="37"/>
                  </a:lnTo>
                  <a:lnTo>
                    <a:pt x="1060" y="37"/>
                  </a:lnTo>
                  <a:lnTo>
                    <a:pt x="1066" y="37"/>
                  </a:lnTo>
                  <a:lnTo>
                    <a:pt x="1066" y="43"/>
                  </a:lnTo>
                  <a:lnTo>
                    <a:pt x="1060" y="49"/>
                  </a:lnTo>
                  <a:lnTo>
                    <a:pt x="1053" y="49"/>
                  </a:lnTo>
                  <a:lnTo>
                    <a:pt x="1047" y="55"/>
                  </a:lnTo>
                  <a:lnTo>
                    <a:pt x="1047" y="62"/>
                  </a:lnTo>
                  <a:lnTo>
                    <a:pt x="1047" y="55"/>
                  </a:lnTo>
                  <a:lnTo>
                    <a:pt x="1053" y="55"/>
                  </a:lnTo>
                  <a:lnTo>
                    <a:pt x="1060" y="55"/>
                  </a:lnTo>
                  <a:lnTo>
                    <a:pt x="1066" y="55"/>
                  </a:lnTo>
                  <a:lnTo>
                    <a:pt x="1060" y="55"/>
                  </a:lnTo>
                  <a:lnTo>
                    <a:pt x="1053" y="62"/>
                  </a:lnTo>
                  <a:lnTo>
                    <a:pt x="1060" y="62"/>
                  </a:lnTo>
                  <a:lnTo>
                    <a:pt x="1060" y="55"/>
                  </a:lnTo>
                  <a:lnTo>
                    <a:pt x="1066" y="55"/>
                  </a:lnTo>
                  <a:lnTo>
                    <a:pt x="1072" y="55"/>
                  </a:lnTo>
                  <a:lnTo>
                    <a:pt x="1066" y="62"/>
                  </a:lnTo>
                  <a:lnTo>
                    <a:pt x="1060" y="68"/>
                  </a:lnTo>
                  <a:lnTo>
                    <a:pt x="1060" y="74"/>
                  </a:lnTo>
                  <a:lnTo>
                    <a:pt x="1060" y="80"/>
                  </a:lnTo>
                  <a:lnTo>
                    <a:pt x="1060" y="86"/>
                  </a:lnTo>
                  <a:lnTo>
                    <a:pt x="1053" y="92"/>
                  </a:lnTo>
                  <a:lnTo>
                    <a:pt x="1060" y="92"/>
                  </a:lnTo>
                  <a:lnTo>
                    <a:pt x="1066" y="86"/>
                  </a:lnTo>
                  <a:lnTo>
                    <a:pt x="1066" y="80"/>
                  </a:lnTo>
                  <a:lnTo>
                    <a:pt x="1066" y="74"/>
                  </a:lnTo>
                  <a:lnTo>
                    <a:pt x="1066" y="68"/>
                  </a:lnTo>
                  <a:lnTo>
                    <a:pt x="1066" y="62"/>
                  </a:lnTo>
                  <a:lnTo>
                    <a:pt x="1072" y="55"/>
                  </a:lnTo>
                  <a:lnTo>
                    <a:pt x="1078" y="55"/>
                  </a:lnTo>
                  <a:lnTo>
                    <a:pt x="1078" y="49"/>
                  </a:lnTo>
                  <a:lnTo>
                    <a:pt x="1078" y="55"/>
                  </a:lnTo>
                  <a:lnTo>
                    <a:pt x="1072" y="49"/>
                  </a:lnTo>
                  <a:lnTo>
                    <a:pt x="1078" y="43"/>
                  </a:lnTo>
                  <a:lnTo>
                    <a:pt x="1078" y="37"/>
                  </a:lnTo>
                  <a:lnTo>
                    <a:pt x="1084" y="37"/>
                  </a:lnTo>
                  <a:lnTo>
                    <a:pt x="1078" y="37"/>
                  </a:lnTo>
                  <a:lnTo>
                    <a:pt x="1078" y="31"/>
                  </a:lnTo>
                  <a:lnTo>
                    <a:pt x="1084" y="31"/>
                  </a:lnTo>
                  <a:lnTo>
                    <a:pt x="1084" y="25"/>
                  </a:lnTo>
                  <a:lnTo>
                    <a:pt x="1090" y="25"/>
                  </a:lnTo>
                  <a:lnTo>
                    <a:pt x="1096" y="19"/>
                  </a:lnTo>
                  <a:lnTo>
                    <a:pt x="1102" y="19"/>
                  </a:lnTo>
                  <a:lnTo>
                    <a:pt x="1109" y="25"/>
                  </a:lnTo>
                  <a:lnTo>
                    <a:pt x="1115" y="25"/>
                  </a:lnTo>
                  <a:lnTo>
                    <a:pt x="1121" y="31"/>
                  </a:lnTo>
                  <a:lnTo>
                    <a:pt x="1115" y="31"/>
                  </a:lnTo>
                  <a:lnTo>
                    <a:pt x="1121" y="31"/>
                  </a:lnTo>
                  <a:lnTo>
                    <a:pt x="1121" y="37"/>
                  </a:lnTo>
                  <a:lnTo>
                    <a:pt x="1115" y="37"/>
                  </a:lnTo>
                  <a:lnTo>
                    <a:pt x="1121" y="37"/>
                  </a:lnTo>
                  <a:lnTo>
                    <a:pt x="1133" y="37"/>
                  </a:lnTo>
                  <a:lnTo>
                    <a:pt x="1133" y="31"/>
                  </a:lnTo>
                  <a:lnTo>
                    <a:pt x="1139" y="31"/>
                  </a:lnTo>
                  <a:lnTo>
                    <a:pt x="1139" y="37"/>
                  </a:lnTo>
                  <a:lnTo>
                    <a:pt x="1139" y="43"/>
                  </a:lnTo>
                  <a:lnTo>
                    <a:pt x="1145" y="43"/>
                  </a:lnTo>
                  <a:lnTo>
                    <a:pt x="1145" y="37"/>
                  </a:lnTo>
                  <a:lnTo>
                    <a:pt x="1151" y="37"/>
                  </a:lnTo>
                  <a:lnTo>
                    <a:pt x="1158" y="37"/>
                  </a:lnTo>
                  <a:lnTo>
                    <a:pt x="1158" y="43"/>
                  </a:lnTo>
                  <a:lnTo>
                    <a:pt x="1164" y="43"/>
                  </a:lnTo>
                  <a:lnTo>
                    <a:pt x="1164" y="49"/>
                  </a:lnTo>
                  <a:lnTo>
                    <a:pt x="1158" y="49"/>
                  </a:lnTo>
                  <a:lnTo>
                    <a:pt x="1164" y="49"/>
                  </a:lnTo>
                  <a:lnTo>
                    <a:pt x="1158" y="49"/>
                  </a:lnTo>
                  <a:lnTo>
                    <a:pt x="1151" y="49"/>
                  </a:lnTo>
                  <a:lnTo>
                    <a:pt x="1158" y="49"/>
                  </a:lnTo>
                  <a:lnTo>
                    <a:pt x="1170" y="49"/>
                  </a:lnTo>
                  <a:lnTo>
                    <a:pt x="1176" y="49"/>
                  </a:lnTo>
                  <a:lnTo>
                    <a:pt x="1182" y="49"/>
                  </a:lnTo>
                  <a:lnTo>
                    <a:pt x="1188" y="55"/>
                  </a:lnTo>
                  <a:lnTo>
                    <a:pt x="1188" y="62"/>
                  </a:lnTo>
                  <a:lnTo>
                    <a:pt x="1194" y="55"/>
                  </a:lnTo>
                  <a:lnTo>
                    <a:pt x="1194" y="62"/>
                  </a:lnTo>
                  <a:lnTo>
                    <a:pt x="1201" y="62"/>
                  </a:lnTo>
                  <a:lnTo>
                    <a:pt x="1201" y="68"/>
                  </a:lnTo>
                  <a:lnTo>
                    <a:pt x="1201" y="74"/>
                  </a:lnTo>
                  <a:lnTo>
                    <a:pt x="1194" y="74"/>
                  </a:lnTo>
                  <a:lnTo>
                    <a:pt x="1188" y="74"/>
                  </a:lnTo>
                  <a:lnTo>
                    <a:pt x="1182" y="74"/>
                  </a:lnTo>
                  <a:lnTo>
                    <a:pt x="1176" y="74"/>
                  </a:lnTo>
                  <a:lnTo>
                    <a:pt x="1176" y="80"/>
                  </a:lnTo>
                  <a:lnTo>
                    <a:pt x="1170" y="80"/>
                  </a:lnTo>
                  <a:lnTo>
                    <a:pt x="1164" y="80"/>
                  </a:lnTo>
                  <a:lnTo>
                    <a:pt x="1170" y="86"/>
                  </a:lnTo>
                  <a:lnTo>
                    <a:pt x="1164" y="86"/>
                  </a:lnTo>
                  <a:lnTo>
                    <a:pt x="1158" y="86"/>
                  </a:lnTo>
                  <a:lnTo>
                    <a:pt x="1158" y="92"/>
                  </a:lnTo>
                  <a:lnTo>
                    <a:pt x="1151" y="92"/>
                  </a:lnTo>
                  <a:lnTo>
                    <a:pt x="1145" y="92"/>
                  </a:lnTo>
                  <a:lnTo>
                    <a:pt x="1139" y="92"/>
                  </a:lnTo>
                  <a:lnTo>
                    <a:pt x="1127" y="86"/>
                  </a:lnTo>
                  <a:lnTo>
                    <a:pt x="1121" y="92"/>
                  </a:lnTo>
                  <a:lnTo>
                    <a:pt x="1115" y="86"/>
                  </a:lnTo>
                  <a:lnTo>
                    <a:pt x="1109" y="86"/>
                  </a:lnTo>
                  <a:lnTo>
                    <a:pt x="1102" y="86"/>
                  </a:lnTo>
                  <a:lnTo>
                    <a:pt x="1096" y="86"/>
                  </a:lnTo>
                  <a:lnTo>
                    <a:pt x="1090" y="80"/>
                  </a:lnTo>
                  <a:lnTo>
                    <a:pt x="1084" y="80"/>
                  </a:lnTo>
                  <a:lnTo>
                    <a:pt x="1090" y="80"/>
                  </a:lnTo>
                  <a:lnTo>
                    <a:pt x="1090" y="86"/>
                  </a:lnTo>
                  <a:lnTo>
                    <a:pt x="1084" y="86"/>
                  </a:lnTo>
                  <a:lnTo>
                    <a:pt x="1090" y="86"/>
                  </a:lnTo>
                  <a:lnTo>
                    <a:pt x="1096" y="92"/>
                  </a:lnTo>
                  <a:lnTo>
                    <a:pt x="1090" y="92"/>
                  </a:lnTo>
                  <a:lnTo>
                    <a:pt x="1102" y="92"/>
                  </a:lnTo>
                  <a:lnTo>
                    <a:pt x="1109" y="92"/>
                  </a:lnTo>
                  <a:lnTo>
                    <a:pt x="1109" y="98"/>
                  </a:lnTo>
                  <a:lnTo>
                    <a:pt x="1115" y="98"/>
                  </a:lnTo>
                  <a:lnTo>
                    <a:pt x="1121" y="98"/>
                  </a:lnTo>
                  <a:lnTo>
                    <a:pt x="1127" y="98"/>
                  </a:lnTo>
                  <a:lnTo>
                    <a:pt x="1133" y="98"/>
                  </a:lnTo>
                  <a:lnTo>
                    <a:pt x="1133" y="104"/>
                  </a:lnTo>
                  <a:lnTo>
                    <a:pt x="1127" y="104"/>
                  </a:lnTo>
                  <a:lnTo>
                    <a:pt x="1121" y="104"/>
                  </a:lnTo>
                  <a:lnTo>
                    <a:pt x="1121" y="111"/>
                  </a:lnTo>
                  <a:lnTo>
                    <a:pt x="1127" y="111"/>
                  </a:lnTo>
                  <a:lnTo>
                    <a:pt x="1127" y="104"/>
                  </a:lnTo>
                  <a:lnTo>
                    <a:pt x="1133" y="104"/>
                  </a:lnTo>
                  <a:lnTo>
                    <a:pt x="1139" y="104"/>
                  </a:lnTo>
                  <a:lnTo>
                    <a:pt x="1139" y="111"/>
                  </a:lnTo>
                  <a:lnTo>
                    <a:pt x="1133" y="117"/>
                  </a:lnTo>
                  <a:lnTo>
                    <a:pt x="1133" y="123"/>
                  </a:lnTo>
                  <a:lnTo>
                    <a:pt x="1127" y="123"/>
                  </a:lnTo>
                  <a:lnTo>
                    <a:pt x="1127" y="129"/>
                  </a:lnTo>
                  <a:lnTo>
                    <a:pt x="1127" y="123"/>
                  </a:lnTo>
                  <a:lnTo>
                    <a:pt x="1133" y="123"/>
                  </a:lnTo>
                  <a:lnTo>
                    <a:pt x="1139" y="117"/>
                  </a:lnTo>
                  <a:lnTo>
                    <a:pt x="1145" y="117"/>
                  </a:lnTo>
                  <a:lnTo>
                    <a:pt x="1151" y="117"/>
                  </a:lnTo>
                  <a:lnTo>
                    <a:pt x="1151" y="123"/>
                  </a:lnTo>
                  <a:lnTo>
                    <a:pt x="1145" y="123"/>
                  </a:lnTo>
                  <a:lnTo>
                    <a:pt x="1151" y="123"/>
                  </a:lnTo>
                  <a:lnTo>
                    <a:pt x="1158" y="123"/>
                  </a:lnTo>
                  <a:lnTo>
                    <a:pt x="1158" y="117"/>
                  </a:lnTo>
                  <a:lnTo>
                    <a:pt x="1164" y="117"/>
                  </a:lnTo>
                  <a:lnTo>
                    <a:pt x="1158" y="117"/>
                  </a:lnTo>
                  <a:lnTo>
                    <a:pt x="1158" y="111"/>
                  </a:lnTo>
                  <a:lnTo>
                    <a:pt x="1164" y="111"/>
                  </a:lnTo>
                  <a:lnTo>
                    <a:pt x="1170" y="111"/>
                  </a:lnTo>
                  <a:lnTo>
                    <a:pt x="1170" y="117"/>
                  </a:lnTo>
                  <a:lnTo>
                    <a:pt x="1170" y="123"/>
                  </a:lnTo>
                  <a:lnTo>
                    <a:pt x="1176" y="123"/>
                  </a:lnTo>
                  <a:lnTo>
                    <a:pt x="1176" y="117"/>
                  </a:lnTo>
                  <a:lnTo>
                    <a:pt x="1176" y="111"/>
                  </a:lnTo>
                  <a:lnTo>
                    <a:pt x="1182" y="111"/>
                  </a:lnTo>
                  <a:lnTo>
                    <a:pt x="1188" y="111"/>
                  </a:lnTo>
                  <a:lnTo>
                    <a:pt x="1188" y="117"/>
                  </a:lnTo>
                  <a:lnTo>
                    <a:pt x="1182" y="117"/>
                  </a:lnTo>
                  <a:lnTo>
                    <a:pt x="1188" y="117"/>
                  </a:lnTo>
                  <a:lnTo>
                    <a:pt x="1194" y="123"/>
                  </a:lnTo>
                  <a:lnTo>
                    <a:pt x="1194" y="129"/>
                  </a:lnTo>
                  <a:lnTo>
                    <a:pt x="1194" y="135"/>
                  </a:lnTo>
                  <a:lnTo>
                    <a:pt x="1188" y="135"/>
                  </a:lnTo>
                  <a:lnTo>
                    <a:pt x="1182" y="135"/>
                  </a:lnTo>
                  <a:lnTo>
                    <a:pt x="1176" y="135"/>
                  </a:lnTo>
                  <a:lnTo>
                    <a:pt x="1170" y="135"/>
                  </a:lnTo>
                  <a:lnTo>
                    <a:pt x="1170" y="129"/>
                  </a:lnTo>
                  <a:lnTo>
                    <a:pt x="1164" y="129"/>
                  </a:lnTo>
                  <a:lnTo>
                    <a:pt x="1158" y="123"/>
                  </a:lnTo>
                  <a:lnTo>
                    <a:pt x="1158" y="129"/>
                  </a:lnTo>
                  <a:lnTo>
                    <a:pt x="1158" y="135"/>
                  </a:lnTo>
                  <a:lnTo>
                    <a:pt x="1158" y="141"/>
                  </a:lnTo>
                  <a:lnTo>
                    <a:pt x="1158" y="147"/>
                  </a:lnTo>
                  <a:lnTo>
                    <a:pt x="1151" y="147"/>
                  </a:lnTo>
                  <a:lnTo>
                    <a:pt x="1145" y="147"/>
                  </a:lnTo>
                  <a:lnTo>
                    <a:pt x="1139" y="147"/>
                  </a:lnTo>
                  <a:lnTo>
                    <a:pt x="1133" y="147"/>
                  </a:lnTo>
                  <a:lnTo>
                    <a:pt x="1133" y="153"/>
                  </a:lnTo>
                  <a:lnTo>
                    <a:pt x="1127" y="153"/>
                  </a:lnTo>
                  <a:lnTo>
                    <a:pt x="1121" y="153"/>
                  </a:lnTo>
                  <a:lnTo>
                    <a:pt x="1115" y="160"/>
                  </a:lnTo>
                  <a:lnTo>
                    <a:pt x="1115" y="166"/>
                  </a:lnTo>
                  <a:lnTo>
                    <a:pt x="1115" y="172"/>
                  </a:lnTo>
                  <a:lnTo>
                    <a:pt x="1109" y="172"/>
                  </a:lnTo>
                  <a:lnTo>
                    <a:pt x="1109" y="178"/>
                  </a:lnTo>
                  <a:lnTo>
                    <a:pt x="1102" y="184"/>
                  </a:lnTo>
                  <a:lnTo>
                    <a:pt x="1102" y="178"/>
                  </a:lnTo>
                  <a:lnTo>
                    <a:pt x="1096" y="178"/>
                  </a:lnTo>
                  <a:lnTo>
                    <a:pt x="1090" y="178"/>
                  </a:lnTo>
                  <a:lnTo>
                    <a:pt x="1090" y="172"/>
                  </a:lnTo>
                  <a:lnTo>
                    <a:pt x="1096" y="172"/>
                  </a:lnTo>
                  <a:lnTo>
                    <a:pt x="1096" y="166"/>
                  </a:lnTo>
                  <a:lnTo>
                    <a:pt x="1121" y="141"/>
                  </a:lnTo>
                  <a:lnTo>
                    <a:pt x="1109" y="123"/>
                  </a:lnTo>
                  <a:lnTo>
                    <a:pt x="1072" y="111"/>
                  </a:lnTo>
                  <a:lnTo>
                    <a:pt x="1072" y="104"/>
                  </a:lnTo>
                  <a:lnTo>
                    <a:pt x="1066" y="104"/>
                  </a:lnTo>
                  <a:lnTo>
                    <a:pt x="1060" y="104"/>
                  </a:lnTo>
                  <a:lnTo>
                    <a:pt x="1060" y="98"/>
                  </a:lnTo>
                  <a:lnTo>
                    <a:pt x="1053" y="98"/>
                  </a:lnTo>
                  <a:lnTo>
                    <a:pt x="1053" y="92"/>
                  </a:lnTo>
                  <a:lnTo>
                    <a:pt x="1047" y="92"/>
                  </a:lnTo>
                  <a:lnTo>
                    <a:pt x="1041" y="92"/>
                  </a:lnTo>
                  <a:lnTo>
                    <a:pt x="1035" y="92"/>
                  </a:lnTo>
                  <a:lnTo>
                    <a:pt x="1029" y="92"/>
                  </a:lnTo>
                  <a:lnTo>
                    <a:pt x="1023" y="98"/>
                  </a:lnTo>
                  <a:lnTo>
                    <a:pt x="1017" y="98"/>
                  </a:lnTo>
                  <a:lnTo>
                    <a:pt x="1004" y="104"/>
                  </a:lnTo>
                  <a:lnTo>
                    <a:pt x="998" y="104"/>
                  </a:lnTo>
                  <a:lnTo>
                    <a:pt x="998" y="98"/>
                  </a:lnTo>
                  <a:lnTo>
                    <a:pt x="992" y="104"/>
                  </a:lnTo>
                  <a:lnTo>
                    <a:pt x="992" y="98"/>
                  </a:lnTo>
                  <a:lnTo>
                    <a:pt x="986" y="104"/>
                  </a:lnTo>
                  <a:lnTo>
                    <a:pt x="980" y="104"/>
                  </a:lnTo>
                  <a:lnTo>
                    <a:pt x="974" y="111"/>
                  </a:lnTo>
                  <a:lnTo>
                    <a:pt x="968" y="117"/>
                  </a:lnTo>
                  <a:lnTo>
                    <a:pt x="962" y="117"/>
                  </a:lnTo>
                  <a:lnTo>
                    <a:pt x="962" y="123"/>
                  </a:lnTo>
                  <a:lnTo>
                    <a:pt x="955" y="123"/>
                  </a:lnTo>
                  <a:lnTo>
                    <a:pt x="949" y="129"/>
                  </a:lnTo>
                  <a:lnTo>
                    <a:pt x="955" y="129"/>
                  </a:lnTo>
                  <a:lnTo>
                    <a:pt x="955" y="135"/>
                  </a:lnTo>
                  <a:lnTo>
                    <a:pt x="949" y="135"/>
                  </a:lnTo>
                  <a:lnTo>
                    <a:pt x="949" y="141"/>
                  </a:lnTo>
                  <a:lnTo>
                    <a:pt x="949" y="147"/>
                  </a:lnTo>
                  <a:lnTo>
                    <a:pt x="949" y="153"/>
                  </a:lnTo>
                  <a:lnTo>
                    <a:pt x="943" y="153"/>
                  </a:lnTo>
                  <a:lnTo>
                    <a:pt x="943" y="160"/>
                  </a:lnTo>
                  <a:lnTo>
                    <a:pt x="937" y="166"/>
                  </a:lnTo>
                  <a:lnTo>
                    <a:pt x="943" y="166"/>
                  </a:lnTo>
                  <a:lnTo>
                    <a:pt x="943" y="172"/>
                  </a:lnTo>
                  <a:lnTo>
                    <a:pt x="943" y="178"/>
                  </a:lnTo>
                  <a:lnTo>
                    <a:pt x="943" y="184"/>
                  </a:lnTo>
                  <a:lnTo>
                    <a:pt x="943" y="190"/>
                  </a:lnTo>
                  <a:lnTo>
                    <a:pt x="937" y="190"/>
                  </a:lnTo>
                  <a:lnTo>
                    <a:pt x="931" y="196"/>
                  </a:lnTo>
                  <a:lnTo>
                    <a:pt x="925" y="196"/>
                  </a:lnTo>
                  <a:lnTo>
                    <a:pt x="919" y="196"/>
                  </a:lnTo>
                  <a:lnTo>
                    <a:pt x="919" y="202"/>
                  </a:lnTo>
                  <a:lnTo>
                    <a:pt x="913" y="202"/>
                  </a:lnTo>
                  <a:lnTo>
                    <a:pt x="913" y="209"/>
                  </a:lnTo>
                  <a:lnTo>
                    <a:pt x="913" y="215"/>
                  </a:lnTo>
                  <a:lnTo>
                    <a:pt x="906" y="221"/>
                  </a:lnTo>
                  <a:lnTo>
                    <a:pt x="900" y="221"/>
                  </a:lnTo>
                  <a:lnTo>
                    <a:pt x="894" y="215"/>
                  </a:lnTo>
                  <a:lnTo>
                    <a:pt x="888" y="215"/>
                  </a:lnTo>
                  <a:lnTo>
                    <a:pt x="888" y="209"/>
                  </a:lnTo>
                  <a:lnTo>
                    <a:pt x="882" y="209"/>
                  </a:lnTo>
                  <a:lnTo>
                    <a:pt x="876" y="209"/>
                  </a:lnTo>
                  <a:lnTo>
                    <a:pt x="870" y="209"/>
                  </a:lnTo>
                  <a:lnTo>
                    <a:pt x="864" y="202"/>
                  </a:lnTo>
                  <a:lnTo>
                    <a:pt x="857" y="202"/>
                  </a:lnTo>
                  <a:lnTo>
                    <a:pt x="857" y="196"/>
                  </a:lnTo>
                  <a:lnTo>
                    <a:pt x="851" y="196"/>
                  </a:lnTo>
                  <a:lnTo>
                    <a:pt x="851" y="202"/>
                  </a:lnTo>
                  <a:lnTo>
                    <a:pt x="845" y="202"/>
                  </a:lnTo>
                  <a:lnTo>
                    <a:pt x="845" y="209"/>
                  </a:lnTo>
                  <a:lnTo>
                    <a:pt x="833" y="209"/>
                  </a:lnTo>
                  <a:lnTo>
                    <a:pt x="821" y="215"/>
                  </a:lnTo>
                  <a:lnTo>
                    <a:pt x="814" y="209"/>
                  </a:lnTo>
                  <a:lnTo>
                    <a:pt x="802" y="209"/>
                  </a:lnTo>
                  <a:lnTo>
                    <a:pt x="790" y="209"/>
                  </a:lnTo>
                  <a:lnTo>
                    <a:pt x="784" y="209"/>
                  </a:lnTo>
                  <a:lnTo>
                    <a:pt x="778" y="196"/>
                  </a:lnTo>
                  <a:lnTo>
                    <a:pt x="772" y="190"/>
                  </a:lnTo>
                  <a:lnTo>
                    <a:pt x="759" y="178"/>
                  </a:lnTo>
                  <a:lnTo>
                    <a:pt x="747" y="160"/>
                  </a:lnTo>
                  <a:lnTo>
                    <a:pt x="729" y="160"/>
                  </a:lnTo>
                  <a:lnTo>
                    <a:pt x="716" y="160"/>
                  </a:lnTo>
                  <a:lnTo>
                    <a:pt x="716" y="166"/>
                  </a:lnTo>
                  <a:lnTo>
                    <a:pt x="710" y="166"/>
                  </a:lnTo>
                  <a:lnTo>
                    <a:pt x="716" y="172"/>
                  </a:lnTo>
                  <a:lnTo>
                    <a:pt x="716" y="178"/>
                  </a:lnTo>
                  <a:lnTo>
                    <a:pt x="704" y="172"/>
                  </a:lnTo>
                  <a:lnTo>
                    <a:pt x="692" y="178"/>
                  </a:lnTo>
                  <a:lnTo>
                    <a:pt x="667" y="178"/>
                  </a:lnTo>
                  <a:lnTo>
                    <a:pt x="680" y="190"/>
                  </a:lnTo>
                  <a:lnTo>
                    <a:pt x="680" y="202"/>
                  </a:lnTo>
                  <a:lnTo>
                    <a:pt x="674" y="215"/>
                  </a:lnTo>
                  <a:lnTo>
                    <a:pt x="661" y="221"/>
                  </a:lnTo>
                  <a:lnTo>
                    <a:pt x="661" y="227"/>
                  </a:lnTo>
                  <a:lnTo>
                    <a:pt x="674" y="227"/>
                  </a:lnTo>
                  <a:lnTo>
                    <a:pt x="661" y="239"/>
                  </a:lnTo>
                  <a:lnTo>
                    <a:pt x="612" y="227"/>
                  </a:lnTo>
                  <a:lnTo>
                    <a:pt x="594" y="227"/>
                  </a:lnTo>
                  <a:lnTo>
                    <a:pt x="588" y="221"/>
                  </a:lnTo>
                  <a:lnTo>
                    <a:pt x="582" y="221"/>
                  </a:lnTo>
                  <a:lnTo>
                    <a:pt x="569" y="227"/>
                  </a:lnTo>
                  <a:lnTo>
                    <a:pt x="569" y="233"/>
                  </a:lnTo>
                  <a:lnTo>
                    <a:pt x="569" y="251"/>
                  </a:lnTo>
                  <a:lnTo>
                    <a:pt x="557" y="276"/>
                  </a:lnTo>
                  <a:lnTo>
                    <a:pt x="551" y="270"/>
                  </a:lnTo>
                  <a:lnTo>
                    <a:pt x="527" y="264"/>
                  </a:lnTo>
                  <a:lnTo>
                    <a:pt x="502" y="276"/>
                  </a:lnTo>
                  <a:lnTo>
                    <a:pt x="502" y="282"/>
                  </a:lnTo>
                  <a:lnTo>
                    <a:pt x="496" y="300"/>
                  </a:lnTo>
                  <a:lnTo>
                    <a:pt x="490" y="313"/>
                  </a:lnTo>
                  <a:lnTo>
                    <a:pt x="471" y="313"/>
                  </a:lnTo>
                  <a:lnTo>
                    <a:pt x="471" y="319"/>
                  </a:lnTo>
                  <a:lnTo>
                    <a:pt x="477" y="331"/>
                  </a:lnTo>
                  <a:lnTo>
                    <a:pt x="484" y="337"/>
                  </a:lnTo>
                  <a:lnTo>
                    <a:pt x="484" y="349"/>
                  </a:lnTo>
                  <a:lnTo>
                    <a:pt x="477" y="356"/>
                  </a:lnTo>
                  <a:lnTo>
                    <a:pt x="465" y="362"/>
                  </a:lnTo>
                  <a:lnTo>
                    <a:pt x="453" y="392"/>
                  </a:lnTo>
                  <a:lnTo>
                    <a:pt x="435" y="398"/>
                  </a:lnTo>
                  <a:lnTo>
                    <a:pt x="441" y="411"/>
                  </a:lnTo>
                  <a:lnTo>
                    <a:pt x="441" y="417"/>
                  </a:lnTo>
                  <a:lnTo>
                    <a:pt x="416" y="429"/>
                  </a:lnTo>
                  <a:lnTo>
                    <a:pt x="392" y="429"/>
                  </a:lnTo>
                  <a:lnTo>
                    <a:pt x="398" y="460"/>
                  </a:lnTo>
                  <a:lnTo>
                    <a:pt x="392" y="466"/>
                  </a:lnTo>
                  <a:lnTo>
                    <a:pt x="392" y="503"/>
                  </a:lnTo>
                  <a:lnTo>
                    <a:pt x="386" y="509"/>
                  </a:lnTo>
                  <a:lnTo>
                    <a:pt x="386" y="521"/>
                  </a:lnTo>
                  <a:lnTo>
                    <a:pt x="355" y="564"/>
                  </a:lnTo>
                  <a:lnTo>
                    <a:pt x="373" y="576"/>
                  </a:lnTo>
                  <a:lnTo>
                    <a:pt x="379" y="601"/>
                  </a:lnTo>
                  <a:lnTo>
                    <a:pt x="367" y="613"/>
                  </a:lnTo>
                  <a:lnTo>
                    <a:pt x="330" y="607"/>
                  </a:lnTo>
                  <a:lnTo>
                    <a:pt x="318" y="613"/>
                  </a:lnTo>
                  <a:lnTo>
                    <a:pt x="306" y="619"/>
                  </a:lnTo>
                  <a:lnTo>
                    <a:pt x="294" y="631"/>
                  </a:lnTo>
                  <a:lnTo>
                    <a:pt x="288" y="643"/>
                  </a:lnTo>
                  <a:lnTo>
                    <a:pt x="281" y="650"/>
                  </a:lnTo>
                  <a:lnTo>
                    <a:pt x="275" y="656"/>
                  </a:lnTo>
                  <a:lnTo>
                    <a:pt x="281" y="662"/>
                  </a:lnTo>
                  <a:lnTo>
                    <a:pt x="275" y="674"/>
                  </a:lnTo>
                  <a:lnTo>
                    <a:pt x="269" y="680"/>
                  </a:lnTo>
                  <a:lnTo>
                    <a:pt x="275" y="686"/>
                  </a:lnTo>
                  <a:lnTo>
                    <a:pt x="281" y="699"/>
                  </a:lnTo>
                  <a:lnTo>
                    <a:pt x="281" y="705"/>
                  </a:lnTo>
                  <a:lnTo>
                    <a:pt x="275" y="711"/>
                  </a:lnTo>
                  <a:lnTo>
                    <a:pt x="275" y="723"/>
                  </a:lnTo>
                  <a:lnTo>
                    <a:pt x="275" y="735"/>
                  </a:lnTo>
                  <a:lnTo>
                    <a:pt x="275" y="748"/>
                  </a:lnTo>
                  <a:lnTo>
                    <a:pt x="281" y="754"/>
                  </a:lnTo>
                  <a:lnTo>
                    <a:pt x="281" y="760"/>
                  </a:lnTo>
                  <a:lnTo>
                    <a:pt x="288" y="766"/>
                  </a:lnTo>
                  <a:lnTo>
                    <a:pt x="281" y="778"/>
                  </a:lnTo>
                  <a:lnTo>
                    <a:pt x="281" y="784"/>
                  </a:lnTo>
                  <a:lnTo>
                    <a:pt x="275" y="815"/>
                  </a:lnTo>
                  <a:lnTo>
                    <a:pt x="294" y="827"/>
                  </a:lnTo>
                  <a:lnTo>
                    <a:pt x="300" y="827"/>
                  </a:lnTo>
                  <a:lnTo>
                    <a:pt x="312" y="846"/>
                  </a:lnTo>
                  <a:lnTo>
                    <a:pt x="312" y="852"/>
                  </a:lnTo>
                  <a:lnTo>
                    <a:pt x="312" y="858"/>
                  </a:lnTo>
                  <a:lnTo>
                    <a:pt x="306" y="864"/>
                  </a:lnTo>
                  <a:lnTo>
                    <a:pt x="306" y="870"/>
                  </a:lnTo>
                  <a:lnTo>
                    <a:pt x="300" y="876"/>
                  </a:lnTo>
                  <a:lnTo>
                    <a:pt x="294" y="876"/>
                  </a:lnTo>
                  <a:lnTo>
                    <a:pt x="288" y="876"/>
                  </a:lnTo>
                  <a:lnTo>
                    <a:pt x="281" y="876"/>
                  </a:lnTo>
                  <a:lnTo>
                    <a:pt x="288" y="882"/>
                  </a:lnTo>
                  <a:lnTo>
                    <a:pt x="288" y="888"/>
                  </a:lnTo>
                  <a:lnTo>
                    <a:pt x="294" y="895"/>
                  </a:lnTo>
                  <a:lnTo>
                    <a:pt x="294" y="901"/>
                  </a:lnTo>
                  <a:lnTo>
                    <a:pt x="300" y="907"/>
                  </a:lnTo>
                  <a:lnTo>
                    <a:pt x="300" y="913"/>
                  </a:lnTo>
                  <a:lnTo>
                    <a:pt x="300" y="919"/>
                  </a:lnTo>
                  <a:lnTo>
                    <a:pt x="306" y="925"/>
                  </a:lnTo>
                  <a:lnTo>
                    <a:pt x="306" y="931"/>
                  </a:lnTo>
                  <a:lnTo>
                    <a:pt x="300" y="931"/>
                  </a:lnTo>
                  <a:lnTo>
                    <a:pt x="300" y="937"/>
                  </a:lnTo>
                  <a:lnTo>
                    <a:pt x="300" y="950"/>
                  </a:lnTo>
                  <a:lnTo>
                    <a:pt x="300" y="956"/>
                  </a:lnTo>
                  <a:lnTo>
                    <a:pt x="294" y="962"/>
                  </a:lnTo>
                  <a:lnTo>
                    <a:pt x="288" y="968"/>
                  </a:lnTo>
                  <a:lnTo>
                    <a:pt x="288" y="974"/>
                  </a:lnTo>
                  <a:lnTo>
                    <a:pt x="281" y="974"/>
                  </a:lnTo>
                  <a:lnTo>
                    <a:pt x="269" y="974"/>
                  </a:lnTo>
                  <a:lnTo>
                    <a:pt x="263" y="980"/>
                  </a:lnTo>
                  <a:lnTo>
                    <a:pt x="269" y="980"/>
                  </a:lnTo>
                  <a:lnTo>
                    <a:pt x="269" y="986"/>
                  </a:lnTo>
                  <a:lnTo>
                    <a:pt x="269" y="993"/>
                  </a:lnTo>
                  <a:lnTo>
                    <a:pt x="263" y="993"/>
                  </a:lnTo>
                  <a:lnTo>
                    <a:pt x="257" y="999"/>
                  </a:lnTo>
                  <a:lnTo>
                    <a:pt x="263" y="1011"/>
                  </a:lnTo>
                  <a:lnTo>
                    <a:pt x="263" y="1023"/>
                  </a:lnTo>
                  <a:lnTo>
                    <a:pt x="263" y="1035"/>
                  </a:lnTo>
                  <a:lnTo>
                    <a:pt x="263" y="1042"/>
                  </a:lnTo>
                  <a:lnTo>
                    <a:pt x="257" y="1048"/>
                  </a:lnTo>
                  <a:lnTo>
                    <a:pt x="257" y="1060"/>
                  </a:lnTo>
                  <a:lnTo>
                    <a:pt x="251" y="1060"/>
                  </a:lnTo>
                  <a:lnTo>
                    <a:pt x="245" y="1060"/>
                  </a:lnTo>
                  <a:lnTo>
                    <a:pt x="245" y="1054"/>
                  </a:lnTo>
                  <a:lnTo>
                    <a:pt x="245" y="1048"/>
                  </a:lnTo>
                  <a:lnTo>
                    <a:pt x="239" y="1042"/>
                  </a:lnTo>
                  <a:lnTo>
                    <a:pt x="232" y="1048"/>
                  </a:lnTo>
                  <a:lnTo>
                    <a:pt x="226" y="1048"/>
                  </a:lnTo>
                  <a:lnTo>
                    <a:pt x="232" y="1048"/>
                  </a:lnTo>
                  <a:lnTo>
                    <a:pt x="232" y="1042"/>
                  </a:lnTo>
                  <a:lnTo>
                    <a:pt x="232" y="1035"/>
                  </a:lnTo>
                  <a:lnTo>
                    <a:pt x="226" y="1035"/>
                  </a:lnTo>
                  <a:lnTo>
                    <a:pt x="226" y="1042"/>
                  </a:lnTo>
                  <a:lnTo>
                    <a:pt x="226" y="1035"/>
                  </a:lnTo>
                  <a:lnTo>
                    <a:pt x="220" y="1035"/>
                  </a:lnTo>
                  <a:lnTo>
                    <a:pt x="214" y="1042"/>
                  </a:lnTo>
                  <a:lnTo>
                    <a:pt x="214" y="1035"/>
                  </a:lnTo>
                  <a:lnTo>
                    <a:pt x="208" y="1029"/>
                  </a:lnTo>
                  <a:lnTo>
                    <a:pt x="214" y="1023"/>
                  </a:lnTo>
                  <a:lnTo>
                    <a:pt x="208" y="1023"/>
                  </a:lnTo>
                  <a:lnTo>
                    <a:pt x="208" y="1017"/>
                  </a:lnTo>
                  <a:lnTo>
                    <a:pt x="202" y="1011"/>
                  </a:lnTo>
                  <a:lnTo>
                    <a:pt x="208" y="1011"/>
                  </a:lnTo>
                  <a:lnTo>
                    <a:pt x="208" y="999"/>
                  </a:lnTo>
                  <a:lnTo>
                    <a:pt x="202" y="993"/>
                  </a:lnTo>
                  <a:lnTo>
                    <a:pt x="202" y="986"/>
                  </a:lnTo>
                  <a:lnTo>
                    <a:pt x="208" y="974"/>
                  </a:lnTo>
                  <a:lnTo>
                    <a:pt x="208" y="986"/>
                  </a:lnTo>
                  <a:lnTo>
                    <a:pt x="214" y="980"/>
                  </a:lnTo>
                  <a:lnTo>
                    <a:pt x="208" y="974"/>
                  </a:lnTo>
                  <a:lnTo>
                    <a:pt x="202" y="974"/>
                  </a:lnTo>
                  <a:lnTo>
                    <a:pt x="196" y="980"/>
                  </a:lnTo>
                  <a:lnTo>
                    <a:pt x="202" y="986"/>
                  </a:lnTo>
                  <a:lnTo>
                    <a:pt x="202" y="993"/>
                  </a:lnTo>
                  <a:lnTo>
                    <a:pt x="202" y="1005"/>
                  </a:lnTo>
                  <a:lnTo>
                    <a:pt x="196" y="1005"/>
                  </a:lnTo>
                  <a:lnTo>
                    <a:pt x="183" y="1005"/>
                  </a:lnTo>
                  <a:lnTo>
                    <a:pt x="190" y="1011"/>
                  </a:lnTo>
                  <a:lnTo>
                    <a:pt x="196" y="1017"/>
                  </a:lnTo>
                  <a:lnTo>
                    <a:pt x="202" y="1023"/>
                  </a:lnTo>
                  <a:lnTo>
                    <a:pt x="196" y="1029"/>
                  </a:lnTo>
                  <a:lnTo>
                    <a:pt x="196" y="1035"/>
                  </a:lnTo>
                  <a:lnTo>
                    <a:pt x="190" y="1029"/>
                  </a:lnTo>
                  <a:lnTo>
                    <a:pt x="190" y="1042"/>
                  </a:lnTo>
                  <a:lnTo>
                    <a:pt x="183" y="1048"/>
                  </a:lnTo>
                  <a:lnTo>
                    <a:pt x="177" y="1048"/>
                  </a:lnTo>
                  <a:lnTo>
                    <a:pt x="171" y="1042"/>
                  </a:lnTo>
                  <a:lnTo>
                    <a:pt x="177" y="1054"/>
                  </a:lnTo>
                  <a:lnTo>
                    <a:pt x="165" y="1054"/>
                  </a:lnTo>
                  <a:lnTo>
                    <a:pt x="165" y="1042"/>
                  </a:lnTo>
                  <a:lnTo>
                    <a:pt x="159" y="1042"/>
                  </a:lnTo>
                  <a:lnTo>
                    <a:pt x="159" y="1048"/>
                  </a:lnTo>
                  <a:lnTo>
                    <a:pt x="159" y="1054"/>
                  </a:lnTo>
                  <a:lnTo>
                    <a:pt x="153" y="1060"/>
                  </a:lnTo>
                  <a:lnTo>
                    <a:pt x="141" y="1060"/>
                  </a:lnTo>
                  <a:lnTo>
                    <a:pt x="141" y="1066"/>
                  </a:lnTo>
                  <a:lnTo>
                    <a:pt x="147" y="1066"/>
                  </a:lnTo>
                  <a:lnTo>
                    <a:pt x="141" y="1072"/>
                  </a:lnTo>
                  <a:lnTo>
                    <a:pt x="128" y="1072"/>
                  </a:lnTo>
                  <a:lnTo>
                    <a:pt x="134" y="1072"/>
                  </a:lnTo>
                  <a:lnTo>
                    <a:pt x="134" y="1078"/>
                  </a:lnTo>
                  <a:lnTo>
                    <a:pt x="128" y="1084"/>
                  </a:lnTo>
                  <a:lnTo>
                    <a:pt x="122" y="1084"/>
                  </a:lnTo>
                  <a:lnTo>
                    <a:pt x="116" y="1091"/>
                  </a:lnTo>
                  <a:lnTo>
                    <a:pt x="116" y="1097"/>
                  </a:lnTo>
                  <a:lnTo>
                    <a:pt x="110" y="1097"/>
                  </a:lnTo>
                  <a:lnTo>
                    <a:pt x="110" y="1109"/>
                  </a:lnTo>
                  <a:lnTo>
                    <a:pt x="104" y="1109"/>
                  </a:lnTo>
                  <a:lnTo>
                    <a:pt x="98" y="1115"/>
                  </a:lnTo>
                  <a:lnTo>
                    <a:pt x="91" y="1115"/>
                  </a:lnTo>
                  <a:lnTo>
                    <a:pt x="91" y="1121"/>
                  </a:lnTo>
                  <a:lnTo>
                    <a:pt x="85" y="1127"/>
                  </a:lnTo>
                  <a:lnTo>
                    <a:pt x="79" y="1121"/>
                  </a:lnTo>
                  <a:lnTo>
                    <a:pt x="79" y="1115"/>
                  </a:lnTo>
                  <a:lnTo>
                    <a:pt x="79" y="1121"/>
                  </a:lnTo>
                  <a:lnTo>
                    <a:pt x="79" y="1127"/>
                  </a:lnTo>
                  <a:lnTo>
                    <a:pt x="67" y="1127"/>
                  </a:lnTo>
                  <a:lnTo>
                    <a:pt x="61" y="1133"/>
                  </a:lnTo>
                  <a:lnTo>
                    <a:pt x="61" y="1127"/>
                  </a:lnTo>
                  <a:lnTo>
                    <a:pt x="61" y="1133"/>
                  </a:lnTo>
                  <a:lnTo>
                    <a:pt x="55" y="1133"/>
                  </a:lnTo>
                  <a:lnTo>
                    <a:pt x="49" y="1133"/>
                  </a:lnTo>
                  <a:lnTo>
                    <a:pt x="42" y="1133"/>
                  </a:lnTo>
                  <a:lnTo>
                    <a:pt x="36" y="1133"/>
                  </a:lnTo>
                  <a:lnTo>
                    <a:pt x="30" y="1140"/>
                  </a:lnTo>
                  <a:lnTo>
                    <a:pt x="30" y="1133"/>
                  </a:lnTo>
                  <a:lnTo>
                    <a:pt x="36" y="1127"/>
                  </a:lnTo>
                  <a:lnTo>
                    <a:pt x="30" y="1127"/>
                  </a:lnTo>
                  <a:lnTo>
                    <a:pt x="30" y="1133"/>
                  </a:lnTo>
                  <a:lnTo>
                    <a:pt x="30" y="1127"/>
                  </a:lnTo>
                  <a:lnTo>
                    <a:pt x="24" y="1133"/>
                  </a:lnTo>
                  <a:lnTo>
                    <a:pt x="24" y="1127"/>
                  </a:lnTo>
                  <a:lnTo>
                    <a:pt x="30" y="1121"/>
                  </a:lnTo>
                  <a:lnTo>
                    <a:pt x="24" y="1121"/>
                  </a:lnTo>
                  <a:lnTo>
                    <a:pt x="18" y="1121"/>
                  </a:lnTo>
                  <a:lnTo>
                    <a:pt x="24" y="1127"/>
                  </a:lnTo>
                  <a:lnTo>
                    <a:pt x="18" y="1127"/>
                  </a:lnTo>
                  <a:lnTo>
                    <a:pt x="12" y="1127"/>
                  </a:lnTo>
                  <a:lnTo>
                    <a:pt x="6" y="1127"/>
                  </a:lnTo>
                  <a:lnTo>
                    <a:pt x="12" y="1121"/>
                  </a:lnTo>
                  <a:lnTo>
                    <a:pt x="18" y="1115"/>
                  </a:lnTo>
                  <a:lnTo>
                    <a:pt x="12" y="1115"/>
                  </a:lnTo>
                  <a:lnTo>
                    <a:pt x="12" y="1109"/>
                  </a:lnTo>
                  <a:lnTo>
                    <a:pt x="12" y="1115"/>
                  </a:lnTo>
                  <a:lnTo>
                    <a:pt x="6" y="1115"/>
                  </a:lnTo>
                  <a:lnTo>
                    <a:pt x="0" y="1115"/>
                  </a:lnTo>
                  <a:lnTo>
                    <a:pt x="0" y="1109"/>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2" name="Freeform 153"/>
            <p:cNvSpPr>
              <a:spLocks/>
            </p:cNvSpPr>
            <p:nvPr/>
          </p:nvSpPr>
          <p:spPr bwMode="auto">
            <a:xfrm>
              <a:off x="4121168" y="1989947"/>
              <a:ext cx="900545" cy="402379"/>
            </a:xfrm>
            <a:custGeom>
              <a:avLst/>
              <a:gdLst>
                <a:gd name="T0" fmla="*/ 231854241 w 557"/>
                <a:gd name="T1" fmla="*/ 693044447 h 275"/>
                <a:gd name="T2" fmla="*/ 231854241 w 557"/>
                <a:gd name="T3" fmla="*/ 662802551 h 275"/>
                <a:gd name="T4" fmla="*/ 231854241 w 557"/>
                <a:gd name="T5" fmla="*/ 632560655 h 275"/>
                <a:gd name="T6" fmla="*/ 246975164 w 557"/>
                <a:gd name="T7" fmla="*/ 617439707 h 275"/>
                <a:gd name="T8" fmla="*/ 246975164 w 557"/>
                <a:gd name="T9" fmla="*/ 584676859 h 275"/>
                <a:gd name="T10" fmla="*/ 231854241 w 557"/>
                <a:gd name="T11" fmla="*/ 584676859 h 275"/>
                <a:gd name="T12" fmla="*/ 292337931 w 557"/>
                <a:gd name="T13" fmla="*/ 584676859 h 275"/>
                <a:gd name="T14" fmla="*/ 385582825 w 557"/>
                <a:gd name="T15" fmla="*/ 539314014 h 275"/>
                <a:gd name="T16" fmla="*/ 322579775 w 557"/>
                <a:gd name="T17" fmla="*/ 539314014 h 275"/>
                <a:gd name="T18" fmla="*/ 199091400 w 557"/>
                <a:gd name="T19" fmla="*/ 524193066 h 275"/>
                <a:gd name="T20" fmla="*/ 168849555 w 557"/>
                <a:gd name="T21" fmla="*/ 569555910 h 275"/>
                <a:gd name="T22" fmla="*/ 108365866 w 557"/>
                <a:gd name="T23" fmla="*/ 554434962 h 275"/>
                <a:gd name="T24" fmla="*/ 90725559 w 557"/>
                <a:gd name="T25" fmla="*/ 539314014 h 275"/>
                <a:gd name="T26" fmla="*/ 90725559 w 557"/>
                <a:gd name="T27" fmla="*/ 509072118 h 275"/>
                <a:gd name="T28" fmla="*/ 45362779 w 557"/>
                <a:gd name="T29" fmla="*/ 509072118 h 275"/>
                <a:gd name="T30" fmla="*/ 45362779 w 557"/>
                <a:gd name="T31" fmla="*/ 509072118 h 275"/>
                <a:gd name="T32" fmla="*/ 0 w 557"/>
                <a:gd name="T33" fmla="*/ 476310858 h 275"/>
                <a:gd name="T34" fmla="*/ 60483714 w 557"/>
                <a:gd name="T35" fmla="*/ 476310858 h 275"/>
                <a:gd name="T36" fmla="*/ 75604636 w 557"/>
                <a:gd name="T37" fmla="*/ 430948013 h 275"/>
                <a:gd name="T38" fmla="*/ 123486788 w 557"/>
                <a:gd name="T39" fmla="*/ 476310858 h 275"/>
                <a:gd name="T40" fmla="*/ 153728633 w 557"/>
                <a:gd name="T41" fmla="*/ 400706018 h 275"/>
                <a:gd name="T42" fmla="*/ 153728633 w 557"/>
                <a:gd name="T43" fmla="*/ 430948013 h 275"/>
                <a:gd name="T44" fmla="*/ 183970477 w 557"/>
                <a:gd name="T45" fmla="*/ 509072118 h 275"/>
                <a:gd name="T46" fmla="*/ 231854241 w 557"/>
                <a:gd name="T47" fmla="*/ 446068961 h 275"/>
                <a:gd name="T48" fmla="*/ 322579775 w 557"/>
                <a:gd name="T49" fmla="*/ 493951170 h 275"/>
                <a:gd name="T50" fmla="*/ 355340980 w 557"/>
                <a:gd name="T51" fmla="*/ 476310858 h 275"/>
                <a:gd name="T52" fmla="*/ 385582825 w 557"/>
                <a:gd name="T53" fmla="*/ 446068961 h 275"/>
                <a:gd name="T54" fmla="*/ 430945691 w 557"/>
                <a:gd name="T55" fmla="*/ 400706018 h 275"/>
                <a:gd name="T56" fmla="*/ 463708483 w 557"/>
                <a:gd name="T57" fmla="*/ 370464122 h 275"/>
                <a:gd name="T58" fmla="*/ 539313095 w 557"/>
                <a:gd name="T59" fmla="*/ 370464122 h 275"/>
                <a:gd name="T60" fmla="*/ 524192172 w 557"/>
                <a:gd name="T61" fmla="*/ 307459377 h 275"/>
                <a:gd name="T62" fmla="*/ 602316144 w 557"/>
                <a:gd name="T63" fmla="*/ 385585070 h 275"/>
                <a:gd name="T64" fmla="*/ 569554939 w 557"/>
                <a:gd name="T65" fmla="*/ 337701274 h 275"/>
                <a:gd name="T66" fmla="*/ 617437066 w 557"/>
                <a:gd name="T67" fmla="*/ 262096533 h 275"/>
                <a:gd name="T68" fmla="*/ 647678911 w 557"/>
                <a:gd name="T69" fmla="*/ 307459377 h 275"/>
                <a:gd name="T70" fmla="*/ 662799833 w 557"/>
                <a:gd name="T71" fmla="*/ 262096533 h 275"/>
                <a:gd name="T72" fmla="*/ 710683548 w 557"/>
                <a:gd name="T73" fmla="*/ 262096533 h 275"/>
                <a:gd name="T74" fmla="*/ 693041678 w 557"/>
                <a:gd name="T75" fmla="*/ 352822222 h 275"/>
                <a:gd name="T76" fmla="*/ 771167237 w 557"/>
                <a:gd name="T77" fmla="*/ 307459377 h 275"/>
                <a:gd name="T78" fmla="*/ 786288159 w 557"/>
                <a:gd name="T79" fmla="*/ 229335273 h 275"/>
                <a:gd name="T80" fmla="*/ 816530004 w 557"/>
                <a:gd name="T81" fmla="*/ 246975585 h 275"/>
                <a:gd name="T82" fmla="*/ 894654174 w 557"/>
                <a:gd name="T83" fmla="*/ 246975585 h 275"/>
                <a:gd name="T84" fmla="*/ 894654174 w 557"/>
                <a:gd name="T85" fmla="*/ 199093327 h 275"/>
                <a:gd name="T86" fmla="*/ 864412329 w 557"/>
                <a:gd name="T87" fmla="*/ 199093327 h 275"/>
                <a:gd name="T88" fmla="*/ 879533252 w 557"/>
                <a:gd name="T89" fmla="*/ 138609534 h 275"/>
                <a:gd name="T90" fmla="*/ 940016941 w 557"/>
                <a:gd name="T91" fmla="*/ 153730482 h 275"/>
                <a:gd name="T92" fmla="*/ 972779733 w 557"/>
                <a:gd name="T93" fmla="*/ 153730482 h 275"/>
                <a:gd name="T94" fmla="*/ 987900655 w 557"/>
                <a:gd name="T95" fmla="*/ 199093327 h 275"/>
                <a:gd name="T96" fmla="*/ 1048384345 w 557"/>
                <a:gd name="T97" fmla="*/ 214214324 h 275"/>
                <a:gd name="T98" fmla="*/ 1063505267 w 557"/>
                <a:gd name="T99" fmla="*/ 199093327 h 275"/>
                <a:gd name="T100" fmla="*/ 1096266471 w 557"/>
                <a:gd name="T101" fmla="*/ 168851431 h 275"/>
                <a:gd name="T102" fmla="*/ 1126508316 w 557"/>
                <a:gd name="T103" fmla="*/ 138609534 h 275"/>
                <a:gd name="T104" fmla="*/ 1204632288 w 557"/>
                <a:gd name="T105" fmla="*/ 105846686 h 275"/>
                <a:gd name="T106" fmla="*/ 1234874132 w 557"/>
                <a:gd name="T107" fmla="*/ 45362857 h 275"/>
                <a:gd name="T108" fmla="*/ 1249995055 w 557"/>
                <a:gd name="T109" fmla="*/ 30241909 h 275"/>
                <a:gd name="T110" fmla="*/ 1265115977 w 557"/>
                <a:gd name="T111" fmla="*/ 15120954 h 275"/>
                <a:gd name="T112" fmla="*/ 1295359409 w 557"/>
                <a:gd name="T113" fmla="*/ 15120954 h 275"/>
                <a:gd name="T114" fmla="*/ 1343241536 w 557"/>
                <a:gd name="T115" fmla="*/ 30241909 h 275"/>
                <a:gd name="T116" fmla="*/ 1373483381 w 557"/>
                <a:gd name="T117" fmla="*/ 45362857 h 2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7"/>
                <a:gd name="T178" fmla="*/ 0 h 275"/>
                <a:gd name="T179" fmla="*/ 557 w 557"/>
                <a:gd name="T180" fmla="*/ 275 h 2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7" h="275">
                  <a:moveTo>
                    <a:pt x="79" y="232"/>
                  </a:moveTo>
                  <a:lnTo>
                    <a:pt x="79" y="238"/>
                  </a:lnTo>
                  <a:lnTo>
                    <a:pt x="79" y="245"/>
                  </a:lnTo>
                  <a:lnTo>
                    <a:pt x="79" y="251"/>
                  </a:lnTo>
                  <a:lnTo>
                    <a:pt x="73" y="251"/>
                  </a:lnTo>
                  <a:lnTo>
                    <a:pt x="85" y="257"/>
                  </a:lnTo>
                  <a:lnTo>
                    <a:pt x="85" y="263"/>
                  </a:lnTo>
                  <a:lnTo>
                    <a:pt x="85" y="269"/>
                  </a:lnTo>
                  <a:lnTo>
                    <a:pt x="92" y="269"/>
                  </a:lnTo>
                  <a:lnTo>
                    <a:pt x="92" y="275"/>
                  </a:lnTo>
                  <a:lnTo>
                    <a:pt x="98" y="275"/>
                  </a:lnTo>
                  <a:lnTo>
                    <a:pt x="98" y="269"/>
                  </a:lnTo>
                  <a:lnTo>
                    <a:pt x="92" y="269"/>
                  </a:lnTo>
                  <a:lnTo>
                    <a:pt x="92" y="263"/>
                  </a:lnTo>
                  <a:lnTo>
                    <a:pt x="85" y="263"/>
                  </a:lnTo>
                  <a:lnTo>
                    <a:pt x="92" y="263"/>
                  </a:lnTo>
                  <a:lnTo>
                    <a:pt x="92" y="257"/>
                  </a:lnTo>
                  <a:lnTo>
                    <a:pt x="85" y="257"/>
                  </a:lnTo>
                  <a:lnTo>
                    <a:pt x="92" y="257"/>
                  </a:lnTo>
                  <a:lnTo>
                    <a:pt x="92" y="263"/>
                  </a:lnTo>
                  <a:lnTo>
                    <a:pt x="98" y="263"/>
                  </a:lnTo>
                  <a:lnTo>
                    <a:pt x="92" y="257"/>
                  </a:lnTo>
                  <a:lnTo>
                    <a:pt x="98" y="257"/>
                  </a:lnTo>
                  <a:lnTo>
                    <a:pt x="98" y="263"/>
                  </a:lnTo>
                  <a:lnTo>
                    <a:pt x="104" y="257"/>
                  </a:lnTo>
                  <a:lnTo>
                    <a:pt x="98" y="257"/>
                  </a:lnTo>
                  <a:lnTo>
                    <a:pt x="98" y="251"/>
                  </a:lnTo>
                  <a:lnTo>
                    <a:pt x="98" y="257"/>
                  </a:lnTo>
                  <a:lnTo>
                    <a:pt x="92" y="257"/>
                  </a:lnTo>
                  <a:lnTo>
                    <a:pt x="92" y="251"/>
                  </a:lnTo>
                  <a:lnTo>
                    <a:pt x="98" y="251"/>
                  </a:lnTo>
                  <a:lnTo>
                    <a:pt x="98" y="245"/>
                  </a:lnTo>
                  <a:lnTo>
                    <a:pt x="104" y="251"/>
                  </a:lnTo>
                  <a:lnTo>
                    <a:pt x="110" y="251"/>
                  </a:lnTo>
                  <a:lnTo>
                    <a:pt x="104" y="251"/>
                  </a:lnTo>
                  <a:lnTo>
                    <a:pt x="104" y="245"/>
                  </a:lnTo>
                  <a:lnTo>
                    <a:pt x="98" y="245"/>
                  </a:lnTo>
                  <a:lnTo>
                    <a:pt x="92" y="251"/>
                  </a:lnTo>
                  <a:lnTo>
                    <a:pt x="92" y="245"/>
                  </a:lnTo>
                  <a:lnTo>
                    <a:pt x="98" y="245"/>
                  </a:lnTo>
                  <a:lnTo>
                    <a:pt x="104" y="245"/>
                  </a:lnTo>
                  <a:lnTo>
                    <a:pt x="98" y="238"/>
                  </a:lnTo>
                  <a:lnTo>
                    <a:pt x="92" y="238"/>
                  </a:lnTo>
                  <a:lnTo>
                    <a:pt x="85" y="238"/>
                  </a:lnTo>
                  <a:lnTo>
                    <a:pt x="92" y="232"/>
                  </a:lnTo>
                  <a:lnTo>
                    <a:pt x="85" y="232"/>
                  </a:lnTo>
                  <a:lnTo>
                    <a:pt x="79" y="232"/>
                  </a:lnTo>
                  <a:lnTo>
                    <a:pt x="85" y="232"/>
                  </a:lnTo>
                  <a:lnTo>
                    <a:pt x="92" y="232"/>
                  </a:lnTo>
                  <a:lnTo>
                    <a:pt x="98" y="232"/>
                  </a:lnTo>
                  <a:lnTo>
                    <a:pt x="104" y="232"/>
                  </a:lnTo>
                  <a:lnTo>
                    <a:pt x="104" y="238"/>
                  </a:lnTo>
                  <a:lnTo>
                    <a:pt x="110" y="245"/>
                  </a:lnTo>
                  <a:lnTo>
                    <a:pt x="116" y="245"/>
                  </a:lnTo>
                  <a:lnTo>
                    <a:pt x="116" y="238"/>
                  </a:lnTo>
                  <a:lnTo>
                    <a:pt x="110" y="238"/>
                  </a:lnTo>
                  <a:lnTo>
                    <a:pt x="104" y="238"/>
                  </a:lnTo>
                  <a:lnTo>
                    <a:pt x="104" y="232"/>
                  </a:lnTo>
                  <a:lnTo>
                    <a:pt x="98" y="232"/>
                  </a:lnTo>
                  <a:lnTo>
                    <a:pt x="92" y="232"/>
                  </a:lnTo>
                  <a:lnTo>
                    <a:pt x="92" y="226"/>
                  </a:lnTo>
                  <a:lnTo>
                    <a:pt x="85" y="226"/>
                  </a:lnTo>
                  <a:lnTo>
                    <a:pt x="92" y="226"/>
                  </a:lnTo>
                  <a:lnTo>
                    <a:pt x="98" y="226"/>
                  </a:lnTo>
                  <a:lnTo>
                    <a:pt x="98" y="220"/>
                  </a:lnTo>
                  <a:lnTo>
                    <a:pt x="104" y="220"/>
                  </a:lnTo>
                  <a:lnTo>
                    <a:pt x="110" y="220"/>
                  </a:lnTo>
                  <a:lnTo>
                    <a:pt x="116" y="220"/>
                  </a:lnTo>
                  <a:lnTo>
                    <a:pt x="116" y="226"/>
                  </a:lnTo>
                  <a:lnTo>
                    <a:pt x="116" y="232"/>
                  </a:lnTo>
                  <a:lnTo>
                    <a:pt x="122" y="226"/>
                  </a:lnTo>
                  <a:lnTo>
                    <a:pt x="128" y="226"/>
                  </a:lnTo>
                  <a:lnTo>
                    <a:pt x="128" y="220"/>
                  </a:lnTo>
                  <a:lnTo>
                    <a:pt x="135" y="226"/>
                  </a:lnTo>
                  <a:lnTo>
                    <a:pt x="141" y="220"/>
                  </a:lnTo>
                  <a:lnTo>
                    <a:pt x="147" y="220"/>
                  </a:lnTo>
                  <a:lnTo>
                    <a:pt x="153" y="220"/>
                  </a:lnTo>
                  <a:lnTo>
                    <a:pt x="159" y="220"/>
                  </a:lnTo>
                  <a:lnTo>
                    <a:pt x="153" y="220"/>
                  </a:lnTo>
                  <a:lnTo>
                    <a:pt x="153" y="214"/>
                  </a:lnTo>
                  <a:lnTo>
                    <a:pt x="147" y="220"/>
                  </a:lnTo>
                  <a:lnTo>
                    <a:pt x="147" y="214"/>
                  </a:lnTo>
                  <a:lnTo>
                    <a:pt x="153" y="214"/>
                  </a:lnTo>
                  <a:lnTo>
                    <a:pt x="147" y="214"/>
                  </a:lnTo>
                  <a:lnTo>
                    <a:pt x="141" y="214"/>
                  </a:lnTo>
                  <a:lnTo>
                    <a:pt x="135" y="214"/>
                  </a:lnTo>
                  <a:lnTo>
                    <a:pt x="128" y="220"/>
                  </a:lnTo>
                  <a:lnTo>
                    <a:pt x="122" y="220"/>
                  </a:lnTo>
                  <a:lnTo>
                    <a:pt x="122" y="214"/>
                  </a:lnTo>
                  <a:lnTo>
                    <a:pt x="128" y="214"/>
                  </a:lnTo>
                  <a:lnTo>
                    <a:pt x="122" y="214"/>
                  </a:lnTo>
                  <a:lnTo>
                    <a:pt x="116" y="220"/>
                  </a:lnTo>
                  <a:lnTo>
                    <a:pt x="110" y="220"/>
                  </a:lnTo>
                  <a:lnTo>
                    <a:pt x="104" y="220"/>
                  </a:lnTo>
                  <a:lnTo>
                    <a:pt x="98" y="220"/>
                  </a:lnTo>
                  <a:lnTo>
                    <a:pt x="98" y="214"/>
                  </a:lnTo>
                  <a:lnTo>
                    <a:pt x="98" y="208"/>
                  </a:lnTo>
                  <a:lnTo>
                    <a:pt x="92" y="208"/>
                  </a:lnTo>
                  <a:lnTo>
                    <a:pt x="85" y="208"/>
                  </a:lnTo>
                  <a:lnTo>
                    <a:pt x="79" y="208"/>
                  </a:lnTo>
                  <a:lnTo>
                    <a:pt x="79" y="214"/>
                  </a:lnTo>
                  <a:lnTo>
                    <a:pt x="73" y="220"/>
                  </a:lnTo>
                  <a:lnTo>
                    <a:pt x="73" y="226"/>
                  </a:lnTo>
                  <a:lnTo>
                    <a:pt x="67" y="226"/>
                  </a:lnTo>
                  <a:lnTo>
                    <a:pt x="67" y="220"/>
                  </a:lnTo>
                  <a:lnTo>
                    <a:pt x="67" y="214"/>
                  </a:lnTo>
                  <a:lnTo>
                    <a:pt x="67" y="220"/>
                  </a:lnTo>
                  <a:lnTo>
                    <a:pt x="61" y="220"/>
                  </a:lnTo>
                  <a:lnTo>
                    <a:pt x="67" y="220"/>
                  </a:lnTo>
                  <a:lnTo>
                    <a:pt x="67" y="226"/>
                  </a:lnTo>
                  <a:lnTo>
                    <a:pt x="61" y="226"/>
                  </a:lnTo>
                  <a:lnTo>
                    <a:pt x="55" y="232"/>
                  </a:lnTo>
                  <a:lnTo>
                    <a:pt x="55" y="226"/>
                  </a:lnTo>
                  <a:lnTo>
                    <a:pt x="49" y="226"/>
                  </a:lnTo>
                  <a:lnTo>
                    <a:pt x="43" y="226"/>
                  </a:lnTo>
                  <a:lnTo>
                    <a:pt x="49" y="220"/>
                  </a:lnTo>
                  <a:lnTo>
                    <a:pt x="55" y="214"/>
                  </a:lnTo>
                  <a:lnTo>
                    <a:pt x="49" y="214"/>
                  </a:lnTo>
                  <a:lnTo>
                    <a:pt x="49" y="220"/>
                  </a:lnTo>
                  <a:lnTo>
                    <a:pt x="43" y="220"/>
                  </a:lnTo>
                  <a:lnTo>
                    <a:pt x="43" y="226"/>
                  </a:lnTo>
                  <a:lnTo>
                    <a:pt x="36" y="226"/>
                  </a:lnTo>
                  <a:lnTo>
                    <a:pt x="36" y="232"/>
                  </a:lnTo>
                  <a:lnTo>
                    <a:pt x="30" y="232"/>
                  </a:lnTo>
                  <a:lnTo>
                    <a:pt x="24" y="232"/>
                  </a:lnTo>
                  <a:lnTo>
                    <a:pt x="30" y="226"/>
                  </a:lnTo>
                  <a:lnTo>
                    <a:pt x="36" y="220"/>
                  </a:lnTo>
                  <a:lnTo>
                    <a:pt x="43" y="220"/>
                  </a:lnTo>
                  <a:lnTo>
                    <a:pt x="43" y="214"/>
                  </a:lnTo>
                  <a:lnTo>
                    <a:pt x="36" y="214"/>
                  </a:lnTo>
                  <a:lnTo>
                    <a:pt x="43" y="214"/>
                  </a:lnTo>
                  <a:lnTo>
                    <a:pt x="36" y="214"/>
                  </a:lnTo>
                  <a:lnTo>
                    <a:pt x="36" y="208"/>
                  </a:lnTo>
                  <a:lnTo>
                    <a:pt x="43" y="208"/>
                  </a:lnTo>
                  <a:lnTo>
                    <a:pt x="49" y="202"/>
                  </a:lnTo>
                  <a:lnTo>
                    <a:pt x="55" y="202"/>
                  </a:lnTo>
                  <a:lnTo>
                    <a:pt x="49" y="202"/>
                  </a:lnTo>
                  <a:lnTo>
                    <a:pt x="49" y="196"/>
                  </a:lnTo>
                  <a:lnTo>
                    <a:pt x="43" y="202"/>
                  </a:lnTo>
                  <a:lnTo>
                    <a:pt x="36" y="202"/>
                  </a:lnTo>
                  <a:lnTo>
                    <a:pt x="36" y="208"/>
                  </a:lnTo>
                  <a:lnTo>
                    <a:pt x="30" y="208"/>
                  </a:lnTo>
                  <a:lnTo>
                    <a:pt x="24" y="208"/>
                  </a:lnTo>
                  <a:lnTo>
                    <a:pt x="24" y="214"/>
                  </a:lnTo>
                  <a:lnTo>
                    <a:pt x="18" y="214"/>
                  </a:lnTo>
                  <a:lnTo>
                    <a:pt x="12" y="214"/>
                  </a:lnTo>
                  <a:lnTo>
                    <a:pt x="6" y="208"/>
                  </a:lnTo>
                  <a:lnTo>
                    <a:pt x="12" y="208"/>
                  </a:lnTo>
                  <a:lnTo>
                    <a:pt x="18" y="208"/>
                  </a:lnTo>
                  <a:lnTo>
                    <a:pt x="18" y="202"/>
                  </a:lnTo>
                  <a:lnTo>
                    <a:pt x="24" y="202"/>
                  </a:lnTo>
                  <a:lnTo>
                    <a:pt x="30" y="196"/>
                  </a:lnTo>
                  <a:lnTo>
                    <a:pt x="36" y="196"/>
                  </a:lnTo>
                  <a:lnTo>
                    <a:pt x="36" y="189"/>
                  </a:lnTo>
                  <a:lnTo>
                    <a:pt x="30" y="189"/>
                  </a:lnTo>
                  <a:lnTo>
                    <a:pt x="30" y="196"/>
                  </a:lnTo>
                  <a:lnTo>
                    <a:pt x="24" y="196"/>
                  </a:lnTo>
                  <a:lnTo>
                    <a:pt x="18" y="202"/>
                  </a:lnTo>
                  <a:lnTo>
                    <a:pt x="18" y="196"/>
                  </a:lnTo>
                  <a:lnTo>
                    <a:pt x="18" y="202"/>
                  </a:lnTo>
                  <a:lnTo>
                    <a:pt x="12" y="202"/>
                  </a:lnTo>
                  <a:lnTo>
                    <a:pt x="12" y="196"/>
                  </a:lnTo>
                  <a:lnTo>
                    <a:pt x="12" y="202"/>
                  </a:lnTo>
                  <a:lnTo>
                    <a:pt x="6" y="202"/>
                  </a:lnTo>
                  <a:lnTo>
                    <a:pt x="0" y="208"/>
                  </a:lnTo>
                  <a:lnTo>
                    <a:pt x="0" y="202"/>
                  </a:lnTo>
                  <a:lnTo>
                    <a:pt x="0" y="196"/>
                  </a:lnTo>
                  <a:lnTo>
                    <a:pt x="6" y="196"/>
                  </a:lnTo>
                  <a:lnTo>
                    <a:pt x="0" y="196"/>
                  </a:lnTo>
                  <a:lnTo>
                    <a:pt x="0" y="189"/>
                  </a:lnTo>
                  <a:lnTo>
                    <a:pt x="6" y="189"/>
                  </a:lnTo>
                  <a:lnTo>
                    <a:pt x="6" y="196"/>
                  </a:lnTo>
                  <a:lnTo>
                    <a:pt x="6" y="189"/>
                  </a:lnTo>
                  <a:lnTo>
                    <a:pt x="12" y="189"/>
                  </a:lnTo>
                  <a:lnTo>
                    <a:pt x="6" y="189"/>
                  </a:lnTo>
                  <a:lnTo>
                    <a:pt x="12" y="189"/>
                  </a:lnTo>
                  <a:lnTo>
                    <a:pt x="12" y="183"/>
                  </a:lnTo>
                  <a:lnTo>
                    <a:pt x="12" y="189"/>
                  </a:lnTo>
                  <a:lnTo>
                    <a:pt x="18" y="189"/>
                  </a:lnTo>
                  <a:lnTo>
                    <a:pt x="24" y="189"/>
                  </a:lnTo>
                  <a:lnTo>
                    <a:pt x="24" y="183"/>
                  </a:lnTo>
                  <a:lnTo>
                    <a:pt x="30" y="183"/>
                  </a:lnTo>
                  <a:lnTo>
                    <a:pt x="24" y="189"/>
                  </a:lnTo>
                  <a:lnTo>
                    <a:pt x="30" y="183"/>
                  </a:lnTo>
                  <a:lnTo>
                    <a:pt x="30" y="189"/>
                  </a:lnTo>
                  <a:lnTo>
                    <a:pt x="36" y="189"/>
                  </a:lnTo>
                  <a:lnTo>
                    <a:pt x="36" y="183"/>
                  </a:lnTo>
                  <a:lnTo>
                    <a:pt x="30" y="183"/>
                  </a:lnTo>
                  <a:lnTo>
                    <a:pt x="30" y="177"/>
                  </a:lnTo>
                  <a:lnTo>
                    <a:pt x="30" y="171"/>
                  </a:lnTo>
                  <a:lnTo>
                    <a:pt x="36" y="171"/>
                  </a:lnTo>
                  <a:lnTo>
                    <a:pt x="36" y="177"/>
                  </a:lnTo>
                  <a:lnTo>
                    <a:pt x="43" y="177"/>
                  </a:lnTo>
                  <a:lnTo>
                    <a:pt x="43" y="183"/>
                  </a:lnTo>
                  <a:lnTo>
                    <a:pt x="36" y="183"/>
                  </a:lnTo>
                  <a:lnTo>
                    <a:pt x="43" y="183"/>
                  </a:lnTo>
                  <a:lnTo>
                    <a:pt x="43" y="189"/>
                  </a:lnTo>
                  <a:lnTo>
                    <a:pt x="43" y="196"/>
                  </a:lnTo>
                  <a:lnTo>
                    <a:pt x="49" y="196"/>
                  </a:lnTo>
                  <a:lnTo>
                    <a:pt x="49" y="189"/>
                  </a:lnTo>
                  <a:lnTo>
                    <a:pt x="55" y="183"/>
                  </a:lnTo>
                  <a:lnTo>
                    <a:pt x="61" y="189"/>
                  </a:lnTo>
                  <a:lnTo>
                    <a:pt x="61" y="183"/>
                  </a:lnTo>
                  <a:lnTo>
                    <a:pt x="55" y="183"/>
                  </a:lnTo>
                  <a:lnTo>
                    <a:pt x="55" y="177"/>
                  </a:lnTo>
                  <a:lnTo>
                    <a:pt x="61" y="177"/>
                  </a:lnTo>
                  <a:lnTo>
                    <a:pt x="55" y="171"/>
                  </a:lnTo>
                  <a:lnTo>
                    <a:pt x="55" y="165"/>
                  </a:lnTo>
                  <a:lnTo>
                    <a:pt x="55" y="159"/>
                  </a:lnTo>
                  <a:lnTo>
                    <a:pt x="61" y="159"/>
                  </a:lnTo>
                  <a:lnTo>
                    <a:pt x="67" y="159"/>
                  </a:lnTo>
                  <a:lnTo>
                    <a:pt x="67" y="153"/>
                  </a:lnTo>
                  <a:lnTo>
                    <a:pt x="79" y="147"/>
                  </a:lnTo>
                  <a:lnTo>
                    <a:pt x="85" y="147"/>
                  </a:lnTo>
                  <a:lnTo>
                    <a:pt x="79" y="153"/>
                  </a:lnTo>
                  <a:lnTo>
                    <a:pt x="79" y="159"/>
                  </a:lnTo>
                  <a:lnTo>
                    <a:pt x="73" y="165"/>
                  </a:lnTo>
                  <a:lnTo>
                    <a:pt x="67" y="165"/>
                  </a:lnTo>
                  <a:lnTo>
                    <a:pt x="67" y="171"/>
                  </a:lnTo>
                  <a:lnTo>
                    <a:pt x="61" y="171"/>
                  </a:lnTo>
                  <a:lnTo>
                    <a:pt x="61" y="177"/>
                  </a:lnTo>
                  <a:lnTo>
                    <a:pt x="67" y="171"/>
                  </a:lnTo>
                  <a:lnTo>
                    <a:pt x="67" y="177"/>
                  </a:lnTo>
                  <a:lnTo>
                    <a:pt x="73" y="177"/>
                  </a:lnTo>
                  <a:lnTo>
                    <a:pt x="73" y="183"/>
                  </a:lnTo>
                  <a:lnTo>
                    <a:pt x="73" y="189"/>
                  </a:lnTo>
                  <a:lnTo>
                    <a:pt x="67" y="189"/>
                  </a:lnTo>
                  <a:lnTo>
                    <a:pt x="73" y="189"/>
                  </a:lnTo>
                  <a:lnTo>
                    <a:pt x="73" y="196"/>
                  </a:lnTo>
                  <a:lnTo>
                    <a:pt x="73" y="202"/>
                  </a:lnTo>
                  <a:lnTo>
                    <a:pt x="73" y="196"/>
                  </a:lnTo>
                  <a:lnTo>
                    <a:pt x="79" y="196"/>
                  </a:lnTo>
                  <a:lnTo>
                    <a:pt x="85" y="196"/>
                  </a:lnTo>
                  <a:lnTo>
                    <a:pt x="85" y="189"/>
                  </a:lnTo>
                  <a:lnTo>
                    <a:pt x="79" y="189"/>
                  </a:lnTo>
                  <a:lnTo>
                    <a:pt x="79" y="183"/>
                  </a:lnTo>
                  <a:lnTo>
                    <a:pt x="85" y="183"/>
                  </a:lnTo>
                  <a:lnTo>
                    <a:pt x="92" y="183"/>
                  </a:lnTo>
                  <a:lnTo>
                    <a:pt x="85" y="177"/>
                  </a:lnTo>
                  <a:lnTo>
                    <a:pt x="92" y="177"/>
                  </a:lnTo>
                  <a:lnTo>
                    <a:pt x="92" y="183"/>
                  </a:lnTo>
                  <a:lnTo>
                    <a:pt x="98" y="183"/>
                  </a:lnTo>
                  <a:lnTo>
                    <a:pt x="104" y="183"/>
                  </a:lnTo>
                  <a:lnTo>
                    <a:pt x="104" y="189"/>
                  </a:lnTo>
                  <a:lnTo>
                    <a:pt x="104" y="196"/>
                  </a:lnTo>
                  <a:lnTo>
                    <a:pt x="104" y="202"/>
                  </a:lnTo>
                  <a:lnTo>
                    <a:pt x="110" y="202"/>
                  </a:lnTo>
                  <a:lnTo>
                    <a:pt x="116" y="196"/>
                  </a:lnTo>
                  <a:lnTo>
                    <a:pt x="122" y="196"/>
                  </a:lnTo>
                  <a:lnTo>
                    <a:pt x="128" y="196"/>
                  </a:lnTo>
                  <a:lnTo>
                    <a:pt x="135" y="196"/>
                  </a:lnTo>
                  <a:lnTo>
                    <a:pt x="141" y="196"/>
                  </a:lnTo>
                  <a:lnTo>
                    <a:pt x="147" y="196"/>
                  </a:lnTo>
                  <a:lnTo>
                    <a:pt x="147" y="202"/>
                  </a:lnTo>
                  <a:lnTo>
                    <a:pt x="147" y="196"/>
                  </a:lnTo>
                  <a:lnTo>
                    <a:pt x="147" y="189"/>
                  </a:lnTo>
                  <a:lnTo>
                    <a:pt x="141" y="189"/>
                  </a:lnTo>
                  <a:lnTo>
                    <a:pt x="135" y="196"/>
                  </a:lnTo>
                  <a:lnTo>
                    <a:pt x="135" y="189"/>
                  </a:lnTo>
                  <a:lnTo>
                    <a:pt x="141" y="189"/>
                  </a:lnTo>
                  <a:lnTo>
                    <a:pt x="147" y="189"/>
                  </a:lnTo>
                  <a:lnTo>
                    <a:pt x="153" y="189"/>
                  </a:lnTo>
                  <a:lnTo>
                    <a:pt x="159" y="189"/>
                  </a:lnTo>
                  <a:lnTo>
                    <a:pt x="153" y="189"/>
                  </a:lnTo>
                  <a:lnTo>
                    <a:pt x="147" y="183"/>
                  </a:lnTo>
                  <a:lnTo>
                    <a:pt x="153" y="183"/>
                  </a:lnTo>
                  <a:lnTo>
                    <a:pt x="159" y="183"/>
                  </a:lnTo>
                  <a:lnTo>
                    <a:pt x="165" y="183"/>
                  </a:lnTo>
                  <a:lnTo>
                    <a:pt x="159" y="177"/>
                  </a:lnTo>
                  <a:lnTo>
                    <a:pt x="153" y="177"/>
                  </a:lnTo>
                  <a:lnTo>
                    <a:pt x="147" y="177"/>
                  </a:lnTo>
                  <a:lnTo>
                    <a:pt x="153" y="177"/>
                  </a:lnTo>
                  <a:lnTo>
                    <a:pt x="153" y="171"/>
                  </a:lnTo>
                  <a:lnTo>
                    <a:pt x="147" y="171"/>
                  </a:lnTo>
                  <a:lnTo>
                    <a:pt x="153" y="165"/>
                  </a:lnTo>
                  <a:lnTo>
                    <a:pt x="159" y="159"/>
                  </a:lnTo>
                  <a:lnTo>
                    <a:pt x="165" y="159"/>
                  </a:lnTo>
                  <a:lnTo>
                    <a:pt x="171" y="159"/>
                  </a:lnTo>
                  <a:lnTo>
                    <a:pt x="177" y="159"/>
                  </a:lnTo>
                  <a:lnTo>
                    <a:pt x="171" y="159"/>
                  </a:lnTo>
                  <a:lnTo>
                    <a:pt x="171" y="153"/>
                  </a:lnTo>
                  <a:lnTo>
                    <a:pt x="171" y="147"/>
                  </a:lnTo>
                  <a:lnTo>
                    <a:pt x="177" y="140"/>
                  </a:lnTo>
                  <a:lnTo>
                    <a:pt x="184" y="140"/>
                  </a:lnTo>
                  <a:lnTo>
                    <a:pt x="177" y="134"/>
                  </a:lnTo>
                  <a:lnTo>
                    <a:pt x="184" y="128"/>
                  </a:lnTo>
                  <a:lnTo>
                    <a:pt x="190" y="134"/>
                  </a:lnTo>
                  <a:lnTo>
                    <a:pt x="190" y="140"/>
                  </a:lnTo>
                  <a:lnTo>
                    <a:pt x="184" y="140"/>
                  </a:lnTo>
                  <a:lnTo>
                    <a:pt x="184" y="147"/>
                  </a:lnTo>
                  <a:lnTo>
                    <a:pt x="190" y="140"/>
                  </a:lnTo>
                  <a:lnTo>
                    <a:pt x="196" y="140"/>
                  </a:lnTo>
                  <a:lnTo>
                    <a:pt x="196" y="147"/>
                  </a:lnTo>
                  <a:lnTo>
                    <a:pt x="196" y="153"/>
                  </a:lnTo>
                  <a:lnTo>
                    <a:pt x="196" y="159"/>
                  </a:lnTo>
                  <a:lnTo>
                    <a:pt x="202" y="153"/>
                  </a:lnTo>
                  <a:lnTo>
                    <a:pt x="202" y="147"/>
                  </a:lnTo>
                  <a:lnTo>
                    <a:pt x="208" y="147"/>
                  </a:lnTo>
                  <a:lnTo>
                    <a:pt x="208" y="140"/>
                  </a:lnTo>
                  <a:lnTo>
                    <a:pt x="214" y="147"/>
                  </a:lnTo>
                  <a:lnTo>
                    <a:pt x="220" y="147"/>
                  </a:lnTo>
                  <a:lnTo>
                    <a:pt x="220" y="140"/>
                  </a:lnTo>
                  <a:lnTo>
                    <a:pt x="214" y="140"/>
                  </a:lnTo>
                  <a:lnTo>
                    <a:pt x="208" y="140"/>
                  </a:lnTo>
                  <a:lnTo>
                    <a:pt x="202" y="140"/>
                  </a:lnTo>
                  <a:lnTo>
                    <a:pt x="202" y="134"/>
                  </a:lnTo>
                  <a:lnTo>
                    <a:pt x="196" y="134"/>
                  </a:lnTo>
                  <a:lnTo>
                    <a:pt x="196" y="128"/>
                  </a:lnTo>
                  <a:lnTo>
                    <a:pt x="202" y="128"/>
                  </a:lnTo>
                  <a:lnTo>
                    <a:pt x="208" y="122"/>
                  </a:lnTo>
                  <a:lnTo>
                    <a:pt x="214" y="122"/>
                  </a:lnTo>
                  <a:lnTo>
                    <a:pt x="214" y="128"/>
                  </a:lnTo>
                  <a:lnTo>
                    <a:pt x="214" y="134"/>
                  </a:lnTo>
                  <a:lnTo>
                    <a:pt x="220" y="140"/>
                  </a:lnTo>
                  <a:lnTo>
                    <a:pt x="226" y="140"/>
                  </a:lnTo>
                  <a:lnTo>
                    <a:pt x="233" y="140"/>
                  </a:lnTo>
                  <a:lnTo>
                    <a:pt x="239" y="147"/>
                  </a:lnTo>
                  <a:lnTo>
                    <a:pt x="233" y="147"/>
                  </a:lnTo>
                  <a:lnTo>
                    <a:pt x="233" y="153"/>
                  </a:lnTo>
                  <a:lnTo>
                    <a:pt x="239" y="153"/>
                  </a:lnTo>
                  <a:lnTo>
                    <a:pt x="245" y="153"/>
                  </a:lnTo>
                  <a:lnTo>
                    <a:pt x="251" y="153"/>
                  </a:lnTo>
                  <a:lnTo>
                    <a:pt x="245" y="153"/>
                  </a:lnTo>
                  <a:lnTo>
                    <a:pt x="245" y="147"/>
                  </a:lnTo>
                  <a:lnTo>
                    <a:pt x="239" y="147"/>
                  </a:lnTo>
                  <a:lnTo>
                    <a:pt x="245" y="147"/>
                  </a:lnTo>
                  <a:lnTo>
                    <a:pt x="239" y="140"/>
                  </a:lnTo>
                  <a:lnTo>
                    <a:pt x="233" y="140"/>
                  </a:lnTo>
                  <a:lnTo>
                    <a:pt x="226" y="140"/>
                  </a:lnTo>
                  <a:lnTo>
                    <a:pt x="226" y="134"/>
                  </a:lnTo>
                  <a:lnTo>
                    <a:pt x="220" y="134"/>
                  </a:lnTo>
                  <a:lnTo>
                    <a:pt x="220" y="128"/>
                  </a:lnTo>
                  <a:lnTo>
                    <a:pt x="220" y="122"/>
                  </a:lnTo>
                  <a:lnTo>
                    <a:pt x="214" y="116"/>
                  </a:lnTo>
                  <a:lnTo>
                    <a:pt x="220" y="116"/>
                  </a:lnTo>
                  <a:lnTo>
                    <a:pt x="220" y="110"/>
                  </a:lnTo>
                  <a:lnTo>
                    <a:pt x="226" y="110"/>
                  </a:lnTo>
                  <a:lnTo>
                    <a:pt x="233" y="104"/>
                  </a:lnTo>
                  <a:lnTo>
                    <a:pt x="239" y="104"/>
                  </a:lnTo>
                  <a:lnTo>
                    <a:pt x="245" y="104"/>
                  </a:lnTo>
                  <a:lnTo>
                    <a:pt x="251" y="104"/>
                  </a:lnTo>
                  <a:lnTo>
                    <a:pt x="257" y="104"/>
                  </a:lnTo>
                  <a:lnTo>
                    <a:pt x="257" y="110"/>
                  </a:lnTo>
                  <a:lnTo>
                    <a:pt x="251" y="110"/>
                  </a:lnTo>
                  <a:lnTo>
                    <a:pt x="251" y="116"/>
                  </a:lnTo>
                  <a:lnTo>
                    <a:pt x="257" y="116"/>
                  </a:lnTo>
                  <a:lnTo>
                    <a:pt x="251" y="122"/>
                  </a:lnTo>
                  <a:lnTo>
                    <a:pt x="251" y="128"/>
                  </a:lnTo>
                  <a:lnTo>
                    <a:pt x="257" y="128"/>
                  </a:lnTo>
                  <a:lnTo>
                    <a:pt x="257" y="122"/>
                  </a:lnTo>
                  <a:lnTo>
                    <a:pt x="263" y="122"/>
                  </a:lnTo>
                  <a:lnTo>
                    <a:pt x="269" y="122"/>
                  </a:lnTo>
                  <a:lnTo>
                    <a:pt x="275" y="122"/>
                  </a:lnTo>
                  <a:lnTo>
                    <a:pt x="269" y="122"/>
                  </a:lnTo>
                  <a:lnTo>
                    <a:pt x="269" y="116"/>
                  </a:lnTo>
                  <a:lnTo>
                    <a:pt x="263" y="116"/>
                  </a:lnTo>
                  <a:lnTo>
                    <a:pt x="257" y="116"/>
                  </a:lnTo>
                  <a:lnTo>
                    <a:pt x="257" y="110"/>
                  </a:lnTo>
                  <a:lnTo>
                    <a:pt x="263" y="110"/>
                  </a:lnTo>
                  <a:lnTo>
                    <a:pt x="263" y="104"/>
                  </a:lnTo>
                  <a:lnTo>
                    <a:pt x="269" y="98"/>
                  </a:lnTo>
                  <a:lnTo>
                    <a:pt x="269" y="104"/>
                  </a:lnTo>
                  <a:lnTo>
                    <a:pt x="275" y="98"/>
                  </a:lnTo>
                  <a:lnTo>
                    <a:pt x="275" y="91"/>
                  </a:lnTo>
                  <a:lnTo>
                    <a:pt x="282" y="91"/>
                  </a:lnTo>
                  <a:lnTo>
                    <a:pt x="282" y="85"/>
                  </a:lnTo>
                  <a:lnTo>
                    <a:pt x="282" y="91"/>
                  </a:lnTo>
                  <a:lnTo>
                    <a:pt x="288" y="91"/>
                  </a:lnTo>
                  <a:lnTo>
                    <a:pt x="288" y="98"/>
                  </a:lnTo>
                  <a:lnTo>
                    <a:pt x="282" y="104"/>
                  </a:lnTo>
                  <a:lnTo>
                    <a:pt x="282" y="110"/>
                  </a:lnTo>
                  <a:lnTo>
                    <a:pt x="282" y="116"/>
                  </a:lnTo>
                  <a:lnTo>
                    <a:pt x="288" y="116"/>
                  </a:lnTo>
                  <a:lnTo>
                    <a:pt x="282" y="122"/>
                  </a:lnTo>
                  <a:lnTo>
                    <a:pt x="282" y="128"/>
                  </a:lnTo>
                  <a:lnTo>
                    <a:pt x="275" y="134"/>
                  </a:lnTo>
                  <a:lnTo>
                    <a:pt x="269" y="140"/>
                  </a:lnTo>
                  <a:lnTo>
                    <a:pt x="263" y="147"/>
                  </a:lnTo>
                  <a:lnTo>
                    <a:pt x="269" y="147"/>
                  </a:lnTo>
                  <a:lnTo>
                    <a:pt x="275" y="140"/>
                  </a:lnTo>
                  <a:lnTo>
                    <a:pt x="282" y="140"/>
                  </a:lnTo>
                  <a:lnTo>
                    <a:pt x="288" y="128"/>
                  </a:lnTo>
                  <a:lnTo>
                    <a:pt x="288" y="122"/>
                  </a:lnTo>
                  <a:lnTo>
                    <a:pt x="294" y="122"/>
                  </a:lnTo>
                  <a:lnTo>
                    <a:pt x="294" y="128"/>
                  </a:lnTo>
                  <a:lnTo>
                    <a:pt x="300" y="128"/>
                  </a:lnTo>
                  <a:lnTo>
                    <a:pt x="306" y="128"/>
                  </a:lnTo>
                  <a:lnTo>
                    <a:pt x="312" y="128"/>
                  </a:lnTo>
                  <a:lnTo>
                    <a:pt x="306" y="128"/>
                  </a:lnTo>
                  <a:lnTo>
                    <a:pt x="306" y="122"/>
                  </a:lnTo>
                  <a:lnTo>
                    <a:pt x="300" y="122"/>
                  </a:lnTo>
                  <a:lnTo>
                    <a:pt x="300" y="116"/>
                  </a:lnTo>
                  <a:lnTo>
                    <a:pt x="294" y="116"/>
                  </a:lnTo>
                  <a:lnTo>
                    <a:pt x="294" y="110"/>
                  </a:lnTo>
                  <a:lnTo>
                    <a:pt x="294" y="104"/>
                  </a:lnTo>
                  <a:lnTo>
                    <a:pt x="300" y="104"/>
                  </a:lnTo>
                  <a:lnTo>
                    <a:pt x="306" y="104"/>
                  </a:lnTo>
                  <a:lnTo>
                    <a:pt x="306" y="98"/>
                  </a:lnTo>
                  <a:lnTo>
                    <a:pt x="306" y="91"/>
                  </a:lnTo>
                  <a:lnTo>
                    <a:pt x="312" y="91"/>
                  </a:lnTo>
                  <a:lnTo>
                    <a:pt x="318" y="91"/>
                  </a:lnTo>
                  <a:lnTo>
                    <a:pt x="318" y="85"/>
                  </a:lnTo>
                  <a:lnTo>
                    <a:pt x="324" y="91"/>
                  </a:lnTo>
                  <a:lnTo>
                    <a:pt x="318" y="91"/>
                  </a:lnTo>
                  <a:lnTo>
                    <a:pt x="312" y="98"/>
                  </a:lnTo>
                  <a:lnTo>
                    <a:pt x="318" y="98"/>
                  </a:lnTo>
                  <a:lnTo>
                    <a:pt x="312" y="98"/>
                  </a:lnTo>
                  <a:lnTo>
                    <a:pt x="318" y="104"/>
                  </a:lnTo>
                  <a:lnTo>
                    <a:pt x="318" y="98"/>
                  </a:lnTo>
                  <a:lnTo>
                    <a:pt x="324" y="98"/>
                  </a:lnTo>
                  <a:lnTo>
                    <a:pt x="324" y="104"/>
                  </a:lnTo>
                  <a:lnTo>
                    <a:pt x="331" y="104"/>
                  </a:lnTo>
                  <a:lnTo>
                    <a:pt x="331" y="98"/>
                  </a:lnTo>
                  <a:lnTo>
                    <a:pt x="331" y="91"/>
                  </a:lnTo>
                  <a:lnTo>
                    <a:pt x="331" y="85"/>
                  </a:lnTo>
                  <a:lnTo>
                    <a:pt x="337" y="85"/>
                  </a:lnTo>
                  <a:lnTo>
                    <a:pt x="343" y="85"/>
                  </a:lnTo>
                  <a:lnTo>
                    <a:pt x="349" y="91"/>
                  </a:lnTo>
                  <a:lnTo>
                    <a:pt x="349" y="98"/>
                  </a:lnTo>
                  <a:lnTo>
                    <a:pt x="355" y="98"/>
                  </a:lnTo>
                  <a:lnTo>
                    <a:pt x="361" y="98"/>
                  </a:lnTo>
                  <a:lnTo>
                    <a:pt x="367" y="98"/>
                  </a:lnTo>
                  <a:lnTo>
                    <a:pt x="367" y="91"/>
                  </a:lnTo>
                  <a:lnTo>
                    <a:pt x="361" y="91"/>
                  </a:lnTo>
                  <a:lnTo>
                    <a:pt x="367" y="85"/>
                  </a:lnTo>
                  <a:lnTo>
                    <a:pt x="373" y="85"/>
                  </a:lnTo>
                  <a:lnTo>
                    <a:pt x="367" y="85"/>
                  </a:lnTo>
                  <a:lnTo>
                    <a:pt x="361" y="85"/>
                  </a:lnTo>
                  <a:lnTo>
                    <a:pt x="361" y="79"/>
                  </a:lnTo>
                  <a:lnTo>
                    <a:pt x="355" y="79"/>
                  </a:lnTo>
                  <a:lnTo>
                    <a:pt x="361" y="79"/>
                  </a:lnTo>
                  <a:lnTo>
                    <a:pt x="367" y="79"/>
                  </a:lnTo>
                  <a:lnTo>
                    <a:pt x="373" y="79"/>
                  </a:lnTo>
                  <a:lnTo>
                    <a:pt x="373" y="73"/>
                  </a:lnTo>
                  <a:lnTo>
                    <a:pt x="367" y="79"/>
                  </a:lnTo>
                  <a:lnTo>
                    <a:pt x="361" y="79"/>
                  </a:lnTo>
                  <a:lnTo>
                    <a:pt x="355" y="79"/>
                  </a:lnTo>
                  <a:lnTo>
                    <a:pt x="349" y="79"/>
                  </a:lnTo>
                  <a:lnTo>
                    <a:pt x="349" y="73"/>
                  </a:lnTo>
                  <a:lnTo>
                    <a:pt x="343" y="79"/>
                  </a:lnTo>
                  <a:lnTo>
                    <a:pt x="343" y="73"/>
                  </a:lnTo>
                  <a:lnTo>
                    <a:pt x="337" y="73"/>
                  </a:lnTo>
                  <a:lnTo>
                    <a:pt x="343" y="73"/>
                  </a:lnTo>
                  <a:lnTo>
                    <a:pt x="337" y="73"/>
                  </a:lnTo>
                  <a:lnTo>
                    <a:pt x="331" y="67"/>
                  </a:lnTo>
                  <a:lnTo>
                    <a:pt x="331" y="61"/>
                  </a:lnTo>
                  <a:lnTo>
                    <a:pt x="337" y="61"/>
                  </a:lnTo>
                  <a:lnTo>
                    <a:pt x="343" y="67"/>
                  </a:lnTo>
                  <a:lnTo>
                    <a:pt x="343" y="61"/>
                  </a:lnTo>
                  <a:lnTo>
                    <a:pt x="349" y="55"/>
                  </a:lnTo>
                  <a:lnTo>
                    <a:pt x="349" y="61"/>
                  </a:lnTo>
                  <a:lnTo>
                    <a:pt x="355" y="67"/>
                  </a:lnTo>
                  <a:lnTo>
                    <a:pt x="355" y="73"/>
                  </a:lnTo>
                  <a:lnTo>
                    <a:pt x="361" y="67"/>
                  </a:lnTo>
                  <a:lnTo>
                    <a:pt x="355" y="61"/>
                  </a:lnTo>
                  <a:lnTo>
                    <a:pt x="361" y="55"/>
                  </a:lnTo>
                  <a:lnTo>
                    <a:pt x="367" y="55"/>
                  </a:lnTo>
                  <a:lnTo>
                    <a:pt x="367" y="61"/>
                  </a:lnTo>
                  <a:lnTo>
                    <a:pt x="373" y="55"/>
                  </a:lnTo>
                  <a:lnTo>
                    <a:pt x="373" y="61"/>
                  </a:lnTo>
                  <a:lnTo>
                    <a:pt x="373" y="67"/>
                  </a:lnTo>
                  <a:lnTo>
                    <a:pt x="373" y="61"/>
                  </a:lnTo>
                  <a:lnTo>
                    <a:pt x="380" y="61"/>
                  </a:lnTo>
                  <a:lnTo>
                    <a:pt x="380" y="67"/>
                  </a:lnTo>
                  <a:lnTo>
                    <a:pt x="380" y="73"/>
                  </a:lnTo>
                  <a:lnTo>
                    <a:pt x="386" y="73"/>
                  </a:lnTo>
                  <a:lnTo>
                    <a:pt x="392" y="73"/>
                  </a:lnTo>
                  <a:lnTo>
                    <a:pt x="386" y="73"/>
                  </a:lnTo>
                  <a:lnTo>
                    <a:pt x="386" y="67"/>
                  </a:lnTo>
                  <a:lnTo>
                    <a:pt x="386" y="61"/>
                  </a:lnTo>
                  <a:lnTo>
                    <a:pt x="392" y="61"/>
                  </a:lnTo>
                  <a:lnTo>
                    <a:pt x="392" y="67"/>
                  </a:lnTo>
                  <a:lnTo>
                    <a:pt x="398" y="67"/>
                  </a:lnTo>
                  <a:lnTo>
                    <a:pt x="404" y="67"/>
                  </a:lnTo>
                  <a:lnTo>
                    <a:pt x="410" y="67"/>
                  </a:lnTo>
                  <a:lnTo>
                    <a:pt x="416" y="67"/>
                  </a:lnTo>
                  <a:lnTo>
                    <a:pt x="410" y="73"/>
                  </a:lnTo>
                  <a:lnTo>
                    <a:pt x="404" y="73"/>
                  </a:lnTo>
                  <a:lnTo>
                    <a:pt x="398" y="79"/>
                  </a:lnTo>
                  <a:lnTo>
                    <a:pt x="392" y="79"/>
                  </a:lnTo>
                  <a:lnTo>
                    <a:pt x="386" y="79"/>
                  </a:lnTo>
                  <a:lnTo>
                    <a:pt x="386" y="85"/>
                  </a:lnTo>
                  <a:lnTo>
                    <a:pt x="386" y="79"/>
                  </a:lnTo>
                  <a:lnTo>
                    <a:pt x="392" y="79"/>
                  </a:lnTo>
                  <a:lnTo>
                    <a:pt x="398" y="79"/>
                  </a:lnTo>
                  <a:lnTo>
                    <a:pt x="404" y="79"/>
                  </a:lnTo>
                  <a:lnTo>
                    <a:pt x="410" y="73"/>
                  </a:lnTo>
                  <a:lnTo>
                    <a:pt x="416" y="73"/>
                  </a:lnTo>
                  <a:lnTo>
                    <a:pt x="416" y="79"/>
                  </a:lnTo>
                  <a:lnTo>
                    <a:pt x="416" y="85"/>
                  </a:lnTo>
                  <a:lnTo>
                    <a:pt x="422" y="79"/>
                  </a:lnTo>
                  <a:lnTo>
                    <a:pt x="422" y="85"/>
                  </a:lnTo>
                  <a:lnTo>
                    <a:pt x="422" y="91"/>
                  </a:lnTo>
                  <a:lnTo>
                    <a:pt x="429" y="91"/>
                  </a:lnTo>
                  <a:lnTo>
                    <a:pt x="429" y="85"/>
                  </a:lnTo>
                  <a:lnTo>
                    <a:pt x="435" y="85"/>
                  </a:lnTo>
                  <a:lnTo>
                    <a:pt x="441" y="85"/>
                  </a:lnTo>
                  <a:lnTo>
                    <a:pt x="435" y="85"/>
                  </a:lnTo>
                  <a:lnTo>
                    <a:pt x="429" y="79"/>
                  </a:lnTo>
                  <a:lnTo>
                    <a:pt x="422" y="79"/>
                  </a:lnTo>
                  <a:lnTo>
                    <a:pt x="429" y="79"/>
                  </a:lnTo>
                  <a:lnTo>
                    <a:pt x="435" y="73"/>
                  </a:lnTo>
                  <a:lnTo>
                    <a:pt x="435" y="79"/>
                  </a:lnTo>
                  <a:lnTo>
                    <a:pt x="435" y="73"/>
                  </a:lnTo>
                  <a:lnTo>
                    <a:pt x="429" y="73"/>
                  </a:lnTo>
                  <a:lnTo>
                    <a:pt x="429" y="67"/>
                  </a:lnTo>
                  <a:lnTo>
                    <a:pt x="435" y="73"/>
                  </a:lnTo>
                  <a:lnTo>
                    <a:pt x="435" y="67"/>
                  </a:lnTo>
                  <a:lnTo>
                    <a:pt x="429" y="67"/>
                  </a:lnTo>
                  <a:lnTo>
                    <a:pt x="435" y="67"/>
                  </a:lnTo>
                  <a:lnTo>
                    <a:pt x="435" y="61"/>
                  </a:lnTo>
                  <a:lnTo>
                    <a:pt x="429" y="61"/>
                  </a:lnTo>
                  <a:lnTo>
                    <a:pt x="429" y="67"/>
                  </a:lnTo>
                  <a:lnTo>
                    <a:pt x="429" y="61"/>
                  </a:lnTo>
                  <a:lnTo>
                    <a:pt x="435" y="61"/>
                  </a:lnTo>
                  <a:lnTo>
                    <a:pt x="441" y="61"/>
                  </a:lnTo>
                  <a:lnTo>
                    <a:pt x="441" y="55"/>
                  </a:lnTo>
                  <a:lnTo>
                    <a:pt x="435" y="55"/>
                  </a:lnTo>
                  <a:lnTo>
                    <a:pt x="441" y="55"/>
                  </a:lnTo>
                  <a:lnTo>
                    <a:pt x="447" y="55"/>
                  </a:lnTo>
                  <a:lnTo>
                    <a:pt x="447" y="49"/>
                  </a:lnTo>
                  <a:lnTo>
                    <a:pt x="453" y="49"/>
                  </a:lnTo>
                  <a:lnTo>
                    <a:pt x="453" y="42"/>
                  </a:lnTo>
                  <a:lnTo>
                    <a:pt x="459" y="42"/>
                  </a:lnTo>
                  <a:lnTo>
                    <a:pt x="465" y="42"/>
                  </a:lnTo>
                  <a:lnTo>
                    <a:pt x="472" y="42"/>
                  </a:lnTo>
                  <a:lnTo>
                    <a:pt x="478" y="42"/>
                  </a:lnTo>
                  <a:lnTo>
                    <a:pt x="478" y="49"/>
                  </a:lnTo>
                  <a:lnTo>
                    <a:pt x="484" y="42"/>
                  </a:lnTo>
                  <a:lnTo>
                    <a:pt x="478" y="42"/>
                  </a:lnTo>
                  <a:lnTo>
                    <a:pt x="472" y="36"/>
                  </a:lnTo>
                  <a:lnTo>
                    <a:pt x="478" y="30"/>
                  </a:lnTo>
                  <a:lnTo>
                    <a:pt x="478" y="24"/>
                  </a:lnTo>
                  <a:lnTo>
                    <a:pt x="484" y="24"/>
                  </a:lnTo>
                  <a:lnTo>
                    <a:pt x="490" y="24"/>
                  </a:lnTo>
                  <a:lnTo>
                    <a:pt x="490" y="30"/>
                  </a:lnTo>
                  <a:lnTo>
                    <a:pt x="496" y="30"/>
                  </a:lnTo>
                  <a:lnTo>
                    <a:pt x="496" y="24"/>
                  </a:lnTo>
                  <a:lnTo>
                    <a:pt x="490" y="24"/>
                  </a:lnTo>
                  <a:lnTo>
                    <a:pt x="490" y="18"/>
                  </a:lnTo>
                  <a:lnTo>
                    <a:pt x="484" y="18"/>
                  </a:lnTo>
                  <a:lnTo>
                    <a:pt x="478" y="18"/>
                  </a:lnTo>
                  <a:lnTo>
                    <a:pt x="478" y="12"/>
                  </a:lnTo>
                  <a:lnTo>
                    <a:pt x="484" y="12"/>
                  </a:lnTo>
                  <a:lnTo>
                    <a:pt x="490" y="12"/>
                  </a:lnTo>
                  <a:lnTo>
                    <a:pt x="490" y="18"/>
                  </a:lnTo>
                  <a:lnTo>
                    <a:pt x="496" y="18"/>
                  </a:lnTo>
                  <a:lnTo>
                    <a:pt x="496" y="12"/>
                  </a:lnTo>
                  <a:lnTo>
                    <a:pt x="490" y="12"/>
                  </a:lnTo>
                  <a:lnTo>
                    <a:pt x="496" y="12"/>
                  </a:lnTo>
                  <a:lnTo>
                    <a:pt x="496" y="6"/>
                  </a:lnTo>
                  <a:lnTo>
                    <a:pt x="490" y="6"/>
                  </a:lnTo>
                  <a:lnTo>
                    <a:pt x="496" y="6"/>
                  </a:lnTo>
                  <a:lnTo>
                    <a:pt x="490" y="6"/>
                  </a:lnTo>
                  <a:lnTo>
                    <a:pt x="490" y="0"/>
                  </a:lnTo>
                  <a:lnTo>
                    <a:pt x="496" y="0"/>
                  </a:lnTo>
                  <a:lnTo>
                    <a:pt x="490" y="0"/>
                  </a:lnTo>
                  <a:lnTo>
                    <a:pt x="496" y="0"/>
                  </a:lnTo>
                  <a:lnTo>
                    <a:pt x="502" y="0"/>
                  </a:lnTo>
                  <a:lnTo>
                    <a:pt x="502" y="6"/>
                  </a:lnTo>
                  <a:lnTo>
                    <a:pt x="508" y="6"/>
                  </a:lnTo>
                  <a:lnTo>
                    <a:pt x="502" y="6"/>
                  </a:lnTo>
                  <a:lnTo>
                    <a:pt x="508" y="6"/>
                  </a:lnTo>
                  <a:lnTo>
                    <a:pt x="514" y="6"/>
                  </a:lnTo>
                  <a:lnTo>
                    <a:pt x="508" y="6"/>
                  </a:lnTo>
                  <a:lnTo>
                    <a:pt x="514" y="0"/>
                  </a:lnTo>
                  <a:lnTo>
                    <a:pt x="514" y="6"/>
                  </a:lnTo>
                  <a:lnTo>
                    <a:pt x="508" y="6"/>
                  </a:lnTo>
                  <a:lnTo>
                    <a:pt x="514" y="12"/>
                  </a:lnTo>
                  <a:lnTo>
                    <a:pt x="514" y="6"/>
                  </a:lnTo>
                  <a:lnTo>
                    <a:pt x="521" y="6"/>
                  </a:lnTo>
                  <a:lnTo>
                    <a:pt x="527" y="12"/>
                  </a:lnTo>
                  <a:lnTo>
                    <a:pt x="533" y="12"/>
                  </a:lnTo>
                  <a:lnTo>
                    <a:pt x="533" y="6"/>
                  </a:lnTo>
                  <a:lnTo>
                    <a:pt x="527" y="6"/>
                  </a:lnTo>
                  <a:lnTo>
                    <a:pt x="527" y="0"/>
                  </a:lnTo>
                  <a:lnTo>
                    <a:pt x="533" y="0"/>
                  </a:lnTo>
                  <a:lnTo>
                    <a:pt x="533" y="6"/>
                  </a:lnTo>
                  <a:lnTo>
                    <a:pt x="539" y="6"/>
                  </a:lnTo>
                  <a:lnTo>
                    <a:pt x="533" y="12"/>
                  </a:lnTo>
                  <a:lnTo>
                    <a:pt x="539" y="12"/>
                  </a:lnTo>
                  <a:lnTo>
                    <a:pt x="539" y="6"/>
                  </a:lnTo>
                  <a:lnTo>
                    <a:pt x="545" y="6"/>
                  </a:lnTo>
                  <a:lnTo>
                    <a:pt x="551" y="6"/>
                  </a:lnTo>
                  <a:lnTo>
                    <a:pt x="551" y="12"/>
                  </a:lnTo>
                  <a:lnTo>
                    <a:pt x="551" y="6"/>
                  </a:lnTo>
                  <a:lnTo>
                    <a:pt x="557" y="6"/>
                  </a:lnTo>
                  <a:lnTo>
                    <a:pt x="557" y="12"/>
                  </a:lnTo>
                  <a:lnTo>
                    <a:pt x="551" y="18"/>
                  </a:lnTo>
                  <a:lnTo>
                    <a:pt x="545" y="18"/>
                  </a:lnTo>
                  <a:lnTo>
                    <a:pt x="545" y="24"/>
                  </a:lnTo>
                  <a:lnTo>
                    <a:pt x="539" y="24"/>
                  </a:lnTo>
                  <a:lnTo>
                    <a:pt x="533" y="24"/>
                  </a:lnTo>
                  <a:lnTo>
                    <a:pt x="533" y="30"/>
                  </a:lnTo>
                  <a:lnTo>
                    <a:pt x="527" y="30"/>
                  </a:lnTo>
                  <a:lnTo>
                    <a:pt x="527" y="36"/>
                  </a:lnTo>
                  <a:lnTo>
                    <a:pt x="521" y="36"/>
                  </a:lnTo>
                  <a:lnTo>
                    <a:pt x="514" y="42"/>
                  </a:lnTo>
                  <a:lnTo>
                    <a:pt x="521" y="42"/>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3" name="Freeform 154"/>
            <p:cNvSpPr>
              <a:spLocks/>
            </p:cNvSpPr>
            <p:nvPr/>
          </p:nvSpPr>
          <p:spPr bwMode="auto">
            <a:xfrm>
              <a:off x="3446971" y="2329409"/>
              <a:ext cx="801922" cy="788663"/>
            </a:xfrm>
            <a:custGeom>
              <a:avLst/>
              <a:gdLst>
                <a:gd name="T0" fmla="*/ 78125643 w 496"/>
                <a:gd name="T1" fmla="*/ 1328123709 h 539"/>
                <a:gd name="T2" fmla="*/ 63004709 w 496"/>
                <a:gd name="T3" fmla="*/ 1282760890 h 539"/>
                <a:gd name="T4" fmla="*/ 45362814 w 496"/>
                <a:gd name="T5" fmla="*/ 1249998061 h 539"/>
                <a:gd name="T6" fmla="*/ 138609403 w 496"/>
                <a:gd name="T7" fmla="*/ 1234877122 h 539"/>
                <a:gd name="T8" fmla="*/ 231854417 w 496"/>
                <a:gd name="T9" fmla="*/ 1249998061 h 539"/>
                <a:gd name="T10" fmla="*/ 123488469 w 496"/>
                <a:gd name="T11" fmla="*/ 1204635243 h 539"/>
                <a:gd name="T12" fmla="*/ 231854417 w 496"/>
                <a:gd name="T13" fmla="*/ 1159272424 h 539"/>
                <a:gd name="T14" fmla="*/ 216733483 w 496"/>
                <a:gd name="T15" fmla="*/ 1144151485 h 539"/>
                <a:gd name="T16" fmla="*/ 292338152 w 496"/>
                <a:gd name="T17" fmla="*/ 1174393364 h 539"/>
                <a:gd name="T18" fmla="*/ 340221903 w 496"/>
                <a:gd name="T19" fmla="*/ 1126511182 h 539"/>
                <a:gd name="T20" fmla="*/ 325100969 w 496"/>
                <a:gd name="T21" fmla="*/ 1081148364 h 539"/>
                <a:gd name="T22" fmla="*/ 370463771 w 496"/>
                <a:gd name="T23" fmla="*/ 1096269303 h 539"/>
                <a:gd name="T24" fmla="*/ 418346033 w 496"/>
                <a:gd name="T25" fmla="*/ 1050906485 h 539"/>
                <a:gd name="T26" fmla="*/ 493950702 w 496"/>
                <a:gd name="T27" fmla="*/ 1050906485 h 539"/>
                <a:gd name="T28" fmla="*/ 541834453 w 496"/>
                <a:gd name="T29" fmla="*/ 1066027424 h 539"/>
                <a:gd name="T30" fmla="*/ 587197254 w 496"/>
                <a:gd name="T31" fmla="*/ 1050906485 h 539"/>
                <a:gd name="T32" fmla="*/ 680442218 w 496"/>
                <a:gd name="T33" fmla="*/ 987901777 h 539"/>
                <a:gd name="T34" fmla="*/ 680442218 w 496"/>
                <a:gd name="T35" fmla="*/ 942538958 h 539"/>
                <a:gd name="T36" fmla="*/ 602318188 w 496"/>
                <a:gd name="T37" fmla="*/ 972780837 h 539"/>
                <a:gd name="T38" fmla="*/ 493950702 w 496"/>
                <a:gd name="T39" fmla="*/ 1050906485 h 539"/>
                <a:gd name="T40" fmla="*/ 463708834 w 496"/>
                <a:gd name="T41" fmla="*/ 1003022716 h 539"/>
                <a:gd name="T42" fmla="*/ 509071636 w 496"/>
                <a:gd name="T43" fmla="*/ 957659898 h 539"/>
                <a:gd name="T44" fmla="*/ 509071636 w 496"/>
                <a:gd name="T45" fmla="*/ 912297079 h 539"/>
                <a:gd name="T46" fmla="*/ 572076320 w 496"/>
                <a:gd name="T47" fmla="*/ 834173019 h 539"/>
                <a:gd name="T48" fmla="*/ 647680989 w 496"/>
                <a:gd name="T49" fmla="*/ 864414898 h 539"/>
                <a:gd name="T50" fmla="*/ 632558468 w 496"/>
                <a:gd name="T51" fmla="*/ 819051881 h 539"/>
                <a:gd name="T52" fmla="*/ 680442218 w 496"/>
                <a:gd name="T53" fmla="*/ 756047173 h 539"/>
                <a:gd name="T54" fmla="*/ 710684086 w 496"/>
                <a:gd name="T55" fmla="*/ 710684354 h 539"/>
                <a:gd name="T56" fmla="*/ 771167821 w 496"/>
                <a:gd name="T57" fmla="*/ 695563415 h 539"/>
                <a:gd name="T58" fmla="*/ 864414572 w 496"/>
                <a:gd name="T59" fmla="*/ 650200596 h 539"/>
                <a:gd name="T60" fmla="*/ 788809704 w 496"/>
                <a:gd name="T61" fmla="*/ 650200596 h 539"/>
                <a:gd name="T62" fmla="*/ 756046887 w 496"/>
                <a:gd name="T63" fmla="*/ 650200596 h 539"/>
                <a:gd name="T64" fmla="*/ 834172704 w 496"/>
                <a:gd name="T65" fmla="*/ 617439355 h 539"/>
                <a:gd name="T66" fmla="*/ 819051572 w 496"/>
                <a:gd name="T67" fmla="*/ 556955597 h 539"/>
                <a:gd name="T68" fmla="*/ 834172704 w 496"/>
                <a:gd name="T69" fmla="*/ 541834657 h 539"/>
                <a:gd name="T70" fmla="*/ 879535505 w 496"/>
                <a:gd name="T71" fmla="*/ 509071828 h 539"/>
                <a:gd name="T72" fmla="*/ 819051572 w 496"/>
                <a:gd name="T73" fmla="*/ 526713718 h 539"/>
                <a:gd name="T74" fmla="*/ 942538602 w 496"/>
                <a:gd name="T75" fmla="*/ 448588070 h 539"/>
                <a:gd name="T76" fmla="*/ 972780470 w 496"/>
                <a:gd name="T77" fmla="*/ 448588070 h 539"/>
                <a:gd name="T78" fmla="*/ 894656439 w 496"/>
                <a:gd name="T79" fmla="*/ 448588070 h 539"/>
                <a:gd name="T80" fmla="*/ 894656439 w 496"/>
                <a:gd name="T81" fmla="*/ 403225152 h 539"/>
                <a:gd name="T82" fmla="*/ 912296735 w 496"/>
                <a:gd name="T83" fmla="*/ 403225152 h 539"/>
                <a:gd name="T84" fmla="*/ 927417669 w 496"/>
                <a:gd name="T85" fmla="*/ 370463910 h 539"/>
                <a:gd name="T86" fmla="*/ 942538602 w 496"/>
                <a:gd name="T87" fmla="*/ 355342971 h 539"/>
                <a:gd name="T88" fmla="*/ 957659536 w 496"/>
                <a:gd name="T89" fmla="*/ 340222031 h 539"/>
                <a:gd name="T90" fmla="*/ 927417669 w 496"/>
                <a:gd name="T91" fmla="*/ 294859213 h 539"/>
                <a:gd name="T92" fmla="*/ 1003022338 w 496"/>
                <a:gd name="T93" fmla="*/ 279738273 h 539"/>
                <a:gd name="T94" fmla="*/ 1081147956 w 496"/>
                <a:gd name="T95" fmla="*/ 216733565 h 539"/>
                <a:gd name="T96" fmla="*/ 1096268890 w 496"/>
                <a:gd name="T97" fmla="*/ 201612576 h 539"/>
                <a:gd name="T98" fmla="*/ 1111389823 w 496"/>
                <a:gd name="T99" fmla="*/ 171370697 h 539"/>
                <a:gd name="T100" fmla="*/ 1189513854 w 496"/>
                <a:gd name="T101" fmla="*/ 201612576 h 539"/>
                <a:gd name="T102" fmla="*/ 1204634788 w 496"/>
                <a:gd name="T103" fmla="*/ 156249758 h 539"/>
                <a:gd name="T104" fmla="*/ 1174392920 w 496"/>
                <a:gd name="T105" fmla="*/ 138609455 h 539"/>
                <a:gd name="T106" fmla="*/ 1204634788 w 496"/>
                <a:gd name="T107" fmla="*/ 123488516 h 539"/>
                <a:gd name="T108" fmla="*/ 1141631691 w 496"/>
                <a:gd name="T109" fmla="*/ 123488516 h 539"/>
                <a:gd name="T110" fmla="*/ 1096268890 w 496"/>
                <a:gd name="T111" fmla="*/ 108367576 h 539"/>
                <a:gd name="T112" fmla="*/ 1126510757 w 496"/>
                <a:gd name="T113" fmla="*/ 78125673 h 539"/>
                <a:gd name="T114" fmla="*/ 1234876655 w 496"/>
                <a:gd name="T115" fmla="*/ 63004733 h 539"/>
                <a:gd name="T116" fmla="*/ 1159271987 w 496"/>
                <a:gd name="T117" fmla="*/ 32762842 h 53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96"/>
                <a:gd name="T178" fmla="*/ 0 h 539"/>
                <a:gd name="T179" fmla="*/ 496 w 496"/>
                <a:gd name="T180" fmla="*/ 539 h 53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96" h="539">
                  <a:moveTo>
                    <a:pt x="12" y="539"/>
                  </a:moveTo>
                  <a:lnTo>
                    <a:pt x="6" y="533"/>
                  </a:lnTo>
                  <a:lnTo>
                    <a:pt x="0" y="527"/>
                  </a:lnTo>
                  <a:lnTo>
                    <a:pt x="6" y="527"/>
                  </a:lnTo>
                  <a:lnTo>
                    <a:pt x="0" y="521"/>
                  </a:lnTo>
                  <a:lnTo>
                    <a:pt x="12" y="515"/>
                  </a:lnTo>
                  <a:lnTo>
                    <a:pt x="18" y="515"/>
                  </a:lnTo>
                  <a:lnTo>
                    <a:pt x="25" y="515"/>
                  </a:lnTo>
                  <a:lnTo>
                    <a:pt x="25" y="521"/>
                  </a:lnTo>
                  <a:lnTo>
                    <a:pt x="31" y="527"/>
                  </a:lnTo>
                  <a:lnTo>
                    <a:pt x="31" y="533"/>
                  </a:lnTo>
                  <a:lnTo>
                    <a:pt x="37" y="533"/>
                  </a:lnTo>
                  <a:lnTo>
                    <a:pt x="31" y="521"/>
                  </a:lnTo>
                  <a:lnTo>
                    <a:pt x="25" y="515"/>
                  </a:lnTo>
                  <a:lnTo>
                    <a:pt x="25" y="509"/>
                  </a:lnTo>
                  <a:lnTo>
                    <a:pt x="31" y="509"/>
                  </a:lnTo>
                  <a:lnTo>
                    <a:pt x="31" y="515"/>
                  </a:lnTo>
                  <a:lnTo>
                    <a:pt x="37" y="515"/>
                  </a:lnTo>
                  <a:lnTo>
                    <a:pt x="31" y="509"/>
                  </a:lnTo>
                  <a:lnTo>
                    <a:pt x="25" y="509"/>
                  </a:lnTo>
                  <a:lnTo>
                    <a:pt x="12" y="509"/>
                  </a:lnTo>
                  <a:lnTo>
                    <a:pt x="6" y="509"/>
                  </a:lnTo>
                  <a:lnTo>
                    <a:pt x="12" y="509"/>
                  </a:lnTo>
                  <a:lnTo>
                    <a:pt x="18" y="509"/>
                  </a:lnTo>
                  <a:lnTo>
                    <a:pt x="18" y="503"/>
                  </a:lnTo>
                  <a:lnTo>
                    <a:pt x="12" y="503"/>
                  </a:lnTo>
                  <a:lnTo>
                    <a:pt x="18" y="503"/>
                  </a:lnTo>
                  <a:lnTo>
                    <a:pt x="25" y="503"/>
                  </a:lnTo>
                  <a:lnTo>
                    <a:pt x="31" y="496"/>
                  </a:lnTo>
                  <a:lnTo>
                    <a:pt x="18" y="496"/>
                  </a:lnTo>
                  <a:lnTo>
                    <a:pt x="25" y="490"/>
                  </a:lnTo>
                  <a:lnTo>
                    <a:pt x="25" y="496"/>
                  </a:lnTo>
                  <a:lnTo>
                    <a:pt x="25" y="490"/>
                  </a:lnTo>
                  <a:lnTo>
                    <a:pt x="31" y="490"/>
                  </a:lnTo>
                  <a:lnTo>
                    <a:pt x="37" y="496"/>
                  </a:lnTo>
                  <a:lnTo>
                    <a:pt x="37" y="490"/>
                  </a:lnTo>
                  <a:lnTo>
                    <a:pt x="43" y="490"/>
                  </a:lnTo>
                  <a:lnTo>
                    <a:pt x="49" y="496"/>
                  </a:lnTo>
                  <a:lnTo>
                    <a:pt x="49" y="490"/>
                  </a:lnTo>
                  <a:lnTo>
                    <a:pt x="55" y="490"/>
                  </a:lnTo>
                  <a:lnTo>
                    <a:pt x="55" y="496"/>
                  </a:lnTo>
                  <a:lnTo>
                    <a:pt x="61" y="496"/>
                  </a:lnTo>
                  <a:lnTo>
                    <a:pt x="61" y="490"/>
                  </a:lnTo>
                  <a:lnTo>
                    <a:pt x="67" y="490"/>
                  </a:lnTo>
                  <a:lnTo>
                    <a:pt x="74" y="490"/>
                  </a:lnTo>
                  <a:lnTo>
                    <a:pt x="74" y="496"/>
                  </a:lnTo>
                  <a:lnTo>
                    <a:pt x="80" y="496"/>
                  </a:lnTo>
                  <a:lnTo>
                    <a:pt x="80" y="503"/>
                  </a:lnTo>
                  <a:lnTo>
                    <a:pt x="86" y="496"/>
                  </a:lnTo>
                  <a:lnTo>
                    <a:pt x="92" y="496"/>
                  </a:lnTo>
                  <a:lnTo>
                    <a:pt x="92" y="490"/>
                  </a:lnTo>
                  <a:lnTo>
                    <a:pt x="86" y="490"/>
                  </a:lnTo>
                  <a:lnTo>
                    <a:pt x="86" y="496"/>
                  </a:lnTo>
                  <a:lnTo>
                    <a:pt x="80" y="496"/>
                  </a:lnTo>
                  <a:lnTo>
                    <a:pt x="80" y="490"/>
                  </a:lnTo>
                  <a:lnTo>
                    <a:pt x="74" y="484"/>
                  </a:lnTo>
                  <a:lnTo>
                    <a:pt x="67" y="484"/>
                  </a:lnTo>
                  <a:lnTo>
                    <a:pt x="61" y="478"/>
                  </a:lnTo>
                  <a:lnTo>
                    <a:pt x="55" y="484"/>
                  </a:lnTo>
                  <a:lnTo>
                    <a:pt x="49" y="478"/>
                  </a:lnTo>
                  <a:lnTo>
                    <a:pt x="55" y="472"/>
                  </a:lnTo>
                  <a:lnTo>
                    <a:pt x="61" y="472"/>
                  </a:lnTo>
                  <a:lnTo>
                    <a:pt x="55" y="472"/>
                  </a:lnTo>
                  <a:lnTo>
                    <a:pt x="49" y="466"/>
                  </a:lnTo>
                  <a:lnTo>
                    <a:pt x="55" y="460"/>
                  </a:lnTo>
                  <a:lnTo>
                    <a:pt x="67" y="460"/>
                  </a:lnTo>
                  <a:lnTo>
                    <a:pt x="74" y="460"/>
                  </a:lnTo>
                  <a:lnTo>
                    <a:pt x="74" y="466"/>
                  </a:lnTo>
                  <a:lnTo>
                    <a:pt x="86" y="466"/>
                  </a:lnTo>
                  <a:lnTo>
                    <a:pt x="92" y="460"/>
                  </a:lnTo>
                  <a:lnTo>
                    <a:pt x="86" y="460"/>
                  </a:lnTo>
                  <a:lnTo>
                    <a:pt x="80" y="460"/>
                  </a:lnTo>
                  <a:lnTo>
                    <a:pt x="74" y="460"/>
                  </a:lnTo>
                  <a:lnTo>
                    <a:pt x="74" y="454"/>
                  </a:lnTo>
                  <a:lnTo>
                    <a:pt x="67" y="454"/>
                  </a:lnTo>
                  <a:lnTo>
                    <a:pt x="80" y="454"/>
                  </a:lnTo>
                  <a:lnTo>
                    <a:pt x="80" y="460"/>
                  </a:lnTo>
                  <a:lnTo>
                    <a:pt x="80" y="454"/>
                  </a:lnTo>
                  <a:lnTo>
                    <a:pt x="86" y="447"/>
                  </a:lnTo>
                  <a:lnTo>
                    <a:pt x="86" y="454"/>
                  </a:lnTo>
                  <a:lnTo>
                    <a:pt x="98" y="447"/>
                  </a:lnTo>
                  <a:lnTo>
                    <a:pt x="98" y="454"/>
                  </a:lnTo>
                  <a:lnTo>
                    <a:pt x="92" y="454"/>
                  </a:lnTo>
                  <a:lnTo>
                    <a:pt x="92" y="460"/>
                  </a:lnTo>
                  <a:lnTo>
                    <a:pt x="98" y="454"/>
                  </a:lnTo>
                  <a:lnTo>
                    <a:pt x="104" y="447"/>
                  </a:lnTo>
                  <a:lnTo>
                    <a:pt x="110" y="454"/>
                  </a:lnTo>
                  <a:lnTo>
                    <a:pt x="110" y="460"/>
                  </a:lnTo>
                  <a:lnTo>
                    <a:pt x="116" y="460"/>
                  </a:lnTo>
                  <a:lnTo>
                    <a:pt x="116" y="466"/>
                  </a:lnTo>
                  <a:lnTo>
                    <a:pt x="129" y="472"/>
                  </a:lnTo>
                  <a:lnTo>
                    <a:pt x="129" y="466"/>
                  </a:lnTo>
                  <a:lnTo>
                    <a:pt x="123" y="466"/>
                  </a:lnTo>
                  <a:lnTo>
                    <a:pt x="123" y="460"/>
                  </a:lnTo>
                  <a:lnTo>
                    <a:pt x="116" y="460"/>
                  </a:lnTo>
                  <a:lnTo>
                    <a:pt x="110" y="454"/>
                  </a:lnTo>
                  <a:lnTo>
                    <a:pt x="110" y="447"/>
                  </a:lnTo>
                  <a:lnTo>
                    <a:pt x="123" y="447"/>
                  </a:lnTo>
                  <a:lnTo>
                    <a:pt x="129" y="447"/>
                  </a:lnTo>
                  <a:lnTo>
                    <a:pt x="135" y="447"/>
                  </a:lnTo>
                  <a:lnTo>
                    <a:pt x="129" y="441"/>
                  </a:lnTo>
                  <a:lnTo>
                    <a:pt x="123" y="441"/>
                  </a:lnTo>
                  <a:lnTo>
                    <a:pt x="116" y="441"/>
                  </a:lnTo>
                  <a:lnTo>
                    <a:pt x="110" y="435"/>
                  </a:lnTo>
                  <a:lnTo>
                    <a:pt x="116" y="435"/>
                  </a:lnTo>
                  <a:lnTo>
                    <a:pt x="123" y="435"/>
                  </a:lnTo>
                  <a:lnTo>
                    <a:pt x="129" y="435"/>
                  </a:lnTo>
                  <a:lnTo>
                    <a:pt x="129" y="441"/>
                  </a:lnTo>
                  <a:lnTo>
                    <a:pt x="129" y="435"/>
                  </a:lnTo>
                  <a:lnTo>
                    <a:pt x="129" y="429"/>
                  </a:lnTo>
                  <a:lnTo>
                    <a:pt x="141" y="429"/>
                  </a:lnTo>
                  <a:lnTo>
                    <a:pt x="135" y="423"/>
                  </a:lnTo>
                  <a:lnTo>
                    <a:pt x="141" y="423"/>
                  </a:lnTo>
                  <a:lnTo>
                    <a:pt x="147" y="423"/>
                  </a:lnTo>
                  <a:lnTo>
                    <a:pt x="153" y="423"/>
                  </a:lnTo>
                  <a:lnTo>
                    <a:pt x="147" y="417"/>
                  </a:lnTo>
                  <a:lnTo>
                    <a:pt x="153" y="417"/>
                  </a:lnTo>
                  <a:lnTo>
                    <a:pt x="159" y="423"/>
                  </a:lnTo>
                  <a:lnTo>
                    <a:pt x="153" y="429"/>
                  </a:lnTo>
                  <a:lnTo>
                    <a:pt x="147" y="435"/>
                  </a:lnTo>
                  <a:lnTo>
                    <a:pt x="153" y="435"/>
                  </a:lnTo>
                  <a:lnTo>
                    <a:pt x="159" y="429"/>
                  </a:lnTo>
                  <a:lnTo>
                    <a:pt x="166" y="429"/>
                  </a:lnTo>
                  <a:lnTo>
                    <a:pt x="172" y="423"/>
                  </a:lnTo>
                  <a:lnTo>
                    <a:pt x="166" y="429"/>
                  </a:lnTo>
                  <a:lnTo>
                    <a:pt x="159" y="429"/>
                  </a:lnTo>
                  <a:lnTo>
                    <a:pt x="159" y="423"/>
                  </a:lnTo>
                  <a:lnTo>
                    <a:pt x="166" y="423"/>
                  </a:lnTo>
                  <a:lnTo>
                    <a:pt x="172" y="417"/>
                  </a:lnTo>
                  <a:lnTo>
                    <a:pt x="166" y="417"/>
                  </a:lnTo>
                  <a:lnTo>
                    <a:pt x="159" y="417"/>
                  </a:lnTo>
                  <a:lnTo>
                    <a:pt x="166" y="411"/>
                  </a:lnTo>
                  <a:lnTo>
                    <a:pt x="172" y="411"/>
                  </a:lnTo>
                  <a:lnTo>
                    <a:pt x="172" y="417"/>
                  </a:lnTo>
                  <a:lnTo>
                    <a:pt x="172" y="411"/>
                  </a:lnTo>
                  <a:lnTo>
                    <a:pt x="178" y="411"/>
                  </a:lnTo>
                  <a:lnTo>
                    <a:pt x="184" y="405"/>
                  </a:lnTo>
                  <a:lnTo>
                    <a:pt x="190" y="411"/>
                  </a:lnTo>
                  <a:lnTo>
                    <a:pt x="190" y="417"/>
                  </a:lnTo>
                  <a:lnTo>
                    <a:pt x="196" y="417"/>
                  </a:lnTo>
                  <a:lnTo>
                    <a:pt x="196" y="423"/>
                  </a:lnTo>
                  <a:lnTo>
                    <a:pt x="196" y="429"/>
                  </a:lnTo>
                  <a:lnTo>
                    <a:pt x="190" y="429"/>
                  </a:lnTo>
                  <a:lnTo>
                    <a:pt x="196" y="429"/>
                  </a:lnTo>
                  <a:lnTo>
                    <a:pt x="202" y="429"/>
                  </a:lnTo>
                  <a:lnTo>
                    <a:pt x="208" y="429"/>
                  </a:lnTo>
                  <a:lnTo>
                    <a:pt x="202" y="423"/>
                  </a:lnTo>
                  <a:lnTo>
                    <a:pt x="208" y="423"/>
                  </a:lnTo>
                  <a:lnTo>
                    <a:pt x="208" y="417"/>
                  </a:lnTo>
                  <a:lnTo>
                    <a:pt x="215" y="423"/>
                  </a:lnTo>
                  <a:lnTo>
                    <a:pt x="221" y="423"/>
                  </a:lnTo>
                  <a:lnTo>
                    <a:pt x="221" y="417"/>
                  </a:lnTo>
                  <a:lnTo>
                    <a:pt x="221" y="423"/>
                  </a:lnTo>
                  <a:lnTo>
                    <a:pt x="227" y="417"/>
                  </a:lnTo>
                  <a:lnTo>
                    <a:pt x="233" y="423"/>
                  </a:lnTo>
                  <a:lnTo>
                    <a:pt x="239" y="423"/>
                  </a:lnTo>
                  <a:lnTo>
                    <a:pt x="239" y="417"/>
                  </a:lnTo>
                  <a:lnTo>
                    <a:pt x="245" y="417"/>
                  </a:lnTo>
                  <a:lnTo>
                    <a:pt x="239" y="417"/>
                  </a:lnTo>
                  <a:lnTo>
                    <a:pt x="233" y="417"/>
                  </a:lnTo>
                  <a:lnTo>
                    <a:pt x="239" y="411"/>
                  </a:lnTo>
                  <a:lnTo>
                    <a:pt x="245" y="405"/>
                  </a:lnTo>
                  <a:lnTo>
                    <a:pt x="233" y="411"/>
                  </a:lnTo>
                  <a:lnTo>
                    <a:pt x="233" y="405"/>
                  </a:lnTo>
                  <a:lnTo>
                    <a:pt x="239" y="405"/>
                  </a:lnTo>
                  <a:lnTo>
                    <a:pt x="245" y="398"/>
                  </a:lnTo>
                  <a:lnTo>
                    <a:pt x="251" y="398"/>
                  </a:lnTo>
                  <a:lnTo>
                    <a:pt x="257" y="392"/>
                  </a:lnTo>
                  <a:lnTo>
                    <a:pt x="264" y="392"/>
                  </a:lnTo>
                  <a:lnTo>
                    <a:pt x="270" y="392"/>
                  </a:lnTo>
                  <a:lnTo>
                    <a:pt x="270" y="386"/>
                  </a:lnTo>
                  <a:lnTo>
                    <a:pt x="264" y="386"/>
                  </a:lnTo>
                  <a:lnTo>
                    <a:pt x="264" y="380"/>
                  </a:lnTo>
                  <a:lnTo>
                    <a:pt x="257" y="386"/>
                  </a:lnTo>
                  <a:lnTo>
                    <a:pt x="251" y="386"/>
                  </a:lnTo>
                  <a:lnTo>
                    <a:pt x="251" y="380"/>
                  </a:lnTo>
                  <a:lnTo>
                    <a:pt x="257" y="380"/>
                  </a:lnTo>
                  <a:lnTo>
                    <a:pt x="257" y="374"/>
                  </a:lnTo>
                  <a:lnTo>
                    <a:pt x="264" y="374"/>
                  </a:lnTo>
                  <a:lnTo>
                    <a:pt x="270" y="374"/>
                  </a:lnTo>
                  <a:lnTo>
                    <a:pt x="270" y="368"/>
                  </a:lnTo>
                  <a:lnTo>
                    <a:pt x="257" y="368"/>
                  </a:lnTo>
                  <a:lnTo>
                    <a:pt x="264" y="362"/>
                  </a:lnTo>
                  <a:lnTo>
                    <a:pt x="257" y="368"/>
                  </a:lnTo>
                  <a:lnTo>
                    <a:pt x="257" y="374"/>
                  </a:lnTo>
                  <a:lnTo>
                    <a:pt x="245" y="374"/>
                  </a:lnTo>
                  <a:lnTo>
                    <a:pt x="239" y="380"/>
                  </a:lnTo>
                  <a:lnTo>
                    <a:pt x="227" y="386"/>
                  </a:lnTo>
                  <a:lnTo>
                    <a:pt x="233" y="386"/>
                  </a:lnTo>
                  <a:lnTo>
                    <a:pt x="239" y="386"/>
                  </a:lnTo>
                  <a:lnTo>
                    <a:pt x="245" y="380"/>
                  </a:lnTo>
                  <a:lnTo>
                    <a:pt x="251" y="380"/>
                  </a:lnTo>
                  <a:lnTo>
                    <a:pt x="251" y="386"/>
                  </a:lnTo>
                  <a:lnTo>
                    <a:pt x="245" y="386"/>
                  </a:lnTo>
                  <a:lnTo>
                    <a:pt x="245" y="392"/>
                  </a:lnTo>
                  <a:lnTo>
                    <a:pt x="233" y="398"/>
                  </a:lnTo>
                  <a:lnTo>
                    <a:pt x="221" y="411"/>
                  </a:lnTo>
                  <a:lnTo>
                    <a:pt x="208" y="411"/>
                  </a:lnTo>
                  <a:lnTo>
                    <a:pt x="202" y="417"/>
                  </a:lnTo>
                  <a:lnTo>
                    <a:pt x="196" y="417"/>
                  </a:lnTo>
                  <a:lnTo>
                    <a:pt x="196" y="411"/>
                  </a:lnTo>
                  <a:lnTo>
                    <a:pt x="196" y="405"/>
                  </a:lnTo>
                  <a:lnTo>
                    <a:pt x="190" y="405"/>
                  </a:lnTo>
                  <a:lnTo>
                    <a:pt x="190" y="398"/>
                  </a:lnTo>
                  <a:lnTo>
                    <a:pt x="196" y="398"/>
                  </a:lnTo>
                  <a:lnTo>
                    <a:pt x="202" y="398"/>
                  </a:lnTo>
                  <a:lnTo>
                    <a:pt x="208" y="392"/>
                  </a:lnTo>
                  <a:lnTo>
                    <a:pt x="196" y="392"/>
                  </a:lnTo>
                  <a:lnTo>
                    <a:pt x="190" y="398"/>
                  </a:lnTo>
                  <a:lnTo>
                    <a:pt x="184" y="398"/>
                  </a:lnTo>
                  <a:lnTo>
                    <a:pt x="178" y="398"/>
                  </a:lnTo>
                  <a:lnTo>
                    <a:pt x="190" y="392"/>
                  </a:lnTo>
                  <a:lnTo>
                    <a:pt x="178" y="392"/>
                  </a:lnTo>
                  <a:lnTo>
                    <a:pt x="184" y="386"/>
                  </a:lnTo>
                  <a:lnTo>
                    <a:pt x="190" y="386"/>
                  </a:lnTo>
                  <a:lnTo>
                    <a:pt x="196" y="380"/>
                  </a:lnTo>
                  <a:lnTo>
                    <a:pt x="202" y="380"/>
                  </a:lnTo>
                  <a:lnTo>
                    <a:pt x="208" y="380"/>
                  </a:lnTo>
                  <a:lnTo>
                    <a:pt x="208" y="374"/>
                  </a:lnTo>
                  <a:lnTo>
                    <a:pt x="202" y="380"/>
                  </a:lnTo>
                  <a:lnTo>
                    <a:pt x="202" y="374"/>
                  </a:lnTo>
                  <a:lnTo>
                    <a:pt x="208" y="374"/>
                  </a:lnTo>
                  <a:lnTo>
                    <a:pt x="202" y="374"/>
                  </a:lnTo>
                  <a:lnTo>
                    <a:pt x="196" y="374"/>
                  </a:lnTo>
                  <a:lnTo>
                    <a:pt x="196" y="368"/>
                  </a:lnTo>
                  <a:lnTo>
                    <a:pt x="202" y="368"/>
                  </a:lnTo>
                  <a:lnTo>
                    <a:pt x="196" y="368"/>
                  </a:lnTo>
                  <a:lnTo>
                    <a:pt x="196" y="362"/>
                  </a:lnTo>
                  <a:lnTo>
                    <a:pt x="202" y="368"/>
                  </a:lnTo>
                  <a:lnTo>
                    <a:pt x="202" y="362"/>
                  </a:lnTo>
                  <a:lnTo>
                    <a:pt x="202" y="368"/>
                  </a:lnTo>
                  <a:lnTo>
                    <a:pt x="208" y="362"/>
                  </a:lnTo>
                  <a:lnTo>
                    <a:pt x="208" y="356"/>
                  </a:lnTo>
                  <a:lnTo>
                    <a:pt x="215" y="356"/>
                  </a:lnTo>
                  <a:lnTo>
                    <a:pt x="215" y="349"/>
                  </a:lnTo>
                  <a:lnTo>
                    <a:pt x="221" y="343"/>
                  </a:lnTo>
                  <a:lnTo>
                    <a:pt x="227" y="343"/>
                  </a:lnTo>
                  <a:lnTo>
                    <a:pt x="221" y="343"/>
                  </a:lnTo>
                  <a:lnTo>
                    <a:pt x="227" y="337"/>
                  </a:lnTo>
                  <a:lnTo>
                    <a:pt x="227" y="331"/>
                  </a:lnTo>
                  <a:lnTo>
                    <a:pt x="233" y="331"/>
                  </a:lnTo>
                  <a:lnTo>
                    <a:pt x="239" y="325"/>
                  </a:lnTo>
                  <a:lnTo>
                    <a:pt x="245" y="325"/>
                  </a:lnTo>
                  <a:lnTo>
                    <a:pt x="245" y="319"/>
                  </a:lnTo>
                  <a:lnTo>
                    <a:pt x="251" y="319"/>
                  </a:lnTo>
                  <a:lnTo>
                    <a:pt x="251" y="325"/>
                  </a:lnTo>
                  <a:lnTo>
                    <a:pt x="257" y="331"/>
                  </a:lnTo>
                  <a:lnTo>
                    <a:pt x="264" y="331"/>
                  </a:lnTo>
                  <a:lnTo>
                    <a:pt x="264" y="337"/>
                  </a:lnTo>
                  <a:lnTo>
                    <a:pt x="257" y="343"/>
                  </a:lnTo>
                  <a:lnTo>
                    <a:pt x="270" y="331"/>
                  </a:lnTo>
                  <a:lnTo>
                    <a:pt x="276" y="331"/>
                  </a:lnTo>
                  <a:lnTo>
                    <a:pt x="282" y="331"/>
                  </a:lnTo>
                  <a:lnTo>
                    <a:pt x="294" y="331"/>
                  </a:lnTo>
                  <a:lnTo>
                    <a:pt x="294" y="325"/>
                  </a:lnTo>
                  <a:lnTo>
                    <a:pt x="288" y="331"/>
                  </a:lnTo>
                  <a:lnTo>
                    <a:pt x="276" y="325"/>
                  </a:lnTo>
                  <a:lnTo>
                    <a:pt x="270" y="331"/>
                  </a:lnTo>
                  <a:lnTo>
                    <a:pt x="264" y="325"/>
                  </a:lnTo>
                  <a:lnTo>
                    <a:pt x="251" y="325"/>
                  </a:lnTo>
                  <a:lnTo>
                    <a:pt x="251" y="313"/>
                  </a:lnTo>
                  <a:lnTo>
                    <a:pt x="257" y="313"/>
                  </a:lnTo>
                  <a:lnTo>
                    <a:pt x="264" y="313"/>
                  </a:lnTo>
                  <a:lnTo>
                    <a:pt x="270" y="313"/>
                  </a:lnTo>
                  <a:lnTo>
                    <a:pt x="276" y="307"/>
                  </a:lnTo>
                  <a:lnTo>
                    <a:pt x="282" y="300"/>
                  </a:lnTo>
                  <a:lnTo>
                    <a:pt x="288" y="300"/>
                  </a:lnTo>
                  <a:lnTo>
                    <a:pt x="282" y="300"/>
                  </a:lnTo>
                  <a:lnTo>
                    <a:pt x="276" y="300"/>
                  </a:lnTo>
                  <a:lnTo>
                    <a:pt x="270" y="300"/>
                  </a:lnTo>
                  <a:lnTo>
                    <a:pt x="264" y="307"/>
                  </a:lnTo>
                  <a:lnTo>
                    <a:pt x="257" y="307"/>
                  </a:lnTo>
                  <a:lnTo>
                    <a:pt x="270" y="300"/>
                  </a:lnTo>
                  <a:lnTo>
                    <a:pt x="257" y="300"/>
                  </a:lnTo>
                  <a:lnTo>
                    <a:pt x="257" y="294"/>
                  </a:lnTo>
                  <a:lnTo>
                    <a:pt x="264" y="294"/>
                  </a:lnTo>
                  <a:lnTo>
                    <a:pt x="270" y="288"/>
                  </a:lnTo>
                  <a:lnTo>
                    <a:pt x="276" y="288"/>
                  </a:lnTo>
                  <a:lnTo>
                    <a:pt x="282" y="288"/>
                  </a:lnTo>
                  <a:lnTo>
                    <a:pt x="282" y="282"/>
                  </a:lnTo>
                  <a:lnTo>
                    <a:pt x="276" y="282"/>
                  </a:lnTo>
                  <a:lnTo>
                    <a:pt x="282" y="282"/>
                  </a:lnTo>
                  <a:lnTo>
                    <a:pt x="288" y="282"/>
                  </a:lnTo>
                  <a:lnTo>
                    <a:pt x="282" y="282"/>
                  </a:lnTo>
                  <a:lnTo>
                    <a:pt x="288" y="276"/>
                  </a:lnTo>
                  <a:lnTo>
                    <a:pt x="294" y="270"/>
                  </a:lnTo>
                  <a:lnTo>
                    <a:pt x="300" y="270"/>
                  </a:lnTo>
                  <a:lnTo>
                    <a:pt x="294" y="276"/>
                  </a:lnTo>
                  <a:lnTo>
                    <a:pt x="300" y="276"/>
                  </a:lnTo>
                  <a:lnTo>
                    <a:pt x="306" y="276"/>
                  </a:lnTo>
                  <a:lnTo>
                    <a:pt x="300" y="270"/>
                  </a:lnTo>
                  <a:lnTo>
                    <a:pt x="306" y="270"/>
                  </a:lnTo>
                  <a:lnTo>
                    <a:pt x="313" y="270"/>
                  </a:lnTo>
                  <a:lnTo>
                    <a:pt x="306" y="276"/>
                  </a:lnTo>
                  <a:lnTo>
                    <a:pt x="313" y="276"/>
                  </a:lnTo>
                  <a:lnTo>
                    <a:pt x="306" y="282"/>
                  </a:lnTo>
                  <a:lnTo>
                    <a:pt x="319" y="276"/>
                  </a:lnTo>
                  <a:lnTo>
                    <a:pt x="331" y="270"/>
                  </a:lnTo>
                  <a:lnTo>
                    <a:pt x="337" y="264"/>
                  </a:lnTo>
                  <a:lnTo>
                    <a:pt x="343" y="258"/>
                  </a:lnTo>
                  <a:lnTo>
                    <a:pt x="337" y="264"/>
                  </a:lnTo>
                  <a:lnTo>
                    <a:pt x="325" y="270"/>
                  </a:lnTo>
                  <a:lnTo>
                    <a:pt x="319" y="276"/>
                  </a:lnTo>
                  <a:lnTo>
                    <a:pt x="313" y="270"/>
                  </a:lnTo>
                  <a:lnTo>
                    <a:pt x="319" y="270"/>
                  </a:lnTo>
                  <a:lnTo>
                    <a:pt x="319" y="264"/>
                  </a:lnTo>
                  <a:lnTo>
                    <a:pt x="313" y="264"/>
                  </a:lnTo>
                  <a:lnTo>
                    <a:pt x="319" y="264"/>
                  </a:lnTo>
                  <a:lnTo>
                    <a:pt x="313" y="264"/>
                  </a:lnTo>
                  <a:lnTo>
                    <a:pt x="313" y="258"/>
                  </a:lnTo>
                  <a:lnTo>
                    <a:pt x="319" y="258"/>
                  </a:lnTo>
                  <a:lnTo>
                    <a:pt x="325" y="251"/>
                  </a:lnTo>
                  <a:lnTo>
                    <a:pt x="319" y="251"/>
                  </a:lnTo>
                  <a:lnTo>
                    <a:pt x="313" y="258"/>
                  </a:lnTo>
                  <a:lnTo>
                    <a:pt x="306" y="258"/>
                  </a:lnTo>
                  <a:lnTo>
                    <a:pt x="313" y="258"/>
                  </a:lnTo>
                  <a:lnTo>
                    <a:pt x="306" y="264"/>
                  </a:lnTo>
                  <a:lnTo>
                    <a:pt x="300" y="270"/>
                  </a:lnTo>
                  <a:lnTo>
                    <a:pt x="300" y="264"/>
                  </a:lnTo>
                  <a:lnTo>
                    <a:pt x="300" y="258"/>
                  </a:lnTo>
                  <a:lnTo>
                    <a:pt x="306" y="251"/>
                  </a:lnTo>
                  <a:lnTo>
                    <a:pt x="306" y="258"/>
                  </a:lnTo>
                  <a:lnTo>
                    <a:pt x="306" y="251"/>
                  </a:lnTo>
                  <a:lnTo>
                    <a:pt x="313" y="245"/>
                  </a:lnTo>
                  <a:lnTo>
                    <a:pt x="306" y="245"/>
                  </a:lnTo>
                  <a:lnTo>
                    <a:pt x="313" y="233"/>
                  </a:lnTo>
                  <a:lnTo>
                    <a:pt x="313" y="239"/>
                  </a:lnTo>
                  <a:lnTo>
                    <a:pt x="319" y="245"/>
                  </a:lnTo>
                  <a:lnTo>
                    <a:pt x="325" y="245"/>
                  </a:lnTo>
                  <a:lnTo>
                    <a:pt x="331" y="245"/>
                  </a:lnTo>
                  <a:lnTo>
                    <a:pt x="325" y="239"/>
                  </a:lnTo>
                  <a:lnTo>
                    <a:pt x="325" y="233"/>
                  </a:lnTo>
                  <a:lnTo>
                    <a:pt x="325" y="239"/>
                  </a:lnTo>
                  <a:lnTo>
                    <a:pt x="319" y="239"/>
                  </a:lnTo>
                  <a:lnTo>
                    <a:pt x="325" y="233"/>
                  </a:lnTo>
                  <a:lnTo>
                    <a:pt x="319" y="239"/>
                  </a:lnTo>
                  <a:lnTo>
                    <a:pt x="319" y="233"/>
                  </a:lnTo>
                  <a:lnTo>
                    <a:pt x="313" y="233"/>
                  </a:lnTo>
                  <a:lnTo>
                    <a:pt x="319" y="221"/>
                  </a:lnTo>
                  <a:lnTo>
                    <a:pt x="325" y="221"/>
                  </a:lnTo>
                  <a:lnTo>
                    <a:pt x="325" y="227"/>
                  </a:lnTo>
                  <a:lnTo>
                    <a:pt x="331" y="233"/>
                  </a:lnTo>
                  <a:lnTo>
                    <a:pt x="337" y="233"/>
                  </a:lnTo>
                  <a:lnTo>
                    <a:pt x="331" y="227"/>
                  </a:lnTo>
                  <a:lnTo>
                    <a:pt x="325" y="227"/>
                  </a:lnTo>
                  <a:lnTo>
                    <a:pt x="325" y="221"/>
                  </a:lnTo>
                  <a:lnTo>
                    <a:pt x="325" y="215"/>
                  </a:lnTo>
                  <a:lnTo>
                    <a:pt x="331" y="215"/>
                  </a:lnTo>
                  <a:lnTo>
                    <a:pt x="331" y="221"/>
                  </a:lnTo>
                  <a:lnTo>
                    <a:pt x="331" y="215"/>
                  </a:lnTo>
                  <a:lnTo>
                    <a:pt x="325" y="215"/>
                  </a:lnTo>
                  <a:lnTo>
                    <a:pt x="325" y="209"/>
                  </a:lnTo>
                  <a:lnTo>
                    <a:pt x="337" y="202"/>
                  </a:lnTo>
                  <a:lnTo>
                    <a:pt x="343" y="209"/>
                  </a:lnTo>
                  <a:lnTo>
                    <a:pt x="349" y="209"/>
                  </a:lnTo>
                  <a:lnTo>
                    <a:pt x="355" y="215"/>
                  </a:lnTo>
                  <a:lnTo>
                    <a:pt x="355" y="221"/>
                  </a:lnTo>
                  <a:lnTo>
                    <a:pt x="355" y="215"/>
                  </a:lnTo>
                  <a:lnTo>
                    <a:pt x="355" y="209"/>
                  </a:lnTo>
                  <a:lnTo>
                    <a:pt x="349" y="202"/>
                  </a:lnTo>
                  <a:lnTo>
                    <a:pt x="343" y="202"/>
                  </a:lnTo>
                  <a:lnTo>
                    <a:pt x="343" y="196"/>
                  </a:lnTo>
                  <a:lnTo>
                    <a:pt x="349" y="196"/>
                  </a:lnTo>
                  <a:lnTo>
                    <a:pt x="337" y="196"/>
                  </a:lnTo>
                  <a:lnTo>
                    <a:pt x="331" y="196"/>
                  </a:lnTo>
                  <a:lnTo>
                    <a:pt x="325" y="202"/>
                  </a:lnTo>
                  <a:lnTo>
                    <a:pt x="343" y="196"/>
                  </a:lnTo>
                  <a:lnTo>
                    <a:pt x="343" y="202"/>
                  </a:lnTo>
                  <a:lnTo>
                    <a:pt x="331" y="202"/>
                  </a:lnTo>
                  <a:lnTo>
                    <a:pt x="325" y="209"/>
                  </a:lnTo>
                  <a:lnTo>
                    <a:pt x="319" y="215"/>
                  </a:lnTo>
                  <a:lnTo>
                    <a:pt x="319" y="209"/>
                  </a:lnTo>
                  <a:lnTo>
                    <a:pt x="319" y="202"/>
                  </a:lnTo>
                  <a:lnTo>
                    <a:pt x="325" y="196"/>
                  </a:lnTo>
                  <a:lnTo>
                    <a:pt x="331" y="190"/>
                  </a:lnTo>
                  <a:lnTo>
                    <a:pt x="337" y="190"/>
                  </a:lnTo>
                  <a:lnTo>
                    <a:pt x="349" y="184"/>
                  </a:lnTo>
                  <a:lnTo>
                    <a:pt x="355" y="184"/>
                  </a:lnTo>
                  <a:lnTo>
                    <a:pt x="362" y="178"/>
                  </a:lnTo>
                  <a:lnTo>
                    <a:pt x="374" y="178"/>
                  </a:lnTo>
                  <a:lnTo>
                    <a:pt x="368" y="184"/>
                  </a:lnTo>
                  <a:lnTo>
                    <a:pt x="374" y="184"/>
                  </a:lnTo>
                  <a:lnTo>
                    <a:pt x="374" y="190"/>
                  </a:lnTo>
                  <a:lnTo>
                    <a:pt x="374" y="184"/>
                  </a:lnTo>
                  <a:lnTo>
                    <a:pt x="380" y="184"/>
                  </a:lnTo>
                  <a:lnTo>
                    <a:pt x="386" y="190"/>
                  </a:lnTo>
                  <a:lnTo>
                    <a:pt x="386" y="184"/>
                  </a:lnTo>
                  <a:lnTo>
                    <a:pt x="380" y="184"/>
                  </a:lnTo>
                  <a:lnTo>
                    <a:pt x="374" y="178"/>
                  </a:lnTo>
                  <a:lnTo>
                    <a:pt x="386" y="178"/>
                  </a:lnTo>
                  <a:lnTo>
                    <a:pt x="392" y="178"/>
                  </a:lnTo>
                  <a:lnTo>
                    <a:pt x="398" y="172"/>
                  </a:lnTo>
                  <a:lnTo>
                    <a:pt x="392" y="178"/>
                  </a:lnTo>
                  <a:lnTo>
                    <a:pt x="386" y="178"/>
                  </a:lnTo>
                  <a:lnTo>
                    <a:pt x="374" y="178"/>
                  </a:lnTo>
                  <a:lnTo>
                    <a:pt x="368" y="178"/>
                  </a:lnTo>
                  <a:lnTo>
                    <a:pt x="362" y="178"/>
                  </a:lnTo>
                  <a:lnTo>
                    <a:pt x="349" y="184"/>
                  </a:lnTo>
                  <a:lnTo>
                    <a:pt x="343" y="184"/>
                  </a:lnTo>
                  <a:lnTo>
                    <a:pt x="355" y="178"/>
                  </a:lnTo>
                  <a:lnTo>
                    <a:pt x="362" y="172"/>
                  </a:lnTo>
                  <a:lnTo>
                    <a:pt x="374" y="172"/>
                  </a:lnTo>
                  <a:lnTo>
                    <a:pt x="368" y="172"/>
                  </a:lnTo>
                  <a:lnTo>
                    <a:pt x="362" y="172"/>
                  </a:lnTo>
                  <a:lnTo>
                    <a:pt x="355" y="172"/>
                  </a:lnTo>
                  <a:lnTo>
                    <a:pt x="349" y="172"/>
                  </a:lnTo>
                  <a:lnTo>
                    <a:pt x="343" y="172"/>
                  </a:lnTo>
                  <a:lnTo>
                    <a:pt x="349" y="166"/>
                  </a:lnTo>
                  <a:lnTo>
                    <a:pt x="355" y="166"/>
                  </a:lnTo>
                  <a:lnTo>
                    <a:pt x="355" y="160"/>
                  </a:lnTo>
                  <a:lnTo>
                    <a:pt x="349" y="160"/>
                  </a:lnTo>
                  <a:lnTo>
                    <a:pt x="355" y="160"/>
                  </a:lnTo>
                  <a:lnTo>
                    <a:pt x="349" y="160"/>
                  </a:lnTo>
                  <a:lnTo>
                    <a:pt x="343" y="153"/>
                  </a:lnTo>
                  <a:lnTo>
                    <a:pt x="349" y="153"/>
                  </a:lnTo>
                  <a:lnTo>
                    <a:pt x="355" y="153"/>
                  </a:lnTo>
                  <a:lnTo>
                    <a:pt x="355" y="160"/>
                  </a:lnTo>
                  <a:lnTo>
                    <a:pt x="362" y="160"/>
                  </a:lnTo>
                  <a:lnTo>
                    <a:pt x="368" y="160"/>
                  </a:lnTo>
                  <a:lnTo>
                    <a:pt x="362" y="160"/>
                  </a:lnTo>
                  <a:lnTo>
                    <a:pt x="362" y="153"/>
                  </a:lnTo>
                  <a:lnTo>
                    <a:pt x="368" y="153"/>
                  </a:lnTo>
                  <a:lnTo>
                    <a:pt x="374" y="153"/>
                  </a:lnTo>
                  <a:lnTo>
                    <a:pt x="380" y="153"/>
                  </a:lnTo>
                  <a:lnTo>
                    <a:pt x="374" y="153"/>
                  </a:lnTo>
                  <a:lnTo>
                    <a:pt x="368" y="153"/>
                  </a:lnTo>
                  <a:lnTo>
                    <a:pt x="374" y="147"/>
                  </a:lnTo>
                  <a:lnTo>
                    <a:pt x="380" y="147"/>
                  </a:lnTo>
                  <a:lnTo>
                    <a:pt x="374" y="147"/>
                  </a:lnTo>
                  <a:lnTo>
                    <a:pt x="368" y="147"/>
                  </a:lnTo>
                  <a:lnTo>
                    <a:pt x="368" y="153"/>
                  </a:lnTo>
                  <a:lnTo>
                    <a:pt x="362" y="153"/>
                  </a:lnTo>
                  <a:lnTo>
                    <a:pt x="355" y="153"/>
                  </a:lnTo>
                  <a:lnTo>
                    <a:pt x="355" y="147"/>
                  </a:lnTo>
                  <a:lnTo>
                    <a:pt x="362" y="147"/>
                  </a:lnTo>
                  <a:lnTo>
                    <a:pt x="355" y="147"/>
                  </a:lnTo>
                  <a:lnTo>
                    <a:pt x="355" y="141"/>
                  </a:lnTo>
                  <a:lnTo>
                    <a:pt x="362" y="141"/>
                  </a:lnTo>
                  <a:lnTo>
                    <a:pt x="368" y="141"/>
                  </a:lnTo>
                  <a:lnTo>
                    <a:pt x="374" y="141"/>
                  </a:lnTo>
                  <a:lnTo>
                    <a:pt x="368" y="141"/>
                  </a:lnTo>
                  <a:lnTo>
                    <a:pt x="362" y="141"/>
                  </a:lnTo>
                  <a:lnTo>
                    <a:pt x="355" y="135"/>
                  </a:lnTo>
                  <a:lnTo>
                    <a:pt x="362" y="135"/>
                  </a:lnTo>
                  <a:lnTo>
                    <a:pt x="368" y="135"/>
                  </a:lnTo>
                  <a:lnTo>
                    <a:pt x="374" y="141"/>
                  </a:lnTo>
                  <a:lnTo>
                    <a:pt x="380" y="141"/>
                  </a:lnTo>
                  <a:lnTo>
                    <a:pt x="380" y="135"/>
                  </a:lnTo>
                  <a:lnTo>
                    <a:pt x="392" y="135"/>
                  </a:lnTo>
                  <a:lnTo>
                    <a:pt x="380" y="135"/>
                  </a:lnTo>
                  <a:lnTo>
                    <a:pt x="374" y="135"/>
                  </a:lnTo>
                  <a:lnTo>
                    <a:pt x="368" y="129"/>
                  </a:lnTo>
                  <a:lnTo>
                    <a:pt x="380" y="129"/>
                  </a:lnTo>
                  <a:lnTo>
                    <a:pt x="386" y="129"/>
                  </a:lnTo>
                  <a:lnTo>
                    <a:pt x="392" y="129"/>
                  </a:lnTo>
                  <a:lnTo>
                    <a:pt x="386" y="129"/>
                  </a:lnTo>
                  <a:lnTo>
                    <a:pt x="380" y="129"/>
                  </a:lnTo>
                  <a:lnTo>
                    <a:pt x="380" y="123"/>
                  </a:lnTo>
                  <a:lnTo>
                    <a:pt x="374" y="123"/>
                  </a:lnTo>
                  <a:lnTo>
                    <a:pt x="368" y="117"/>
                  </a:lnTo>
                  <a:lnTo>
                    <a:pt x="374" y="117"/>
                  </a:lnTo>
                  <a:lnTo>
                    <a:pt x="380" y="117"/>
                  </a:lnTo>
                  <a:lnTo>
                    <a:pt x="386" y="117"/>
                  </a:lnTo>
                  <a:lnTo>
                    <a:pt x="380" y="117"/>
                  </a:lnTo>
                  <a:lnTo>
                    <a:pt x="386" y="117"/>
                  </a:lnTo>
                  <a:lnTo>
                    <a:pt x="386" y="111"/>
                  </a:lnTo>
                  <a:lnTo>
                    <a:pt x="392" y="111"/>
                  </a:lnTo>
                  <a:lnTo>
                    <a:pt x="392" y="117"/>
                  </a:lnTo>
                  <a:lnTo>
                    <a:pt x="398" y="117"/>
                  </a:lnTo>
                  <a:lnTo>
                    <a:pt x="398" y="111"/>
                  </a:lnTo>
                  <a:lnTo>
                    <a:pt x="404" y="117"/>
                  </a:lnTo>
                  <a:lnTo>
                    <a:pt x="404" y="111"/>
                  </a:lnTo>
                  <a:lnTo>
                    <a:pt x="411" y="111"/>
                  </a:lnTo>
                  <a:lnTo>
                    <a:pt x="411" y="104"/>
                  </a:lnTo>
                  <a:lnTo>
                    <a:pt x="411" y="98"/>
                  </a:lnTo>
                  <a:lnTo>
                    <a:pt x="417" y="98"/>
                  </a:lnTo>
                  <a:lnTo>
                    <a:pt x="423" y="98"/>
                  </a:lnTo>
                  <a:lnTo>
                    <a:pt x="423" y="92"/>
                  </a:lnTo>
                  <a:lnTo>
                    <a:pt x="429" y="92"/>
                  </a:lnTo>
                  <a:lnTo>
                    <a:pt x="429" y="86"/>
                  </a:lnTo>
                  <a:lnTo>
                    <a:pt x="423" y="86"/>
                  </a:lnTo>
                  <a:lnTo>
                    <a:pt x="417" y="92"/>
                  </a:lnTo>
                  <a:lnTo>
                    <a:pt x="411" y="92"/>
                  </a:lnTo>
                  <a:lnTo>
                    <a:pt x="411" y="86"/>
                  </a:lnTo>
                  <a:lnTo>
                    <a:pt x="417" y="86"/>
                  </a:lnTo>
                  <a:lnTo>
                    <a:pt x="423" y="80"/>
                  </a:lnTo>
                  <a:lnTo>
                    <a:pt x="423" y="74"/>
                  </a:lnTo>
                  <a:lnTo>
                    <a:pt x="429" y="74"/>
                  </a:lnTo>
                  <a:lnTo>
                    <a:pt x="435" y="74"/>
                  </a:lnTo>
                  <a:lnTo>
                    <a:pt x="435" y="80"/>
                  </a:lnTo>
                  <a:lnTo>
                    <a:pt x="441" y="74"/>
                  </a:lnTo>
                  <a:lnTo>
                    <a:pt x="447" y="74"/>
                  </a:lnTo>
                  <a:lnTo>
                    <a:pt x="441" y="74"/>
                  </a:lnTo>
                  <a:lnTo>
                    <a:pt x="435" y="74"/>
                  </a:lnTo>
                  <a:lnTo>
                    <a:pt x="429" y="74"/>
                  </a:lnTo>
                  <a:lnTo>
                    <a:pt x="429" y="68"/>
                  </a:lnTo>
                  <a:lnTo>
                    <a:pt x="435" y="62"/>
                  </a:lnTo>
                  <a:lnTo>
                    <a:pt x="447" y="62"/>
                  </a:lnTo>
                  <a:lnTo>
                    <a:pt x="447" y="68"/>
                  </a:lnTo>
                  <a:lnTo>
                    <a:pt x="441" y="68"/>
                  </a:lnTo>
                  <a:lnTo>
                    <a:pt x="447" y="68"/>
                  </a:lnTo>
                  <a:lnTo>
                    <a:pt x="453" y="68"/>
                  </a:lnTo>
                  <a:lnTo>
                    <a:pt x="447" y="68"/>
                  </a:lnTo>
                  <a:lnTo>
                    <a:pt x="447" y="74"/>
                  </a:lnTo>
                  <a:lnTo>
                    <a:pt x="453" y="68"/>
                  </a:lnTo>
                  <a:lnTo>
                    <a:pt x="460" y="68"/>
                  </a:lnTo>
                  <a:lnTo>
                    <a:pt x="466" y="68"/>
                  </a:lnTo>
                  <a:lnTo>
                    <a:pt x="466" y="74"/>
                  </a:lnTo>
                  <a:lnTo>
                    <a:pt x="466" y="80"/>
                  </a:lnTo>
                  <a:lnTo>
                    <a:pt x="472" y="80"/>
                  </a:lnTo>
                  <a:lnTo>
                    <a:pt x="472" y="86"/>
                  </a:lnTo>
                  <a:lnTo>
                    <a:pt x="478" y="86"/>
                  </a:lnTo>
                  <a:lnTo>
                    <a:pt x="472" y="80"/>
                  </a:lnTo>
                  <a:lnTo>
                    <a:pt x="472" y="74"/>
                  </a:lnTo>
                  <a:lnTo>
                    <a:pt x="472" y="68"/>
                  </a:lnTo>
                  <a:lnTo>
                    <a:pt x="478" y="62"/>
                  </a:lnTo>
                  <a:lnTo>
                    <a:pt x="484" y="62"/>
                  </a:lnTo>
                  <a:lnTo>
                    <a:pt x="490" y="62"/>
                  </a:lnTo>
                  <a:lnTo>
                    <a:pt x="484" y="62"/>
                  </a:lnTo>
                  <a:lnTo>
                    <a:pt x="478" y="62"/>
                  </a:lnTo>
                  <a:lnTo>
                    <a:pt x="472" y="62"/>
                  </a:lnTo>
                  <a:lnTo>
                    <a:pt x="472" y="68"/>
                  </a:lnTo>
                  <a:lnTo>
                    <a:pt x="466" y="68"/>
                  </a:lnTo>
                  <a:lnTo>
                    <a:pt x="460" y="68"/>
                  </a:lnTo>
                  <a:lnTo>
                    <a:pt x="453" y="68"/>
                  </a:lnTo>
                  <a:lnTo>
                    <a:pt x="453" y="62"/>
                  </a:lnTo>
                  <a:lnTo>
                    <a:pt x="453" y="55"/>
                  </a:lnTo>
                  <a:lnTo>
                    <a:pt x="460" y="62"/>
                  </a:lnTo>
                  <a:lnTo>
                    <a:pt x="466" y="62"/>
                  </a:lnTo>
                  <a:lnTo>
                    <a:pt x="466" y="55"/>
                  </a:lnTo>
                  <a:lnTo>
                    <a:pt x="460" y="55"/>
                  </a:lnTo>
                  <a:lnTo>
                    <a:pt x="453" y="55"/>
                  </a:lnTo>
                  <a:lnTo>
                    <a:pt x="460" y="49"/>
                  </a:lnTo>
                  <a:lnTo>
                    <a:pt x="466" y="49"/>
                  </a:lnTo>
                  <a:lnTo>
                    <a:pt x="472" y="49"/>
                  </a:lnTo>
                  <a:lnTo>
                    <a:pt x="466" y="49"/>
                  </a:lnTo>
                  <a:lnTo>
                    <a:pt x="466" y="43"/>
                  </a:lnTo>
                  <a:lnTo>
                    <a:pt x="472" y="43"/>
                  </a:lnTo>
                  <a:lnTo>
                    <a:pt x="472" y="49"/>
                  </a:lnTo>
                  <a:lnTo>
                    <a:pt x="478" y="49"/>
                  </a:lnTo>
                  <a:lnTo>
                    <a:pt x="484" y="49"/>
                  </a:lnTo>
                  <a:lnTo>
                    <a:pt x="478" y="49"/>
                  </a:lnTo>
                  <a:lnTo>
                    <a:pt x="478" y="43"/>
                  </a:lnTo>
                  <a:lnTo>
                    <a:pt x="472" y="43"/>
                  </a:lnTo>
                  <a:lnTo>
                    <a:pt x="466" y="43"/>
                  </a:lnTo>
                  <a:lnTo>
                    <a:pt x="466" y="37"/>
                  </a:lnTo>
                  <a:lnTo>
                    <a:pt x="460" y="37"/>
                  </a:lnTo>
                  <a:lnTo>
                    <a:pt x="460" y="43"/>
                  </a:lnTo>
                  <a:lnTo>
                    <a:pt x="453" y="43"/>
                  </a:lnTo>
                  <a:lnTo>
                    <a:pt x="453" y="49"/>
                  </a:lnTo>
                  <a:lnTo>
                    <a:pt x="447" y="49"/>
                  </a:lnTo>
                  <a:lnTo>
                    <a:pt x="441" y="55"/>
                  </a:lnTo>
                  <a:lnTo>
                    <a:pt x="435" y="55"/>
                  </a:lnTo>
                  <a:lnTo>
                    <a:pt x="429" y="55"/>
                  </a:lnTo>
                  <a:lnTo>
                    <a:pt x="435" y="49"/>
                  </a:lnTo>
                  <a:lnTo>
                    <a:pt x="441" y="49"/>
                  </a:lnTo>
                  <a:lnTo>
                    <a:pt x="447" y="49"/>
                  </a:lnTo>
                  <a:lnTo>
                    <a:pt x="447" y="43"/>
                  </a:lnTo>
                  <a:lnTo>
                    <a:pt x="441" y="43"/>
                  </a:lnTo>
                  <a:lnTo>
                    <a:pt x="435" y="43"/>
                  </a:lnTo>
                  <a:lnTo>
                    <a:pt x="429" y="43"/>
                  </a:lnTo>
                  <a:lnTo>
                    <a:pt x="435" y="37"/>
                  </a:lnTo>
                  <a:lnTo>
                    <a:pt x="441" y="37"/>
                  </a:lnTo>
                  <a:lnTo>
                    <a:pt x="447" y="37"/>
                  </a:lnTo>
                  <a:lnTo>
                    <a:pt x="441" y="37"/>
                  </a:lnTo>
                  <a:lnTo>
                    <a:pt x="435" y="37"/>
                  </a:lnTo>
                  <a:lnTo>
                    <a:pt x="441" y="31"/>
                  </a:lnTo>
                  <a:lnTo>
                    <a:pt x="441" y="37"/>
                  </a:lnTo>
                  <a:lnTo>
                    <a:pt x="447" y="37"/>
                  </a:lnTo>
                  <a:lnTo>
                    <a:pt x="447" y="31"/>
                  </a:lnTo>
                  <a:lnTo>
                    <a:pt x="453" y="37"/>
                  </a:lnTo>
                  <a:lnTo>
                    <a:pt x="460" y="31"/>
                  </a:lnTo>
                  <a:lnTo>
                    <a:pt x="466" y="31"/>
                  </a:lnTo>
                  <a:lnTo>
                    <a:pt x="472" y="31"/>
                  </a:lnTo>
                  <a:lnTo>
                    <a:pt x="478" y="25"/>
                  </a:lnTo>
                  <a:lnTo>
                    <a:pt x="484" y="31"/>
                  </a:lnTo>
                  <a:lnTo>
                    <a:pt x="484" y="37"/>
                  </a:lnTo>
                  <a:lnTo>
                    <a:pt x="490" y="37"/>
                  </a:lnTo>
                  <a:lnTo>
                    <a:pt x="484" y="31"/>
                  </a:lnTo>
                  <a:lnTo>
                    <a:pt x="490" y="25"/>
                  </a:lnTo>
                  <a:lnTo>
                    <a:pt x="490" y="19"/>
                  </a:lnTo>
                  <a:lnTo>
                    <a:pt x="484" y="25"/>
                  </a:lnTo>
                  <a:lnTo>
                    <a:pt x="484" y="19"/>
                  </a:lnTo>
                  <a:lnTo>
                    <a:pt x="478" y="19"/>
                  </a:lnTo>
                  <a:lnTo>
                    <a:pt x="472" y="19"/>
                  </a:lnTo>
                  <a:lnTo>
                    <a:pt x="466" y="19"/>
                  </a:lnTo>
                  <a:lnTo>
                    <a:pt x="466" y="25"/>
                  </a:lnTo>
                  <a:lnTo>
                    <a:pt x="460" y="25"/>
                  </a:lnTo>
                  <a:lnTo>
                    <a:pt x="460" y="19"/>
                  </a:lnTo>
                  <a:lnTo>
                    <a:pt x="460" y="13"/>
                  </a:lnTo>
                  <a:lnTo>
                    <a:pt x="466" y="13"/>
                  </a:lnTo>
                  <a:lnTo>
                    <a:pt x="472" y="13"/>
                  </a:lnTo>
                  <a:lnTo>
                    <a:pt x="472" y="6"/>
                  </a:lnTo>
                  <a:lnTo>
                    <a:pt x="478" y="13"/>
                  </a:lnTo>
                  <a:lnTo>
                    <a:pt x="484" y="13"/>
                  </a:lnTo>
                  <a:lnTo>
                    <a:pt x="484" y="6"/>
                  </a:lnTo>
                  <a:lnTo>
                    <a:pt x="490" y="6"/>
                  </a:lnTo>
                  <a:lnTo>
                    <a:pt x="490" y="0"/>
                  </a:lnTo>
                  <a:lnTo>
                    <a:pt x="496" y="0"/>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4" name="Freeform 155"/>
            <p:cNvSpPr>
              <a:spLocks/>
            </p:cNvSpPr>
            <p:nvPr/>
          </p:nvSpPr>
          <p:spPr bwMode="auto">
            <a:xfrm>
              <a:off x="3367749" y="3100513"/>
              <a:ext cx="187546" cy="493097"/>
            </a:xfrm>
            <a:custGeom>
              <a:avLst/>
              <a:gdLst>
                <a:gd name="T0" fmla="*/ 123488467 w 116"/>
                <a:gd name="T1" fmla="*/ 819049124 h 337"/>
                <a:gd name="T2" fmla="*/ 78124054 w 116"/>
                <a:gd name="T3" fmla="*/ 740925175 h 337"/>
                <a:gd name="T4" fmla="*/ 123488467 w 116"/>
                <a:gd name="T5" fmla="*/ 710683339 h 337"/>
                <a:gd name="T6" fmla="*/ 138609401 w 116"/>
                <a:gd name="T7" fmla="*/ 710683339 h 337"/>
                <a:gd name="T8" fmla="*/ 153728747 w 116"/>
                <a:gd name="T9" fmla="*/ 647678721 h 337"/>
                <a:gd name="T10" fmla="*/ 138609401 w 116"/>
                <a:gd name="T11" fmla="*/ 617436885 h 337"/>
                <a:gd name="T12" fmla="*/ 186491563 w 116"/>
                <a:gd name="T13" fmla="*/ 556953214 h 337"/>
                <a:gd name="T14" fmla="*/ 123488467 w 116"/>
                <a:gd name="T15" fmla="*/ 602315967 h 337"/>
                <a:gd name="T16" fmla="*/ 123488467 w 116"/>
                <a:gd name="T17" fmla="*/ 632557803 h 337"/>
                <a:gd name="T18" fmla="*/ 78124054 w 116"/>
                <a:gd name="T19" fmla="*/ 602315967 h 337"/>
                <a:gd name="T20" fmla="*/ 45362813 w 116"/>
                <a:gd name="T21" fmla="*/ 602315967 h 337"/>
                <a:gd name="T22" fmla="*/ 78124054 w 116"/>
                <a:gd name="T23" fmla="*/ 556953214 h 337"/>
                <a:gd name="T24" fmla="*/ 108367534 w 116"/>
                <a:gd name="T25" fmla="*/ 572074132 h 337"/>
                <a:gd name="T26" fmla="*/ 168851268 w 116"/>
                <a:gd name="T27" fmla="*/ 524192019 h 337"/>
                <a:gd name="T28" fmla="*/ 108367534 w 116"/>
                <a:gd name="T29" fmla="*/ 509071101 h 337"/>
                <a:gd name="T30" fmla="*/ 168851268 w 116"/>
                <a:gd name="T31" fmla="*/ 448587429 h 337"/>
                <a:gd name="T32" fmla="*/ 186491563 w 116"/>
                <a:gd name="T33" fmla="*/ 415824547 h 337"/>
                <a:gd name="T34" fmla="*/ 201612497 w 116"/>
                <a:gd name="T35" fmla="*/ 433466511 h 337"/>
                <a:gd name="T36" fmla="*/ 231854413 w 116"/>
                <a:gd name="T37" fmla="*/ 385582712 h 337"/>
                <a:gd name="T38" fmla="*/ 216733480 w 116"/>
                <a:gd name="T39" fmla="*/ 400703630 h 337"/>
                <a:gd name="T40" fmla="*/ 153728747 w 116"/>
                <a:gd name="T41" fmla="*/ 400703630 h 337"/>
                <a:gd name="T42" fmla="*/ 123488467 w 116"/>
                <a:gd name="T43" fmla="*/ 478829265 h 337"/>
                <a:gd name="T44" fmla="*/ 63004708 w 116"/>
                <a:gd name="T45" fmla="*/ 493950183 h 337"/>
                <a:gd name="T46" fmla="*/ 93246575 w 116"/>
                <a:gd name="T47" fmla="*/ 463708347 h 337"/>
                <a:gd name="T48" fmla="*/ 108367534 w 116"/>
                <a:gd name="T49" fmla="*/ 400703630 h 337"/>
                <a:gd name="T50" fmla="*/ 63004708 w 116"/>
                <a:gd name="T51" fmla="*/ 448587429 h 337"/>
                <a:gd name="T52" fmla="*/ 15120940 w 116"/>
                <a:gd name="T53" fmla="*/ 415824547 h 337"/>
                <a:gd name="T54" fmla="*/ 45362813 w 116"/>
                <a:gd name="T55" fmla="*/ 370461794 h 337"/>
                <a:gd name="T56" fmla="*/ 63004708 w 116"/>
                <a:gd name="T57" fmla="*/ 355340876 h 337"/>
                <a:gd name="T58" fmla="*/ 15120940 w 116"/>
                <a:gd name="T59" fmla="*/ 340219958 h 337"/>
                <a:gd name="T60" fmla="*/ 30241879 w 116"/>
                <a:gd name="T61" fmla="*/ 325099040 h 337"/>
                <a:gd name="T62" fmla="*/ 45362813 w 116"/>
                <a:gd name="T63" fmla="*/ 325099040 h 337"/>
                <a:gd name="T64" fmla="*/ 15120940 w 116"/>
                <a:gd name="T65" fmla="*/ 277216927 h 337"/>
                <a:gd name="T66" fmla="*/ 78124054 w 116"/>
                <a:gd name="T67" fmla="*/ 262096009 h 337"/>
                <a:gd name="T68" fmla="*/ 168851268 w 116"/>
                <a:gd name="T69" fmla="*/ 246975091 h 337"/>
                <a:gd name="T70" fmla="*/ 262096280 w 116"/>
                <a:gd name="T71" fmla="*/ 246975091 h 337"/>
                <a:gd name="T72" fmla="*/ 262096280 w 116"/>
                <a:gd name="T73" fmla="*/ 231854174 h 337"/>
                <a:gd name="T74" fmla="*/ 168851268 w 116"/>
                <a:gd name="T75" fmla="*/ 246975091 h 337"/>
                <a:gd name="T76" fmla="*/ 93246575 w 116"/>
                <a:gd name="T77" fmla="*/ 231854174 h 337"/>
                <a:gd name="T78" fmla="*/ 45362813 w 116"/>
                <a:gd name="T79" fmla="*/ 231854174 h 337"/>
                <a:gd name="T80" fmla="*/ 30241879 w 116"/>
                <a:gd name="T81" fmla="*/ 201612288 h 337"/>
                <a:gd name="T82" fmla="*/ 15120940 w 116"/>
                <a:gd name="T83" fmla="*/ 186491370 h 337"/>
                <a:gd name="T84" fmla="*/ 93246575 w 116"/>
                <a:gd name="T85" fmla="*/ 168849506 h 337"/>
                <a:gd name="T86" fmla="*/ 63004708 w 116"/>
                <a:gd name="T87" fmla="*/ 153728588 h 337"/>
                <a:gd name="T88" fmla="*/ 45362813 w 116"/>
                <a:gd name="T89" fmla="*/ 138607670 h 337"/>
                <a:gd name="T90" fmla="*/ 30241879 w 116"/>
                <a:gd name="T91" fmla="*/ 108365834 h 337"/>
                <a:gd name="T92" fmla="*/ 63004708 w 116"/>
                <a:gd name="T93" fmla="*/ 78123973 h 337"/>
                <a:gd name="T94" fmla="*/ 123488467 w 116"/>
                <a:gd name="T95" fmla="*/ 78123973 h 337"/>
                <a:gd name="T96" fmla="*/ 123488467 w 116"/>
                <a:gd name="T97" fmla="*/ 78123973 h 337"/>
                <a:gd name="T98" fmla="*/ 108367534 w 116"/>
                <a:gd name="T99" fmla="*/ 63003056 h 337"/>
                <a:gd name="T100" fmla="*/ 15120940 w 116"/>
                <a:gd name="T101" fmla="*/ 63003056 h 337"/>
                <a:gd name="T102" fmla="*/ 45362813 w 116"/>
                <a:gd name="T103" fmla="*/ 45362766 h 337"/>
                <a:gd name="T104" fmla="*/ 30241879 w 116"/>
                <a:gd name="T105" fmla="*/ 0 h 337"/>
                <a:gd name="T106" fmla="*/ 78124054 w 116"/>
                <a:gd name="T107" fmla="*/ 15120924 h 337"/>
                <a:gd name="T108" fmla="*/ 108367534 w 116"/>
                <a:gd name="T109" fmla="*/ 0 h 337"/>
                <a:gd name="T110" fmla="*/ 138609401 w 116"/>
                <a:gd name="T111" fmla="*/ 30241848 h 3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
                <a:gd name="T169" fmla="*/ 0 h 337"/>
                <a:gd name="T170" fmla="*/ 116 w 116"/>
                <a:gd name="T171" fmla="*/ 337 h 3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 h="337">
                  <a:moveTo>
                    <a:pt x="74" y="337"/>
                  </a:moveTo>
                  <a:lnTo>
                    <a:pt x="67" y="337"/>
                  </a:lnTo>
                  <a:lnTo>
                    <a:pt x="61" y="337"/>
                  </a:lnTo>
                  <a:lnTo>
                    <a:pt x="55" y="331"/>
                  </a:lnTo>
                  <a:lnTo>
                    <a:pt x="55" y="325"/>
                  </a:lnTo>
                  <a:lnTo>
                    <a:pt x="49" y="325"/>
                  </a:lnTo>
                  <a:lnTo>
                    <a:pt x="43" y="325"/>
                  </a:lnTo>
                  <a:lnTo>
                    <a:pt x="37" y="312"/>
                  </a:lnTo>
                  <a:lnTo>
                    <a:pt x="31" y="312"/>
                  </a:lnTo>
                  <a:lnTo>
                    <a:pt x="31" y="306"/>
                  </a:lnTo>
                  <a:lnTo>
                    <a:pt x="31" y="300"/>
                  </a:lnTo>
                  <a:lnTo>
                    <a:pt x="31" y="294"/>
                  </a:lnTo>
                  <a:lnTo>
                    <a:pt x="31" y="288"/>
                  </a:lnTo>
                  <a:lnTo>
                    <a:pt x="31" y="282"/>
                  </a:lnTo>
                  <a:lnTo>
                    <a:pt x="31" y="276"/>
                  </a:lnTo>
                  <a:lnTo>
                    <a:pt x="43" y="282"/>
                  </a:lnTo>
                  <a:lnTo>
                    <a:pt x="43" y="288"/>
                  </a:lnTo>
                  <a:lnTo>
                    <a:pt x="49" y="282"/>
                  </a:lnTo>
                  <a:lnTo>
                    <a:pt x="49" y="288"/>
                  </a:lnTo>
                  <a:lnTo>
                    <a:pt x="61" y="294"/>
                  </a:lnTo>
                  <a:lnTo>
                    <a:pt x="55" y="288"/>
                  </a:lnTo>
                  <a:lnTo>
                    <a:pt x="86" y="276"/>
                  </a:lnTo>
                  <a:lnTo>
                    <a:pt x="61" y="282"/>
                  </a:lnTo>
                  <a:lnTo>
                    <a:pt x="55" y="282"/>
                  </a:lnTo>
                  <a:lnTo>
                    <a:pt x="55" y="276"/>
                  </a:lnTo>
                  <a:lnTo>
                    <a:pt x="49" y="276"/>
                  </a:lnTo>
                  <a:lnTo>
                    <a:pt x="49" y="270"/>
                  </a:lnTo>
                  <a:lnTo>
                    <a:pt x="61" y="263"/>
                  </a:lnTo>
                  <a:lnTo>
                    <a:pt x="55" y="270"/>
                  </a:lnTo>
                  <a:lnTo>
                    <a:pt x="61" y="257"/>
                  </a:lnTo>
                  <a:lnTo>
                    <a:pt x="74" y="251"/>
                  </a:lnTo>
                  <a:lnTo>
                    <a:pt x="61" y="257"/>
                  </a:lnTo>
                  <a:lnTo>
                    <a:pt x="61" y="251"/>
                  </a:lnTo>
                  <a:lnTo>
                    <a:pt x="67" y="251"/>
                  </a:lnTo>
                  <a:lnTo>
                    <a:pt x="55" y="251"/>
                  </a:lnTo>
                  <a:lnTo>
                    <a:pt x="55" y="245"/>
                  </a:lnTo>
                  <a:lnTo>
                    <a:pt x="61" y="245"/>
                  </a:lnTo>
                  <a:lnTo>
                    <a:pt x="67" y="239"/>
                  </a:lnTo>
                  <a:lnTo>
                    <a:pt x="80" y="233"/>
                  </a:lnTo>
                  <a:lnTo>
                    <a:pt x="74" y="233"/>
                  </a:lnTo>
                  <a:lnTo>
                    <a:pt x="67" y="233"/>
                  </a:lnTo>
                  <a:lnTo>
                    <a:pt x="74" y="221"/>
                  </a:lnTo>
                  <a:lnTo>
                    <a:pt x="61" y="239"/>
                  </a:lnTo>
                  <a:lnTo>
                    <a:pt x="55" y="245"/>
                  </a:lnTo>
                  <a:lnTo>
                    <a:pt x="49" y="251"/>
                  </a:lnTo>
                  <a:lnTo>
                    <a:pt x="49" y="239"/>
                  </a:lnTo>
                  <a:lnTo>
                    <a:pt x="61" y="239"/>
                  </a:lnTo>
                  <a:lnTo>
                    <a:pt x="49" y="239"/>
                  </a:lnTo>
                  <a:lnTo>
                    <a:pt x="43" y="233"/>
                  </a:lnTo>
                  <a:lnTo>
                    <a:pt x="43" y="239"/>
                  </a:lnTo>
                  <a:lnTo>
                    <a:pt x="37" y="245"/>
                  </a:lnTo>
                  <a:lnTo>
                    <a:pt x="43" y="239"/>
                  </a:lnTo>
                  <a:lnTo>
                    <a:pt x="49" y="245"/>
                  </a:lnTo>
                  <a:lnTo>
                    <a:pt x="49" y="251"/>
                  </a:lnTo>
                  <a:lnTo>
                    <a:pt x="37" y="251"/>
                  </a:lnTo>
                  <a:lnTo>
                    <a:pt x="37" y="257"/>
                  </a:lnTo>
                  <a:lnTo>
                    <a:pt x="37" y="251"/>
                  </a:lnTo>
                  <a:lnTo>
                    <a:pt x="37" y="239"/>
                  </a:lnTo>
                  <a:lnTo>
                    <a:pt x="25" y="239"/>
                  </a:lnTo>
                  <a:lnTo>
                    <a:pt x="31" y="239"/>
                  </a:lnTo>
                  <a:lnTo>
                    <a:pt x="31" y="257"/>
                  </a:lnTo>
                  <a:lnTo>
                    <a:pt x="18" y="257"/>
                  </a:lnTo>
                  <a:lnTo>
                    <a:pt x="18" y="263"/>
                  </a:lnTo>
                  <a:lnTo>
                    <a:pt x="12" y="263"/>
                  </a:lnTo>
                  <a:lnTo>
                    <a:pt x="12" y="245"/>
                  </a:lnTo>
                  <a:lnTo>
                    <a:pt x="18" y="239"/>
                  </a:lnTo>
                  <a:lnTo>
                    <a:pt x="12" y="233"/>
                  </a:lnTo>
                  <a:lnTo>
                    <a:pt x="18" y="227"/>
                  </a:lnTo>
                  <a:lnTo>
                    <a:pt x="25" y="227"/>
                  </a:lnTo>
                  <a:lnTo>
                    <a:pt x="31" y="227"/>
                  </a:lnTo>
                  <a:lnTo>
                    <a:pt x="25" y="221"/>
                  </a:lnTo>
                  <a:lnTo>
                    <a:pt x="31" y="221"/>
                  </a:lnTo>
                  <a:lnTo>
                    <a:pt x="31" y="233"/>
                  </a:lnTo>
                  <a:lnTo>
                    <a:pt x="25" y="233"/>
                  </a:lnTo>
                  <a:lnTo>
                    <a:pt x="25" y="239"/>
                  </a:lnTo>
                  <a:lnTo>
                    <a:pt x="31" y="233"/>
                  </a:lnTo>
                  <a:lnTo>
                    <a:pt x="31" y="221"/>
                  </a:lnTo>
                  <a:lnTo>
                    <a:pt x="43" y="227"/>
                  </a:lnTo>
                  <a:lnTo>
                    <a:pt x="49" y="221"/>
                  </a:lnTo>
                  <a:lnTo>
                    <a:pt x="43" y="227"/>
                  </a:lnTo>
                  <a:lnTo>
                    <a:pt x="43" y="221"/>
                  </a:lnTo>
                  <a:lnTo>
                    <a:pt x="49" y="214"/>
                  </a:lnTo>
                  <a:lnTo>
                    <a:pt x="55" y="214"/>
                  </a:lnTo>
                  <a:lnTo>
                    <a:pt x="67" y="208"/>
                  </a:lnTo>
                  <a:lnTo>
                    <a:pt x="49" y="214"/>
                  </a:lnTo>
                  <a:lnTo>
                    <a:pt x="55" y="208"/>
                  </a:lnTo>
                  <a:lnTo>
                    <a:pt x="49" y="214"/>
                  </a:lnTo>
                  <a:lnTo>
                    <a:pt x="43" y="208"/>
                  </a:lnTo>
                  <a:lnTo>
                    <a:pt x="37" y="208"/>
                  </a:lnTo>
                  <a:lnTo>
                    <a:pt x="43" y="202"/>
                  </a:lnTo>
                  <a:lnTo>
                    <a:pt x="49" y="196"/>
                  </a:lnTo>
                  <a:lnTo>
                    <a:pt x="55" y="196"/>
                  </a:lnTo>
                  <a:lnTo>
                    <a:pt x="55" y="190"/>
                  </a:lnTo>
                  <a:lnTo>
                    <a:pt x="61" y="184"/>
                  </a:lnTo>
                  <a:lnTo>
                    <a:pt x="67" y="184"/>
                  </a:lnTo>
                  <a:lnTo>
                    <a:pt x="67" y="178"/>
                  </a:lnTo>
                  <a:lnTo>
                    <a:pt x="67" y="184"/>
                  </a:lnTo>
                  <a:lnTo>
                    <a:pt x="61" y="184"/>
                  </a:lnTo>
                  <a:lnTo>
                    <a:pt x="55" y="178"/>
                  </a:lnTo>
                  <a:lnTo>
                    <a:pt x="61" y="178"/>
                  </a:lnTo>
                  <a:lnTo>
                    <a:pt x="67" y="172"/>
                  </a:lnTo>
                  <a:lnTo>
                    <a:pt x="74" y="165"/>
                  </a:lnTo>
                  <a:lnTo>
                    <a:pt x="74" y="159"/>
                  </a:lnTo>
                  <a:lnTo>
                    <a:pt x="80" y="159"/>
                  </a:lnTo>
                  <a:lnTo>
                    <a:pt x="80" y="153"/>
                  </a:lnTo>
                  <a:lnTo>
                    <a:pt x="86" y="159"/>
                  </a:lnTo>
                  <a:lnTo>
                    <a:pt x="86" y="165"/>
                  </a:lnTo>
                  <a:lnTo>
                    <a:pt x="80" y="172"/>
                  </a:lnTo>
                  <a:lnTo>
                    <a:pt x="80" y="184"/>
                  </a:lnTo>
                  <a:lnTo>
                    <a:pt x="86" y="178"/>
                  </a:lnTo>
                  <a:lnTo>
                    <a:pt x="86" y="172"/>
                  </a:lnTo>
                  <a:lnTo>
                    <a:pt x="86" y="159"/>
                  </a:lnTo>
                  <a:lnTo>
                    <a:pt x="92" y="159"/>
                  </a:lnTo>
                  <a:lnTo>
                    <a:pt x="92" y="153"/>
                  </a:lnTo>
                  <a:lnTo>
                    <a:pt x="98" y="153"/>
                  </a:lnTo>
                  <a:lnTo>
                    <a:pt x="104" y="153"/>
                  </a:lnTo>
                  <a:lnTo>
                    <a:pt x="104" y="147"/>
                  </a:lnTo>
                  <a:lnTo>
                    <a:pt x="98" y="153"/>
                  </a:lnTo>
                  <a:lnTo>
                    <a:pt x="92" y="153"/>
                  </a:lnTo>
                  <a:lnTo>
                    <a:pt x="86" y="159"/>
                  </a:lnTo>
                  <a:lnTo>
                    <a:pt x="86" y="153"/>
                  </a:lnTo>
                  <a:lnTo>
                    <a:pt x="86" y="147"/>
                  </a:lnTo>
                  <a:lnTo>
                    <a:pt x="80" y="153"/>
                  </a:lnTo>
                  <a:lnTo>
                    <a:pt x="74" y="159"/>
                  </a:lnTo>
                  <a:lnTo>
                    <a:pt x="67" y="159"/>
                  </a:lnTo>
                  <a:lnTo>
                    <a:pt x="61" y="159"/>
                  </a:lnTo>
                  <a:lnTo>
                    <a:pt x="61" y="165"/>
                  </a:lnTo>
                  <a:lnTo>
                    <a:pt x="61" y="172"/>
                  </a:lnTo>
                  <a:lnTo>
                    <a:pt x="55" y="172"/>
                  </a:lnTo>
                  <a:lnTo>
                    <a:pt x="49" y="178"/>
                  </a:lnTo>
                  <a:lnTo>
                    <a:pt x="49" y="184"/>
                  </a:lnTo>
                  <a:lnTo>
                    <a:pt x="49" y="190"/>
                  </a:lnTo>
                  <a:lnTo>
                    <a:pt x="43" y="196"/>
                  </a:lnTo>
                  <a:lnTo>
                    <a:pt x="37" y="190"/>
                  </a:lnTo>
                  <a:lnTo>
                    <a:pt x="37" y="196"/>
                  </a:lnTo>
                  <a:lnTo>
                    <a:pt x="37" y="202"/>
                  </a:lnTo>
                  <a:lnTo>
                    <a:pt x="31" y="202"/>
                  </a:lnTo>
                  <a:lnTo>
                    <a:pt x="25" y="196"/>
                  </a:lnTo>
                  <a:lnTo>
                    <a:pt x="31" y="190"/>
                  </a:lnTo>
                  <a:lnTo>
                    <a:pt x="37" y="190"/>
                  </a:lnTo>
                  <a:lnTo>
                    <a:pt x="43" y="190"/>
                  </a:lnTo>
                  <a:lnTo>
                    <a:pt x="43" y="184"/>
                  </a:lnTo>
                  <a:lnTo>
                    <a:pt x="37" y="178"/>
                  </a:lnTo>
                  <a:lnTo>
                    <a:pt x="37" y="184"/>
                  </a:lnTo>
                  <a:lnTo>
                    <a:pt x="31" y="178"/>
                  </a:lnTo>
                  <a:lnTo>
                    <a:pt x="37" y="172"/>
                  </a:lnTo>
                  <a:lnTo>
                    <a:pt x="43" y="172"/>
                  </a:lnTo>
                  <a:lnTo>
                    <a:pt x="37" y="172"/>
                  </a:lnTo>
                  <a:lnTo>
                    <a:pt x="37" y="165"/>
                  </a:lnTo>
                  <a:lnTo>
                    <a:pt x="43" y="159"/>
                  </a:lnTo>
                  <a:lnTo>
                    <a:pt x="37" y="159"/>
                  </a:lnTo>
                  <a:lnTo>
                    <a:pt x="37" y="165"/>
                  </a:lnTo>
                  <a:lnTo>
                    <a:pt x="31" y="165"/>
                  </a:lnTo>
                  <a:lnTo>
                    <a:pt x="31" y="172"/>
                  </a:lnTo>
                  <a:lnTo>
                    <a:pt x="31" y="178"/>
                  </a:lnTo>
                  <a:lnTo>
                    <a:pt x="25" y="178"/>
                  </a:lnTo>
                  <a:lnTo>
                    <a:pt x="18" y="178"/>
                  </a:lnTo>
                  <a:lnTo>
                    <a:pt x="18" y="172"/>
                  </a:lnTo>
                  <a:lnTo>
                    <a:pt x="12" y="172"/>
                  </a:lnTo>
                  <a:lnTo>
                    <a:pt x="12" y="178"/>
                  </a:lnTo>
                  <a:lnTo>
                    <a:pt x="6" y="172"/>
                  </a:lnTo>
                  <a:lnTo>
                    <a:pt x="6" y="165"/>
                  </a:lnTo>
                  <a:lnTo>
                    <a:pt x="0" y="165"/>
                  </a:lnTo>
                  <a:lnTo>
                    <a:pt x="6" y="159"/>
                  </a:lnTo>
                  <a:lnTo>
                    <a:pt x="12" y="159"/>
                  </a:lnTo>
                  <a:lnTo>
                    <a:pt x="18" y="159"/>
                  </a:lnTo>
                  <a:lnTo>
                    <a:pt x="18" y="153"/>
                  </a:lnTo>
                  <a:lnTo>
                    <a:pt x="18" y="147"/>
                  </a:lnTo>
                  <a:lnTo>
                    <a:pt x="25" y="147"/>
                  </a:lnTo>
                  <a:lnTo>
                    <a:pt x="25" y="141"/>
                  </a:lnTo>
                  <a:lnTo>
                    <a:pt x="31" y="141"/>
                  </a:lnTo>
                  <a:lnTo>
                    <a:pt x="31" y="135"/>
                  </a:lnTo>
                  <a:lnTo>
                    <a:pt x="31" y="141"/>
                  </a:lnTo>
                  <a:lnTo>
                    <a:pt x="25" y="141"/>
                  </a:lnTo>
                  <a:lnTo>
                    <a:pt x="18" y="147"/>
                  </a:lnTo>
                  <a:lnTo>
                    <a:pt x="12" y="141"/>
                  </a:lnTo>
                  <a:lnTo>
                    <a:pt x="6" y="135"/>
                  </a:lnTo>
                  <a:lnTo>
                    <a:pt x="0" y="135"/>
                  </a:lnTo>
                  <a:lnTo>
                    <a:pt x="0" y="129"/>
                  </a:lnTo>
                  <a:lnTo>
                    <a:pt x="6" y="135"/>
                  </a:lnTo>
                  <a:lnTo>
                    <a:pt x="12" y="135"/>
                  </a:lnTo>
                  <a:lnTo>
                    <a:pt x="18" y="135"/>
                  </a:lnTo>
                  <a:lnTo>
                    <a:pt x="18" y="141"/>
                  </a:lnTo>
                  <a:lnTo>
                    <a:pt x="18" y="135"/>
                  </a:lnTo>
                  <a:lnTo>
                    <a:pt x="12" y="135"/>
                  </a:lnTo>
                  <a:lnTo>
                    <a:pt x="12" y="129"/>
                  </a:lnTo>
                  <a:lnTo>
                    <a:pt x="6" y="129"/>
                  </a:lnTo>
                  <a:lnTo>
                    <a:pt x="0" y="129"/>
                  </a:lnTo>
                  <a:lnTo>
                    <a:pt x="0" y="123"/>
                  </a:lnTo>
                  <a:lnTo>
                    <a:pt x="6" y="123"/>
                  </a:lnTo>
                  <a:lnTo>
                    <a:pt x="12" y="123"/>
                  </a:lnTo>
                  <a:lnTo>
                    <a:pt x="18" y="129"/>
                  </a:lnTo>
                  <a:lnTo>
                    <a:pt x="18" y="123"/>
                  </a:lnTo>
                  <a:lnTo>
                    <a:pt x="12" y="123"/>
                  </a:lnTo>
                  <a:lnTo>
                    <a:pt x="6" y="116"/>
                  </a:lnTo>
                  <a:lnTo>
                    <a:pt x="12" y="116"/>
                  </a:lnTo>
                  <a:lnTo>
                    <a:pt x="12" y="110"/>
                  </a:lnTo>
                  <a:lnTo>
                    <a:pt x="6" y="110"/>
                  </a:lnTo>
                  <a:lnTo>
                    <a:pt x="6" y="104"/>
                  </a:lnTo>
                  <a:lnTo>
                    <a:pt x="12" y="98"/>
                  </a:lnTo>
                  <a:lnTo>
                    <a:pt x="18" y="98"/>
                  </a:lnTo>
                  <a:lnTo>
                    <a:pt x="18" y="104"/>
                  </a:lnTo>
                  <a:lnTo>
                    <a:pt x="25" y="104"/>
                  </a:lnTo>
                  <a:lnTo>
                    <a:pt x="31" y="104"/>
                  </a:lnTo>
                  <a:lnTo>
                    <a:pt x="37" y="98"/>
                  </a:lnTo>
                  <a:lnTo>
                    <a:pt x="43" y="98"/>
                  </a:lnTo>
                  <a:lnTo>
                    <a:pt x="49" y="92"/>
                  </a:lnTo>
                  <a:lnTo>
                    <a:pt x="55" y="98"/>
                  </a:lnTo>
                  <a:lnTo>
                    <a:pt x="61" y="98"/>
                  </a:lnTo>
                  <a:lnTo>
                    <a:pt x="67" y="98"/>
                  </a:lnTo>
                  <a:lnTo>
                    <a:pt x="74" y="98"/>
                  </a:lnTo>
                  <a:lnTo>
                    <a:pt x="80" y="98"/>
                  </a:lnTo>
                  <a:lnTo>
                    <a:pt x="86" y="92"/>
                  </a:lnTo>
                  <a:lnTo>
                    <a:pt x="98" y="92"/>
                  </a:lnTo>
                  <a:lnTo>
                    <a:pt x="98" y="98"/>
                  </a:lnTo>
                  <a:lnTo>
                    <a:pt x="104" y="98"/>
                  </a:lnTo>
                  <a:lnTo>
                    <a:pt x="116" y="98"/>
                  </a:lnTo>
                  <a:lnTo>
                    <a:pt x="110" y="92"/>
                  </a:lnTo>
                  <a:lnTo>
                    <a:pt x="104" y="92"/>
                  </a:lnTo>
                  <a:lnTo>
                    <a:pt x="98" y="98"/>
                  </a:lnTo>
                  <a:lnTo>
                    <a:pt x="98" y="92"/>
                  </a:lnTo>
                  <a:lnTo>
                    <a:pt x="104" y="92"/>
                  </a:lnTo>
                  <a:lnTo>
                    <a:pt x="98" y="92"/>
                  </a:lnTo>
                  <a:lnTo>
                    <a:pt x="86" y="92"/>
                  </a:lnTo>
                  <a:lnTo>
                    <a:pt x="80" y="86"/>
                  </a:lnTo>
                  <a:lnTo>
                    <a:pt x="80" y="92"/>
                  </a:lnTo>
                  <a:lnTo>
                    <a:pt x="74" y="98"/>
                  </a:lnTo>
                  <a:lnTo>
                    <a:pt x="67" y="98"/>
                  </a:lnTo>
                  <a:lnTo>
                    <a:pt x="67" y="92"/>
                  </a:lnTo>
                  <a:lnTo>
                    <a:pt x="61" y="92"/>
                  </a:lnTo>
                  <a:lnTo>
                    <a:pt x="55" y="92"/>
                  </a:lnTo>
                  <a:lnTo>
                    <a:pt x="49" y="92"/>
                  </a:lnTo>
                  <a:lnTo>
                    <a:pt x="43" y="92"/>
                  </a:lnTo>
                  <a:lnTo>
                    <a:pt x="37" y="92"/>
                  </a:lnTo>
                  <a:lnTo>
                    <a:pt x="31" y="98"/>
                  </a:lnTo>
                  <a:lnTo>
                    <a:pt x="25" y="98"/>
                  </a:lnTo>
                  <a:lnTo>
                    <a:pt x="18" y="98"/>
                  </a:lnTo>
                  <a:lnTo>
                    <a:pt x="18" y="92"/>
                  </a:lnTo>
                  <a:lnTo>
                    <a:pt x="12" y="92"/>
                  </a:lnTo>
                  <a:lnTo>
                    <a:pt x="18" y="92"/>
                  </a:lnTo>
                  <a:lnTo>
                    <a:pt x="12" y="86"/>
                  </a:lnTo>
                  <a:lnTo>
                    <a:pt x="6" y="86"/>
                  </a:lnTo>
                  <a:lnTo>
                    <a:pt x="12" y="86"/>
                  </a:lnTo>
                  <a:lnTo>
                    <a:pt x="6" y="86"/>
                  </a:lnTo>
                  <a:lnTo>
                    <a:pt x="6" y="80"/>
                  </a:lnTo>
                  <a:lnTo>
                    <a:pt x="12" y="80"/>
                  </a:lnTo>
                  <a:lnTo>
                    <a:pt x="18" y="80"/>
                  </a:lnTo>
                  <a:lnTo>
                    <a:pt x="18" y="74"/>
                  </a:lnTo>
                  <a:lnTo>
                    <a:pt x="6" y="74"/>
                  </a:lnTo>
                  <a:lnTo>
                    <a:pt x="12" y="67"/>
                  </a:lnTo>
                  <a:lnTo>
                    <a:pt x="6" y="67"/>
                  </a:lnTo>
                  <a:lnTo>
                    <a:pt x="6" y="74"/>
                  </a:lnTo>
                  <a:lnTo>
                    <a:pt x="6" y="67"/>
                  </a:lnTo>
                  <a:lnTo>
                    <a:pt x="12" y="67"/>
                  </a:lnTo>
                  <a:lnTo>
                    <a:pt x="18" y="67"/>
                  </a:lnTo>
                  <a:lnTo>
                    <a:pt x="25" y="67"/>
                  </a:lnTo>
                  <a:lnTo>
                    <a:pt x="31" y="67"/>
                  </a:lnTo>
                  <a:lnTo>
                    <a:pt x="37" y="67"/>
                  </a:lnTo>
                  <a:lnTo>
                    <a:pt x="37" y="61"/>
                  </a:lnTo>
                  <a:lnTo>
                    <a:pt x="43" y="67"/>
                  </a:lnTo>
                  <a:lnTo>
                    <a:pt x="43" y="61"/>
                  </a:lnTo>
                  <a:lnTo>
                    <a:pt x="37" y="61"/>
                  </a:lnTo>
                  <a:lnTo>
                    <a:pt x="31" y="67"/>
                  </a:lnTo>
                  <a:lnTo>
                    <a:pt x="25" y="61"/>
                  </a:lnTo>
                  <a:lnTo>
                    <a:pt x="18" y="61"/>
                  </a:lnTo>
                  <a:lnTo>
                    <a:pt x="12" y="61"/>
                  </a:lnTo>
                  <a:lnTo>
                    <a:pt x="12" y="55"/>
                  </a:lnTo>
                  <a:lnTo>
                    <a:pt x="18" y="61"/>
                  </a:lnTo>
                  <a:lnTo>
                    <a:pt x="25" y="55"/>
                  </a:lnTo>
                  <a:lnTo>
                    <a:pt x="18" y="55"/>
                  </a:lnTo>
                  <a:lnTo>
                    <a:pt x="12" y="55"/>
                  </a:lnTo>
                  <a:lnTo>
                    <a:pt x="12" y="49"/>
                  </a:lnTo>
                  <a:lnTo>
                    <a:pt x="6" y="49"/>
                  </a:lnTo>
                  <a:lnTo>
                    <a:pt x="6" y="43"/>
                  </a:lnTo>
                  <a:lnTo>
                    <a:pt x="6" y="37"/>
                  </a:lnTo>
                  <a:lnTo>
                    <a:pt x="12" y="43"/>
                  </a:lnTo>
                  <a:lnTo>
                    <a:pt x="12" y="37"/>
                  </a:lnTo>
                  <a:lnTo>
                    <a:pt x="18" y="37"/>
                  </a:lnTo>
                  <a:lnTo>
                    <a:pt x="6" y="37"/>
                  </a:lnTo>
                  <a:lnTo>
                    <a:pt x="12" y="37"/>
                  </a:lnTo>
                  <a:lnTo>
                    <a:pt x="18" y="31"/>
                  </a:lnTo>
                  <a:lnTo>
                    <a:pt x="25" y="31"/>
                  </a:lnTo>
                  <a:lnTo>
                    <a:pt x="18" y="31"/>
                  </a:lnTo>
                  <a:lnTo>
                    <a:pt x="25" y="25"/>
                  </a:lnTo>
                  <a:lnTo>
                    <a:pt x="37" y="31"/>
                  </a:lnTo>
                  <a:lnTo>
                    <a:pt x="49" y="31"/>
                  </a:lnTo>
                  <a:lnTo>
                    <a:pt x="55" y="31"/>
                  </a:lnTo>
                  <a:lnTo>
                    <a:pt x="49" y="31"/>
                  </a:lnTo>
                  <a:lnTo>
                    <a:pt x="49" y="37"/>
                  </a:lnTo>
                  <a:lnTo>
                    <a:pt x="49" y="43"/>
                  </a:lnTo>
                  <a:lnTo>
                    <a:pt x="49" y="37"/>
                  </a:lnTo>
                  <a:lnTo>
                    <a:pt x="55" y="37"/>
                  </a:lnTo>
                  <a:lnTo>
                    <a:pt x="55" y="31"/>
                  </a:lnTo>
                  <a:lnTo>
                    <a:pt x="49" y="31"/>
                  </a:lnTo>
                  <a:lnTo>
                    <a:pt x="43" y="31"/>
                  </a:lnTo>
                  <a:lnTo>
                    <a:pt x="43" y="25"/>
                  </a:lnTo>
                  <a:lnTo>
                    <a:pt x="49" y="25"/>
                  </a:lnTo>
                  <a:lnTo>
                    <a:pt x="55" y="25"/>
                  </a:lnTo>
                  <a:lnTo>
                    <a:pt x="49" y="25"/>
                  </a:lnTo>
                  <a:lnTo>
                    <a:pt x="43" y="25"/>
                  </a:lnTo>
                  <a:lnTo>
                    <a:pt x="37" y="25"/>
                  </a:lnTo>
                  <a:lnTo>
                    <a:pt x="31" y="25"/>
                  </a:lnTo>
                  <a:lnTo>
                    <a:pt x="25" y="25"/>
                  </a:lnTo>
                  <a:lnTo>
                    <a:pt x="18" y="25"/>
                  </a:lnTo>
                  <a:lnTo>
                    <a:pt x="12" y="25"/>
                  </a:lnTo>
                  <a:lnTo>
                    <a:pt x="6" y="25"/>
                  </a:lnTo>
                  <a:lnTo>
                    <a:pt x="6" y="18"/>
                  </a:lnTo>
                  <a:lnTo>
                    <a:pt x="6" y="12"/>
                  </a:lnTo>
                  <a:lnTo>
                    <a:pt x="6" y="18"/>
                  </a:lnTo>
                  <a:lnTo>
                    <a:pt x="12" y="12"/>
                  </a:lnTo>
                  <a:lnTo>
                    <a:pt x="12" y="18"/>
                  </a:lnTo>
                  <a:lnTo>
                    <a:pt x="18" y="18"/>
                  </a:lnTo>
                  <a:lnTo>
                    <a:pt x="25" y="12"/>
                  </a:lnTo>
                  <a:lnTo>
                    <a:pt x="18" y="12"/>
                  </a:lnTo>
                  <a:lnTo>
                    <a:pt x="18" y="6"/>
                  </a:lnTo>
                  <a:lnTo>
                    <a:pt x="12" y="6"/>
                  </a:lnTo>
                  <a:lnTo>
                    <a:pt x="6" y="0"/>
                  </a:lnTo>
                  <a:lnTo>
                    <a:pt x="12" y="0"/>
                  </a:lnTo>
                  <a:lnTo>
                    <a:pt x="18" y="0"/>
                  </a:lnTo>
                  <a:lnTo>
                    <a:pt x="18" y="6"/>
                  </a:lnTo>
                  <a:lnTo>
                    <a:pt x="31" y="12"/>
                  </a:lnTo>
                  <a:lnTo>
                    <a:pt x="37" y="12"/>
                  </a:lnTo>
                  <a:lnTo>
                    <a:pt x="31" y="12"/>
                  </a:lnTo>
                  <a:lnTo>
                    <a:pt x="31" y="6"/>
                  </a:lnTo>
                  <a:lnTo>
                    <a:pt x="25" y="6"/>
                  </a:lnTo>
                  <a:lnTo>
                    <a:pt x="25" y="0"/>
                  </a:lnTo>
                  <a:lnTo>
                    <a:pt x="31" y="0"/>
                  </a:lnTo>
                  <a:lnTo>
                    <a:pt x="31" y="6"/>
                  </a:lnTo>
                  <a:lnTo>
                    <a:pt x="37" y="6"/>
                  </a:lnTo>
                  <a:lnTo>
                    <a:pt x="43" y="0"/>
                  </a:lnTo>
                  <a:lnTo>
                    <a:pt x="49" y="0"/>
                  </a:lnTo>
                  <a:lnTo>
                    <a:pt x="49" y="6"/>
                  </a:lnTo>
                  <a:lnTo>
                    <a:pt x="43" y="12"/>
                  </a:lnTo>
                  <a:lnTo>
                    <a:pt x="43" y="18"/>
                  </a:lnTo>
                  <a:lnTo>
                    <a:pt x="49" y="12"/>
                  </a:lnTo>
                  <a:lnTo>
                    <a:pt x="55" y="12"/>
                  </a:lnTo>
                  <a:lnTo>
                    <a:pt x="55" y="6"/>
                  </a:lnTo>
                  <a:lnTo>
                    <a:pt x="55" y="12"/>
                  </a:lnTo>
                  <a:lnTo>
                    <a:pt x="61" y="12"/>
                  </a:lnTo>
                  <a:lnTo>
                    <a:pt x="67" y="12"/>
                  </a:lnTo>
                  <a:lnTo>
                    <a:pt x="61" y="12"/>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5" name="Freeform 156"/>
            <p:cNvSpPr>
              <a:spLocks/>
            </p:cNvSpPr>
            <p:nvPr/>
          </p:nvSpPr>
          <p:spPr bwMode="auto">
            <a:xfrm>
              <a:off x="4308715" y="2168456"/>
              <a:ext cx="98623" cy="71697"/>
            </a:xfrm>
            <a:custGeom>
              <a:avLst/>
              <a:gdLst>
                <a:gd name="T0" fmla="*/ 0 w 61"/>
                <a:gd name="T1" fmla="*/ 108368225 h 49"/>
                <a:gd name="T2" fmla="*/ 0 w 61"/>
                <a:gd name="T3" fmla="*/ 93247170 h 49"/>
                <a:gd name="T4" fmla="*/ 15120862 w 61"/>
                <a:gd name="T5" fmla="*/ 93247170 h 49"/>
                <a:gd name="T6" fmla="*/ 30241724 w 61"/>
                <a:gd name="T7" fmla="*/ 93247170 h 49"/>
                <a:gd name="T8" fmla="*/ 30241724 w 61"/>
                <a:gd name="T9" fmla="*/ 78126140 h 49"/>
                <a:gd name="T10" fmla="*/ 15120862 w 61"/>
                <a:gd name="T11" fmla="*/ 78126140 h 49"/>
                <a:gd name="T12" fmla="*/ 30241724 w 61"/>
                <a:gd name="T13" fmla="*/ 78126140 h 49"/>
                <a:gd name="T14" fmla="*/ 30241724 w 61"/>
                <a:gd name="T15" fmla="*/ 63005110 h 49"/>
                <a:gd name="T16" fmla="*/ 47881928 w 61"/>
                <a:gd name="T17" fmla="*/ 63005110 h 49"/>
                <a:gd name="T18" fmla="*/ 30241724 w 61"/>
                <a:gd name="T19" fmla="*/ 63005110 h 49"/>
                <a:gd name="T20" fmla="*/ 15120862 w 61"/>
                <a:gd name="T21" fmla="*/ 63005110 h 49"/>
                <a:gd name="T22" fmla="*/ 30241724 w 61"/>
                <a:gd name="T23" fmla="*/ 63005110 h 49"/>
                <a:gd name="T24" fmla="*/ 30241724 w 61"/>
                <a:gd name="T25" fmla="*/ 45363102 h 49"/>
                <a:gd name="T26" fmla="*/ 15120862 w 61"/>
                <a:gd name="T27" fmla="*/ 45363102 h 49"/>
                <a:gd name="T28" fmla="*/ 0 w 61"/>
                <a:gd name="T29" fmla="*/ 45363102 h 49"/>
                <a:gd name="T30" fmla="*/ 15120862 w 61"/>
                <a:gd name="T31" fmla="*/ 45363102 h 49"/>
                <a:gd name="T32" fmla="*/ 30241724 w 61"/>
                <a:gd name="T33" fmla="*/ 45363102 h 49"/>
                <a:gd name="T34" fmla="*/ 30241724 w 61"/>
                <a:gd name="T35" fmla="*/ 30242072 h 49"/>
                <a:gd name="T36" fmla="*/ 47881928 w 61"/>
                <a:gd name="T37" fmla="*/ 30242072 h 49"/>
                <a:gd name="T38" fmla="*/ 63002796 w 61"/>
                <a:gd name="T39" fmla="*/ 30242072 h 49"/>
                <a:gd name="T40" fmla="*/ 47881928 w 61"/>
                <a:gd name="T41" fmla="*/ 30242072 h 49"/>
                <a:gd name="T42" fmla="*/ 47881928 w 61"/>
                <a:gd name="T43" fmla="*/ 15121036 h 49"/>
                <a:gd name="T44" fmla="*/ 63002796 w 61"/>
                <a:gd name="T45" fmla="*/ 15121036 h 49"/>
                <a:gd name="T46" fmla="*/ 63002796 w 61"/>
                <a:gd name="T47" fmla="*/ 30242072 h 49"/>
                <a:gd name="T48" fmla="*/ 63002796 w 61"/>
                <a:gd name="T49" fmla="*/ 15121036 h 49"/>
                <a:gd name="T50" fmla="*/ 78123652 w 61"/>
                <a:gd name="T51" fmla="*/ 15121036 h 49"/>
                <a:gd name="T52" fmla="*/ 93244508 w 61"/>
                <a:gd name="T53" fmla="*/ 15121036 h 49"/>
                <a:gd name="T54" fmla="*/ 78123652 w 61"/>
                <a:gd name="T55" fmla="*/ 0 h 49"/>
                <a:gd name="T56" fmla="*/ 93244508 w 61"/>
                <a:gd name="T57" fmla="*/ 0 h 49"/>
                <a:gd name="T58" fmla="*/ 93244508 w 61"/>
                <a:gd name="T59" fmla="*/ 15121036 h 49"/>
                <a:gd name="T60" fmla="*/ 108365388 w 61"/>
                <a:gd name="T61" fmla="*/ 15121036 h 49"/>
                <a:gd name="T62" fmla="*/ 108365388 w 61"/>
                <a:gd name="T63" fmla="*/ 0 h 49"/>
                <a:gd name="T64" fmla="*/ 93244508 w 61"/>
                <a:gd name="T65" fmla="*/ 0 h 49"/>
                <a:gd name="T66" fmla="*/ 108365388 w 61"/>
                <a:gd name="T67" fmla="*/ 0 h 49"/>
                <a:gd name="T68" fmla="*/ 123486244 w 61"/>
                <a:gd name="T69" fmla="*/ 0 h 49"/>
                <a:gd name="T70" fmla="*/ 123486244 w 61"/>
                <a:gd name="T71" fmla="*/ 15121036 h 49"/>
                <a:gd name="T72" fmla="*/ 123486244 w 61"/>
                <a:gd name="T73" fmla="*/ 30242072 h 49"/>
                <a:gd name="T74" fmla="*/ 123486244 w 61"/>
                <a:gd name="T75" fmla="*/ 15121036 h 49"/>
                <a:gd name="T76" fmla="*/ 138607099 w 61"/>
                <a:gd name="T77" fmla="*/ 15121036 h 49"/>
                <a:gd name="T78" fmla="*/ 153727955 w 61"/>
                <a:gd name="T79" fmla="*/ 15121036 h 49"/>
                <a:gd name="T80" fmla="*/ 138607099 w 61"/>
                <a:gd name="T81" fmla="*/ 30242072 h 49"/>
                <a:gd name="T82" fmla="*/ 153727955 w 61"/>
                <a:gd name="T83" fmla="*/ 30242072 h 49"/>
                <a:gd name="T84" fmla="*/ 138607099 w 61"/>
                <a:gd name="T85" fmla="*/ 45363102 h 49"/>
                <a:gd name="T86" fmla="*/ 123486244 w 61"/>
                <a:gd name="T87" fmla="*/ 45363102 h 49"/>
                <a:gd name="T88" fmla="*/ 123486244 w 61"/>
                <a:gd name="T89" fmla="*/ 63005110 h 49"/>
                <a:gd name="T90" fmla="*/ 123486244 w 61"/>
                <a:gd name="T91" fmla="*/ 78126140 h 49"/>
                <a:gd name="T92" fmla="*/ 138607099 w 61"/>
                <a:gd name="T93" fmla="*/ 78126140 h 49"/>
                <a:gd name="T94" fmla="*/ 123486244 w 61"/>
                <a:gd name="T95" fmla="*/ 93247170 h 49"/>
                <a:gd name="T96" fmla="*/ 108365388 w 61"/>
                <a:gd name="T97" fmla="*/ 93247170 h 49"/>
                <a:gd name="T98" fmla="*/ 93244508 w 61"/>
                <a:gd name="T99" fmla="*/ 93247170 h 49"/>
                <a:gd name="T100" fmla="*/ 78123652 w 61"/>
                <a:gd name="T101" fmla="*/ 93247170 h 49"/>
                <a:gd name="T102" fmla="*/ 78123652 w 61"/>
                <a:gd name="T103" fmla="*/ 78126140 h 49"/>
                <a:gd name="T104" fmla="*/ 78123652 w 61"/>
                <a:gd name="T105" fmla="*/ 93247170 h 49"/>
                <a:gd name="T106" fmla="*/ 63002796 w 61"/>
                <a:gd name="T107" fmla="*/ 93247170 h 49"/>
                <a:gd name="T108" fmla="*/ 47881928 w 61"/>
                <a:gd name="T109" fmla="*/ 108368225 h 49"/>
                <a:gd name="T110" fmla="*/ 47881928 w 61"/>
                <a:gd name="T111" fmla="*/ 123489255 h 49"/>
                <a:gd name="T112" fmla="*/ 30241724 w 61"/>
                <a:gd name="T113" fmla="*/ 123489255 h 49"/>
                <a:gd name="T114" fmla="*/ 30241724 w 61"/>
                <a:gd name="T115" fmla="*/ 108368225 h 49"/>
                <a:gd name="T116" fmla="*/ 15120862 w 61"/>
                <a:gd name="T117" fmla="*/ 108368225 h 49"/>
                <a:gd name="T118" fmla="*/ 0 w 61"/>
                <a:gd name="T119" fmla="*/ 108368225 h 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
                <a:gd name="T181" fmla="*/ 0 h 49"/>
                <a:gd name="T182" fmla="*/ 61 w 61"/>
                <a:gd name="T183" fmla="*/ 49 h 4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 h="49">
                  <a:moveTo>
                    <a:pt x="0" y="43"/>
                  </a:moveTo>
                  <a:lnTo>
                    <a:pt x="0" y="37"/>
                  </a:lnTo>
                  <a:lnTo>
                    <a:pt x="6" y="37"/>
                  </a:lnTo>
                  <a:lnTo>
                    <a:pt x="12" y="37"/>
                  </a:lnTo>
                  <a:lnTo>
                    <a:pt x="12" y="31"/>
                  </a:lnTo>
                  <a:lnTo>
                    <a:pt x="6" y="31"/>
                  </a:lnTo>
                  <a:lnTo>
                    <a:pt x="12" y="31"/>
                  </a:lnTo>
                  <a:lnTo>
                    <a:pt x="12" y="25"/>
                  </a:lnTo>
                  <a:lnTo>
                    <a:pt x="19" y="25"/>
                  </a:lnTo>
                  <a:lnTo>
                    <a:pt x="12" y="25"/>
                  </a:lnTo>
                  <a:lnTo>
                    <a:pt x="6" y="25"/>
                  </a:lnTo>
                  <a:lnTo>
                    <a:pt x="12" y="25"/>
                  </a:lnTo>
                  <a:lnTo>
                    <a:pt x="12" y="18"/>
                  </a:lnTo>
                  <a:lnTo>
                    <a:pt x="6" y="18"/>
                  </a:lnTo>
                  <a:lnTo>
                    <a:pt x="0" y="18"/>
                  </a:lnTo>
                  <a:lnTo>
                    <a:pt x="6" y="18"/>
                  </a:lnTo>
                  <a:lnTo>
                    <a:pt x="12" y="18"/>
                  </a:lnTo>
                  <a:lnTo>
                    <a:pt x="12" y="12"/>
                  </a:lnTo>
                  <a:lnTo>
                    <a:pt x="19" y="12"/>
                  </a:lnTo>
                  <a:lnTo>
                    <a:pt x="25" y="12"/>
                  </a:lnTo>
                  <a:lnTo>
                    <a:pt x="19" y="12"/>
                  </a:lnTo>
                  <a:lnTo>
                    <a:pt x="19" y="6"/>
                  </a:lnTo>
                  <a:lnTo>
                    <a:pt x="25" y="6"/>
                  </a:lnTo>
                  <a:lnTo>
                    <a:pt x="25" y="12"/>
                  </a:lnTo>
                  <a:lnTo>
                    <a:pt x="25" y="6"/>
                  </a:lnTo>
                  <a:lnTo>
                    <a:pt x="31" y="6"/>
                  </a:lnTo>
                  <a:lnTo>
                    <a:pt x="37" y="6"/>
                  </a:lnTo>
                  <a:lnTo>
                    <a:pt x="31" y="0"/>
                  </a:lnTo>
                  <a:lnTo>
                    <a:pt x="37" y="0"/>
                  </a:lnTo>
                  <a:lnTo>
                    <a:pt x="37" y="6"/>
                  </a:lnTo>
                  <a:lnTo>
                    <a:pt x="43" y="6"/>
                  </a:lnTo>
                  <a:lnTo>
                    <a:pt x="43" y="0"/>
                  </a:lnTo>
                  <a:lnTo>
                    <a:pt x="37" y="0"/>
                  </a:lnTo>
                  <a:lnTo>
                    <a:pt x="43" y="0"/>
                  </a:lnTo>
                  <a:lnTo>
                    <a:pt x="49" y="0"/>
                  </a:lnTo>
                  <a:lnTo>
                    <a:pt x="49" y="6"/>
                  </a:lnTo>
                  <a:lnTo>
                    <a:pt x="49" y="12"/>
                  </a:lnTo>
                  <a:lnTo>
                    <a:pt x="49" y="6"/>
                  </a:lnTo>
                  <a:lnTo>
                    <a:pt x="55" y="6"/>
                  </a:lnTo>
                  <a:lnTo>
                    <a:pt x="61" y="6"/>
                  </a:lnTo>
                  <a:lnTo>
                    <a:pt x="55" y="12"/>
                  </a:lnTo>
                  <a:lnTo>
                    <a:pt x="61" y="12"/>
                  </a:lnTo>
                  <a:lnTo>
                    <a:pt x="55" y="18"/>
                  </a:lnTo>
                  <a:lnTo>
                    <a:pt x="49" y="18"/>
                  </a:lnTo>
                  <a:lnTo>
                    <a:pt x="49" y="25"/>
                  </a:lnTo>
                  <a:lnTo>
                    <a:pt x="49" y="31"/>
                  </a:lnTo>
                  <a:lnTo>
                    <a:pt x="55" y="31"/>
                  </a:lnTo>
                  <a:lnTo>
                    <a:pt x="49" y="37"/>
                  </a:lnTo>
                  <a:lnTo>
                    <a:pt x="43" y="37"/>
                  </a:lnTo>
                  <a:lnTo>
                    <a:pt x="37" y="37"/>
                  </a:lnTo>
                  <a:lnTo>
                    <a:pt x="31" y="37"/>
                  </a:lnTo>
                  <a:lnTo>
                    <a:pt x="31" y="31"/>
                  </a:lnTo>
                  <a:lnTo>
                    <a:pt x="31" y="37"/>
                  </a:lnTo>
                  <a:lnTo>
                    <a:pt x="25" y="37"/>
                  </a:lnTo>
                  <a:lnTo>
                    <a:pt x="19" y="43"/>
                  </a:lnTo>
                  <a:lnTo>
                    <a:pt x="19" y="49"/>
                  </a:lnTo>
                  <a:lnTo>
                    <a:pt x="12" y="49"/>
                  </a:lnTo>
                  <a:lnTo>
                    <a:pt x="12" y="43"/>
                  </a:lnTo>
                  <a:lnTo>
                    <a:pt x="6" y="43"/>
                  </a:lnTo>
                  <a:lnTo>
                    <a:pt x="0" y="4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6" name="Freeform 157"/>
            <p:cNvSpPr>
              <a:spLocks/>
            </p:cNvSpPr>
            <p:nvPr/>
          </p:nvSpPr>
          <p:spPr bwMode="auto">
            <a:xfrm>
              <a:off x="3991826" y="2303071"/>
              <a:ext cx="187546" cy="80476"/>
            </a:xfrm>
            <a:custGeom>
              <a:avLst/>
              <a:gdLst>
                <a:gd name="T0" fmla="*/ 15120940 w 116"/>
                <a:gd name="T1" fmla="*/ 138610192 h 55"/>
                <a:gd name="T2" fmla="*/ 45362813 w 116"/>
                <a:gd name="T3" fmla="*/ 108368153 h 55"/>
                <a:gd name="T4" fmla="*/ 45362813 w 116"/>
                <a:gd name="T5" fmla="*/ 108368153 h 55"/>
                <a:gd name="T6" fmla="*/ 78124054 w 116"/>
                <a:gd name="T7" fmla="*/ 78126088 h 55"/>
                <a:gd name="T8" fmla="*/ 93246575 w 116"/>
                <a:gd name="T9" fmla="*/ 93247108 h 55"/>
                <a:gd name="T10" fmla="*/ 93246575 w 116"/>
                <a:gd name="T11" fmla="*/ 93247108 h 55"/>
                <a:gd name="T12" fmla="*/ 108367534 w 116"/>
                <a:gd name="T13" fmla="*/ 78126088 h 55"/>
                <a:gd name="T14" fmla="*/ 123488467 w 116"/>
                <a:gd name="T15" fmla="*/ 60484104 h 55"/>
                <a:gd name="T16" fmla="*/ 138609401 w 116"/>
                <a:gd name="T17" fmla="*/ 60484104 h 55"/>
                <a:gd name="T18" fmla="*/ 168851268 w 116"/>
                <a:gd name="T19" fmla="*/ 60484104 h 55"/>
                <a:gd name="T20" fmla="*/ 201612497 w 116"/>
                <a:gd name="T21" fmla="*/ 60484104 h 55"/>
                <a:gd name="T22" fmla="*/ 216733480 w 116"/>
                <a:gd name="T23" fmla="*/ 45363072 h 55"/>
                <a:gd name="T24" fmla="*/ 231854413 w 116"/>
                <a:gd name="T25" fmla="*/ 30242052 h 55"/>
                <a:gd name="T26" fmla="*/ 246975347 w 116"/>
                <a:gd name="T27" fmla="*/ 45363072 h 55"/>
                <a:gd name="T28" fmla="*/ 277217214 w 116"/>
                <a:gd name="T29" fmla="*/ 30242052 h 55"/>
                <a:gd name="T30" fmla="*/ 292338147 w 116"/>
                <a:gd name="T31" fmla="*/ 0 h 55"/>
                <a:gd name="T32" fmla="*/ 262096280 w 116"/>
                <a:gd name="T33" fmla="*/ 15121026 h 55"/>
                <a:gd name="T34" fmla="*/ 231854413 w 116"/>
                <a:gd name="T35" fmla="*/ 15121026 h 55"/>
                <a:gd name="T36" fmla="*/ 231854413 w 116"/>
                <a:gd name="T37" fmla="*/ 15121026 h 55"/>
                <a:gd name="T38" fmla="*/ 216733480 w 116"/>
                <a:gd name="T39" fmla="*/ 30242052 h 55"/>
                <a:gd name="T40" fmla="*/ 201612497 w 116"/>
                <a:gd name="T41" fmla="*/ 30242052 h 55"/>
                <a:gd name="T42" fmla="*/ 186491563 w 116"/>
                <a:gd name="T43" fmla="*/ 30242052 h 55"/>
                <a:gd name="T44" fmla="*/ 168851268 w 116"/>
                <a:gd name="T45" fmla="*/ 45363072 h 55"/>
                <a:gd name="T46" fmla="*/ 153728747 w 116"/>
                <a:gd name="T47" fmla="*/ 30242052 h 55"/>
                <a:gd name="T48" fmla="*/ 168851268 w 116"/>
                <a:gd name="T49" fmla="*/ 45363072 h 55"/>
                <a:gd name="T50" fmla="*/ 138609401 w 116"/>
                <a:gd name="T51" fmla="*/ 45363072 h 55"/>
                <a:gd name="T52" fmla="*/ 123488467 w 116"/>
                <a:gd name="T53" fmla="*/ 45363072 h 55"/>
                <a:gd name="T54" fmla="*/ 93246575 w 116"/>
                <a:gd name="T55" fmla="*/ 45363072 h 55"/>
                <a:gd name="T56" fmla="*/ 93246575 w 116"/>
                <a:gd name="T57" fmla="*/ 60484104 h 55"/>
                <a:gd name="T58" fmla="*/ 93246575 w 116"/>
                <a:gd name="T59" fmla="*/ 60484104 h 55"/>
                <a:gd name="T60" fmla="*/ 63004708 w 116"/>
                <a:gd name="T61" fmla="*/ 78126088 h 55"/>
                <a:gd name="T62" fmla="*/ 45362813 w 116"/>
                <a:gd name="T63" fmla="*/ 93247108 h 55"/>
                <a:gd name="T64" fmla="*/ 30241879 w 116"/>
                <a:gd name="T65" fmla="*/ 78126088 h 55"/>
                <a:gd name="T66" fmla="*/ 15120940 w 116"/>
                <a:gd name="T67" fmla="*/ 108368153 h 55"/>
                <a:gd name="T68" fmla="*/ 0 w 116"/>
                <a:gd name="T69" fmla="*/ 138610192 h 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55"/>
                <a:gd name="T107" fmla="*/ 116 w 116"/>
                <a:gd name="T108" fmla="*/ 55 h 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55">
                  <a:moveTo>
                    <a:pt x="0" y="55"/>
                  </a:moveTo>
                  <a:lnTo>
                    <a:pt x="6" y="55"/>
                  </a:lnTo>
                  <a:lnTo>
                    <a:pt x="12" y="49"/>
                  </a:lnTo>
                  <a:lnTo>
                    <a:pt x="18" y="43"/>
                  </a:lnTo>
                  <a:lnTo>
                    <a:pt x="18" y="37"/>
                  </a:lnTo>
                  <a:lnTo>
                    <a:pt x="18" y="43"/>
                  </a:lnTo>
                  <a:lnTo>
                    <a:pt x="25" y="37"/>
                  </a:lnTo>
                  <a:lnTo>
                    <a:pt x="31" y="31"/>
                  </a:lnTo>
                  <a:lnTo>
                    <a:pt x="31" y="37"/>
                  </a:lnTo>
                  <a:lnTo>
                    <a:pt x="37" y="37"/>
                  </a:lnTo>
                  <a:lnTo>
                    <a:pt x="37" y="31"/>
                  </a:lnTo>
                  <a:lnTo>
                    <a:pt x="37" y="37"/>
                  </a:lnTo>
                  <a:lnTo>
                    <a:pt x="43" y="37"/>
                  </a:lnTo>
                  <a:lnTo>
                    <a:pt x="43" y="31"/>
                  </a:lnTo>
                  <a:lnTo>
                    <a:pt x="49" y="31"/>
                  </a:lnTo>
                  <a:lnTo>
                    <a:pt x="49" y="24"/>
                  </a:lnTo>
                  <a:lnTo>
                    <a:pt x="55" y="31"/>
                  </a:lnTo>
                  <a:lnTo>
                    <a:pt x="55" y="24"/>
                  </a:lnTo>
                  <a:lnTo>
                    <a:pt x="61" y="24"/>
                  </a:lnTo>
                  <a:lnTo>
                    <a:pt x="67" y="24"/>
                  </a:lnTo>
                  <a:lnTo>
                    <a:pt x="67" y="31"/>
                  </a:lnTo>
                  <a:lnTo>
                    <a:pt x="80" y="24"/>
                  </a:lnTo>
                  <a:lnTo>
                    <a:pt x="86" y="24"/>
                  </a:lnTo>
                  <a:lnTo>
                    <a:pt x="86" y="18"/>
                  </a:lnTo>
                  <a:lnTo>
                    <a:pt x="92" y="18"/>
                  </a:lnTo>
                  <a:lnTo>
                    <a:pt x="92" y="12"/>
                  </a:lnTo>
                  <a:lnTo>
                    <a:pt x="92" y="18"/>
                  </a:lnTo>
                  <a:lnTo>
                    <a:pt x="98" y="18"/>
                  </a:lnTo>
                  <a:lnTo>
                    <a:pt x="104" y="12"/>
                  </a:lnTo>
                  <a:lnTo>
                    <a:pt x="110" y="12"/>
                  </a:lnTo>
                  <a:lnTo>
                    <a:pt x="110" y="6"/>
                  </a:lnTo>
                  <a:lnTo>
                    <a:pt x="116" y="0"/>
                  </a:lnTo>
                  <a:lnTo>
                    <a:pt x="110" y="6"/>
                  </a:lnTo>
                  <a:lnTo>
                    <a:pt x="104" y="6"/>
                  </a:lnTo>
                  <a:lnTo>
                    <a:pt x="98" y="6"/>
                  </a:lnTo>
                  <a:lnTo>
                    <a:pt x="92" y="6"/>
                  </a:lnTo>
                  <a:lnTo>
                    <a:pt x="92" y="12"/>
                  </a:lnTo>
                  <a:lnTo>
                    <a:pt x="92" y="6"/>
                  </a:lnTo>
                  <a:lnTo>
                    <a:pt x="86" y="6"/>
                  </a:lnTo>
                  <a:lnTo>
                    <a:pt x="86" y="12"/>
                  </a:lnTo>
                  <a:lnTo>
                    <a:pt x="80" y="6"/>
                  </a:lnTo>
                  <a:lnTo>
                    <a:pt x="80" y="12"/>
                  </a:lnTo>
                  <a:lnTo>
                    <a:pt x="80" y="18"/>
                  </a:lnTo>
                  <a:lnTo>
                    <a:pt x="74" y="12"/>
                  </a:lnTo>
                  <a:lnTo>
                    <a:pt x="74" y="18"/>
                  </a:lnTo>
                  <a:lnTo>
                    <a:pt x="67" y="18"/>
                  </a:lnTo>
                  <a:lnTo>
                    <a:pt x="67" y="12"/>
                  </a:lnTo>
                  <a:lnTo>
                    <a:pt x="61" y="12"/>
                  </a:lnTo>
                  <a:lnTo>
                    <a:pt x="61" y="18"/>
                  </a:lnTo>
                  <a:lnTo>
                    <a:pt x="67" y="18"/>
                  </a:lnTo>
                  <a:lnTo>
                    <a:pt x="61" y="18"/>
                  </a:lnTo>
                  <a:lnTo>
                    <a:pt x="55" y="18"/>
                  </a:lnTo>
                  <a:lnTo>
                    <a:pt x="55" y="12"/>
                  </a:lnTo>
                  <a:lnTo>
                    <a:pt x="49" y="18"/>
                  </a:lnTo>
                  <a:lnTo>
                    <a:pt x="43" y="18"/>
                  </a:lnTo>
                  <a:lnTo>
                    <a:pt x="37" y="18"/>
                  </a:lnTo>
                  <a:lnTo>
                    <a:pt x="31" y="24"/>
                  </a:lnTo>
                  <a:lnTo>
                    <a:pt x="37" y="24"/>
                  </a:lnTo>
                  <a:lnTo>
                    <a:pt x="31" y="24"/>
                  </a:lnTo>
                  <a:lnTo>
                    <a:pt x="37" y="24"/>
                  </a:lnTo>
                  <a:lnTo>
                    <a:pt x="31" y="31"/>
                  </a:lnTo>
                  <a:lnTo>
                    <a:pt x="25" y="31"/>
                  </a:lnTo>
                  <a:lnTo>
                    <a:pt x="18" y="31"/>
                  </a:lnTo>
                  <a:lnTo>
                    <a:pt x="18" y="37"/>
                  </a:lnTo>
                  <a:lnTo>
                    <a:pt x="12" y="37"/>
                  </a:lnTo>
                  <a:lnTo>
                    <a:pt x="12" y="31"/>
                  </a:lnTo>
                  <a:lnTo>
                    <a:pt x="12" y="37"/>
                  </a:lnTo>
                  <a:lnTo>
                    <a:pt x="6" y="43"/>
                  </a:lnTo>
                  <a:lnTo>
                    <a:pt x="0" y="49"/>
                  </a:lnTo>
                  <a:lnTo>
                    <a:pt x="0" y="5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7" name="Freeform 158"/>
            <p:cNvSpPr>
              <a:spLocks/>
            </p:cNvSpPr>
            <p:nvPr/>
          </p:nvSpPr>
          <p:spPr bwMode="auto">
            <a:xfrm>
              <a:off x="4714525" y="2007505"/>
              <a:ext cx="119642" cy="43896"/>
            </a:xfrm>
            <a:custGeom>
              <a:avLst/>
              <a:gdLst>
                <a:gd name="T0" fmla="*/ 0 w 74"/>
                <a:gd name="T1" fmla="*/ 45362813 h 30"/>
                <a:gd name="T2" fmla="*/ 0 w 74"/>
                <a:gd name="T3" fmla="*/ 60483759 h 30"/>
                <a:gd name="T4" fmla="*/ 15120937 w 74"/>
                <a:gd name="T5" fmla="*/ 60483759 h 30"/>
                <a:gd name="T6" fmla="*/ 32761236 w 74"/>
                <a:gd name="T7" fmla="*/ 45362813 h 30"/>
                <a:gd name="T8" fmla="*/ 32761236 w 74"/>
                <a:gd name="T9" fmla="*/ 60483759 h 30"/>
                <a:gd name="T10" fmla="*/ 15120937 w 74"/>
                <a:gd name="T11" fmla="*/ 75604693 h 30"/>
                <a:gd name="T12" fmla="*/ 32761236 w 74"/>
                <a:gd name="T13" fmla="*/ 75604693 h 30"/>
                <a:gd name="T14" fmla="*/ 47882168 w 74"/>
                <a:gd name="T15" fmla="*/ 75604693 h 30"/>
                <a:gd name="T16" fmla="*/ 63003111 w 74"/>
                <a:gd name="T17" fmla="*/ 75604693 h 30"/>
                <a:gd name="T18" fmla="*/ 63003111 w 74"/>
                <a:gd name="T19" fmla="*/ 60483759 h 30"/>
                <a:gd name="T20" fmla="*/ 63003111 w 74"/>
                <a:gd name="T21" fmla="*/ 75604693 h 30"/>
                <a:gd name="T22" fmla="*/ 78124043 w 74"/>
                <a:gd name="T23" fmla="*/ 75604693 h 30"/>
                <a:gd name="T24" fmla="*/ 78124043 w 74"/>
                <a:gd name="T25" fmla="*/ 60483759 h 30"/>
                <a:gd name="T26" fmla="*/ 78124043 w 74"/>
                <a:gd name="T27" fmla="*/ 75604693 h 30"/>
                <a:gd name="T28" fmla="*/ 93246561 w 74"/>
                <a:gd name="T29" fmla="*/ 75604693 h 30"/>
                <a:gd name="T30" fmla="*/ 93246561 w 74"/>
                <a:gd name="T31" fmla="*/ 60483759 h 30"/>
                <a:gd name="T32" fmla="*/ 93246561 w 74"/>
                <a:gd name="T33" fmla="*/ 75604693 h 30"/>
                <a:gd name="T34" fmla="*/ 108365930 w 74"/>
                <a:gd name="T35" fmla="*/ 75604693 h 30"/>
                <a:gd name="T36" fmla="*/ 108365930 w 74"/>
                <a:gd name="T37" fmla="*/ 60483759 h 30"/>
                <a:gd name="T38" fmla="*/ 123486861 w 74"/>
                <a:gd name="T39" fmla="*/ 60483759 h 30"/>
                <a:gd name="T40" fmla="*/ 138607792 w 74"/>
                <a:gd name="T41" fmla="*/ 45362813 h 30"/>
                <a:gd name="T42" fmla="*/ 138607792 w 74"/>
                <a:gd name="T43" fmla="*/ 30241880 h 30"/>
                <a:gd name="T44" fmla="*/ 156249673 w 74"/>
                <a:gd name="T45" fmla="*/ 30241880 h 30"/>
                <a:gd name="T46" fmla="*/ 171370604 w 74"/>
                <a:gd name="T47" fmla="*/ 30241880 h 30"/>
                <a:gd name="T48" fmla="*/ 186491535 w 74"/>
                <a:gd name="T49" fmla="*/ 15120940 h 30"/>
                <a:gd name="T50" fmla="*/ 186491535 w 74"/>
                <a:gd name="T51" fmla="*/ 0 h 30"/>
                <a:gd name="T52" fmla="*/ 171370604 w 74"/>
                <a:gd name="T53" fmla="*/ 0 h 30"/>
                <a:gd name="T54" fmla="*/ 156249673 w 74"/>
                <a:gd name="T55" fmla="*/ 0 h 30"/>
                <a:gd name="T56" fmla="*/ 171370604 w 74"/>
                <a:gd name="T57" fmla="*/ 15120940 h 30"/>
                <a:gd name="T58" fmla="*/ 156249673 w 74"/>
                <a:gd name="T59" fmla="*/ 15120940 h 30"/>
                <a:gd name="T60" fmla="*/ 156249673 w 74"/>
                <a:gd name="T61" fmla="*/ 0 h 30"/>
                <a:gd name="T62" fmla="*/ 138607792 w 74"/>
                <a:gd name="T63" fmla="*/ 0 h 30"/>
                <a:gd name="T64" fmla="*/ 138607792 w 74"/>
                <a:gd name="T65" fmla="*/ 15120940 h 30"/>
                <a:gd name="T66" fmla="*/ 138607792 w 74"/>
                <a:gd name="T67" fmla="*/ 0 h 30"/>
                <a:gd name="T68" fmla="*/ 123486861 w 74"/>
                <a:gd name="T69" fmla="*/ 15120940 h 30"/>
                <a:gd name="T70" fmla="*/ 138607792 w 74"/>
                <a:gd name="T71" fmla="*/ 15120940 h 30"/>
                <a:gd name="T72" fmla="*/ 138607792 w 74"/>
                <a:gd name="T73" fmla="*/ 30241880 h 30"/>
                <a:gd name="T74" fmla="*/ 123486861 w 74"/>
                <a:gd name="T75" fmla="*/ 30241880 h 30"/>
                <a:gd name="T76" fmla="*/ 123486861 w 74"/>
                <a:gd name="T77" fmla="*/ 45362813 h 30"/>
                <a:gd name="T78" fmla="*/ 108365930 w 74"/>
                <a:gd name="T79" fmla="*/ 30241880 h 30"/>
                <a:gd name="T80" fmla="*/ 108365930 w 74"/>
                <a:gd name="T81" fmla="*/ 15120940 h 30"/>
                <a:gd name="T82" fmla="*/ 93246561 w 74"/>
                <a:gd name="T83" fmla="*/ 30241880 h 30"/>
                <a:gd name="T84" fmla="*/ 93246561 w 74"/>
                <a:gd name="T85" fmla="*/ 15120940 h 30"/>
                <a:gd name="T86" fmla="*/ 93246561 w 74"/>
                <a:gd name="T87" fmla="*/ 30241880 h 30"/>
                <a:gd name="T88" fmla="*/ 93246561 w 74"/>
                <a:gd name="T89" fmla="*/ 45362813 h 30"/>
                <a:gd name="T90" fmla="*/ 78124043 w 74"/>
                <a:gd name="T91" fmla="*/ 45362813 h 30"/>
                <a:gd name="T92" fmla="*/ 78124043 w 74"/>
                <a:gd name="T93" fmla="*/ 30241880 h 30"/>
                <a:gd name="T94" fmla="*/ 63003111 w 74"/>
                <a:gd name="T95" fmla="*/ 30241880 h 30"/>
                <a:gd name="T96" fmla="*/ 47882168 w 74"/>
                <a:gd name="T97" fmla="*/ 30241880 h 30"/>
                <a:gd name="T98" fmla="*/ 47882168 w 74"/>
                <a:gd name="T99" fmla="*/ 45362813 h 30"/>
                <a:gd name="T100" fmla="*/ 32761236 w 74"/>
                <a:gd name="T101" fmla="*/ 30241880 h 30"/>
                <a:gd name="T102" fmla="*/ 32761236 w 74"/>
                <a:gd name="T103" fmla="*/ 45362813 h 30"/>
                <a:gd name="T104" fmla="*/ 15120937 w 74"/>
                <a:gd name="T105" fmla="*/ 45362813 h 30"/>
                <a:gd name="T106" fmla="*/ 0 w 74"/>
                <a:gd name="T107" fmla="*/ 45362813 h 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
                <a:gd name="T163" fmla="*/ 0 h 30"/>
                <a:gd name="T164" fmla="*/ 74 w 74"/>
                <a:gd name="T165" fmla="*/ 30 h 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 h="30">
                  <a:moveTo>
                    <a:pt x="0" y="18"/>
                  </a:moveTo>
                  <a:lnTo>
                    <a:pt x="0" y="24"/>
                  </a:lnTo>
                  <a:lnTo>
                    <a:pt x="6" y="24"/>
                  </a:lnTo>
                  <a:lnTo>
                    <a:pt x="13" y="18"/>
                  </a:lnTo>
                  <a:lnTo>
                    <a:pt x="13" y="24"/>
                  </a:lnTo>
                  <a:lnTo>
                    <a:pt x="6" y="30"/>
                  </a:lnTo>
                  <a:lnTo>
                    <a:pt x="13" y="30"/>
                  </a:lnTo>
                  <a:lnTo>
                    <a:pt x="19" y="30"/>
                  </a:lnTo>
                  <a:lnTo>
                    <a:pt x="25" y="30"/>
                  </a:lnTo>
                  <a:lnTo>
                    <a:pt x="25" y="24"/>
                  </a:lnTo>
                  <a:lnTo>
                    <a:pt x="25" y="30"/>
                  </a:lnTo>
                  <a:lnTo>
                    <a:pt x="31" y="30"/>
                  </a:lnTo>
                  <a:lnTo>
                    <a:pt x="31" y="24"/>
                  </a:lnTo>
                  <a:lnTo>
                    <a:pt x="31" y="30"/>
                  </a:lnTo>
                  <a:lnTo>
                    <a:pt x="37" y="30"/>
                  </a:lnTo>
                  <a:lnTo>
                    <a:pt x="37" y="24"/>
                  </a:lnTo>
                  <a:lnTo>
                    <a:pt x="37" y="30"/>
                  </a:lnTo>
                  <a:lnTo>
                    <a:pt x="43" y="30"/>
                  </a:lnTo>
                  <a:lnTo>
                    <a:pt x="43" y="24"/>
                  </a:lnTo>
                  <a:lnTo>
                    <a:pt x="49" y="24"/>
                  </a:lnTo>
                  <a:lnTo>
                    <a:pt x="55" y="18"/>
                  </a:lnTo>
                  <a:lnTo>
                    <a:pt x="55" y="12"/>
                  </a:lnTo>
                  <a:lnTo>
                    <a:pt x="62" y="12"/>
                  </a:lnTo>
                  <a:lnTo>
                    <a:pt x="68" y="12"/>
                  </a:lnTo>
                  <a:lnTo>
                    <a:pt x="74" y="6"/>
                  </a:lnTo>
                  <a:lnTo>
                    <a:pt x="74" y="0"/>
                  </a:lnTo>
                  <a:lnTo>
                    <a:pt x="68" y="0"/>
                  </a:lnTo>
                  <a:lnTo>
                    <a:pt x="62" y="0"/>
                  </a:lnTo>
                  <a:lnTo>
                    <a:pt x="68" y="6"/>
                  </a:lnTo>
                  <a:lnTo>
                    <a:pt x="62" y="6"/>
                  </a:lnTo>
                  <a:lnTo>
                    <a:pt x="62" y="0"/>
                  </a:lnTo>
                  <a:lnTo>
                    <a:pt x="55" y="0"/>
                  </a:lnTo>
                  <a:lnTo>
                    <a:pt x="55" y="6"/>
                  </a:lnTo>
                  <a:lnTo>
                    <a:pt x="55" y="0"/>
                  </a:lnTo>
                  <a:lnTo>
                    <a:pt x="49" y="6"/>
                  </a:lnTo>
                  <a:lnTo>
                    <a:pt x="55" y="6"/>
                  </a:lnTo>
                  <a:lnTo>
                    <a:pt x="55" y="12"/>
                  </a:lnTo>
                  <a:lnTo>
                    <a:pt x="49" y="12"/>
                  </a:lnTo>
                  <a:lnTo>
                    <a:pt x="49" y="18"/>
                  </a:lnTo>
                  <a:lnTo>
                    <a:pt x="43" y="12"/>
                  </a:lnTo>
                  <a:lnTo>
                    <a:pt x="43" y="6"/>
                  </a:lnTo>
                  <a:lnTo>
                    <a:pt x="37" y="12"/>
                  </a:lnTo>
                  <a:lnTo>
                    <a:pt x="37" y="6"/>
                  </a:lnTo>
                  <a:lnTo>
                    <a:pt x="37" y="12"/>
                  </a:lnTo>
                  <a:lnTo>
                    <a:pt x="37" y="18"/>
                  </a:lnTo>
                  <a:lnTo>
                    <a:pt x="31" y="18"/>
                  </a:lnTo>
                  <a:lnTo>
                    <a:pt x="31" y="12"/>
                  </a:lnTo>
                  <a:lnTo>
                    <a:pt x="25" y="12"/>
                  </a:lnTo>
                  <a:lnTo>
                    <a:pt x="19" y="12"/>
                  </a:lnTo>
                  <a:lnTo>
                    <a:pt x="19" y="18"/>
                  </a:lnTo>
                  <a:lnTo>
                    <a:pt x="13" y="12"/>
                  </a:lnTo>
                  <a:lnTo>
                    <a:pt x="13" y="18"/>
                  </a:lnTo>
                  <a:lnTo>
                    <a:pt x="6" y="18"/>
                  </a:lnTo>
                  <a:lnTo>
                    <a:pt x="0"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8" name="Freeform 159"/>
            <p:cNvSpPr>
              <a:spLocks/>
            </p:cNvSpPr>
            <p:nvPr/>
          </p:nvSpPr>
          <p:spPr bwMode="auto">
            <a:xfrm>
              <a:off x="4397637" y="2133340"/>
              <a:ext cx="88923" cy="43896"/>
            </a:xfrm>
            <a:custGeom>
              <a:avLst/>
              <a:gdLst>
                <a:gd name="T0" fmla="*/ 0 w 55"/>
                <a:gd name="T1" fmla="*/ 60483759 h 30"/>
                <a:gd name="T2" fmla="*/ 15121026 w 55"/>
                <a:gd name="T3" fmla="*/ 45362813 h 30"/>
                <a:gd name="T4" fmla="*/ 32763016 w 55"/>
                <a:gd name="T5" fmla="*/ 45362813 h 30"/>
                <a:gd name="T6" fmla="*/ 32763016 w 55"/>
                <a:gd name="T7" fmla="*/ 30241880 h 30"/>
                <a:gd name="T8" fmla="*/ 47884036 w 55"/>
                <a:gd name="T9" fmla="*/ 30241880 h 30"/>
                <a:gd name="T10" fmla="*/ 63005068 w 55"/>
                <a:gd name="T11" fmla="*/ 30241880 h 30"/>
                <a:gd name="T12" fmla="*/ 78126088 w 55"/>
                <a:gd name="T13" fmla="*/ 30241880 h 30"/>
                <a:gd name="T14" fmla="*/ 63005068 w 55"/>
                <a:gd name="T15" fmla="*/ 30241880 h 30"/>
                <a:gd name="T16" fmla="*/ 47884036 w 55"/>
                <a:gd name="T17" fmla="*/ 30241880 h 30"/>
                <a:gd name="T18" fmla="*/ 47884036 w 55"/>
                <a:gd name="T19" fmla="*/ 15120940 h 30"/>
                <a:gd name="T20" fmla="*/ 63005068 w 55"/>
                <a:gd name="T21" fmla="*/ 15120940 h 30"/>
                <a:gd name="T22" fmla="*/ 63005068 w 55"/>
                <a:gd name="T23" fmla="*/ 30241880 h 30"/>
                <a:gd name="T24" fmla="*/ 63005068 w 55"/>
                <a:gd name="T25" fmla="*/ 15120940 h 30"/>
                <a:gd name="T26" fmla="*/ 78126088 w 55"/>
                <a:gd name="T27" fmla="*/ 15120940 h 30"/>
                <a:gd name="T28" fmla="*/ 78126088 w 55"/>
                <a:gd name="T29" fmla="*/ 30241880 h 30"/>
                <a:gd name="T30" fmla="*/ 93247108 w 55"/>
                <a:gd name="T31" fmla="*/ 30241880 h 30"/>
                <a:gd name="T32" fmla="*/ 93247108 w 55"/>
                <a:gd name="T33" fmla="*/ 15120940 h 30"/>
                <a:gd name="T34" fmla="*/ 78126088 w 55"/>
                <a:gd name="T35" fmla="*/ 0 h 30"/>
                <a:gd name="T36" fmla="*/ 93247108 w 55"/>
                <a:gd name="T37" fmla="*/ 0 h 30"/>
                <a:gd name="T38" fmla="*/ 108368153 w 55"/>
                <a:gd name="T39" fmla="*/ 0 h 30"/>
                <a:gd name="T40" fmla="*/ 123489173 w 55"/>
                <a:gd name="T41" fmla="*/ 15120940 h 30"/>
                <a:gd name="T42" fmla="*/ 138610192 w 55"/>
                <a:gd name="T43" fmla="*/ 15120940 h 30"/>
                <a:gd name="T44" fmla="*/ 123489173 w 55"/>
                <a:gd name="T45" fmla="*/ 30241880 h 30"/>
                <a:gd name="T46" fmla="*/ 108368153 w 55"/>
                <a:gd name="T47" fmla="*/ 30241880 h 30"/>
                <a:gd name="T48" fmla="*/ 108368153 w 55"/>
                <a:gd name="T49" fmla="*/ 45362813 h 30"/>
                <a:gd name="T50" fmla="*/ 93247108 w 55"/>
                <a:gd name="T51" fmla="*/ 45362813 h 30"/>
                <a:gd name="T52" fmla="*/ 93247108 w 55"/>
                <a:gd name="T53" fmla="*/ 60483759 h 30"/>
                <a:gd name="T54" fmla="*/ 108368153 w 55"/>
                <a:gd name="T55" fmla="*/ 60483759 h 30"/>
                <a:gd name="T56" fmla="*/ 93247108 w 55"/>
                <a:gd name="T57" fmla="*/ 60483759 h 30"/>
                <a:gd name="T58" fmla="*/ 78126088 w 55"/>
                <a:gd name="T59" fmla="*/ 60483759 h 30"/>
                <a:gd name="T60" fmla="*/ 63005068 w 55"/>
                <a:gd name="T61" fmla="*/ 60483759 h 30"/>
                <a:gd name="T62" fmla="*/ 47884036 w 55"/>
                <a:gd name="T63" fmla="*/ 75604693 h 30"/>
                <a:gd name="T64" fmla="*/ 32763016 w 55"/>
                <a:gd name="T65" fmla="*/ 75604693 h 30"/>
                <a:gd name="T66" fmla="*/ 15121026 w 55"/>
                <a:gd name="T67" fmla="*/ 75604693 h 30"/>
                <a:gd name="T68" fmla="*/ 15121026 w 55"/>
                <a:gd name="T69" fmla="*/ 60483759 h 30"/>
                <a:gd name="T70" fmla="*/ 0 w 55"/>
                <a:gd name="T71" fmla="*/ 60483759 h 3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
                <a:gd name="T109" fmla="*/ 0 h 30"/>
                <a:gd name="T110" fmla="*/ 55 w 55"/>
                <a:gd name="T111" fmla="*/ 30 h 3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 h="30">
                  <a:moveTo>
                    <a:pt x="0" y="24"/>
                  </a:moveTo>
                  <a:lnTo>
                    <a:pt x="6" y="18"/>
                  </a:lnTo>
                  <a:lnTo>
                    <a:pt x="13" y="18"/>
                  </a:lnTo>
                  <a:lnTo>
                    <a:pt x="13" y="12"/>
                  </a:lnTo>
                  <a:lnTo>
                    <a:pt x="19" y="12"/>
                  </a:lnTo>
                  <a:lnTo>
                    <a:pt x="25" y="12"/>
                  </a:lnTo>
                  <a:lnTo>
                    <a:pt x="31" y="12"/>
                  </a:lnTo>
                  <a:lnTo>
                    <a:pt x="25" y="12"/>
                  </a:lnTo>
                  <a:lnTo>
                    <a:pt x="19" y="12"/>
                  </a:lnTo>
                  <a:lnTo>
                    <a:pt x="19" y="6"/>
                  </a:lnTo>
                  <a:lnTo>
                    <a:pt x="25" y="6"/>
                  </a:lnTo>
                  <a:lnTo>
                    <a:pt x="25" y="12"/>
                  </a:lnTo>
                  <a:lnTo>
                    <a:pt x="25" y="6"/>
                  </a:lnTo>
                  <a:lnTo>
                    <a:pt x="31" y="6"/>
                  </a:lnTo>
                  <a:lnTo>
                    <a:pt x="31" y="12"/>
                  </a:lnTo>
                  <a:lnTo>
                    <a:pt x="37" y="12"/>
                  </a:lnTo>
                  <a:lnTo>
                    <a:pt x="37" y="6"/>
                  </a:lnTo>
                  <a:lnTo>
                    <a:pt x="31" y="0"/>
                  </a:lnTo>
                  <a:lnTo>
                    <a:pt x="37" y="0"/>
                  </a:lnTo>
                  <a:lnTo>
                    <a:pt x="43" y="0"/>
                  </a:lnTo>
                  <a:lnTo>
                    <a:pt x="49" y="6"/>
                  </a:lnTo>
                  <a:lnTo>
                    <a:pt x="55" y="6"/>
                  </a:lnTo>
                  <a:lnTo>
                    <a:pt x="49" y="12"/>
                  </a:lnTo>
                  <a:lnTo>
                    <a:pt x="43" y="12"/>
                  </a:lnTo>
                  <a:lnTo>
                    <a:pt x="43" y="18"/>
                  </a:lnTo>
                  <a:lnTo>
                    <a:pt x="37" y="18"/>
                  </a:lnTo>
                  <a:lnTo>
                    <a:pt x="37" y="24"/>
                  </a:lnTo>
                  <a:lnTo>
                    <a:pt x="43" y="24"/>
                  </a:lnTo>
                  <a:lnTo>
                    <a:pt x="37" y="24"/>
                  </a:lnTo>
                  <a:lnTo>
                    <a:pt x="31" y="24"/>
                  </a:lnTo>
                  <a:lnTo>
                    <a:pt x="25" y="24"/>
                  </a:lnTo>
                  <a:lnTo>
                    <a:pt x="19" y="30"/>
                  </a:lnTo>
                  <a:lnTo>
                    <a:pt x="13" y="30"/>
                  </a:lnTo>
                  <a:lnTo>
                    <a:pt x="6" y="30"/>
                  </a:lnTo>
                  <a:lnTo>
                    <a:pt x="6" y="24"/>
                  </a:lnTo>
                  <a:lnTo>
                    <a:pt x="0" y="2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39" name="Freeform 160"/>
            <p:cNvSpPr>
              <a:spLocks/>
            </p:cNvSpPr>
            <p:nvPr/>
          </p:nvSpPr>
          <p:spPr bwMode="auto">
            <a:xfrm>
              <a:off x="4457458" y="2105540"/>
              <a:ext cx="69521" cy="36579"/>
            </a:xfrm>
            <a:custGeom>
              <a:avLst/>
              <a:gdLst>
                <a:gd name="T0" fmla="*/ 0 w 43"/>
                <a:gd name="T1" fmla="*/ 30241497 h 25"/>
                <a:gd name="T2" fmla="*/ 15120828 w 43"/>
                <a:gd name="T3" fmla="*/ 30241497 h 25"/>
                <a:gd name="T4" fmla="*/ 15120828 w 43"/>
                <a:gd name="T5" fmla="*/ 15120749 h 25"/>
                <a:gd name="T6" fmla="*/ 15120828 w 43"/>
                <a:gd name="T7" fmla="*/ 0 h 25"/>
                <a:gd name="T8" fmla="*/ 30241655 w 43"/>
                <a:gd name="T9" fmla="*/ 15120749 h 25"/>
                <a:gd name="T10" fmla="*/ 30241655 w 43"/>
                <a:gd name="T11" fmla="*/ 0 h 25"/>
                <a:gd name="T12" fmla="*/ 45362477 w 43"/>
                <a:gd name="T13" fmla="*/ 0 h 25"/>
                <a:gd name="T14" fmla="*/ 63002653 w 43"/>
                <a:gd name="T15" fmla="*/ 0 h 25"/>
                <a:gd name="T16" fmla="*/ 78123475 w 43"/>
                <a:gd name="T17" fmla="*/ 0 h 25"/>
                <a:gd name="T18" fmla="*/ 78123475 w 43"/>
                <a:gd name="T19" fmla="*/ 15120749 h 25"/>
                <a:gd name="T20" fmla="*/ 78123475 w 43"/>
                <a:gd name="T21" fmla="*/ 0 h 25"/>
                <a:gd name="T22" fmla="*/ 93244296 w 43"/>
                <a:gd name="T23" fmla="*/ 0 h 25"/>
                <a:gd name="T24" fmla="*/ 93244296 w 43"/>
                <a:gd name="T25" fmla="*/ 15120749 h 25"/>
                <a:gd name="T26" fmla="*/ 108365142 w 43"/>
                <a:gd name="T27" fmla="*/ 15120749 h 25"/>
                <a:gd name="T28" fmla="*/ 93244296 w 43"/>
                <a:gd name="T29" fmla="*/ 30241497 h 25"/>
                <a:gd name="T30" fmla="*/ 78123475 w 43"/>
                <a:gd name="T31" fmla="*/ 47881570 h 25"/>
                <a:gd name="T32" fmla="*/ 63002653 w 43"/>
                <a:gd name="T33" fmla="*/ 63002324 h 25"/>
                <a:gd name="T34" fmla="*/ 45362477 w 43"/>
                <a:gd name="T35" fmla="*/ 63002324 h 25"/>
                <a:gd name="T36" fmla="*/ 30241655 w 43"/>
                <a:gd name="T37" fmla="*/ 47881570 h 25"/>
                <a:gd name="T38" fmla="*/ 15120828 w 43"/>
                <a:gd name="T39" fmla="*/ 47881570 h 25"/>
                <a:gd name="T40" fmla="*/ 0 w 43"/>
                <a:gd name="T41" fmla="*/ 30241497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25"/>
                <a:gd name="T65" fmla="*/ 43 w 4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25">
                  <a:moveTo>
                    <a:pt x="0" y="12"/>
                  </a:moveTo>
                  <a:lnTo>
                    <a:pt x="6" y="12"/>
                  </a:lnTo>
                  <a:lnTo>
                    <a:pt x="6" y="6"/>
                  </a:lnTo>
                  <a:lnTo>
                    <a:pt x="6" y="0"/>
                  </a:lnTo>
                  <a:lnTo>
                    <a:pt x="12" y="6"/>
                  </a:lnTo>
                  <a:lnTo>
                    <a:pt x="12" y="0"/>
                  </a:lnTo>
                  <a:lnTo>
                    <a:pt x="18" y="0"/>
                  </a:lnTo>
                  <a:lnTo>
                    <a:pt x="25" y="0"/>
                  </a:lnTo>
                  <a:lnTo>
                    <a:pt x="31" y="0"/>
                  </a:lnTo>
                  <a:lnTo>
                    <a:pt x="31" y="6"/>
                  </a:lnTo>
                  <a:lnTo>
                    <a:pt x="31" y="0"/>
                  </a:lnTo>
                  <a:lnTo>
                    <a:pt x="37" y="0"/>
                  </a:lnTo>
                  <a:lnTo>
                    <a:pt x="37" y="6"/>
                  </a:lnTo>
                  <a:lnTo>
                    <a:pt x="43" y="6"/>
                  </a:lnTo>
                  <a:lnTo>
                    <a:pt x="37" y="12"/>
                  </a:lnTo>
                  <a:lnTo>
                    <a:pt x="31" y="19"/>
                  </a:lnTo>
                  <a:lnTo>
                    <a:pt x="25" y="25"/>
                  </a:lnTo>
                  <a:lnTo>
                    <a:pt x="18" y="25"/>
                  </a:lnTo>
                  <a:lnTo>
                    <a:pt x="12" y="19"/>
                  </a:lnTo>
                  <a:lnTo>
                    <a:pt x="6" y="19"/>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0" name="Freeform 161"/>
            <p:cNvSpPr>
              <a:spLocks/>
            </p:cNvSpPr>
            <p:nvPr/>
          </p:nvSpPr>
          <p:spPr bwMode="auto">
            <a:xfrm>
              <a:off x="4784048" y="2033843"/>
              <a:ext cx="59820" cy="45360"/>
            </a:xfrm>
            <a:custGeom>
              <a:avLst/>
              <a:gdLst>
                <a:gd name="T0" fmla="*/ 0 w 37"/>
                <a:gd name="T1" fmla="*/ 47884250 h 31"/>
                <a:gd name="T2" fmla="*/ 0 w 37"/>
                <a:gd name="T3" fmla="*/ 63005349 h 31"/>
                <a:gd name="T4" fmla="*/ 15120809 w 37"/>
                <a:gd name="T5" fmla="*/ 63005349 h 31"/>
                <a:gd name="T6" fmla="*/ 30241617 w 37"/>
                <a:gd name="T7" fmla="*/ 47884250 h 31"/>
                <a:gd name="T8" fmla="*/ 30241617 w 37"/>
                <a:gd name="T9" fmla="*/ 63005349 h 31"/>
                <a:gd name="T10" fmla="*/ 30241617 w 37"/>
                <a:gd name="T11" fmla="*/ 78126437 h 31"/>
                <a:gd name="T12" fmla="*/ 47881760 w 37"/>
                <a:gd name="T13" fmla="*/ 78126437 h 31"/>
                <a:gd name="T14" fmla="*/ 63002575 w 37"/>
                <a:gd name="T15" fmla="*/ 78126437 h 31"/>
                <a:gd name="T16" fmla="*/ 63002575 w 37"/>
                <a:gd name="T17" fmla="*/ 63005349 h 31"/>
                <a:gd name="T18" fmla="*/ 78123378 w 37"/>
                <a:gd name="T19" fmla="*/ 47884250 h 31"/>
                <a:gd name="T20" fmla="*/ 93244180 w 37"/>
                <a:gd name="T21" fmla="*/ 47884250 h 31"/>
                <a:gd name="T22" fmla="*/ 93244180 w 37"/>
                <a:gd name="T23" fmla="*/ 30242187 h 31"/>
                <a:gd name="T24" fmla="*/ 78123378 w 37"/>
                <a:gd name="T25" fmla="*/ 30242187 h 31"/>
                <a:gd name="T26" fmla="*/ 78123378 w 37"/>
                <a:gd name="T27" fmla="*/ 15121094 h 31"/>
                <a:gd name="T28" fmla="*/ 93244180 w 37"/>
                <a:gd name="T29" fmla="*/ 15121094 h 31"/>
                <a:gd name="T30" fmla="*/ 78123378 w 37"/>
                <a:gd name="T31" fmla="*/ 0 h 31"/>
                <a:gd name="T32" fmla="*/ 63002575 w 37"/>
                <a:gd name="T33" fmla="*/ 0 h 31"/>
                <a:gd name="T34" fmla="*/ 78123378 w 37"/>
                <a:gd name="T35" fmla="*/ 0 h 31"/>
                <a:gd name="T36" fmla="*/ 78123378 w 37"/>
                <a:gd name="T37" fmla="*/ 15121094 h 31"/>
                <a:gd name="T38" fmla="*/ 63002575 w 37"/>
                <a:gd name="T39" fmla="*/ 15121094 h 31"/>
                <a:gd name="T40" fmla="*/ 63002575 w 37"/>
                <a:gd name="T41" fmla="*/ 30242187 h 31"/>
                <a:gd name="T42" fmla="*/ 47881760 w 37"/>
                <a:gd name="T43" fmla="*/ 15121094 h 31"/>
                <a:gd name="T44" fmla="*/ 47881760 w 37"/>
                <a:gd name="T45" fmla="*/ 30242187 h 31"/>
                <a:gd name="T46" fmla="*/ 47881760 w 37"/>
                <a:gd name="T47" fmla="*/ 15121094 h 31"/>
                <a:gd name="T48" fmla="*/ 30241617 w 37"/>
                <a:gd name="T49" fmla="*/ 15121094 h 31"/>
                <a:gd name="T50" fmla="*/ 30241617 w 37"/>
                <a:gd name="T51" fmla="*/ 30242187 h 31"/>
                <a:gd name="T52" fmla="*/ 15120809 w 37"/>
                <a:gd name="T53" fmla="*/ 30242187 h 31"/>
                <a:gd name="T54" fmla="*/ 0 w 37"/>
                <a:gd name="T55" fmla="*/ 30242187 h 31"/>
                <a:gd name="T56" fmla="*/ 0 w 37"/>
                <a:gd name="T57" fmla="*/ 4788425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31"/>
                <a:gd name="T89" fmla="*/ 37 w 37"/>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31">
                  <a:moveTo>
                    <a:pt x="0" y="19"/>
                  </a:moveTo>
                  <a:lnTo>
                    <a:pt x="0" y="25"/>
                  </a:lnTo>
                  <a:lnTo>
                    <a:pt x="6" y="25"/>
                  </a:lnTo>
                  <a:lnTo>
                    <a:pt x="12" y="19"/>
                  </a:lnTo>
                  <a:lnTo>
                    <a:pt x="12" y="25"/>
                  </a:lnTo>
                  <a:lnTo>
                    <a:pt x="12" y="31"/>
                  </a:lnTo>
                  <a:lnTo>
                    <a:pt x="19" y="31"/>
                  </a:lnTo>
                  <a:lnTo>
                    <a:pt x="25" y="31"/>
                  </a:lnTo>
                  <a:lnTo>
                    <a:pt x="25" y="25"/>
                  </a:lnTo>
                  <a:lnTo>
                    <a:pt x="31" y="19"/>
                  </a:lnTo>
                  <a:lnTo>
                    <a:pt x="37" y="19"/>
                  </a:lnTo>
                  <a:lnTo>
                    <a:pt x="37" y="12"/>
                  </a:lnTo>
                  <a:lnTo>
                    <a:pt x="31" y="12"/>
                  </a:lnTo>
                  <a:lnTo>
                    <a:pt x="31" y="6"/>
                  </a:lnTo>
                  <a:lnTo>
                    <a:pt x="37" y="6"/>
                  </a:lnTo>
                  <a:lnTo>
                    <a:pt x="31" y="0"/>
                  </a:lnTo>
                  <a:lnTo>
                    <a:pt x="25" y="0"/>
                  </a:lnTo>
                  <a:lnTo>
                    <a:pt x="31" y="0"/>
                  </a:lnTo>
                  <a:lnTo>
                    <a:pt x="31" y="6"/>
                  </a:lnTo>
                  <a:lnTo>
                    <a:pt x="25" y="6"/>
                  </a:lnTo>
                  <a:lnTo>
                    <a:pt x="25" y="12"/>
                  </a:lnTo>
                  <a:lnTo>
                    <a:pt x="19" y="6"/>
                  </a:lnTo>
                  <a:lnTo>
                    <a:pt x="19" y="12"/>
                  </a:lnTo>
                  <a:lnTo>
                    <a:pt x="19" y="6"/>
                  </a:lnTo>
                  <a:lnTo>
                    <a:pt x="12" y="6"/>
                  </a:lnTo>
                  <a:lnTo>
                    <a:pt x="12" y="12"/>
                  </a:lnTo>
                  <a:lnTo>
                    <a:pt x="6" y="12"/>
                  </a:lnTo>
                  <a:lnTo>
                    <a:pt x="0" y="12"/>
                  </a:lnTo>
                  <a:lnTo>
                    <a:pt x="0" y="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1" name="Freeform 162"/>
            <p:cNvSpPr>
              <a:spLocks/>
            </p:cNvSpPr>
            <p:nvPr/>
          </p:nvSpPr>
          <p:spPr bwMode="auto">
            <a:xfrm>
              <a:off x="4973209" y="1962147"/>
              <a:ext cx="79223" cy="36579"/>
            </a:xfrm>
            <a:custGeom>
              <a:avLst/>
              <a:gdLst>
                <a:gd name="T0" fmla="*/ 0 w 49"/>
                <a:gd name="T1" fmla="*/ 30241497 h 25"/>
                <a:gd name="T2" fmla="*/ 0 w 49"/>
                <a:gd name="T3" fmla="*/ 47881570 h 25"/>
                <a:gd name="T4" fmla="*/ 15121036 w 49"/>
                <a:gd name="T5" fmla="*/ 30241497 h 25"/>
                <a:gd name="T6" fmla="*/ 30242072 w 49"/>
                <a:gd name="T7" fmla="*/ 30241497 h 25"/>
                <a:gd name="T8" fmla="*/ 15121036 w 49"/>
                <a:gd name="T9" fmla="*/ 47881570 h 25"/>
                <a:gd name="T10" fmla="*/ 30242072 w 49"/>
                <a:gd name="T11" fmla="*/ 63002324 h 25"/>
                <a:gd name="T12" fmla="*/ 45363102 w 49"/>
                <a:gd name="T13" fmla="*/ 63002324 h 25"/>
                <a:gd name="T14" fmla="*/ 60484145 w 49"/>
                <a:gd name="T15" fmla="*/ 63002324 h 25"/>
                <a:gd name="T16" fmla="*/ 45363102 w 49"/>
                <a:gd name="T17" fmla="*/ 47881570 h 25"/>
                <a:gd name="T18" fmla="*/ 60484145 w 49"/>
                <a:gd name="T19" fmla="*/ 47881570 h 25"/>
                <a:gd name="T20" fmla="*/ 75605175 w 49"/>
                <a:gd name="T21" fmla="*/ 47881570 h 25"/>
                <a:gd name="T22" fmla="*/ 90726205 w 49"/>
                <a:gd name="T23" fmla="*/ 47881570 h 25"/>
                <a:gd name="T24" fmla="*/ 123489255 w 49"/>
                <a:gd name="T25" fmla="*/ 30241497 h 25"/>
                <a:gd name="T26" fmla="*/ 108368225 w 49"/>
                <a:gd name="T27" fmla="*/ 30241497 h 25"/>
                <a:gd name="T28" fmla="*/ 90726205 w 49"/>
                <a:gd name="T29" fmla="*/ 47881570 h 25"/>
                <a:gd name="T30" fmla="*/ 75605175 w 49"/>
                <a:gd name="T31" fmla="*/ 47881570 h 25"/>
                <a:gd name="T32" fmla="*/ 90726205 w 49"/>
                <a:gd name="T33" fmla="*/ 30241497 h 25"/>
                <a:gd name="T34" fmla="*/ 75605175 w 49"/>
                <a:gd name="T35" fmla="*/ 30241497 h 25"/>
                <a:gd name="T36" fmla="*/ 90726205 w 49"/>
                <a:gd name="T37" fmla="*/ 15120749 h 25"/>
                <a:gd name="T38" fmla="*/ 75605175 w 49"/>
                <a:gd name="T39" fmla="*/ 15120749 h 25"/>
                <a:gd name="T40" fmla="*/ 60484145 w 49"/>
                <a:gd name="T41" fmla="*/ 15120749 h 25"/>
                <a:gd name="T42" fmla="*/ 60484145 w 49"/>
                <a:gd name="T43" fmla="*/ 0 h 25"/>
                <a:gd name="T44" fmla="*/ 60484145 w 49"/>
                <a:gd name="T45" fmla="*/ 15120749 h 25"/>
                <a:gd name="T46" fmla="*/ 45363102 w 49"/>
                <a:gd name="T47" fmla="*/ 0 h 25"/>
                <a:gd name="T48" fmla="*/ 45363102 w 49"/>
                <a:gd name="T49" fmla="*/ 15120749 h 25"/>
                <a:gd name="T50" fmla="*/ 30242072 w 49"/>
                <a:gd name="T51" fmla="*/ 0 h 25"/>
                <a:gd name="T52" fmla="*/ 30242072 w 49"/>
                <a:gd name="T53" fmla="*/ 15120749 h 25"/>
                <a:gd name="T54" fmla="*/ 45363102 w 49"/>
                <a:gd name="T55" fmla="*/ 15120749 h 25"/>
                <a:gd name="T56" fmla="*/ 60484145 w 49"/>
                <a:gd name="T57" fmla="*/ 15120749 h 25"/>
                <a:gd name="T58" fmla="*/ 60484145 w 49"/>
                <a:gd name="T59" fmla="*/ 30241497 h 25"/>
                <a:gd name="T60" fmla="*/ 45363102 w 49"/>
                <a:gd name="T61" fmla="*/ 15120749 h 25"/>
                <a:gd name="T62" fmla="*/ 30242072 w 49"/>
                <a:gd name="T63" fmla="*/ 15120749 h 25"/>
                <a:gd name="T64" fmla="*/ 0 w 49"/>
                <a:gd name="T65" fmla="*/ 15120749 h 25"/>
                <a:gd name="T66" fmla="*/ 0 w 49"/>
                <a:gd name="T67" fmla="*/ 30241497 h 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
                <a:gd name="T103" fmla="*/ 0 h 25"/>
                <a:gd name="T104" fmla="*/ 49 w 49"/>
                <a:gd name="T105" fmla="*/ 25 h 2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 h="25">
                  <a:moveTo>
                    <a:pt x="0" y="12"/>
                  </a:moveTo>
                  <a:lnTo>
                    <a:pt x="0" y="19"/>
                  </a:lnTo>
                  <a:lnTo>
                    <a:pt x="6" y="12"/>
                  </a:lnTo>
                  <a:lnTo>
                    <a:pt x="12" y="12"/>
                  </a:lnTo>
                  <a:lnTo>
                    <a:pt x="6" y="19"/>
                  </a:lnTo>
                  <a:lnTo>
                    <a:pt x="12" y="25"/>
                  </a:lnTo>
                  <a:lnTo>
                    <a:pt x="18" y="25"/>
                  </a:lnTo>
                  <a:lnTo>
                    <a:pt x="24" y="25"/>
                  </a:lnTo>
                  <a:lnTo>
                    <a:pt x="18" y="19"/>
                  </a:lnTo>
                  <a:lnTo>
                    <a:pt x="24" y="19"/>
                  </a:lnTo>
                  <a:lnTo>
                    <a:pt x="30" y="19"/>
                  </a:lnTo>
                  <a:lnTo>
                    <a:pt x="36" y="19"/>
                  </a:lnTo>
                  <a:lnTo>
                    <a:pt x="49" y="12"/>
                  </a:lnTo>
                  <a:lnTo>
                    <a:pt x="43" y="12"/>
                  </a:lnTo>
                  <a:lnTo>
                    <a:pt x="36" y="19"/>
                  </a:lnTo>
                  <a:lnTo>
                    <a:pt x="30" y="19"/>
                  </a:lnTo>
                  <a:lnTo>
                    <a:pt x="36" y="12"/>
                  </a:lnTo>
                  <a:lnTo>
                    <a:pt x="30" y="12"/>
                  </a:lnTo>
                  <a:lnTo>
                    <a:pt x="36" y="6"/>
                  </a:lnTo>
                  <a:lnTo>
                    <a:pt x="30" y="6"/>
                  </a:lnTo>
                  <a:lnTo>
                    <a:pt x="24" y="6"/>
                  </a:lnTo>
                  <a:lnTo>
                    <a:pt x="24" y="0"/>
                  </a:lnTo>
                  <a:lnTo>
                    <a:pt x="24" y="6"/>
                  </a:lnTo>
                  <a:lnTo>
                    <a:pt x="18" y="0"/>
                  </a:lnTo>
                  <a:lnTo>
                    <a:pt x="18" y="6"/>
                  </a:lnTo>
                  <a:lnTo>
                    <a:pt x="12" y="0"/>
                  </a:lnTo>
                  <a:lnTo>
                    <a:pt x="12" y="6"/>
                  </a:lnTo>
                  <a:lnTo>
                    <a:pt x="18" y="6"/>
                  </a:lnTo>
                  <a:lnTo>
                    <a:pt x="24" y="6"/>
                  </a:lnTo>
                  <a:lnTo>
                    <a:pt x="24" y="12"/>
                  </a:lnTo>
                  <a:lnTo>
                    <a:pt x="18" y="6"/>
                  </a:lnTo>
                  <a:lnTo>
                    <a:pt x="12" y="6"/>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2" name="Freeform 163"/>
            <p:cNvSpPr>
              <a:spLocks/>
            </p:cNvSpPr>
            <p:nvPr/>
          </p:nvSpPr>
          <p:spPr bwMode="auto">
            <a:xfrm>
              <a:off x="3634518" y="2922003"/>
              <a:ext cx="69522" cy="26338"/>
            </a:xfrm>
            <a:custGeom>
              <a:avLst/>
              <a:gdLst>
                <a:gd name="T0" fmla="*/ 0 w 43"/>
                <a:gd name="T1" fmla="*/ 30241875 h 18"/>
                <a:gd name="T2" fmla="*/ 17642017 w 43"/>
                <a:gd name="T3" fmla="*/ 45362806 h 18"/>
                <a:gd name="T4" fmla="*/ 32763066 w 43"/>
                <a:gd name="T5" fmla="*/ 45362806 h 18"/>
                <a:gd name="T6" fmla="*/ 47884109 w 43"/>
                <a:gd name="T7" fmla="*/ 30241875 h 18"/>
                <a:gd name="T8" fmla="*/ 63005164 w 43"/>
                <a:gd name="T9" fmla="*/ 30241875 h 18"/>
                <a:gd name="T10" fmla="*/ 93247250 w 43"/>
                <a:gd name="T11" fmla="*/ 15120937 h 18"/>
                <a:gd name="T12" fmla="*/ 108368317 w 43"/>
                <a:gd name="T13" fmla="*/ 15120937 h 18"/>
                <a:gd name="T14" fmla="*/ 93247250 w 43"/>
                <a:gd name="T15" fmla="*/ 0 h 18"/>
                <a:gd name="T16" fmla="*/ 78126207 w 43"/>
                <a:gd name="T17" fmla="*/ 0 h 18"/>
                <a:gd name="T18" fmla="*/ 63005164 w 43"/>
                <a:gd name="T19" fmla="*/ 0 h 18"/>
                <a:gd name="T20" fmla="*/ 78126207 w 43"/>
                <a:gd name="T21" fmla="*/ 0 h 18"/>
                <a:gd name="T22" fmla="*/ 63005164 w 43"/>
                <a:gd name="T23" fmla="*/ 0 h 18"/>
                <a:gd name="T24" fmla="*/ 32763066 w 43"/>
                <a:gd name="T25" fmla="*/ 0 h 18"/>
                <a:gd name="T26" fmla="*/ 32763066 w 43"/>
                <a:gd name="T27" fmla="*/ 15120937 h 18"/>
                <a:gd name="T28" fmla="*/ 17642017 w 43"/>
                <a:gd name="T29" fmla="*/ 15120937 h 18"/>
                <a:gd name="T30" fmla="*/ 17642017 w 43"/>
                <a:gd name="T31" fmla="*/ 30241875 h 18"/>
                <a:gd name="T32" fmla="*/ 0 w 43"/>
                <a:gd name="T33" fmla="*/ 30241875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18"/>
                <a:gd name="T53" fmla="*/ 43 w 43"/>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18">
                  <a:moveTo>
                    <a:pt x="0" y="12"/>
                  </a:moveTo>
                  <a:lnTo>
                    <a:pt x="7" y="18"/>
                  </a:lnTo>
                  <a:lnTo>
                    <a:pt x="13" y="18"/>
                  </a:lnTo>
                  <a:lnTo>
                    <a:pt x="19" y="12"/>
                  </a:lnTo>
                  <a:lnTo>
                    <a:pt x="25" y="12"/>
                  </a:lnTo>
                  <a:lnTo>
                    <a:pt x="37" y="6"/>
                  </a:lnTo>
                  <a:lnTo>
                    <a:pt x="43" y="6"/>
                  </a:lnTo>
                  <a:lnTo>
                    <a:pt x="37" y="0"/>
                  </a:lnTo>
                  <a:lnTo>
                    <a:pt x="31" y="0"/>
                  </a:lnTo>
                  <a:lnTo>
                    <a:pt x="25" y="0"/>
                  </a:lnTo>
                  <a:lnTo>
                    <a:pt x="31" y="0"/>
                  </a:lnTo>
                  <a:lnTo>
                    <a:pt x="25" y="0"/>
                  </a:lnTo>
                  <a:lnTo>
                    <a:pt x="13" y="0"/>
                  </a:lnTo>
                  <a:lnTo>
                    <a:pt x="13" y="6"/>
                  </a:lnTo>
                  <a:lnTo>
                    <a:pt x="7" y="6"/>
                  </a:lnTo>
                  <a:lnTo>
                    <a:pt x="7"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3" name="Freeform 164"/>
            <p:cNvSpPr>
              <a:spLocks/>
            </p:cNvSpPr>
            <p:nvPr/>
          </p:nvSpPr>
          <p:spPr bwMode="auto">
            <a:xfrm>
              <a:off x="4843867" y="2016284"/>
              <a:ext cx="40420" cy="35117"/>
            </a:xfrm>
            <a:custGeom>
              <a:avLst/>
              <a:gdLst>
                <a:gd name="T0" fmla="*/ 0 w 25"/>
                <a:gd name="T1" fmla="*/ 30241878 h 24"/>
                <a:gd name="T2" fmla="*/ 0 w 25"/>
                <a:gd name="T3" fmla="*/ 45362810 h 24"/>
                <a:gd name="T4" fmla="*/ 15121130 w 25"/>
                <a:gd name="T5" fmla="*/ 45362810 h 24"/>
                <a:gd name="T6" fmla="*/ 30242259 w 25"/>
                <a:gd name="T7" fmla="*/ 60483756 h 24"/>
                <a:gd name="T8" fmla="*/ 45363383 w 25"/>
                <a:gd name="T9" fmla="*/ 45362810 h 24"/>
                <a:gd name="T10" fmla="*/ 63005499 w 25"/>
                <a:gd name="T11" fmla="*/ 45362810 h 24"/>
                <a:gd name="T12" fmla="*/ 63005499 w 25"/>
                <a:gd name="T13" fmla="*/ 30241878 h 24"/>
                <a:gd name="T14" fmla="*/ 63005499 w 25"/>
                <a:gd name="T15" fmla="*/ 15120939 h 24"/>
                <a:gd name="T16" fmla="*/ 45363383 w 25"/>
                <a:gd name="T17" fmla="*/ 15120939 h 24"/>
                <a:gd name="T18" fmla="*/ 30242259 w 25"/>
                <a:gd name="T19" fmla="*/ 15120939 h 24"/>
                <a:gd name="T20" fmla="*/ 15121130 w 25"/>
                <a:gd name="T21" fmla="*/ 15120939 h 24"/>
                <a:gd name="T22" fmla="*/ 30242259 w 25"/>
                <a:gd name="T23" fmla="*/ 15120939 h 24"/>
                <a:gd name="T24" fmla="*/ 30242259 w 25"/>
                <a:gd name="T25" fmla="*/ 0 h 24"/>
                <a:gd name="T26" fmla="*/ 15121130 w 25"/>
                <a:gd name="T27" fmla="*/ 0 h 24"/>
                <a:gd name="T28" fmla="*/ 0 w 25"/>
                <a:gd name="T29" fmla="*/ 15120939 h 24"/>
                <a:gd name="T30" fmla="*/ 0 w 25"/>
                <a:gd name="T31" fmla="*/ 30241878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24"/>
                <a:gd name="T50" fmla="*/ 25 w 25"/>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24">
                  <a:moveTo>
                    <a:pt x="0" y="12"/>
                  </a:moveTo>
                  <a:lnTo>
                    <a:pt x="0" y="18"/>
                  </a:lnTo>
                  <a:lnTo>
                    <a:pt x="6" y="18"/>
                  </a:lnTo>
                  <a:lnTo>
                    <a:pt x="12" y="24"/>
                  </a:lnTo>
                  <a:lnTo>
                    <a:pt x="18" y="18"/>
                  </a:lnTo>
                  <a:lnTo>
                    <a:pt x="25" y="18"/>
                  </a:lnTo>
                  <a:lnTo>
                    <a:pt x="25" y="12"/>
                  </a:lnTo>
                  <a:lnTo>
                    <a:pt x="25" y="6"/>
                  </a:lnTo>
                  <a:lnTo>
                    <a:pt x="18" y="6"/>
                  </a:lnTo>
                  <a:lnTo>
                    <a:pt x="12" y="6"/>
                  </a:lnTo>
                  <a:lnTo>
                    <a:pt x="6" y="6"/>
                  </a:lnTo>
                  <a:lnTo>
                    <a:pt x="12" y="6"/>
                  </a:lnTo>
                  <a:lnTo>
                    <a:pt x="12" y="0"/>
                  </a:lnTo>
                  <a:lnTo>
                    <a:pt x="6" y="0"/>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4" name="Freeform 165"/>
            <p:cNvSpPr>
              <a:spLocks/>
            </p:cNvSpPr>
            <p:nvPr/>
          </p:nvSpPr>
          <p:spPr bwMode="auto">
            <a:xfrm>
              <a:off x="4586800" y="2087981"/>
              <a:ext cx="38803" cy="26338"/>
            </a:xfrm>
            <a:custGeom>
              <a:avLst/>
              <a:gdLst>
                <a:gd name="T0" fmla="*/ 0 w 24"/>
                <a:gd name="T1" fmla="*/ 15120937 h 18"/>
                <a:gd name="T2" fmla="*/ 15120939 w 24"/>
                <a:gd name="T3" fmla="*/ 0 h 18"/>
                <a:gd name="T4" fmla="*/ 30241878 w 24"/>
                <a:gd name="T5" fmla="*/ 0 h 18"/>
                <a:gd name="T6" fmla="*/ 45362810 w 24"/>
                <a:gd name="T7" fmla="*/ 0 h 18"/>
                <a:gd name="T8" fmla="*/ 60483756 w 24"/>
                <a:gd name="T9" fmla="*/ 0 h 18"/>
                <a:gd name="T10" fmla="*/ 45362810 w 24"/>
                <a:gd name="T11" fmla="*/ 15120937 h 18"/>
                <a:gd name="T12" fmla="*/ 45362810 w 24"/>
                <a:gd name="T13" fmla="*/ 30241875 h 18"/>
                <a:gd name="T14" fmla="*/ 30241878 w 24"/>
                <a:gd name="T15" fmla="*/ 30241875 h 18"/>
                <a:gd name="T16" fmla="*/ 30241878 w 24"/>
                <a:gd name="T17" fmla="*/ 45362806 h 18"/>
                <a:gd name="T18" fmla="*/ 30241878 w 24"/>
                <a:gd name="T19" fmla="*/ 30241875 h 18"/>
                <a:gd name="T20" fmla="*/ 15120939 w 24"/>
                <a:gd name="T21" fmla="*/ 15120937 h 18"/>
                <a:gd name="T22" fmla="*/ 15120939 w 24"/>
                <a:gd name="T23" fmla="*/ 30241875 h 18"/>
                <a:gd name="T24" fmla="*/ 0 w 24"/>
                <a:gd name="T25" fmla="*/ 30241875 h 18"/>
                <a:gd name="T26" fmla="*/ 0 w 24"/>
                <a:gd name="T27" fmla="*/ 15120937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18"/>
                <a:gd name="T44" fmla="*/ 24 w 24"/>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18">
                  <a:moveTo>
                    <a:pt x="0" y="6"/>
                  </a:moveTo>
                  <a:lnTo>
                    <a:pt x="6" y="0"/>
                  </a:lnTo>
                  <a:lnTo>
                    <a:pt x="12" y="0"/>
                  </a:lnTo>
                  <a:lnTo>
                    <a:pt x="18" y="0"/>
                  </a:lnTo>
                  <a:lnTo>
                    <a:pt x="24" y="0"/>
                  </a:lnTo>
                  <a:lnTo>
                    <a:pt x="18" y="6"/>
                  </a:lnTo>
                  <a:lnTo>
                    <a:pt x="18" y="12"/>
                  </a:lnTo>
                  <a:lnTo>
                    <a:pt x="12" y="12"/>
                  </a:lnTo>
                  <a:lnTo>
                    <a:pt x="12" y="18"/>
                  </a:lnTo>
                  <a:lnTo>
                    <a:pt x="12" y="12"/>
                  </a:lnTo>
                  <a:lnTo>
                    <a:pt x="6" y="6"/>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5" name="Freeform 166"/>
            <p:cNvSpPr>
              <a:spLocks/>
            </p:cNvSpPr>
            <p:nvPr/>
          </p:nvSpPr>
          <p:spPr bwMode="auto">
            <a:xfrm>
              <a:off x="4745245" y="2061644"/>
              <a:ext cx="48503" cy="26338"/>
            </a:xfrm>
            <a:custGeom>
              <a:avLst/>
              <a:gdLst>
                <a:gd name="T0" fmla="*/ 0 w 30"/>
                <a:gd name="T1" fmla="*/ 15120937 h 18"/>
                <a:gd name="T2" fmla="*/ 0 w 30"/>
                <a:gd name="T3" fmla="*/ 30241875 h 18"/>
                <a:gd name="T4" fmla="*/ 15120940 w 30"/>
                <a:gd name="T5" fmla="*/ 30241875 h 18"/>
                <a:gd name="T6" fmla="*/ 30241880 w 30"/>
                <a:gd name="T7" fmla="*/ 30241875 h 18"/>
                <a:gd name="T8" fmla="*/ 45362813 w 30"/>
                <a:gd name="T9" fmla="*/ 30241875 h 18"/>
                <a:gd name="T10" fmla="*/ 60483759 w 30"/>
                <a:gd name="T11" fmla="*/ 30241875 h 18"/>
                <a:gd name="T12" fmla="*/ 75604693 w 30"/>
                <a:gd name="T13" fmla="*/ 45362806 h 18"/>
                <a:gd name="T14" fmla="*/ 75604693 w 30"/>
                <a:gd name="T15" fmla="*/ 30241875 h 18"/>
                <a:gd name="T16" fmla="*/ 60483759 w 30"/>
                <a:gd name="T17" fmla="*/ 30241875 h 18"/>
                <a:gd name="T18" fmla="*/ 75604693 w 30"/>
                <a:gd name="T19" fmla="*/ 15120937 h 18"/>
                <a:gd name="T20" fmla="*/ 60483759 w 30"/>
                <a:gd name="T21" fmla="*/ 15120937 h 18"/>
                <a:gd name="T22" fmla="*/ 45362813 w 30"/>
                <a:gd name="T23" fmla="*/ 15120937 h 18"/>
                <a:gd name="T24" fmla="*/ 45362813 w 30"/>
                <a:gd name="T25" fmla="*/ 0 h 18"/>
                <a:gd name="T26" fmla="*/ 45362813 w 30"/>
                <a:gd name="T27" fmla="*/ 15120937 h 18"/>
                <a:gd name="T28" fmla="*/ 45362813 w 30"/>
                <a:gd name="T29" fmla="*/ 0 h 18"/>
                <a:gd name="T30" fmla="*/ 30241880 w 30"/>
                <a:gd name="T31" fmla="*/ 0 h 18"/>
                <a:gd name="T32" fmla="*/ 30241880 w 30"/>
                <a:gd name="T33" fmla="*/ 15120937 h 18"/>
                <a:gd name="T34" fmla="*/ 30241880 w 30"/>
                <a:gd name="T35" fmla="*/ 0 h 18"/>
                <a:gd name="T36" fmla="*/ 30241880 w 30"/>
                <a:gd name="T37" fmla="*/ 15120937 h 18"/>
                <a:gd name="T38" fmla="*/ 30241880 w 30"/>
                <a:gd name="T39" fmla="*/ 0 h 18"/>
                <a:gd name="T40" fmla="*/ 15120940 w 30"/>
                <a:gd name="T41" fmla="*/ 15120937 h 18"/>
                <a:gd name="T42" fmla="*/ 0 w 30"/>
                <a:gd name="T43" fmla="*/ 1512093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18"/>
                <a:gd name="T68" fmla="*/ 30 w 3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18">
                  <a:moveTo>
                    <a:pt x="0" y="6"/>
                  </a:moveTo>
                  <a:lnTo>
                    <a:pt x="0" y="12"/>
                  </a:lnTo>
                  <a:lnTo>
                    <a:pt x="6" y="12"/>
                  </a:lnTo>
                  <a:lnTo>
                    <a:pt x="12" y="12"/>
                  </a:lnTo>
                  <a:lnTo>
                    <a:pt x="18" y="12"/>
                  </a:lnTo>
                  <a:lnTo>
                    <a:pt x="24" y="12"/>
                  </a:lnTo>
                  <a:lnTo>
                    <a:pt x="30" y="18"/>
                  </a:lnTo>
                  <a:lnTo>
                    <a:pt x="30" y="12"/>
                  </a:lnTo>
                  <a:lnTo>
                    <a:pt x="24" y="12"/>
                  </a:lnTo>
                  <a:lnTo>
                    <a:pt x="30" y="6"/>
                  </a:lnTo>
                  <a:lnTo>
                    <a:pt x="24" y="6"/>
                  </a:lnTo>
                  <a:lnTo>
                    <a:pt x="18" y="6"/>
                  </a:lnTo>
                  <a:lnTo>
                    <a:pt x="18" y="0"/>
                  </a:lnTo>
                  <a:lnTo>
                    <a:pt x="18" y="6"/>
                  </a:lnTo>
                  <a:lnTo>
                    <a:pt x="18" y="0"/>
                  </a:lnTo>
                  <a:lnTo>
                    <a:pt x="12" y="0"/>
                  </a:lnTo>
                  <a:lnTo>
                    <a:pt x="12" y="6"/>
                  </a:lnTo>
                  <a:lnTo>
                    <a:pt x="12" y="0"/>
                  </a:lnTo>
                  <a:lnTo>
                    <a:pt x="12" y="6"/>
                  </a:lnTo>
                  <a:lnTo>
                    <a:pt x="12"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6" name="Freeform 167"/>
            <p:cNvSpPr>
              <a:spLocks/>
            </p:cNvSpPr>
            <p:nvPr/>
          </p:nvSpPr>
          <p:spPr bwMode="auto">
            <a:xfrm>
              <a:off x="4517279" y="2079202"/>
              <a:ext cx="48503" cy="26338"/>
            </a:xfrm>
            <a:custGeom>
              <a:avLst/>
              <a:gdLst>
                <a:gd name="T0" fmla="*/ 0 w 30"/>
                <a:gd name="T1" fmla="*/ 15120937 h 18"/>
                <a:gd name="T2" fmla="*/ 15120940 w 30"/>
                <a:gd name="T3" fmla="*/ 15120937 h 18"/>
                <a:gd name="T4" fmla="*/ 15120940 w 30"/>
                <a:gd name="T5" fmla="*/ 0 h 18"/>
                <a:gd name="T6" fmla="*/ 30241880 w 30"/>
                <a:gd name="T7" fmla="*/ 15120937 h 18"/>
                <a:gd name="T8" fmla="*/ 30241880 w 30"/>
                <a:gd name="T9" fmla="*/ 30241875 h 18"/>
                <a:gd name="T10" fmla="*/ 45362813 w 30"/>
                <a:gd name="T11" fmla="*/ 30241875 h 18"/>
                <a:gd name="T12" fmla="*/ 45362813 w 30"/>
                <a:gd name="T13" fmla="*/ 15120937 h 18"/>
                <a:gd name="T14" fmla="*/ 60483759 w 30"/>
                <a:gd name="T15" fmla="*/ 15120937 h 18"/>
                <a:gd name="T16" fmla="*/ 45362813 w 30"/>
                <a:gd name="T17" fmla="*/ 30241875 h 18"/>
                <a:gd name="T18" fmla="*/ 60483759 w 30"/>
                <a:gd name="T19" fmla="*/ 30241875 h 18"/>
                <a:gd name="T20" fmla="*/ 75604693 w 30"/>
                <a:gd name="T21" fmla="*/ 30241875 h 18"/>
                <a:gd name="T22" fmla="*/ 75604693 w 30"/>
                <a:gd name="T23" fmla="*/ 45362806 h 18"/>
                <a:gd name="T24" fmla="*/ 60483759 w 30"/>
                <a:gd name="T25" fmla="*/ 45362806 h 18"/>
                <a:gd name="T26" fmla="*/ 45362813 w 30"/>
                <a:gd name="T27" fmla="*/ 45362806 h 18"/>
                <a:gd name="T28" fmla="*/ 30241880 w 30"/>
                <a:gd name="T29" fmla="*/ 45362806 h 18"/>
                <a:gd name="T30" fmla="*/ 30241880 w 30"/>
                <a:gd name="T31" fmla="*/ 30241875 h 18"/>
                <a:gd name="T32" fmla="*/ 15120940 w 30"/>
                <a:gd name="T33" fmla="*/ 15120937 h 18"/>
                <a:gd name="T34" fmla="*/ 0 w 30"/>
                <a:gd name="T35" fmla="*/ 1512093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18"/>
                <a:gd name="T56" fmla="*/ 30 w 3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18">
                  <a:moveTo>
                    <a:pt x="0" y="6"/>
                  </a:moveTo>
                  <a:lnTo>
                    <a:pt x="6" y="6"/>
                  </a:lnTo>
                  <a:lnTo>
                    <a:pt x="6" y="0"/>
                  </a:lnTo>
                  <a:lnTo>
                    <a:pt x="12" y="6"/>
                  </a:lnTo>
                  <a:lnTo>
                    <a:pt x="12" y="12"/>
                  </a:lnTo>
                  <a:lnTo>
                    <a:pt x="18" y="12"/>
                  </a:lnTo>
                  <a:lnTo>
                    <a:pt x="18" y="6"/>
                  </a:lnTo>
                  <a:lnTo>
                    <a:pt x="24" y="6"/>
                  </a:lnTo>
                  <a:lnTo>
                    <a:pt x="18" y="12"/>
                  </a:lnTo>
                  <a:lnTo>
                    <a:pt x="24" y="12"/>
                  </a:lnTo>
                  <a:lnTo>
                    <a:pt x="30" y="12"/>
                  </a:lnTo>
                  <a:lnTo>
                    <a:pt x="30" y="18"/>
                  </a:lnTo>
                  <a:lnTo>
                    <a:pt x="24" y="18"/>
                  </a:lnTo>
                  <a:lnTo>
                    <a:pt x="18" y="18"/>
                  </a:lnTo>
                  <a:lnTo>
                    <a:pt x="12" y="18"/>
                  </a:lnTo>
                  <a:lnTo>
                    <a:pt x="12" y="12"/>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7" name="Freeform 168"/>
            <p:cNvSpPr>
              <a:spLocks/>
            </p:cNvSpPr>
            <p:nvPr/>
          </p:nvSpPr>
          <p:spPr bwMode="auto">
            <a:xfrm>
              <a:off x="4328116" y="2248933"/>
              <a:ext cx="30718" cy="17558"/>
            </a:xfrm>
            <a:custGeom>
              <a:avLst/>
              <a:gdLst>
                <a:gd name="T0" fmla="*/ 0 w 19"/>
                <a:gd name="T1" fmla="*/ 0 h 12"/>
                <a:gd name="T2" fmla="*/ 17640007 w 19"/>
                <a:gd name="T3" fmla="*/ 0 h 12"/>
                <a:gd name="T4" fmla="*/ 32760694 w 19"/>
                <a:gd name="T5" fmla="*/ 0 h 12"/>
                <a:gd name="T6" fmla="*/ 47881374 w 19"/>
                <a:gd name="T7" fmla="*/ 15120939 h 12"/>
                <a:gd name="T8" fmla="*/ 32760694 w 19"/>
                <a:gd name="T9" fmla="*/ 15120939 h 12"/>
                <a:gd name="T10" fmla="*/ 32760694 w 19"/>
                <a:gd name="T11" fmla="*/ 30241878 h 12"/>
                <a:gd name="T12" fmla="*/ 17640007 w 19"/>
                <a:gd name="T13" fmla="*/ 30241878 h 12"/>
                <a:gd name="T14" fmla="*/ 17640007 w 19"/>
                <a:gd name="T15" fmla="*/ 15120939 h 12"/>
                <a:gd name="T16" fmla="*/ 0 w 19"/>
                <a:gd name="T17" fmla="*/ 15120939 h 12"/>
                <a:gd name="T18" fmla="*/ 0 w 19"/>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2"/>
                <a:gd name="T32" fmla="*/ 19 w 1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2">
                  <a:moveTo>
                    <a:pt x="0" y="0"/>
                  </a:moveTo>
                  <a:lnTo>
                    <a:pt x="7" y="0"/>
                  </a:lnTo>
                  <a:lnTo>
                    <a:pt x="13" y="0"/>
                  </a:lnTo>
                  <a:lnTo>
                    <a:pt x="19" y="6"/>
                  </a:lnTo>
                  <a:lnTo>
                    <a:pt x="13" y="6"/>
                  </a:lnTo>
                  <a:lnTo>
                    <a:pt x="13" y="12"/>
                  </a:lnTo>
                  <a:lnTo>
                    <a:pt x="7" y="12"/>
                  </a:lnTo>
                  <a:lnTo>
                    <a:pt x="7" y="6"/>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8" name="Freeform 169"/>
            <p:cNvSpPr>
              <a:spLocks/>
            </p:cNvSpPr>
            <p:nvPr/>
          </p:nvSpPr>
          <p:spPr bwMode="auto">
            <a:xfrm>
              <a:off x="3595715" y="2939561"/>
              <a:ext cx="29102" cy="17558"/>
            </a:xfrm>
            <a:custGeom>
              <a:avLst/>
              <a:gdLst>
                <a:gd name="T0" fmla="*/ 0 w 18"/>
                <a:gd name="T1" fmla="*/ 15120939 h 12"/>
                <a:gd name="T2" fmla="*/ 15120937 w 18"/>
                <a:gd name="T3" fmla="*/ 15120939 h 12"/>
                <a:gd name="T4" fmla="*/ 15120937 w 18"/>
                <a:gd name="T5" fmla="*/ 0 h 12"/>
                <a:gd name="T6" fmla="*/ 30241875 w 18"/>
                <a:gd name="T7" fmla="*/ 0 h 12"/>
                <a:gd name="T8" fmla="*/ 30241875 w 18"/>
                <a:gd name="T9" fmla="*/ 15120939 h 12"/>
                <a:gd name="T10" fmla="*/ 45362806 w 18"/>
                <a:gd name="T11" fmla="*/ 15120939 h 12"/>
                <a:gd name="T12" fmla="*/ 45362806 w 18"/>
                <a:gd name="T13" fmla="*/ 30241878 h 12"/>
                <a:gd name="T14" fmla="*/ 30241875 w 18"/>
                <a:gd name="T15" fmla="*/ 30241878 h 12"/>
                <a:gd name="T16" fmla="*/ 15120937 w 18"/>
                <a:gd name="T17" fmla="*/ 30241878 h 12"/>
                <a:gd name="T18" fmla="*/ 0 w 18"/>
                <a:gd name="T19" fmla="*/ 30241878 h 12"/>
                <a:gd name="T20" fmla="*/ 0 w 18"/>
                <a:gd name="T21" fmla="*/ 15120939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2"/>
                <a:gd name="T35" fmla="*/ 18 w 1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2">
                  <a:moveTo>
                    <a:pt x="0" y="6"/>
                  </a:moveTo>
                  <a:lnTo>
                    <a:pt x="6" y="6"/>
                  </a:lnTo>
                  <a:lnTo>
                    <a:pt x="6" y="0"/>
                  </a:lnTo>
                  <a:lnTo>
                    <a:pt x="12" y="0"/>
                  </a:lnTo>
                  <a:lnTo>
                    <a:pt x="12" y="6"/>
                  </a:lnTo>
                  <a:lnTo>
                    <a:pt x="18" y="6"/>
                  </a:lnTo>
                  <a:lnTo>
                    <a:pt x="18" y="12"/>
                  </a:lnTo>
                  <a:lnTo>
                    <a:pt x="12" y="12"/>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49" name="Freeform 170"/>
            <p:cNvSpPr>
              <a:spLocks/>
            </p:cNvSpPr>
            <p:nvPr/>
          </p:nvSpPr>
          <p:spPr bwMode="auto">
            <a:xfrm>
              <a:off x="4517279" y="2114319"/>
              <a:ext cx="29102" cy="19021"/>
            </a:xfrm>
            <a:custGeom>
              <a:avLst/>
              <a:gdLst>
                <a:gd name="T0" fmla="*/ 0 w 18"/>
                <a:gd name="T1" fmla="*/ 32760447 h 13"/>
                <a:gd name="T2" fmla="*/ 0 w 18"/>
                <a:gd name="T3" fmla="*/ 15120573 h 13"/>
                <a:gd name="T4" fmla="*/ 15120937 w 18"/>
                <a:gd name="T5" fmla="*/ 15120573 h 13"/>
                <a:gd name="T6" fmla="*/ 30241875 w 18"/>
                <a:gd name="T7" fmla="*/ 15120573 h 13"/>
                <a:gd name="T8" fmla="*/ 30241875 w 18"/>
                <a:gd name="T9" fmla="*/ 0 h 13"/>
                <a:gd name="T10" fmla="*/ 45362806 w 18"/>
                <a:gd name="T11" fmla="*/ 0 h 13"/>
                <a:gd name="T12" fmla="*/ 45362806 w 18"/>
                <a:gd name="T13" fmla="*/ 15120573 h 13"/>
                <a:gd name="T14" fmla="*/ 30241875 w 18"/>
                <a:gd name="T15" fmla="*/ 15120573 h 13"/>
                <a:gd name="T16" fmla="*/ 30241875 w 18"/>
                <a:gd name="T17" fmla="*/ 32760447 h 13"/>
                <a:gd name="T18" fmla="*/ 15120937 w 18"/>
                <a:gd name="T19" fmla="*/ 32760447 h 13"/>
                <a:gd name="T20" fmla="*/ 0 w 18"/>
                <a:gd name="T21" fmla="*/ 327604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3"/>
                <a:gd name="T35" fmla="*/ 18 w 18"/>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3">
                  <a:moveTo>
                    <a:pt x="0" y="13"/>
                  </a:moveTo>
                  <a:lnTo>
                    <a:pt x="0" y="6"/>
                  </a:lnTo>
                  <a:lnTo>
                    <a:pt x="6" y="6"/>
                  </a:lnTo>
                  <a:lnTo>
                    <a:pt x="12" y="6"/>
                  </a:lnTo>
                  <a:lnTo>
                    <a:pt x="12" y="0"/>
                  </a:lnTo>
                  <a:lnTo>
                    <a:pt x="18" y="0"/>
                  </a:lnTo>
                  <a:lnTo>
                    <a:pt x="18" y="6"/>
                  </a:lnTo>
                  <a:lnTo>
                    <a:pt x="12" y="6"/>
                  </a:lnTo>
                  <a:lnTo>
                    <a:pt x="12" y="13"/>
                  </a:lnTo>
                  <a:lnTo>
                    <a:pt x="6" y="13"/>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0" name="Freeform 171"/>
            <p:cNvSpPr>
              <a:spLocks/>
            </p:cNvSpPr>
            <p:nvPr/>
          </p:nvSpPr>
          <p:spPr bwMode="auto">
            <a:xfrm>
              <a:off x="5328901" y="2123098"/>
              <a:ext cx="30719" cy="19021"/>
            </a:xfrm>
            <a:custGeom>
              <a:avLst/>
              <a:gdLst>
                <a:gd name="T0" fmla="*/ 0 w 19"/>
                <a:gd name="T1" fmla="*/ 32760447 h 13"/>
                <a:gd name="T2" fmla="*/ 15121188 w 19"/>
                <a:gd name="T3" fmla="*/ 32760447 h 13"/>
                <a:gd name="T4" fmla="*/ 0 w 19"/>
                <a:gd name="T5" fmla="*/ 32760447 h 13"/>
                <a:gd name="T6" fmla="*/ 15121188 w 19"/>
                <a:gd name="T7" fmla="*/ 32760447 h 13"/>
                <a:gd name="T8" fmla="*/ 30242377 w 19"/>
                <a:gd name="T9" fmla="*/ 32760447 h 13"/>
                <a:gd name="T10" fmla="*/ 47884549 w 19"/>
                <a:gd name="T11" fmla="*/ 17639874 h 13"/>
                <a:gd name="T12" fmla="*/ 30242377 w 19"/>
                <a:gd name="T13" fmla="*/ 17639874 h 13"/>
                <a:gd name="T14" fmla="*/ 30242377 w 19"/>
                <a:gd name="T15" fmla="*/ 32760447 h 13"/>
                <a:gd name="T16" fmla="*/ 30242377 w 19"/>
                <a:gd name="T17" fmla="*/ 17639874 h 13"/>
                <a:gd name="T18" fmla="*/ 30242377 w 19"/>
                <a:gd name="T19" fmla="*/ 0 h 13"/>
                <a:gd name="T20" fmla="*/ 15121188 w 19"/>
                <a:gd name="T21" fmla="*/ 0 h 13"/>
                <a:gd name="T22" fmla="*/ 0 w 19"/>
                <a:gd name="T23" fmla="*/ 0 h 13"/>
                <a:gd name="T24" fmla="*/ 15121188 w 19"/>
                <a:gd name="T25" fmla="*/ 17639874 h 13"/>
                <a:gd name="T26" fmla="*/ 0 w 19"/>
                <a:gd name="T27" fmla="*/ 17639874 h 13"/>
                <a:gd name="T28" fmla="*/ 0 w 19"/>
                <a:gd name="T29" fmla="*/ 327604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3"/>
                <a:gd name="T47" fmla="*/ 19 w 19"/>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3">
                  <a:moveTo>
                    <a:pt x="0" y="13"/>
                  </a:moveTo>
                  <a:lnTo>
                    <a:pt x="6" y="13"/>
                  </a:lnTo>
                  <a:lnTo>
                    <a:pt x="0" y="13"/>
                  </a:lnTo>
                  <a:lnTo>
                    <a:pt x="6" y="13"/>
                  </a:lnTo>
                  <a:lnTo>
                    <a:pt x="12" y="13"/>
                  </a:lnTo>
                  <a:lnTo>
                    <a:pt x="19" y="7"/>
                  </a:lnTo>
                  <a:lnTo>
                    <a:pt x="12" y="7"/>
                  </a:lnTo>
                  <a:lnTo>
                    <a:pt x="12" y="13"/>
                  </a:lnTo>
                  <a:lnTo>
                    <a:pt x="12" y="7"/>
                  </a:lnTo>
                  <a:lnTo>
                    <a:pt x="12" y="0"/>
                  </a:lnTo>
                  <a:lnTo>
                    <a:pt x="6" y="0"/>
                  </a:lnTo>
                  <a:lnTo>
                    <a:pt x="0" y="0"/>
                  </a:lnTo>
                  <a:lnTo>
                    <a:pt x="6" y="7"/>
                  </a:lnTo>
                  <a:lnTo>
                    <a:pt x="0" y="7"/>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1" name="Freeform 172"/>
            <p:cNvSpPr>
              <a:spLocks/>
            </p:cNvSpPr>
            <p:nvPr/>
          </p:nvSpPr>
          <p:spPr bwMode="auto">
            <a:xfrm>
              <a:off x="4308714" y="2257712"/>
              <a:ext cx="30718" cy="19021"/>
            </a:xfrm>
            <a:custGeom>
              <a:avLst/>
              <a:gdLst>
                <a:gd name="T0" fmla="*/ 0 w 19"/>
                <a:gd name="T1" fmla="*/ 32760447 h 13"/>
                <a:gd name="T2" fmla="*/ 0 w 19"/>
                <a:gd name="T3" fmla="*/ 15120573 h 13"/>
                <a:gd name="T4" fmla="*/ 15120687 w 19"/>
                <a:gd name="T5" fmla="*/ 15120573 h 13"/>
                <a:gd name="T6" fmla="*/ 15120687 w 19"/>
                <a:gd name="T7" fmla="*/ 0 h 13"/>
                <a:gd name="T8" fmla="*/ 30241374 w 19"/>
                <a:gd name="T9" fmla="*/ 0 h 13"/>
                <a:gd name="T10" fmla="*/ 30241374 w 19"/>
                <a:gd name="T11" fmla="*/ 15120573 h 13"/>
                <a:gd name="T12" fmla="*/ 47881374 w 19"/>
                <a:gd name="T13" fmla="*/ 15120573 h 13"/>
                <a:gd name="T14" fmla="*/ 30241374 w 19"/>
                <a:gd name="T15" fmla="*/ 15120573 h 13"/>
                <a:gd name="T16" fmla="*/ 30241374 w 19"/>
                <a:gd name="T17" fmla="*/ 32760447 h 13"/>
                <a:gd name="T18" fmla="*/ 15120687 w 19"/>
                <a:gd name="T19" fmla="*/ 32760447 h 13"/>
                <a:gd name="T20" fmla="*/ 0 w 19"/>
                <a:gd name="T21" fmla="*/ 327604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3"/>
                <a:gd name="T35" fmla="*/ 19 w 19"/>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3">
                  <a:moveTo>
                    <a:pt x="0" y="13"/>
                  </a:moveTo>
                  <a:lnTo>
                    <a:pt x="0" y="6"/>
                  </a:lnTo>
                  <a:lnTo>
                    <a:pt x="6" y="6"/>
                  </a:lnTo>
                  <a:lnTo>
                    <a:pt x="6" y="0"/>
                  </a:lnTo>
                  <a:lnTo>
                    <a:pt x="12" y="0"/>
                  </a:lnTo>
                  <a:lnTo>
                    <a:pt x="12" y="6"/>
                  </a:lnTo>
                  <a:lnTo>
                    <a:pt x="19" y="6"/>
                  </a:lnTo>
                  <a:lnTo>
                    <a:pt x="12" y="6"/>
                  </a:lnTo>
                  <a:lnTo>
                    <a:pt x="12" y="13"/>
                  </a:lnTo>
                  <a:lnTo>
                    <a:pt x="6" y="13"/>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2" name="Freeform 173"/>
            <p:cNvSpPr>
              <a:spLocks/>
            </p:cNvSpPr>
            <p:nvPr/>
          </p:nvSpPr>
          <p:spPr bwMode="auto">
            <a:xfrm>
              <a:off x="4863269" y="1979705"/>
              <a:ext cx="30719" cy="19021"/>
            </a:xfrm>
            <a:custGeom>
              <a:avLst/>
              <a:gdLst>
                <a:gd name="T0" fmla="*/ 0 w 19"/>
                <a:gd name="T1" fmla="*/ 17639874 h 13"/>
                <a:gd name="T2" fmla="*/ 15121188 w 19"/>
                <a:gd name="T3" fmla="*/ 17639874 h 13"/>
                <a:gd name="T4" fmla="*/ 0 w 19"/>
                <a:gd name="T5" fmla="*/ 0 h 13"/>
                <a:gd name="T6" fmla="*/ 15121188 w 19"/>
                <a:gd name="T7" fmla="*/ 0 h 13"/>
                <a:gd name="T8" fmla="*/ 32763367 w 19"/>
                <a:gd name="T9" fmla="*/ 17639874 h 13"/>
                <a:gd name="T10" fmla="*/ 15121188 w 19"/>
                <a:gd name="T11" fmla="*/ 17639874 h 13"/>
                <a:gd name="T12" fmla="*/ 32763367 w 19"/>
                <a:gd name="T13" fmla="*/ 17639874 h 13"/>
                <a:gd name="T14" fmla="*/ 47884549 w 19"/>
                <a:gd name="T15" fmla="*/ 17639874 h 13"/>
                <a:gd name="T16" fmla="*/ 32763367 w 19"/>
                <a:gd name="T17" fmla="*/ 17639874 h 13"/>
                <a:gd name="T18" fmla="*/ 15121188 w 19"/>
                <a:gd name="T19" fmla="*/ 17639874 h 13"/>
                <a:gd name="T20" fmla="*/ 32763367 w 19"/>
                <a:gd name="T21" fmla="*/ 17639874 h 13"/>
                <a:gd name="T22" fmla="*/ 47884549 w 19"/>
                <a:gd name="T23" fmla="*/ 17639874 h 13"/>
                <a:gd name="T24" fmla="*/ 47884549 w 19"/>
                <a:gd name="T25" fmla="*/ 32760447 h 13"/>
                <a:gd name="T26" fmla="*/ 32763367 w 19"/>
                <a:gd name="T27" fmla="*/ 32760447 h 13"/>
                <a:gd name="T28" fmla="*/ 15121188 w 19"/>
                <a:gd name="T29" fmla="*/ 32760447 h 13"/>
                <a:gd name="T30" fmla="*/ 0 w 19"/>
                <a:gd name="T31" fmla="*/ 32760447 h 13"/>
                <a:gd name="T32" fmla="*/ 15121188 w 19"/>
                <a:gd name="T33" fmla="*/ 32760447 h 13"/>
                <a:gd name="T34" fmla="*/ 0 w 19"/>
                <a:gd name="T35" fmla="*/ 17639874 h 13"/>
                <a:gd name="T36" fmla="*/ 15121188 w 19"/>
                <a:gd name="T37" fmla="*/ 17639874 h 13"/>
                <a:gd name="T38" fmla="*/ 0 w 19"/>
                <a:gd name="T39" fmla="*/ 17639874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3"/>
                <a:gd name="T62" fmla="*/ 19 w 19"/>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3">
                  <a:moveTo>
                    <a:pt x="0" y="7"/>
                  </a:moveTo>
                  <a:lnTo>
                    <a:pt x="6" y="7"/>
                  </a:lnTo>
                  <a:lnTo>
                    <a:pt x="0" y="0"/>
                  </a:lnTo>
                  <a:lnTo>
                    <a:pt x="6" y="0"/>
                  </a:lnTo>
                  <a:lnTo>
                    <a:pt x="13" y="7"/>
                  </a:lnTo>
                  <a:lnTo>
                    <a:pt x="6" y="7"/>
                  </a:lnTo>
                  <a:lnTo>
                    <a:pt x="13" y="7"/>
                  </a:lnTo>
                  <a:lnTo>
                    <a:pt x="19" y="7"/>
                  </a:lnTo>
                  <a:lnTo>
                    <a:pt x="13" y="7"/>
                  </a:lnTo>
                  <a:lnTo>
                    <a:pt x="6" y="7"/>
                  </a:lnTo>
                  <a:lnTo>
                    <a:pt x="13" y="7"/>
                  </a:lnTo>
                  <a:lnTo>
                    <a:pt x="19" y="7"/>
                  </a:lnTo>
                  <a:lnTo>
                    <a:pt x="19" y="13"/>
                  </a:lnTo>
                  <a:lnTo>
                    <a:pt x="13" y="13"/>
                  </a:lnTo>
                  <a:lnTo>
                    <a:pt x="6" y="13"/>
                  </a:lnTo>
                  <a:lnTo>
                    <a:pt x="0" y="13"/>
                  </a:lnTo>
                  <a:lnTo>
                    <a:pt x="6" y="13"/>
                  </a:lnTo>
                  <a:lnTo>
                    <a:pt x="0" y="7"/>
                  </a:lnTo>
                  <a:lnTo>
                    <a:pt x="6" y="7"/>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3" name="Freeform 174"/>
            <p:cNvSpPr>
              <a:spLocks/>
            </p:cNvSpPr>
            <p:nvPr/>
          </p:nvSpPr>
          <p:spPr bwMode="auto">
            <a:xfrm>
              <a:off x="3634517" y="2902981"/>
              <a:ext cx="40420" cy="8779"/>
            </a:xfrm>
            <a:custGeom>
              <a:avLst/>
              <a:gdLst>
                <a:gd name="T0" fmla="*/ 0 w 25"/>
                <a:gd name="T1" fmla="*/ 15120939 h 6"/>
                <a:gd name="T2" fmla="*/ 32763240 w 25"/>
                <a:gd name="T3" fmla="*/ 15120939 h 6"/>
                <a:gd name="T4" fmla="*/ 63005499 w 25"/>
                <a:gd name="T5" fmla="*/ 15120939 h 6"/>
                <a:gd name="T6" fmla="*/ 63005499 w 25"/>
                <a:gd name="T7" fmla="*/ 0 h 6"/>
                <a:gd name="T8" fmla="*/ 47884364 w 25"/>
                <a:gd name="T9" fmla="*/ 0 h 6"/>
                <a:gd name="T10" fmla="*/ 32763240 w 25"/>
                <a:gd name="T11" fmla="*/ 15120939 h 6"/>
                <a:gd name="T12" fmla="*/ 17642111 w 25"/>
                <a:gd name="T13" fmla="*/ 15120939 h 6"/>
                <a:gd name="T14" fmla="*/ 0 w 25"/>
                <a:gd name="T15" fmla="*/ 15120939 h 6"/>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6"/>
                <a:gd name="T26" fmla="*/ 25 w 25"/>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6">
                  <a:moveTo>
                    <a:pt x="0" y="6"/>
                  </a:moveTo>
                  <a:lnTo>
                    <a:pt x="13" y="6"/>
                  </a:lnTo>
                  <a:lnTo>
                    <a:pt x="25" y="6"/>
                  </a:lnTo>
                  <a:lnTo>
                    <a:pt x="25" y="0"/>
                  </a:lnTo>
                  <a:lnTo>
                    <a:pt x="19" y="0"/>
                  </a:lnTo>
                  <a:lnTo>
                    <a:pt x="13" y="6"/>
                  </a:lnTo>
                  <a:lnTo>
                    <a:pt x="7"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4" name="Freeform 175"/>
            <p:cNvSpPr>
              <a:spLocks/>
            </p:cNvSpPr>
            <p:nvPr/>
          </p:nvSpPr>
          <p:spPr bwMode="auto">
            <a:xfrm>
              <a:off x="4615903" y="2105540"/>
              <a:ext cx="29102" cy="17558"/>
            </a:xfrm>
            <a:custGeom>
              <a:avLst/>
              <a:gdLst>
                <a:gd name="T0" fmla="*/ 0 w 18"/>
                <a:gd name="T1" fmla="*/ 15120939 h 12"/>
                <a:gd name="T2" fmla="*/ 0 w 18"/>
                <a:gd name="T3" fmla="*/ 30241878 h 12"/>
                <a:gd name="T4" fmla="*/ 15120937 w 18"/>
                <a:gd name="T5" fmla="*/ 30241878 h 12"/>
                <a:gd name="T6" fmla="*/ 30241875 w 18"/>
                <a:gd name="T7" fmla="*/ 30241878 h 12"/>
                <a:gd name="T8" fmla="*/ 30241875 w 18"/>
                <a:gd name="T9" fmla="*/ 15120939 h 12"/>
                <a:gd name="T10" fmla="*/ 45362806 w 18"/>
                <a:gd name="T11" fmla="*/ 15120939 h 12"/>
                <a:gd name="T12" fmla="*/ 30241875 w 18"/>
                <a:gd name="T13" fmla="*/ 15120939 h 12"/>
                <a:gd name="T14" fmla="*/ 15120937 w 18"/>
                <a:gd name="T15" fmla="*/ 15120939 h 12"/>
                <a:gd name="T16" fmla="*/ 0 w 18"/>
                <a:gd name="T17" fmla="*/ 0 h 12"/>
                <a:gd name="T18" fmla="*/ 0 w 18"/>
                <a:gd name="T19" fmla="*/ 15120939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2"/>
                <a:gd name="T32" fmla="*/ 18 w 1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2">
                  <a:moveTo>
                    <a:pt x="0" y="6"/>
                  </a:moveTo>
                  <a:lnTo>
                    <a:pt x="0" y="12"/>
                  </a:lnTo>
                  <a:lnTo>
                    <a:pt x="6" y="12"/>
                  </a:lnTo>
                  <a:lnTo>
                    <a:pt x="12" y="12"/>
                  </a:lnTo>
                  <a:lnTo>
                    <a:pt x="12" y="6"/>
                  </a:lnTo>
                  <a:lnTo>
                    <a:pt x="18" y="6"/>
                  </a:lnTo>
                  <a:lnTo>
                    <a:pt x="12" y="6"/>
                  </a:lnTo>
                  <a:lnTo>
                    <a:pt x="6"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5" name="Freeform 176"/>
            <p:cNvSpPr>
              <a:spLocks/>
            </p:cNvSpPr>
            <p:nvPr/>
          </p:nvSpPr>
          <p:spPr bwMode="auto">
            <a:xfrm>
              <a:off x="4923090" y="1970926"/>
              <a:ext cx="19401" cy="8779"/>
            </a:xfrm>
            <a:custGeom>
              <a:avLst/>
              <a:gdLst>
                <a:gd name="T0" fmla="*/ 0 w 12"/>
                <a:gd name="T1" fmla="*/ 15120939 h 6"/>
                <a:gd name="T2" fmla="*/ 0 w 12"/>
                <a:gd name="T3" fmla="*/ 0 h 6"/>
                <a:gd name="T4" fmla="*/ 15120939 w 12"/>
                <a:gd name="T5" fmla="*/ 15120939 h 6"/>
                <a:gd name="T6" fmla="*/ 0 w 12"/>
                <a:gd name="T7" fmla="*/ 15120939 h 6"/>
                <a:gd name="T8" fmla="*/ 15120939 w 12"/>
                <a:gd name="T9" fmla="*/ 15120939 h 6"/>
                <a:gd name="T10" fmla="*/ 15120939 w 12"/>
                <a:gd name="T11" fmla="*/ 0 h 6"/>
                <a:gd name="T12" fmla="*/ 30241878 w 12"/>
                <a:gd name="T13" fmla="*/ 0 h 6"/>
                <a:gd name="T14" fmla="*/ 30241878 w 12"/>
                <a:gd name="T15" fmla="*/ 15120939 h 6"/>
                <a:gd name="T16" fmla="*/ 15120939 w 12"/>
                <a:gd name="T17" fmla="*/ 15120939 h 6"/>
                <a:gd name="T18" fmla="*/ 30241878 w 12"/>
                <a:gd name="T19" fmla="*/ 15120939 h 6"/>
                <a:gd name="T20" fmla="*/ 15120939 w 12"/>
                <a:gd name="T21" fmla="*/ 15120939 h 6"/>
                <a:gd name="T22" fmla="*/ 0 w 12"/>
                <a:gd name="T23" fmla="*/ 15120939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6"/>
                <a:gd name="T38" fmla="*/ 12 w 1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6">
                  <a:moveTo>
                    <a:pt x="0" y="6"/>
                  </a:moveTo>
                  <a:lnTo>
                    <a:pt x="0" y="0"/>
                  </a:lnTo>
                  <a:lnTo>
                    <a:pt x="6" y="6"/>
                  </a:lnTo>
                  <a:lnTo>
                    <a:pt x="0" y="6"/>
                  </a:lnTo>
                  <a:lnTo>
                    <a:pt x="6" y="6"/>
                  </a:lnTo>
                  <a:lnTo>
                    <a:pt x="6" y="0"/>
                  </a:lnTo>
                  <a:lnTo>
                    <a:pt x="12" y="0"/>
                  </a:lnTo>
                  <a:lnTo>
                    <a:pt x="12" y="6"/>
                  </a:lnTo>
                  <a:lnTo>
                    <a:pt x="6" y="6"/>
                  </a:lnTo>
                  <a:lnTo>
                    <a:pt x="12" y="6"/>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6" name="Freeform 177"/>
            <p:cNvSpPr>
              <a:spLocks/>
            </p:cNvSpPr>
            <p:nvPr/>
          </p:nvSpPr>
          <p:spPr bwMode="auto">
            <a:xfrm>
              <a:off x="4872970" y="1979705"/>
              <a:ext cx="11318" cy="1463"/>
            </a:xfrm>
            <a:custGeom>
              <a:avLst/>
              <a:gdLst>
                <a:gd name="T0" fmla="*/ 0 w 7"/>
                <a:gd name="T1" fmla="*/ 0 h 1587"/>
                <a:gd name="T2" fmla="*/ 17642683 w 7"/>
                <a:gd name="T3" fmla="*/ 0 h 1587"/>
                <a:gd name="T4" fmla="*/ 0 w 7"/>
                <a:gd name="T5" fmla="*/ 0 h 1587"/>
                <a:gd name="T6" fmla="*/ 0 60000 65536"/>
                <a:gd name="T7" fmla="*/ 0 60000 65536"/>
                <a:gd name="T8" fmla="*/ 0 60000 65536"/>
                <a:gd name="T9" fmla="*/ 0 w 7"/>
                <a:gd name="T10" fmla="*/ 0 h 1587"/>
                <a:gd name="T11" fmla="*/ 7 w 7"/>
                <a:gd name="T12" fmla="*/ 1587 h 1587"/>
              </a:gdLst>
              <a:ahLst/>
              <a:cxnLst>
                <a:cxn ang="T6">
                  <a:pos x="T0" y="T1"/>
                </a:cxn>
                <a:cxn ang="T7">
                  <a:pos x="T2" y="T3"/>
                </a:cxn>
                <a:cxn ang="T8">
                  <a:pos x="T4" y="T5"/>
                </a:cxn>
              </a:cxnLst>
              <a:rect l="T9" t="T10" r="T11" b="T12"/>
              <a:pathLst>
                <a:path w="7" h="1587">
                  <a:moveTo>
                    <a:pt x="0" y="0"/>
                  </a:move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7" name="Freeform 178"/>
            <p:cNvSpPr>
              <a:spLocks/>
            </p:cNvSpPr>
            <p:nvPr/>
          </p:nvSpPr>
          <p:spPr bwMode="auto">
            <a:xfrm>
              <a:off x="4913389" y="1979705"/>
              <a:ext cx="19401" cy="10242"/>
            </a:xfrm>
            <a:custGeom>
              <a:avLst/>
              <a:gdLst>
                <a:gd name="T0" fmla="*/ 0 w 12"/>
                <a:gd name="T1" fmla="*/ 17639508 h 7"/>
                <a:gd name="T2" fmla="*/ 15120939 w 12"/>
                <a:gd name="T3" fmla="*/ 17639508 h 7"/>
                <a:gd name="T4" fmla="*/ 30241878 w 12"/>
                <a:gd name="T5" fmla="*/ 17639508 h 7"/>
                <a:gd name="T6" fmla="*/ 15120939 w 12"/>
                <a:gd name="T7" fmla="*/ 17639508 h 7"/>
                <a:gd name="T8" fmla="*/ 15120939 w 12"/>
                <a:gd name="T9" fmla="*/ 0 h 7"/>
                <a:gd name="T10" fmla="*/ 0 w 12"/>
                <a:gd name="T11" fmla="*/ 17639508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0" y="7"/>
                  </a:moveTo>
                  <a:lnTo>
                    <a:pt x="6" y="7"/>
                  </a:lnTo>
                  <a:lnTo>
                    <a:pt x="12" y="7"/>
                  </a:lnTo>
                  <a:lnTo>
                    <a:pt x="6" y="7"/>
                  </a:lnTo>
                  <a:lnTo>
                    <a:pt x="6"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8" name="Freeform 179"/>
            <p:cNvSpPr>
              <a:spLocks/>
            </p:cNvSpPr>
            <p:nvPr/>
          </p:nvSpPr>
          <p:spPr bwMode="auto">
            <a:xfrm>
              <a:off x="4884288" y="1998726"/>
              <a:ext cx="9701" cy="8779"/>
            </a:xfrm>
            <a:custGeom>
              <a:avLst/>
              <a:gdLst>
                <a:gd name="T0" fmla="*/ 0 w 6"/>
                <a:gd name="T1" fmla="*/ 15120939 h 6"/>
                <a:gd name="T2" fmla="*/ 15120939 w 6"/>
                <a:gd name="T3" fmla="*/ 15120939 h 6"/>
                <a:gd name="T4" fmla="*/ 15120939 w 6"/>
                <a:gd name="T5" fmla="*/ 0 h 6"/>
                <a:gd name="T6" fmla="*/ 15120939 w 6"/>
                <a:gd name="T7" fmla="*/ 15120939 h 6"/>
                <a:gd name="T8" fmla="*/ 0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6" y="6"/>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59" name="Freeform 180"/>
            <p:cNvSpPr>
              <a:spLocks/>
            </p:cNvSpPr>
            <p:nvPr/>
          </p:nvSpPr>
          <p:spPr bwMode="auto">
            <a:xfrm>
              <a:off x="4893988" y="1998726"/>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0" name="Freeform 181"/>
            <p:cNvSpPr>
              <a:spLocks/>
            </p:cNvSpPr>
            <p:nvPr/>
          </p:nvSpPr>
          <p:spPr bwMode="auto">
            <a:xfrm>
              <a:off x="4834167" y="3441437"/>
              <a:ext cx="355691" cy="206311"/>
            </a:xfrm>
            <a:custGeom>
              <a:avLst/>
              <a:gdLst>
                <a:gd name="T0" fmla="*/ 554434420 w 220"/>
                <a:gd name="T1" fmla="*/ 231854892 h 141"/>
                <a:gd name="T2" fmla="*/ 539313486 w 220"/>
                <a:gd name="T3" fmla="*/ 30241942 h 141"/>
                <a:gd name="T4" fmla="*/ 231854410 w 220"/>
                <a:gd name="T5" fmla="*/ 0 h 141"/>
                <a:gd name="T6" fmla="*/ 0 w 220"/>
                <a:gd name="T7" fmla="*/ 93246768 h 141"/>
                <a:gd name="T8" fmla="*/ 15120940 w 220"/>
                <a:gd name="T9" fmla="*/ 153730651 h 141"/>
                <a:gd name="T10" fmla="*/ 78124053 w 220"/>
                <a:gd name="T11" fmla="*/ 277217786 h 141"/>
                <a:gd name="T12" fmla="*/ 123488465 w 220"/>
                <a:gd name="T13" fmla="*/ 277217786 h 141"/>
                <a:gd name="T14" fmla="*/ 292338143 w 220"/>
                <a:gd name="T15" fmla="*/ 322580680 h 141"/>
                <a:gd name="T16" fmla="*/ 463708820 w 220"/>
                <a:gd name="T17" fmla="*/ 355343564 h 141"/>
                <a:gd name="T18" fmla="*/ 554434420 w 220"/>
                <a:gd name="T19" fmla="*/ 231854892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0"/>
                <a:gd name="T31" fmla="*/ 0 h 141"/>
                <a:gd name="T32" fmla="*/ 220 w 220"/>
                <a:gd name="T33" fmla="*/ 141 h 1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0" h="141">
                  <a:moveTo>
                    <a:pt x="220" y="92"/>
                  </a:moveTo>
                  <a:lnTo>
                    <a:pt x="214" y="12"/>
                  </a:lnTo>
                  <a:lnTo>
                    <a:pt x="92" y="0"/>
                  </a:lnTo>
                  <a:lnTo>
                    <a:pt x="0" y="37"/>
                  </a:lnTo>
                  <a:lnTo>
                    <a:pt x="6" y="61"/>
                  </a:lnTo>
                  <a:lnTo>
                    <a:pt x="31" y="110"/>
                  </a:lnTo>
                  <a:lnTo>
                    <a:pt x="49" y="110"/>
                  </a:lnTo>
                  <a:lnTo>
                    <a:pt x="116" y="128"/>
                  </a:lnTo>
                  <a:lnTo>
                    <a:pt x="184" y="141"/>
                  </a:lnTo>
                  <a:lnTo>
                    <a:pt x="220" y="9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1" name="Freeform 182"/>
            <p:cNvSpPr>
              <a:spLocks/>
            </p:cNvSpPr>
            <p:nvPr/>
          </p:nvSpPr>
          <p:spPr bwMode="auto">
            <a:xfrm>
              <a:off x="4635303" y="3602388"/>
              <a:ext cx="575573" cy="304345"/>
            </a:xfrm>
            <a:custGeom>
              <a:avLst/>
              <a:gdLst>
                <a:gd name="T0" fmla="*/ 463708789 w 356"/>
                <a:gd name="T1" fmla="*/ 355342820 h 208"/>
                <a:gd name="T2" fmla="*/ 246975327 w 356"/>
                <a:gd name="T3" fmla="*/ 385584686 h 208"/>
                <a:gd name="T4" fmla="*/ 32761239 w 356"/>
                <a:gd name="T5" fmla="*/ 433466946 h 208"/>
                <a:gd name="T6" fmla="*/ 0 w 356"/>
                <a:gd name="T7" fmla="*/ 433466946 h 208"/>
                <a:gd name="T8" fmla="*/ 93246568 w 356"/>
                <a:gd name="T9" fmla="*/ 153728742 h 208"/>
                <a:gd name="T10" fmla="*/ 201612480 w 356"/>
                <a:gd name="T11" fmla="*/ 138607809 h 208"/>
                <a:gd name="T12" fmla="*/ 340221870 w 356"/>
                <a:gd name="T13" fmla="*/ 277217205 h 208"/>
                <a:gd name="T14" fmla="*/ 418345992 w 356"/>
                <a:gd name="T15" fmla="*/ 201612490 h 208"/>
                <a:gd name="T16" fmla="*/ 433466925 w 356"/>
                <a:gd name="T17" fmla="*/ 0 h 208"/>
                <a:gd name="T18" fmla="*/ 602316542 w 356"/>
                <a:gd name="T19" fmla="*/ 45362812 h 208"/>
                <a:gd name="T20" fmla="*/ 773688696 w 356"/>
                <a:gd name="T21" fmla="*/ 78124052 h 208"/>
                <a:gd name="T22" fmla="*/ 834172623 w 356"/>
                <a:gd name="T23" fmla="*/ 246975339 h 208"/>
                <a:gd name="T24" fmla="*/ 897175714 w 356"/>
                <a:gd name="T25" fmla="*/ 493950678 h 208"/>
                <a:gd name="T26" fmla="*/ 710684017 w 356"/>
                <a:gd name="T27" fmla="*/ 524192545 h 208"/>
                <a:gd name="T28" fmla="*/ 463708789 w 356"/>
                <a:gd name="T29" fmla="*/ 355342820 h 2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208"/>
                <a:gd name="T47" fmla="*/ 356 w 356"/>
                <a:gd name="T48" fmla="*/ 208 h 2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208">
                  <a:moveTo>
                    <a:pt x="184" y="141"/>
                  </a:moveTo>
                  <a:lnTo>
                    <a:pt x="98" y="153"/>
                  </a:lnTo>
                  <a:lnTo>
                    <a:pt x="13" y="172"/>
                  </a:lnTo>
                  <a:lnTo>
                    <a:pt x="0" y="172"/>
                  </a:lnTo>
                  <a:lnTo>
                    <a:pt x="37" y="61"/>
                  </a:lnTo>
                  <a:lnTo>
                    <a:pt x="80" y="55"/>
                  </a:lnTo>
                  <a:lnTo>
                    <a:pt x="135" y="110"/>
                  </a:lnTo>
                  <a:lnTo>
                    <a:pt x="166" y="80"/>
                  </a:lnTo>
                  <a:lnTo>
                    <a:pt x="172" y="0"/>
                  </a:lnTo>
                  <a:lnTo>
                    <a:pt x="239" y="18"/>
                  </a:lnTo>
                  <a:lnTo>
                    <a:pt x="307" y="31"/>
                  </a:lnTo>
                  <a:lnTo>
                    <a:pt x="331" y="98"/>
                  </a:lnTo>
                  <a:lnTo>
                    <a:pt x="356" y="196"/>
                  </a:lnTo>
                  <a:lnTo>
                    <a:pt x="282" y="208"/>
                  </a:lnTo>
                  <a:lnTo>
                    <a:pt x="184" y="14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2" name="Freeform 183"/>
            <p:cNvSpPr>
              <a:spLocks/>
            </p:cNvSpPr>
            <p:nvPr/>
          </p:nvSpPr>
          <p:spPr bwMode="auto">
            <a:xfrm>
              <a:off x="5091235" y="4794894"/>
              <a:ext cx="307188" cy="456517"/>
            </a:xfrm>
            <a:custGeom>
              <a:avLst/>
              <a:gdLst>
                <a:gd name="T0" fmla="*/ 355342810 w 190"/>
                <a:gd name="T1" fmla="*/ 677922758 h 312"/>
                <a:gd name="T2" fmla="*/ 385584675 w 190"/>
                <a:gd name="T3" fmla="*/ 415824924 h 312"/>
                <a:gd name="T4" fmla="*/ 216733467 w 190"/>
                <a:gd name="T5" fmla="*/ 153728727 h 312"/>
                <a:gd name="T6" fmla="*/ 93246570 w 190"/>
                <a:gd name="T7" fmla="*/ 0 h 312"/>
                <a:gd name="T8" fmla="*/ 15120939 w 190"/>
                <a:gd name="T9" fmla="*/ 123486864 h 312"/>
                <a:gd name="T10" fmla="*/ 15120939 w 190"/>
                <a:gd name="T11" fmla="*/ 123486864 h 312"/>
                <a:gd name="T12" fmla="*/ 30241878 w 190"/>
                <a:gd name="T13" fmla="*/ 138607795 h 312"/>
                <a:gd name="T14" fmla="*/ 30241878 w 190"/>
                <a:gd name="T15" fmla="*/ 153728727 h 312"/>
                <a:gd name="T16" fmla="*/ 47883760 w 190"/>
                <a:gd name="T17" fmla="*/ 183972178 h 312"/>
                <a:gd name="T18" fmla="*/ 63003117 w 190"/>
                <a:gd name="T19" fmla="*/ 199091522 h 312"/>
                <a:gd name="T20" fmla="*/ 63003117 w 190"/>
                <a:gd name="T21" fmla="*/ 231854384 h 312"/>
                <a:gd name="T22" fmla="*/ 63003117 w 190"/>
                <a:gd name="T23" fmla="*/ 262096247 h 312"/>
                <a:gd name="T24" fmla="*/ 78124050 w 190"/>
                <a:gd name="T25" fmla="*/ 277217178 h 312"/>
                <a:gd name="T26" fmla="*/ 93246570 w 190"/>
                <a:gd name="T27" fmla="*/ 292338110 h 312"/>
                <a:gd name="T28" fmla="*/ 93246570 w 190"/>
                <a:gd name="T29" fmla="*/ 307459041 h 312"/>
                <a:gd name="T30" fmla="*/ 108367527 w 190"/>
                <a:gd name="T31" fmla="*/ 322579973 h 312"/>
                <a:gd name="T32" fmla="*/ 108367527 w 190"/>
                <a:gd name="T33" fmla="*/ 322579973 h 312"/>
                <a:gd name="T34" fmla="*/ 123486872 w 190"/>
                <a:gd name="T35" fmla="*/ 337700905 h 312"/>
                <a:gd name="T36" fmla="*/ 123486872 w 190"/>
                <a:gd name="T37" fmla="*/ 370463717 h 312"/>
                <a:gd name="T38" fmla="*/ 138607805 w 190"/>
                <a:gd name="T39" fmla="*/ 385584648 h 312"/>
                <a:gd name="T40" fmla="*/ 138607805 w 190"/>
                <a:gd name="T41" fmla="*/ 385584648 h 312"/>
                <a:gd name="T42" fmla="*/ 153728738 w 190"/>
                <a:gd name="T43" fmla="*/ 400703992 h 312"/>
                <a:gd name="T44" fmla="*/ 171370620 w 190"/>
                <a:gd name="T45" fmla="*/ 415824924 h 312"/>
                <a:gd name="T46" fmla="*/ 171370620 w 190"/>
                <a:gd name="T47" fmla="*/ 446066886 h 312"/>
                <a:gd name="T48" fmla="*/ 186491552 w 190"/>
                <a:gd name="T49" fmla="*/ 478829699 h 312"/>
                <a:gd name="T50" fmla="*/ 186491552 w 190"/>
                <a:gd name="T51" fmla="*/ 509071562 h 312"/>
                <a:gd name="T52" fmla="*/ 186491552 w 190"/>
                <a:gd name="T53" fmla="*/ 539313425 h 312"/>
                <a:gd name="T54" fmla="*/ 186491552 w 190"/>
                <a:gd name="T55" fmla="*/ 539313425 h 312"/>
                <a:gd name="T56" fmla="*/ 171370620 w 190"/>
                <a:gd name="T57" fmla="*/ 569555288 h 312"/>
                <a:gd name="T58" fmla="*/ 171370620 w 190"/>
                <a:gd name="T59" fmla="*/ 602316513 h 312"/>
                <a:gd name="T60" fmla="*/ 171370620 w 190"/>
                <a:gd name="T61" fmla="*/ 632558376 h 312"/>
                <a:gd name="T62" fmla="*/ 171370620 w 190"/>
                <a:gd name="T63" fmla="*/ 662801827 h 312"/>
                <a:gd name="T64" fmla="*/ 171370620 w 190"/>
                <a:gd name="T65" fmla="*/ 693043690 h 312"/>
                <a:gd name="T66" fmla="*/ 171370620 w 190"/>
                <a:gd name="T67" fmla="*/ 708164621 h 312"/>
                <a:gd name="T68" fmla="*/ 171370620 w 190"/>
                <a:gd name="T69" fmla="*/ 740925846 h 312"/>
                <a:gd name="T70" fmla="*/ 201612485 w 190"/>
                <a:gd name="T71" fmla="*/ 756046778 h 312"/>
                <a:gd name="T72" fmla="*/ 231854400 w 190"/>
                <a:gd name="T73" fmla="*/ 786288641 h 312"/>
                <a:gd name="T74" fmla="*/ 246975332 w 190"/>
                <a:gd name="T75" fmla="*/ 771167709 h 312"/>
                <a:gd name="T76" fmla="*/ 262096265 w 190"/>
                <a:gd name="T77" fmla="*/ 771167709 h 312"/>
                <a:gd name="T78" fmla="*/ 277217198 w 190"/>
                <a:gd name="T79" fmla="*/ 756046778 h 312"/>
                <a:gd name="T80" fmla="*/ 309978425 w 190"/>
                <a:gd name="T81" fmla="*/ 740925846 h 312"/>
                <a:gd name="T82" fmla="*/ 340221877 w 190"/>
                <a:gd name="T83" fmla="*/ 740925846 h 312"/>
                <a:gd name="T84" fmla="*/ 355342810 w 190"/>
                <a:gd name="T85" fmla="*/ 771167709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0"/>
                <a:gd name="T130" fmla="*/ 0 h 312"/>
                <a:gd name="T131" fmla="*/ 190 w 190"/>
                <a:gd name="T132" fmla="*/ 312 h 3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0" h="312">
                  <a:moveTo>
                    <a:pt x="141" y="306"/>
                  </a:moveTo>
                  <a:lnTo>
                    <a:pt x="141" y="269"/>
                  </a:lnTo>
                  <a:lnTo>
                    <a:pt x="190" y="214"/>
                  </a:lnTo>
                  <a:lnTo>
                    <a:pt x="153" y="165"/>
                  </a:lnTo>
                  <a:lnTo>
                    <a:pt x="123" y="110"/>
                  </a:lnTo>
                  <a:lnTo>
                    <a:pt x="86" y="61"/>
                  </a:lnTo>
                  <a:lnTo>
                    <a:pt x="55" y="12"/>
                  </a:lnTo>
                  <a:lnTo>
                    <a:pt x="37" y="0"/>
                  </a:lnTo>
                  <a:lnTo>
                    <a:pt x="0" y="49"/>
                  </a:lnTo>
                  <a:lnTo>
                    <a:pt x="6" y="49"/>
                  </a:lnTo>
                  <a:lnTo>
                    <a:pt x="6" y="55"/>
                  </a:lnTo>
                  <a:lnTo>
                    <a:pt x="6" y="49"/>
                  </a:lnTo>
                  <a:lnTo>
                    <a:pt x="6" y="55"/>
                  </a:lnTo>
                  <a:lnTo>
                    <a:pt x="12" y="55"/>
                  </a:lnTo>
                  <a:lnTo>
                    <a:pt x="6" y="55"/>
                  </a:lnTo>
                  <a:lnTo>
                    <a:pt x="12" y="61"/>
                  </a:lnTo>
                  <a:lnTo>
                    <a:pt x="19" y="67"/>
                  </a:lnTo>
                  <a:lnTo>
                    <a:pt x="19" y="73"/>
                  </a:lnTo>
                  <a:lnTo>
                    <a:pt x="19" y="79"/>
                  </a:lnTo>
                  <a:lnTo>
                    <a:pt x="25" y="79"/>
                  </a:lnTo>
                  <a:lnTo>
                    <a:pt x="25" y="85"/>
                  </a:lnTo>
                  <a:lnTo>
                    <a:pt x="25" y="92"/>
                  </a:lnTo>
                  <a:lnTo>
                    <a:pt x="25" y="98"/>
                  </a:lnTo>
                  <a:lnTo>
                    <a:pt x="25" y="104"/>
                  </a:lnTo>
                  <a:lnTo>
                    <a:pt x="31" y="104"/>
                  </a:lnTo>
                  <a:lnTo>
                    <a:pt x="31" y="110"/>
                  </a:lnTo>
                  <a:lnTo>
                    <a:pt x="37" y="110"/>
                  </a:lnTo>
                  <a:lnTo>
                    <a:pt x="37" y="116"/>
                  </a:lnTo>
                  <a:lnTo>
                    <a:pt x="43" y="116"/>
                  </a:lnTo>
                  <a:lnTo>
                    <a:pt x="37" y="122"/>
                  </a:lnTo>
                  <a:lnTo>
                    <a:pt x="43" y="122"/>
                  </a:lnTo>
                  <a:lnTo>
                    <a:pt x="43" y="128"/>
                  </a:lnTo>
                  <a:lnTo>
                    <a:pt x="43" y="134"/>
                  </a:lnTo>
                  <a:lnTo>
                    <a:pt x="43" y="128"/>
                  </a:lnTo>
                  <a:lnTo>
                    <a:pt x="43" y="134"/>
                  </a:lnTo>
                  <a:lnTo>
                    <a:pt x="49" y="134"/>
                  </a:lnTo>
                  <a:lnTo>
                    <a:pt x="49" y="141"/>
                  </a:lnTo>
                  <a:lnTo>
                    <a:pt x="49" y="147"/>
                  </a:lnTo>
                  <a:lnTo>
                    <a:pt x="55" y="147"/>
                  </a:lnTo>
                  <a:lnTo>
                    <a:pt x="55" y="153"/>
                  </a:lnTo>
                  <a:lnTo>
                    <a:pt x="61" y="153"/>
                  </a:lnTo>
                  <a:lnTo>
                    <a:pt x="55" y="153"/>
                  </a:lnTo>
                  <a:lnTo>
                    <a:pt x="61" y="153"/>
                  </a:lnTo>
                  <a:lnTo>
                    <a:pt x="61" y="159"/>
                  </a:lnTo>
                  <a:lnTo>
                    <a:pt x="68" y="159"/>
                  </a:lnTo>
                  <a:lnTo>
                    <a:pt x="68" y="165"/>
                  </a:lnTo>
                  <a:lnTo>
                    <a:pt x="68" y="171"/>
                  </a:lnTo>
                  <a:lnTo>
                    <a:pt x="68" y="177"/>
                  </a:lnTo>
                  <a:lnTo>
                    <a:pt x="74" y="183"/>
                  </a:lnTo>
                  <a:lnTo>
                    <a:pt x="74" y="190"/>
                  </a:lnTo>
                  <a:lnTo>
                    <a:pt x="74" y="196"/>
                  </a:lnTo>
                  <a:lnTo>
                    <a:pt x="74" y="202"/>
                  </a:lnTo>
                  <a:lnTo>
                    <a:pt x="74" y="208"/>
                  </a:lnTo>
                  <a:lnTo>
                    <a:pt x="74" y="214"/>
                  </a:lnTo>
                  <a:lnTo>
                    <a:pt x="68" y="214"/>
                  </a:lnTo>
                  <a:lnTo>
                    <a:pt x="74" y="214"/>
                  </a:lnTo>
                  <a:lnTo>
                    <a:pt x="68" y="220"/>
                  </a:lnTo>
                  <a:lnTo>
                    <a:pt x="68" y="226"/>
                  </a:lnTo>
                  <a:lnTo>
                    <a:pt x="68" y="232"/>
                  </a:lnTo>
                  <a:lnTo>
                    <a:pt x="68" y="239"/>
                  </a:lnTo>
                  <a:lnTo>
                    <a:pt x="68" y="245"/>
                  </a:lnTo>
                  <a:lnTo>
                    <a:pt x="68" y="251"/>
                  </a:lnTo>
                  <a:lnTo>
                    <a:pt x="68" y="257"/>
                  </a:lnTo>
                  <a:lnTo>
                    <a:pt x="68" y="263"/>
                  </a:lnTo>
                  <a:lnTo>
                    <a:pt x="68" y="269"/>
                  </a:lnTo>
                  <a:lnTo>
                    <a:pt x="68" y="275"/>
                  </a:lnTo>
                  <a:lnTo>
                    <a:pt x="61" y="281"/>
                  </a:lnTo>
                  <a:lnTo>
                    <a:pt x="68" y="281"/>
                  </a:lnTo>
                  <a:lnTo>
                    <a:pt x="68" y="288"/>
                  </a:lnTo>
                  <a:lnTo>
                    <a:pt x="68" y="294"/>
                  </a:lnTo>
                  <a:lnTo>
                    <a:pt x="74" y="294"/>
                  </a:lnTo>
                  <a:lnTo>
                    <a:pt x="80" y="300"/>
                  </a:lnTo>
                  <a:lnTo>
                    <a:pt x="80" y="306"/>
                  </a:lnTo>
                  <a:lnTo>
                    <a:pt x="92" y="312"/>
                  </a:lnTo>
                  <a:lnTo>
                    <a:pt x="98" y="312"/>
                  </a:lnTo>
                  <a:lnTo>
                    <a:pt x="98" y="306"/>
                  </a:lnTo>
                  <a:lnTo>
                    <a:pt x="98" y="300"/>
                  </a:lnTo>
                  <a:lnTo>
                    <a:pt x="104" y="306"/>
                  </a:lnTo>
                  <a:lnTo>
                    <a:pt x="110" y="306"/>
                  </a:lnTo>
                  <a:lnTo>
                    <a:pt x="110" y="300"/>
                  </a:lnTo>
                  <a:lnTo>
                    <a:pt x="117" y="300"/>
                  </a:lnTo>
                  <a:lnTo>
                    <a:pt x="123" y="294"/>
                  </a:lnTo>
                  <a:lnTo>
                    <a:pt x="129" y="294"/>
                  </a:lnTo>
                  <a:lnTo>
                    <a:pt x="135" y="294"/>
                  </a:lnTo>
                  <a:lnTo>
                    <a:pt x="141" y="300"/>
                  </a:lnTo>
                  <a:lnTo>
                    <a:pt x="141" y="30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3" name="Freeform 184"/>
            <p:cNvSpPr>
              <a:spLocks/>
            </p:cNvSpPr>
            <p:nvPr/>
          </p:nvSpPr>
          <p:spPr bwMode="auto">
            <a:xfrm>
              <a:off x="5319200" y="5242632"/>
              <a:ext cx="1617" cy="8779"/>
            </a:xfrm>
            <a:custGeom>
              <a:avLst/>
              <a:gdLst>
                <a:gd name="T0" fmla="*/ 0 w 1588"/>
                <a:gd name="T1" fmla="*/ 15120939 h 6"/>
                <a:gd name="T2" fmla="*/ 0 w 1588"/>
                <a:gd name="T3" fmla="*/ 0 h 6"/>
                <a:gd name="T4" fmla="*/ 0 w 1588"/>
                <a:gd name="T5" fmla="*/ 15120939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4" name="Freeform 185"/>
            <p:cNvSpPr>
              <a:spLocks/>
            </p:cNvSpPr>
            <p:nvPr/>
          </p:nvSpPr>
          <p:spPr bwMode="auto">
            <a:xfrm>
              <a:off x="4724226" y="4328134"/>
              <a:ext cx="1447017" cy="1021311"/>
            </a:xfrm>
            <a:custGeom>
              <a:avLst/>
              <a:gdLst>
                <a:gd name="T0" fmla="*/ 47883779 w 895"/>
                <a:gd name="T1" fmla="*/ 788809623 h 698"/>
                <a:gd name="T2" fmla="*/ 17641895 w 895"/>
                <a:gd name="T3" fmla="*/ 849293550 h 698"/>
                <a:gd name="T4" fmla="*/ 0 w 895"/>
                <a:gd name="T5" fmla="*/ 894654759 h 698"/>
                <a:gd name="T6" fmla="*/ 32762840 w 895"/>
                <a:gd name="T7" fmla="*/ 927417572 h 698"/>
                <a:gd name="T8" fmla="*/ 63004730 w 895"/>
                <a:gd name="T9" fmla="*/ 957659437 h 698"/>
                <a:gd name="T10" fmla="*/ 78125668 w 895"/>
                <a:gd name="T11" fmla="*/ 957659437 h 698"/>
                <a:gd name="T12" fmla="*/ 108367571 w 895"/>
                <a:gd name="T13" fmla="*/ 987901301 h 698"/>
                <a:gd name="T14" fmla="*/ 141128811 w 895"/>
                <a:gd name="T15" fmla="*/ 957659437 h 698"/>
                <a:gd name="T16" fmla="*/ 156249749 w 895"/>
                <a:gd name="T17" fmla="*/ 972780369 h 698"/>
                <a:gd name="T18" fmla="*/ 201612566 w 895"/>
                <a:gd name="T19" fmla="*/ 987901301 h 698"/>
                <a:gd name="T20" fmla="*/ 249496381 w 895"/>
                <a:gd name="T21" fmla="*/ 1003022234 h 698"/>
                <a:gd name="T22" fmla="*/ 294859198 w 895"/>
                <a:gd name="T23" fmla="*/ 987901301 h 698"/>
                <a:gd name="T24" fmla="*/ 325101075 w 895"/>
                <a:gd name="T25" fmla="*/ 1018143166 h 698"/>
                <a:gd name="T26" fmla="*/ 355342952 w 895"/>
                <a:gd name="T27" fmla="*/ 1050904392 h 698"/>
                <a:gd name="T28" fmla="*/ 433467108 w 895"/>
                <a:gd name="T29" fmla="*/ 1003022234 h 698"/>
                <a:gd name="T30" fmla="*/ 496471813 w 895"/>
                <a:gd name="T31" fmla="*/ 987901301 h 698"/>
                <a:gd name="T32" fmla="*/ 526713690 w 895"/>
                <a:gd name="T33" fmla="*/ 957659437 h 698"/>
                <a:gd name="T34" fmla="*/ 556955568 w 895"/>
                <a:gd name="T35" fmla="*/ 927417572 h 698"/>
                <a:gd name="T36" fmla="*/ 788809961 w 895"/>
                <a:gd name="T37" fmla="*/ 957659437 h 698"/>
                <a:gd name="T38" fmla="*/ 1159272364 w 895"/>
                <a:gd name="T39" fmla="*/ 1249997460 h 698"/>
                <a:gd name="T40" fmla="*/ 1297881762 w 895"/>
                <a:gd name="T41" fmla="*/ 1282758686 h 698"/>
                <a:gd name="T42" fmla="*/ 1421368634 w 895"/>
                <a:gd name="T43" fmla="*/ 1421368025 h 698"/>
                <a:gd name="T44" fmla="*/ 1421368634 w 895"/>
                <a:gd name="T45" fmla="*/ 1759069241 h 698"/>
                <a:gd name="T46" fmla="*/ 1668344363 w 895"/>
                <a:gd name="T47" fmla="*/ 1559977364 h 698"/>
                <a:gd name="T48" fmla="*/ 1638102089 w 895"/>
                <a:gd name="T49" fmla="*/ 1343244002 h 698"/>
                <a:gd name="T50" fmla="*/ 2147174089 w 895"/>
                <a:gd name="T51" fmla="*/ 1018143166 h 698"/>
                <a:gd name="T52" fmla="*/ 1869956879 w 895"/>
                <a:gd name="T53" fmla="*/ 478829718 h 698"/>
                <a:gd name="T54" fmla="*/ 1514615217 w 895"/>
                <a:gd name="T55" fmla="*/ 30241877 h 698"/>
                <a:gd name="T56" fmla="*/ 1035785491 w 895"/>
                <a:gd name="T57" fmla="*/ 231854393 h 698"/>
                <a:gd name="T58" fmla="*/ 186491627 w 895"/>
                <a:gd name="T59" fmla="*/ 123486869 h 698"/>
                <a:gd name="T60" fmla="*/ 171370688 w 895"/>
                <a:gd name="T61" fmla="*/ 171370615 h 698"/>
                <a:gd name="T62" fmla="*/ 171370688 w 895"/>
                <a:gd name="T63" fmla="*/ 186491547 h 698"/>
                <a:gd name="T64" fmla="*/ 186491627 w 895"/>
                <a:gd name="T65" fmla="*/ 216733461 h 698"/>
                <a:gd name="T66" fmla="*/ 186491627 w 895"/>
                <a:gd name="T67" fmla="*/ 246975325 h 698"/>
                <a:gd name="T68" fmla="*/ 201612566 w 895"/>
                <a:gd name="T69" fmla="*/ 277217190 h 698"/>
                <a:gd name="T70" fmla="*/ 216733554 w 895"/>
                <a:gd name="T71" fmla="*/ 325100936 h 698"/>
                <a:gd name="T72" fmla="*/ 216733554 w 895"/>
                <a:gd name="T73" fmla="*/ 325100936 h 698"/>
                <a:gd name="T74" fmla="*/ 249496381 w 895"/>
                <a:gd name="T75" fmla="*/ 355342800 h 698"/>
                <a:gd name="T76" fmla="*/ 249496381 w 895"/>
                <a:gd name="T77" fmla="*/ 385584664 h 698"/>
                <a:gd name="T78" fmla="*/ 249496381 w 895"/>
                <a:gd name="T79" fmla="*/ 448587854 h 698"/>
                <a:gd name="T80" fmla="*/ 201612566 w 895"/>
                <a:gd name="T81" fmla="*/ 463708786 h 698"/>
                <a:gd name="T82" fmla="*/ 171370688 w 895"/>
                <a:gd name="T83" fmla="*/ 509071583 h 698"/>
                <a:gd name="T84" fmla="*/ 123488509 w 895"/>
                <a:gd name="T85" fmla="*/ 556953741 h 698"/>
                <a:gd name="T86" fmla="*/ 93246607 w 895"/>
                <a:gd name="T87" fmla="*/ 617437470 h 698"/>
                <a:gd name="T88" fmla="*/ 63004730 w 895"/>
                <a:gd name="T89" fmla="*/ 647680922 h 698"/>
                <a:gd name="T90" fmla="*/ 78125668 w 895"/>
                <a:gd name="T91" fmla="*/ 710684012 h 698"/>
                <a:gd name="T92" fmla="*/ 78125668 w 895"/>
                <a:gd name="T93" fmla="*/ 740925877 h 698"/>
                <a:gd name="T94" fmla="*/ 93246607 w 895"/>
                <a:gd name="T95" fmla="*/ 756046809 h 69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95"/>
                <a:gd name="T145" fmla="*/ 0 h 698"/>
                <a:gd name="T146" fmla="*/ 895 w 895"/>
                <a:gd name="T147" fmla="*/ 698 h 69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95" h="698">
                  <a:moveTo>
                    <a:pt x="25" y="294"/>
                  </a:moveTo>
                  <a:lnTo>
                    <a:pt x="25" y="300"/>
                  </a:lnTo>
                  <a:lnTo>
                    <a:pt x="19" y="306"/>
                  </a:lnTo>
                  <a:lnTo>
                    <a:pt x="19" y="313"/>
                  </a:lnTo>
                  <a:lnTo>
                    <a:pt x="13" y="319"/>
                  </a:lnTo>
                  <a:lnTo>
                    <a:pt x="13" y="325"/>
                  </a:lnTo>
                  <a:lnTo>
                    <a:pt x="13" y="331"/>
                  </a:lnTo>
                  <a:lnTo>
                    <a:pt x="7" y="337"/>
                  </a:lnTo>
                  <a:lnTo>
                    <a:pt x="7" y="343"/>
                  </a:lnTo>
                  <a:lnTo>
                    <a:pt x="0" y="343"/>
                  </a:lnTo>
                  <a:lnTo>
                    <a:pt x="0" y="349"/>
                  </a:lnTo>
                  <a:lnTo>
                    <a:pt x="0" y="355"/>
                  </a:lnTo>
                  <a:lnTo>
                    <a:pt x="7" y="355"/>
                  </a:lnTo>
                  <a:lnTo>
                    <a:pt x="7" y="362"/>
                  </a:lnTo>
                  <a:lnTo>
                    <a:pt x="13" y="362"/>
                  </a:lnTo>
                  <a:lnTo>
                    <a:pt x="13" y="368"/>
                  </a:lnTo>
                  <a:lnTo>
                    <a:pt x="19" y="368"/>
                  </a:lnTo>
                  <a:lnTo>
                    <a:pt x="19" y="374"/>
                  </a:lnTo>
                  <a:lnTo>
                    <a:pt x="25" y="374"/>
                  </a:lnTo>
                  <a:lnTo>
                    <a:pt x="25" y="380"/>
                  </a:lnTo>
                  <a:lnTo>
                    <a:pt x="25" y="386"/>
                  </a:lnTo>
                  <a:lnTo>
                    <a:pt x="25" y="380"/>
                  </a:lnTo>
                  <a:lnTo>
                    <a:pt x="31" y="386"/>
                  </a:lnTo>
                  <a:lnTo>
                    <a:pt x="31" y="380"/>
                  </a:lnTo>
                  <a:lnTo>
                    <a:pt x="37" y="380"/>
                  </a:lnTo>
                  <a:lnTo>
                    <a:pt x="37" y="386"/>
                  </a:lnTo>
                  <a:lnTo>
                    <a:pt x="37" y="392"/>
                  </a:lnTo>
                  <a:lnTo>
                    <a:pt x="43" y="392"/>
                  </a:lnTo>
                  <a:lnTo>
                    <a:pt x="49" y="392"/>
                  </a:lnTo>
                  <a:lnTo>
                    <a:pt x="49" y="386"/>
                  </a:lnTo>
                  <a:lnTo>
                    <a:pt x="49" y="380"/>
                  </a:lnTo>
                  <a:lnTo>
                    <a:pt x="56" y="380"/>
                  </a:lnTo>
                  <a:lnTo>
                    <a:pt x="56" y="386"/>
                  </a:lnTo>
                  <a:lnTo>
                    <a:pt x="56" y="380"/>
                  </a:lnTo>
                  <a:lnTo>
                    <a:pt x="56" y="386"/>
                  </a:lnTo>
                  <a:lnTo>
                    <a:pt x="62" y="386"/>
                  </a:lnTo>
                  <a:lnTo>
                    <a:pt x="62" y="392"/>
                  </a:lnTo>
                  <a:lnTo>
                    <a:pt x="68" y="392"/>
                  </a:lnTo>
                  <a:lnTo>
                    <a:pt x="74" y="392"/>
                  </a:lnTo>
                  <a:lnTo>
                    <a:pt x="80" y="392"/>
                  </a:lnTo>
                  <a:lnTo>
                    <a:pt x="86" y="392"/>
                  </a:lnTo>
                  <a:lnTo>
                    <a:pt x="86" y="398"/>
                  </a:lnTo>
                  <a:lnTo>
                    <a:pt x="92" y="392"/>
                  </a:lnTo>
                  <a:lnTo>
                    <a:pt x="99" y="398"/>
                  </a:lnTo>
                  <a:lnTo>
                    <a:pt x="105" y="398"/>
                  </a:lnTo>
                  <a:lnTo>
                    <a:pt x="111" y="398"/>
                  </a:lnTo>
                  <a:lnTo>
                    <a:pt x="111" y="392"/>
                  </a:lnTo>
                  <a:lnTo>
                    <a:pt x="117" y="392"/>
                  </a:lnTo>
                  <a:lnTo>
                    <a:pt x="123" y="392"/>
                  </a:lnTo>
                  <a:lnTo>
                    <a:pt x="123" y="398"/>
                  </a:lnTo>
                  <a:lnTo>
                    <a:pt x="123" y="404"/>
                  </a:lnTo>
                  <a:lnTo>
                    <a:pt x="129" y="404"/>
                  </a:lnTo>
                  <a:lnTo>
                    <a:pt x="135" y="404"/>
                  </a:lnTo>
                  <a:lnTo>
                    <a:pt x="135" y="411"/>
                  </a:lnTo>
                  <a:lnTo>
                    <a:pt x="135" y="417"/>
                  </a:lnTo>
                  <a:lnTo>
                    <a:pt x="141" y="417"/>
                  </a:lnTo>
                  <a:lnTo>
                    <a:pt x="148" y="411"/>
                  </a:lnTo>
                  <a:lnTo>
                    <a:pt x="154" y="398"/>
                  </a:lnTo>
                  <a:lnTo>
                    <a:pt x="160" y="398"/>
                  </a:lnTo>
                  <a:lnTo>
                    <a:pt x="172" y="398"/>
                  </a:lnTo>
                  <a:lnTo>
                    <a:pt x="178" y="398"/>
                  </a:lnTo>
                  <a:lnTo>
                    <a:pt x="184" y="392"/>
                  </a:lnTo>
                  <a:lnTo>
                    <a:pt x="190" y="392"/>
                  </a:lnTo>
                  <a:lnTo>
                    <a:pt x="197" y="392"/>
                  </a:lnTo>
                  <a:lnTo>
                    <a:pt x="203" y="392"/>
                  </a:lnTo>
                  <a:lnTo>
                    <a:pt x="203" y="386"/>
                  </a:lnTo>
                  <a:lnTo>
                    <a:pt x="203" y="380"/>
                  </a:lnTo>
                  <a:lnTo>
                    <a:pt x="209" y="380"/>
                  </a:lnTo>
                  <a:lnTo>
                    <a:pt x="209" y="374"/>
                  </a:lnTo>
                  <a:lnTo>
                    <a:pt x="215" y="374"/>
                  </a:lnTo>
                  <a:lnTo>
                    <a:pt x="221" y="374"/>
                  </a:lnTo>
                  <a:lnTo>
                    <a:pt x="221" y="368"/>
                  </a:lnTo>
                  <a:lnTo>
                    <a:pt x="227" y="368"/>
                  </a:lnTo>
                  <a:lnTo>
                    <a:pt x="264" y="319"/>
                  </a:lnTo>
                  <a:lnTo>
                    <a:pt x="282" y="331"/>
                  </a:lnTo>
                  <a:lnTo>
                    <a:pt x="313" y="380"/>
                  </a:lnTo>
                  <a:lnTo>
                    <a:pt x="350" y="429"/>
                  </a:lnTo>
                  <a:lnTo>
                    <a:pt x="380" y="484"/>
                  </a:lnTo>
                  <a:lnTo>
                    <a:pt x="417" y="533"/>
                  </a:lnTo>
                  <a:lnTo>
                    <a:pt x="460" y="496"/>
                  </a:lnTo>
                  <a:lnTo>
                    <a:pt x="472" y="509"/>
                  </a:lnTo>
                  <a:lnTo>
                    <a:pt x="472" y="466"/>
                  </a:lnTo>
                  <a:lnTo>
                    <a:pt x="478" y="496"/>
                  </a:lnTo>
                  <a:lnTo>
                    <a:pt x="515" y="509"/>
                  </a:lnTo>
                  <a:lnTo>
                    <a:pt x="460" y="515"/>
                  </a:lnTo>
                  <a:lnTo>
                    <a:pt x="485" y="533"/>
                  </a:lnTo>
                  <a:lnTo>
                    <a:pt x="521" y="551"/>
                  </a:lnTo>
                  <a:lnTo>
                    <a:pt x="564" y="564"/>
                  </a:lnTo>
                  <a:lnTo>
                    <a:pt x="509" y="613"/>
                  </a:lnTo>
                  <a:lnTo>
                    <a:pt x="540" y="631"/>
                  </a:lnTo>
                  <a:lnTo>
                    <a:pt x="558" y="668"/>
                  </a:lnTo>
                  <a:lnTo>
                    <a:pt x="564" y="698"/>
                  </a:lnTo>
                  <a:lnTo>
                    <a:pt x="638" y="662"/>
                  </a:lnTo>
                  <a:lnTo>
                    <a:pt x="668" y="649"/>
                  </a:lnTo>
                  <a:lnTo>
                    <a:pt x="705" y="625"/>
                  </a:lnTo>
                  <a:lnTo>
                    <a:pt x="662" y="619"/>
                  </a:lnTo>
                  <a:lnTo>
                    <a:pt x="625" y="570"/>
                  </a:lnTo>
                  <a:lnTo>
                    <a:pt x="638" y="527"/>
                  </a:lnTo>
                  <a:lnTo>
                    <a:pt x="632" y="551"/>
                  </a:lnTo>
                  <a:lnTo>
                    <a:pt x="650" y="533"/>
                  </a:lnTo>
                  <a:lnTo>
                    <a:pt x="717" y="496"/>
                  </a:lnTo>
                  <a:lnTo>
                    <a:pt x="803" y="460"/>
                  </a:lnTo>
                  <a:lnTo>
                    <a:pt x="828" y="453"/>
                  </a:lnTo>
                  <a:lnTo>
                    <a:pt x="852" y="404"/>
                  </a:lnTo>
                  <a:lnTo>
                    <a:pt x="895" y="380"/>
                  </a:lnTo>
                  <a:lnTo>
                    <a:pt x="883" y="251"/>
                  </a:lnTo>
                  <a:lnTo>
                    <a:pt x="815" y="221"/>
                  </a:lnTo>
                  <a:lnTo>
                    <a:pt x="742" y="190"/>
                  </a:lnTo>
                  <a:lnTo>
                    <a:pt x="711" y="196"/>
                  </a:lnTo>
                  <a:lnTo>
                    <a:pt x="656" y="123"/>
                  </a:lnTo>
                  <a:lnTo>
                    <a:pt x="607" y="43"/>
                  </a:lnTo>
                  <a:lnTo>
                    <a:pt x="601" y="12"/>
                  </a:lnTo>
                  <a:lnTo>
                    <a:pt x="521" y="0"/>
                  </a:lnTo>
                  <a:lnTo>
                    <a:pt x="478" y="19"/>
                  </a:lnTo>
                  <a:lnTo>
                    <a:pt x="417" y="61"/>
                  </a:lnTo>
                  <a:lnTo>
                    <a:pt x="411" y="92"/>
                  </a:lnTo>
                  <a:lnTo>
                    <a:pt x="331" y="68"/>
                  </a:lnTo>
                  <a:lnTo>
                    <a:pt x="246" y="49"/>
                  </a:lnTo>
                  <a:lnTo>
                    <a:pt x="160" y="49"/>
                  </a:lnTo>
                  <a:lnTo>
                    <a:pt x="74" y="49"/>
                  </a:lnTo>
                  <a:lnTo>
                    <a:pt x="74" y="55"/>
                  </a:lnTo>
                  <a:lnTo>
                    <a:pt x="74" y="61"/>
                  </a:lnTo>
                  <a:lnTo>
                    <a:pt x="74" y="68"/>
                  </a:lnTo>
                  <a:lnTo>
                    <a:pt x="68" y="68"/>
                  </a:lnTo>
                  <a:lnTo>
                    <a:pt x="74" y="68"/>
                  </a:lnTo>
                  <a:lnTo>
                    <a:pt x="68" y="74"/>
                  </a:lnTo>
                  <a:lnTo>
                    <a:pt x="74" y="74"/>
                  </a:lnTo>
                  <a:lnTo>
                    <a:pt x="68" y="74"/>
                  </a:lnTo>
                  <a:lnTo>
                    <a:pt x="68" y="80"/>
                  </a:lnTo>
                  <a:lnTo>
                    <a:pt x="74" y="86"/>
                  </a:lnTo>
                  <a:lnTo>
                    <a:pt x="74" y="92"/>
                  </a:lnTo>
                  <a:lnTo>
                    <a:pt x="74" y="86"/>
                  </a:lnTo>
                  <a:lnTo>
                    <a:pt x="74" y="92"/>
                  </a:lnTo>
                  <a:lnTo>
                    <a:pt x="80" y="92"/>
                  </a:lnTo>
                  <a:lnTo>
                    <a:pt x="80" y="98"/>
                  </a:lnTo>
                  <a:lnTo>
                    <a:pt x="74" y="98"/>
                  </a:lnTo>
                  <a:lnTo>
                    <a:pt x="80" y="98"/>
                  </a:lnTo>
                  <a:lnTo>
                    <a:pt x="74" y="98"/>
                  </a:lnTo>
                  <a:lnTo>
                    <a:pt x="74" y="104"/>
                  </a:lnTo>
                  <a:lnTo>
                    <a:pt x="80" y="110"/>
                  </a:lnTo>
                  <a:lnTo>
                    <a:pt x="80" y="117"/>
                  </a:lnTo>
                  <a:lnTo>
                    <a:pt x="86" y="117"/>
                  </a:lnTo>
                  <a:lnTo>
                    <a:pt x="86" y="123"/>
                  </a:lnTo>
                  <a:lnTo>
                    <a:pt x="86" y="129"/>
                  </a:lnTo>
                  <a:lnTo>
                    <a:pt x="92" y="129"/>
                  </a:lnTo>
                  <a:lnTo>
                    <a:pt x="86" y="129"/>
                  </a:lnTo>
                  <a:lnTo>
                    <a:pt x="92" y="129"/>
                  </a:lnTo>
                  <a:lnTo>
                    <a:pt x="86" y="129"/>
                  </a:lnTo>
                  <a:lnTo>
                    <a:pt x="92" y="129"/>
                  </a:lnTo>
                  <a:lnTo>
                    <a:pt x="92" y="135"/>
                  </a:lnTo>
                  <a:lnTo>
                    <a:pt x="92" y="141"/>
                  </a:lnTo>
                  <a:lnTo>
                    <a:pt x="99" y="141"/>
                  </a:lnTo>
                  <a:lnTo>
                    <a:pt x="99" y="147"/>
                  </a:lnTo>
                  <a:lnTo>
                    <a:pt x="92" y="147"/>
                  </a:lnTo>
                  <a:lnTo>
                    <a:pt x="92" y="153"/>
                  </a:lnTo>
                  <a:lnTo>
                    <a:pt x="99" y="153"/>
                  </a:lnTo>
                  <a:lnTo>
                    <a:pt x="92" y="159"/>
                  </a:lnTo>
                  <a:lnTo>
                    <a:pt x="99" y="159"/>
                  </a:lnTo>
                  <a:lnTo>
                    <a:pt x="99" y="166"/>
                  </a:lnTo>
                  <a:lnTo>
                    <a:pt x="99" y="178"/>
                  </a:lnTo>
                  <a:lnTo>
                    <a:pt x="92" y="178"/>
                  </a:lnTo>
                  <a:lnTo>
                    <a:pt x="92" y="184"/>
                  </a:lnTo>
                  <a:lnTo>
                    <a:pt x="86" y="184"/>
                  </a:lnTo>
                  <a:lnTo>
                    <a:pt x="80" y="184"/>
                  </a:lnTo>
                  <a:lnTo>
                    <a:pt x="80" y="190"/>
                  </a:lnTo>
                  <a:lnTo>
                    <a:pt x="74" y="190"/>
                  </a:lnTo>
                  <a:lnTo>
                    <a:pt x="74" y="196"/>
                  </a:lnTo>
                  <a:lnTo>
                    <a:pt x="68" y="202"/>
                  </a:lnTo>
                  <a:lnTo>
                    <a:pt x="62" y="202"/>
                  </a:lnTo>
                  <a:lnTo>
                    <a:pt x="56" y="208"/>
                  </a:lnTo>
                  <a:lnTo>
                    <a:pt x="56" y="215"/>
                  </a:lnTo>
                  <a:lnTo>
                    <a:pt x="49" y="221"/>
                  </a:lnTo>
                  <a:lnTo>
                    <a:pt x="43" y="227"/>
                  </a:lnTo>
                  <a:lnTo>
                    <a:pt x="43" y="233"/>
                  </a:lnTo>
                  <a:lnTo>
                    <a:pt x="37" y="239"/>
                  </a:lnTo>
                  <a:lnTo>
                    <a:pt x="37" y="245"/>
                  </a:lnTo>
                  <a:lnTo>
                    <a:pt x="31" y="245"/>
                  </a:lnTo>
                  <a:lnTo>
                    <a:pt x="31" y="251"/>
                  </a:lnTo>
                  <a:lnTo>
                    <a:pt x="31" y="257"/>
                  </a:lnTo>
                  <a:lnTo>
                    <a:pt x="25" y="257"/>
                  </a:lnTo>
                  <a:lnTo>
                    <a:pt x="31" y="264"/>
                  </a:lnTo>
                  <a:lnTo>
                    <a:pt x="31" y="270"/>
                  </a:lnTo>
                  <a:lnTo>
                    <a:pt x="37" y="276"/>
                  </a:lnTo>
                  <a:lnTo>
                    <a:pt x="31" y="282"/>
                  </a:lnTo>
                  <a:lnTo>
                    <a:pt x="31" y="288"/>
                  </a:lnTo>
                  <a:lnTo>
                    <a:pt x="31" y="294"/>
                  </a:lnTo>
                  <a:lnTo>
                    <a:pt x="31" y="288"/>
                  </a:lnTo>
                  <a:lnTo>
                    <a:pt x="31" y="294"/>
                  </a:lnTo>
                  <a:lnTo>
                    <a:pt x="37" y="294"/>
                  </a:lnTo>
                  <a:lnTo>
                    <a:pt x="37" y="300"/>
                  </a:lnTo>
                  <a:lnTo>
                    <a:pt x="37" y="306"/>
                  </a:lnTo>
                  <a:lnTo>
                    <a:pt x="37" y="300"/>
                  </a:lnTo>
                  <a:lnTo>
                    <a:pt x="31" y="300"/>
                  </a:lnTo>
                  <a:lnTo>
                    <a:pt x="25" y="300"/>
                  </a:lnTo>
                  <a:lnTo>
                    <a:pt x="25" y="29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5" name="Freeform 186"/>
            <p:cNvSpPr>
              <a:spLocks/>
            </p:cNvSpPr>
            <p:nvPr/>
          </p:nvSpPr>
          <p:spPr bwMode="auto">
            <a:xfrm>
              <a:off x="3506792" y="5009983"/>
              <a:ext cx="931264" cy="1164704"/>
            </a:xfrm>
            <a:custGeom>
              <a:avLst/>
              <a:gdLst>
                <a:gd name="T0" fmla="*/ 695563029 w 576"/>
                <a:gd name="T1" fmla="*/ 461189444 h 796"/>
                <a:gd name="T2" fmla="*/ 695563029 w 576"/>
                <a:gd name="T3" fmla="*/ 355342815 h 796"/>
                <a:gd name="T4" fmla="*/ 786288615 w 576"/>
                <a:gd name="T5" fmla="*/ 322580000 h 796"/>
                <a:gd name="T6" fmla="*/ 849291899 w 576"/>
                <a:gd name="T7" fmla="*/ 292338135 h 796"/>
                <a:gd name="T8" fmla="*/ 864412830 w 576"/>
                <a:gd name="T9" fmla="*/ 307459067 h 796"/>
                <a:gd name="T10" fmla="*/ 834170968 w 576"/>
                <a:gd name="T11" fmla="*/ 246975336 h 796"/>
                <a:gd name="T12" fmla="*/ 834170968 w 576"/>
                <a:gd name="T13" fmla="*/ 168851260 h 796"/>
                <a:gd name="T14" fmla="*/ 771167684 w 576"/>
                <a:gd name="T15" fmla="*/ 108367529 h 796"/>
                <a:gd name="T16" fmla="*/ 695563029 w 576"/>
                <a:gd name="T17" fmla="*/ 60483756 h 796"/>
                <a:gd name="T18" fmla="*/ 602316493 w 576"/>
                <a:gd name="T19" fmla="*/ 30241878 h 796"/>
                <a:gd name="T20" fmla="*/ 493950614 w 576"/>
                <a:gd name="T21" fmla="*/ 60483756 h 796"/>
                <a:gd name="T22" fmla="*/ 448587821 w 576"/>
                <a:gd name="T23" fmla="*/ 108367529 h 796"/>
                <a:gd name="T24" fmla="*/ 415824910 w 576"/>
                <a:gd name="T25" fmla="*/ 199093126 h 796"/>
                <a:gd name="T26" fmla="*/ 370462117 w 576"/>
                <a:gd name="T27" fmla="*/ 183972193 h 796"/>
                <a:gd name="T28" fmla="*/ 325100911 w 576"/>
                <a:gd name="T29" fmla="*/ 199093126 h 796"/>
                <a:gd name="T30" fmla="*/ 277217169 w 576"/>
                <a:gd name="T31" fmla="*/ 262096269 h 796"/>
                <a:gd name="T32" fmla="*/ 216733445 w 576"/>
                <a:gd name="T33" fmla="*/ 199093126 h 796"/>
                <a:gd name="T34" fmla="*/ 168851241 w 576"/>
                <a:gd name="T35" fmla="*/ 231854403 h 796"/>
                <a:gd name="T36" fmla="*/ 75604680 w 576"/>
                <a:gd name="T37" fmla="*/ 262096269 h 796"/>
                <a:gd name="T38" fmla="*/ 45362806 w 576"/>
                <a:gd name="T39" fmla="*/ 322580000 h 796"/>
                <a:gd name="T40" fmla="*/ 30241875 w 576"/>
                <a:gd name="T41" fmla="*/ 415826547 h 796"/>
                <a:gd name="T42" fmla="*/ 15120937 w 576"/>
                <a:gd name="T43" fmla="*/ 493950672 h 796"/>
                <a:gd name="T44" fmla="*/ 30241875 w 576"/>
                <a:gd name="T45" fmla="*/ 584676269 h 796"/>
                <a:gd name="T46" fmla="*/ 123486860 w 576"/>
                <a:gd name="T47" fmla="*/ 647680950 h 796"/>
                <a:gd name="T48" fmla="*/ 123486860 w 576"/>
                <a:gd name="T49" fmla="*/ 725804976 h 796"/>
                <a:gd name="T50" fmla="*/ 216733445 w 576"/>
                <a:gd name="T51" fmla="*/ 647680950 h 796"/>
                <a:gd name="T52" fmla="*/ 307459031 w 576"/>
                <a:gd name="T53" fmla="*/ 602316564 h 796"/>
                <a:gd name="T54" fmla="*/ 385583048 w 576"/>
                <a:gd name="T55" fmla="*/ 662801883 h 796"/>
                <a:gd name="T56" fmla="*/ 448587821 w 576"/>
                <a:gd name="T57" fmla="*/ 756046842 h 796"/>
                <a:gd name="T58" fmla="*/ 463708752 w 576"/>
                <a:gd name="T59" fmla="*/ 909777318 h 796"/>
                <a:gd name="T60" fmla="*/ 539313407 w 576"/>
                <a:gd name="T61" fmla="*/ 972780411 h 796"/>
                <a:gd name="T62" fmla="*/ 587195562 w 576"/>
                <a:gd name="T63" fmla="*/ 1033264142 h 796"/>
                <a:gd name="T64" fmla="*/ 677922736 w 576"/>
                <a:gd name="T65" fmla="*/ 1141630034 h 796"/>
                <a:gd name="T66" fmla="*/ 740925822 w 576"/>
                <a:gd name="T67" fmla="*/ 1249997513 h 796"/>
                <a:gd name="T68" fmla="*/ 819049839 w 576"/>
                <a:gd name="T69" fmla="*/ 1280239379 h 796"/>
                <a:gd name="T70" fmla="*/ 894654693 w 576"/>
                <a:gd name="T71" fmla="*/ 1343244060 h 796"/>
                <a:gd name="T72" fmla="*/ 957659366 w 576"/>
                <a:gd name="T73" fmla="*/ 1418848724 h 796"/>
                <a:gd name="T74" fmla="*/ 1018143090 w 576"/>
                <a:gd name="T75" fmla="*/ 1433969657 h 796"/>
                <a:gd name="T76" fmla="*/ 1066025245 w 576"/>
                <a:gd name="T77" fmla="*/ 1557456482 h 796"/>
                <a:gd name="T78" fmla="*/ 1126508969 w 576"/>
                <a:gd name="T79" fmla="*/ 1620461162 h 796"/>
                <a:gd name="T80" fmla="*/ 1171871763 w 576"/>
                <a:gd name="T81" fmla="*/ 1819553048 h 796"/>
                <a:gd name="T82" fmla="*/ 1126508969 w 576"/>
                <a:gd name="T83" fmla="*/ 1912799595 h 796"/>
                <a:gd name="T84" fmla="*/ 1111388038 w 576"/>
                <a:gd name="T85" fmla="*/ 2006044553 h 796"/>
                <a:gd name="T86" fmla="*/ 1204634574 w 576"/>
                <a:gd name="T87" fmla="*/ 1912799595 h 796"/>
                <a:gd name="T88" fmla="*/ 1265118298 w 576"/>
                <a:gd name="T89" fmla="*/ 1789311182 h 796"/>
                <a:gd name="T90" fmla="*/ 1265118298 w 576"/>
                <a:gd name="T91" fmla="*/ 1665824358 h 796"/>
                <a:gd name="T92" fmla="*/ 1219755505 w 576"/>
                <a:gd name="T93" fmla="*/ 1557456482 h 796"/>
                <a:gd name="T94" fmla="*/ 1280239229 w 576"/>
                <a:gd name="T95" fmla="*/ 1433969657 h 796"/>
                <a:gd name="T96" fmla="*/ 1358364834 w 576"/>
                <a:gd name="T97" fmla="*/ 1481851817 h 796"/>
                <a:gd name="T98" fmla="*/ 1388606696 w 576"/>
                <a:gd name="T99" fmla="*/ 1557456482 h 796"/>
                <a:gd name="T100" fmla="*/ 1436488851 w 576"/>
                <a:gd name="T101" fmla="*/ 1572577415 h 796"/>
                <a:gd name="T102" fmla="*/ 1436488851 w 576"/>
                <a:gd name="T103" fmla="*/ 1466730885 h 796"/>
                <a:gd name="T104" fmla="*/ 1358364834 w 576"/>
                <a:gd name="T105" fmla="*/ 1388606858 h 796"/>
                <a:gd name="T106" fmla="*/ 1280239229 w 576"/>
                <a:gd name="T107" fmla="*/ 1325602178 h 796"/>
                <a:gd name="T108" fmla="*/ 1156750832 w 576"/>
                <a:gd name="T109" fmla="*/ 1249997513 h 796"/>
                <a:gd name="T110" fmla="*/ 1171871763 w 576"/>
                <a:gd name="T111" fmla="*/ 1156750967 h 796"/>
                <a:gd name="T112" fmla="*/ 1018143090 w 576"/>
                <a:gd name="T113" fmla="*/ 1111388169 h 796"/>
                <a:gd name="T114" fmla="*/ 924896555 w 576"/>
                <a:gd name="T115" fmla="*/ 1003022277 h 796"/>
                <a:gd name="T116" fmla="*/ 864412830 w 576"/>
                <a:gd name="T117" fmla="*/ 831651506 h 796"/>
                <a:gd name="T118" fmla="*/ 786288615 w 576"/>
                <a:gd name="T119" fmla="*/ 725804976 h 796"/>
                <a:gd name="T120" fmla="*/ 695563029 w 576"/>
                <a:gd name="T121" fmla="*/ 584676269 h 796"/>
                <a:gd name="T122" fmla="*/ 695563029 w 576"/>
                <a:gd name="T123" fmla="*/ 509071605 h 7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796"/>
                <a:gd name="T188" fmla="*/ 576 w 576"/>
                <a:gd name="T189" fmla="*/ 796 h 79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796">
                  <a:moveTo>
                    <a:pt x="276" y="202"/>
                  </a:moveTo>
                  <a:lnTo>
                    <a:pt x="282" y="202"/>
                  </a:lnTo>
                  <a:lnTo>
                    <a:pt x="282" y="196"/>
                  </a:lnTo>
                  <a:lnTo>
                    <a:pt x="282" y="202"/>
                  </a:lnTo>
                  <a:lnTo>
                    <a:pt x="282" y="196"/>
                  </a:lnTo>
                  <a:lnTo>
                    <a:pt x="282" y="190"/>
                  </a:lnTo>
                  <a:lnTo>
                    <a:pt x="282" y="183"/>
                  </a:lnTo>
                  <a:lnTo>
                    <a:pt x="276" y="183"/>
                  </a:lnTo>
                  <a:lnTo>
                    <a:pt x="276" y="177"/>
                  </a:lnTo>
                  <a:lnTo>
                    <a:pt x="276" y="171"/>
                  </a:lnTo>
                  <a:lnTo>
                    <a:pt x="276" y="165"/>
                  </a:lnTo>
                  <a:lnTo>
                    <a:pt x="269" y="171"/>
                  </a:lnTo>
                  <a:lnTo>
                    <a:pt x="269" y="165"/>
                  </a:lnTo>
                  <a:lnTo>
                    <a:pt x="269" y="159"/>
                  </a:lnTo>
                  <a:lnTo>
                    <a:pt x="276" y="147"/>
                  </a:lnTo>
                  <a:lnTo>
                    <a:pt x="276" y="141"/>
                  </a:lnTo>
                  <a:lnTo>
                    <a:pt x="282" y="141"/>
                  </a:lnTo>
                  <a:lnTo>
                    <a:pt x="288" y="141"/>
                  </a:lnTo>
                  <a:lnTo>
                    <a:pt x="282" y="141"/>
                  </a:lnTo>
                  <a:lnTo>
                    <a:pt x="282" y="147"/>
                  </a:lnTo>
                  <a:lnTo>
                    <a:pt x="288" y="141"/>
                  </a:lnTo>
                  <a:lnTo>
                    <a:pt x="300" y="134"/>
                  </a:lnTo>
                  <a:lnTo>
                    <a:pt x="306" y="128"/>
                  </a:lnTo>
                  <a:lnTo>
                    <a:pt x="312" y="128"/>
                  </a:lnTo>
                  <a:lnTo>
                    <a:pt x="318" y="122"/>
                  </a:lnTo>
                  <a:lnTo>
                    <a:pt x="312" y="122"/>
                  </a:lnTo>
                  <a:lnTo>
                    <a:pt x="318" y="116"/>
                  </a:lnTo>
                  <a:lnTo>
                    <a:pt x="318" y="122"/>
                  </a:lnTo>
                  <a:lnTo>
                    <a:pt x="325" y="122"/>
                  </a:lnTo>
                  <a:lnTo>
                    <a:pt x="331" y="122"/>
                  </a:lnTo>
                  <a:lnTo>
                    <a:pt x="337" y="122"/>
                  </a:lnTo>
                  <a:lnTo>
                    <a:pt x="337" y="116"/>
                  </a:lnTo>
                  <a:lnTo>
                    <a:pt x="337" y="122"/>
                  </a:lnTo>
                  <a:lnTo>
                    <a:pt x="343" y="122"/>
                  </a:lnTo>
                  <a:lnTo>
                    <a:pt x="343" y="128"/>
                  </a:lnTo>
                  <a:lnTo>
                    <a:pt x="343" y="134"/>
                  </a:lnTo>
                  <a:lnTo>
                    <a:pt x="349" y="134"/>
                  </a:lnTo>
                  <a:lnTo>
                    <a:pt x="355" y="128"/>
                  </a:lnTo>
                  <a:lnTo>
                    <a:pt x="349" y="122"/>
                  </a:lnTo>
                  <a:lnTo>
                    <a:pt x="343" y="122"/>
                  </a:lnTo>
                  <a:lnTo>
                    <a:pt x="343" y="116"/>
                  </a:lnTo>
                  <a:lnTo>
                    <a:pt x="337" y="116"/>
                  </a:lnTo>
                  <a:lnTo>
                    <a:pt x="337" y="110"/>
                  </a:lnTo>
                  <a:lnTo>
                    <a:pt x="343" y="110"/>
                  </a:lnTo>
                  <a:lnTo>
                    <a:pt x="343" y="104"/>
                  </a:lnTo>
                  <a:lnTo>
                    <a:pt x="337" y="98"/>
                  </a:lnTo>
                  <a:lnTo>
                    <a:pt x="331" y="104"/>
                  </a:lnTo>
                  <a:lnTo>
                    <a:pt x="331" y="98"/>
                  </a:lnTo>
                  <a:lnTo>
                    <a:pt x="337" y="92"/>
                  </a:lnTo>
                  <a:lnTo>
                    <a:pt x="337" y="85"/>
                  </a:lnTo>
                  <a:lnTo>
                    <a:pt x="337" y="79"/>
                  </a:lnTo>
                  <a:lnTo>
                    <a:pt x="331" y="79"/>
                  </a:lnTo>
                  <a:lnTo>
                    <a:pt x="325" y="79"/>
                  </a:lnTo>
                  <a:lnTo>
                    <a:pt x="325" y="73"/>
                  </a:lnTo>
                  <a:lnTo>
                    <a:pt x="331" y="73"/>
                  </a:lnTo>
                  <a:lnTo>
                    <a:pt x="331" y="67"/>
                  </a:lnTo>
                  <a:lnTo>
                    <a:pt x="337" y="67"/>
                  </a:lnTo>
                  <a:lnTo>
                    <a:pt x="337" y="61"/>
                  </a:lnTo>
                  <a:lnTo>
                    <a:pt x="343" y="61"/>
                  </a:lnTo>
                  <a:lnTo>
                    <a:pt x="343" y="55"/>
                  </a:lnTo>
                  <a:lnTo>
                    <a:pt x="337" y="49"/>
                  </a:lnTo>
                  <a:lnTo>
                    <a:pt x="331" y="49"/>
                  </a:lnTo>
                  <a:lnTo>
                    <a:pt x="318" y="49"/>
                  </a:lnTo>
                  <a:lnTo>
                    <a:pt x="306" y="43"/>
                  </a:lnTo>
                  <a:lnTo>
                    <a:pt x="300" y="43"/>
                  </a:lnTo>
                  <a:lnTo>
                    <a:pt x="300" y="49"/>
                  </a:lnTo>
                  <a:lnTo>
                    <a:pt x="294" y="43"/>
                  </a:lnTo>
                  <a:lnTo>
                    <a:pt x="288" y="43"/>
                  </a:lnTo>
                  <a:lnTo>
                    <a:pt x="282" y="36"/>
                  </a:lnTo>
                  <a:lnTo>
                    <a:pt x="276" y="30"/>
                  </a:lnTo>
                  <a:lnTo>
                    <a:pt x="269" y="24"/>
                  </a:lnTo>
                  <a:lnTo>
                    <a:pt x="276" y="24"/>
                  </a:lnTo>
                  <a:lnTo>
                    <a:pt x="269" y="18"/>
                  </a:lnTo>
                  <a:lnTo>
                    <a:pt x="269" y="12"/>
                  </a:lnTo>
                  <a:lnTo>
                    <a:pt x="269" y="6"/>
                  </a:lnTo>
                  <a:lnTo>
                    <a:pt x="269" y="0"/>
                  </a:lnTo>
                  <a:lnTo>
                    <a:pt x="263" y="6"/>
                  </a:lnTo>
                  <a:lnTo>
                    <a:pt x="257" y="6"/>
                  </a:lnTo>
                  <a:lnTo>
                    <a:pt x="245" y="18"/>
                  </a:lnTo>
                  <a:lnTo>
                    <a:pt x="239" y="12"/>
                  </a:lnTo>
                  <a:lnTo>
                    <a:pt x="233" y="12"/>
                  </a:lnTo>
                  <a:lnTo>
                    <a:pt x="227" y="12"/>
                  </a:lnTo>
                  <a:lnTo>
                    <a:pt x="220" y="12"/>
                  </a:lnTo>
                  <a:lnTo>
                    <a:pt x="214" y="24"/>
                  </a:lnTo>
                  <a:lnTo>
                    <a:pt x="214" y="30"/>
                  </a:lnTo>
                  <a:lnTo>
                    <a:pt x="208" y="30"/>
                  </a:lnTo>
                  <a:lnTo>
                    <a:pt x="202" y="30"/>
                  </a:lnTo>
                  <a:lnTo>
                    <a:pt x="196" y="24"/>
                  </a:lnTo>
                  <a:lnTo>
                    <a:pt x="190" y="24"/>
                  </a:lnTo>
                  <a:lnTo>
                    <a:pt x="184" y="24"/>
                  </a:lnTo>
                  <a:lnTo>
                    <a:pt x="184" y="30"/>
                  </a:lnTo>
                  <a:lnTo>
                    <a:pt x="184" y="36"/>
                  </a:lnTo>
                  <a:lnTo>
                    <a:pt x="184" y="43"/>
                  </a:lnTo>
                  <a:lnTo>
                    <a:pt x="184" y="49"/>
                  </a:lnTo>
                  <a:lnTo>
                    <a:pt x="178" y="49"/>
                  </a:lnTo>
                  <a:lnTo>
                    <a:pt x="178" y="43"/>
                  </a:lnTo>
                  <a:lnTo>
                    <a:pt x="171" y="43"/>
                  </a:lnTo>
                  <a:lnTo>
                    <a:pt x="165" y="49"/>
                  </a:lnTo>
                  <a:lnTo>
                    <a:pt x="165" y="55"/>
                  </a:lnTo>
                  <a:lnTo>
                    <a:pt x="171" y="61"/>
                  </a:lnTo>
                  <a:lnTo>
                    <a:pt x="171" y="67"/>
                  </a:lnTo>
                  <a:lnTo>
                    <a:pt x="171" y="73"/>
                  </a:lnTo>
                  <a:lnTo>
                    <a:pt x="171" y="79"/>
                  </a:lnTo>
                  <a:lnTo>
                    <a:pt x="165" y="79"/>
                  </a:lnTo>
                  <a:lnTo>
                    <a:pt x="165" y="73"/>
                  </a:lnTo>
                  <a:lnTo>
                    <a:pt x="165" y="67"/>
                  </a:lnTo>
                  <a:lnTo>
                    <a:pt x="159" y="67"/>
                  </a:lnTo>
                  <a:lnTo>
                    <a:pt x="165" y="61"/>
                  </a:lnTo>
                  <a:lnTo>
                    <a:pt x="159" y="61"/>
                  </a:lnTo>
                  <a:lnTo>
                    <a:pt x="153" y="61"/>
                  </a:lnTo>
                  <a:lnTo>
                    <a:pt x="153" y="67"/>
                  </a:lnTo>
                  <a:lnTo>
                    <a:pt x="147" y="73"/>
                  </a:lnTo>
                  <a:lnTo>
                    <a:pt x="141" y="73"/>
                  </a:lnTo>
                  <a:lnTo>
                    <a:pt x="135" y="61"/>
                  </a:lnTo>
                  <a:lnTo>
                    <a:pt x="135" y="55"/>
                  </a:lnTo>
                  <a:lnTo>
                    <a:pt x="129" y="55"/>
                  </a:lnTo>
                  <a:lnTo>
                    <a:pt x="129" y="61"/>
                  </a:lnTo>
                  <a:lnTo>
                    <a:pt x="129" y="67"/>
                  </a:lnTo>
                  <a:lnTo>
                    <a:pt x="129" y="73"/>
                  </a:lnTo>
                  <a:lnTo>
                    <a:pt x="129" y="79"/>
                  </a:lnTo>
                  <a:lnTo>
                    <a:pt x="122" y="79"/>
                  </a:lnTo>
                  <a:lnTo>
                    <a:pt x="116" y="98"/>
                  </a:lnTo>
                  <a:lnTo>
                    <a:pt x="116" y="104"/>
                  </a:lnTo>
                  <a:lnTo>
                    <a:pt x="116" y="110"/>
                  </a:lnTo>
                  <a:lnTo>
                    <a:pt x="116" y="116"/>
                  </a:lnTo>
                  <a:lnTo>
                    <a:pt x="110" y="116"/>
                  </a:lnTo>
                  <a:lnTo>
                    <a:pt x="110" y="110"/>
                  </a:lnTo>
                  <a:lnTo>
                    <a:pt x="110" y="104"/>
                  </a:lnTo>
                  <a:lnTo>
                    <a:pt x="104" y="98"/>
                  </a:lnTo>
                  <a:lnTo>
                    <a:pt x="110" y="92"/>
                  </a:lnTo>
                  <a:lnTo>
                    <a:pt x="104" y="92"/>
                  </a:lnTo>
                  <a:lnTo>
                    <a:pt x="104" y="85"/>
                  </a:lnTo>
                  <a:lnTo>
                    <a:pt x="98" y="92"/>
                  </a:lnTo>
                  <a:lnTo>
                    <a:pt x="98" y="85"/>
                  </a:lnTo>
                  <a:lnTo>
                    <a:pt x="92" y="79"/>
                  </a:lnTo>
                  <a:lnTo>
                    <a:pt x="86" y="79"/>
                  </a:lnTo>
                  <a:lnTo>
                    <a:pt x="86" y="73"/>
                  </a:lnTo>
                  <a:lnTo>
                    <a:pt x="92" y="61"/>
                  </a:lnTo>
                  <a:lnTo>
                    <a:pt x="86" y="61"/>
                  </a:lnTo>
                  <a:lnTo>
                    <a:pt x="79" y="67"/>
                  </a:lnTo>
                  <a:lnTo>
                    <a:pt x="67" y="73"/>
                  </a:lnTo>
                  <a:lnTo>
                    <a:pt x="67" y="79"/>
                  </a:lnTo>
                  <a:lnTo>
                    <a:pt x="73" y="85"/>
                  </a:lnTo>
                  <a:lnTo>
                    <a:pt x="67" y="92"/>
                  </a:lnTo>
                  <a:lnTo>
                    <a:pt x="67" y="98"/>
                  </a:lnTo>
                  <a:lnTo>
                    <a:pt x="61" y="98"/>
                  </a:lnTo>
                  <a:lnTo>
                    <a:pt x="55" y="104"/>
                  </a:lnTo>
                  <a:lnTo>
                    <a:pt x="49" y="104"/>
                  </a:lnTo>
                  <a:lnTo>
                    <a:pt x="49" y="98"/>
                  </a:lnTo>
                  <a:lnTo>
                    <a:pt x="43" y="104"/>
                  </a:lnTo>
                  <a:lnTo>
                    <a:pt x="37" y="104"/>
                  </a:lnTo>
                  <a:lnTo>
                    <a:pt x="30" y="104"/>
                  </a:lnTo>
                  <a:lnTo>
                    <a:pt x="24" y="110"/>
                  </a:lnTo>
                  <a:lnTo>
                    <a:pt x="18" y="104"/>
                  </a:lnTo>
                  <a:lnTo>
                    <a:pt x="12" y="110"/>
                  </a:lnTo>
                  <a:lnTo>
                    <a:pt x="12" y="116"/>
                  </a:lnTo>
                  <a:lnTo>
                    <a:pt x="6" y="116"/>
                  </a:lnTo>
                  <a:lnTo>
                    <a:pt x="6" y="122"/>
                  </a:lnTo>
                  <a:lnTo>
                    <a:pt x="12" y="128"/>
                  </a:lnTo>
                  <a:lnTo>
                    <a:pt x="18" y="128"/>
                  </a:lnTo>
                  <a:lnTo>
                    <a:pt x="18" y="141"/>
                  </a:lnTo>
                  <a:lnTo>
                    <a:pt x="18" y="147"/>
                  </a:lnTo>
                  <a:lnTo>
                    <a:pt x="24" y="147"/>
                  </a:lnTo>
                  <a:lnTo>
                    <a:pt x="24" y="153"/>
                  </a:lnTo>
                  <a:lnTo>
                    <a:pt x="24" y="159"/>
                  </a:lnTo>
                  <a:lnTo>
                    <a:pt x="24" y="165"/>
                  </a:lnTo>
                  <a:lnTo>
                    <a:pt x="18" y="165"/>
                  </a:lnTo>
                  <a:lnTo>
                    <a:pt x="12" y="165"/>
                  </a:lnTo>
                  <a:lnTo>
                    <a:pt x="12" y="171"/>
                  </a:lnTo>
                  <a:lnTo>
                    <a:pt x="12" y="177"/>
                  </a:lnTo>
                  <a:lnTo>
                    <a:pt x="6" y="171"/>
                  </a:lnTo>
                  <a:lnTo>
                    <a:pt x="0" y="177"/>
                  </a:lnTo>
                  <a:lnTo>
                    <a:pt x="0" y="183"/>
                  </a:lnTo>
                  <a:lnTo>
                    <a:pt x="6" y="183"/>
                  </a:lnTo>
                  <a:lnTo>
                    <a:pt x="6" y="190"/>
                  </a:lnTo>
                  <a:lnTo>
                    <a:pt x="6" y="196"/>
                  </a:lnTo>
                  <a:lnTo>
                    <a:pt x="12" y="196"/>
                  </a:lnTo>
                  <a:lnTo>
                    <a:pt x="18" y="202"/>
                  </a:lnTo>
                  <a:lnTo>
                    <a:pt x="18" y="208"/>
                  </a:lnTo>
                  <a:lnTo>
                    <a:pt x="18" y="214"/>
                  </a:lnTo>
                  <a:lnTo>
                    <a:pt x="12" y="214"/>
                  </a:lnTo>
                  <a:lnTo>
                    <a:pt x="12" y="220"/>
                  </a:lnTo>
                  <a:lnTo>
                    <a:pt x="12" y="226"/>
                  </a:lnTo>
                  <a:lnTo>
                    <a:pt x="12" y="232"/>
                  </a:lnTo>
                  <a:lnTo>
                    <a:pt x="12" y="239"/>
                  </a:lnTo>
                  <a:lnTo>
                    <a:pt x="18" y="245"/>
                  </a:lnTo>
                  <a:lnTo>
                    <a:pt x="18" y="251"/>
                  </a:lnTo>
                  <a:lnTo>
                    <a:pt x="24" y="257"/>
                  </a:lnTo>
                  <a:lnTo>
                    <a:pt x="30" y="257"/>
                  </a:lnTo>
                  <a:lnTo>
                    <a:pt x="37" y="257"/>
                  </a:lnTo>
                  <a:lnTo>
                    <a:pt x="43" y="257"/>
                  </a:lnTo>
                  <a:lnTo>
                    <a:pt x="49" y="257"/>
                  </a:lnTo>
                  <a:lnTo>
                    <a:pt x="49" y="263"/>
                  </a:lnTo>
                  <a:lnTo>
                    <a:pt x="55" y="269"/>
                  </a:lnTo>
                  <a:lnTo>
                    <a:pt x="49" y="269"/>
                  </a:lnTo>
                  <a:lnTo>
                    <a:pt x="49" y="275"/>
                  </a:lnTo>
                  <a:lnTo>
                    <a:pt x="43" y="275"/>
                  </a:lnTo>
                  <a:lnTo>
                    <a:pt x="43" y="281"/>
                  </a:lnTo>
                  <a:lnTo>
                    <a:pt x="43" y="288"/>
                  </a:lnTo>
                  <a:lnTo>
                    <a:pt x="49" y="288"/>
                  </a:lnTo>
                  <a:lnTo>
                    <a:pt x="55" y="288"/>
                  </a:lnTo>
                  <a:lnTo>
                    <a:pt x="61" y="288"/>
                  </a:lnTo>
                  <a:lnTo>
                    <a:pt x="67" y="281"/>
                  </a:lnTo>
                  <a:lnTo>
                    <a:pt x="73" y="275"/>
                  </a:lnTo>
                  <a:lnTo>
                    <a:pt x="73" y="269"/>
                  </a:lnTo>
                  <a:lnTo>
                    <a:pt x="79" y="263"/>
                  </a:lnTo>
                  <a:lnTo>
                    <a:pt x="79" y="257"/>
                  </a:lnTo>
                  <a:lnTo>
                    <a:pt x="86" y="257"/>
                  </a:lnTo>
                  <a:lnTo>
                    <a:pt x="86" y="251"/>
                  </a:lnTo>
                  <a:lnTo>
                    <a:pt x="92" y="245"/>
                  </a:lnTo>
                  <a:lnTo>
                    <a:pt x="98" y="239"/>
                  </a:lnTo>
                  <a:lnTo>
                    <a:pt x="98" y="232"/>
                  </a:lnTo>
                  <a:lnTo>
                    <a:pt x="104" y="232"/>
                  </a:lnTo>
                  <a:lnTo>
                    <a:pt x="122" y="239"/>
                  </a:lnTo>
                  <a:lnTo>
                    <a:pt x="122" y="245"/>
                  </a:lnTo>
                  <a:lnTo>
                    <a:pt x="122" y="239"/>
                  </a:lnTo>
                  <a:lnTo>
                    <a:pt x="129" y="245"/>
                  </a:lnTo>
                  <a:lnTo>
                    <a:pt x="135" y="245"/>
                  </a:lnTo>
                  <a:lnTo>
                    <a:pt x="135" y="251"/>
                  </a:lnTo>
                  <a:lnTo>
                    <a:pt x="141" y="251"/>
                  </a:lnTo>
                  <a:lnTo>
                    <a:pt x="147" y="263"/>
                  </a:lnTo>
                  <a:lnTo>
                    <a:pt x="153" y="263"/>
                  </a:lnTo>
                  <a:lnTo>
                    <a:pt x="153" y="269"/>
                  </a:lnTo>
                  <a:lnTo>
                    <a:pt x="153" y="263"/>
                  </a:lnTo>
                  <a:lnTo>
                    <a:pt x="159" y="263"/>
                  </a:lnTo>
                  <a:lnTo>
                    <a:pt x="159" y="269"/>
                  </a:lnTo>
                  <a:lnTo>
                    <a:pt x="165" y="269"/>
                  </a:lnTo>
                  <a:lnTo>
                    <a:pt x="171" y="275"/>
                  </a:lnTo>
                  <a:lnTo>
                    <a:pt x="171" y="281"/>
                  </a:lnTo>
                  <a:lnTo>
                    <a:pt x="171" y="288"/>
                  </a:lnTo>
                  <a:lnTo>
                    <a:pt x="171" y="300"/>
                  </a:lnTo>
                  <a:lnTo>
                    <a:pt x="178" y="300"/>
                  </a:lnTo>
                  <a:lnTo>
                    <a:pt x="178" y="306"/>
                  </a:lnTo>
                  <a:lnTo>
                    <a:pt x="178" y="312"/>
                  </a:lnTo>
                  <a:lnTo>
                    <a:pt x="178" y="318"/>
                  </a:lnTo>
                  <a:lnTo>
                    <a:pt x="184" y="324"/>
                  </a:lnTo>
                  <a:lnTo>
                    <a:pt x="184" y="330"/>
                  </a:lnTo>
                  <a:lnTo>
                    <a:pt x="190" y="337"/>
                  </a:lnTo>
                  <a:lnTo>
                    <a:pt x="190" y="355"/>
                  </a:lnTo>
                  <a:lnTo>
                    <a:pt x="184" y="361"/>
                  </a:lnTo>
                  <a:lnTo>
                    <a:pt x="190" y="361"/>
                  </a:lnTo>
                  <a:lnTo>
                    <a:pt x="196" y="361"/>
                  </a:lnTo>
                  <a:lnTo>
                    <a:pt x="196" y="367"/>
                  </a:lnTo>
                  <a:lnTo>
                    <a:pt x="196" y="373"/>
                  </a:lnTo>
                  <a:lnTo>
                    <a:pt x="202" y="379"/>
                  </a:lnTo>
                  <a:lnTo>
                    <a:pt x="208" y="379"/>
                  </a:lnTo>
                  <a:lnTo>
                    <a:pt x="208" y="386"/>
                  </a:lnTo>
                  <a:lnTo>
                    <a:pt x="214" y="386"/>
                  </a:lnTo>
                  <a:lnTo>
                    <a:pt x="214" y="398"/>
                  </a:lnTo>
                  <a:lnTo>
                    <a:pt x="220" y="398"/>
                  </a:lnTo>
                  <a:lnTo>
                    <a:pt x="220" y="404"/>
                  </a:lnTo>
                  <a:lnTo>
                    <a:pt x="214" y="404"/>
                  </a:lnTo>
                  <a:lnTo>
                    <a:pt x="214" y="410"/>
                  </a:lnTo>
                  <a:lnTo>
                    <a:pt x="220" y="410"/>
                  </a:lnTo>
                  <a:lnTo>
                    <a:pt x="227" y="410"/>
                  </a:lnTo>
                  <a:lnTo>
                    <a:pt x="233" y="410"/>
                  </a:lnTo>
                  <a:lnTo>
                    <a:pt x="239" y="416"/>
                  </a:lnTo>
                  <a:lnTo>
                    <a:pt x="239" y="422"/>
                  </a:lnTo>
                  <a:lnTo>
                    <a:pt x="245" y="422"/>
                  </a:lnTo>
                  <a:lnTo>
                    <a:pt x="245" y="428"/>
                  </a:lnTo>
                  <a:lnTo>
                    <a:pt x="251" y="441"/>
                  </a:lnTo>
                  <a:lnTo>
                    <a:pt x="257" y="441"/>
                  </a:lnTo>
                  <a:lnTo>
                    <a:pt x="263" y="447"/>
                  </a:lnTo>
                  <a:lnTo>
                    <a:pt x="269" y="453"/>
                  </a:lnTo>
                  <a:lnTo>
                    <a:pt x="269" y="459"/>
                  </a:lnTo>
                  <a:lnTo>
                    <a:pt x="269" y="465"/>
                  </a:lnTo>
                  <a:lnTo>
                    <a:pt x="282" y="471"/>
                  </a:lnTo>
                  <a:lnTo>
                    <a:pt x="282" y="477"/>
                  </a:lnTo>
                  <a:lnTo>
                    <a:pt x="288" y="484"/>
                  </a:lnTo>
                  <a:lnTo>
                    <a:pt x="288" y="490"/>
                  </a:lnTo>
                  <a:lnTo>
                    <a:pt x="294" y="490"/>
                  </a:lnTo>
                  <a:lnTo>
                    <a:pt x="294" y="496"/>
                  </a:lnTo>
                  <a:lnTo>
                    <a:pt x="300" y="496"/>
                  </a:lnTo>
                  <a:lnTo>
                    <a:pt x="306" y="502"/>
                  </a:lnTo>
                  <a:lnTo>
                    <a:pt x="312" y="508"/>
                  </a:lnTo>
                  <a:lnTo>
                    <a:pt x="312" y="514"/>
                  </a:lnTo>
                  <a:lnTo>
                    <a:pt x="312" y="508"/>
                  </a:lnTo>
                  <a:lnTo>
                    <a:pt x="318" y="508"/>
                  </a:lnTo>
                  <a:lnTo>
                    <a:pt x="318" y="502"/>
                  </a:lnTo>
                  <a:lnTo>
                    <a:pt x="325" y="508"/>
                  </a:lnTo>
                  <a:lnTo>
                    <a:pt x="331" y="508"/>
                  </a:lnTo>
                  <a:lnTo>
                    <a:pt x="331" y="514"/>
                  </a:lnTo>
                  <a:lnTo>
                    <a:pt x="337" y="514"/>
                  </a:lnTo>
                  <a:lnTo>
                    <a:pt x="337" y="508"/>
                  </a:lnTo>
                  <a:lnTo>
                    <a:pt x="343" y="508"/>
                  </a:lnTo>
                  <a:lnTo>
                    <a:pt x="349" y="520"/>
                  </a:lnTo>
                  <a:lnTo>
                    <a:pt x="349" y="526"/>
                  </a:lnTo>
                  <a:lnTo>
                    <a:pt x="355" y="533"/>
                  </a:lnTo>
                  <a:lnTo>
                    <a:pt x="355" y="539"/>
                  </a:lnTo>
                  <a:lnTo>
                    <a:pt x="361" y="545"/>
                  </a:lnTo>
                  <a:lnTo>
                    <a:pt x="361" y="551"/>
                  </a:lnTo>
                  <a:lnTo>
                    <a:pt x="367" y="545"/>
                  </a:lnTo>
                  <a:lnTo>
                    <a:pt x="374" y="545"/>
                  </a:lnTo>
                  <a:lnTo>
                    <a:pt x="380" y="551"/>
                  </a:lnTo>
                  <a:lnTo>
                    <a:pt x="380" y="557"/>
                  </a:lnTo>
                  <a:lnTo>
                    <a:pt x="380" y="563"/>
                  </a:lnTo>
                  <a:lnTo>
                    <a:pt x="374" y="563"/>
                  </a:lnTo>
                  <a:lnTo>
                    <a:pt x="374" y="569"/>
                  </a:lnTo>
                  <a:lnTo>
                    <a:pt x="380" y="563"/>
                  </a:lnTo>
                  <a:lnTo>
                    <a:pt x="386" y="563"/>
                  </a:lnTo>
                  <a:lnTo>
                    <a:pt x="392" y="563"/>
                  </a:lnTo>
                  <a:lnTo>
                    <a:pt x="392" y="557"/>
                  </a:lnTo>
                  <a:lnTo>
                    <a:pt x="398" y="563"/>
                  </a:lnTo>
                  <a:lnTo>
                    <a:pt x="404" y="569"/>
                  </a:lnTo>
                  <a:lnTo>
                    <a:pt x="404" y="575"/>
                  </a:lnTo>
                  <a:lnTo>
                    <a:pt x="404" y="588"/>
                  </a:lnTo>
                  <a:lnTo>
                    <a:pt x="404" y="594"/>
                  </a:lnTo>
                  <a:lnTo>
                    <a:pt x="404" y="600"/>
                  </a:lnTo>
                  <a:lnTo>
                    <a:pt x="410" y="606"/>
                  </a:lnTo>
                  <a:lnTo>
                    <a:pt x="416" y="606"/>
                  </a:lnTo>
                  <a:lnTo>
                    <a:pt x="423" y="612"/>
                  </a:lnTo>
                  <a:lnTo>
                    <a:pt x="423" y="618"/>
                  </a:lnTo>
                  <a:lnTo>
                    <a:pt x="429" y="618"/>
                  </a:lnTo>
                  <a:lnTo>
                    <a:pt x="429" y="612"/>
                  </a:lnTo>
                  <a:lnTo>
                    <a:pt x="435" y="612"/>
                  </a:lnTo>
                  <a:lnTo>
                    <a:pt x="441" y="618"/>
                  </a:lnTo>
                  <a:lnTo>
                    <a:pt x="441" y="624"/>
                  </a:lnTo>
                  <a:lnTo>
                    <a:pt x="447" y="631"/>
                  </a:lnTo>
                  <a:lnTo>
                    <a:pt x="447" y="637"/>
                  </a:lnTo>
                  <a:lnTo>
                    <a:pt x="447" y="643"/>
                  </a:lnTo>
                  <a:lnTo>
                    <a:pt x="447" y="655"/>
                  </a:lnTo>
                  <a:lnTo>
                    <a:pt x="453" y="661"/>
                  </a:lnTo>
                  <a:lnTo>
                    <a:pt x="459" y="673"/>
                  </a:lnTo>
                  <a:lnTo>
                    <a:pt x="459" y="698"/>
                  </a:lnTo>
                  <a:lnTo>
                    <a:pt x="459" y="704"/>
                  </a:lnTo>
                  <a:lnTo>
                    <a:pt x="465" y="704"/>
                  </a:lnTo>
                  <a:lnTo>
                    <a:pt x="465" y="710"/>
                  </a:lnTo>
                  <a:lnTo>
                    <a:pt x="465" y="722"/>
                  </a:lnTo>
                  <a:lnTo>
                    <a:pt x="465" y="729"/>
                  </a:lnTo>
                  <a:lnTo>
                    <a:pt x="459" y="729"/>
                  </a:lnTo>
                  <a:lnTo>
                    <a:pt x="453" y="729"/>
                  </a:lnTo>
                  <a:lnTo>
                    <a:pt x="453" y="735"/>
                  </a:lnTo>
                  <a:lnTo>
                    <a:pt x="447" y="735"/>
                  </a:lnTo>
                  <a:lnTo>
                    <a:pt x="453" y="741"/>
                  </a:lnTo>
                  <a:lnTo>
                    <a:pt x="453" y="747"/>
                  </a:lnTo>
                  <a:lnTo>
                    <a:pt x="447" y="759"/>
                  </a:lnTo>
                  <a:lnTo>
                    <a:pt x="447" y="765"/>
                  </a:lnTo>
                  <a:lnTo>
                    <a:pt x="441" y="771"/>
                  </a:lnTo>
                  <a:lnTo>
                    <a:pt x="435" y="771"/>
                  </a:lnTo>
                  <a:lnTo>
                    <a:pt x="435" y="778"/>
                  </a:lnTo>
                  <a:lnTo>
                    <a:pt x="441" y="784"/>
                  </a:lnTo>
                  <a:lnTo>
                    <a:pt x="435" y="784"/>
                  </a:lnTo>
                  <a:lnTo>
                    <a:pt x="441" y="790"/>
                  </a:lnTo>
                  <a:lnTo>
                    <a:pt x="441" y="796"/>
                  </a:lnTo>
                  <a:lnTo>
                    <a:pt x="447" y="796"/>
                  </a:lnTo>
                  <a:lnTo>
                    <a:pt x="453" y="796"/>
                  </a:lnTo>
                  <a:lnTo>
                    <a:pt x="459" y="796"/>
                  </a:lnTo>
                  <a:lnTo>
                    <a:pt x="465" y="784"/>
                  </a:lnTo>
                  <a:lnTo>
                    <a:pt x="465" y="778"/>
                  </a:lnTo>
                  <a:lnTo>
                    <a:pt x="465" y="771"/>
                  </a:lnTo>
                  <a:lnTo>
                    <a:pt x="472" y="765"/>
                  </a:lnTo>
                  <a:lnTo>
                    <a:pt x="478" y="759"/>
                  </a:lnTo>
                  <a:lnTo>
                    <a:pt x="484" y="753"/>
                  </a:lnTo>
                  <a:lnTo>
                    <a:pt x="484" y="747"/>
                  </a:lnTo>
                  <a:lnTo>
                    <a:pt x="484" y="741"/>
                  </a:lnTo>
                  <a:lnTo>
                    <a:pt x="484" y="729"/>
                  </a:lnTo>
                  <a:lnTo>
                    <a:pt x="484" y="722"/>
                  </a:lnTo>
                  <a:lnTo>
                    <a:pt x="490" y="716"/>
                  </a:lnTo>
                  <a:lnTo>
                    <a:pt x="496" y="710"/>
                  </a:lnTo>
                  <a:lnTo>
                    <a:pt x="502" y="710"/>
                  </a:lnTo>
                  <a:lnTo>
                    <a:pt x="508" y="710"/>
                  </a:lnTo>
                  <a:lnTo>
                    <a:pt x="515" y="704"/>
                  </a:lnTo>
                  <a:lnTo>
                    <a:pt x="515" y="698"/>
                  </a:lnTo>
                  <a:lnTo>
                    <a:pt x="508" y="698"/>
                  </a:lnTo>
                  <a:lnTo>
                    <a:pt x="508" y="673"/>
                  </a:lnTo>
                  <a:lnTo>
                    <a:pt x="515" y="667"/>
                  </a:lnTo>
                  <a:lnTo>
                    <a:pt x="508" y="667"/>
                  </a:lnTo>
                  <a:lnTo>
                    <a:pt x="502" y="661"/>
                  </a:lnTo>
                  <a:lnTo>
                    <a:pt x="496" y="655"/>
                  </a:lnTo>
                  <a:lnTo>
                    <a:pt x="490" y="649"/>
                  </a:lnTo>
                  <a:lnTo>
                    <a:pt x="484" y="649"/>
                  </a:lnTo>
                  <a:lnTo>
                    <a:pt x="478" y="643"/>
                  </a:lnTo>
                  <a:lnTo>
                    <a:pt x="478" y="631"/>
                  </a:lnTo>
                  <a:lnTo>
                    <a:pt x="484" y="631"/>
                  </a:lnTo>
                  <a:lnTo>
                    <a:pt x="484" y="624"/>
                  </a:lnTo>
                  <a:lnTo>
                    <a:pt x="484" y="618"/>
                  </a:lnTo>
                  <a:lnTo>
                    <a:pt x="484" y="612"/>
                  </a:lnTo>
                  <a:lnTo>
                    <a:pt x="490" y="606"/>
                  </a:lnTo>
                  <a:lnTo>
                    <a:pt x="490" y="600"/>
                  </a:lnTo>
                  <a:lnTo>
                    <a:pt x="496" y="594"/>
                  </a:lnTo>
                  <a:lnTo>
                    <a:pt x="496" y="588"/>
                  </a:lnTo>
                  <a:lnTo>
                    <a:pt x="496" y="582"/>
                  </a:lnTo>
                  <a:lnTo>
                    <a:pt x="502" y="575"/>
                  </a:lnTo>
                  <a:lnTo>
                    <a:pt x="508" y="569"/>
                  </a:lnTo>
                  <a:lnTo>
                    <a:pt x="515" y="569"/>
                  </a:lnTo>
                  <a:lnTo>
                    <a:pt x="515" y="575"/>
                  </a:lnTo>
                  <a:lnTo>
                    <a:pt x="521" y="575"/>
                  </a:lnTo>
                  <a:lnTo>
                    <a:pt x="515" y="575"/>
                  </a:lnTo>
                  <a:lnTo>
                    <a:pt x="515" y="582"/>
                  </a:lnTo>
                  <a:lnTo>
                    <a:pt x="521" y="582"/>
                  </a:lnTo>
                  <a:lnTo>
                    <a:pt x="527" y="588"/>
                  </a:lnTo>
                  <a:lnTo>
                    <a:pt x="539" y="588"/>
                  </a:lnTo>
                  <a:lnTo>
                    <a:pt x="545" y="588"/>
                  </a:lnTo>
                  <a:lnTo>
                    <a:pt x="551" y="594"/>
                  </a:lnTo>
                  <a:lnTo>
                    <a:pt x="551" y="600"/>
                  </a:lnTo>
                  <a:lnTo>
                    <a:pt x="551" y="606"/>
                  </a:lnTo>
                  <a:lnTo>
                    <a:pt x="551" y="612"/>
                  </a:lnTo>
                  <a:lnTo>
                    <a:pt x="557" y="612"/>
                  </a:lnTo>
                  <a:lnTo>
                    <a:pt x="551" y="612"/>
                  </a:lnTo>
                  <a:lnTo>
                    <a:pt x="551" y="618"/>
                  </a:lnTo>
                  <a:lnTo>
                    <a:pt x="557" y="618"/>
                  </a:lnTo>
                  <a:lnTo>
                    <a:pt x="557" y="624"/>
                  </a:lnTo>
                  <a:lnTo>
                    <a:pt x="564" y="631"/>
                  </a:lnTo>
                  <a:lnTo>
                    <a:pt x="570" y="631"/>
                  </a:lnTo>
                  <a:lnTo>
                    <a:pt x="570" y="637"/>
                  </a:lnTo>
                  <a:lnTo>
                    <a:pt x="570" y="631"/>
                  </a:lnTo>
                  <a:lnTo>
                    <a:pt x="576" y="624"/>
                  </a:lnTo>
                  <a:lnTo>
                    <a:pt x="570" y="624"/>
                  </a:lnTo>
                  <a:lnTo>
                    <a:pt x="576" y="618"/>
                  </a:lnTo>
                  <a:lnTo>
                    <a:pt x="576" y="612"/>
                  </a:lnTo>
                  <a:lnTo>
                    <a:pt x="576" y="606"/>
                  </a:lnTo>
                  <a:lnTo>
                    <a:pt x="576" y="600"/>
                  </a:lnTo>
                  <a:lnTo>
                    <a:pt x="576" y="594"/>
                  </a:lnTo>
                  <a:lnTo>
                    <a:pt x="576" y="588"/>
                  </a:lnTo>
                  <a:lnTo>
                    <a:pt x="570" y="588"/>
                  </a:lnTo>
                  <a:lnTo>
                    <a:pt x="570" y="582"/>
                  </a:lnTo>
                  <a:lnTo>
                    <a:pt x="564" y="575"/>
                  </a:lnTo>
                  <a:lnTo>
                    <a:pt x="557" y="569"/>
                  </a:lnTo>
                  <a:lnTo>
                    <a:pt x="557" y="563"/>
                  </a:lnTo>
                  <a:lnTo>
                    <a:pt x="551" y="557"/>
                  </a:lnTo>
                  <a:lnTo>
                    <a:pt x="551" y="563"/>
                  </a:lnTo>
                  <a:lnTo>
                    <a:pt x="551" y="557"/>
                  </a:lnTo>
                  <a:lnTo>
                    <a:pt x="545" y="557"/>
                  </a:lnTo>
                  <a:lnTo>
                    <a:pt x="539" y="551"/>
                  </a:lnTo>
                  <a:lnTo>
                    <a:pt x="533" y="545"/>
                  </a:lnTo>
                  <a:lnTo>
                    <a:pt x="527" y="545"/>
                  </a:lnTo>
                  <a:lnTo>
                    <a:pt x="527" y="539"/>
                  </a:lnTo>
                  <a:lnTo>
                    <a:pt x="521" y="539"/>
                  </a:lnTo>
                  <a:lnTo>
                    <a:pt x="521" y="533"/>
                  </a:lnTo>
                  <a:lnTo>
                    <a:pt x="515" y="533"/>
                  </a:lnTo>
                  <a:lnTo>
                    <a:pt x="515" y="526"/>
                  </a:lnTo>
                  <a:lnTo>
                    <a:pt x="508" y="526"/>
                  </a:lnTo>
                  <a:lnTo>
                    <a:pt x="508" y="520"/>
                  </a:lnTo>
                  <a:lnTo>
                    <a:pt x="490" y="514"/>
                  </a:lnTo>
                  <a:lnTo>
                    <a:pt x="484" y="514"/>
                  </a:lnTo>
                  <a:lnTo>
                    <a:pt x="478" y="508"/>
                  </a:lnTo>
                  <a:lnTo>
                    <a:pt x="478" y="502"/>
                  </a:lnTo>
                  <a:lnTo>
                    <a:pt x="472" y="502"/>
                  </a:lnTo>
                  <a:lnTo>
                    <a:pt x="465" y="502"/>
                  </a:lnTo>
                  <a:lnTo>
                    <a:pt x="459" y="496"/>
                  </a:lnTo>
                  <a:lnTo>
                    <a:pt x="459" y="490"/>
                  </a:lnTo>
                  <a:lnTo>
                    <a:pt x="453" y="490"/>
                  </a:lnTo>
                  <a:lnTo>
                    <a:pt x="453" y="484"/>
                  </a:lnTo>
                  <a:lnTo>
                    <a:pt x="453" y="477"/>
                  </a:lnTo>
                  <a:lnTo>
                    <a:pt x="453" y="471"/>
                  </a:lnTo>
                  <a:lnTo>
                    <a:pt x="459" y="471"/>
                  </a:lnTo>
                  <a:lnTo>
                    <a:pt x="465" y="465"/>
                  </a:lnTo>
                  <a:lnTo>
                    <a:pt x="465" y="459"/>
                  </a:lnTo>
                  <a:lnTo>
                    <a:pt x="465" y="453"/>
                  </a:lnTo>
                  <a:lnTo>
                    <a:pt x="459" y="447"/>
                  </a:lnTo>
                  <a:lnTo>
                    <a:pt x="441" y="447"/>
                  </a:lnTo>
                  <a:lnTo>
                    <a:pt x="435" y="447"/>
                  </a:lnTo>
                  <a:lnTo>
                    <a:pt x="429" y="447"/>
                  </a:lnTo>
                  <a:lnTo>
                    <a:pt x="423" y="447"/>
                  </a:lnTo>
                  <a:lnTo>
                    <a:pt x="416" y="447"/>
                  </a:lnTo>
                  <a:lnTo>
                    <a:pt x="404" y="441"/>
                  </a:lnTo>
                  <a:lnTo>
                    <a:pt x="398" y="441"/>
                  </a:lnTo>
                  <a:lnTo>
                    <a:pt x="392" y="435"/>
                  </a:lnTo>
                  <a:lnTo>
                    <a:pt x="392" y="428"/>
                  </a:lnTo>
                  <a:lnTo>
                    <a:pt x="386" y="422"/>
                  </a:lnTo>
                  <a:lnTo>
                    <a:pt x="380" y="416"/>
                  </a:lnTo>
                  <a:lnTo>
                    <a:pt x="374" y="410"/>
                  </a:lnTo>
                  <a:lnTo>
                    <a:pt x="367" y="404"/>
                  </a:lnTo>
                  <a:lnTo>
                    <a:pt x="367" y="398"/>
                  </a:lnTo>
                  <a:lnTo>
                    <a:pt x="361" y="386"/>
                  </a:lnTo>
                  <a:lnTo>
                    <a:pt x="355" y="379"/>
                  </a:lnTo>
                  <a:lnTo>
                    <a:pt x="355" y="373"/>
                  </a:lnTo>
                  <a:lnTo>
                    <a:pt x="355" y="367"/>
                  </a:lnTo>
                  <a:lnTo>
                    <a:pt x="349" y="355"/>
                  </a:lnTo>
                  <a:lnTo>
                    <a:pt x="349" y="349"/>
                  </a:lnTo>
                  <a:lnTo>
                    <a:pt x="349" y="337"/>
                  </a:lnTo>
                  <a:lnTo>
                    <a:pt x="343" y="330"/>
                  </a:lnTo>
                  <a:lnTo>
                    <a:pt x="343" y="324"/>
                  </a:lnTo>
                  <a:lnTo>
                    <a:pt x="343" y="318"/>
                  </a:lnTo>
                  <a:lnTo>
                    <a:pt x="337" y="312"/>
                  </a:lnTo>
                  <a:lnTo>
                    <a:pt x="337" y="306"/>
                  </a:lnTo>
                  <a:lnTo>
                    <a:pt x="331" y="306"/>
                  </a:lnTo>
                  <a:lnTo>
                    <a:pt x="325" y="300"/>
                  </a:lnTo>
                  <a:lnTo>
                    <a:pt x="318" y="294"/>
                  </a:lnTo>
                  <a:lnTo>
                    <a:pt x="312" y="288"/>
                  </a:lnTo>
                  <a:lnTo>
                    <a:pt x="306" y="288"/>
                  </a:lnTo>
                  <a:lnTo>
                    <a:pt x="306" y="281"/>
                  </a:lnTo>
                  <a:lnTo>
                    <a:pt x="300" y="275"/>
                  </a:lnTo>
                  <a:lnTo>
                    <a:pt x="294" y="269"/>
                  </a:lnTo>
                  <a:lnTo>
                    <a:pt x="282" y="257"/>
                  </a:lnTo>
                  <a:lnTo>
                    <a:pt x="276" y="245"/>
                  </a:lnTo>
                  <a:lnTo>
                    <a:pt x="276" y="239"/>
                  </a:lnTo>
                  <a:lnTo>
                    <a:pt x="276" y="232"/>
                  </a:lnTo>
                  <a:lnTo>
                    <a:pt x="269" y="232"/>
                  </a:lnTo>
                  <a:lnTo>
                    <a:pt x="269" y="226"/>
                  </a:lnTo>
                  <a:lnTo>
                    <a:pt x="276" y="220"/>
                  </a:lnTo>
                  <a:lnTo>
                    <a:pt x="269" y="220"/>
                  </a:lnTo>
                  <a:lnTo>
                    <a:pt x="269" y="214"/>
                  </a:lnTo>
                  <a:lnTo>
                    <a:pt x="269" y="208"/>
                  </a:lnTo>
                  <a:lnTo>
                    <a:pt x="269" y="202"/>
                  </a:lnTo>
                  <a:lnTo>
                    <a:pt x="276" y="202"/>
                  </a:lnTo>
                  <a:lnTo>
                    <a:pt x="288" y="275"/>
                  </a:lnTo>
                  <a:lnTo>
                    <a:pt x="282" y="275"/>
                  </a:lnTo>
                  <a:lnTo>
                    <a:pt x="288" y="269"/>
                  </a:lnTo>
                  <a:lnTo>
                    <a:pt x="288" y="275"/>
                  </a:lnTo>
                  <a:lnTo>
                    <a:pt x="276" y="20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6" name="Freeform 187"/>
            <p:cNvSpPr>
              <a:spLocks/>
            </p:cNvSpPr>
            <p:nvPr/>
          </p:nvSpPr>
          <p:spPr bwMode="auto">
            <a:xfrm>
              <a:off x="3506792" y="5009983"/>
              <a:ext cx="931264" cy="1164704"/>
            </a:xfrm>
            <a:custGeom>
              <a:avLst/>
              <a:gdLst>
                <a:gd name="T0" fmla="*/ 695563029 w 576"/>
                <a:gd name="T1" fmla="*/ 461189444 h 796"/>
                <a:gd name="T2" fmla="*/ 695563029 w 576"/>
                <a:gd name="T3" fmla="*/ 355342815 h 796"/>
                <a:gd name="T4" fmla="*/ 786288615 w 576"/>
                <a:gd name="T5" fmla="*/ 322580000 h 796"/>
                <a:gd name="T6" fmla="*/ 849291899 w 576"/>
                <a:gd name="T7" fmla="*/ 292338135 h 796"/>
                <a:gd name="T8" fmla="*/ 864412830 w 576"/>
                <a:gd name="T9" fmla="*/ 307459067 h 796"/>
                <a:gd name="T10" fmla="*/ 834170968 w 576"/>
                <a:gd name="T11" fmla="*/ 246975336 h 796"/>
                <a:gd name="T12" fmla="*/ 834170968 w 576"/>
                <a:gd name="T13" fmla="*/ 168851260 h 796"/>
                <a:gd name="T14" fmla="*/ 771167684 w 576"/>
                <a:gd name="T15" fmla="*/ 108367529 h 796"/>
                <a:gd name="T16" fmla="*/ 695563029 w 576"/>
                <a:gd name="T17" fmla="*/ 60483756 h 796"/>
                <a:gd name="T18" fmla="*/ 602316493 w 576"/>
                <a:gd name="T19" fmla="*/ 30241878 h 796"/>
                <a:gd name="T20" fmla="*/ 493950614 w 576"/>
                <a:gd name="T21" fmla="*/ 60483756 h 796"/>
                <a:gd name="T22" fmla="*/ 448587821 w 576"/>
                <a:gd name="T23" fmla="*/ 108367529 h 796"/>
                <a:gd name="T24" fmla="*/ 415824910 w 576"/>
                <a:gd name="T25" fmla="*/ 199093126 h 796"/>
                <a:gd name="T26" fmla="*/ 370462117 w 576"/>
                <a:gd name="T27" fmla="*/ 183972193 h 796"/>
                <a:gd name="T28" fmla="*/ 325100911 w 576"/>
                <a:gd name="T29" fmla="*/ 199093126 h 796"/>
                <a:gd name="T30" fmla="*/ 277217169 w 576"/>
                <a:gd name="T31" fmla="*/ 262096269 h 796"/>
                <a:gd name="T32" fmla="*/ 216733445 w 576"/>
                <a:gd name="T33" fmla="*/ 199093126 h 796"/>
                <a:gd name="T34" fmla="*/ 168851241 w 576"/>
                <a:gd name="T35" fmla="*/ 231854403 h 796"/>
                <a:gd name="T36" fmla="*/ 75604680 w 576"/>
                <a:gd name="T37" fmla="*/ 262096269 h 796"/>
                <a:gd name="T38" fmla="*/ 45362806 w 576"/>
                <a:gd name="T39" fmla="*/ 322580000 h 796"/>
                <a:gd name="T40" fmla="*/ 30241875 w 576"/>
                <a:gd name="T41" fmla="*/ 415826547 h 796"/>
                <a:gd name="T42" fmla="*/ 15120937 w 576"/>
                <a:gd name="T43" fmla="*/ 493950672 h 796"/>
                <a:gd name="T44" fmla="*/ 30241875 w 576"/>
                <a:gd name="T45" fmla="*/ 584676269 h 796"/>
                <a:gd name="T46" fmla="*/ 123486860 w 576"/>
                <a:gd name="T47" fmla="*/ 647680950 h 796"/>
                <a:gd name="T48" fmla="*/ 123486860 w 576"/>
                <a:gd name="T49" fmla="*/ 725804976 h 796"/>
                <a:gd name="T50" fmla="*/ 216733445 w 576"/>
                <a:gd name="T51" fmla="*/ 647680950 h 796"/>
                <a:gd name="T52" fmla="*/ 307459031 w 576"/>
                <a:gd name="T53" fmla="*/ 602316564 h 796"/>
                <a:gd name="T54" fmla="*/ 385583048 w 576"/>
                <a:gd name="T55" fmla="*/ 662801883 h 796"/>
                <a:gd name="T56" fmla="*/ 448587821 w 576"/>
                <a:gd name="T57" fmla="*/ 756046842 h 796"/>
                <a:gd name="T58" fmla="*/ 463708752 w 576"/>
                <a:gd name="T59" fmla="*/ 909777318 h 796"/>
                <a:gd name="T60" fmla="*/ 539313407 w 576"/>
                <a:gd name="T61" fmla="*/ 972780411 h 796"/>
                <a:gd name="T62" fmla="*/ 587195562 w 576"/>
                <a:gd name="T63" fmla="*/ 1033264142 h 796"/>
                <a:gd name="T64" fmla="*/ 677922736 w 576"/>
                <a:gd name="T65" fmla="*/ 1141630034 h 796"/>
                <a:gd name="T66" fmla="*/ 740925822 w 576"/>
                <a:gd name="T67" fmla="*/ 1249997513 h 796"/>
                <a:gd name="T68" fmla="*/ 819049839 w 576"/>
                <a:gd name="T69" fmla="*/ 1280239379 h 796"/>
                <a:gd name="T70" fmla="*/ 894654693 w 576"/>
                <a:gd name="T71" fmla="*/ 1343244060 h 796"/>
                <a:gd name="T72" fmla="*/ 957659366 w 576"/>
                <a:gd name="T73" fmla="*/ 1418848724 h 796"/>
                <a:gd name="T74" fmla="*/ 1018143090 w 576"/>
                <a:gd name="T75" fmla="*/ 1433969657 h 796"/>
                <a:gd name="T76" fmla="*/ 1066025245 w 576"/>
                <a:gd name="T77" fmla="*/ 1557456482 h 796"/>
                <a:gd name="T78" fmla="*/ 1126508969 w 576"/>
                <a:gd name="T79" fmla="*/ 1620461162 h 796"/>
                <a:gd name="T80" fmla="*/ 1171871763 w 576"/>
                <a:gd name="T81" fmla="*/ 1819553048 h 796"/>
                <a:gd name="T82" fmla="*/ 1126508969 w 576"/>
                <a:gd name="T83" fmla="*/ 1912799595 h 796"/>
                <a:gd name="T84" fmla="*/ 1111388038 w 576"/>
                <a:gd name="T85" fmla="*/ 2006044553 h 796"/>
                <a:gd name="T86" fmla="*/ 1204634574 w 576"/>
                <a:gd name="T87" fmla="*/ 1912799595 h 796"/>
                <a:gd name="T88" fmla="*/ 1265118298 w 576"/>
                <a:gd name="T89" fmla="*/ 1789311182 h 796"/>
                <a:gd name="T90" fmla="*/ 1265118298 w 576"/>
                <a:gd name="T91" fmla="*/ 1665824358 h 796"/>
                <a:gd name="T92" fmla="*/ 1219755505 w 576"/>
                <a:gd name="T93" fmla="*/ 1557456482 h 796"/>
                <a:gd name="T94" fmla="*/ 1280239229 w 576"/>
                <a:gd name="T95" fmla="*/ 1433969657 h 796"/>
                <a:gd name="T96" fmla="*/ 1358364834 w 576"/>
                <a:gd name="T97" fmla="*/ 1481851817 h 796"/>
                <a:gd name="T98" fmla="*/ 1388606696 w 576"/>
                <a:gd name="T99" fmla="*/ 1557456482 h 796"/>
                <a:gd name="T100" fmla="*/ 1436488851 w 576"/>
                <a:gd name="T101" fmla="*/ 1572577415 h 796"/>
                <a:gd name="T102" fmla="*/ 1436488851 w 576"/>
                <a:gd name="T103" fmla="*/ 1466730885 h 796"/>
                <a:gd name="T104" fmla="*/ 1358364834 w 576"/>
                <a:gd name="T105" fmla="*/ 1388606858 h 796"/>
                <a:gd name="T106" fmla="*/ 1280239229 w 576"/>
                <a:gd name="T107" fmla="*/ 1325602178 h 796"/>
                <a:gd name="T108" fmla="*/ 1156750832 w 576"/>
                <a:gd name="T109" fmla="*/ 1249997513 h 796"/>
                <a:gd name="T110" fmla="*/ 1171871763 w 576"/>
                <a:gd name="T111" fmla="*/ 1156750967 h 796"/>
                <a:gd name="T112" fmla="*/ 1018143090 w 576"/>
                <a:gd name="T113" fmla="*/ 1111388169 h 796"/>
                <a:gd name="T114" fmla="*/ 924896555 w 576"/>
                <a:gd name="T115" fmla="*/ 1003022277 h 796"/>
                <a:gd name="T116" fmla="*/ 864412830 w 576"/>
                <a:gd name="T117" fmla="*/ 831651506 h 796"/>
                <a:gd name="T118" fmla="*/ 786288615 w 576"/>
                <a:gd name="T119" fmla="*/ 725804976 h 796"/>
                <a:gd name="T120" fmla="*/ 695563029 w 576"/>
                <a:gd name="T121" fmla="*/ 584676269 h 796"/>
                <a:gd name="T122" fmla="*/ 695563029 w 576"/>
                <a:gd name="T123" fmla="*/ 509071605 h 7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796"/>
                <a:gd name="T188" fmla="*/ 576 w 576"/>
                <a:gd name="T189" fmla="*/ 796 h 79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796">
                  <a:moveTo>
                    <a:pt x="276" y="202"/>
                  </a:moveTo>
                  <a:lnTo>
                    <a:pt x="282" y="202"/>
                  </a:lnTo>
                  <a:lnTo>
                    <a:pt x="282" y="196"/>
                  </a:lnTo>
                  <a:lnTo>
                    <a:pt x="282" y="202"/>
                  </a:lnTo>
                  <a:lnTo>
                    <a:pt x="282" y="196"/>
                  </a:lnTo>
                  <a:lnTo>
                    <a:pt x="282" y="190"/>
                  </a:lnTo>
                  <a:lnTo>
                    <a:pt x="282" y="183"/>
                  </a:lnTo>
                  <a:lnTo>
                    <a:pt x="276" y="183"/>
                  </a:lnTo>
                  <a:lnTo>
                    <a:pt x="276" y="177"/>
                  </a:lnTo>
                  <a:lnTo>
                    <a:pt x="276" y="171"/>
                  </a:lnTo>
                  <a:lnTo>
                    <a:pt x="276" y="165"/>
                  </a:lnTo>
                  <a:lnTo>
                    <a:pt x="269" y="171"/>
                  </a:lnTo>
                  <a:lnTo>
                    <a:pt x="269" y="165"/>
                  </a:lnTo>
                  <a:lnTo>
                    <a:pt x="269" y="159"/>
                  </a:lnTo>
                  <a:lnTo>
                    <a:pt x="276" y="147"/>
                  </a:lnTo>
                  <a:lnTo>
                    <a:pt x="276" y="141"/>
                  </a:lnTo>
                  <a:lnTo>
                    <a:pt x="282" y="141"/>
                  </a:lnTo>
                  <a:lnTo>
                    <a:pt x="288" y="141"/>
                  </a:lnTo>
                  <a:lnTo>
                    <a:pt x="282" y="141"/>
                  </a:lnTo>
                  <a:lnTo>
                    <a:pt x="282" y="147"/>
                  </a:lnTo>
                  <a:lnTo>
                    <a:pt x="288" y="141"/>
                  </a:lnTo>
                  <a:lnTo>
                    <a:pt x="300" y="134"/>
                  </a:lnTo>
                  <a:lnTo>
                    <a:pt x="306" y="128"/>
                  </a:lnTo>
                  <a:lnTo>
                    <a:pt x="312" y="128"/>
                  </a:lnTo>
                  <a:lnTo>
                    <a:pt x="318" y="122"/>
                  </a:lnTo>
                  <a:lnTo>
                    <a:pt x="312" y="122"/>
                  </a:lnTo>
                  <a:lnTo>
                    <a:pt x="318" y="116"/>
                  </a:lnTo>
                  <a:lnTo>
                    <a:pt x="318" y="122"/>
                  </a:lnTo>
                  <a:lnTo>
                    <a:pt x="325" y="122"/>
                  </a:lnTo>
                  <a:lnTo>
                    <a:pt x="331" y="122"/>
                  </a:lnTo>
                  <a:lnTo>
                    <a:pt x="337" y="122"/>
                  </a:lnTo>
                  <a:lnTo>
                    <a:pt x="337" y="116"/>
                  </a:lnTo>
                  <a:lnTo>
                    <a:pt x="337" y="122"/>
                  </a:lnTo>
                  <a:lnTo>
                    <a:pt x="343" y="122"/>
                  </a:lnTo>
                  <a:lnTo>
                    <a:pt x="343" y="128"/>
                  </a:lnTo>
                  <a:lnTo>
                    <a:pt x="343" y="134"/>
                  </a:lnTo>
                  <a:lnTo>
                    <a:pt x="349" y="134"/>
                  </a:lnTo>
                  <a:lnTo>
                    <a:pt x="355" y="128"/>
                  </a:lnTo>
                  <a:lnTo>
                    <a:pt x="349" y="122"/>
                  </a:lnTo>
                  <a:lnTo>
                    <a:pt x="343" y="122"/>
                  </a:lnTo>
                  <a:lnTo>
                    <a:pt x="343" y="116"/>
                  </a:lnTo>
                  <a:lnTo>
                    <a:pt x="337" y="116"/>
                  </a:lnTo>
                  <a:lnTo>
                    <a:pt x="337" y="110"/>
                  </a:lnTo>
                  <a:lnTo>
                    <a:pt x="343" y="110"/>
                  </a:lnTo>
                  <a:lnTo>
                    <a:pt x="343" y="104"/>
                  </a:lnTo>
                  <a:lnTo>
                    <a:pt x="337" y="98"/>
                  </a:lnTo>
                  <a:lnTo>
                    <a:pt x="331" y="104"/>
                  </a:lnTo>
                  <a:lnTo>
                    <a:pt x="331" y="98"/>
                  </a:lnTo>
                  <a:lnTo>
                    <a:pt x="337" y="92"/>
                  </a:lnTo>
                  <a:lnTo>
                    <a:pt x="337" y="85"/>
                  </a:lnTo>
                  <a:lnTo>
                    <a:pt x="337" y="79"/>
                  </a:lnTo>
                  <a:lnTo>
                    <a:pt x="331" y="79"/>
                  </a:lnTo>
                  <a:lnTo>
                    <a:pt x="325" y="79"/>
                  </a:lnTo>
                  <a:lnTo>
                    <a:pt x="325" y="73"/>
                  </a:lnTo>
                  <a:lnTo>
                    <a:pt x="331" y="73"/>
                  </a:lnTo>
                  <a:lnTo>
                    <a:pt x="331" y="67"/>
                  </a:lnTo>
                  <a:lnTo>
                    <a:pt x="337" y="67"/>
                  </a:lnTo>
                  <a:lnTo>
                    <a:pt x="337" y="61"/>
                  </a:lnTo>
                  <a:lnTo>
                    <a:pt x="343" y="61"/>
                  </a:lnTo>
                  <a:lnTo>
                    <a:pt x="343" y="55"/>
                  </a:lnTo>
                  <a:lnTo>
                    <a:pt x="337" y="49"/>
                  </a:lnTo>
                  <a:lnTo>
                    <a:pt x="331" y="49"/>
                  </a:lnTo>
                  <a:lnTo>
                    <a:pt x="318" y="49"/>
                  </a:lnTo>
                  <a:lnTo>
                    <a:pt x="306" y="43"/>
                  </a:lnTo>
                  <a:lnTo>
                    <a:pt x="300" y="43"/>
                  </a:lnTo>
                  <a:lnTo>
                    <a:pt x="300" y="49"/>
                  </a:lnTo>
                  <a:lnTo>
                    <a:pt x="294" y="43"/>
                  </a:lnTo>
                  <a:lnTo>
                    <a:pt x="288" y="43"/>
                  </a:lnTo>
                  <a:lnTo>
                    <a:pt x="282" y="36"/>
                  </a:lnTo>
                  <a:lnTo>
                    <a:pt x="276" y="30"/>
                  </a:lnTo>
                  <a:lnTo>
                    <a:pt x="269" y="24"/>
                  </a:lnTo>
                  <a:lnTo>
                    <a:pt x="276" y="24"/>
                  </a:lnTo>
                  <a:lnTo>
                    <a:pt x="269" y="18"/>
                  </a:lnTo>
                  <a:lnTo>
                    <a:pt x="269" y="12"/>
                  </a:lnTo>
                  <a:lnTo>
                    <a:pt x="269" y="6"/>
                  </a:lnTo>
                  <a:lnTo>
                    <a:pt x="269" y="0"/>
                  </a:lnTo>
                  <a:lnTo>
                    <a:pt x="263" y="6"/>
                  </a:lnTo>
                  <a:lnTo>
                    <a:pt x="257" y="6"/>
                  </a:lnTo>
                  <a:lnTo>
                    <a:pt x="245" y="18"/>
                  </a:lnTo>
                  <a:lnTo>
                    <a:pt x="239" y="12"/>
                  </a:lnTo>
                  <a:lnTo>
                    <a:pt x="233" y="12"/>
                  </a:lnTo>
                  <a:lnTo>
                    <a:pt x="227" y="12"/>
                  </a:lnTo>
                  <a:lnTo>
                    <a:pt x="220" y="12"/>
                  </a:lnTo>
                  <a:lnTo>
                    <a:pt x="214" y="24"/>
                  </a:lnTo>
                  <a:lnTo>
                    <a:pt x="214" y="30"/>
                  </a:lnTo>
                  <a:lnTo>
                    <a:pt x="208" y="30"/>
                  </a:lnTo>
                  <a:lnTo>
                    <a:pt x="202" y="30"/>
                  </a:lnTo>
                  <a:lnTo>
                    <a:pt x="196" y="24"/>
                  </a:lnTo>
                  <a:lnTo>
                    <a:pt x="190" y="24"/>
                  </a:lnTo>
                  <a:lnTo>
                    <a:pt x="184" y="24"/>
                  </a:lnTo>
                  <a:lnTo>
                    <a:pt x="184" y="30"/>
                  </a:lnTo>
                  <a:lnTo>
                    <a:pt x="184" y="36"/>
                  </a:lnTo>
                  <a:lnTo>
                    <a:pt x="184" y="43"/>
                  </a:lnTo>
                  <a:lnTo>
                    <a:pt x="184" y="49"/>
                  </a:lnTo>
                  <a:lnTo>
                    <a:pt x="178" y="49"/>
                  </a:lnTo>
                  <a:lnTo>
                    <a:pt x="178" y="43"/>
                  </a:lnTo>
                  <a:lnTo>
                    <a:pt x="171" y="43"/>
                  </a:lnTo>
                  <a:lnTo>
                    <a:pt x="165" y="49"/>
                  </a:lnTo>
                  <a:lnTo>
                    <a:pt x="165" y="55"/>
                  </a:lnTo>
                  <a:lnTo>
                    <a:pt x="171" y="61"/>
                  </a:lnTo>
                  <a:lnTo>
                    <a:pt x="171" y="67"/>
                  </a:lnTo>
                  <a:lnTo>
                    <a:pt x="171" y="73"/>
                  </a:lnTo>
                  <a:lnTo>
                    <a:pt x="171" y="79"/>
                  </a:lnTo>
                  <a:lnTo>
                    <a:pt x="165" y="79"/>
                  </a:lnTo>
                  <a:lnTo>
                    <a:pt x="165" y="73"/>
                  </a:lnTo>
                  <a:lnTo>
                    <a:pt x="165" y="67"/>
                  </a:lnTo>
                  <a:lnTo>
                    <a:pt x="159" y="67"/>
                  </a:lnTo>
                  <a:lnTo>
                    <a:pt x="165" y="61"/>
                  </a:lnTo>
                  <a:lnTo>
                    <a:pt x="159" y="61"/>
                  </a:lnTo>
                  <a:lnTo>
                    <a:pt x="153" y="61"/>
                  </a:lnTo>
                  <a:lnTo>
                    <a:pt x="153" y="67"/>
                  </a:lnTo>
                  <a:lnTo>
                    <a:pt x="147" y="73"/>
                  </a:lnTo>
                  <a:lnTo>
                    <a:pt x="141" y="73"/>
                  </a:lnTo>
                  <a:lnTo>
                    <a:pt x="135" y="61"/>
                  </a:lnTo>
                  <a:lnTo>
                    <a:pt x="135" y="55"/>
                  </a:lnTo>
                  <a:lnTo>
                    <a:pt x="129" y="55"/>
                  </a:lnTo>
                  <a:lnTo>
                    <a:pt x="129" y="61"/>
                  </a:lnTo>
                  <a:lnTo>
                    <a:pt x="129" y="67"/>
                  </a:lnTo>
                  <a:lnTo>
                    <a:pt x="129" y="73"/>
                  </a:lnTo>
                  <a:lnTo>
                    <a:pt x="129" y="79"/>
                  </a:lnTo>
                  <a:lnTo>
                    <a:pt x="122" y="79"/>
                  </a:lnTo>
                  <a:lnTo>
                    <a:pt x="116" y="98"/>
                  </a:lnTo>
                  <a:lnTo>
                    <a:pt x="116" y="104"/>
                  </a:lnTo>
                  <a:lnTo>
                    <a:pt x="116" y="110"/>
                  </a:lnTo>
                  <a:lnTo>
                    <a:pt x="116" y="116"/>
                  </a:lnTo>
                  <a:lnTo>
                    <a:pt x="110" y="116"/>
                  </a:lnTo>
                  <a:lnTo>
                    <a:pt x="110" y="110"/>
                  </a:lnTo>
                  <a:lnTo>
                    <a:pt x="110" y="104"/>
                  </a:lnTo>
                  <a:lnTo>
                    <a:pt x="104" y="98"/>
                  </a:lnTo>
                  <a:lnTo>
                    <a:pt x="110" y="92"/>
                  </a:lnTo>
                  <a:lnTo>
                    <a:pt x="104" y="92"/>
                  </a:lnTo>
                  <a:lnTo>
                    <a:pt x="104" y="85"/>
                  </a:lnTo>
                  <a:lnTo>
                    <a:pt x="98" y="92"/>
                  </a:lnTo>
                  <a:lnTo>
                    <a:pt x="98" y="85"/>
                  </a:lnTo>
                  <a:lnTo>
                    <a:pt x="92" y="79"/>
                  </a:lnTo>
                  <a:lnTo>
                    <a:pt x="86" y="79"/>
                  </a:lnTo>
                  <a:lnTo>
                    <a:pt x="86" y="73"/>
                  </a:lnTo>
                  <a:lnTo>
                    <a:pt x="92" y="61"/>
                  </a:lnTo>
                  <a:lnTo>
                    <a:pt x="86" y="61"/>
                  </a:lnTo>
                  <a:lnTo>
                    <a:pt x="79" y="67"/>
                  </a:lnTo>
                  <a:lnTo>
                    <a:pt x="67" y="73"/>
                  </a:lnTo>
                  <a:lnTo>
                    <a:pt x="67" y="79"/>
                  </a:lnTo>
                  <a:lnTo>
                    <a:pt x="73" y="85"/>
                  </a:lnTo>
                  <a:lnTo>
                    <a:pt x="67" y="92"/>
                  </a:lnTo>
                  <a:lnTo>
                    <a:pt x="67" y="98"/>
                  </a:lnTo>
                  <a:lnTo>
                    <a:pt x="61" y="98"/>
                  </a:lnTo>
                  <a:lnTo>
                    <a:pt x="55" y="104"/>
                  </a:lnTo>
                  <a:lnTo>
                    <a:pt x="49" y="104"/>
                  </a:lnTo>
                  <a:lnTo>
                    <a:pt x="49" y="98"/>
                  </a:lnTo>
                  <a:lnTo>
                    <a:pt x="43" y="104"/>
                  </a:lnTo>
                  <a:lnTo>
                    <a:pt x="37" y="104"/>
                  </a:lnTo>
                  <a:lnTo>
                    <a:pt x="30" y="104"/>
                  </a:lnTo>
                  <a:lnTo>
                    <a:pt x="24" y="110"/>
                  </a:lnTo>
                  <a:lnTo>
                    <a:pt x="18" y="104"/>
                  </a:lnTo>
                  <a:lnTo>
                    <a:pt x="12" y="110"/>
                  </a:lnTo>
                  <a:lnTo>
                    <a:pt x="12" y="116"/>
                  </a:lnTo>
                  <a:lnTo>
                    <a:pt x="6" y="116"/>
                  </a:lnTo>
                  <a:lnTo>
                    <a:pt x="6" y="122"/>
                  </a:lnTo>
                  <a:lnTo>
                    <a:pt x="12" y="128"/>
                  </a:lnTo>
                  <a:lnTo>
                    <a:pt x="18" y="128"/>
                  </a:lnTo>
                  <a:lnTo>
                    <a:pt x="18" y="141"/>
                  </a:lnTo>
                  <a:lnTo>
                    <a:pt x="18" y="147"/>
                  </a:lnTo>
                  <a:lnTo>
                    <a:pt x="24" y="147"/>
                  </a:lnTo>
                  <a:lnTo>
                    <a:pt x="24" y="153"/>
                  </a:lnTo>
                  <a:lnTo>
                    <a:pt x="24" y="159"/>
                  </a:lnTo>
                  <a:lnTo>
                    <a:pt x="24" y="165"/>
                  </a:lnTo>
                  <a:lnTo>
                    <a:pt x="18" y="165"/>
                  </a:lnTo>
                  <a:lnTo>
                    <a:pt x="12" y="165"/>
                  </a:lnTo>
                  <a:lnTo>
                    <a:pt x="12" y="171"/>
                  </a:lnTo>
                  <a:lnTo>
                    <a:pt x="12" y="177"/>
                  </a:lnTo>
                  <a:lnTo>
                    <a:pt x="6" y="171"/>
                  </a:lnTo>
                  <a:lnTo>
                    <a:pt x="0" y="177"/>
                  </a:lnTo>
                  <a:lnTo>
                    <a:pt x="0" y="183"/>
                  </a:lnTo>
                  <a:lnTo>
                    <a:pt x="6" y="183"/>
                  </a:lnTo>
                  <a:lnTo>
                    <a:pt x="6" y="190"/>
                  </a:lnTo>
                  <a:lnTo>
                    <a:pt x="6" y="196"/>
                  </a:lnTo>
                  <a:lnTo>
                    <a:pt x="12" y="196"/>
                  </a:lnTo>
                  <a:lnTo>
                    <a:pt x="18" y="202"/>
                  </a:lnTo>
                  <a:lnTo>
                    <a:pt x="18" y="208"/>
                  </a:lnTo>
                  <a:lnTo>
                    <a:pt x="18" y="214"/>
                  </a:lnTo>
                  <a:lnTo>
                    <a:pt x="12" y="214"/>
                  </a:lnTo>
                  <a:lnTo>
                    <a:pt x="12" y="220"/>
                  </a:lnTo>
                  <a:lnTo>
                    <a:pt x="12" y="226"/>
                  </a:lnTo>
                  <a:lnTo>
                    <a:pt x="12" y="232"/>
                  </a:lnTo>
                  <a:lnTo>
                    <a:pt x="12" y="239"/>
                  </a:lnTo>
                  <a:lnTo>
                    <a:pt x="18" y="245"/>
                  </a:lnTo>
                  <a:lnTo>
                    <a:pt x="18" y="251"/>
                  </a:lnTo>
                  <a:lnTo>
                    <a:pt x="24" y="257"/>
                  </a:lnTo>
                  <a:lnTo>
                    <a:pt x="30" y="257"/>
                  </a:lnTo>
                  <a:lnTo>
                    <a:pt x="37" y="257"/>
                  </a:lnTo>
                  <a:lnTo>
                    <a:pt x="43" y="257"/>
                  </a:lnTo>
                  <a:lnTo>
                    <a:pt x="49" y="257"/>
                  </a:lnTo>
                  <a:lnTo>
                    <a:pt x="49" y="263"/>
                  </a:lnTo>
                  <a:lnTo>
                    <a:pt x="55" y="269"/>
                  </a:lnTo>
                  <a:lnTo>
                    <a:pt x="49" y="269"/>
                  </a:lnTo>
                  <a:lnTo>
                    <a:pt x="49" y="275"/>
                  </a:lnTo>
                  <a:lnTo>
                    <a:pt x="43" y="275"/>
                  </a:lnTo>
                  <a:lnTo>
                    <a:pt x="43" y="281"/>
                  </a:lnTo>
                  <a:lnTo>
                    <a:pt x="43" y="288"/>
                  </a:lnTo>
                  <a:lnTo>
                    <a:pt x="49" y="288"/>
                  </a:lnTo>
                  <a:lnTo>
                    <a:pt x="55" y="288"/>
                  </a:lnTo>
                  <a:lnTo>
                    <a:pt x="61" y="288"/>
                  </a:lnTo>
                  <a:lnTo>
                    <a:pt x="67" y="281"/>
                  </a:lnTo>
                  <a:lnTo>
                    <a:pt x="73" y="275"/>
                  </a:lnTo>
                  <a:lnTo>
                    <a:pt x="73" y="269"/>
                  </a:lnTo>
                  <a:lnTo>
                    <a:pt x="79" y="263"/>
                  </a:lnTo>
                  <a:lnTo>
                    <a:pt x="79" y="257"/>
                  </a:lnTo>
                  <a:lnTo>
                    <a:pt x="86" y="257"/>
                  </a:lnTo>
                  <a:lnTo>
                    <a:pt x="86" y="251"/>
                  </a:lnTo>
                  <a:lnTo>
                    <a:pt x="92" y="245"/>
                  </a:lnTo>
                  <a:lnTo>
                    <a:pt x="98" y="239"/>
                  </a:lnTo>
                  <a:lnTo>
                    <a:pt x="98" y="232"/>
                  </a:lnTo>
                  <a:lnTo>
                    <a:pt x="104" y="232"/>
                  </a:lnTo>
                  <a:lnTo>
                    <a:pt x="122" y="239"/>
                  </a:lnTo>
                  <a:lnTo>
                    <a:pt x="122" y="245"/>
                  </a:lnTo>
                  <a:lnTo>
                    <a:pt x="122" y="239"/>
                  </a:lnTo>
                  <a:lnTo>
                    <a:pt x="129" y="245"/>
                  </a:lnTo>
                  <a:lnTo>
                    <a:pt x="135" y="245"/>
                  </a:lnTo>
                  <a:lnTo>
                    <a:pt x="135" y="251"/>
                  </a:lnTo>
                  <a:lnTo>
                    <a:pt x="141" y="251"/>
                  </a:lnTo>
                  <a:lnTo>
                    <a:pt x="147" y="263"/>
                  </a:lnTo>
                  <a:lnTo>
                    <a:pt x="153" y="263"/>
                  </a:lnTo>
                  <a:lnTo>
                    <a:pt x="153" y="269"/>
                  </a:lnTo>
                  <a:lnTo>
                    <a:pt x="153" y="263"/>
                  </a:lnTo>
                  <a:lnTo>
                    <a:pt x="159" y="263"/>
                  </a:lnTo>
                  <a:lnTo>
                    <a:pt x="159" y="269"/>
                  </a:lnTo>
                  <a:lnTo>
                    <a:pt x="165" y="269"/>
                  </a:lnTo>
                  <a:lnTo>
                    <a:pt x="171" y="275"/>
                  </a:lnTo>
                  <a:lnTo>
                    <a:pt x="171" y="281"/>
                  </a:lnTo>
                  <a:lnTo>
                    <a:pt x="171" y="288"/>
                  </a:lnTo>
                  <a:lnTo>
                    <a:pt x="171" y="300"/>
                  </a:lnTo>
                  <a:lnTo>
                    <a:pt x="178" y="300"/>
                  </a:lnTo>
                  <a:lnTo>
                    <a:pt x="178" y="306"/>
                  </a:lnTo>
                  <a:lnTo>
                    <a:pt x="178" y="312"/>
                  </a:lnTo>
                  <a:lnTo>
                    <a:pt x="178" y="318"/>
                  </a:lnTo>
                  <a:lnTo>
                    <a:pt x="184" y="324"/>
                  </a:lnTo>
                  <a:lnTo>
                    <a:pt x="184" y="330"/>
                  </a:lnTo>
                  <a:lnTo>
                    <a:pt x="190" y="337"/>
                  </a:lnTo>
                  <a:lnTo>
                    <a:pt x="190" y="355"/>
                  </a:lnTo>
                  <a:lnTo>
                    <a:pt x="184" y="361"/>
                  </a:lnTo>
                  <a:lnTo>
                    <a:pt x="190" y="361"/>
                  </a:lnTo>
                  <a:lnTo>
                    <a:pt x="196" y="361"/>
                  </a:lnTo>
                  <a:lnTo>
                    <a:pt x="196" y="367"/>
                  </a:lnTo>
                  <a:lnTo>
                    <a:pt x="196" y="373"/>
                  </a:lnTo>
                  <a:lnTo>
                    <a:pt x="202" y="379"/>
                  </a:lnTo>
                  <a:lnTo>
                    <a:pt x="208" y="379"/>
                  </a:lnTo>
                  <a:lnTo>
                    <a:pt x="208" y="386"/>
                  </a:lnTo>
                  <a:lnTo>
                    <a:pt x="214" y="386"/>
                  </a:lnTo>
                  <a:lnTo>
                    <a:pt x="214" y="398"/>
                  </a:lnTo>
                  <a:lnTo>
                    <a:pt x="220" y="398"/>
                  </a:lnTo>
                  <a:lnTo>
                    <a:pt x="220" y="404"/>
                  </a:lnTo>
                  <a:lnTo>
                    <a:pt x="214" y="404"/>
                  </a:lnTo>
                  <a:lnTo>
                    <a:pt x="214" y="410"/>
                  </a:lnTo>
                  <a:lnTo>
                    <a:pt x="220" y="410"/>
                  </a:lnTo>
                  <a:lnTo>
                    <a:pt x="227" y="410"/>
                  </a:lnTo>
                  <a:lnTo>
                    <a:pt x="233" y="410"/>
                  </a:lnTo>
                  <a:lnTo>
                    <a:pt x="239" y="416"/>
                  </a:lnTo>
                  <a:lnTo>
                    <a:pt x="239" y="422"/>
                  </a:lnTo>
                  <a:lnTo>
                    <a:pt x="245" y="422"/>
                  </a:lnTo>
                  <a:lnTo>
                    <a:pt x="245" y="428"/>
                  </a:lnTo>
                  <a:lnTo>
                    <a:pt x="251" y="441"/>
                  </a:lnTo>
                  <a:lnTo>
                    <a:pt x="257" y="441"/>
                  </a:lnTo>
                  <a:lnTo>
                    <a:pt x="263" y="447"/>
                  </a:lnTo>
                  <a:lnTo>
                    <a:pt x="269" y="453"/>
                  </a:lnTo>
                  <a:lnTo>
                    <a:pt x="269" y="459"/>
                  </a:lnTo>
                  <a:lnTo>
                    <a:pt x="269" y="465"/>
                  </a:lnTo>
                  <a:lnTo>
                    <a:pt x="282" y="471"/>
                  </a:lnTo>
                  <a:lnTo>
                    <a:pt x="282" y="477"/>
                  </a:lnTo>
                  <a:lnTo>
                    <a:pt x="288" y="484"/>
                  </a:lnTo>
                  <a:lnTo>
                    <a:pt x="288" y="490"/>
                  </a:lnTo>
                  <a:lnTo>
                    <a:pt x="294" y="490"/>
                  </a:lnTo>
                  <a:lnTo>
                    <a:pt x="294" y="496"/>
                  </a:lnTo>
                  <a:lnTo>
                    <a:pt x="300" y="496"/>
                  </a:lnTo>
                  <a:lnTo>
                    <a:pt x="306" y="502"/>
                  </a:lnTo>
                  <a:lnTo>
                    <a:pt x="312" y="508"/>
                  </a:lnTo>
                  <a:lnTo>
                    <a:pt x="312" y="514"/>
                  </a:lnTo>
                  <a:lnTo>
                    <a:pt x="312" y="508"/>
                  </a:lnTo>
                  <a:lnTo>
                    <a:pt x="318" y="508"/>
                  </a:lnTo>
                  <a:lnTo>
                    <a:pt x="318" y="502"/>
                  </a:lnTo>
                  <a:lnTo>
                    <a:pt x="325" y="508"/>
                  </a:lnTo>
                  <a:lnTo>
                    <a:pt x="331" y="508"/>
                  </a:lnTo>
                  <a:lnTo>
                    <a:pt x="331" y="514"/>
                  </a:lnTo>
                  <a:lnTo>
                    <a:pt x="337" y="514"/>
                  </a:lnTo>
                  <a:lnTo>
                    <a:pt x="337" y="508"/>
                  </a:lnTo>
                  <a:lnTo>
                    <a:pt x="343" y="508"/>
                  </a:lnTo>
                  <a:lnTo>
                    <a:pt x="349" y="520"/>
                  </a:lnTo>
                  <a:lnTo>
                    <a:pt x="349" y="526"/>
                  </a:lnTo>
                  <a:lnTo>
                    <a:pt x="355" y="533"/>
                  </a:lnTo>
                  <a:lnTo>
                    <a:pt x="355" y="539"/>
                  </a:lnTo>
                  <a:lnTo>
                    <a:pt x="361" y="545"/>
                  </a:lnTo>
                  <a:lnTo>
                    <a:pt x="361" y="551"/>
                  </a:lnTo>
                  <a:lnTo>
                    <a:pt x="367" y="545"/>
                  </a:lnTo>
                  <a:lnTo>
                    <a:pt x="374" y="545"/>
                  </a:lnTo>
                  <a:lnTo>
                    <a:pt x="380" y="551"/>
                  </a:lnTo>
                  <a:lnTo>
                    <a:pt x="380" y="557"/>
                  </a:lnTo>
                  <a:lnTo>
                    <a:pt x="380" y="563"/>
                  </a:lnTo>
                  <a:lnTo>
                    <a:pt x="374" y="563"/>
                  </a:lnTo>
                  <a:lnTo>
                    <a:pt x="374" y="569"/>
                  </a:lnTo>
                  <a:lnTo>
                    <a:pt x="380" y="563"/>
                  </a:lnTo>
                  <a:lnTo>
                    <a:pt x="386" y="563"/>
                  </a:lnTo>
                  <a:lnTo>
                    <a:pt x="392" y="563"/>
                  </a:lnTo>
                  <a:lnTo>
                    <a:pt x="392" y="557"/>
                  </a:lnTo>
                  <a:lnTo>
                    <a:pt x="398" y="563"/>
                  </a:lnTo>
                  <a:lnTo>
                    <a:pt x="404" y="569"/>
                  </a:lnTo>
                  <a:lnTo>
                    <a:pt x="404" y="575"/>
                  </a:lnTo>
                  <a:lnTo>
                    <a:pt x="404" y="588"/>
                  </a:lnTo>
                  <a:lnTo>
                    <a:pt x="404" y="594"/>
                  </a:lnTo>
                  <a:lnTo>
                    <a:pt x="404" y="600"/>
                  </a:lnTo>
                  <a:lnTo>
                    <a:pt x="410" y="606"/>
                  </a:lnTo>
                  <a:lnTo>
                    <a:pt x="416" y="606"/>
                  </a:lnTo>
                  <a:lnTo>
                    <a:pt x="423" y="612"/>
                  </a:lnTo>
                  <a:lnTo>
                    <a:pt x="423" y="618"/>
                  </a:lnTo>
                  <a:lnTo>
                    <a:pt x="429" y="618"/>
                  </a:lnTo>
                  <a:lnTo>
                    <a:pt x="429" y="612"/>
                  </a:lnTo>
                  <a:lnTo>
                    <a:pt x="435" y="612"/>
                  </a:lnTo>
                  <a:lnTo>
                    <a:pt x="441" y="618"/>
                  </a:lnTo>
                  <a:lnTo>
                    <a:pt x="441" y="624"/>
                  </a:lnTo>
                  <a:lnTo>
                    <a:pt x="447" y="631"/>
                  </a:lnTo>
                  <a:lnTo>
                    <a:pt x="447" y="637"/>
                  </a:lnTo>
                  <a:lnTo>
                    <a:pt x="447" y="643"/>
                  </a:lnTo>
                  <a:lnTo>
                    <a:pt x="447" y="655"/>
                  </a:lnTo>
                  <a:lnTo>
                    <a:pt x="453" y="661"/>
                  </a:lnTo>
                  <a:lnTo>
                    <a:pt x="459" y="673"/>
                  </a:lnTo>
                  <a:lnTo>
                    <a:pt x="459" y="698"/>
                  </a:lnTo>
                  <a:lnTo>
                    <a:pt x="459" y="704"/>
                  </a:lnTo>
                  <a:lnTo>
                    <a:pt x="465" y="704"/>
                  </a:lnTo>
                  <a:lnTo>
                    <a:pt x="465" y="710"/>
                  </a:lnTo>
                  <a:lnTo>
                    <a:pt x="465" y="722"/>
                  </a:lnTo>
                  <a:lnTo>
                    <a:pt x="465" y="729"/>
                  </a:lnTo>
                  <a:lnTo>
                    <a:pt x="459" y="729"/>
                  </a:lnTo>
                  <a:lnTo>
                    <a:pt x="453" y="729"/>
                  </a:lnTo>
                  <a:lnTo>
                    <a:pt x="453" y="735"/>
                  </a:lnTo>
                  <a:lnTo>
                    <a:pt x="447" y="735"/>
                  </a:lnTo>
                  <a:lnTo>
                    <a:pt x="453" y="741"/>
                  </a:lnTo>
                  <a:lnTo>
                    <a:pt x="453" y="747"/>
                  </a:lnTo>
                  <a:lnTo>
                    <a:pt x="447" y="759"/>
                  </a:lnTo>
                  <a:lnTo>
                    <a:pt x="447" y="765"/>
                  </a:lnTo>
                  <a:lnTo>
                    <a:pt x="441" y="771"/>
                  </a:lnTo>
                  <a:lnTo>
                    <a:pt x="435" y="771"/>
                  </a:lnTo>
                  <a:lnTo>
                    <a:pt x="435" y="778"/>
                  </a:lnTo>
                  <a:lnTo>
                    <a:pt x="441" y="784"/>
                  </a:lnTo>
                  <a:lnTo>
                    <a:pt x="435" y="784"/>
                  </a:lnTo>
                  <a:lnTo>
                    <a:pt x="441" y="790"/>
                  </a:lnTo>
                  <a:lnTo>
                    <a:pt x="441" y="796"/>
                  </a:lnTo>
                  <a:lnTo>
                    <a:pt x="447" y="796"/>
                  </a:lnTo>
                  <a:lnTo>
                    <a:pt x="453" y="796"/>
                  </a:lnTo>
                  <a:lnTo>
                    <a:pt x="459" y="796"/>
                  </a:lnTo>
                  <a:lnTo>
                    <a:pt x="465" y="784"/>
                  </a:lnTo>
                  <a:lnTo>
                    <a:pt x="465" y="778"/>
                  </a:lnTo>
                  <a:lnTo>
                    <a:pt x="465" y="771"/>
                  </a:lnTo>
                  <a:lnTo>
                    <a:pt x="472" y="765"/>
                  </a:lnTo>
                  <a:lnTo>
                    <a:pt x="478" y="759"/>
                  </a:lnTo>
                  <a:lnTo>
                    <a:pt x="484" y="753"/>
                  </a:lnTo>
                  <a:lnTo>
                    <a:pt x="484" y="747"/>
                  </a:lnTo>
                  <a:lnTo>
                    <a:pt x="484" y="741"/>
                  </a:lnTo>
                  <a:lnTo>
                    <a:pt x="484" y="729"/>
                  </a:lnTo>
                  <a:lnTo>
                    <a:pt x="484" y="722"/>
                  </a:lnTo>
                  <a:lnTo>
                    <a:pt x="490" y="716"/>
                  </a:lnTo>
                  <a:lnTo>
                    <a:pt x="496" y="710"/>
                  </a:lnTo>
                  <a:lnTo>
                    <a:pt x="502" y="710"/>
                  </a:lnTo>
                  <a:lnTo>
                    <a:pt x="508" y="710"/>
                  </a:lnTo>
                  <a:lnTo>
                    <a:pt x="515" y="704"/>
                  </a:lnTo>
                  <a:lnTo>
                    <a:pt x="515" y="698"/>
                  </a:lnTo>
                  <a:lnTo>
                    <a:pt x="508" y="698"/>
                  </a:lnTo>
                  <a:lnTo>
                    <a:pt x="508" y="673"/>
                  </a:lnTo>
                  <a:lnTo>
                    <a:pt x="515" y="667"/>
                  </a:lnTo>
                  <a:lnTo>
                    <a:pt x="508" y="667"/>
                  </a:lnTo>
                  <a:lnTo>
                    <a:pt x="502" y="661"/>
                  </a:lnTo>
                  <a:lnTo>
                    <a:pt x="496" y="655"/>
                  </a:lnTo>
                  <a:lnTo>
                    <a:pt x="490" y="649"/>
                  </a:lnTo>
                  <a:lnTo>
                    <a:pt x="484" y="649"/>
                  </a:lnTo>
                  <a:lnTo>
                    <a:pt x="478" y="643"/>
                  </a:lnTo>
                  <a:lnTo>
                    <a:pt x="478" y="631"/>
                  </a:lnTo>
                  <a:lnTo>
                    <a:pt x="484" y="631"/>
                  </a:lnTo>
                  <a:lnTo>
                    <a:pt x="484" y="624"/>
                  </a:lnTo>
                  <a:lnTo>
                    <a:pt x="484" y="618"/>
                  </a:lnTo>
                  <a:lnTo>
                    <a:pt x="484" y="612"/>
                  </a:lnTo>
                  <a:lnTo>
                    <a:pt x="490" y="606"/>
                  </a:lnTo>
                  <a:lnTo>
                    <a:pt x="490" y="600"/>
                  </a:lnTo>
                  <a:lnTo>
                    <a:pt x="496" y="594"/>
                  </a:lnTo>
                  <a:lnTo>
                    <a:pt x="496" y="588"/>
                  </a:lnTo>
                  <a:lnTo>
                    <a:pt x="496" y="582"/>
                  </a:lnTo>
                  <a:lnTo>
                    <a:pt x="502" y="575"/>
                  </a:lnTo>
                  <a:lnTo>
                    <a:pt x="508" y="569"/>
                  </a:lnTo>
                  <a:lnTo>
                    <a:pt x="515" y="569"/>
                  </a:lnTo>
                  <a:lnTo>
                    <a:pt x="515" y="575"/>
                  </a:lnTo>
                  <a:lnTo>
                    <a:pt x="521" y="575"/>
                  </a:lnTo>
                  <a:lnTo>
                    <a:pt x="515" y="575"/>
                  </a:lnTo>
                  <a:lnTo>
                    <a:pt x="515" y="582"/>
                  </a:lnTo>
                  <a:lnTo>
                    <a:pt x="521" y="582"/>
                  </a:lnTo>
                  <a:lnTo>
                    <a:pt x="527" y="588"/>
                  </a:lnTo>
                  <a:lnTo>
                    <a:pt x="539" y="588"/>
                  </a:lnTo>
                  <a:lnTo>
                    <a:pt x="545" y="588"/>
                  </a:lnTo>
                  <a:lnTo>
                    <a:pt x="551" y="594"/>
                  </a:lnTo>
                  <a:lnTo>
                    <a:pt x="551" y="600"/>
                  </a:lnTo>
                  <a:lnTo>
                    <a:pt x="551" y="606"/>
                  </a:lnTo>
                  <a:lnTo>
                    <a:pt x="551" y="612"/>
                  </a:lnTo>
                  <a:lnTo>
                    <a:pt x="557" y="612"/>
                  </a:lnTo>
                  <a:lnTo>
                    <a:pt x="551" y="612"/>
                  </a:lnTo>
                  <a:lnTo>
                    <a:pt x="551" y="618"/>
                  </a:lnTo>
                  <a:lnTo>
                    <a:pt x="557" y="618"/>
                  </a:lnTo>
                  <a:lnTo>
                    <a:pt x="557" y="624"/>
                  </a:lnTo>
                  <a:lnTo>
                    <a:pt x="564" y="631"/>
                  </a:lnTo>
                  <a:lnTo>
                    <a:pt x="570" y="631"/>
                  </a:lnTo>
                  <a:lnTo>
                    <a:pt x="570" y="637"/>
                  </a:lnTo>
                  <a:lnTo>
                    <a:pt x="570" y="631"/>
                  </a:lnTo>
                  <a:lnTo>
                    <a:pt x="576" y="624"/>
                  </a:lnTo>
                  <a:lnTo>
                    <a:pt x="570" y="624"/>
                  </a:lnTo>
                  <a:lnTo>
                    <a:pt x="576" y="618"/>
                  </a:lnTo>
                  <a:lnTo>
                    <a:pt x="576" y="612"/>
                  </a:lnTo>
                  <a:lnTo>
                    <a:pt x="576" y="606"/>
                  </a:lnTo>
                  <a:lnTo>
                    <a:pt x="576" y="600"/>
                  </a:lnTo>
                  <a:lnTo>
                    <a:pt x="576" y="594"/>
                  </a:lnTo>
                  <a:lnTo>
                    <a:pt x="576" y="588"/>
                  </a:lnTo>
                  <a:lnTo>
                    <a:pt x="570" y="588"/>
                  </a:lnTo>
                  <a:lnTo>
                    <a:pt x="570" y="582"/>
                  </a:lnTo>
                  <a:lnTo>
                    <a:pt x="564" y="575"/>
                  </a:lnTo>
                  <a:lnTo>
                    <a:pt x="557" y="569"/>
                  </a:lnTo>
                  <a:lnTo>
                    <a:pt x="557" y="563"/>
                  </a:lnTo>
                  <a:lnTo>
                    <a:pt x="551" y="557"/>
                  </a:lnTo>
                  <a:lnTo>
                    <a:pt x="551" y="563"/>
                  </a:lnTo>
                  <a:lnTo>
                    <a:pt x="551" y="557"/>
                  </a:lnTo>
                  <a:lnTo>
                    <a:pt x="545" y="557"/>
                  </a:lnTo>
                  <a:lnTo>
                    <a:pt x="539" y="551"/>
                  </a:lnTo>
                  <a:lnTo>
                    <a:pt x="533" y="545"/>
                  </a:lnTo>
                  <a:lnTo>
                    <a:pt x="527" y="545"/>
                  </a:lnTo>
                  <a:lnTo>
                    <a:pt x="527" y="539"/>
                  </a:lnTo>
                  <a:lnTo>
                    <a:pt x="521" y="539"/>
                  </a:lnTo>
                  <a:lnTo>
                    <a:pt x="521" y="533"/>
                  </a:lnTo>
                  <a:lnTo>
                    <a:pt x="515" y="533"/>
                  </a:lnTo>
                  <a:lnTo>
                    <a:pt x="515" y="526"/>
                  </a:lnTo>
                  <a:lnTo>
                    <a:pt x="508" y="526"/>
                  </a:lnTo>
                  <a:lnTo>
                    <a:pt x="508" y="520"/>
                  </a:lnTo>
                  <a:lnTo>
                    <a:pt x="490" y="514"/>
                  </a:lnTo>
                  <a:lnTo>
                    <a:pt x="484" y="514"/>
                  </a:lnTo>
                  <a:lnTo>
                    <a:pt x="478" y="508"/>
                  </a:lnTo>
                  <a:lnTo>
                    <a:pt x="478" y="502"/>
                  </a:lnTo>
                  <a:lnTo>
                    <a:pt x="472" y="502"/>
                  </a:lnTo>
                  <a:lnTo>
                    <a:pt x="465" y="502"/>
                  </a:lnTo>
                  <a:lnTo>
                    <a:pt x="459" y="496"/>
                  </a:lnTo>
                  <a:lnTo>
                    <a:pt x="459" y="490"/>
                  </a:lnTo>
                  <a:lnTo>
                    <a:pt x="453" y="490"/>
                  </a:lnTo>
                  <a:lnTo>
                    <a:pt x="453" y="484"/>
                  </a:lnTo>
                  <a:lnTo>
                    <a:pt x="453" y="477"/>
                  </a:lnTo>
                  <a:lnTo>
                    <a:pt x="453" y="471"/>
                  </a:lnTo>
                  <a:lnTo>
                    <a:pt x="459" y="471"/>
                  </a:lnTo>
                  <a:lnTo>
                    <a:pt x="465" y="465"/>
                  </a:lnTo>
                  <a:lnTo>
                    <a:pt x="465" y="459"/>
                  </a:lnTo>
                  <a:lnTo>
                    <a:pt x="465" y="453"/>
                  </a:lnTo>
                  <a:lnTo>
                    <a:pt x="459" y="447"/>
                  </a:lnTo>
                  <a:lnTo>
                    <a:pt x="441" y="447"/>
                  </a:lnTo>
                  <a:lnTo>
                    <a:pt x="435" y="447"/>
                  </a:lnTo>
                  <a:lnTo>
                    <a:pt x="429" y="447"/>
                  </a:lnTo>
                  <a:lnTo>
                    <a:pt x="423" y="447"/>
                  </a:lnTo>
                  <a:lnTo>
                    <a:pt x="416" y="447"/>
                  </a:lnTo>
                  <a:lnTo>
                    <a:pt x="404" y="441"/>
                  </a:lnTo>
                  <a:lnTo>
                    <a:pt x="398" y="441"/>
                  </a:lnTo>
                  <a:lnTo>
                    <a:pt x="392" y="435"/>
                  </a:lnTo>
                  <a:lnTo>
                    <a:pt x="392" y="428"/>
                  </a:lnTo>
                  <a:lnTo>
                    <a:pt x="386" y="422"/>
                  </a:lnTo>
                  <a:lnTo>
                    <a:pt x="380" y="416"/>
                  </a:lnTo>
                  <a:lnTo>
                    <a:pt x="374" y="410"/>
                  </a:lnTo>
                  <a:lnTo>
                    <a:pt x="367" y="404"/>
                  </a:lnTo>
                  <a:lnTo>
                    <a:pt x="367" y="398"/>
                  </a:lnTo>
                  <a:lnTo>
                    <a:pt x="361" y="386"/>
                  </a:lnTo>
                  <a:lnTo>
                    <a:pt x="355" y="379"/>
                  </a:lnTo>
                  <a:lnTo>
                    <a:pt x="355" y="373"/>
                  </a:lnTo>
                  <a:lnTo>
                    <a:pt x="355" y="367"/>
                  </a:lnTo>
                  <a:lnTo>
                    <a:pt x="349" y="355"/>
                  </a:lnTo>
                  <a:lnTo>
                    <a:pt x="349" y="349"/>
                  </a:lnTo>
                  <a:lnTo>
                    <a:pt x="349" y="337"/>
                  </a:lnTo>
                  <a:lnTo>
                    <a:pt x="343" y="330"/>
                  </a:lnTo>
                  <a:lnTo>
                    <a:pt x="343" y="324"/>
                  </a:lnTo>
                  <a:lnTo>
                    <a:pt x="343" y="318"/>
                  </a:lnTo>
                  <a:lnTo>
                    <a:pt x="337" y="312"/>
                  </a:lnTo>
                  <a:lnTo>
                    <a:pt x="337" y="306"/>
                  </a:lnTo>
                  <a:lnTo>
                    <a:pt x="331" y="306"/>
                  </a:lnTo>
                  <a:lnTo>
                    <a:pt x="325" y="300"/>
                  </a:lnTo>
                  <a:lnTo>
                    <a:pt x="318" y="294"/>
                  </a:lnTo>
                  <a:lnTo>
                    <a:pt x="312" y="288"/>
                  </a:lnTo>
                  <a:lnTo>
                    <a:pt x="306" y="288"/>
                  </a:lnTo>
                  <a:lnTo>
                    <a:pt x="306" y="281"/>
                  </a:lnTo>
                  <a:lnTo>
                    <a:pt x="300" y="275"/>
                  </a:lnTo>
                  <a:lnTo>
                    <a:pt x="294" y="269"/>
                  </a:lnTo>
                  <a:lnTo>
                    <a:pt x="282" y="257"/>
                  </a:lnTo>
                  <a:lnTo>
                    <a:pt x="276" y="245"/>
                  </a:lnTo>
                  <a:lnTo>
                    <a:pt x="276" y="239"/>
                  </a:lnTo>
                  <a:lnTo>
                    <a:pt x="276" y="232"/>
                  </a:lnTo>
                  <a:lnTo>
                    <a:pt x="269" y="232"/>
                  </a:lnTo>
                  <a:lnTo>
                    <a:pt x="269" y="226"/>
                  </a:lnTo>
                  <a:lnTo>
                    <a:pt x="276" y="220"/>
                  </a:lnTo>
                  <a:lnTo>
                    <a:pt x="269" y="220"/>
                  </a:lnTo>
                  <a:lnTo>
                    <a:pt x="269" y="214"/>
                  </a:lnTo>
                  <a:lnTo>
                    <a:pt x="269" y="208"/>
                  </a:lnTo>
                  <a:lnTo>
                    <a:pt x="269" y="202"/>
                  </a:lnTo>
                  <a:lnTo>
                    <a:pt x="276" y="20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7" name="Freeform 188"/>
            <p:cNvSpPr>
              <a:spLocks/>
            </p:cNvSpPr>
            <p:nvPr/>
          </p:nvSpPr>
          <p:spPr bwMode="auto">
            <a:xfrm>
              <a:off x="3962724" y="5403584"/>
              <a:ext cx="9701" cy="8779"/>
            </a:xfrm>
            <a:custGeom>
              <a:avLst/>
              <a:gdLst>
                <a:gd name="T0" fmla="*/ 15120939 w 6"/>
                <a:gd name="T1" fmla="*/ 15120939 h 6"/>
                <a:gd name="T2" fmla="*/ 0 w 6"/>
                <a:gd name="T3" fmla="*/ 15120939 h 6"/>
                <a:gd name="T4" fmla="*/ 15120939 w 6"/>
                <a:gd name="T5" fmla="*/ 0 h 6"/>
                <a:gd name="T6" fmla="*/ 15120939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6"/>
                  </a:moveTo>
                  <a:lnTo>
                    <a:pt x="0" y="6"/>
                  </a:lnTo>
                  <a:lnTo>
                    <a:pt x="6" y="0"/>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8" name="Freeform 189"/>
            <p:cNvSpPr>
              <a:spLocks/>
            </p:cNvSpPr>
            <p:nvPr/>
          </p:nvSpPr>
          <p:spPr bwMode="auto">
            <a:xfrm>
              <a:off x="3962724" y="6129329"/>
              <a:ext cx="257067" cy="206310"/>
            </a:xfrm>
            <a:custGeom>
              <a:avLst/>
              <a:gdLst>
                <a:gd name="T0" fmla="*/ 75604534 w 159"/>
                <a:gd name="T1" fmla="*/ 47882060 h 141"/>
                <a:gd name="T2" fmla="*/ 75604534 w 159"/>
                <a:gd name="T3" fmla="*/ 15120903 h 141"/>
                <a:gd name="T4" fmla="*/ 108365718 w 159"/>
                <a:gd name="T5" fmla="*/ 15120903 h 141"/>
                <a:gd name="T6" fmla="*/ 123486620 w 159"/>
                <a:gd name="T7" fmla="*/ 32761163 h 141"/>
                <a:gd name="T8" fmla="*/ 138607522 w 159"/>
                <a:gd name="T9" fmla="*/ 32761163 h 141"/>
                <a:gd name="T10" fmla="*/ 138607522 w 159"/>
                <a:gd name="T11" fmla="*/ 63002969 h 141"/>
                <a:gd name="T12" fmla="*/ 168849325 w 159"/>
                <a:gd name="T13" fmla="*/ 78123866 h 141"/>
                <a:gd name="T14" fmla="*/ 183970227 w 159"/>
                <a:gd name="T15" fmla="*/ 63002969 h 141"/>
                <a:gd name="T16" fmla="*/ 214212080 w 159"/>
                <a:gd name="T17" fmla="*/ 63002969 h 141"/>
                <a:gd name="T18" fmla="*/ 246974828 w 159"/>
                <a:gd name="T19" fmla="*/ 63002969 h 141"/>
                <a:gd name="T20" fmla="*/ 262095729 w 159"/>
                <a:gd name="T21" fmla="*/ 47882060 h 141"/>
                <a:gd name="T22" fmla="*/ 292337533 w 159"/>
                <a:gd name="T23" fmla="*/ 32761163 h 141"/>
                <a:gd name="T24" fmla="*/ 307458435 w 159"/>
                <a:gd name="T25" fmla="*/ 32761163 h 141"/>
                <a:gd name="T26" fmla="*/ 337700238 w 159"/>
                <a:gd name="T27" fmla="*/ 32761163 h 141"/>
                <a:gd name="T28" fmla="*/ 337700238 w 159"/>
                <a:gd name="T29" fmla="*/ 0 h 141"/>
                <a:gd name="T30" fmla="*/ 355340496 w 159"/>
                <a:gd name="T31" fmla="*/ 15120903 h 141"/>
                <a:gd name="T32" fmla="*/ 385582300 w 159"/>
                <a:gd name="T33" fmla="*/ 0 h 141"/>
                <a:gd name="T34" fmla="*/ 385582300 w 159"/>
                <a:gd name="T35" fmla="*/ 15120903 h 141"/>
                <a:gd name="T36" fmla="*/ 355340496 w 159"/>
                <a:gd name="T37" fmla="*/ 93244764 h 141"/>
                <a:gd name="T38" fmla="*/ 337700238 w 159"/>
                <a:gd name="T39" fmla="*/ 108365686 h 141"/>
                <a:gd name="T40" fmla="*/ 337700238 w 159"/>
                <a:gd name="T41" fmla="*/ 138607480 h 141"/>
                <a:gd name="T42" fmla="*/ 322579336 w 159"/>
                <a:gd name="T43" fmla="*/ 171370218 h 141"/>
                <a:gd name="T44" fmla="*/ 322579336 w 159"/>
                <a:gd name="T45" fmla="*/ 216732959 h 141"/>
                <a:gd name="T46" fmla="*/ 337700238 w 159"/>
                <a:gd name="T47" fmla="*/ 231853856 h 141"/>
                <a:gd name="T48" fmla="*/ 355340496 w 159"/>
                <a:gd name="T49" fmla="*/ 262095650 h 141"/>
                <a:gd name="T50" fmla="*/ 355340496 w 159"/>
                <a:gd name="T51" fmla="*/ 262095650 h 141"/>
                <a:gd name="T52" fmla="*/ 337700238 w 159"/>
                <a:gd name="T53" fmla="*/ 279735903 h 141"/>
                <a:gd name="T54" fmla="*/ 322579336 w 159"/>
                <a:gd name="T55" fmla="*/ 309977698 h 141"/>
                <a:gd name="T56" fmla="*/ 322579336 w 159"/>
                <a:gd name="T57" fmla="*/ 340219492 h 141"/>
                <a:gd name="T58" fmla="*/ 307458435 w 159"/>
                <a:gd name="T59" fmla="*/ 355340389 h 141"/>
                <a:gd name="T60" fmla="*/ 277216631 w 159"/>
                <a:gd name="T61" fmla="*/ 340219492 h 141"/>
                <a:gd name="T62" fmla="*/ 262095729 w 159"/>
                <a:gd name="T63" fmla="*/ 325098595 h 141"/>
                <a:gd name="T64" fmla="*/ 246974828 w 159"/>
                <a:gd name="T65" fmla="*/ 309977698 h 141"/>
                <a:gd name="T66" fmla="*/ 231853926 w 159"/>
                <a:gd name="T67" fmla="*/ 279735903 h 141"/>
                <a:gd name="T68" fmla="*/ 199091129 w 159"/>
                <a:gd name="T69" fmla="*/ 262095650 h 141"/>
                <a:gd name="T70" fmla="*/ 168849325 w 159"/>
                <a:gd name="T71" fmla="*/ 246974753 h 141"/>
                <a:gd name="T72" fmla="*/ 153728424 w 159"/>
                <a:gd name="T73" fmla="*/ 231853856 h 141"/>
                <a:gd name="T74" fmla="*/ 138607522 w 159"/>
                <a:gd name="T75" fmla="*/ 216732959 h 141"/>
                <a:gd name="T76" fmla="*/ 123486620 w 159"/>
                <a:gd name="T77" fmla="*/ 201612012 h 141"/>
                <a:gd name="T78" fmla="*/ 108365718 w 159"/>
                <a:gd name="T79" fmla="*/ 186491115 h 141"/>
                <a:gd name="T80" fmla="*/ 75604534 w 159"/>
                <a:gd name="T81" fmla="*/ 171370218 h 141"/>
                <a:gd name="T82" fmla="*/ 30241816 w 159"/>
                <a:gd name="T83" fmla="*/ 156249320 h 141"/>
                <a:gd name="T84" fmla="*/ 15120908 w 159"/>
                <a:gd name="T85" fmla="*/ 138607480 h 141"/>
                <a:gd name="T86" fmla="*/ 0 w 159"/>
                <a:gd name="T87" fmla="*/ 108365686 h 141"/>
                <a:gd name="T88" fmla="*/ 0 w 159"/>
                <a:gd name="T89" fmla="*/ 78123866 h 141"/>
                <a:gd name="T90" fmla="*/ 15120908 w 159"/>
                <a:gd name="T91" fmla="*/ 47882060 h 141"/>
                <a:gd name="T92" fmla="*/ 30241816 w 159"/>
                <a:gd name="T93" fmla="*/ 15120903 h 141"/>
                <a:gd name="T94" fmla="*/ 45362718 w 159"/>
                <a:gd name="T95" fmla="*/ 32761163 h 141"/>
                <a:gd name="T96" fmla="*/ 60483632 w 159"/>
                <a:gd name="T97" fmla="*/ 47882060 h 141"/>
                <a:gd name="T98" fmla="*/ 75604534 w 159"/>
                <a:gd name="T99" fmla="*/ 63002969 h 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9"/>
                <a:gd name="T151" fmla="*/ 0 h 141"/>
                <a:gd name="T152" fmla="*/ 159 w 159"/>
                <a:gd name="T153" fmla="*/ 141 h 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9" h="141">
                  <a:moveTo>
                    <a:pt x="30" y="25"/>
                  </a:moveTo>
                  <a:lnTo>
                    <a:pt x="30" y="19"/>
                  </a:lnTo>
                  <a:lnTo>
                    <a:pt x="30" y="13"/>
                  </a:lnTo>
                  <a:lnTo>
                    <a:pt x="30" y="6"/>
                  </a:lnTo>
                  <a:lnTo>
                    <a:pt x="36" y="6"/>
                  </a:lnTo>
                  <a:lnTo>
                    <a:pt x="43" y="6"/>
                  </a:lnTo>
                  <a:lnTo>
                    <a:pt x="43" y="13"/>
                  </a:lnTo>
                  <a:lnTo>
                    <a:pt x="49" y="13"/>
                  </a:lnTo>
                  <a:lnTo>
                    <a:pt x="49" y="19"/>
                  </a:lnTo>
                  <a:lnTo>
                    <a:pt x="55" y="13"/>
                  </a:lnTo>
                  <a:lnTo>
                    <a:pt x="55" y="19"/>
                  </a:lnTo>
                  <a:lnTo>
                    <a:pt x="55" y="25"/>
                  </a:lnTo>
                  <a:lnTo>
                    <a:pt x="61" y="25"/>
                  </a:lnTo>
                  <a:lnTo>
                    <a:pt x="67" y="31"/>
                  </a:lnTo>
                  <a:lnTo>
                    <a:pt x="67" y="25"/>
                  </a:lnTo>
                  <a:lnTo>
                    <a:pt x="73" y="25"/>
                  </a:lnTo>
                  <a:lnTo>
                    <a:pt x="79" y="25"/>
                  </a:lnTo>
                  <a:lnTo>
                    <a:pt x="85" y="25"/>
                  </a:lnTo>
                  <a:lnTo>
                    <a:pt x="92" y="25"/>
                  </a:lnTo>
                  <a:lnTo>
                    <a:pt x="98" y="25"/>
                  </a:lnTo>
                  <a:lnTo>
                    <a:pt x="104" y="25"/>
                  </a:lnTo>
                  <a:lnTo>
                    <a:pt x="104" y="19"/>
                  </a:lnTo>
                  <a:lnTo>
                    <a:pt x="110" y="13"/>
                  </a:lnTo>
                  <a:lnTo>
                    <a:pt x="116" y="13"/>
                  </a:lnTo>
                  <a:lnTo>
                    <a:pt x="122" y="6"/>
                  </a:lnTo>
                  <a:lnTo>
                    <a:pt x="122" y="13"/>
                  </a:lnTo>
                  <a:lnTo>
                    <a:pt x="128" y="13"/>
                  </a:lnTo>
                  <a:lnTo>
                    <a:pt x="134" y="13"/>
                  </a:lnTo>
                  <a:lnTo>
                    <a:pt x="134" y="6"/>
                  </a:lnTo>
                  <a:lnTo>
                    <a:pt x="134" y="0"/>
                  </a:lnTo>
                  <a:lnTo>
                    <a:pt x="134" y="6"/>
                  </a:lnTo>
                  <a:lnTo>
                    <a:pt x="141" y="6"/>
                  </a:lnTo>
                  <a:lnTo>
                    <a:pt x="147" y="0"/>
                  </a:lnTo>
                  <a:lnTo>
                    <a:pt x="153" y="0"/>
                  </a:lnTo>
                  <a:lnTo>
                    <a:pt x="159" y="0"/>
                  </a:lnTo>
                  <a:lnTo>
                    <a:pt x="153" y="6"/>
                  </a:lnTo>
                  <a:lnTo>
                    <a:pt x="141" y="31"/>
                  </a:lnTo>
                  <a:lnTo>
                    <a:pt x="141" y="37"/>
                  </a:lnTo>
                  <a:lnTo>
                    <a:pt x="141" y="43"/>
                  </a:lnTo>
                  <a:lnTo>
                    <a:pt x="134" y="43"/>
                  </a:lnTo>
                  <a:lnTo>
                    <a:pt x="134" y="49"/>
                  </a:lnTo>
                  <a:lnTo>
                    <a:pt x="134" y="55"/>
                  </a:lnTo>
                  <a:lnTo>
                    <a:pt x="134" y="62"/>
                  </a:lnTo>
                  <a:lnTo>
                    <a:pt x="128" y="68"/>
                  </a:lnTo>
                  <a:lnTo>
                    <a:pt x="128" y="80"/>
                  </a:lnTo>
                  <a:lnTo>
                    <a:pt x="128" y="86"/>
                  </a:lnTo>
                  <a:lnTo>
                    <a:pt x="134" y="86"/>
                  </a:lnTo>
                  <a:lnTo>
                    <a:pt x="134" y="92"/>
                  </a:lnTo>
                  <a:lnTo>
                    <a:pt x="134" y="98"/>
                  </a:lnTo>
                  <a:lnTo>
                    <a:pt x="141" y="104"/>
                  </a:lnTo>
                  <a:lnTo>
                    <a:pt x="141" y="111"/>
                  </a:lnTo>
                  <a:lnTo>
                    <a:pt x="141" y="104"/>
                  </a:lnTo>
                  <a:lnTo>
                    <a:pt x="141" y="111"/>
                  </a:lnTo>
                  <a:lnTo>
                    <a:pt x="134" y="111"/>
                  </a:lnTo>
                  <a:lnTo>
                    <a:pt x="134" y="117"/>
                  </a:lnTo>
                  <a:lnTo>
                    <a:pt x="128" y="123"/>
                  </a:lnTo>
                  <a:lnTo>
                    <a:pt x="128" y="129"/>
                  </a:lnTo>
                  <a:lnTo>
                    <a:pt x="128" y="135"/>
                  </a:lnTo>
                  <a:lnTo>
                    <a:pt x="128" y="141"/>
                  </a:lnTo>
                  <a:lnTo>
                    <a:pt x="122" y="141"/>
                  </a:lnTo>
                  <a:lnTo>
                    <a:pt x="116" y="135"/>
                  </a:lnTo>
                  <a:lnTo>
                    <a:pt x="110" y="135"/>
                  </a:lnTo>
                  <a:lnTo>
                    <a:pt x="104" y="135"/>
                  </a:lnTo>
                  <a:lnTo>
                    <a:pt x="104" y="129"/>
                  </a:lnTo>
                  <a:lnTo>
                    <a:pt x="98" y="129"/>
                  </a:lnTo>
                  <a:lnTo>
                    <a:pt x="98" y="123"/>
                  </a:lnTo>
                  <a:lnTo>
                    <a:pt x="92" y="117"/>
                  </a:lnTo>
                  <a:lnTo>
                    <a:pt x="92" y="111"/>
                  </a:lnTo>
                  <a:lnTo>
                    <a:pt x="85" y="104"/>
                  </a:lnTo>
                  <a:lnTo>
                    <a:pt x="79" y="104"/>
                  </a:lnTo>
                  <a:lnTo>
                    <a:pt x="73" y="104"/>
                  </a:lnTo>
                  <a:lnTo>
                    <a:pt x="67" y="98"/>
                  </a:lnTo>
                  <a:lnTo>
                    <a:pt x="61" y="98"/>
                  </a:lnTo>
                  <a:lnTo>
                    <a:pt x="61" y="92"/>
                  </a:lnTo>
                  <a:lnTo>
                    <a:pt x="55" y="92"/>
                  </a:lnTo>
                  <a:lnTo>
                    <a:pt x="55" y="86"/>
                  </a:lnTo>
                  <a:lnTo>
                    <a:pt x="49" y="86"/>
                  </a:lnTo>
                  <a:lnTo>
                    <a:pt x="49" y="80"/>
                  </a:lnTo>
                  <a:lnTo>
                    <a:pt x="43" y="80"/>
                  </a:lnTo>
                  <a:lnTo>
                    <a:pt x="43" y="74"/>
                  </a:lnTo>
                  <a:lnTo>
                    <a:pt x="36" y="74"/>
                  </a:lnTo>
                  <a:lnTo>
                    <a:pt x="30" y="68"/>
                  </a:lnTo>
                  <a:lnTo>
                    <a:pt x="24" y="62"/>
                  </a:lnTo>
                  <a:lnTo>
                    <a:pt x="12" y="62"/>
                  </a:lnTo>
                  <a:lnTo>
                    <a:pt x="12" y="55"/>
                  </a:lnTo>
                  <a:lnTo>
                    <a:pt x="6" y="55"/>
                  </a:lnTo>
                  <a:lnTo>
                    <a:pt x="0" y="49"/>
                  </a:lnTo>
                  <a:lnTo>
                    <a:pt x="0" y="43"/>
                  </a:lnTo>
                  <a:lnTo>
                    <a:pt x="0" y="37"/>
                  </a:lnTo>
                  <a:lnTo>
                    <a:pt x="0" y="31"/>
                  </a:lnTo>
                  <a:lnTo>
                    <a:pt x="6" y="25"/>
                  </a:lnTo>
                  <a:lnTo>
                    <a:pt x="6" y="19"/>
                  </a:lnTo>
                  <a:lnTo>
                    <a:pt x="12" y="13"/>
                  </a:lnTo>
                  <a:lnTo>
                    <a:pt x="12" y="6"/>
                  </a:lnTo>
                  <a:lnTo>
                    <a:pt x="12" y="13"/>
                  </a:lnTo>
                  <a:lnTo>
                    <a:pt x="18" y="13"/>
                  </a:lnTo>
                  <a:lnTo>
                    <a:pt x="18" y="19"/>
                  </a:lnTo>
                  <a:lnTo>
                    <a:pt x="24" y="19"/>
                  </a:lnTo>
                  <a:lnTo>
                    <a:pt x="24" y="25"/>
                  </a:lnTo>
                  <a:lnTo>
                    <a:pt x="30" y="2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69" name="Freeform 190"/>
            <p:cNvSpPr>
              <a:spLocks/>
            </p:cNvSpPr>
            <p:nvPr/>
          </p:nvSpPr>
          <p:spPr bwMode="auto">
            <a:xfrm>
              <a:off x="3624817" y="5753287"/>
              <a:ext cx="129342" cy="295566"/>
            </a:xfrm>
            <a:custGeom>
              <a:avLst/>
              <a:gdLst>
                <a:gd name="T0" fmla="*/ 32761237 w 80"/>
                <a:gd name="T1" fmla="*/ 186491556 h 202"/>
                <a:gd name="T2" fmla="*/ 32761237 w 80"/>
                <a:gd name="T3" fmla="*/ 231854404 h 202"/>
                <a:gd name="T4" fmla="*/ 32761237 w 80"/>
                <a:gd name="T5" fmla="*/ 262096270 h 202"/>
                <a:gd name="T6" fmla="*/ 32761237 w 80"/>
                <a:gd name="T7" fmla="*/ 262096270 h 202"/>
                <a:gd name="T8" fmla="*/ 32761237 w 80"/>
                <a:gd name="T9" fmla="*/ 292338136 h 202"/>
                <a:gd name="T10" fmla="*/ 47883757 w 80"/>
                <a:gd name="T11" fmla="*/ 309978431 h 202"/>
                <a:gd name="T12" fmla="*/ 63003113 w 80"/>
                <a:gd name="T13" fmla="*/ 340221884 h 202"/>
                <a:gd name="T14" fmla="*/ 32761237 w 80"/>
                <a:gd name="T15" fmla="*/ 325100951 h 202"/>
                <a:gd name="T16" fmla="*/ 32761237 w 80"/>
                <a:gd name="T17" fmla="*/ 370463750 h 202"/>
                <a:gd name="T18" fmla="*/ 32761237 w 80"/>
                <a:gd name="T19" fmla="*/ 448587875 h 202"/>
                <a:gd name="T20" fmla="*/ 47883757 w 80"/>
                <a:gd name="T21" fmla="*/ 463708808 h 202"/>
                <a:gd name="T22" fmla="*/ 47883757 w 80"/>
                <a:gd name="T23" fmla="*/ 493950674 h 202"/>
                <a:gd name="T24" fmla="*/ 78124045 w 80"/>
                <a:gd name="T25" fmla="*/ 509071607 h 202"/>
                <a:gd name="T26" fmla="*/ 93246564 w 80"/>
                <a:gd name="T27" fmla="*/ 493950674 h 202"/>
                <a:gd name="T28" fmla="*/ 108365933 w 80"/>
                <a:gd name="T29" fmla="*/ 478829741 h 202"/>
                <a:gd name="T30" fmla="*/ 108365933 w 80"/>
                <a:gd name="T31" fmla="*/ 448587875 h 202"/>
                <a:gd name="T32" fmla="*/ 123486865 w 80"/>
                <a:gd name="T33" fmla="*/ 433466942 h 202"/>
                <a:gd name="T34" fmla="*/ 141128746 w 80"/>
                <a:gd name="T35" fmla="*/ 448587875 h 202"/>
                <a:gd name="T36" fmla="*/ 171370609 w 80"/>
                <a:gd name="T37" fmla="*/ 463708808 h 202"/>
                <a:gd name="T38" fmla="*/ 171370609 w 80"/>
                <a:gd name="T39" fmla="*/ 433466942 h 202"/>
                <a:gd name="T40" fmla="*/ 186491541 w 80"/>
                <a:gd name="T41" fmla="*/ 370463750 h 202"/>
                <a:gd name="T42" fmla="*/ 186491541 w 80"/>
                <a:gd name="T43" fmla="*/ 340221884 h 202"/>
                <a:gd name="T44" fmla="*/ 186491541 w 80"/>
                <a:gd name="T45" fmla="*/ 309978431 h 202"/>
                <a:gd name="T46" fmla="*/ 186491541 w 80"/>
                <a:gd name="T47" fmla="*/ 277217203 h 202"/>
                <a:gd name="T48" fmla="*/ 186491541 w 80"/>
                <a:gd name="T49" fmla="*/ 246975337 h 202"/>
                <a:gd name="T50" fmla="*/ 186491541 w 80"/>
                <a:gd name="T51" fmla="*/ 216733471 h 202"/>
                <a:gd name="T52" fmla="*/ 186491541 w 80"/>
                <a:gd name="T53" fmla="*/ 186491556 h 202"/>
                <a:gd name="T54" fmla="*/ 201612473 w 80"/>
                <a:gd name="T55" fmla="*/ 168851261 h 202"/>
                <a:gd name="T56" fmla="*/ 201612473 w 80"/>
                <a:gd name="T57" fmla="*/ 138607808 h 202"/>
                <a:gd name="T58" fmla="*/ 186491541 w 80"/>
                <a:gd name="T59" fmla="*/ 108367529 h 202"/>
                <a:gd name="T60" fmla="*/ 186491541 w 80"/>
                <a:gd name="T61" fmla="*/ 78124051 h 202"/>
                <a:gd name="T62" fmla="*/ 171370609 w 80"/>
                <a:gd name="T63" fmla="*/ 78124051 h 202"/>
                <a:gd name="T64" fmla="*/ 186491541 w 80"/>
                <a:gd name="T65" fmla="*/ 45362811 h 202"/>
                <a:gd name="T66" fmla="*/ 171370609 w 80"/>
                <a:gd name="T67" fmla="*/ 30241878 h 202"/>
                <a:gd name="T68" fmla="*/ 156249678 w 80"/>
                <a:gd name="T69" fmla="*/ 30241878 h 202"/>
                <a:gd name="T70" fmla="*/ 141128746 w 80"/>
                <a:gd name="T71" fmla="*/ 0 h 202"/>
                <a:gd name="T72" fmla="*/ 123486865 w 80"/>
                <a:gd name="T73" fmla="*/ 15120939 h 202"/>
                <a:gd name="T74" fmla="*/ 93246564 w 80"/>
                <a:gd name="T75" fmla="*/ 45362811 h 202"/>
                <a:gd name="T76" fmla="*/ 63003113 w 80"/>
                <a:gd name="T77" fmla="*/ 78124051 h 202"/>
                <a:gd name="T78" fmla="*/ 47883757 w 80"/>
                <a:gd name="T79" fmla="*/ 93246572 h 202"/>
                <a:gd name="T80" fmla="*/ 15120938 w 80"/>
                <a:gd name="T81" fmla="*/ 78124051 h 202"/>
                <a:gd name="T82" fmla="*/ 0 w 80"/>
                <a:gd name="T83" fmla="*/ 78124051 h 202"/>
                <a:gd name="T84" fmla="*/ 0 w 80"/>
                <a:gd name="T85" fmla="*/ 108367529 h 202"/>
                <a:gd name="T86" fmla="*/ 0 w 80"/>
                <a:gd name="T87" fmla="*/ 138607808 h 202"/>
                <a:gd name="T88" fmla="*/ 15120938 w 80"/>
                <a:gd name="T89" fmla="*/ 138607808 h 202"/>
                <a:gd name="T90" fmla="*/ 32761237 w 80"/>
                <a:gd name="T91" fmla="*/ 168851261 h 2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
                <a:gd name="T139" fmla="*/ 0 h 202"/>
                <a:gd name="T140" fmla="*/ 80 w 80"/>
                <a:gd name="T141" fmla="*/ 202 h 2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 h="202">
                  <a:moveTo>
                    <a:pt x="13" y="67"/>
                  </a:moveTo>
                  <a:lnTo>
                    <a:pt x="13" y="74"/>
                  </a:lnTo>
                  <a:lnTo>
                    <a:pt x="13" y="80"/>
                  </a:lnTo>
                  <a:lnTo>
                    <a:pt x="13" y="92"/>
                  </a:lnTo>
                  <a:lnTo>
                    <a:pt x="13" y="98"/>
                  </a:lnTo>
                  <a:lnTo>
                    <a:pt x="13" y="104"/>
                  </a:lnTo>
                  <a:lnTo>
                    <a:pt x="6" y="104"/>
                  </a:lnTo>
                  <a:lnTo>
                    <a:pt x="13" y="104"/>
                  </a:lnTo>
                  <a:lnTo>
                    <a:pt x="13" y="110"/>
                  </a:lnTo>
                  <a:lnTo>
                    <a:pt x="13" y="116"/>
                  </a:lnTo>
                  <a:lnTo>
                    <a:pt x="19" y="116"/>
                  </a:lnTo>
                  <a:lnTo>
                    <a:pt x="19" y="123"/>
                  </a:lnTo>
                  <a:lnTo>
                    <a:pt x="19" y="129"/>
                  </a:lnTo>
                  <a:lnTo>
                    <a:pt x="25" y="135"/>
                  </a:lnTo>
                  <a:lnTo>
                    <a:pt x="19" y="135"/>
                  </a:lnTo>
                  <a:lnTo>
                    <a:pt x="13" y="129"/>
                  </a:lnTo>
                  <a:lnTo>
                    <a:pt x="13" y="135"/>
                  </a:lnTo>
                  <a:lnTo>
                    <a:pt x="13" y="147"/>
                  </a:lnTo>
                  <a:lnTo>
                    <a:pt x="13" y="153"/>
                  </a:lnTo>
                  <a:lnTo>
                    <a:pt x="13" y="178"/>
                  </a:lnTo>
                  <a:lnTo>
                    <a:pt x="13" y="184"/>
                  </a:lnTo>
                  <a:lnTo>
                    <a:pt x="19" y="184"/>
                  </a:lnTo>
                  <a:lnTo>
                    <a:pt x="19" y="190"/>
                  </a:lnTo>
                  <a:lnTo>
                    <a:pt x="19" y="196"/>
                  </a:lnTo>
                  <a:lnTo>
                    <a:pt x="25" y="202"/>
                  </a:lnTo>
                  <a:lnTo>
                    <a:pt x="31" y="202"/>
                  </a:lnTo>
                  <a:lnTo>
                    <a:pt x="37" y="202"/>
                  </a:lnTo>
                  <a:lnTo>
                    <a:pt x="37" y="196"/>
                  </a:lnTo>
                  <a:lnTo>
                    <a:pt x="43" y="196"/>
                  </a:lnTo>
                  <a:lnTo>
                    <a:pt x="43" y="190"/>
                  </a:lnTo>
                  <a:lnTo>
                    <a:pt x="43" y="184"/>
                  </a:lnTo>
                  <a:lnTo>
                    <a:pt x="43" y="178"/>
                  </a:lnTo>
                  <a:lnTo>
                    <a:pt x="49" y="178"/>
                  </a:lnTo>
                  <a:lnTo>
                    <a:pt x="49" y="172"/>
                  </a:lnTo>
                  <a:lnTo>
                    <a:pt x="56" y="172"/>
                  </a:lnTo>
                  <a:lnTo>
                    <a:pt x="56" y="178"/>
                  </a:lnTo>
                  <a:lnTo>
                    <a:pt x="62" y="184"/>
                  </a:lnTo>
                  <a:lnTo>
                    <a:pt x="68" y="184"/>
                  </a:lnTo>
                  <a:lnTo>
                    <a:pt x="68" y="178"/>
                  </a:lnTo>
                  <a:lnTo>
                    <a:pt x="68" y="172"/>
                  </a:lnTo>
                  <a:lnTo>
                    <a:pt x="74" y="165"/>
                  </a:lnTo>
                  <a:lnTo>
                    <a:pt x="74" y="147"/>
                  </a:lnTo>
                  <a:lnTo>
                    <a:pt x="74" y="141"/>
                  </a:lnTo>
                  <a:lnTo>
                    <a:pt x="74" y="135"/>
                  </a:lnTo>
                  <a:lnTo>
                    <a:pt x="74" y="129"/>
                  </a:lnTo>
                  <a:lnTo>
                    <a:pt x="74" y="123"/>
                  </a:lnTo>
                  <a:lnTo>
                    <a:pt x="74" y="116"/>
                  </a:lnTo>
                  <a:lnTo>
                    <a:pt x="74" y="110"/>
                  </a:lnTo>
                  <a:lnTo>
                    <a:pt x="74" y="104"/>
                  </a:lnTo>
                  <a:lnTo>
                    <a:pt x="74" y="98"/>
                  </a:lnTo>
                  <a:lnTo>
                    <a:pt x="74" y="92"/>
                  </a:lnTo>
                  <a:lnTo>
                    <a:pt x="74" y="86"/>
                  </a:lnTo>
                  <a:lnTo>
                    <a:pt x="74" y="80"/>
                  </a:lnTo>
                  <a:lnTo>
                    <a:pt x="74" y="74"/>
                  </a:lnTo>
                  <a:lnTo>
                    <a:pt x="80" y="74"/>
                  </a:lnTo>
                  <a:lnTo>
                    <a:pt x="80" y="67"/>
                  </a:lnTo>
                  <a:lnTo>
                    <a:pt x="80" y="61"/>
                  </a:lnTo>
                  <a:lnTo>
                    <a:pt x="80" y="55"/>
                  </a:lnTo>
                  <a:lnTo>
                    <a:pt x="80" y="49"/>
                  </a:lnTo>
                  <a:lnTo>
                    <a:pt x="74" y="43"/>
                  </a:lnTo>
                  <a:lnTo>
                    <a:pt x="74" y="37"/>
                  </a:lnTo>
                  <a:lnTo>
                    <a:pt x="74" y="31"/>
                  </a:lnTo>
                  <a:lnTo>
                    <a:pt x="68" y="25"/>
                  </a:lnTo>
                  <a:lnTo>
                    <a:pt x="68" y="31"/>
                  </a:lnTo>
                  <a:lnTo>
                    <a:pt x="68" y="25"/>
                  </a:lnTo>
                  <a:lnTo>
                    <a:pt x="74" y="18"/>
                  </a:lnTo>
                  <a:lnTo>
                    <a:pt x="68" y="18"/>
                  </a:lnTo>
                  <a:lnTo>
                    <a:pt x="68" y="12"/>
                  </a:lnTo>
                  <a:lnTo>
                    <a:pt x="68" y="6"/>
                  </a:lnTo>
                  <a:lnTo>
                    <a:pt x="62" y="12"/>
                  </a:lnTo>
                  <a:lnTo>
                    <a:pt x="62" y="6"/>
                  </a:lnTo>
                  <a:lnTo>
                    <a:pt x="56" y="0"/>
                  </a:lnTo>
                  <a:lnTo>
                    <a:pt x="49" y="0"/>
                  </a:lnTo>
                  <a:lnTo>
                    <a:pt x="49" y="6"/>
                  </a:lnTo>
                  <a:lnTo>
                    <a:pt x="43" y="12"/>
                  </a:lnTo>
                  <a:lnTo>
                    <a:pt x="37" y="18"/>
                  </a:lnTo>
                  <a:lnTo>
                    <a:pt x="31" y="25"/>
                  </a:lnTo>
                  <a:lnTo>
                    <a:pt x="25" y="31"/>
                  </a:lnTo>
                  <a:lnTo>
                    <a:pt x="19" y="31"/>
                  </a:lnTo>
                  <a:lnTo>
                    <a:pt x="19" y="37"/>
                  </a:lnTo>
                  <a:lnTo>
                    <a:pt x="13" y="37"/>
                  </a:lnTo>
                  <a:lnTo>
                    <a:pt x="6" y="31"/>
                  </a:lnTo>
                  <a:lnTo>
                    <a:pt x="0" y="25"/>
                  </a:lnTo>
                  <a:lnTo>
                    <a:pt x="0" y="31"/>
                  </a:lnTo>
                  <a:lnTo>
                    <a:pt x="0" y="37"/>
                  </a:lnTo>
                  <a:lnTo>
                    <a:pt x="0" y="43"/>
                  </a:lnTo>
                  <a:lnTo>
                    <a:pt x="0" y="49"/>
                  </a:lnTo>
                  <a:lnTo>
                    <a:pt x="0" y="55"/>
                  </a:lnTo>
                  <a:lnTo>
                    <a:pt x="0" y="61"/>
                  </a:lnTo>
                  <a:lnTo>
                    <a:pt x="6" y="55"/>
                  </a:lnTo>
                  <a:lnTo>
                    <a:pt x="6" y="61"/>
                  </a:lnTo>
                  <a:lnTo>
                    <a:pt x="13" y="6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0" name="Freeform 191"/>
            <p:cNvSpPr>
              <a:spLocks/>
            </p:cNvSpPr>
            <p:nvPr/>
          </p:nvSpPr>
          <p:spPr bwMode="auto">
            <a:xfrm>
              <a:off x="3773561" y="5546977"/>
              <a:ext cx="30719" cy="17558"/>
            </a:xfrm>
            <a:custGeom>
              <a:avLst/>
              <a:gdLst>
                <a:gd name="T0" fmla="*/ 0 w 19"/>
                <a:gd name="T1" fmla="*/ 30241878 h 12"/>
                <a:gd name="T2" fmla="*/ 0 w 19"/>
                <a:gd name="T3" fmla="*/ 15120939 h 12"/>
                <a:gd name="T4" fmla="*/ 15121188 w 19"/>
                <a:gd name="T5" fmla="*/ 15120939 h 12"/>
                <a:gd name="T6" fmla="*/ 32763367 w 19"/>
                <a:gd name="T7" fmla="*/ 15120939 h 12"/>
                <a:gd name="T8" fmla="*/ 47884549 w 19"/>
                <a:gd name="T9" fmla="*/ 0 h 12"/>
                <a:gd name="T10" fmla="*/ 47884549 w 19"/>
                <a:gd name="T11" fmla="*/ 15120939 h 12"/>
                <a:gd name="T12" fmla="*/ 47884549 w 19"/>
                <a:gd name="T13" fmla="*/ 30241878 h 12"/>
                <a:gd name="T14" fmla="*/ 32763367 w 19"/>
                <a:gd name="T15" fmla="*/ 30241878 h 12"/>
                <a:gd name="T16" fmla="*/ 15121188 w 19"/>
                <a:gd name="T17" fmla="*/ 30241878 h 12"/>
                <a:gd name="T18" fmla="*/ 0 w 19"/>
                <a:gd name="T19" fmla="*/ 30241878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2"/>
                <a:gd name="T32" fmla="*/ 19 w 1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2">
                  <a:moveTo>
                    <a:pt x="0" y="12"/>
                  </a:moveTo>
                  <a:lnTo>
                    <a:pt x="0" y="6"/>
                  </a:lnTo>
                  <a:lnTo>
                    <a:pt x="6" y="6"/>
                  </a:lnTo>
                  <a:lnTo>
                    <a:pt x="13" y="6"/>
                  </a:lnTo>
                  <a:lnTo>
                    <a:pt x="19" y="0"/>
                  </a:lnTo>
                  <a:lnTo>
                    <a:pt x="19" y="6"/>
                  </a:lnTo>
                  <a:lnTo>
                    <a:pt x="19" y="12"/>
                  </a:lnTo>
                  <a:lnTo>
                    <a:pt x="13" y="12"/>
                  </a:lnTo>
                  <a:lnTo>
                    <a:pt x="6"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1" name="Freeform 192"/>
            <p:cNvSpPr>
              <a:spLocks/>
            </p:cNvSpPr>
            <p:nvPr/>
          </p:nvSpPr>
          <p:spPr bwMode="auto">
            <a:xfrm>
              <a:off x="3634518" y="6022515"/>
              <a:ext cx="11318" cy="17558"/>
            </a:xfrm>
            <a:custGeom>
              <a:avLst/>
              <a:gdLst>
                <a:gd name="T0" fmla="*/ 0 w 7"/>
                <a:gd name="T1" fmla="*/ 15120939 h 12"/>
                <a:gd name="T2" fmla="*/ 17642683 w 7"/>
                <a:gd name="T3" fmla="*/ 15120939 h 12"/>
                <a:gd name="T4" fmla="*/ 17642683 w 7"/>
                <a:gd name="T5" fmla="*/ 30241878 h 12"/>
                <a:gd name="T6" fmla="*/ 17642683 w 7"/>
                <a:gd name="T7" fmla="*/ 0 h 12"/>
                <a:gd name="T8" fmla="*/ 0 w 7"/>
                <a:gd name="T9" fmla="*/ 15120939 h 12"/>
                <a:gd name="T10" fmla="*/ 0 60000 65536"/>
                <a:gd name="T11" fmla="*/ 0 60000 65536"/>
                <a:gd name="T12" fmla="*/ 0 60000 65536"/>
                <a:gd name="T13" fmla="*/ 0 60000 65536"/>
                <a:gd name="T14" fmla="*/ 0 60000 65536"/>
                <a:gd name="T15" fmla="*/ 0 w 7"/>
                <a:gd name="T16" fmla="*/ 0 h 12"/>
                <a:gd name="T17" fmla="*/ 7 w 7"/>
                <a:gd name="T18" fmla="*/ 12 h 12"/>
              </a:gdLst>
              <a:ahLst/>
              <a:cxnLst>
                <a:cxn ang="T10">
                  <a:pos x="T0" y="T1"/>
                </a:cxn>
                <a:cxn ang="T11">
                  <a:pos x="T2" y="T3"/>
                </a:cxn>
                <a:cxn ang="T12">
                  <a:pos x="T4" y="T5"/>
                </a:cxn>
                <a:cxn ang="T13">
                  <a:pos x="T6" y="T7"/>
                </a:cxn>
                <a:cxn ang="T14">
                  <a:pos x="T8" y="T9"/>
                </a:cxn>
              </a:cxnLst>
              <a:rect l="T15" t="T16" r="T17" b="T18"/>
              <a:pathLst>
                <a:path w="7" h="12">
                  <a:moveTo>
                    <a:pt x="0" y="6"/>
                  </a:moveTo>
                  <a:lnTo>
                    <a:pt x="7" y="6"/>
                  </a:lnTo>
                  <a:lnTo>
                    <a:pt x="7" y="12"/>
                  </a:lnTo>
                  <a:lnTo>
                    <a:pt x="7"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2" name="Rectangle 193"/>
            <p:cNvSpPr>
              <a:spLocks noChangeArrowheads="1"/>
            </p:cNvSpPr>
            <p:nvPr/>
          </p:nvSpPr>
          <p:spPr bwMode="auto">
            <a:xfrm>
              <a:off x="4071048" y="5824984"/>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473" name="Freeform 194"/>
            <p:cNvSpPr>
              <a:spLocks/>
            </p:cNvSpPr>
            <p:nvPr/>
          </p:nvSpPr>
          <p:spPr bwMode="auto">
            <a:xfrm>
              <a:off x="3624817" y="6013736"/>
              <a:ext cx="9701" cy="8779"/>
            </a:xfrm>
            <a:custGeom>
              <a:avLst/>
              <a:gdLst>
                <a:gd name="T0" fmla="*/ 0 w 6"/>
                <a:gd name="T1" fmla="*/ 0 h 6"/>
                <a:gd name="T2" fmla="*/ 15120939 w 6"/>
                <a:gd name="T3" fmla="*/ 15120939 h 6"/>
                <a:gd name="T4" fmla="*/ 15120939 w 6"/>
                <a:gd name="T5" fmla="*/ 0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6"/>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4" name="Freeform 195"/>
            <p:cNvSpPr>
              <a:spLocks/>
            </p:cNvSpPr>
            <p:nvPr/>
          </p:nvSpPr>
          <p:spPr bwMode="auto">
            <a:xfrm>
              <a:off x="4159971" y="6102991"/>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5" name="Freeform 196"/>
            <p:cNvSpPr>
              <a:spLocks/>
            </p:cNvSpPr>
            <p:nvPr/>
          </p:nvSpPr>
          <p:spPr bwMode="auto">
            <a:xfrm>
              <a:off x="4150270" y="6094212"/>
              <a:ext cx="9701" cy="8779"/>
            </a:xfrm>
            <a:custGeom>
              <a:avLst/>
              <a:gdLst>
                <a:gd name="T0" fmla="*/ 0 w 6"/>
                <a:gd name="T1" fmla="*/ 0 h 6"/>
                <a:gd name="T2" fmla="*/ 15120939 w 6"/>
                <a:gd name="T3" fmla="*/ 0 h 6"/>
                <a:gd name="T4" fmla="*/ 0 w 6"/>
                <a:gd name="T5" fmla="*/ 15120939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6" name="Freeform 197"/>
            <p:cNvSpPr>
              <a:spLocks/>
            </p:cNvSpPr>
            <p:nvPr/>
          </p:nvSpPr>
          <p:spPr bwMode="auto">
            <a:xfrm>
              <a:off x="3953024" y="6174688"/>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7" name="Freeform 198"/>
            <p:cNvSpPr>
              <a:spLocks/>
            </p:cNvSpPr>
            <p:nvPr/>
          </p:nvSpPr>
          <p:spPr bwMode="auto">
            <a:xfrm>
              <a:off x="4100150" y="5842543"/>
              <a:ext cx="11318" cy="8779"/>
            </a:xfrm>
            <a:custGeom>
              <a:avLst/>
              <a:gdLst>
                <a:gd name="T0" fmla="*/ 0 w 7"/>
                <a:gd name="T1" fmla="*/ 0 h 6"/>
                <a:gd name="T2" fmla="*/ 0 w 7"/>
                <a:gd name="T3" fmla="*/ 15120939 h 6"/>
                <a:gd name="T4" fmla="*/ 17642683 w 7"/>
                <a:gd name="T5" fmla="*/ 0 h 6"/>
                <a:gd name="T6" fmla="*/ 0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0" y="0"/>
                  </a:moveTo>
                  <a:lnTo>
                    <a:pt x="0" y="6"/>
                  </a:ln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8" name="Freeform 199"/>
            <p:cNvSpPr>
              <a:spLocks/>
            </p:cNvSpPr>
            <p:nvPr/>
          </p:nvSpPr>
          <p:spPr bwMode="auto">
            <a:xfrm>
              <a:off x="4159971" y="6111771"/>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79" name="Freeform 200"/>
            <p:cNvSpPr>
              <a:spLocks/>
            </p:cNvSpPr>
            <p:nvPr/>
          </p:nvSpPr>
          <p:spPr bwMode="auto">
            <a:xfrm>
              <a:off x="3962724" y="5403584"/>
              <a:ext cx="9701" cy="8779"/>
            </a:xfrm>
            <a:custGeom>
              <a:avLst/>
              <a:gdLst>
                <a:gd name="T0" fmla="*/ 0 w 6"/>
                <a:gd name="T1" fmla="*/ 15120939 h 6"/>
                <a:gd name="T2" fmla="*/ 15120939 w 6"/>
                <a:gd name="T3" fmla="*/ 15120939 h 6"/>
                <a:gd name="T4" fmla="*/ 15120939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0" name="Freeform 201"/>
            <p:cNvSpPr>
              <a:spLocks/>
            </p:cNvSpPr>
            <p:nvPr/>
          </p:nvSpPr>
          <p:spPr bwMode="auto">
            <a:xfrm>
              <a:off x="3725057" y="4990962"/>
              <a:ext cx="19401" cy="27800"/>
            </a:xfrm>
            <a:custGeom>
              <a:avLst/>
              <a:gdLst>
                <a:gd name="T0" fmla="*/ 15120939 w 12"/>
                <a:gd name="T1" fmla="*/ 0 h 19"/>
                <a:gd name="T2" fmla="*/ 15120939 w 12"/>
                <a:gd name="T3" fmla="*/ 17640007 h 19"/>
                <a:gd name="T4" fmla="*/ 0 w 12"/>
                <a:gd name="T5" fmla="*/ 17640007 h 19"/>
                <a:gd name="T6" fmla="*/ 0 w 12"/>
                <a:gd name="T7" fmla="*/ 32760694 h 19"/>
                <a:gd name="T8" fmla="*/ 15120939 w 12"/>
                <a:gd name="T9" fmla="*/ 32760694 h 19"/>
                <a:gd name="T10" fmla="*/ 15120939 w 12"/>
                <a:gd name="T11" fmla="*/ 47881374 h 19"/>
                <a:gd name="T12" fmla="*/ 0 w 12"/>
                <a:gd name="T13" fmla="*/ 47881374 h 19"/>
                <a:gd name="T14" fmla="*/ 15120939 w 12"/>
                <a:gd name="T15" fmla="*/ 47881374 h 19"/>
                <a:gd name="T16" fmla="*/ 30241878 w 12"/>
                <a:gd name="T17" fmla="*/ 47881374 h 19"/>
                <a:gd name="T18" fmla="*/ 30241878 w 12"/>
                <a:gd name="T19" fmla="*/ 32760694 h 19"/>
                <a:gd name="T20" fmla="*/ 15120939 w 12"/>
                <a:gd name="T21" fmla="*/ 32760694 h 19"/>
                <a:gd name="T22" fmla="*/ 15120939 w 12"/>
                <a:gd name="T23" fmla="*/ 17640007 h 19"/>
                <a:gd name="T24" fmla="*/ 15120939 w 12"/>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9"/>
                <a:gd name="T41" fmla="*/ 12 w 12"/>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9">
                  <a:moveTo>
                    <a:pt x="6" y="0"/>
                  </a:moveTo>
                  <a:lnTo>
                    <a:pt x="6" y="7"/>
                  </a:lnTo>
                  <a:lnTo>
                    <a:pt x="0" y="7"/>
                  </a:lnTo>
                  <a:lnTo>
                    <a:pt x="0" y="13"/>
                  </a:lnTo>
                  <a:lnTo>
                    <a:pt x="6" y="13"/>
                  </a:lnTo>
                  <a:lnTo>
                    <a:pt x="6" y="19"/>
                  </a:lnTo>
                  <a:lnTo>
                    <a:pt x="0" y="19"/>
                  </a:lnTo>
                  <a:lnTo>
                    <a:pt x="6" y="19"/>
                  </a:lnTo>
                  <a:lnTo>
                    <a:pt x="12" y="19"/>
                  </a:lnTo>
                  <a:lnTo>
                    <a:pt x="12" y="13"/>
                  </a:lnTo>
                  <a:lnTo>
                    <a:pt x="6" y="13"/>
                  </a:lnTo>
                  <a:lnTo>
                    <a:pt x="6" y="7"/>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1" name="Freeform 202"/>
            <p:cNvSpPr>
              <a:spLocks/>
            </p:cNvSpPr>
            <p:nvPr/>
          </p:nvSpPr>
          <p:spPr bwMode="auto">
            <a:xfrm>
              <a:off x="3437270" y="4623699"/>
              <a:ext cx="59821" cy="99497"/>
            </a:xfrm>
            <a:custGeom>
              <a:avLst/>
              <a:gdLst>
                <a:gd name="T0" fmla="*/ 0 w 37"/>
                <a:gd name="T1" fmla="*/ 63003109 h 68"/>
                <a:gd name="T2" fmla="*/ 0 w 37"/>
                <a:gd name="T3" fmla="*/ 47882166 h 68"/>
                <a:gd name="T4" fmla="*/ 15121066 w 37"/>
                <a:gd name="T5" fmla="*/ 32761235 h 68"/>
                <a:gd name="T6" fmla="*/ 15121066 w 37"/>
                <a:gd name="T7" fmla="*/ 15120937 h 68"/>
                <a:gd name="T8" fmla="*/ 15121066 w 37"/>
                <a:gd name="T9" fmla="*/ 0 h 68"/>
                <a:gd name="T10" fmla="*/ 30242132 w 37"/>
                <a:gd name="T11" fmla="*/ 0 h 68"/>
                <a:gd name="T12" fmla="*/ 45363192 w 37"/>
                <a:gd name="T13" fmla="*/ 0 h 68"/>
                <a:gd name="T14" fmla="*/ 45363192 w 37"/>
                <a:gd name="T15" fmla="*/ 15120937 h 68"/>
                <a:gd name="T16" fmla="*/ 45363192 w 37"/>
                <a:gd name="T17" fmla="*/ 32761235 h 68"/>
                <a:gd name="T18" fmla="*/ 45363192 w 37"/>
                <a:gd name="T19" fmla="*/ 47882166 h 68"/>
                <a:gd name="T20" fmla="*/ 60484265 w 37"/>
                <a:gd name="T21" fmla="*/ 63003109 h 68"/>
                <a:gd name="T22" fmla="*/ 60484265 w 37"/>
                <a:gd name="T23" fmla="*/ 78124040 h 68"/>
                <a:gd name="T24" fmla="*/ 78126295 w 37"/>
                <a:gd name="T25" fmla="*/ 78124040 h 68"/>
                <a:gd name="T26" fmla="*/ 93247355 w 37"/>
                <a:gd name="T27" fmla="*/ 78124040 h 68"/>
                <a:gd name="T28" fmla="*/ 93247355 w 37"/>
                <a:gd name="T29" fmla="*/ 93244970 h 68"/>
                <a:gd name="T30" fmla="*/ 78126295 w 37"/>
                <a:gd name="T31" fmla="*/ 108365926 h 68"/>
                <a:gd name="T32" fmla="*/ 78126295 w 37"/>
                <a:gd name="T33" fmla="*/ 123486857 h 68"/>
                <a:gd name="T34" fmla="*/ 78126295 w 37"/>
                <a:gd name="T35" fmla="*/ 138607787 h 68"/>
                <a:gd name="T36" fmla="*/ 60484265 w 37"/>
                <a:gd name="T37" fmla="*/ 138607787 h 68"/>
                <a:gd name="T38" fmla="*/ 78126295 w 37"/>
                <a:gd name="T39" fmla="*/ 156249667 h 68"/>
                <a:gd name="T40" fmla="*/ 60484265 w 37"/>
                <a:gd name="T41" fmla="*/ 171370598 h 68"/>
                <a:gd name="T42" fmla="*/ 60484265 w 37"/>
                <a:gd name="T43" fmla="*/ 156249667 h 68"/>
                <a:gd name="T44" fmla="*/ 45363192 w 37"/>
                <a:gd name="T45" fmla="*/ 156249667 h 68"/>
                <a:gd name="T46" fmla="*/ 30242132 w 37"/>
                <a:gd name="T47" fmla="*/ 171370598 h 68"/>
                <a:gd name="T48" fmla="*/ 30242132 w 37"/>
                <a:gd name="T49" fmla="*/ 156249667 h 68"/>
                <a:gd name="T50" fmla="*/ 15121066 w 37"/>
                <a:gd name="T51" fmla="*/ 156249667 h 68"/>
                <a:gd name="T52" fmla="*/ 0 w 37"/>
                <a:gd name="T53" fmla="*/ 156249667 h 68"/>
                <a:gd name="T54" fmla="*/ 0 w 37"/>
                <a:gd name="T55" fmla="*/ 138607787 h 68"/>
                <a:gd name="T56" fmla="*/ 15121066 w 37"/>
                <a:gd name="T57" fmla="*/ 138607787 h 68"/>
                <a:gd name="T58" fmla="*/ 0 w 37"/>
                <a:gd name="T59" fmla="*/ 138607787 h 68"/>
                <a:gd name="T60" fmla="*/ 15121066 w 37"/>
                <a:gd name="T61" fmla="*/ 138607787 h 68"/>
                <a:gd name="T62" fmla="*/ 15121066 w 37"/>
                <a:gd name="T63" fmla="*/ 123486857 h 68"/>
                <a:gd name="T64" fmla="*/ 15121066 w 37"/>
                <a:gd name="T65" fmla="*/ 108365926 h 68"/>
                <a:gd name="T66" fmla="*/ 0 w 37"/>
                <a:gd name="T67" fmla="*/ 108365926 h 68"/>
                <a:gd name="T68" fmla="*/ 0 w 37"/>
                <a:gd name="T69" fmla="*/ 93244970 h 68"/>
                <a:gd name="T70" fmla="*/ 0 w 37"/>
                <a:gd name="T71" fmla="*/ 78124040 h 68"/>
                <a:gd name="T72" fmla="*/ 0 w 37"/>
                <a:gd name="T73" fmla="*/ 63003109 h 6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68"/>
                <a:gd name="T113" fmla="*/ 37 w 37"/>
                <a:gd name="T114" fmla="*/ 68 h 6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68">
                  <a:moveTo>
                    <a:pt x="0" y="25"/>
                  </a:moveTo>
                  <a:lnTo>
                    <a:pt x="0" y="19"/>
                  </a:lnTo>
                  <a:lnTo>
                    <a:pt x="6" y="13"/>
                  </a:lnTo>
                  <a:lnTo>
                    <a:pt x="6" y="6"/>
                  </a:lnTo>
                  <a:lnTo>
                    <a:pt x="6" y="0"/>
                  </a:lnTo>
                  <a:lnTo>
                    <a:pt x="12" y="0"/>
                  </a:lnTo>
                  <a:lnTo>
                    <a:pt x="18" y="0"/>
                  </a:lnTo>
                  <a:lnTo>
                    <a:pt x="18" y="6"/>
                  </a:lnTo>
                  <a:lnTo>
                    <a:pt x="18" y="13"/>
                  </a:lnTo>
                  <a:lnTo>
                    <a:pt x="18" y="19"/>
                  </a:lnTo>
                  <a:lnTo>
                    <a:pt x="24" y="25"/>
                  </a:lnTo>
                  <a:lnTo>
                    <a:pt x="24" y="31"/>
                  </a:lnTo>
                  <a:lnTo>
                    <a:pt x="31" y="31"/>
                  </a:lnTo>
                  <a:lnTo>
                    <a:pt x="37" y="31"/>
                  </a:lnTo>
                  <a:lnTo>
                    <a:pt x="37" y="37"/>
                  </a:lnTo>
                  <a:lnTo>
                    <a:pt x="31" y="43"/>
                  </a:lnTo>
                  <a:lnTo>
                    <a:pt x="31" y="49"/>
                  </a:lnTo>
                  <a:lnTo>
                    <a:pt x="31" y="55"/>
                  </a:lnTo>
                  <a:lnTo>
                    <a:pt x="24" y="55"/>
                  </a:lnTo>
                  <a:lnTo>
                    <a:pt x="31" y="62"/>
                  </a:lnTo>
                  <a:lnTo>
                    <a:pt x="24" y="68"/>
                  </a:lnTo>
                  <a:lnTo>
                    <a:pt x="24" y="62"/>
                  </a:lnTo>
                  <a:lnTo>
                    <a:pt x="18" y="62"/>
                  </a:lnTo>
                  <a:lnTo>
                    <a:pt x="12" y="68"/>
                  </a:lnTo>
                  <a:lnTo>
                    <a:pt x="12" y="62"/>
                  </a:lnTo>
                  <a:lnTo>
                    <a:pt x="6" y="62"/>
                  </a:lnTo>
                  <a:lnTo>
                    <a:pt x="0" y="62"/>
                  </a:lnTo>
                  <a:lnTo>
                    <a:pt x="0" y="55"/>
                  </a:lnTo>
                  <a:lnTo>
                    <a:pt x="6" y="55"/>
                  </a:lnTo>
                  <a:lnTo>
                    <a:pt x="0" y="55"/>
                  </a:lnTo>
                  <a:lnTo>
                    <a:pt x="6" y="55"/>
                  </a:lnTo>
                  <a:lnTo>
                    <a:pt x="6" y="49"/>
                  </a:lnTo>
                  <a:lnTo>
                    <a:pt x="6" y="43"/>
                  </a:lnTo>
                  <a:lnTo>
                    <a:pt x="0" y="43"/>
                  </a:lnTo>
                  <a:lnTo>
                    <a:pt x="0" y="37"/>
                  </a:lnTo>
                  <a:lnTo>
                    <a:pt x="0" y="31"/>
                  </a:lnTo>
                  <a:lnTo>
                    <a:pt x="0" y="2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2" name="Freeform 203"/>
            <p:cNvSpPr>
              <a:spLocks/>
            </p:cNvSpPr>
            <p:nvPr/>
          </p:nvSpPr>
          <p:spPr bwMode="auto">
            <a:xfrm>
              <a:off x="3249724" y="4212542"/>
              <a:ext cx="295871" cy="339461"/>
            </a:xfrm>
            <a:custGeom>
              <a:avLst/>
              <a:gdLst>
                <a:gd name="T0" fmla="*/ 229335430 w 183"/>
                <a:gd name="T1" fmla="*/ 246975347 h 232"/>
                <a:gd name="T2" fmla="*/ 246975754 w 183"/>
                <a:gd name="T3" fmla="*/ 199093135 h 232"/>
                <a:gd name="T4" fmla="*/ 262096713 w 183"/>
                <a:gd name="T5" fmla="*/ 183972201 h 232"/>
                <a:gd name="T6" fmla="*/ 292338630 w 183"/>
                <a:gd name="T7" fmla="*/ 214214118 h 232"/>
                <a:gd name="T8" fmla="*/ 262096713 w 183"/>
                <a:gd name="T9" fmla="*/ 246975347 h 232"/>
                <a:gd name="T10" fmla="*/ 307459588 w 183"/>
                <a:gd name="T11" fmla="*/ 199093135 h 232"/>
                <a:gd name="T12" fmla="*/ 262096713 w 183"/>
                <a:gd name="T13" fmla="*/ 168851268 h 232"/>
                <a:gd name="T14" fmla="*/ 277217671 w 183"/>
                <a:gd name="T15" fmla="*/ 138609401 h 232"/>
                <a:gd name="T16" fmla="*/ 246975754 w 183"/>
                <a:gd name="T17" fmla="*/ 123488467 h 232"/>
                <a:gd name="T18" fmla="*/ 214214471 w 183"/>
                <a:gd name="T19" fmla="*/ 90725626 h 232"/>
                <a:gd name="T20" fmla="*/ 246975754 w 183"/>
                <a:gd name="T21" fmla="*/ 45362813 h 232"/>
                <a:gd name="T22" fmla="*/ 307459588 w 183"/>
                <a:gd name="T23" fmla="*/ 15120940 h 232"/>
                <a:gd name="T24" fmla="*/ 352822464 w 183"/>
                <a:gd name="T25" fmla="*/ 15120940 h 232"/>
                <a:gd name="T26" fmla="*/ 352822464 w 183"/>
                <a:gd name="T27" fmla="*/ 15120940 h 232"/>
                <a:gd name="T28" fmla="*/ 415827251 w 183"/>
                <a:gd name="T29" fmla="*/ 0 h 232"/>
                <a:gd name="T30" fmla="*/ 446069267 w 183"/>
                <a:gd name="T31" fmla="*/ 30241879 h 232"/>
                <a:gd name="T32" fmla="*/ 461190226 w 183"/>
                <a:gd name="T33" fmla="*/ 90725626 h 232"/>
                <a:gd name="T34" fmla="*/ 446069267 w 183"/>
                <a:gd name="T35" fmla="*/ 168851268 h 232"/>
                <a:gd name="T36" fmla="*/ 415827251 w 183"/>
                <a:gd name="T37" fmla="*/ 183972201 h 232"/>
                <a:gd name="T38" fmla="*/ 430948309 w 183"/>
                <a:gd name="T39" fmla="*/ 214214118 h 232"/>
                <a:gd name="T40" fmla="*/ 446069267 w 183"/>
                <a:gd name="T41" fmla="*/ 262096280 h 232"/>
                <a:gd name="T42" fmla="*/ 400706293 w 183"/>
                <a:gd name="T43" fmla="*/ 292338147 h 232"/>
                <a:gd name="T44" fmla="*/ 415827251 w 183"/>
                <a:gd name="T45" fmla="*/ 337700948 h 232"/>
                <a:gd name="T46" fmla="*/ 370464376 w 183"/>
                <a:gd name="T47" fmla="*/ 352821881 h 232"/>
                <a:gd name="T48" fmla="*/ 322580547 w 183"/>
                <a:gd name="T49" fmla="*/ 337700948 h 232"/>
                <a:gd name="T50" fmla="*/ 322580547 w 183"/>
                <a:gd name="T51" fmla="*/ 370463764 h 232"/>
                <a:gd name="T52" fmla="*/ 337701505 w 183"/>
                <a:gd name="T53" fmla="*/ 385584698 h 232"/>
                <a:gd name="T54" fmla="*/ 337701505 w 183"/>
                <a:gd name="T55" fmla="*/ 446068531 h 232"/>
                <a:gd name="T56" fmla="*/ 322580547 w 183"/>
                <a:gd name="T57" fmla="*/ 476310398 h 232"/>
                <a:gd name="T58" fmla="*/ 322580547 w 183"/>
                <a:gd name="T59" fmla="*/ 509071627 h 232"/>
                <a:gd name="T60" fmla="*/ 322580547 w 183"/>
                <a:gd name="T61" fmla="*/ 554434428 h 232"/>
                <a:gd name="T62" fmla="*/ 322580547 w 183"/>
                <a:gd name="T63" fmla="*/ 554434428 h 232"/>
                <a:gd name="T64" fmla="*/ 292338630 w 183"/>
                <a:gd name="T65" fmla="*/ 584676295 h 232"/>
                <a:gd name="T66" fmla="*/ 292338630 w 183"/>
                <a:gd name="T67" fmla="*/ 554434428 h 232"/>
                <a:gd name="T68" fmla="*/ 307459588 w 183"/>
                <a:gd name="T69" fmla="*/ 509071627 h 232"/>
                <a:gd name="T70" fmla="*/ 277217671 w 183"/>
                <a:gd name="T71" fmla="*/ 476310398 h 232"/>
                <a:gd name="T72" fmla="*/ 229335430 w 183"/>
                <a:gd name="T73" fmla="*/ 476310398 h 232"/>
                <a:gd name="T74" fmla="*/ 199093463 w 183"/>
                <a:gd name="T75" fmla="*/ 446068531 h 232"/>
                <a:gd name="T76" fmla="*/ 168851546 w 183"/>
                <a:gd name="T77" fmla="*/ 430947598 h 232"/>
                <a:gd name="T78" fmla="*/ 168851546 w 183"/>
                <a:gd name="T79" fmla="*/ 430947598 h 232"/>
                <a:gd name="T80" fmla="*/ 138609629 w 183"/>
                <a:gd name="T81" fmla="*/ 446068531 h 232"/>
                <a:gd name="T82" fmla="*/ 105846759 w 183"/>
                <a:gd name="T83" fmla="*/ 446068531 h 232"/>
                <a:gd name="T84" fmla="*/ 60483859 w 183"/>
                <a:gd name="T85" fmla="*/ 446068531 h 232"/>
                <a:gd name="T86" fmla="*/ 15120965 w 183"/>
                <a:gd name="T87" fmla="*/ 430947598 h 232"/>
                <a:gd name="T88" fmla="*/ 15120965 w 183"/>
                <a:gd name="T89" fmla="*/ 400705631 h 232"/>
                <a:gd name="T90" fmla="*/ 30241929 w 183"/>
                <a:gd name="T91" fmla="*/ 415826565 h 232"/>
                <a:gd name="T92" fmla="*/ 75604817 w 183"/>
                <a:gd name="T93" fmla="*/ 430947598 h 232"/>
                <a:gd name="T94" fmla="*/ 75604817 w 183"/>
                <a:gd name="T95" fmla="*/ 415826565 h 232"/>
                <a:gd name="T96" fmla="*/ 75604817 w 183"/>
                <a:gd name="T97" fmla="*/ 385584698 h 232"/>
                <a:gd name="T98" fmla="*/ 123488671 w 183"/>
                <a:gd name="T99" fmla="*/ 385584698 h 232"/>
                <a:gd name="T100" fmla="*/ 168851546 w 183"/>
                <a:gd name="T101" fmla="*/ 370463764 h 232"/>
                <a:gd name="T102" fmla="*/ 123488671 w 183"/>
                <a:gd name="T103" fmla="*/ 370463764 h 232"/>
                <a:gd name="T104" fmla="*/ 75604817 w 183"/>
                <a:gd name="T105" fmla="*/ 337700948 h 232"/>
                <a:gd name="T106" fmla="*/ 123488671 w 183"/>
                <a:gd name="T107" fmla="*/ 277217214 h 232"/>
                <a:gd name="T108" fmla="*/ 138609629 w 183"/>
                <a:gd name="T109" fmla="*/ 214214118 h 232"/>
                <a:gd name="T110" fmla="*/ 153730588 w 183"/>
                <a:gd name="T111" fmla="*/ 153728747 h 232"/>
                <a:gd name="T112" fmla="*/ 183972505 w 183"/>
                <a:gd name="T113" fmla="*/ 123488467 h 232"/>
                <a:gd name="T114" fmla="*/ 214214471 w 183"/>
                <a:gd name="T115" fmla="*/ 123488467 h 232"/>
                <a:gd name="T116" fmla="*/ 229335430 w 183"/>
                <a:gd name="T117" fmla="*/ 168851268 h 232"/>
                <a:gd name="T118" fmla="*/ 214214471 w 183"/>
                <a:gd name="T119" fmla="*/ 168851268 h 232"/>
                <a:gd name="T120" fmla="*/ 199093463 w 183"/>
                <a:gd name="T121" fmla="*/ 214214118 h 232"/>
                <a:gd name="T122" fmla="*/ 214214471 w 183"/>
                <a:gd name="T123" fmla="*/ 2469753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3"/>
                <a:gd name="T187" fmla="*/ 0 h 232"/>
                <a:gd name="T188" fmla="*/ 183 w 183"/>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3" h="232">
                  <a:moveTo>
                    <a:pt x="98" y="104"/>
                  </a:moveTo>
                  <a:lnTo>
                    <a:pt x="104" y="104"/>
                  </a:lnTo>
                  <a:lnTo>
                    <a:pt x="98" y="104"/>
                  </a:lnTo>
                  <a:lnTo>
                    <a:pt x="91" y="98"/>
                  </a:lnTo>
                  <a:lnTo>
                    <a:pt x="85" y="98"/>
                  </a:lnTo>
                  <a:lnTo>
                    <a:pt x="85" y="91"/>
                  </a:lnTo>
                  <a:lnTo>
                    <a:pt x="91" y="85"/>
                  </a:lnTo>
                  <a:lnTo>
                    <a:pt x="98" y="79"/>
                  </a:lnTo>
                  <a:lnTo>
                    <a:pt x="98" y="73"/>
                  </a:lnTo>
                  <a:lnTo>
                    <a:pt x="98" y="79"/>
                  </a:lnTo>
                  <a:lnTo>
                    <a:pt x="104" y="79"/>
                  </a:lnTo>
                  <a:lnTo>
                    <a:pt x="104" y="73"/>
                  </a:lnTo>
                  <a:lnTo>
                    <a:pt x="110" y="73"/>
                  </a:lnTo>
                  <a:lnTo>
                    <a:pt x="116" y="73"/>
                  </a:lnTo>
                  <a:lnTo>
                    <a:pt x="122" y="79"/>
                  </a:lnTo>
                  <a:lnTo>
                    <a:pt x="116" y="85"/>
                  </a:lnTo>
                  <a:lnTo>
                    <a:pt x="116" y="91"/>
                  </a:lnTo>
                  <a:lnTo>
                    <a:pt x="110" y="91"/>
                  </a:lnTo>
                  <a:lnTo>
                    <a:pt x="104" y="91"/>
                  </a:lnTo>
                  <a:lnTo>
                    <a:pt x="104" y="98"/>
                  </a:lnTo>
                  <a:lnTo>
                    <a:pt x="110" y="98"/>
                  </a:lnTo>
                  <a:lnTo>
                    <a:pt x="110" y="91"/>
                  </a:lnTo>
                  <a:lnTo>
                    <a:pt x="116" y="85"/>
                  </a:lnTo>
                  <a:lnTo>
                    <a:pt x="122" y="79"/>
                  </a:lnTo>
                  <a:lnTo>
                    <a:pt x="116" y="73"/>
                  </a:lnTo>
                  <a:lnTo>
                    <a:pt x="110" y="73"/>
                  </a:lnTo>
                  <a:lnTo>
                    <a:pt x="110" y="67"/>
                  </a:lnTo>
                  <a:lnTo>
                    <a:pt x="104" y="67"/>
                  </a:lnTo>
                  <a:lnTo>
                    <a:pt x="104" y="61"/>
                  </a:lnTo>
                  <a:lnTo>
                    <a:pt x="110" y="55"/>
                  </a:lnTo>
                  <a:lnTo>
                    <a:pt x="110" y="49"/>
                  </a:lnTo>
                  <a:lnTo>
                    <a:pt x="110" y="55"/>
                  </a:lnTo>
                  <a:lnTo>
                    <a:pt x="110" y="49"/>
                  </a:lnTo>
                  <a:lnTo>
                    <a:pt x="104" y="49"/>
                  </a:lnTo>
                  <a:lnTo>
                    <a:pt x="104" y="55"/>
                  </a:lnTo>
                  <a:lnTo>
                    <a:pt x="98" y="49"/>
                  </a:lnTo>
                  <a:lnTo>
                    <a:pt x="98" y="42"/>
                  </a:lnTo>
                  <a:lnTo>
                    <a:pt x="98" y="36"/>
                  </a:lnTo>
                  <a:lnTo>
                    <a:pt x="98" y="30"/>
                  </a:lnTo>
                  <a:lnTo>
                    <a:pt x="85" y="36"/>
                  </a:lnTo>
                  <a:lnTo>
                    <a:pt x="91" y="30"/>
                  </a:lnTo>
                  <a:lnTo>
                    <a:pt x="98" y="30"/>
                  </a:lnTo>
                  <a:lnTo>
                    <a:pt x="98" y="24"/>
                  </a:lnTo>
                  <a:lnTo>
                    <a:pt x="98" y="18"/>
                  </a:lnTo>
                  <a:lnTo>
                    <a:pt x="104" y="18"/>
                  </a:lnTo>
                  <a:lnTo>
                    <a:pt x="110" y="12"/>
                  </a:lnTo>
                  <a:lnTo>
                    <a:pt x="116" y="6"/>
                  </a:lnTo>
                  <a:lnTo>
                    <a:pt x="122" y="6"/>
                  </a:lnTo>
                  <a:lnTo>
                    <a:pt x="128" y="6"/>
                  </a:lnTo>
                  <a:lnTo>
                    <a:pt x="134" y="0"/>
                  </a:lnTo>
                  <a:lnTo>
                    <a:pt x="134" y="6"/>
                  </a:lnTo>
                  <a:lnTo>
                    <a:pt x="140" y="6"/>
                  </a:lnTo>
                  <a:lnTo>
                    <a:pt x="134" y="6"/>
                  </a:lnTo>
                  <a:lnTo>
                    <a:pt x="134" y="0"/>
                  </a:lnTo>
                  <a:lnTo>
                    <a:pt x="140" y="0"/>
                  </a:lnTo>
                  <a:lnTo>
                    <a:pt x="140" y="6"/>
                  </a:lnTo>
                  <a:lnTo>
                    <a:pt x="147" y="0"/>
                  </a:lnTo>
                  <a:lnTo>
                    <a:pt x="153" y="0"/>
                  </a:lnTo>
                  <a:lnTo>
                    <a:pt x="159" y="0"/>
                  </a:lnTo>
                  <a:lnTo>
                    <a:pt x="165" y="0"/>
                  </a:lnTo>
                  <a:lnTo>
                    <a:pt x="165" y="6"/>
                  </a:lnTo>
                  <a:lnTo>
                    <a:pt x="171" y="6"/>
                  </a:lnTo>
                  <a:lnTo>
                    <a:pt x="171" y="12"/>
                  </a:lnTo>
                  <a:lnTo>
                    <a:pt x="177" y="12"/>
                  </a:lnTo>
                  <a:lnTo>
                    <a:pt x="183" y="18"/>
                  </a:lnTo>
                  <a:lnTo>
                    <a:pt x="183" y="24"/>
                  </a:lnTo>
                  <a:lnTo>
                    <a:pt x="183" y="30"/>
                  </a:lnTo>
                  <a:lnTo>
                    <a:pt x="183" y="36"/>
                  </a:lnTo>
                  <a:lnTo>
                    <a:pt x="183" y="42"/>
                  </a:lnTo>
                  <a:lnTo>
                    <a:pt x="177" y="49"/>
                  </a:lnTo>
                  <a:lnTo>
                    <a:pt x="177" y="55"/>
                  </a:lnTo>
                  <a:lnTo>
                    <a:pt x="177" y="67"/>
                  </a:lnTo>
                  <a:lnTo>
                    <a:pt x="171" y="67"/>
                  </a:lnTo>
                  <a:lnTo>
                    <a:pt x="165" y="67"/>
                  </a:lnTo>
                  <a:lnTo>
                    <a:pt x="159" y="73"/>
                  </a:lnTo>
                  <a:lnTo>
                    <a:pt x="165" y="73"/>
                  </a:lnTo>
                  <a:lnTo>
                    <a:pt x="159" y="73"/>
                  </a:lnTo>
                  <a:lnTo>
                    <a:pt x="159" y="79"/>
                  </a:lnTo>
                  <a:lnTo>
                    <a:pt x="165" y="85"/>
                  </a:lnTo>
                  <a:lnTo>
                    <a:pt x="171" y="85"/>
                  </a:lnTo>
                  <a:lnTo>
                    <a:pt x="177" y="85"/>
                  </a:lnTo>
                  <a:lnTo>
                    <a:pt x="177" y="91"/>
                  </a:lnTo>
                  <a:lnTo>
                    <a:pt x="177" y="98"/>
                  </a:lnTo>
                  <a:lnTo>
                    <a:pt x="177" y="104"/>
                  </a:lnTo>
                  <a:lnTo>
                    <a:pt x="171" y="110"/>
                  </a:lnTo>
                  <a:lnTo>
                    <a:pt x="171" y="116"/>
                  </a:lnTo>
                  <a:lnTo>
                    <a:pt x="165" y="116"/>
                  </a:lnTo>
                  <a:lnTo>
                    <a:pt x="159" y="116"/>
                  </a:lnTo>
                  <a:lnTo>
                    <a:pt x="159" y="122"/>
                  </a:lnTo>
                  <a:lnTo>
                    <a:pt x="165" y="122"/>
                  </a:lnTo>
                  <a:lnTo>
                    <a:pt x="165" y="128"/>
                  </a:lnTo>
                  <a:lnTo>
                    <a:pt x="165" y="134"/>
                  </a:lnTo>
                  <a:lnTo>
                    <a:pt x="159" y="134"/>
                  </a:lnTo>
                  <a:lnTo>
                    <a:pt x="153" y="134"/>
                  </a:lnTo>
                  <a:lnTo>
                    <a:pt x="147" y="134"/>
                  </a:lnTo>
                  <a:lnTo>
                    <a:pt x="147" y="140"/>
                  </a:lnTo>
                  <a:lnTo>
                    <a:pt x="147" y="134"/>
                  </a:lnTo>
                  <a:lnTo>
                    <a:pt x="140" y="134"/>
                  </a:lnTo>
                  <a:lnTo>
                    <a:pt x="134" y="134"/>
                  </a:lnTo>
                  <a:lnTo>
                    <a:pt x="128" y="134"/>
                  </a:lnTo>
                  <a:lnTo>
                    <a:pt x="128" y="140"/>
                  </a:lnTo>
                  <a:lnTo>
                    <a:pt x="122" y="140"/>
                  </a:lnTo>
                  <a:lnTo>
                    <a:pt x="128" y="140"/>
                  </a:lnTo>
                  <a:lnTo>
                    <a:pt x="128" y="147"/>
                  </a:lnTo>
                  <a:lnTo>
                    <a:pt x="122" y="147"/>
                  </a:lnTo>
                  <a:lnTo>
                    <a:pt x="128" y="147"/>
                  </a:lnTo>
                  <a:lnTo>
                    <a:pt x="128" y="153"/>
                  </a:lnTo>
                  <a:lnTo>
                    <a:pt x="134" y="153"/>
                  </a:lnTo>
                  <a:lnTo>
                    <a:pt x="134" y="159"/>
                  </a:lnTo>
                  <a:lnTo>
                    <a:pt x="134" y="165"/>
                  </a:lnTo>
                  <a:lnTo>
                    <a:pt x="140" y="171"/>
                  </a:lnTo>
                  <a:lnTo>
                    <a:pt x="134" y="177"/>
                  </a:lnTo>
                  <a:lnTo>
                    <a:pt x="140" y="177"/>
                  </a:lnTo>
                  <a:lnTo>
                    <a:pt x="134" y="183"/>
                  </a:lnTo>
                  <a:lnTo>
                    <a:pt x="134" y="189"/>
                  </a:lnTo>
                  <a:lnTo>
                    <a:pt x="128" y="189"/>
                  </a:lnTo>
                  <a:lnTo>
                    <a:pt x="128" y="196"/>
                  </a:lnTo>
                  <a:lnTo>
                    <a:pt x="134" y="196"/>
                  </a:lnTo>
                  <a:lnTo>
                    <a:pt x="134" y="202"/>
                  </a:lnTo>
                  <a:lnTo>
                    <a:pt x="128" y="202"/>
                  </a:lnTo>
                  <a:lnTo>
                    <a:pt x="122" y="208"/>
                  </a:lnTo>
                  <a:lnTo>
                    <a:pt x="122" y="214"/>
                  </a:lnTo>
                  <a:lnTo>
                    <a:pt x="128" y="214"/>
                  </a:lnTo>
                  <a:lnTo>
                    <a:pt x="128" y="220"/>
                  </a:lnTo>
                  <a:lnTo>
                    <a:pt x="134" y="220"/>
                  </a:lnTo>
                  <a:lnTo>
                    <a:pt x="128" y="220"/>
                  </a:lnTo>
                  <a:lnTo>
                    <a:pt x="128" y="226"/>
                  </a:lnTo>
                  <a:lnTo>
                    <a:pt x="128" y="220"/>
                  </a:lnTo>
                  <a:lnTo>
                    <a:pt x="128" y="226"/>
                  </a:lnTo>
                  <a:lnTo>
                    <a:pt x="128" y="232"/>
                  </a:lnTo>
                  <a:lnTo>
                    <a:pt x="122" y="232"/>
                  </a:lnTo>
                  <a:lnTo>
                    <a:pt x="116" y="232"/>
                  </a:lnTo>
                  <a:lnTo>
                    <a:pt x="110" y="232"/>
                  </a:lnTo>
                  <a:lnTo>
                    <a:pt x="110" y="226"/>
                  </a:lnTo>
                  <a:lnTo>
                    <a:pt x="110" y="220"/>
                  </a:lnTo>
                  <a:lnTo>
                    <a:pt x="116" y="220"/>
                  </a:lnTo>
                  <a:lnTo>
                    <a:pt x="116" y="214"/>
                  </a:lnTo>
                  <a:lnTo>
                    <a:pt x="116" y="208"/>
                  </a:lnTo>
                  <a:lnTo>
                    <a:pt x="116" y="202"/>
                  </a:lnTo>
                  <a:lnTo>
                    <a:pt x="122" y="202"/>
                  </a:lnTo>
                  <a:lnTo>
                    <a:pt x="122" y="196"/>
                  </a:lnTo>
                  <a:lnTo>
                    <a:pt x="116" y="196"/>
                  </a:lnTo>
                  <a:lnTo>
                    <a:pt x="110" y="196"/>
                  </a:lnTo>
                  <a:lnTo>
                    <a:pt x="110" y="189"/>
                  </a:lnTo>
                  <a:lnTo>
                    <a:pt x="104" y="189"/>
                  </a:lnTo>
                  <a:lnTo>
                    <a:pt x="104" y="183"/>
                  </a:lnTo>
                  <a:lnTo>
                    <a:pt x="98" y="189"/>
                  </a:lnTo>
                  <a:lnTo>
                    <a:pt x="91" y="189"/>
                  </a:lnTo>
                  <a:lnTo>
                    <a:pt x="91" y="183"/>
                  </a:lnTo>
                  <a:lnTo>
                    <a:pt x="85" y="183"/>
                  </a:lnTo>
                  <a:lnTo>
                    <a:pt x="85" y="177"/>
                  </a:lnTo>
                  <a:lnTo>
                    <a:pt x="79" y="177"/>
                  </a:lnTo>
                  <a:lnTo>
                    <a:pt x="79" y="171"/>
                  </a:lnTo>
                  <a:lnTo>
                    <a:pt x="73" y="177"/>
                  </a:lnTo>
                  <a:lnTo>
                    <a:pt x="67" y="177"/>
                  </a:lnTo>
                  <a:lnTo>
                    <a:pt x="67" y="171"/>
                  </a:lnTo>
                  <a:lnTo>
                    <a:pt x="67" y="177"/>
                  </a:lnTo>
                  <a:lnTo>
                    <a:pt x="67" y="171"/>
                  </a:lnTo>
                  <a:lnTo>
                    <a:pt x="67" y="165"/>
                  </a:lnTo>
                  <a:lnTo>
                    <a:pt x="67" y="171"/>
                  </a:lnTo>
                  <a:lnTo>
                    <a:pt x="61" y="171"/>
                  </a:lnTo>
                  <a:lnTo>
                    <a:pt x="61" y="177"/>
                  </a:lnTo>
                  <a:lnTo>
                    <a:pt x="55" y="171"/>
                  </a:lnTo>
                  <a:lnTo>
                    <a:pt x="55" y="177"/>
                  </a:lnTo>
                  <a:lnTo>
                    <a:pt x="55" y="171"/>
                  </a:lnTo>
                  <a:lnTo>
                    <a:pt x="49" y="171"/>
                  </a:lnTo>
                  <a:lnTo>
                    <a:pt x="49" y="177"/>
                  </a:lnTo>
                  <a:lnTo>
                    <a:pt x="42" y="177"/>
                  </a:lnTo>
                  <a:lnTo>
                    <a:pt x="36" y="177"/>
                  </a:lnTo>
                  <a:lnTo>
                    <a:pt x="30" y="177"/>
                  </a:lnTo>
                  <a:lnTo>
                    <a:pt x="24" y="171"/>
                  </a:lnTo>
                  <a:lnTo>
                    <a:pt x="24" y="177"/>
                  </a:lnTo>
                  <a:lnTo>
                    <a:pt x="18" y="177"/>
                  </a:lnTo>
                  <a:lnTo>
                    <a:pt x="12" y="177"/>
                  </a:lnTo>
                  <a:lnTo>
                    <a:pt x="12" y="171"/>
                  </a:lnTo>
                  <a:lnTo>
                    <a:pt x="6" y="171"/>
                  </a:lnTo>
                  <a:lnTo>
                    <a:pt x="6" y="165"/>
                  </a:lnTo>
                  <a:lnTo>
                    <a:pt x="0" y="165"/>
                  </a:lnTo>
                  <a:lnTo>
                    <a:pt x="0" y="159"/>
                  </a:lnTo>
                  <a:lnTo>
                    <a:pt x="6" y="159"/>
                  </a:lnTo>
                  <a:lnTo>
                    <a:pt x="12" y="159"/>
                  </a:lnTo>
                  <a:lnTo>
                    <a:pt x="12" y="165"/>
                  </a:lnTo>
                  <a:lnTo>
                    <a:pt x="18" y="165"/>
                  </a:lnTo>
                  <a:lnTo>
                    <a:pt x="12" y="165"/>
                  </a:lnTo>
                  <a:lnTo>
                    <a:pt x="18" y="165"/>
                  </a:lnTo>
                  <a:lnTo>
                    <a:pt x="24" y="165"/>
                  </a:lnTo>
                  <a:lnTo>
                    <a:pt x="30" y="165"/>
                  </a:lnTo>
                  <a:lnTo>
                    <a:pt x="30" y="171"/>
                  </a:lnTo>
                  <a:lnTo>
                    <a:pt x="36" y="171"/>
                  </a:lnTo>
                  <a:lnTo>
                    <a:pt x="42" y="171"/>
                  </a:lnTo>
                  <a:lnTo>
                    <a:pt x="36" y="165"/>
                  </a:lnTo>
                  <a:lnTo>
                    <a:pt x="30" y="165"/>
                  </a:lnTo>
                  <a:lnTo>
                    <a:pt x="24" y="159"/>
                  </a:lnTo>
                  <a:lnTo>
                    <a:pt x="30" y="159"/>
                  </a:lnTo>
                  <a:lnTo>
                    <a:pt x="36" y="159"/>
                  </a:lnTo>
                  <a:lnTo>
                    <a:pt x="30" y="153"/>
                  </a:lnTo>
                  <a:lnTo>
                    <a:pt x="36" y="153"/>
                  </a:lnTo>
                  <a:lnTo>
                    <a:pt x="36" y="159"/>
                  </a:lnTo>
                  <a:lnTo>
                    <a:pt x="42" y="159"/>
                  </a:lnTo>
                  <a:lnTo>
                    <a:pt x="49" y="153"/>
                  </a:lnTo>
                  <a:lnTo>
                    <a:pt x="55" y="153"/>
                  </a:lnTo>
                  <a:lnTo>
                    <a:pt x="61" y="153"/>
                  </a:lnTo>
                  <a:lnTo>
                    <a:pt x="61" y="147"/>
                  </a:lnTo>
                  <a:lnTo>
                    <a:pt x="67" y="147"/>
                  </a:lnTo>
                  <a:lnTo>
                    <a:pt x="61" y="147"/>
                  </a:lnTo>
                  <a:lnTo>
                    <a:pt x="55" y="147"/>
                  </a:lnTo>
                  <a:lnTo>
                    <a:pt x="55" y="153"/>
                  </a:lnTo>
                  <a:lnTo>
                    <a:pt x="49" y="147"/>
                  </a:lnTo>
                  <a:lnTo>
                    <a:pt x="42" y="147"/>
                  </a:lnTo>
                  <a:lnTo>
                    <a:pt x="36" y="140"/>
                  </a:lnTo>
                  <a:lnTo>
                    <a:pt x="30" y="140"/>
                  </a:lnTo>
                  <a:lnTo>
                    <a:pt x="30" y="134"/>
                  </a:lnTo>
                  <a:lnTo>
                    <a:pt x="30" y="128"/>
                  </a:lnTo>
                  <a:lnTo>
                    <a:pt x="36" y="122"/>
                  </a:lnTo>
                  <a:lnTo>
                    <a:pt x="42" y="116"/>
                  </a:lnTo>
                  <a:lnTo>
                    <a:pt x="49" y="110"/>
                  </a:lnTo>
                  <a:lnTo>
                    <a:pt x="49" y="104"/>
                  </a:lnTo>
                  <a:lnTo>
                    <a:pt x="55" y="98"/>
                  </a:lnTo>
                  <a:lnTo>
                    <a:pt x="55" y="91"/>
                  </a:lnTo>
                  <a:lnTo>
                    <a:pt x="55" y="85"/>
                  </a:lnTo>
                  <a:lnTo>
                    <a:pt x="61" y="79"/>
                  </a:lnTo>
                  <a:lnTo>
                    <a:pt x="61" y="73"/>
                  </a:lnTo>
                  <a:lnTo>
                    <a:pt x="61" y="67"/>
                  </a:lnTo>
                  <a:lnTo>
                    <a:pt x="61" y="61"/>
                  </a:lnTo>
                  <a:lnTo>
                    <a:pt x="61" y="55"/>
                  </a:lnTo>
                  <a:lnTo>
                    <a:pt x="67" y="49"/>
                  </a:lnTo>
                  <a:lnTo>
                    <a:pt x="67" y="42"/>
                  </a:lnTo>
                  <a:lnTo>
                    <a:pt x="73" y="49"/>
                  </a:lnTo>
                  <a:lnTo>
                    <a:pt x="79" y="42"/>
                  </a:lnTo>
                  <a:lnTo>
                    <a:pt x="85" y="36"/>
                  </a:lnTo>
                  <a:lnTo>
                    <a:pt x="79" y="42"/>
                  </a:lnTo>
                  <a:lnTo>
                    <a:pt x="85" y="49"/>
                  </a:lnTo>
                  <a:lnTo>
                    <a:pt x="85" y="55"/>
                  </a:lnTo>
                  <a:lnTo>
                    <a:pt x="85" y="61"/>
                  </a:lnTo>
                  <a:lnTo>
                    <a:pt x="91" y="61"/>
                  </a:lnTo>
                  <a:lnTo>
                    <a:pt x="91" y="67"/>
                  </a:lnTo>
                  <a:lnTo>
                    <a:pt x="98" y="67"/>
                  </a:lnTo>
                  <a:lnTo>
                    <a:pt x="91" y="67"/>
                  </a:lnTo>
                  <a:lnTo>
                    <a:pt x="85" y="73"/>
                  </a:lnTo>
                  <a:lnTo>
                    <a:pt x="85" y="67"/>
                  </a:lnTo>
                  <a:lnTo>
                    <a:pt x="79" y="67"/>
                  </a:lnTo>
                  <a:lnTo>
                    <a:pt x="79" y="73"/>
                  </a:lnTo>
                  <a:lnTo>
                    <a:pt x="79" y="79"/>
                  </a:lnTo>
                  <a:lnTo>
                    <a:pt x="79" y="85"/>
                  </a:lnTo>
                  <a:lnTo>
                    <a:pt x="79" y="91"/>
                  </a:lnTo>
                  <a:lnTo>
                    <a:pt x="73" y="91"/>
                  </a:lnTo>
                  <a:lnTo>
                    <a:pt x="79" y="98"/>
                  </a:lnTo>
                  <a:lnTo>
                    <a:pt x="85" y="98"/>
                  </a:lnTo>
                  <a:lnTo>
                    <a:pt x="91" y="98"/>
                  </a:lnTo>
                  <a:lnTo>
                    <a:pt x="98" y="10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3" name="Freeform 204"/>
            <p:cNvSpPr>
              <a:spLocks/>
            </p:cNvSpPr>
            <p:nvPr/>
          </p:nvSpPr>
          <p:spPr bwMode="auto">
            <a:xfrm>
              <a:off x="3249724" y="4212542"/>
              <a:ext cx="295871" cy="339461"/>
            </a:xfrm>
            <a:custGeom>
              <a:avLst/>
              <a:gdLst>
                <a:gd name="T0" fmla="*/ 229335430 w 183"/>
                <a:gd name="T1" fmla="*/ 246975347 h 232"/>
                <a:gd name="T2" fmla="*/ 246975754 w 183"/>
                <a:gd name="T3" fmla="*/ 199093135 h 232"/>
                <a:gd name="T4" fmla="*/ 262096713 w 183"/>
                <a:gd name="T5" fmla="*/ 183972201 h 232"/>
                <a:gd name="T6" fmla="*/ 292338630 w 183"/>
                <a:gd name="T7" fmla="*/ 214214118 h 232"/>
                <a:gd name="T8" fmla="*/ 262096713 w 183"/>
                <a:gd name="T9" fmla="*/ 246975347 h 232"/>
                <a:gd name="T10" fmla="*/ 307459588 w 183"/>
                <a:gd name="T11" fmla="*/ 199093135 h 232"/>
                <a:gd name="T12" fmla="*/ 262096713 w 183"/>
                <a:gd name="T13" fmla="*/ 168851268 h 232"/>
                <a:gd name="T14" fmla="*/ 277217671 w 183"/>
                <a:gd name="T15" fmla="*/ 138609401 h 232"/>
                <a:gd name="T16" fmla="*/ 246975754 w 183"/>
                <a:gd name="T17" fmla="*/ 123488467 h 232"/>
                <a:gd name="T18" fmla="*/ 214214471 w 183"/>
                <a:gd name="T19" fmla="*/ 90725626 h 232"/>
                <a:gd name="T20" fmla="*/ 246975754 w 183"/>
                <a:gd name="T21" fmla="*/ 45362813 h 232"/>
                <a:gd name="T22" fmla="*/ 307459588 w 183"/>
                <a:gd name="T23" fmla="*/ 15120940 h 232"/>
                <a:gd name="T24" fmla="*/ 352822464 w 183"/>
                <a:gd name="T25" fmla="*/ 15120940 h 232"/>
                <a:gd name="T26" fmla="*/ 352822464 w 183"/>
                <a:gd name="T27" fmla="*/ 15120940 h 232"/>
                <a:gd name="T28" fmla="*/ 415827251 w 183"/>
                <a:gd name="T29" fmla="*/ 0 h 232"/>
                <a:gd name="T30" fmla="*/ 446069267 w 183"/>
                <a:gd name="T31" fmla="*/ 30241879 h 232"/>
                <a:gd name="T32" fmla="*/ 461190226 w 183"/>
                <a:gd name="T33" fmla="*/ 90725626 h 232"/>
                <a:gd name="T34" fmla="*/ 446069267 w 183"/>
                <a:gd name="T35" fmla="*/ 168851268 h 232"/>
                <a:gd name="T36" fmla="*/ 415827251 w 183"/>
                <a:gd name="T37" fmla="*/ 183972201 h 232"/>
                <a:gd name="T38" fmla="*/ 430948309 w 183"/>
                <a:gd name="T39" fmla="*/ 214214118 h 232"/>
                <a:gd name="T40" fmla="*/ 446069267 w 183"/>
                <a:gd name="T41" fmla="*/ 262096280 h 232"/>
                <a:gd name="T42" fmla="*/ 400706293 w 183"/>
                <a:gd name="T43" fmla="*/ 292338147 h 232"/>
                <a:gd name="T44" fmla="*/ 415827251 w 183"/>
                <a:gd name="T45" fmla="*/ 337700948 h 232"/>
                <a:gd name="T46" fmla="*/ 370464376 w 183"/>
                <a:gd name="T47" fmla="*/ 352821881 h 232"/>
                <a:gd name="T48" fmla="*/ 322580547 w 183"/>
                <a:gd name="T49" fmla="*/ 337700948 h 232"/>
                <a:gd name="T50" fmla="*/ 322580547 w 183"/>
                <a:gd name="T51" fmla="*/ 370463764 h 232"/>
                <a:gd name="T52" fmla="*/ 337701505 w 183"/>
                <a:gd name="T53" fmla="*/ 385584698 h 232"/>
                <a:gd name="T54" fmla="*/ 337701505 w 183"/>
                <a:gd name="T55" fmla="*/ 446068531 h 232"/>
                <a:gd name="T56" fmla="*/ 322580547 w 183"/>
                <a:gd name="T57" fmla="*/ 476310398 h 232"/>
                <a:gd name="T58" fmla="*/ 322580547 w 183"/>
                <a:gd name="T59" fmla="*/ 509071627 h 232"/>
                <a:gd name="T60" fmla="*/ 322580547 w 183"/>
                <a:gd name="T61" fmla="*/ 554434428 h 232"/>
                <a:gd name="T62" fmla="*/ 322580547 w 183"/>
                <a:gd name="T63" fmla="*/ 554434428 h 232"/>
                <a:gd name="T64" fmla="*/ 292338630 w 183"/>
                <a:gd name="T65" fmla="*/ 584676295 h 232"/>
                <a:gd name="T66" fmla="*/ 292338630 w 183"/>
                <a:gd name="T67" fmla="*/ 554434428 h 232"/>
                <a:gd name="T68" fmla="*/ 307459588 w 183"/>
                <a:gd name="T69" fmla="*/ 509071627 h 232"/>
                <a:gd name="T70" fmla="*/ 277217671 w 183"/>
                <a:gd name="T71" fmla="*/ 476310398 h 232"/>
                <a:gd name="T72" fmla="*/ 229335430 w 183"/>
                <a:gd name="T73" fmla="*/ 476310398 h 232"/>
                <a:gd name="T74" fmla="*/ 199093463 w 183"/>
                <a:gd name="T75" fmla="*/ 446068531 h 232"/>
                <a:gd name="T76" fmla="*/ 168851546 w 183"/>
                <a:gd name="T77" fmla="*/ 430947598 h 232"/>
                <a:gd name="T78" fmla="*/ 168851546 w 183"/>
                <a:gd name="T79" fmla="*/ 430947598 h 232"/>
                <a:gd name="T80" fmla="*/ 138609629 w 183"/>
                <a:gd name="T81" fmla="*/ 446068531 h 232"/>
                <a:gd name="T82" fmla="*/ 105846759 w 183"/>
                <a:gd name="T83" fmla="*/ 446068531 h 232"/>
                <a:gd name="T84" fmla="*/ 60483859 w 183"/>
                <a:gd name="T85" fmla="*/ 446068531 h 232"/>
                <a:gd name="T86" fmla="*/ 15120965 w 183"/>
                <a:gd name="T87" fmla="*/ 430947598 h 232"/>
                <a:gd name="T88" fmla="*/ 15120965 w 183"/>
                <a:gd name="T89" fmla="*/ 400705631 h 232"/>
                <a:gd name="T90" fmla="*/ 30241929 w 183"/>
                <a:gd name="T91" fmla="*/ 415826565 h 232"/>
                <a:gd name="T92" fmla="*/ 75604817 w 183"/>
                <a:gd name="T93" fmla="*/ 430947598 h 232"/>
                <a:gd name="T94" fmla="*/ 75604817 w 183"/>
                <a:gd name="T95" fmla="*/ 415826565 h 232"/>
                <a:gd name="T96" fmla="*/ 75604817 w 183"/>
                <a:gd name="T97" fmla="*/ 385584698 h 232"/>
                <a:gd name="T98" fmla="*/ 123488671 w 183"/>
                <a:gd name="T99" fmla="*/ 385584698 h 232"/>
                <a:gd name="T100" fmla="*/ 168851546 w 183"/>
                <a:gd name="T101" fmla="*/ 370463764 h 232"/>
                <a:gd name="T102" fmla="*/ 123488671 w 183"/>
                <a:gd name="T103" fmla="*/ 370463764 h 232"/>
                <a:gd name="T104" fmla="*/ 75604817 w 183"/>
                <a:gd name="T105" fmla="*/ 337700948 h 232"/>
                <a:gd name="T106" fmla="*/ 123488671 w 183"/>
                <a:gd name="T107" fmla="*/ 277217214 h 232"/>
                <a:gd name="T108" fmla="*/ 138609629 w 183"/>
                <a:gd name="T109" fmla="*/ 214214118 h 232"/>
                <a:gd name="T110" fmla="*/ 153730588 w 183"/>
                <a:gd name="T111" fmla="*/ 153728747 h 232"/>
                <a:gd name="T112" fmla="*/ 183972505 w 183"/>
                <a:gd name="T113" fmla="*/ 123488467 h 232"/>
                <a:gd name="T114" fmla="*/ 214214471 w 183"/>
                <a:gd name="T115" fmla="*/ 123488467 h 232"/>
                <a:gd name="T116" fmla="*/ 229335430 w 183"/>
                <a:gd name="T117" fmla="*/ 168851268 h 232"/>
                <a:gd name="T118" fmla="*/ 214214471 w 183"/>
                <a:gd name="T119" fmla="*/ 168851268 h 232"/>
                <a:gd name="T120" fmla="*/ 199093463 w 183"/>
                <a:gd name="T121" fmla="*/ 214214118 h 232"/>
                <a:gd name="T122" fmla="*/ 214214471 w 183"/>
                <a:gd name="T123" fmla="*/ 2469753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3"/>
                <a:gd name="T187" fmla="*/ 0 h 232"/>
                <a:gd name="T188" fmla="*/ 183 w 183"/>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3" h="232">
                  <a:moveTo>
                    <a:pt x="98" y="104"/>
                  </a:moveTo>
                  <a:lnTo>
                    <a:pt x="104" y="104"/>
                  </a:lnTo>
                  <a:lnTo>
                    <a:pt x="98" y="104"/>
                  </a:lnTo>
                  <a:lnTo>
                    <a:pt x="91" y="98"/>
                  </a:lnTo>
                  <a:lnTo>
                    <a:pt x="85" y="98"/>
                  </a:lnTo>
                  <a:lnTo>
                    <a:pt x="85" y="91"/>
                  </a:lnTo>
                  <a:lnTo>
                    <a:pt x="91" y="85"/>
                  </a:lnTo>
                  <a:lnTo>
                    <a:pt x="98" y="79"/>
                  </a:lnTo>
                  <a:lnTo>
                    <a:pt x="98" y="73"/>
                  </a:lnTo>
                  <a:lnTo>
                    <a:pt x="98" y="79"/>
                  </a:lnTo>
                  <a:lnTo>
                    <a:pt x="104" y="79"/>
                  </a:lnTo>
                  <a:lnTo>
                    <a:pt x="104" y="73"/>
                  </a:lnTo>
                  <a:lnTo>
                    <a:pt x="110" y="73"/>
                  </a:lnTo>
                  <a:lnTo>
                    <a:pt x="116" y="73"/>
                  </a:lnTo>
                  <a:lnTo>
                    <a:pt x="122" y="79"/>
                  </a:lnTo>
                  <a:lnTo>
                    <a:pt x="116" y="85"/>
                  </a:lnTo>
                  <a:lnTo>
                    <a:pt x="116" y="91"/>
                  </a:lnTo>
                  <a:lnTo>
                    <a:pt x="110" y="91"/>
                  </a:lnTo>
                  <a:lnTo>
                    <a:pt x="104" y="91"/>
                  </a:lnTo>
                  <a:lnTo>
                    <a:pt x="104" y="98"/>
                  </a:lnTo>
                  <a:lnTo>
                    <a:pt x="110" y="98"/>
                  </a:lnTo>
                  <a:lnTo>
                    <a:pt x="110" y="91"/>
                  </a:lnTo>
                  <a:lnTo>
                    <a:pt x="116" y="85"/>
                  </a:lnTo>
                  <a:lnTo>
                    <a:pt x="122" y="79"/>
                  </a:lnTo>
                  <a:lnTo>
                    <a:pt x="116" y="73"/>
                  </a:lnTo>
                  <a:lnTo>
                    <a:pt x="110" y="73"/>
                  </a:lnTo>
                  <a:lnTo>
                    <a:pt x="110" y="67"/>
                  </a:lnTo>
                  <a:lnTo>
                    <a:pt x="104" y="67"/>
                  </a:lnTo>
                  <a:lnTo>
                    <a:pt x="104" y="61"/>
                  </a:lnTo>
                  <a:lnTo>
                    <a:pt x="110" y="55"/>
                  </a:lnTo>
                  <a:lnTo>
                    <a:pt x="110" y="49"/>
                  </a:lnTo>
                  <a:lnTo>
                    <a:pt x="110" y="55"/>
                  </a:lnTo>
                  <a:lnTo>
                    <a:pt x="110" y="49"/>
                  </a:lnTo>
                  <a:lnTo>
                    <a:pt x="104" y="49"/>
                  </a:lnTo>
                  <a:lnTo>
                    <a:pt x="104" y="55"/>
                  </a:lnTo>
                  <a:lnTo>
                    <a:pt x="98" y="49"/>
                  </a:lnTo>
                  <a:lnTo>
                    <a:pt x="98" y="42"/>
                  </a:lnTo>
                  <a:lnTo>
                    <a:pt x="98" y="36"/>
                  </a:lnTo>
                  <a:lnTo>
                    <a:pt x="98" y="30"/>
                  </a:lnTo>
                  <a:lnTo>
                    <a:pt x="85" y="36"/>
                  </a:lnTo>
                  <a:lnTo>
                    <a:pt x="91" y="30"/>
                  </a:lnTo>
                  <a:lnTo>
                    <a:pt x="98" y="30"/>
                  </a:lnTo>
                  <a:lnTo>
                    <a:pt x="98" y="24"/>
                  </a:lnTo>
                  <a:lnTo>
                    <a:pt x="98" y="18"/>
                  </a:lnTo>
                  <a:lnTo>
                    <a:pt x="104" y="18"/>
                  </a:lnTo>
                  <a:lnTo>
                    <a:pt x="110" y="12"/>
                  </a:lnTo>
                  <a:lnTo>
                    <a:pt x="116" y="6"/>
                  </a:lnTo>
                  <a:lnTo>
                    <a:pt x="122" y="6"/>
                  </a:lnTo>
                  <a:lnTo>
                    <a:pt x="128" y="6"/>
                  </a:lnTo>
                  <a:lnTo>
                    <a:pt x="134" y="0"/>
                  </a:lnTo>
                  <a:lnTo>
                    <a:pt x="134" y="6"/>
                  </a:lnTo>
                  <a:lnTo>
                    <a:pt x="140" y="6"/>
                  </a:lnTo>
                  <a:lnTo>
                    <a:pt x="134" y="6"/>
                  </a:lnTo>
                  <a:lnTo>
                    <a:pt x="134" y="0"/>
                  </a:lnTo>
                  <a:lnTo>
                    <a:pt x="140" y="0"/>
                  </a:lnTo>
                  <a:lnTo>
                    <a:pt x="140" y="6"/>
                  </a:lnTo>
                  <a:lnTo>
                    <a:pt x="147" y="0"/>
                  </a:lnTo>
                  <a:lnTo>
                    <a:pt x="153" y="0"/>
                  </a:lnTo>
                  <a:lnTo>
                    <a:pt x="159" y="0"/>
                  </a:lnTo>
                  <a:lnTo>
                    <a:pt x="165" y="0"/>
                  </a:lnTo>
                  <a:lnTo>
                    <a:pt x="165" y="6"/>
                  </a:lnTo>
                  <a:lnTo>
                    <a:pt x="171" y="6"/>
                  </a:lnTo>
                  <a:lnTo>
                    <a:pt x="171" y="12"/>
                  </a:lnTo>
                  <a:lnTo>
                    <a:pt x="177" y="12"/>
                  </a:lnTo>
                  <a:lnTo>
                    <a:pt x="183" y="18"/>
                  </a:lnTo>
                  <a:lnTo>
                    <a:pt x="183" y="24"/>
                  </a:lnTo>
                  <a:lnTo>
                    <a:pt x="183" y="30"/>
                  </a:lnTo>
                  <a:lnTo>
                    <a:pt x="183" y="36"/>
                  </a:lnTo>
                  <a:lnTo>
                    <a:pt x="183" y="42"/>
                  </a:lnTo>
                  <a:lnTo>
                    <a:pt x="177" y="49"/>
                  </a:lnTo>
                  <a:lnTo>
                    <a:pt x="177" y="55"/>
                  </a:lnTo>
                  <a:lnTo>
                    <a:pt x="177" y="67"/>
                  </a:lnTo>
                  <a:lnTo>
                    <a:pt x="171" y="67"/>
                  </a:lnTo>
                  <a:lnTo>
                    <a:pt x="165" y="67"/>
                  </a:lnTo>
                  <a:lnTo>
                    <a:pt x="159" y="73"/>
                  </a:lnTo>
                  <a:lnTo>
                    <a:pt x="165" y="73"/>
                  </a:lnTo>
                  <a:lnTo>
                    <a:pt x="159" y="73"/>
                  </a:lnTo>
                  <a:lnTo>
                    <a:pt x="159" y="79"/>
                  </a:lnTo>
                  <a:lnTo>
                    <a:pt x="165" y="85"/>
                  </a:lnTo>
                  <a:lnTo>
                    <a:pt x="171" y="85"/>
                  </a:lnTo>
                  <a:lnTo>
                    <a:pt x="177" y="85"/>
                  </a:lnTo>
                  <a:lnTo>
                    <a:pt x="177" y="91"/>
                  </a:lnTo>
                  <a:lnTo>
                    <a:pt x="177" y="98"/>
                  </a:lnTo>
                  <a:lnTo>
                    <a:pt x="177" y="104"/>
                  </a:lnTo>
                  <a:lnTo>
                    <a:pt x="171" y="110"/>
                  </a:lnTo>
                  <a:lnTo>
                    <a:pt x="171" y="116"/>
                  </a:lnTo>
                  <a:lnTo>
                    <a:pt x="165" y="116"/>
                  </a:lnTo>
                  <a:lnTo>
                    <a:pt x="159" y="116"/>
                  </a:lnTo>
                  <a:lnTo>
                    <a:pt x="159" y="122"/>
                  </a:lnTo>
                  <a:lnTo>
                    <a:pt x="165" y="122"/>
                  </a:lnTo>
                  <a:lnTo>
                    <a:pt x="165" y="128"/>
                  </a:lnTo>
                  <a:lnTo>
                    <a:pt x="165" y="134"/>
                  </a:lnTo>
                  <a:lnTo>
                    <a:pt x="159" y="134"/>
                  </a:lnTo>
                  <a:lnTo>
                    <a:pt x="153" y="134"/>
                  </a:lnTo>
                  <a:lnTo>
                    <a:pt x="147" y="134"/>
                  </a:lnTo>
                  <a:lnTo>
                    <a:pt x="147" y="140"/>
                  </a:lnTo>
                  <a:lnTo>
                    <a:pt x="147" y="134"/>
                  </a:lnTo>
                  <a:lnTo>
                    <a:pt x="140" y="134"/>
                  </a:lnTo>
                  <a:lnTo>
                    <a:pt x="134" y="134"/>
                  </a:lnTo>
                  <a:lnTo>
                    <a:pt x="128" y="134"/>
                  </a:lnTo>
                  <a:lnTo>
                    <a:pt x="128" y="140"/>
                  </a:lnTo>
                  <a:lnTo>
                    <a:pt x="122" y="140"/>
                  </a:lnTo>
                  <a:lnTo>
                    <a:pt x="128" y="140"/>
                  </a:lnTo>
                  <a:lnTo>
                    <a:pt x="128" y="147"/>
                  </a:lnTo>
                  <a:lnTo>
                    <a:pt x="122" y="147"/>
                  </a:lnTo>
                  <a:lnTo>
                    <a:pt x="128" y="147"/>
                  </a:lnTo>
                  <a:lnTo>
                    <a:pt x="128" y="153"/>
                  </a:lnTo>
                  <a:lnTo>
                    <a:pt x="134" y="153"/>
                  </a:lnTo>
                  <a:lnTo>
                    <a:pt x="134" y="159"/>
                  </a:lnTo>
                  <a:lnTo>
                    <a:pt x="134" y="165"/>
                  </a:lnTo>
                  <a:lnTo>
                    <a:pt x="140" y="171"/>
                  </a:lnTo>
                  <a:lnTo>
                    <a:pt x="134" y="177"/>
                  </a:lnTo>
                  <a:lnTo>
                    <a:pt x="140" y="177"/>
                  </a:lnTo>
                  <a:lnTo>
                    <a:pt x="134" y="183"/>
                  </a:lnTo>
                  <a:lnTo>
                    <a:pt x="134" y="189"/>
                  </a:lnTo>
                  <a:lnTo>
                    <a:pt x="128" y="189"/>
                  </a:lnTo>
                  <a:lnTo>
                    <a:pt x="128" y="196"/>
                  </a:lnTo>
                  <a:lnTo>
                    <a:pt x="134" y="196"/>
                  </a:lnTo>
                  <a:lnTo>
                    <a:pt x="134" y="202"/>
                  </a:lnTo>
                  <a:lnTo>
                    <a:pt x="128" y="202"/>
                  </a:lnTo>
                  <a:lnTo>
                    <a:pt x="122" y="208"/>
                  </a:lnTo>
                  <a:lnTo>
                    <a:pt x="122" y="214"/>
                  </a:lnTo>
                  <a:lnTo>
                    <a:pt x="128" y="214"/>
                  </a:lnTo>
                  <a:lnTo>
                    <a:pt x="128" y="220"/>
                  </a:lnTo>
                  <a:lnTo>
                    <a:pt x="134" y="220"/>
                  </a:lnTo>
                  <a:lnTo>
                    <a:pt x="128" y="220"/>
                  </a:lnTo>
                  <a:lnTo>
                    <a:pt x="128" y="226"/>
                  </a:lnTo>
                  <a:lnTo>
                    <a:pt x="128" y="220"/>
                  </a:lnTo>
                  <a:lnTo>
                    <a:pt x="128" y="226"/>
                  </a:lnTo>
                  <a:lnTo>
                    <a:pt x="128" y="232"/>
                  </a:lnTo>
                  <a:lnTo>
                    <a:pt x="122" y="232"/>
                  </a:lnTo>
                  <a:lnTo>
                    <a:pt x="116" y="232"/>
                  </a:lnTo>
                  <a:lnTo>
                    <a:pt x="110" y="232"/>
                  </a:lnTo>
                  <a:lnTo>
                    <a:pt x="110" y="226"/>
                  </a:lnTo>
                  <a:lnTo>
                    <a:pt x="110" y="220"/>
                  </a:lnTo>
                  <a:lnTo>
                    <a:pt x="116" y="220"/>
                  </a:lnTo>
                  <a:lnTo>
                    <a:pt x="116" y="214"/>
                  </a:lnTo>
                  <a:lnTo>
                    <a:pt x="116" y="208"/>
                  </a:lnTo>
                  <a:lnTo>
                    <a:pt x="116" y="202"/>
                  </a:lnTo>
                  <a:lnTo>
                    <a:pt x="122" y="202"/>
                  </a:lnTo>
                  <a:lnTo>
                    <a:pt x="122" y="196"/>
                  </a:lnTo>
                  <a:lnTo>
                    <a:pt x="116" y="196"/>
                  </a:lnTo>
                  <a:lnTo>
                    <a:pt x="110" y="196"/>
                  </a:lnTo>
                  <a:lnTo>
                    <a:pt x="110" y="189"/>
                  </a:lnTo>
                  <a:lnTo>
                    <a:pt x="104" y="189"/>
                  </a:lnTo>
                  <a:lnTo>
                    <a:pt x="104" y="183"/>
                  </a:lnTo>
                  <a:lnTo>
                    <a:pt x="98" y="189"/>
                  </a:lnTo>
                  <a:lnTo>
                    <a:pt x="91" y="189"/>
                  </a:lnTo>
                  <a:lnTo>
                    <a:pt x="91" y="183"/>
                  </a:lnTo>
                  <a:lnTo>
                    <a:pt x="85" y="183"/>
                  </a:lnTo>
                  <a:lnTo>
                    <a:pt x="85" y="177"/>
                  </a:lnTo>
                  <a:lnTo>
                    <a:pt x="79" y="177"/>
                  </a:lnTo>
                  <a:lnTo>
                    <a:pt x="79" y="171"/>
                  </a:lnTo>
                  <a:lnTo>
                    <a:pt x="73" y="177"/>
                  </a:lnTo>
                  <a:lnTo>
                    <a:pt x="67" y="177"/>
                  </a:lnTo>
                  <a:lnTo>
                    <a:pt x="67" y="171"/>
                  </a:lnTo>
                  <a:lnTo>
                    <a:pt x="67" y="177"/>
                  </a:lnTo>
                  <a:lnTo>
                    <a:pt x="67" y="171"/>
                  </a:lnTo>
                  <a:lnTo>
                    <a:pt x="67" y="165"/>
                  </a:lnTo>
                  <a:lnTo>
                    <a:pt x="67" y="171"/>
                  </a:lnTo>
                  <a:lnTo>
                    <a:pt x="61" y="171"/>
                  </a:lnTo>
                  <a:lnTo>
                    <a:pt x="61" y="177"/>
                  </a:lnTo>
                  <a:lnTo>
                    <a:pt x="55" y="171"/>
                  </a:lnTo>
                  <a:lnTo>
                    <a:pt x="55" y="177"/>
                  </a:lnTo>
                  <a:lnTo>
                    <a:pt x="55" y="171"/>
                  </a:lnTo>
                  <a:lnTo>
                    <a:pt x="49" y="171"/>
                  </a:lnTo>
                  <a:lnTo>
                    <a:pt x="49" y="177"/>
                  </a:lnTo>
                  <a:lnTo>
                    <a:pt x="42" y="177"/>
                  </a:lnTo>
                  <a:lnTo>
                    <a:pt x="36" y="177"/>
                  </a:lnTo>
                  <a:lnTo>
                    <a:pt x="30" y="177"/>
                  </a:lnTo>
                  <a:lnTo>
                    <a:pt x="24" y="171"/>
                  </a:lnTo>
                  <a:lnTo>
                    <a:pt x="24" y="177"/>
                  </a:lnTo>
                  <a:lnTo>
                    <a:pt x="18" y="177"/>
                  </a:lnTo>
                  <a:lnTo>
                    <a:pt x="12" y="177"/>
                  </a:lnTo>
                  <a:lnTo>
                    <a:pt x="12" y="171"/>
                  </a:lnTo>
                  <a:lnTo>
                    <a:pt x="6" y="171"/>
                  </a:lnTo>
                  <a:lnTo>
                    <a:pt x="6" y="165"/>
                  </a:lnTo>
                  <a:lnTo>
                    <a:pt x="0" y="165"/>
                  </a:lnTo>
                  <a:lnTo>
                    <a:pt x="0" y="159"/>
                  </a:lnTo>
                  <a:lnTo>
                    <a:pt x="6" y="159"/>
                  </a:lnTo>
                  <a:lnTo>
                    <a:pt x="12" y="159"/>
                  </a:lnTo>
                  <a:lnTo>
                    <a:pt x="12" y="165"/>
                  </a:lnTo>
                  <a:lnTo>
                    <a:pt x="18" y="165"/>
                  </a:lnTo>
                  <a:lnTo>
                    <a:pt x="12" y="165"/>
                  </a:lnTo>
                  <a:lnTo>
                    <a:pt x="18" y="165"/>
                  </a:lnTo>
                  <a:lnTo>
                    <a:pt x="24" y="165"/>
                  </a:lnTo>
                  <a:lnTo>
                    <a:pt x="30" y="165"/>
                  </a:lnTo>
                  <a:lnTo>
                    <a:pt x="30" y="171"/>
                  </a:lnTo>
                  <a:lnTo>
                    <a:pt x="36" y="171"/>
                  </a:lnTo>
                  <a:lnTo>
                    <a:pt x="42" y="171"/>
                  </a:lnTo>
                  <a:lnTo>
                    <a:pt x="36" y="165"/>
                  </a:lnTo>
                  <a:lnTo>
                    <a:pt x="30" y="165"/>
                  </a:lnTo>
                  <a:lnTo>
                    <a:pt x="24" y="159"/>
                  </a:lnTo>
                  <a:lnTo>
                    <a:pt x="30" y="159"/>
                  </a:lnTo>
                  <a:lnTo>
                    <a:pt x="36" y="159"/>
                  </a:lnTo>
                  <a:lnTo>
                    <a:pt x="30" y="153"/>
                  </a:lnTo>
                  <a:lnTo>
                    <a:pt x="36" y="153"/>
                  </a:lnTo>
                  <a:lnTo>
                    <a:pt x="36" y="159"/>
                  </a:lnTo>
                  <a:lnTo>
                    <a:pt x="42" y="159"/>
                  </a:lnTo>
                  <a:lnTo>
                    <a:pt x="49" y="153"/>
                  </a:lnTo>
                  <a:lnTo>
                    <a:pt x="55" y="153"/>
                  </a:lnTo>
                  <a:lnTo>
                    <a:pt x="61" y="153"/>
                  </a:lnTo>
                  <a:lnTo>
                    <a:pt x="61" y="147"/>
                  </a:lnTo>
                  <a:lnTo>
                    <a:pt x="67" y="147"/>
                  </a:lnTo>
                  <a:lnTo>
                    <a:pt x="61" y="147"/>
                  </a:lnTo>
                  <a:lnTo>
                    <a:pt x="55" y="147"/>
                  </a:lnTo>
                  <a:lnTo>
                    <a:pt x="55" y="153"/>
                  </a:lnTo>
                  <a:lnTo>
                    <a:pt x="49" y="147"/>
                  </a:lnTo>
                  <a:lnTo>
                    <a:pt x="42" y="147"/>
                  </a:lnTo>
                  <a:lnTo>
                    <a:pt x="36" y="140"/>
                  </a:lnTo>
                  <a:lnTo>
                    <a:pt x="30" y="140"/>
                  </a:lnTo>
                  <a:lnTo>
                    <a:pt x="30" y="134"/>
                  </a:lnTo>
                  <a:lnTo>
                    <a:pt x="30" y="128"/>
                  </a:lnTo>
                  <a:lnTo>
                    <a:pt x="36" y="122"/>
                  </a:lnTo>
                  <a:lnTo>
                    <a:pt x="42" y="116"/>
                  </a:lnTo>
                  <a:lnTo>
                    <a:pt x="49" y="110"/>
                  </a:lnTo>
                  <a:lnTo>
                    <a:pt x="49" y="104"/>
                  </a:lnTo>
                  <a:lnTo>
                    <a:pt x="55" y="98"/>
                  </a:lnTo>
                  <a:lnTo>
                    <a:pt x="55" y="91"/>
                  </a:lnTo>
                  <a:lnTo>
                    <a:pt x="55" y="85"/>
                  </a:lnTo>
                  <a:lnTo>
                    <a:pt x="61" y="79"/>
                  </a:lnTo>
                  <a:lnTo>
                    <a:pt x="61" y="73"/>
                  </a:lnTo>
                  <a:lnTo>
                    <a:pt x="61" y="67"/>
                  </a:lnTo>
                  <a:lnTo>
                    <a:pt x="61" y="61"/>
                  </a:lnTo>
                  <a:lnTo>
                    <a:pt x="61" y="55"/>
                  </a:lnTo>
                  <a:lnTo>
                    <a:pt x="67" y="49"/>
                  </a:lnTo>
                  <a:lnTo>
                    <a:pt x="67" y="42"/>
                  </a:lnTo>
                  <a:lnTo>
                    <a:pt x="73" y="49"/>
                  </a:lnTo>
                  <a:lnTo>
                    <a:pt x="79" y="42"/>
                  </a:lnTo>
                  <a:lnTo>
                    <a:pt x="85" y="36"/>
                  </a:lnTo>
                  <a:lnTo>
                    <a:pt x="79" y="42"/>
                  </a:lnTo>
                  <a:lnTo>
                    <a:pt x="85" y="49"/>
                  </a:lnTo>
                  <a:lnTo>
                    <a:pt x="85" y="55"/>
                  </a:lnTo>
                  <a:lnTo>
                    <a:pt x="85" y="61"/>
                  </a:lnTo>
                  <a:lnTo>
                    <a:pt x="91" y="61"/>
                  </a:lnTo>
                  <a:lnTo>
                    <a:pt x="91" y="67"/>
                  </a:lnTo>
                  <a:lnTo>
                    <a:pt x="98" y="67"/>
                  </a:lnTo>
                  <a:lnTo>
                    <a:pt x="91" y="67"/>
                  </a:lnTo>
                  <a:lnTo>
                    <a:pt x="85" y="73"/>
                  </a:lnTo>
                  <a:lnTo>
                    <a:pt x="85" y="67"/>
                  </a:lnTo>
                  <a:lnTo>
                    <a:pt x="79" y="67"/>
                  </a:lnTo>
                  <a:lnTo>
                    <a:pt x="79" y="73"/>
                  </a:lnTo>
                  <a:lnTo>
                    <a:pt x="79" y="79"/>
                  </a:lnTo>
                  <a:lnTo>
                    <a:pt x="79" y="85"/>
                  </a:lnTo>
                  <a:lnTo>
                    <a:pt x="79" y="91"/>
                  </a:lnTo>
                  <a:lnTo>
                    <a:pt x="73" y="91"/>
                  </a:lnTo>
                  <a:lnTo>
                    <a:pt x="79" y="98"/>
                  </a:lnTo>
                  <a:lnTo>
                    <a:pt x="85" y="98"/>
                  </a:lnTo>
                  <a:lnTo>
                    <a:pt x="91" y="98"/>
                  </a:lnTo>
                  <a:lnTo>
                    <a:pt x="98" y="10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4" name="Freeform 205"/>
            <p:cNvSpPr>
              <a:spLocks/>
            </p:cNvSpPr>
            <p:nvPr/>
          </p:nvSpPr>
          <p:spPr bwMode="auto">
            <a:xfrm>
              <a:off x="3367750" y="4462748"/>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5" name="Freeform 206"/>
            <p:cNvSpPr>
              <a:spLocks/>
            </p:cNvSpPr>
            <p:nvPr/>
          </p:nvSpPr>
          <p:spPr bwMode="auto">
            <a:xfrm>
              <a:off x="3238407" y="4471527"/>
              <a:ext cx="69521" cy="27801"/>
            </a:xfrm>
            <a:custGeom>
              <a:avLst/>
              <a:gdLst>
                <a:gd name="T0" fmla="*/ 0 w 43"/>
                <a:gd name="T1" fmla="*/ 15121188 h 19"/>
                <a:gd name="T2" fmla="*/ 17640171 w 43"/>
                <a:gd name="T3" fmla="*/ 15121188 h 19"/>
                <a:gd name="T4" fmla="*/ 17640171 w 43"/>
                <a:gd name="T5" fmla="*/ 30242377 h 19"/>
                <a:gd name="T6" fmla="*/ 32760998 w 43"/>
                <a:gd name="T7" fmla="*/ 30242377 h 19"/>
                <a:gd name="T8" fmla="*/ 32760998 w 43"/>
                <a:gd name="T9" fmla="*/ 15121188 h 19"/>
                <a:gd name="T10" fmla="*/ 47881820 w 43"/>
                <a:gd name="T11" fmla="*/ 15121188 h 19"/>
                <a:gd name="T12" fmla="*/ 47881820 w 43"/>
                <a:gd name="T13" fmla="*/ 30242377 h 19"/>
                <a:gd name="T14" fmla="*/ 63002653 w 43"/>
                <a:gd name="T15" fmla="*/ 30242377 h 19"/>
                <a:gd name="T16" fmla="*/ 78123475 w 43"/>
                <a:gd name="T17" fmla="*/ 30242377 h 19"/>
                <a:gd name="T18" fmla="*/ 78123475 w 43"/>
                <a:gd name="T19" fmla="*/ 47884549 h 19"/>
                <a:gd name="T20" fmla="*/ 78123475 w 43"/>
                <a:gd name="T21" fmla="*/ 30242377 h 19"/>
                <a:gd name="T22" fmla="*/ 93244296 w 43"/>
                <a:gd name="T23" fmla="*/ 30242377 h 19"/>
                <a:gd name="T24" fmla="*/ 108365142 w 43"/>
                <a:gd name="T25" fmla="*/ 15121188 h 19"/>
                <a:gd name="T26" fmla="*/ 93244296 w 43"/>
                <a:gd name="T27" fmla="*/ 0 h 19"/>
                <a:gd name="T28" fmla="*/ 78123475 w 43"/>
                <a:gd name="T29" fmla="*/ 0 h 19"/>
                <a:gd name="T30" fmla="*/ 63002653 w 43"/>
                <a:gd name="T31" fmla="*/ 15121188 h 19"/>
                <a:gd name="T32" fmla="*/ 63002653 w 43"/>
                <a:gd name="T33" fmla="*/ 0 h 19"/>
                <a:gd name="T34" fmla="*/ 63002653 w 43"/>
                <a:gd name="T35" fmla="*/ 15121188 h 19"/>
                <a:gd name="T36" fmla="*/ 63002653 w 43"/>
                <a:gd name="T37" fmla="*/ 0 h 19"/>
                <a:gd name="T38" fmla="*/ 47881820 w 43"/>
                <a:gd name="T39" fmla="*/ 0 h 19"/>
                <a:gd name="T40" fmla="*/ 32760998 w 43"/>
                <a:gd name="T41" fmla="*/ 0 h 19"/>
                <a:gd name="T42" fmla="*/ 17640171 w 43"/>
                <a:gd name="T43" fmla="*/ 0 h 19"/>
                <a:gd name="T44" fmla="*/ 0 w 43"/>
                <a:gd name="T45" fmla="*/ 0 h 19"/>
                <a:gd name="T46" fmla="*/ 17640171 w 43"/>
                <a:gd name="T47" fmla="*/ 15121188 h 19"/>
                <a:gd name="T48" fmla="*/ 0 w 43"/>
                <a:gd name="T49" fmla="*/ 15121188 h 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19"/>
                <a:gd name="T77" fmla="*/ 43 w 43"/>
                <a:gd name="T78" fmla="*/ 19 h 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19">
                  <a:moveTo>
                    <a:pt x="0" y="6"/>
                  </a:moveTo>
                  <a:lnTo>
                    <a:pt x="7" y="6"/>
                  </a:lnTo>
                  <a:lnTo>
                    <a:pt x="7" y="12"/>
                  </a:lnTo>
                  <a:lnTo>
                    <a:pt x="13" y="12"/>
                  </a:lnTo>
                  <a:lnTo>
                    <a:pt x="13" y="6"/>
                  </a:lnTo>
                  <a:lnTo>
                    <a:pt x="19" y="6"/>
                  </a:lnTo>
                  <a:lnTo>
                    <a:pt x="19" y="12"/>
                  </a:lnTo>
                  <a:lnTo>
                    <a:pt x="25" y="12"/>
                  </a:lnTo>
                  <a:lnTo>
                    <a:pt x="31" y="12"/>
                  </a:lnTo>
                  <a:lnTo>
                    <a:pt x="31" y="19"/>
                  </a:lnTo>
                  <a:lnTo>
                    <a:pt x="31" y="12"/>
                  </a:lnTo>
                  <a:lnTo>
                    <a:pt x="37" y="12"/>
                  </a:lnTo>
                  <a:lnTo>
                    <a:pt x="43" y="6"/>
                  </a:lnTo>
                  <a:lnTo>
                    <a:pt x="37" y="0"/>
                  </a:lnTo>
                  <a:lnTo>
                    <a:pt x="31" y="0"/>
                  </a:lnTo>
                  <a:lnTo>
                    <a:pt x="25" y="6"/>
                  </a:lnTo>
                  <a:lnTo>
                    <a:pt x="25" y="0"/>
                  </a:lnTo>
                  <a:lnTo>
                    <a:pt x="25" y="6"/>
                  </a:lnTo>
                  <a:lnTo>
                    <a:pt x="25" y="0"/>
                  </a:lnTo>
                  <a:lnTo>
                    <a:pt x="19" y="0"/>
                  </a:lnTo>
                  <a:lnTo>
                    <a:pt x="13" y="0"/>
                  </a:lnTo>
                  <a:lnTo>
                    <a:pt x="7" y="0"/>
                  </a:lnTo>
                  <a:lnTo>
                    <a:pt x="0" y="0"/>
                  </a:lnTo>
                  <a:lnTo>
                    <a:pt x="7"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6" name="Freeform 208"/>
            <p:cNvSpPr>
              <a:spLocks/>
            </p:cNvSpPr>
            <p:nvPr/>
          </p:nvSpPr>
          <p:spPr bwMode="auto">
            <a:xfrm>
              <a:off x="3288527" y="4408610"/>
              <a:ext cx="40420" cy="27800"/>
            </a:xfrm>
            <a:custGeom>
              <a:avLst/>
              <a:gdLst>
                <a:gd name="T0" fmla="*/ 0 w 25"/>
                <a:gd name="T1" fmla="*/ 15120687 h 19"/>
                <a:gd name="T2" fmla="*/ 15121130 w 25"/>
                <a:gd name="T3" fmla="*/ 15120687 h 19"/>
                <a:gd name="T4" fmla="*/ 15121130 w 25"/>
                <a:gd name="T5" fmla="*/ 32760694 h 19"/>
                <a:gd name="T6" fmla="*/ 30242259 w 25"/>
                <a:gd name="T7" fmla="*/ 32760694 h 19"/>
                <a:gd name="T8" fmla="*/ 30242259 w 25"/>
                <a:gd name="T9" fmla="*/ 47881374 h 19"/>
                <a:gd name="T10" fmla="*/ 45363383 w 25"/>
                <a:gd name="T11" fmla="*/ 47881374 h 19"/>
                <a:gd name="T12" fmla="*/ 63005499 w 25"/>
                <a:gd name="T13" fmla="*/ 47881374 h 19"/>
                <a:gd name="T14" fmla="*/ 45363383 w 25"/>
                <a:gd name="T15" fmla="*/ 47881374 h 19"/>
                <a:gd name="T16" fmla="*/ 45363383 w 25"/>
                <a:gd name="T17" fmla="*/ 32760694 h 19"/>
                <a:gd name="T18" fmla="*/ 30242259 w 25"/>
                <a:gd name="T19" fmla="*/ 32760694 h 19"/>
                <a:gd name="T20" fmla="*/ 15121130 w 25"/>
                <a:gd name="T21" fmla="*/ 15120687 h 19"/>
                <a:gd name="T22" fmla="*/ 15121130 w 25"/>
                <a:gd name="T23" fmla="*/ 0 h 19"/>
                <a:gd name="T24" fmla="*/ 0 w 25"/>
                <a:gd name="T25" fmla="*/ 15120687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19"/>
                <a:gd name="T41" fmla="*/ 25 w 25"/>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19">
                  <a:moveTo>
                    <a:pt x="0" y="6"/>
                  </a:moveTo>
                  <a:lnTo>
                    <a:pt x="6" y="6"/>
                  </a:lnTo>
                  <a:lnTo>
                    <a:pt x="6" y="13"/>
                  </a:lnTo>
                  <a:lnTo>
                    <a:pt x="12" y="13"/>
                  </a:lnTo>
                  <a:lnTo>
                    <a:pt x="12" y="19"/>
                  </a:lnTo>
                  <a:lnTo>
                    <a:pt x="18" y="19"/>
                  </a:lnTo>
                  <a:lnTo>
                    <a:pt x="25" y="19"/>
                  </a:lnTo>
                  <a:lnTo>
                    <a:pt x="18" y="19"/>
                  </a:lnTo>
                  <a:lnTo>
                    <a:pt x="18" y="13"/>
                  </a:lnTo>
                  <a:lnTo>
                    <a:pt x="12" y="13"/>
                  </a:ln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7" name="Freeform 209"/>
            <p:cNvSpPr>
              <a:spLocks/>
            </p:cNvSpPr>
            <p:nvPr/>
          </p:nvSpPr>
          <p:spPr bwMode="auto">
            <a:xfrm>
              <a:off x="3269125" y="4427631"/>
              <a:ext cx="38803" cy="17558"/>
            </a:xfrm>
            <a:custGeom>
              <a:avLst/>
              <a:gdLst>
                <a:gd name="T0" fmla="*/ 0 w 24"/>
                <a:gd name="T1" fmla="*/ 15120939 h 12"/>
                <a:gd name="T2" fmla="*/ 15120939 w 24"/>
                <a:gd name="T3" fmla="*/ 15120939 h 12"/>
                <a:gd name="T4" fmla="*/ 30241878 w 24"/>
                <a:gd name="T5" fmla="*/ 15120939 h 12"/>
                <a:gd name="T6" fmla="*/ 30241878 w 24"/>
                <a:gd name="T7" fmla="*/ 30241878 h 12"/>
                <a:gd name="T8" fmla="*/ 45362810 w 24"/>
                <a:gd name="T9" fmla="*/ 30241878 h 12"/>
                <a:gd name="T10" fmla="*/ 45362810 w 24"/>
                <a:gd name="T11" fmla="*/ 15120939 h 12"/>
                <a:gd name="T12" fmla="*/ 60483756 w 24"/>
                <a:gd name="T13" fmla="*/ 15120939 h 12"/>
                <a:gd name="T14" fmla="*/ 45362810 w 24"/>
                <a:gd name="T15" fmla="*/ 15120939 h 12"/>
                <a:gd name="T16" fmla="*/ 30241878 w 24"/>
                <a:gd name="T17" fmla="*/ 0 h 12"/>
                <a:gd name="T18" fmla="*/ 15120939 w 24"/>
                <a:gd name="T19" fmla="*/ 0 h 12"/>
                <a:gd name="T20" fmla="*/ 0 w 24"/>
                <a:gd name="T21" fmla="*/ 0 h 12"/>
                <a:gd name="T22" fmla="*/ 0 w 24"/>
                <a:gd name="T23" fmla="*/ 15120939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12"/>
                <a:gd name="T38" fmla="*/ 24 w 24"/>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12">
                  <a:moveTo>
                    <a:pt x="0" y="6"/>
                  </a:moveTo>
                  <a:lnTo>
                    <a:pt x="6" y="6"/>
                  </a:lnTo>
                  <a:lnTo>
                    <a:pt x="12" y="6"/>
                  </a:lnTo>
                  <a:lnTo>
                    <a:pt x="12" y="12"/>
                  </a:lnTo>
                  <a:lnTo>
                    <a:pt x="18" y="12"/>
                  </a:lnTo>
                  <a:lnTo>
                    <a:pt x="18" y="6"/>
                  </a:lnTo>
                  <a:lnTo>
                    <a:pt x="24" y="6"/>
                  </a:lnTo>
                  <a:lnTo>
                    <a:pt x="18" y="6"/>
                  </a:lnTo>
                  <a:lnTo>
                    <a:pt x="12" y="0"/>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8" name="Freeform 210"/>
            <p:cNvSpPr>
              <a:spLocks/>
            </p:cNvSpPr>
            <p:nvPr/>
          </p:nvSpPr>
          <p:spPr bwMode="auto">
            <a:xfrm>
              <a:off x="3358049" y="4247659"/>
              <a:ext cx="9701" cy="26338"/>
            </a:xfrm>
            <a:custGeom>
              <a:avLst/>
              <a:gdLst>
                <a:gd name="T0" fmla="*/ 0 w 6"/>
                <a:gd name="T1" fmla="*/ 30241875 h 18"/>
                <a:gd name="T2" fmla="*/ 0 w 6"/>
                <a:gd name="T3" fmla="*/ 15120937 h 18"/>
                <a:gd name="T4" fmla="*/ 0 w 6"/>
                <a:gd name="T5" fmla="*/ 0 h 18"/>
                <a:gd name="T6" fmla="*/ 15120939 w 6"/>
                <a:gd name="T7" fmla="*/ 0 h 18"/>
                <a:gd name="T8" fmla="*/ 15120939 w 6"/>
                <a:gd name="T9" fmla="*/ 15120937 h 18"/>
                <a:gd name="T10" fmla="*/ 15120939 w 6"/>
                <a:gd name="T11" fmla="*/ 30241875 h 18"/>
                <a:gd name="T12" fmla="*/ 0 w 6"/>
                <a:gd name="T13" fmla="*/ 30241875 h 18"/>
                <a:gd name="T14" fmla="*/ 0 w 6"/>
                <a:gd name="T15" fmla="*/ 45362806 h 18"/>
                <a:gd name="T16" fmla="*/ 0 w 6"/>
                <a:gd name="T17" fmla="*/ 30241875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8"/>
                <a:gd name="T29" fmla="*/ 6 w 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8">
                  <a:moveTo>
                    <a:pt x="0" y="12"/>
                  </a:moveTo>
                  <a:lnTo>
                    <a:pt x="0" y="6"/>
                  </a:lnTo>
                  <a:lnTo>
                    <a:pt x="0" y="0"/>
                  </a:lnTo>
                  <a:lnTo>
                    <a:pt x="6" y="0"/>
                  </a:lnTo>
                  <a:lnTo>
                    <a:pt x="6" y="6"/>
                  </a:lnTo>
                  <a:lnTo>
                    <a:pt x="6" y="12"/>
                  </a:lnTo>
                  <a:lnTo>
                    <a:pt x="0" y="12"/>
                  </a:lnTo>
                  <a:lnTo>
                    <a:pt x="0" y="18"/>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89" name="Freeform 211"/>
            <p:cNvSpPr>
              <a:spLocks/>
            </p:cNvSpPr>
            <p:nvPr/>
          </p:nvSpPr>
          <p:spPr bwMode="auto">
            <a:xfrm>
              <a:off x="3387151" y="4212542"/>
              <a:ext cx="30718" cy="8779"/>
            </a:xfrm>
            <a:custGeom>
              <a:avLst/>
              <a:gdLst>
                <a:gd name="T0" fmla="*/ 0 w 19"/>
                <a:gd name="T1" fmla="*/ 15120939 h 6"/>
                <a:gd name="T2" fmla="*/ 15120687 w 19"/>
                <a:gd name="T3" fmla="*/ 0 h 6"/>
                <a:gd name="T4" fmla="*/ 47881374 w 19"/>
                <a:gd name="T5" fmla="*/ 0 h 6"/>
                <a:gd name="T6" fmla="*/ 47881374 w 19"/>
                <a:gd name="T7" fmla="*/ 15120939 h 6"/>
                <a:gd name="T8" fmla="*/ 32760694 w 19"/>
                <a:gd name="T9" fmla="*/ 15120939 h 6"/>
                <a:gd name="T10" fmla="*/ 15120687 w 19"/>
                <a:gd name="T11" fmla="*/ 15120939 h 6"/>
                <a:gd name="T12" fmla="*/ 0 w 19"/>
                <a:gd name="T13" fmla="*/ 15120939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0" y="6"/>
                  </a:moveTo>
                  <a:lnTo>
                    <a:pt x="6" y="0"/>
                  </a:lnTo>
                  <a:lnTo>
                    <a:pt x="19" y="0"/>
                  </a:lnTo>
                  <a:lnTo>
                    <a:pt x="19" y="6"/>
                  </a:lnTo>
                  <a:lnTo>
                    <a:pt x="13" y="6"/>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0" name="Freeform 212"/>
            <p:cNvSpPr>
              <a:spLocks/>
            </p:cNvSpPr>
            <p:nvPr/>
          </p:nvSpPr>
          <p:spPr bwMode="auto">
            <a:xfrm>
              <a:off x="3269126" y="4445190"/>
              <a:ext cx="19401" cy="8779"/>
            </a:xfrm>
            <a:custGeom>
              <a:avLst/>
              <a:gdLst>
                <a:gd name="T0" fmla="*/ 0 w 12"/>
                <a:gd name="T1" fmla="*/ 0 h 6"/>
                <a:gd name="T2" fmla="*/ 0 w 12"/>
                <a:gd name="T3" fmla="*/ 15120939 h 6"/>
                <a:gd name="T4" fmla="*/ 15120939 w 12"/>
                <a:gd name="T5" fmla="*/ 15120939 h 6"/>
                <a:gd name="T6" fmla="*/ 30241878 w 12"/>
                <a:gd name="T7" fmla="*/ 15120939 h 6"/>
                <a:gd name="T8" fmla="*/ 30241878 w 12"/>
                <a:gd name="T9" fmla="*/ 0 h 6"/>
                <a:gd name="T10" fmla="*/ 15120939 w 12"/>
                <a:gd name="T11" fmla="*/ 0 h 6"/>
                <a:gd name="T12" fmla="*/ 0 w 12"/>
                <a:gd name="T13" fmla="*/ 0 h 6"/>
                <a:gd name="T14" fmla="*/ 0 60000 65536"/>
                <a:gd name="T15" fmla="*/ 0 60000 65536"/>
                <a:gd name="T16" fmla="*/ 0 60000 65536"/>
                <a:gd name="T17" fmla="*/ 0 60000 65536"/>
                <a:gd name="T18" fmla="*/ 0 60000 65536"/>
                <a:gd name="T19" fmla="*/ 0 60000 65536"/>
                <a:gd name="T20" fmla="*/ 0 60000 65536"/>
                <a:gd name="T21" fmla="*/ 0 w 12"/>
                <a:gd name="T22" fmla="*/ 0 h 6"/>
                <a:gd name="T23" fmla="*/ 12 w 1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6">
                  <a:moveTo>
                    <a:pt x="0" y="0"/>
                  </a:moveTo>
                  <a:lnTo>
                    <a:pt x="0" y="6"/>
                  </a:lnTo>
                  <a:lnTo>
                    <a:pt x="6" y="6"/>
                  </a:lnTo>
                  <a:lnTo>
                    <a:pt x="12" y="6"/>
                  </a:lnTo>
                  <a:lnTo>
                    <a:pt x="12"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1" name="Freeform 213"/>
            <p:cNvSpPr>
              <a:spLocks/>
            </p:cNvSpPr>
            <p:nvPr/>
          </p:nvSpPr>
          <p:spPr bwMode="auto">
            <a:xfrm>
              <a:off x="3427570" y="4212542"/>
              <a:ext cx="19401" cy="1463"/>
            </a:xfrm>
            <a:custGeom>
              <a:avLst/>
              <a:gdLst>
                <a:gd name="T0" fmla="*/ 0 w 12"/>
                <a:gd name="T1" fmla="*/ 0 h 1587"/>
                <a:gd name="T2" fmla="*/ 15120939 w 12"/>
                <a:gd name="T3" fmla="*/ 0 h 1587"/>
                <a:gd name="T4" fmla="*/ 30241878 w 12"/>
                <a:gd name="T5" fmla="*/ 0 h 1587"/>
                <a:gd name="T6" fmla="*/ 15120939 w 12"/>
                <a:gd name="T7" fmla="*/ 0 h 1587"/>
                <a:gd name="T8" fmla="*/ 0 w 12"/>
                <a:gd name="T9" fmla="*/ 0 h 1587"/>
                <a:gd name="T10" fmla="*/ 0 60000 65536"/>
                <a:gd name="T11" fmla="*/ 0 60000 65536"/>
                <a:gd name="T12" fmla="*/ 0 60000 65536"/>
                <a:gd name="T13" fmla="*/ 0 60000 65536"/>
                <a:gd name="T14" fmla="*/ 0 60000 65536"/>
                <a:gd name="T15" fmla="*/ 0 w 12"/>
                <a:gd name="T16" fmla="*/ 0 h 1587"/>
                <a:gd name="T17" fmla="*/ 12 w 12"/>
                <a:gd name="T18" fmla="*/ 1587 h 1587"/>
              </a:gdLst>
              <a:ahLst/>
              <a:cxnLst>
                <a:cxn ang="T10">
                  <a:pos x="T0" y="T1"/>
                </a:cxn>
                <a:cxn ang="T11">
                  <a:pos x="T2" y="T3"/>
                </a:cxn>
                <a:cxn ang="T12">
                  <a:pos x="T4" y="T5"/>
                </a:cxn>
                <a:cxn ang="T13">
                  <a:pos x="T6" y="T7"/>
                </a:cxn>
                <a:cxn ang="T14">
                  <a:pos x="T8" y="T9"/>
                </a:cxn>
              </a:cxnLst>
              <a:rect l="T15" t="T16" r="T17" b="T18"/>
              <a:pathLst>
                <a:path w="12" h="1587">
                  <a:moveTo>
                    <a:pt x="0" y="0"/>
                  </a:moveTo>
                  <a:lnTo>
                    <a:pt x="6" y="0"/>
                  </a:lnTo>
                  <a:lnTo>
                    <a:pt x="12"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2" name="Freeform 214"/>
            <p:cNvSpPr>
              <a:spLocks/>
            </p:cNvSpPr>
            <p:nvPr/>
          </p:nvSpPr>
          <p:spPr bwMode="auto">
            <a:xfrm>
              <a:off x="3367749" y="4230101"/>
              <a:ext cx="19401" cy="8779"/>
            </a:xfrm>
            <a:custGeom>
              <a:avLst/>
              <a:gdLst>
                <a:gd name="T0" fmla="*/ 0 w 12"/>
                <a:gd name="T1" fmla="*/ 15120939 h 6"/>
                <a:gd name="T2" fmla="*/ 15120939 w 12"/>
                <a:gd name="T3" fmla="*/ 0 h 6"/>
                <a:gd name="T4" fmla="*/ 30241878 w 12"/>
                <a:gd name="T5" fmla="*/ 0 h 6"/>
                <a:gd name="T6" fmla="*/ 15120939 w 12"/>
                <a:gd name="T7" fmla="*/ 0 h 6"/>
                <a:gd name="T8" fmla="*/ 15120939 w 12"/>
                <a:gd name="T9" fmla="*/ 15120939 h 6"/>
                <a:gd name="T10" fmla="*/ 0 w 12"/>
                <a:gd name="T11" fmla="*/ 15120939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0" y="6"/>
                  </a:moveTo>
                  <a:lnTo>
                    <a:pt x="6" y="0"/>
                  </a:lnTo>
                  <a:lnTo>
                    <a:pt x="12" y="0"/>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3" name="Freeform 215"/>
            <p:cNvSpPr>
              <a:spLocks/>
            </p:cNvSpPr>
            <p:nvPr/>
          </p:nvSpPr>
          <p:spPr bwMode="auto">
            <a:xfrm>
              <a:off x="3466373" y="4202299"/>
              <a:ext cx="9701" cy="10243"/>
            </a:xfrm>
            <a:custGeom>
              <a:avLst/>
              <a:gdLst>
                <a:gd name="T0" fmla="*/ 0 w 6"/>
                <a:gd name="T1" fmla="*/ 17642683 h 7"/>
                <a:gd name="T2" fmla="*/ 15120939 w 6"/>
                <a:gd name="T3" fmla="*/ 0 h 7"/>
                <a:gd name="T4" fmla="*/ 0 w 6"/>
                <a:gd name="T5" fmla="*/ 0 h 7"/>
                <a:gd name="T6" fmla="*/ 0 w 6"/>
                <a:gd name="T7" fmla="*/ 17642683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7"/>
                  </a:moveTo>
                  <a:lnTo>
                    <a:pt x="6" y="0"/>
                  </a:ln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4" name="Freeform 216"/>
            <p:cNvSpPr>
              <a:spLocks/>
            </p:cNvSpPr>
            <p:nvPr/>
          </p:nvSpPr>
          <p:spPr bwMode="auto">
            <a:xfrm>
              <a:off x="3317629" y="4427631"/>
              <a:ext cx="11318" cy="1464"/>
            </a:xfrm>
            <a:custGeom>
              <a:avLst/>
              <a:gdLst>
                <a:gd name="T0" fmla="*/ 0 w 7"/>
                <a:gd name="T1" fmla="*/ 0 h 1588"/>
                <a:gd name="T2" fmla="*/ 17642683 w 7"/>
                <a:gd name="T3" fmla="*/ 0 h 1588"/>
                <a:gd name="T4" fmla="*/ 0 w 7"/>
                <a:gd name="T5" fmla="*/ 0 h 1588"/>
                <a:gd name="T6" fmla="*/ 0 60000 65536"/>
                <a:gd name="T7" fmla="*/ 0 60000 65536"/>
                <a:gd name="T8" fmla="*/ 0 60000 65536"/>
                <a:gd name="T9" fmla="*/ 0 w 7"/>
                <a:gd name="T10" fmla="*/ 0 h 1588"/>
                <a:gd name="T11" fmla="*/ 7 w 7"/>
                <a:gd name="T12" fmla="*/ 1588 h 1588"/>
              </a:gdLst>
              <a:ahLst/>
              <a:cxnLst>
                <a:cxn ang="T6">
                  <a:pos x="T0" y="T1"/>
                </a:cxn>
                <a:cxn ang="T7">
                  <a:pos x="T2" y="T3"/>
                </a:cxn>
                <a:cxn ang="T8">
                  <a:pos x="T4" y="T5"/>
                </a:cxn>
              </a:cxnLst>
              <a:rect l="T9" t="T10" r="T11" b="T12"/>
              <a:pathLst>
                <a:path w="7" h="1588">
                  <a:moveTo>
                    <a:pt x="0" y="0"/>
                  </a:moveTo>
                  <a:lnTo>
                    <a:pt x="7"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5" name="Freeform 217"/>
            <p:cNvSpPr>
              <a:spLocks/>
            </p:cNvSpPr>
            <p:nvPr/>
          </p:nvSpPr>
          <p:spPr bwMode="auto">
            <a:xfrm>
              <a:off x="3497092" y="4193520"/>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6" name="Freeform 218"/>
            <p:cNvSpPr>
              <a:spLocks/>
            </p:cNvSpPr>
            <p:nvPr/>
          </p:nvSpPr>
          <p:spPr bwMode="auto">
            <a:xfrm>
              <a:off x="3180203" y="4453969"/>
              <a:ext cx="307188" cy="260449"/>
            </a:xfrm>
            <a:custGeom>
              <a:avLst/>
              <a:gdLst>
                <a:gd name="T0" fmla="*/ 75604688 w 190"/>
                <a:gd name="T1" fmla="*/ 153728734 h 178"/>
                <a:gd name="T2" fmla="*/ 90725621 w 190"/>
                <a:gd name="T3" fmla="*/ 183972187 h 178"/>
                <a:gd name="T4" fmla="*/ 108367527 w 190"/>
                <a:gd name="T5" fmla="*/ 216733462 h 178"/>
                <a:gd name="T6" fmla="*/ 123486872 w 190"/>
                <a:gd name="T7" fmla="*/ 216733462 h 178"/>
                <a:gd name="T8" fmla="*/ 123486872 w 190"/>
                <a:gd name="T9" fmla="*/ 231854395 h 178"/>
                <a:gd name="T10" fmla="*/ 138607805 w 190"/>
                <a:gd name="T11" fmla="*/ 246975327 h 178"/>
                <a:gd name="T12" fmla="*/ 168851258 w 190"/>
                <a:gd name="T13" fmla="*/ 262096259 h 178"/>
                <a:gd name="T14" fmla="*/ 199093123 w 190"/>
                <a:gd name="T15" fmla="*/ 277217192 h 178"/>
                <a:gd name="T16" fmla="*/ 199093123 w 190"/>
                <a:gd name="T17" fmla="*/ 307459056 h 178"/>
                <a:gd name="T18" fmla="*/ 199093123 w 190"/>
                <a:gd name="T19" fmla="*/ 340221870 h 178"/>
                <a:gd name="T20" fmla="*/ 262096265 w 190"/>
                <a:gd name="T21" fmla="*/ 340221870 h 178"/>
                <a:gd name="T22" fmla="*/ 277217198 w 190"/>
                <a:gd name="T23" fmla="*/ 307459056 h 178"/>
                <a:gd name="T24" fmla="*/ 292338130 w 190"/>
                <a:gd name="T25" fmla="*/ 307459056 h 178"/>
                <a:gd name="T26" fmla="*/ 292338130 w 190"/>
                <a:gd name="T27" fmla="*/ 325100938 h 178"/>
                <a:gd name="T28" fmla="*/ 292338130 w 190"/>
                <a:gd name="T29" fmla="*/ 340221870 h 178"/>
                <a:gd name="T30" fmla="*/ 292338130 w 190"/>
                <a:gd name="T31" fmla="*/ 385584667 h 178"/>
                <a:gd name="T32" fmla="*/ 307459063 w 190"/>
                <a:gd name="T33" fmla="*/ 385584667 h 178"/>
                <a:gd name="T34" fmla="*/ 337700928 w 190"/>
                <a:gd name="T35" fmla="*/ 400705599 h 178"/>
                <a:gd name="T36" fmla="*/ 355342810 w 190"/>
                <a:gd name="T37" fmla="*/ 430947563 h 178"/>
                <a:gd name="T38" fmla="*/ 385584675 w 190"/>
                <a:gd name="T39" fmla="*/ 448587857 h 178"/>
                <a:gd name="T40" fmla="*/ 415826541 w 190"/>
                <a:gd name="T41" fmla="*/ 430947563 h 178"/>
                <a:gd name="T42" fmla="*/ 415826541 w 190"/>
                <a:gd name="T43" fmla="*/ 415826532 h 178"/>
                <a:gd name="T44" fmla="*/ 400705608 w 190"/>
                <a:gd name="T45" fmla="*/ 385584667 h 178"/>
                <a:gd name="T46" fmla="*/ 400705608 w 190"/>
                <a:gd name="T47" fmla="*/ 340221870 h 178"/>
                <a:gd name="T48" fmla="*/ 415826541 w 190"/>
                <a:gd name="T49" fmla="*/ 292338124 h 178"/>
                <a:gd name="T50" fmla="*/ 446068505 w 190"/>
                <a:gd name="T51" fmla="*/ 307459056 h 178"/>
                <a:gd name="T52" fmla="*/ 461189438 w 190"/>
                <a:gd name="T53" fmla="*/ 277217192 h 178"/>
                <a:gd name="T54" fmla="*/ 478829732 w 190"/>
                <a:gd name="T55" fmla="*/ 246975327 h 178"/>
                <a:gd name="T56" fmla="*/ 478829732 w 190"/>
                <a:gd name="T57" fmla="*/ 231854395 h 178"/>
                <a:gd name="T58" fmla="*/ 461189438 w 190"/>
                <a:gd name="T59" fmla="*/ 231854395 h 178"/>
                <a:gd name="T60" fmla="*/ 461189438 w 190"/>
                <a:gd name="T61" fmla="*/ 216733462 h 178"/>
                <a:gd name="T62" fmla="*/ 461189438 w 190"/>
                <a:gd name="T63" fmla="*/ 201612480 h 178"/>
                <a:gd name="T64" fmla="*/ 446068505 w 190"/>
                <a:gd name="T65" fmla="*/ 168851254 h 178"/>
                <a:gd name="T66" fmla="*/ 400705608 w 190"/>
                <a:gd name="T67" fmla="*/ 168851254 h 178"/>
                <a:gd name="T68" fmla="*/ 385584675 w 190"/>
                <a:gd name="T69" fmla="*/ 138607802 h 178"/>
                <a:gd name="T70" fmla="*/ 400705608 w 190"/>
                <a:gd name="T71" fmla="*/ 108367525 h 178"/>
                <a:gd name="T72" fmla="*/ 415826541 w 190"/>
                <a:gd name="T73" fmla="*/ 78124048 h 178"/>
                <a:gd name="T74" fmla="*/ 385584675 w 190"/>
                <a:gd name="T75" fmla="*/ 60483754 h 178"/>
                <a:gd name="T76" fmla="*/ 355342810 w 190"/>
                <a:gd name="T77" fmla="*/ 60483754 h 178"/>
                <a:gd name="T78" fmla="*/ 322579996 w 190"/>
                <a:gd name="T79" fmla="*/ 45362809 h 178"/>
                <a:gd name="T80" fmla="*/ 307459063 w 190"/>
                <a:gd name="T81" fmla="*/ 15120939 h 178"/>
                <a:gd name="T82" fmla="*/ 277217198 w 190"/>
                <a:gd name="T83" fmla="*/ 15120939 h 178"/>
                <a:gd name="T84" fmla="*/ 277217198 w 190"/>
                <a:gd name="T85" fmla="*/ 0 h 178"/>
                <a:gd name="T86" fmla="*/ 262096265 w 190"/>
                <a:gd name="T87" fmla="*/ 30241877 h 178"/>
                <a:gd name="T88" fmla="*/ 246975332 w 190"/>
                <a:gd name="T89" fmla="*/ 15120939 h 178"/>
                <a:gd name="T90" fmla="*/ 214214105 w 190"/>
                <a:gd name="T91" fmla="*/ 30241877 h 178"/>
                <a:gd name="T92" fmla="*/ 214214105 w 190"/>
                <a:gd name="T93" fmla="*/ 45362809 h 178"/>
                <a:gd name="T94" fmla="*/ 168851258 w 190"/>
                <a:gd name="T95" fmla="*/ 60483754 h 178"/>
                <a:gd name="T96" fmla="*/ 153728738 w 190"/>
                <a:gd name="T97" fmla="*/ 60483754 h 178"/>
                <a:gd name="T98" fmla="*/ 123486872 w 190"/>
                <a:gd name="T99" fmla="*/ 45362809 h 178"/>
                <a:gd name="T100" fmla="*/ 108367527 w 190"/>
                <a:gd name="T101" fmla="*/ 45362809 h 178"/>
                <a:gd name="T102" fmla="*/ 90725621 w 190"/>
                <a:gd name="T103" fmla="*/ 30241877 h 178"/>
                <a:gd name="T104" fmla="*/ 45362810 w 190"/>
                <a:gd name="T105" fmla="*/ 60483754 h 178"/>
                <a:gd name="T106" fmla="*/ 0 w 190"/>
                <a:gd name="T107" fmla="*/ 108367525 h 178"/>
                <a:gd name="T108" fmla="*/ 15120939 w 190"/>
                <a:gd name="T109" fmla="*/ 138607802 h 178"/>
                <a:gd name="T110" fmla="*/ 30241878 w 190"/>
                <a:gd name="T111" fmla="*/ 168851254 h 178"/>
                <a:gd name="T112" fmla="*/ 45362810 w 190"/>
                <a:gd name="T113" fmla="*/ 168851254 h 1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0"/>
                <a:gd name="T172" fmla="*/ 0 h 178"/>
                <a:gd name="T173" fmla="*/ 190 w 190"/>
                <a:gd name="T174" fmla="*/ 178 h 1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0" h="178">
                  <a:moveTo>
                    <a:pt x="24" y="67"/>
                  </a:moveTo>
                  <a:lnTo>
                    <a:pt x="30" y="67"/>
                  </a:lnTo>
                  <a:lnTo>
                    <a:pt x="30" y="61"/>
                  </a:lnTo>
                  <a:lnTo>
                    <a:pt x="30" y="67"/>
                  </a:lnTo>
                  <a:lnTo>
                    <a:pt x="36" y="67"/>
                  </a:lnTo>
                  <a:lnTo>
                    <a:pt x="36" y="73"/>
                  </a:lnTo>
                  <a:lnTo>
                    <a:pt x="36" y="80"/>
                  </a:lnTo>
                  <a:lnTo>
                    <a:pt x="36" y="86"/>
                  </a:lnTo>
                  <a:lnTo>
                    <a:pt x="43" y="86"/>
                  </a:lnTo>
                  <a:lnTo>
                    <a:pt x="43" y="92"/>
                  </a:lnTo>
                  <a:lnTo>
                    <a:pt x="43" y="86"/>
                  </a:lnTo>
                  <a:lnTo>
                    <a:pt x="49" y="86"/>
                  </a:lnTo>
                  <a:lnTo>
                    <a:pt x="49" y="92"/>
                  </a:lnTo>
                  <a:lnTo>
                    <a:pt x="49" y="86"/>
                  </a:lnTo>
                  <a:lnTo>
                    <a:pt x="49" y="92"/>
                  </a:lnTo>
                  <a:lnTo>
                    <a:pt x="55" y="86"/>
                  </a:lnTo>
                  <a:lnTo>
                    <a:pt x="55" y="92"/>
                  </a:lnTo>
                  <a:lnTo>
                    <a:pt x="55" y="98"/>
                  </a:lnTo>
                  <a:lnTo>
                    <a:pt x="55" y="104"/>
                  </a:lnTo>
                  <a:lnTo>
                    <a:pt x="61" y="104"/>
                  </a:lnTo>
                  <a:lnTo>
                    <a:pt x="67" y="104"/>
                  </a:lnTo>
                  <a:lnTo>
                    <a:pt x="73" y="104"/>
                  </a:lnTo>
                  <a:lnTo>
                    <a:pt x="79" y="104"/>
                  </a:lnTo>
                  <a:lnTo>
                    <a:pt x="79" y="110"/>
                  </a:lnTo>
                  <a:lnTo>
                    <a:pt x="85" y="110"/>
                  </a:lnTo>
                  <a:lnTo>
                    <a:pt x="79" y="116"/>
                  </a:lnTo>
                  <a:lnTo>
                    <a:pt x="79" y="122"/>
                  </a:lnTo>
                  <a:lnTo>
                    <a:pt x="85" y="129"/>
                  </a:lnTo>
                  <a:lnTo>
                    <a:pt x="79" y="129"/>
                  </a:lnTo>
                  <a:lnTo>
                    <a:pt x="79" y="135"/>
                  </a:lnTo>
                  <a:lnTo>
                    <a:pt x="85" y="135"/>
                  </a:lnTo>
                  <a:lnTo>
                    <a:pt x="92" y="135"/>
                  </a:lnTo>
                  <a:lnTo>
                    <a:pt x="104" y="135"/>
                  </a:lnTo>
                  <a:lnTo>
                    <a:pt x="104" y="129"/>
                  </a:lnTo>
                  <a:lnTo>
                    <a:pt x="104" y="122"/>
                  </a:lnTo>
                  <a:lnTo>
                    <a:pt x="110" y="122"/>
                  </a:lnTo>
                  <a:lnTo>
                    <a:pt x="110" y="116"/>
                  </a:lnTo>
                  <a:lnTo>
                    <a:pt x="116" y="116"/>
                  </a:lnTo>
                  <a:lnTo>
                    <a:pt x="116" y="122"/>
                  </a:lnTo>
                  <a:lnTo>
                    <a:pt x="110" y="122"/>
                  </a:lnTo>
                  <a:lnTo>
                    <a:pt x="110" y="129"/>
                  </a:lnTo>
                  <a:lnTo>
                    <a:pt x="116" y="129"/>
                  </a:lnTo>
                  <a:lnTo>
                    <a:pt x="110" y="129"/>
                  </a:lnTo>
                  <a:lnTo>
                    <a:pt x="110" y="135"/>
                  </a:lnTo>
                  <a:lnTo>
                    <a:pt x="116" y="135"/>
                  </a:lnTo>
                  <a:lnTo>
                    <a:pt x="116" y="141"/>
                  </a:lnTo>
                  <a:lnTo>
                    <a:pt x="116" y="147"/>
                  </a:lnTo>
                  <a:lnTo>
                    <a:pt x="116" y="153"/>
                  </a:lnTo>
                  <a:lnTo>
                    <a:pt x="116" y="147"/>
                  </a:lnTo>
                  <a:lnTo>
                    <a:pt x="122" y="147"/>
                  </a:lnTo>
                  <a:lnTo>
                    <a:pt x="122" y="153"/>
                  </a:lnTo>
                  <a:lnTo>
                    <a:pt x="128" y="153"/>
                  </a:lnTo>
                  <a:lnTo>
                    <a:pt x="128" y="159"/>
                  </a:lnTo>
                  <a:lnTo>
                    <a:pt x="134" y="159"/>
                  </a:lnTo>
                  <a:lnTo>
                    <a:pt x="134" y="165"/>
                  </a:lnTo>
                  <a:lnTo>
                    <a:pt x="141" y="165"/>
                  </a:lnTo>
                  <a:lnTo>
                    <a:pt x="141" y="171"/>
                  </a:lnTo>
                  <a:lnTo>
                    <a:pt x="141" y="178"/>
                  </a:lnTo>
                  <a:lnTo>
                    <a:pt x="147" y="178"/>
                  </a:lnTo>
                  <a:lnTo>
                    <a:pt x="153" y="178"/>
                  </a:lnTo>
                  <a:lnTo>
                    <a:pt x="153" y="171"/>
                  </a:lnTo>
                  <a:lnTo>
                    <a:pt x="159" y="171"/>
                  </a:lnTo>
                  <a:lnTo>
                    <a:pt x="165" y="171"/>
                  </a:lnTo>
                  <a:lnTo>
                    <a:pt x="159" y="171"/>
                  </a:lnTo>
                  <a:lnTo>
                    <a:pt x="165" y="171"/>
                  </a:lnTo>
                  <a:lnTo>
                    <a:pt x="165" y="165"/>
                  </a:lnTo>
                  <a:lnTo>
                    <a:pt x="165" y="159"/>
                  </a:lnTo>
                  <a:lnTo>
                    <a:pt x="159" y="159"/>
                  </a:lnTo>
                  <a:lnTo>
                    <a:pt x="159" y="153"/>
                  </a:lnTo>
                  <a:lnTo>
                    <a:pt x="159" y="147"/>
                  </a:lnTo>
                  <a:lnTo>
                    <a:pt x="159" y="141"/>
                  </a:lnTo>
                  <a:lnTo>
                    <a:pt x="159" y="135"/>
                  </a:lnTo>
                  <a:lnTo>
                    <a:pt x="165" y="129"/>
                  </a:lnTo>
                  <a:lnTo>
                    <a:pt x="165" y="122"/>
                  </a:lnTo>
                  <a:lnTo>
                    <a:pt x="165" y="116"/>
                  </a:lnTo>
                  <a:lnTo>
                    <a:pt x="171" y="116"/>
                  </a:lnTo>
                  <a:lnTo>
                    <a:pt x="177" y="116"/>
                  </a:lnTo>
                  <a:lnTo>
                    <a:pt x="177" y="122"/>
                  </a:lnTo>
                  <a:lnTo>
                    <a:pt x="177" y="116"/>
                  </a:lnTo>
                  <a:lnTo>
                    <a:pt x="177" y="110"/>
                  </a:lnTo>
                  <a:lnTo>
                    <a:pt x="183" y="110"/>
                  </a:lnTo>
                  <a:lnTo>
                    <a:pt x="183" y="104"/>
                  </a:lnTo>
                  <a:lnTo>
                    <a:pt x="190" y="104"/>
                  </a:lnTo>
                  <a:lnTo>
                    <a:pt x="190" y="98"/>
                  </a:lnTo>
                  <a:lnTo>
                    <a:pt x="183" y="98"/>
                  </a:lnTo>
                  <a:lnTo>
                    <a:pt x="190" y="98"/>
                  </a:lnTo>
                  <a:lnTo>
                    <a:pt x="190" y="92"/>
                  </a:lnTo>
                  <a:lnTo>
                    <a:pt x="183" y="92"/>
                  </a:lnTo>
                  <a:lnTo>
                    <a:pt x="190" y="92"/>
                  </a:lnTo>
                  <a:lnTo>
                    <a:pt x="183" y="92"/>
                  </a:lnTo>
                  <a:lnTo>
                    <a:pt x="183" y="86"/>
                  </a:lnTo>
                  <a:lnTo>
                    <a:pt x="183" y="92"/>
                  </a:lnTo>
                  <a:lnTo>
                    <a:pt x="183" y="86"/>
                  </a:lnTo>
                  <a:lnTo>
                    <a:pt x="183" y="92"/>
                  </a:lnTo>
                  <a:lnTo>
                    <a:pt x="177" y="86"/>
                  </a:lnTo>
                  <a:lnTo>
                    <a:pt x="183" y="80"/>
                  </a:lnTo>
                  <a:lnTo>
                    <a:pt x="177" y="80"/>
                  </a:lnTo>
                  <a:lnTo>
                    <a:pt x="177" y="73"/>
                  </a:lnTo>
                  <a:lnTo>
                    <a:pt x="177" y="67"/>
                  </a:lnTo>
                  <a:lnTo>
                    <a:pt x="171" y="67"/>
                  </a:lnTo>
                  <a:lnTo>
                    <a:pt x="165" y="67"/>
                  </a:lnTo>
                  <a:lnTo>
                    <a:pt x="159" y="67"/>
                  </a:lnTo>
                  <a:lnTo>
                    <a:pt x="153" y="67"/>
                  </a:lnTo>
                  <a:lnTo>
                    <a:pt x="153" y="61"/>
                  </a:lnTo>
                  <a:lnTo>
                    <a:pt x="153" y="55"/>
                  </a:lnTo>
                  <a:lnTo>
                    <a:pt x="159" y="55"/>
                  </a:lnTo>
                  <a:lnTo>
                    <a:pt x="159" y="49"/>
                  </a:lnTo>
                  <a:lnTo>
                    <a:pt x="159" y="43"/>
                  </a:lnTo>
                  <a:lnTo>
                    <a:pt x="159" y="37"/>
                  </a:lnTo>
                  <a:lnTo>
                    <a:pt x="165" y="37"/>
                  </a:lnTo>
                  <a:lnTo>
                    <a:pt x="165" y="31"/>
                  </a:lnTo>
                  <a:lnTo>
                    <a:pt x="159" y="31"/>
                  </a:lnTo>
                  <a:lnTo>
                    <a:pt x="153" y="31"/>
                  </a:lnTo>
                  <a:lnTo>
                    <a:pt x="153" y="24"/>
                  </a:lnTo>
                  <a:lnTo>
                    <a:pt x="147" y="24"/>
                  </a:lnTo>
                  <a:lnTo>
                    <a:pt x="147" y="18"/>
                  </a:lnTo>
                  <a:lnTo>
                    <a:pt x="141" y="24"/>
                  </a:lnTo>
                  <a:lnTo>
                    <a:pt x="134" y="24"/>
                  </a:lnTo>
                  <a:lnTo>
                    <a:pt x="134" y="18"/>
                  </a:lnTo>
                  <a:lnTo>
                    <a:pt x="128" y="18"/>
                  </a:lnTo>
                  <a:lnTo>
                    <a:pt x="128" y="12"/>
                  </a:lnTo>
                  <a:lnTo>
                    <a:pt x="122" y="12"/>
                  </a:lnTo>
                  <a:lnTo>
                    <a:pt x="122" y="6"/>
                  </a:lnTo>
                  <a:lnTo>
                    <a:pt x="116" y="12"/>
                  </a:lnTo>
                  <a:lnTo>
                    <a:pt x="110" y="12"/>
                  </a:lnTo>
                  <a:lnTo>
                    <a:pt x="110" y="6"/>
                  </a:lnTo>
                  <a:lnTo>
                    <a:pt x="110" y="12"/>
                  </a:lnTo>
                  <a:lnTo>
                    <a:pt x="110" y="6"/>
                  </a:lnTo>
                  <a:lnTo>
                    <a:pt x="110" y="0"/>
                  </a:lnTo>
                  <a:lnTo>
                    <a:pt x="110" y="6"/>
                  </a:lnTo>
                  <a:lnTo>
                    <a:pt x="104" y="6"/>
                  </a:lnTo>
                  <a:lnTo>
                    <a:pt x="104" y="12"/>
                  </a:lnTo>
                  <a:lnTo>
                    <a:pt x="98" y="6"/>
                  </a:lnTo>
                  <a:lnTo>
                    <a:pt x="98" y="12"/>
                  </a:lnTo>
                  <a:lnTo>
                    <a:pt x="98" y="6"/>
                  </a:lnTo>
                  <a:lnTo>
                    <a:pt x="92" y="6"/>
                  </a:lnTo>
                  <a:lnTo>
                    <a:pt x="92" y="12"/>
                  </a:lnTo>
                  <a:lnTo>
                    <a:pt x="85" y="12"/>
                  </a:lnTo>
                  <a:lnTo>
                    <a:pt x="85" y="18"/>
                  </a:lnTo>
                  <a:lnTo>
                    <a:pt x="85" y="24"/>
                  </a:lnTo>
                  <a:lnTo>
                    <a:pt x="85" y="18"/>
                  </a:lnTo>
                  <a:lnTo>
                    <a:pt x="79" y="18"/>
                  </a:lnTo>
                  <a:lnTo>
                    <a:pt x="73" y="24"/>
                  </a:lnTo>
                  <a:lnTo>
                    <a:pt x="67" y="24"/>
                  </a:lnTo>
                  <a:lnTo>
                    <a:pt x="67" y="31"/>
                  </a:lnTo>
                  <a:lnTo>
                    <a:pt x="67" y="24"/>
                  </a:lnTo>
                  <a:lnTo>
                    <a:pt x="61" y="24"/>
                  </a:lnTo>
                  <a:lnTo>
                    <a:pt x="55" y="24"/>
                  </a:lnTo>
                  <a:lnTo>
                    <a:pt x="55" y="18"/>
                  </a:lnTo>
                  <a:lnTo>
                    <a:pt x="49" y="18"/>
                  </a:lnTo>
                  <a:lnTo>
                    <a:pt x="49" y="24"/>
                  </a:lnTo>
                  <a:lnTo>
                    <a:pt x="43" y="24"/>
                  </a:lnTo>
                  <a:lnTo>
                    <a:pt x="43" y="18"/>
                  </a:lnTo>
                  <a:lnTo>
                    <a:pt x="36" y="18"/>
                  </a:lnTo>
                  <a:lnTo>
                    <a:pt x="43" y="18"/>
                  </a:lnTo>
                  <a:lnTo>
                    <a:pt x="36" y="12"/>
                  </a:lnTo>
                  <a:lnTo>
                    <a:pt x="36" y="18"/>
                  </a:lnTo>
                  <a:lnTo>
                    <a:pt x="24" y="18"/>
                  </a:lnTo>
                  <a:lnTo>
                    <a:pt x="18" y="24"/>
                  </a:lnTo>
                  <a:lnTo>
                    <a:pt x="12" y="31"/>
                  </a:lnTo>
                  <a:lnTo>
                    <a:pt x="0" y="37"/>
                  </a:lnTo>
                  <a:lnTo>
                    <a:pt x="0" y="43"/>
                  </a:lnTo>
                  <a:lnTo>
                    <a:pt x="6" y="43"/>
                  </a:lnTo>
                  <a:lnTo>
                    <a:pt x="6" y="49"/>
                  </a:lnTo>
                  <a:lnTo>
                    <a:pt x="6" y="55"/>
                  </a:lnTo>
                  <a:lnTo>
                    <a:pt x="6" y="61"/>
                  </a:lnTo>
                  <a:lnTo>
                    <a:pt x="12" y="61"/>
                  </a:lnTo>
                  <a:lnTo>
                    <a:pt x="12" y="67"/>
                  </a:lnTo>
                  <a:lnTo>
                    <a:pt x="18" y="67"/>
                  </a:lnTo>
                  <a:lnTo>
                    <a:pt x="18" y="73"/>
                  </a:lnTo>
                  <a:lnTo>
                    <a:pt x="18" y="67"/>
                  </a:lnTo>
                  <a:lnTo>
                    <a:pt x="24" y="6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7" name="Freeform 219"/>
            <p:cNvSpPr>
              <a:spLocks/>
            </p:cNvSpPr>
            <p:nvPr/>
          </p:nvSpPr>
          <p:spPr bwMode="auto">
            <a:xfrm>
              <a:off x="3367750" y="4462748"/>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8" name="Freeform 220"/>
            <p:cNvSpPr>
              <a:spLocks/>
            </p:cNvSpPr>
            <p:nvPr/>
          </p:nvSpPr>
          <p:spPr bwMode="auto">
            <a:xfrm>
              <a:off x="3446972" y="4023789"/>
              <a:ext cx="722700" cy="967173"/>
            </a:xfrm>
            <a:custGeom>
              <a:avLst/>
              <a:gdLst>
                <a:gd name="T0" fmla="*/ 1066027744 w 447"/>
                <a:gd name="T1" fmla="*/ 572076522 h 661"/>
                <a:gd name="T2" fmla="*/ 1003023017 w 447"/>
                <a:gd name="T3" fmla="*/ 463708998 h 661"/>
                <a:gd name="T4" fmla="*/ 1050906800 w 447"/>
                <a:gd name="T5" fmla="*/ 340222023 h 661"/>
                <a:gd name="T6" fmla="*/ 1003023017 w 447"/>
                <a:gd name="T7" fmla="*/ 262096377 h 661"/>
                <a:gd name="T8" fmla="*/ 957660185 w 447"/>
                <a:gd name="T9" fmla="*/ 201612571 h 661"/>
                <a:gd name="T10" fmla="*/ 912297353 w 447"/>
                <a:gd name="T11" fmla="*/ 138609452 h 661"/>
                <a:gd name="T12" fmla="*/ 834173269 w 447"/>
                <a:gd name="T13" fmla="*/ 123488513 h 661"/>
                <a:gd name="T14" fmla="*/ 834173269 w 447"/>
                <a:gd name="T15" fmla="*/ 108367574 h 661"/>
                <a:gd name="T16" fmla="*/ 771168344 w 447"/>
                <a:gd name="T17" fmla="*/ 138609452 h 661"/>
                <a:gd name="T18" fmla="*/ 756047400 w 447"/>
                <a:gd name="T19" fmla="*/ 168851330 h 661"/>
                <a:gd name="T20" fmla="*/ 695563624 w 447"/>
                <a:gd name="T21" fmla="*/ 216733560 h 661"/>
                <a:gd name="T22" fmla="*/ 617439540 w 447"/>
                <a:gd name="T23" fmla="*/ 216733560 h 661"/>
                <a:gd name="T24" fmla="*/ 632560484 w 447"/>
                <a:gd name="T25" fmla="*/ 138609452 h 661"/>
                <a:gd name="T26" fmla="*/ 602318596 w 447"/>
                <a:gd name="T27" fmla="*/ 123488513 h 661"/>
                <a:gd name="T28" fmla="*/ 493951037 w 447"/>
                <a:gd name="T29" fmla="*/ 93246610 h 661"/>
                <a:gd name="T30" fmla="*/ 493951037 w 447"/>
                <a:gd name="T31" fmla="*/ 45362830 h 661"/>
                <a:gd name="T32" fmla="*/ 385584966 w 447"/>
                <a:gd name="T33" fmla="*/ 15120945 h 661"/>
                <a:gd name="T34" fmla="*/ 340222134 w 447"/>
                <a:gd name="T35" fmla="*/ 45362830 h 661"/>
                <a:gd name="T36" fmla="*/ 340222134 w 447"/>
                <a:gd name="T37" fmla="*/ 108367574 h 661"/>
                <a:gd name="T38" fmla="*/ 370464022 w 447"/>
                <a:gd name="T39" fmla="*/ 201612571 h 661"/>
                <a:gd name="T40" fmla="*/ 418346316 w 447"/>
                <a:gd name="T41" fmla="*/ 246975438 h 661"/>
                <a:gd name="T42" fmla="*/ 448588205 w 447"/>
                <a:gd name="T43" fmla="*/ 292338256 h 661"/>
                <a:gd name="T44" fmla="*/ 355343078 w 447"/>
                <a:gd name="T45" fmla="*/ 246975438 h 661"/>
                <a:gd name="T46" fmla="*/ 292338350 w 447"/>
                <a:gd name="T47" fmla="*/ 292338256 h 661"/>
                <a:gd name="T48" fmla="*/ 277217406 w 447"/>
                <a:gd name="T49" fmla="*/ 292338256 h 661"/>
                <a:gd name="T50" fmla="*/ 138609497 w 447"/>
                <a:gd name="T51" fmla="*/ 292338256 h 661"/>
                <a:gd name="T52" fmla="*/ 153730441 w 447"/>
                <a:gd name="T53" fmla="*/ 385584841 h 661"/>
                <a:gd name="T54" fmla="*/ 108367609 w 447"/>
                <a:gd name="T55" fmla="*/ 509071815 h 661"/>
                <a:gd name="T56" fmla="*/ 123488553 w 447"/>
                <a:gd name="T57" fmla="*/ 617439340 h 661"/>
                <a:gd name="T58" fmla="*/ 63004752 w 447"/>
                <a:gd name="T59" fmla="*/ 677923096 h 661"/>
                <a:gd name="T60" fmla="*/ 15120950 w 447"/>
                <a:gd name="T61" fmla="*/ 695563398 h 661"/>
                <a:gd name="T62" fmla="*/ 15120950 w 447"/>
                <a:gd name="T63" fmla="*/ 801409972 h 661"/>
                <a:gd name="T64" fmla="*/ 15120950 w 447"/>
                <a:gd name="T65" fmla="*/ 879535816 h 661"/>
                <a:gd name="T66" fmla="*/ 45362844 w 447"/>
                <a:gd name="T67" fmla="*/ 972780814 h 661"/>
                <a:gd name="T68" fmla="*/ 63004752 w 447"/>
                <a:gd name="T69" fmla="*/ 987901753 h 661"/>
                <a:gd name="T70" fmla="*/ 45362844 w 447"/>
                <a:gd name="T71" fmla="*/ 1111390216 h 661"/>
                <a:gd name="T72" fmla="*/ 78125696 w 447"/>
                <a:gd name="T73" fmla="*/ 1219756153 h 661"/>
                <a:gd name="T74" fmla="*/ 201612637 w 447"/>
                <a:gd name="T75" fmla="*/ 1265118970 h 661"/>
                <a:gd name="T76" fmla="*/ 246975518 w 447"/>
                <a:gd name="T77" fmla="*/ 1373486494 h 661"/>
                <a:gd name="T78" fmla="*/ 201612637 w 447"/>
                <a:gd name="T79" fmla="*/ 1527215248 h 661"/>
                <a:gd name="T80" fmla="*/ 277217406 w 447"/>
                <a:gd name="T81" fmla="*/ 1590219955 h 661"/>
                <a:gd name="T82" fmla="*/ 309980245 w 447"/>
                <a:gd name="T83" fmla="*/ 1590219955 h 661"/>
                <a:gd name="T84" fmla="*/ 370464022 w 447"/>
                <a:gd name="T85" fmla="*/ 1575099016 h 661"/>
                <a:gd name="T86" fmla="*/ 433467260 w 447"/>
                <a:gd name="T87" fmla="*/ 1590219955 h 661"/>
                <a:gd name="T88" fmla="*/ 541834820 w 447"/>
                <a:gd name="T89" fmla="*/ 1650703711 h 661"/>
                <a:gd name="T90" fmla="*/ 602318596 w 447"/>
                <a:gd name="T91" fmla="*/ 1620461833 h 661"/>
                <a:gd name="T92" fmla="*/ 710684568 w 447"/>
                <a:gd name="T93" fmla="*/ 1605340894 h 661"/>
                <a:gd name="T94" fmla="*/ 788810239 w 447"/>
                <a:gd name="T95" fmla="*/ 1575099016 h 661"/>
                <a:gd name="T96" fmla="*/ 879536101 w 447"/>
                <a:gd name="T97" fmla="*/ 1590219955 h 661"/>
                <a:gd name="T98" fmla="*/ 849294213 w 447"/>
                <a:gd name="T99" fmla="*/ 1466731492 h 661"/>
                <a:gd name="T100" fmla="*/ 942539241 w 447"/>
                <a:gd name="T101" fmla="*/ 1388607433 h 661"/>
                <a:gd name="T102" fmla="*/ 927418297 w 447"/>
                <a:gd name="T103" fmla="*/ 1295360848 h 661"/>
                <a:gd name="T104" fmla="*/ 834173269 w 447"/>
                <a:gd name="T105" fmla="*/ 1189514274 h 661"/>
                <a:gd name="T106" fmla="*/ 803931183 w 447"/>
                <a:gd name="T107" fmla="*/ 1096269277 h 661"/>
                <a:gd name="T108" fmla="*/ 756047400 w 447"/>
                <a:gd name="T109" fmla="*/ 1003022692 h 661"/>
                <a:gd name="T110" fmla="*/ 834173269 w 447"/>
                <a:gd name="T111" fmla="*/ 972780814 h 661"/>
                <a:gd name="T112" fmla="*/ 957660185 w 447"/>
                <a:gd name="T113" fmla="*/ 909777694 h 661"/>
                <a:gd name="T114" fmla="*/ 1035785856 w 447"/>
                <a:gd name="T115" fmla="*/ 864414877 h 661"/>
                <a:gd name="T116" fmla="*/ 1096269632 w 447"/>
                <a:gd name="T117" fmla="*/ 894656755 h 661"/>
                <a:gd name="T118" fmla="*/ 1111390576 w 447"/>
                <a:gd name="T119" fmla="*/ 756047154 h 6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7"/>
                <a:gd name="T181" fmla="*/ 0 h 661"/>
                <a:gd name="T182" fmla="*/ 447 w 447"/>
                <a:gd name="T183" fmla="*/ 661 h 6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7" h="661">
                  <a:moveTo>
                    <a:pt x="429" y="288"/>
                  </a:moveTo>
                  <a:lnTo>
                    <a:pt x="429" y="282"/>
                  </a:lnTo>
                  <a:lnTo>
                    <a:pt x="429" y="276"/>
                  </a:lnTo>
                  <a:lnTo>
                    <a:pt x="423" y="269"/>
                  </a:lnTo>
                  <a:lnTo>
                    <a:pt x="429" y="257"/>
                  </a:lnTo>
                  <a:lnTo>
                    <a:pt x="429" y="251"/>
                  </a:lnTo>
                  <a:lnTo>
                    <a:pt x="429" y="245"/>
                  </a:lnTo>
                  <a:lnTo>
                    <a:pt x="429" y="239"/>
                  </a:lnTo>
                  <a:lnTo>
                    <a:pt x="429" y="233"/>
                  </a:lnTo>
                  <a:lnTo>
                    <a:pt x="423" y="227"/>
                  </a:lnTo>
                  <a:lnTo>
                    <a:pt x="423" y="220"/>
                  </a:lnTo>
                  <a:lnTo>
                    <a:pt x="423" y="208"/>
                  </a:lnTo>
                  <a:lnTo>
                    <a:pt x="423" y="202"/>
                  </a:lnTo>
                  <a:lnTo>
                    <a:pt x="423" y="196"/>
                  </a:lnTo>
                  <a:lnTo>
                    <a:pt x="417" y="196"/>
                  </a:lnTo>
                  <a:lnTo>
                    <a:pt x="417" y="190"/>
                  </a:lnTo>
                  <a:lnTo>
                    <a:pt x="411" y="190"/>
                  </a:lnTo>
                  <a:lnTo>
                    <a:pt x="411" y="184"/>
                  </a:lnTo>
                  <a:lnTo>
                    <a:pt x="404" y="184"/>
                  </a:lnTo>
                  <a:lnTo>
                    <a:pt x="398" y="184"/>
                  </a:lnTo>
                  <a:lnTo>
                    <a:pt x="404" y="178"/>
                  </a:lnTo>
                  <a:lnTo>
                    <a:pt x="404" y="171"/>
                  </a:lnTo>
                  <a:lnTo>
                    <a:pt x="404" y="165"/>
                  </a:lnTo>
                  <a:lnTo>
                    <a:pt x="411" y="165"/>
                  </a:lnTo>
                  <a:lnTo>
                    <a:pt x="411" y="159"/>
                  </a:lnTo>
                  <a:lnTo>
                    <a:pt x="411" y="153"/>
                  </a:lnTo>
                  <a:lnTo>
                    <a:pt x="411" y="147"/>
                  </a:lnTo>
                  <a:lnTo>
                    <a:pt x="417" y="147"/>
                  </a:lnTo>
                  <a:lnTo>
                    <a:pt x="417" y="141"/>
                  </a:lnTo>
                  <a:lnTo>
                    <a:pt x="417" y="135"/>
                  </a:lnTo>
                  <a:lnTo>
                    <a:pt x="411" y="129"/>
                  </a:lnTo>
                  <a:lnTo>
                    <a:pt x="411" y="122"/>
                  </a:lnTo>
                  <a:lnTo>
                    <a:pt x="411" y="116"/>
                  </a:lnTo>
                  <a:lnTo>
                    <a:pt x="411" y="110"/>
                  </a:lnTo>
                  <a:lnTo>
                    <a:pt x="411" y="104"/>
                  </a:lnTo>
                  <a:lnTo>
                    <a:pt x="404" y="104"/>
                  </a:lnTo>
                  <a:lnTo>
                    <a:pt x="411" y="104"/>
                  </a:lnTo>
                  <a:lnTo>
                    <a:pt x="404" y="98"/>
                  </a:lnTo>
                  <a:lnTo>
                    <a:pt x="404" y="104"/>
                  </a:lnTo>
                  <a:lnTo>
                    <a:pt x="398" y="104"/>
                  </a:lnTo>
                  <a:lnTo>
                    <a:pt x="404" y="104"/>
                  </a:lnTo>
                  <a:lnTo>
                    <a:pt x="398" y="104"/>
                  </a:lnTo>
                  <a:lnTo>
                    <a:pt x="392" y="98"/>
                  </a:lnTo>
                  <a:lnTo>
                    <a:pt x="386" y="98"/>
                  </a:lnTo>
                  <a:lnTo>
                    <a:pt x="386" y="92"/>
                  </a:lnTo>
                  <a:lnTo>
                    <a:pt x="386" y="86"/>
                  </a:lnTo>
                  <a:lnTo>
                    <a:pt x="392" y="86"/>
                  </a:lnTo>
                  <a:lnTo>
                    <a:pt x="386" y="86"/>
                  </a:lnTo>
                  <a:lnTo>
                    <a:pt x="386" y="80"/>
                  </a:lnTo>
                  <a:lnTo>
                    <a:pt x="380" y="80"/>
                  </a:lnTo>
                  <a:lnTo>
                    <a:pt x="386" y="80"/>
                  </a:lnTo>
                  <a:lnTo>
                    <a:pt x="386" y="73"/>
                  </a:lnTo>
                  <a:lnTo>
                    <a:pt x="380" y="67"/>
                  </a:lnTo>
                  <a:lnTo>
                    <a:pt x="374" y="67"/>
                  </a:lnTo>
                  <a:lnTo>
                    <a:pt x="368" y="67"/>
                  </a:lnTo>
                  <a:lnTo>
                    <a:pt x="368" y="73"/>
                  </a:lnTo>
                  <a:lnTo>
                    <a:pt x="368" y="67"/>
                  </a:lnTo>
                  <a:lnTo>
                    <a:pt x="362" y="67"/>
                  </a:lnTo>
                  <a:lnTo>
                    <a:pt x="362" y="61"/>
                  </a:lnTo>
                  <a:lnTo>
                    <a:pt x="362" y="55"/>
                  </a:lnTo>
                  <a:lnTo>
                    <a:pt x="355" y="61"/>
                  </a:lnTo>
                  <a:lnTo>
                    <a:pt x="355" y="55"/>
                  </a:lnTo>
                  <a:lnTo>
                    <a:pt x="355" y="61"/>
                  </a:lnTo>
                  <a:lnTo>
                    <a:pt x="349" y="55"/>
                  </a:lnTo>
                  <a:lnTo>
                    <a:pt x="349" y="49"/>
                  </a:lnTo>
                  <a:lnTo>
                    <a:pt x="349" y="43"/>
                  </a:lnTo>
                  <a:lnTo>
                    <a:pt x="343" y="43"/>
                  </a:lnTo>
                  <a:lnTo>
                    <a:pt x="337" y="43"/>
                  </a:lnTo>
                  <a:lnTo>
                    <a:pt x="337" y="49"/>
                  </a:lnTo>
                  <a:lnTo>
                    <a:pt x="331" y="49"/>
                  </a:lnTo>
                  <a:lnTo>
                    <a:pt x="325" y="49"/>
                  </a:lnTo>
                  <a:lnTo>
                    <a:pt x="319" y="49"/>
                  </a:lnTo>
                  <a:lnTo>
                    <a:pt x="319" y="55"/>
                  </a:lnTo>
                  <a:lnTo>
                    <a:pt x="313" y="55"/>
                  </a:lnTo>
                  <a:lnTo>
                    <a:pt x="319" y="55"/>
                  </a:lnTo>
                  <a:lnTo>
                    <a:pt x="319" y="49"/>
                  </a:lnTo>
                  <a:lnTo>
                    <a:pt x="319" y="43"/>
                  </a:lnTo>
                  <a:lnTo>
                    <a:pt x="325" y="49"/>
                  </a:lnTo>
                  <a:lnTo>
                    <a:pt x="325" y="43"/>
                  </a:lnTo>
                  <a:lnTo>
                    <a:pt x="331" y="43"/>
                  </a:lnTo>
                  <a:lnTo>
                    <a:pt x="325" y="43"/>
                  </a:lnTo>
                  <a:lnTo>
                    <a:pt x="331" y="43"/>
                  </a:lnTo>
                  <a:lnTo>
                    <a:pt x="337" y="43"/>
                  </a:lnTo>
                  <a:lnTo>
                    <a:pt x="343" y="43"/>
                  </a:lnTo>
                  <a:lnTo>
                    <a:pt x="331" y="43"/>
                  </a:lnTo>
                  <a:lnTo>
                    <a:pt x="325" y="37"/>
                  </a:lnTo>
                  <a:lnTo>
                    <a:pt x="319" y="43"/>
                  </a:lnTo>
                  <a:lnTo>
                    <a:pt x="319" y="49"/>
                  </a:lnTo>
                  <a:lnTo>
                    <a:pt x="313" y="55"/>
                  </a:lnTo>
                  <a:lnTo>
                    <a:pt x="306" y="55"/>
                  </a:lnTo>
                  <a:lnTo>
                    <a:pt x="306" y="61"/>
                  </a:lnTo>
                  <a:lnTo>
                    <a:pt x="300" y="61"/>
                  </a:lnTo>
                  <a:lnTo>
                    <a:pt x="300" y="67"/>
                  </a:lnTo>
                  <a:lnTo>
                    <a:pt x="306" y="61"/>
                  </a:lnTo>
                  <a:lnTo>
                    <a:pt x="306" y="67"/>
                  </a:lnTo>
                  <a:lnTo>
                    <a:pt x="300" y="67"/>
                  </a:lnTo>
                  <a:lnTo>
                    <a:pt x="300" y="73"/>
                  </a:lnTo>
                  <a:lnTo>
                    <a:pt x="306" y="73"/>
                  </a:lnTo>
                  <a:lnTo>
                    <a:pt x="300" y="73"/>
                  </a:lnTo>
                  <a:lnTo>
                    <a:pt x="300" y="67"/>
                  </a:lnTo>
                  <a:lnTo>
                    <a:pt x="300" y="61"/>
                  </a:lnTo>
                  <a:lnTo>
                    <a:pt x="294" y="67"/>
                  </a:lnTo>
                  <a:lnTo>
                    <a:pt x="288" y="67"/>
                  </a:lnTo>
                  <a:lnTo>
                    <a:pt x="282" y="67"/>
                  </a:lnTo>
                  <a:lnTo>
                    <a:pt x="276" y="67"/>
                  </a:lnTo>
                  <a:lnTo>
                    <a:pt x="276" y="73"/>
                  </a:lnTo>
                  <a:lnTo>
                    <a:pt x="282" y="73"/>
                  </a:lnTo>
                  <a:lnTo>
                    <a:pt x="276" y="73"/>
                  </a:lnTo>
                  <a:lnTo>
                    <a:pt x="276" y="80"/>
                  </a:lnTo>
                  <a:lnTo>
                    <a:pt x="276" y="86"/>
                  </a:lnTo>
                  <a:lnTo>
                    <a:pt x="270" y="92"/>
                  </a:lnTo>
                  <a:lnTo>
                    <a:pt x="270" y="86"/>
                  </a:lnTo>
                  <a:lnTo>
                    <a:pt x="264" y="86"/>
                  </a:lnTo>
                  <a:lnTo>
                    <a:pt x="264" y="80"/>
                  </a:lnTo>
                  <a:lnTo>
                    <a:pt x="257" y="80"/>
                  </a:lnTo>
                  <a:lnTo>
                    <a:pt x="251" y="80"/>
                  </a:lnTo>
                  <a:lnTo>
                    <a:pt x="245" y="80"/>
                  </a:lnTo>
                  <a:lnTo>
                    <a:pt x="245" y="86"/>
                  </a:lnTo>
                  <a:lnTo>
                    <a:pt x="245" y="92"/>
                  </a:lnTo>
                  <a:lnTo>
                    <a:pt x="245" y="86"/>
                  </a:lnTo>
                  <a:lnTo>
                    <a:pt x="245" y="92"/>
                  </a:lnTo>
                  <a:lnTo>
                    <a:pt x="239" y="92"/>
                  </a:lnTo>
                  <a:lnTo>
                    <a:pt x="239" y="86"/>
                  </a:lnTo>
                  <a:lnTo>
                    <a:pt x="245" y="80"/>
                  </a:lnTo>
                  <a:lnTo>
                    <a:pt x="239" y="80"/>
                  </a:lnTo>
                  <a:lnTo>
                    <a:pt x="239" y="73"/>
                  </a:lnTo>
                  <a:lnTo>
                    <a:pt x="245" y="73"/>
                  </a:lnTo>
                  <a:lnTo>
                    <a:pt x="245" y="67"/>
                  </a:lnTo>
                  <a:lnTo>
                    <a:pt x="251" y="61"/>
                  </a:lnTo>
                  <a:lnTo>
                    <a:pt x="251" y="55"/>
                  </a:lnTo>
                  <a:lnTo>
                    <a:pt x="251" y="49"/>
                  </a:lnTo>
                  <a:lnTo>
                    <a:pt x="257" y="49"/>
                  </a:lnTo>
                  <a:lnTo>
                    <a:pt x="257" y="43"/>
                  </a:lnTo>
                  <a:lnTo>
                    <a:pt x="264" y="43"/>
                  </a:lnTo>
                  <a:lnTo>
                    <a:pt x="257" y="37"/>
                  </a:lnTo>
                  <a:lnTo>
                    <a:pt x="251" y="37"/>
                  </a:lnTo>
                  <a:lnTo>
                    <a:pt x="251" y="43"/>
                  </a:lnTo>
                  <a:lnTo>
                    <a:pt x="251" y="49"/>
                  </a:lnTo>
                  <a:lnTo>
                    <a:pt x="245" y="43"/>
                  </a:lnTo>
                  <a:lnTo>
                    <a:pt x="239" y="49"/>
                  </a:lnTo>
                  <a:lnTo>
                    <a:pt x="233" y="55"/>
                  </a:lnTo>
                  <a:lnTo>
                    <a:pt x="227" y="49"/>
                  </a:lnTo>
                  <a:lnTo>
                    <a:pt x="221" y="43"/>
                  </a:lnTo>
                  <a:lnTo>
                    <a:pt x="215" y="43"/>
                  </a:lnTo>
                  <a:lnTo>
                    <a:pt x="208" y="43"/>
                  </a:lnTo>
                  <a:lnTo>
                    <a:pt x="208" y="49"/>
                  </a:lnTo>
                  <a:lnTo>
                    <a:pt x="208" y="43"/>
                  </a:lnTo>
                  <a:lnTo>
                    <a:pt x="208" y="37"/>
                  </a:lnTo>
                  <a:lnTo>
                    <a:pt x="202" y="37"/>
                  </a:lnTo>
                  <a:lnTo>
                    <a:pt x="196" y="37"/>
                  </a:lnTo>
                  <a:lnTo>
                    <a:pt x="196" y="43"/>
                  </a:lnTo>
                  <a:lnTo>
                    <a:pt x="190" y="43"/>
                  </a:lnTo>
                  <a:lnTo>
                    <a:pt x="190" y="37"/>
                  </a:lnTo>
                  <a:lnTo>
                    <a:pt x="196" y="37"/>
                  </a:lnTo>
                  <a:lnTo>
                    <a:pt x="202" y="37"/>
                  </a:lnTo>
                  <a:lnTo>
                    <a:pt x="202" y="31"/>
                  </a:lnTo>
                  <a:lnTo>
                    <a:pt x="202" y="24"/>
                  </a:lnTo>
                  <a:lnTo>
                    <a:pt x="196" y="18"/>
                  </a:lnTo>
                  <a:lnTo>
                    <a:pt x="202" y="18"/>
                  </a:lnTo>
                  <a:lnTo>
                    <a:pt x="196" y="18"/>
                  </a:lnTo>
                  <a:lnTo>
                    <a:pt x="196" y="12"/>
                  </a:lnTo>
                  <a:lnTo>
                    <a:pt x="190" y="12"/>
                  </a:lnTo>
                  <a:lnTo>
                    <a:pt x="184" y="6"/>
                  </a:lnTo>
                  <a:lnTo>
                    <a:pt x="178" y="6"/>
                  </a:lnTo>
                  <a:lnTo>
                    <a:pt x="184" y="6"/>
                  </a:lnTo>
                  <a:lnTo>
                    <a:pt x="178" y="6"/>
                  </a:lnTo>
                  <a:lnTo>
                    <a:pt x="172" y="6"/>
                  </a:lnTo>
                  <a:lnTo>
                    <a:pt x="166" y="12"/>
                  </a:lnTo>
                  <a:lnTo>
                    <a:pt x="159" y="6"/>
                  </a:lnTo>
                  <a:lnTo>
                    <a:pt x="153" y="6"/>
                  </a:lnTo>
                  <a:lnTo>
                    <a:pt x="147" y="6"/>
                  </a:lnTo>
                  <a:lnTo>
                    <a:pt x="147" y="0"/>
                  </a:lnTo>
                  <a:lnTo>
                    <a:pt x="141" y="6"/>
                  </a:lnTo>
                  <a:lnTo>
                    <a:pt x="141" y="0"/>
                  </a:lnTo>
                  <a:lnTo>
                    <a:pt x="141" y="6"/>
                  </a:lnTo>
                  <a:lnTo>
                    <a:pt x="135" y="6"/>
                  </a:lnTo>
                  <a:lnTo>
                    <a:pt x="135" y="0"/>
                  </a:lnTo>
                  <a:lnTo>
                    <a:pt x="135" y="6"/>
                  </a:lnTo>
                  <a:lnTo>
                    <a:pt x="135" y="12"/>
                  </a:lnTo>
                  <a:lnTo>
                    <a:pt x="135" y="18"/>
                  </a:lnTo>
                  <a:lnTo>
                    <a:pt x="141" y="18"/>
                  </a:lnTo>
                  <a:lnTo>
                    <a:pt x="141" y="24"/>
                  </a:lnTo>
                  <a:lnTo>
                    <a:pt x="141" y="31"/>
                  </a:lnTo>
                  <a:lnTo>
                    <a:pt x="147" y="24"/>
                  </a:lnTo>
                  <a:lnTo>
                    <a:pt x="147" y="31"/>
                  </a:lnTo>
                  <a:lnTo>
                    <a:pt x="147" y="37"/>
                  </a:lnTo>
                  <a:lnTo>
                    <a:pt x="153" y="37"/>
                  </a:lnTo>
                  <a:lnTo>
                    <a:pt x="147" y="43"/>
                  </a:lnTo>
                  <a:lnTo>
                    <a:pt x="141" y="43"/>
                  </a:lnTo>
                  <a:lnTo>
                    <a:pt x="135" y="43"/>
                  </a:lnTo>
                  <a:lnTo>
                    <a:pt x="135" y="49"/>
                  </a:lnTo>
                  <a:lnTo>
                    <a:pt x="129" y="49"/>
                  </a:lnTo>
                  <a:lnTo>
                    <a:pt x="129" y="55"/>
                  </a:lnTo>
                  <a:lnTo>
                    <a:pt x="135" y="55"/>
                  </a:lnTo>
                  <a:lnTo>
                    <a:pt x="141" y="55"/>
                  </a:lnTo>
                  <a:lnTo>
                    <a:pt x="141" y="61"/>
                  </a:lnTo>
                  <a:lnTo>
                    <a:pt x="141" y="67"/>
                  </a:lnTo>
                  <a:lnTo>
                    <a:pt x="147" y="67"/>
                  </a:lnTo>
                  <a:lnTo>
                    <a:pt x="153" y="73"/>
                  </a:lnTo>
                  <a:lnTo>
                    <a:pt x="147" y="80"/>
                  </a:lnTo>
                  <a:lnTo>
                    <a:pt x="147" y="73"/>
                  </a:lnTo>
                  <a:lnTo>
                    <a:pt x="141" y="80"/>
                  </a:lnTo>
                  <a:lnTo>
                    <a:pt x="147" y="80"/>
                  </a:lnTo>
                  <a:lnTo>
                    <a:pt x="147" y="86"/>
                  </a:lnTo>
                  <a:lnTo>
                    <a:pt x="147" y="92"/>
                  </a:lnTo>
                  <a:lnTo>
                    <a:pt x="153" y="86"/>
                  </a:lnTo>
                  <a:lnTo>
                    <a:pt x="153" y="92"/>
                  </a:lnTo>
                  <a:lnTo>
                    <a:pt x="159" y="92"/>
                  </a:lnTo>
                  <a:lnTo>
                    <a:pt x="166" y="92"/>
                  </a:lnTo>
                  <a:lnTo>
                    <a:pt x="166" y="98"/>
                  </a:lnTo>
                  <a:lnTo>
                    <a:pt x="172" y="98"/>
                  </a:lnTo>
                  <a:lnTo>
                    <a:pt x="172" y="104"/>
                  </a:lnTo>
                  <a:lnTo>
                    <a:pt x="178" y="104"/>
                  </a:lnTo>
                  <a:lnTo>
                    <a:pt x="178" y="110"/>
                  </a:lnTo>
                  <a:lnTo>
                    <a:pt x="178" y="116"/>
                  </a:lnTo>
                  <a:lnTo>
                    <a:pt x="184" y="116"/>
                  </a:lnTo>
                  <a:lnTo>
                    <a:pt x="190" y="116"/>
                  </a:lnTo>
                  <a:lnTo>
                    <a:pt x="190" y="122"/>
                  </a:lnTo>
                  <a:lnTo>
                    <a:pt x="184" y="122"/>
                  </a:lnTo>
                  <a:lnTo>
                    <a:pt x="178" y="116"/>
                  </a:lnTo>
                  <a:lnTo>
                    <a:pt x="178" y="110"/>
                  </a:lnTo>
                  <a:lnTo>
                    <a:pt x="172" y="110"/>
                  </a:lnTo>
                  <a:lnTo>
                    <a:pt x="172" y="104"/>
                  </a:lnTo>
                  <a:lnTo>
                    <a:pt x="166" y="98"/>
                  </a:lnTo>
                  <a:lnTo>
                    <a:pt x="166" y="92"/>
                  </a:lnTo>
                  <a:lnTo>
                    <a:pt x="159" y="92"/>
                  </a:lnTo>
                  <a:lnTo>
                    <a:pt x="153" y="92"/>
                  </a:lnTo>
                  <a:lnTo>
                    <a:pt x="147" y="92"/>
                  </a:lnTo>
                  <a:lnTo>
                    <a:pt x="147" y="98"/>
                  </a:lnTo>
                  <a:lnTo>
                    <a:pt x="141" y="98"/>
                  </a:lnTo>
                  <a:lnTo>
                    <a:pt x="135" y="92"/>
                  </a:lnTo>
                  <a:lnTo>
                    <a:pt x="129" y="92"/>
                  </a:lnTo>
                  <a:lnTo>
                    <a:pt x="129" y="104"/>
                  </a:lnTo>
                  <a:lnTo>
                    <a:pt x="123" y="104"/>
                  </a:lnTo>
                  <a:lnTo>
                    <a:pt x="123" y="110"/>
                  </a:lnTo>
                  <a:lnTo>
                    <a:pt x="129" y="110"/>
                  </a:lnTo>
                  <a:lnTo>
                    <a:pt x="129" y="116"/>
                  </a:lnTo>
                  <a:lnTo>
                    <a:pt x="129" y="122"/>
                  </a:lnTo>
                  <a:lnTo>
                    <a:pt x="123" y="116"/>
                  </a:lnTo>
                  <a:lnTo>
                    <a:pt x="116" y="116"/>
                  </a:lnTo>
                  <a:lnTo>
                    <a:pt x="110" y="122"/>
                  </a:lnTo>
                  <a:lnTo>
                    <a:pt x="116" y="122"/>
                  </a:lnTo>
                  <a:lnTo>
                    <a:pt x="116" y="129"/>
                  </a:lnTo>
                  <a:lnTo>
                    <a:pt x="116" y="135"/>
                  </a:lnTo>
                  <a:lnTo>
                    <a:pt x="110" y="135"/>
                  </a:lnTo>
                  <a:lnTo>
                    <a:pt x="110" y="129"/>
                  </a:lnTo>
                  <a:lnTo>
                    <a:pt x="104" y="129"/>
                  </a:lnTo>
                  <a:lnTo>
                    <a:pt x="104" y="122"/>
                  </a:lnTo>
                  <a:lnTo>
                    <a:pt x="110" y="122"/>
                  </a:lnTo>
                  <a:lnTo>
                    <a:pt x="110" y="116"/>
                  </a:lnTo>
                  <a:lnTo>
                    <a:pt x="104" y="110"/>
                  </a:lnTo>
                  <a:lnTo>
                    <a:pt x="104" y="104"/>
                  </a:lnTo>
                  <a:lnTo>
                    <a:pt x="98" y="104"/>
                  </a:lnTo>
                  <a:lnTo>
                    <a:pt x="92" y="104"/>
                  </a:lnTo>
                  <a:lnTo>
                    <a:pt x="86" y="104"/>
                  </a:lnTo>
                  <a:lnTo>
                    <a:pt x="80" y="110"/>
                  </a:lnTo>
                  <a:lnTo>
                    <a:pt x="74" y="110"/>
                  </a:lnTo>
                  <a:lnTo>
                    <a:pt x="67" y="110"/>
                  </a:lnTo>
                  <a:lnTo>
                    <a:pt x="61" y="110"/>
                  </a:lnTo>
                  <a:lnTo>
                    <a:pt x="55" y="116"/>
                  </a:lnTo>
                  <a:lnTo>
                    <a:pt x="55" y="122"/>
                  </a:lnTo>
                  <a:lnTo>
                    <a:pt x="61" y="122"/>
                  </a:lnTo>
                  <a:lnTo>
                    <a:pt x="55" y="122"/>
                  </a:lnTo>
                  <a:lnTo>
                    <a:pt x="55" y="135"/>
                  </a:lnTo>
                  <a:lnTo>
                    <a:pt x="55" y="141"/>
                  </a:lnTo>
                  <a:lnTo>
                    <a:pt x="61" y="141"/>
                  </a:lnTo>
                  <a:lnTo>
                    <a:pt x="67" y="141"/>
                  </a:lnTo>
                  <a:lnTo>
                    <a:pt x="67" y="147"/>
                  </a:lnTo>
                  <a:lnTo>
                    <a:pt x="61" y="147"/>
                  </a:lnTo>
                  <a:lnTo>
                    <a:pt x="61" y="153"/>
                  </a:lnTo>
                  <a:lnTo>
                    <a:pt x="61" y="159"/>
                  </a:lnTo>
                  <a:lnTo>
                    <a:pt x="61" y="165"/>
                  </a:lnTo>
                  <a:lnTo>
                    <a:pt x="61" y="171"/>
                  </a:lnTo>
                  <a:lnTo>
                    <a:pt x="55" y="178"/>
                  </a:lnTo>
                  <a:lnTo>
                    <a:pt x="55" y="184"/>
                  </a:lnTo>
                  <a:lnTo>
                    <a:pt x="55" y="196"/>
                  </a:lnTo>
                  <a:lnTo>
                    <a:pt x="49" y="196"/>
                  </a:lnTo>
                  <a:lnTo>
                    <a:pt x="43" y="196"/>
                  </a:lnTo>
                  <a:lnTo>
                    <a:pt x="37" y="202"/>
                  </a:lnTo>
                  <a:lnTo>
                    <a:pt x="43" y="202"/>
                  </a:lnTo>
                  <a:lnTo>
                    <a:pt x="37" y="202"/>
                  </a:lnTo>
                  <a:lnTo>
                    <a:pt x="37" y="208"/>
                  </a:lnTo>
                  <a:lnTo>
                    <a:pt x="43" y="214"/>
                  </a:lnTo>
                  <a:lnTo>
                    <a:pt x="49" y="214"/>
                  </a:lnTo>
                  <a:lnTo>
                    <a:pt x="55" y="214"/>
                  </a:lnTo>
                  <a:lnTo>
                    <a:pt x="55" y="220"/>
                  </a:lnTo>
                  <a:lnTo>
                    <a:pt x="55" y="227"/>
                  </a:lnTo>
                  <a:lnTo>
                    <a:pt x="55" y="233"/>
                  </a:lnTo>
                  <a:lnTo>
                    <a:pt x="49" y="239"/>
                  </a:lnTo>
                  <a:lnTo>
                    <a:pt x="49" y="245"/>
                  </a:lnTo>
                  <a:lnTo>
                    <a:pt x="43" y="245"/>
                  </a:lnTo>
                  <a:lnTo>
                    <a:pt x="37" y="245"/>
                  </a:lnTo>
                  <a:lnTo>
                    <a:pt x="37" y="251"/>
                  </a:lnTo>
                  <a:lnTo>
                    <a:pt x="43" y="251"/>
                  </a:lnTo>
                  <a:lnTo>
                    <a:pt x="43" y="257"/>
                  </a:lnTo>
                  <a:lnTo>
                    <a:pt x="43" y="263"/>
                  </a:lnTo>
                  <a:lnTo>
                    <a:pt x="37" y="263"/>
                  </a:lnTo>
                  <a:lnTo>
                    <a:pt x="31" y="263"/>
                  </a:lnTo>
                  <a:lnTo>
                    <a:pt x="25" y="263"/>
                  </a:lnTo>
                  <a:lnTo>
                    <a:pt x="25" y="269"/>
                  </a:lnTo>
                  <a:lnTo>
                    <a:pt x="25" y="263"/>
                  </a:lnTo>
                  <a:lnTo>
                    <a:pt x="18" y="263"/>
                  </a:lnTo>
                  <a:lnTo>
                    <a:pt x="12" y="263"/>
                  </a:lnTo>
                  <a:lnTo>
                    <a:pt x="6" y="263"/>
                  </a:lnTo>
                  <a:lnTo>
                    <a:pt x="6" y="269"/>
                  </a:lnTo>
                  <a:lnTo>
                    <a:pt x="0" y="269"/>
                  </a:lnTo>
                  <a:lnTo>
                    <a:pt x="6" y="269"/>
                  </a:lnTo>
                  <a:lnTo>
                    <a:pt x="6" y="276"/>
                  </a:lnTo>
                  <a:lnTo>
                    <a:pt x="0" y="276"/>
                  </a:lnTo>
                  <a:lnTo>
                    <a:pt x="6" y="276"/>
                  </a:lnTo>
                  <a:lnTo>
                    <a:pt x="6" y="282"/>
                  </a:lnTo>
                  <a:lnTo>
                    <a:pt x="12" y="282"/>
                  </a:lnTo>
                  <a:lnTo>
                    <a:pt x="12" y="288"/>
                  </a:lnTo>
                  <a:lnTo>
                    <a:pt x="12" y="294"/>
                  </a:lnTo>
                  <a:lnTo>
                    <a:pt x="18" y="300"/>
                  </a:lnTo>
                  <a:lnTo>
                    <a:pt x="12" y="306"/>
                  </a:lnTo>
                  <a:lnTo>
                    <a:pt x="18" y="306"/>
                  </a:lnTo>
                  <a:lnTo>
                    <a:pt x="12" y="312"/>
                  </a:lnTo>
                  <a:lnTo>
                    <a:pt x="12" y="318"/>
                  </a:lnTo>
                  <a:lnTo>
                    <a:pt x="6" y="318"/>
                  </a:lnTo>
                  <a:lnTo>
                    <a:pt x="6" y="325"/>
                  </a:lnTo>
                  <a:lnTo>
                    <a:pt x="12" y="325"/>
                  </a:lnTo>
                  <a:lnTo>
                    <a:pt x="12" y="331"/>
                  </a:lnTo>
                  <a:lnTo>
                    <a:pt x="6" y="331"/>
                  </a:lnTo>
                  <a:lnTo>
                    <a:pt x="0" y="337"/>
                  </a:lnTo>
                  <a:lnTo>
                    <a:pt x="0" y="343"/>
                  </a:lnTo>
                  <a:lnTo>
                    <a:pt x="6" y="343"/>
                  </a:lnTo>
                  <a:lnTo>
                    <a:pt x="6" y="349"/>
                  </a:lnTo>
                  <a:lnTo>
                    <a:pt x="12" y="349"/>
                  </a:lnTo>
                  <a:lnTo>
                    <a:pt x="6" y="349"/>
                  </a:lnTo>
                  <a:lnTo>
                    <a:pt x="6" y="355"/>
                  </a:lnTo>
                  <a:lnTo>
                    <a:pt x="6" y="349"/>
                  </a:lnTo>
                  <a:lnTo>
                    <a:pt x="6" y="355"/>
                  </a:lnTo>
                  <a:lnTo>
                    <a:pt x="6" y="361"/>
                  </a:lnTo>
                  <a:lnTo>
                    <a:pt x="12" y="361"/>
                  </a:lnTo>
                  <a:lnTo>
                    <a:pt x="12" y="367"/>
                  </a:lnTo>
                  <a:lnTo>
                    <a:pt x="12" y="374"/>
                  </a:lnTo>
                  <a:lnTo>
                    <a:pt x="18" y="374"/>
                  </a:lnTo>
                  <a:lnTo>
                    <a:pt x="12" y="380"/>
                  </a:lnTo>
                  <a:lnTo>
                    <a:pt x="18" y="386"/>
                  </a:lnTo>
                  <a:lnTo>
                    <a:pt x="18" y="380"/>
                  </a:lnTo>
                  <a:lnTo>
                    <a:pt x="18" y="386"/>
                  </a:lnTo>
                  <a:lnTo>
                    <a:pt x="18" y="380"/>
                  </a:lnTo>
                  <a:lnTo>
                    <a:pt x="18" y="386"/>
                  </a:lnTo>
                  <a:lnTo>
                    <a:pt x="25" y="386"/>
                  </a:lnTo>
                  <a:lnTo>
                    <a:pt x="18" y="386"/>
                  </a:lnTo>
                  <a:lnTo>
                    <a:pt x="25" y="386"/>
                  </a:lnTo>
                  <a:lnTo>
                    <a:pt x="25" y="392"/>
                  </a:lnTo>
                  <a:lnTo>
                    <a:pt x="18" y="392"/>
                  </a:lnTo>
                  <a:lnTo>
                    <a:pt x="25" y="392"/>
                  </a:lnTo>
                  <a:lnTo>
                    <a:pt x="25" y="398"/>
                  </a:lnTo>
                  <a:lnTo>
                    <a:pt x="18" y="398"/>
                  </a:lnTo>
                  <a:lnTo>
                    <a:pt x="18" y="404"/>
                  </a:lnTo>
                  <a:lnTo>
                    <a:pt x="12" y="404"/>
                  </a:lnTo>
                  <a:lnTo>
                    <a:pt x="12" y="410"/>
                  </a:lnTo>
                  <a:lnTo>
                    <a:pt x="12" y="416"/>
                  </a:lnTo>
                  <a:lnTo>
                    <a:pt x="12" y="423"/>
                  </a:lnTo>
                  <a:lnTo>
                    <a:pt x="12" y="429"/>
                  </a:lnTo>
                  <a:lnTo>
                    <a:pt x="18" y="435"/>
                  </a:lnTo>
                  <a:lnTo>
                    <a:pt x="18" y="441"/>
                  </a:lnTo>
                  <a:lnTo>
                    <a:pt x="25" y="441"/>
                  </a:lnTo>
                  <a:lnTo>
                    <a:pt x="31" y="441"/>
                  </a:lnTo>
                  <a:lnTo>
                    <a:pt x="31" y="447"/>
                  </a:lnTo>
                  <a:lnTo>
                    <a:pt x="25" y="453"/>
                  </a:lnTo>
                  <a:lnTo>
                    <a:pt x="25" y="459"/>
                  </a:lnTo>
                  <a:lnTo>
                    <a:pt x="25" y="465"/>
                  </a:lnTo>
                  <a:lnTo>
                    <a:pt x="18" y="465"/>
                  </a:lnTo>
                  <a:lnTo>
                    <a:pt x="25" y="472"/>
                  </a:lnTo>
                  <a:lnTo>
                    <a:pt x="31" y="478"/>
                  </a:lnTo>
                  <a:lnTo>
                    <a:pt x="31" y="484"/>
                  </a:lnTo>
                  <a:lnTo>
                    <a:pt x="37" y="484"/>
                  </a:lnTo>
                  <a:lnTo>
                    <a:pt x="37" y="490"/>
                  </a:lnTo>
                  <a:lnTo>
                    <a:pt x="37" y="496"/>
                  </a:lnTo>
                  <a:lnTo>
                    <a:pt x="43" y="496"/>
                  </a:lnTo>
                  <a:lnTo>
                    <a:pt x="49" y="496"/>
                  </a:lnTo>
                  <a:lnTo>
                    <a:pt x="55" y="502"/>
                  </a:lnTo>
                  <a:lnTo>
                    <a:pt x="61" y="502"/>
                  </a:lnTo>
                  <a:lnTo>
                    <a:pt x="67" y="502"/>
                  </a:lnTo>
                  <a:lnTo>
                    <a:pt x="74" y="502"/>
                  </a:lnTo>
                  <a:lnTo>
                    <a:pt x="80" y="502"/>
                  </a:lnTo>
                  <a:lnTo>
                    <a:pt x="80" y="508"/>
                  </a:lnTo>
                  <a:lnTo>
                    <a:pt x="86" y="508"/>
                  </a:lnTo>
                  <a:lnTo>
                    <a:pt x="92" y="508"/>
                  </a:lnTo>
                  <a:lnTo>
                    <a:pt x="98" y="508"/>
                  </a:lnTo>
                  <a:lnTo>
                    <a:pt x="110" y="514"/>
                  </a:lnTo>
                  <a:lnTo>
                    <a:pt x="110" y="521"/>
                  </a:lnTo>
                  <a:lnTo>
                    <a:pt x="104" y="533"/>
                  </a:lnTo>
                  <a:lnTo>
                    <a:pt x="98" y="533"/>
                  </a:lnTo>
                  <a:lnTo>
                    <a:pt x="98" y="539"/>
                  </a:lnTo>
                  <a:lnTo>
                    <a:pt x="98" y="545"/>
                  </a:lnTo>
                  <a:lnTo>
                    <a:pt x="92" y="545"/>
                  </a:lnTo>
                  <a:lnTo>
                    <a:pt x="92" y="551"/>
                  </a:lnTo>
                  <a:lnTo>
                    <a:pt x="92" y="563"/>
                  </a:lnTo>
                  <a:lnTo>
                    <a:pt x="86" y="570"/>
                  </a:lnTo>
                  <a:lnTo>
                    <a:pt x="86" y="576"/>
                  </a:lnTo>
                  <a:lnTo>
                    <a:pt x="86" y="582"/>
                  </a:lnTo>
                  <a:lnTo>
                    <a:pt x="80" y="588"/>
                  </a:lnTo>
                  <a:lnTo>
                    <a:pt x="80" y="594"/>
                  </a:lnTo>
                  <a:lnTo>
                    <a:pt x="86" y="600"/>
                  </a:lnTo>
                  <a:lnTo>
                    <a:pt x="80" y="606"/>
                  </a:lnTo>
                  <a:lnTo>
                    <a:pt x="80" y="612"/>
                  </a:lnTo>
                  <a:lnTo>
                    <a:pt x="80" y="619"/>
                  </a:lnTo>
                  <a:lnTo>
                    <a:pt x="80" y="625"/>
                  </a:lnTo>
                  <a:lnTo>
                    <a:pt x="80" y="631"/>
                  </a:lnTo>
                  <a:lnTo>
                    <a:pt x="80" y="637"/>
                  </a:lnTo>
                  <a:lnTo>
                    <a:pt x="86" y="637"/>
                  </a:lnTo>
                  <a:lnTo>
                    <a:pt x="92" y="637"/>
                  </a:lnTo>
                  <a:lnTo>
                    <a:pt x="98" y="637"/>
                  </a:lnTo>
                  <a:lnTo>
                    <a:pt x="104" y="637"/>
                  </a:lnTo>
                  <a:lnTo>
                    <a:pt x="110" y="631"/>
                  </a:lnTo>
                  <a:lnTo>
                    <a:pt x="116" y="637"/>
                  </a:lnTo>
                  <a:lnTo>
                    <a:pt x="123" y="637"/>
                  </a:lnTo>
                  <a:lnTo>
                    <a:pt x="129" y="637"/>
                  </a:lnTo>
                  <a:lnTo>
                    <a:pt x="123" y="637"/>
                  </a:lnTo>
                  <a:lnTo>
                    <a:pt x="129" y="631"/>
                  </a:lnTo>
                  <a:lnTo>
                    <a:pt x="129" y="637"/>
                  </a:lnTo>
                  <a:lnTo>
                    <a:pt x="129" y="631"/>
                  </a:lnTo>
                  <a:lnTo>
                    <a:pt x="135" y="631"/>
                  </a:lnTo>
                  <a:lnTo>
                    <a:pt x="129" y="631"/>
                  </a:lnTo>
                  <a:lnTo>
                    <a:pt x="123" y="631"/>
                  </a:lnTo>
                  <a:lnTo>
                    <a:pt x="123" y="625"/>
                  </a:lnTo>
                  <a:lnTo>
                    <a:pt x="129" y="619"/>
                  </a:lnTo>
                  <a:lnTo>
                    <a:pt x="135" y="619"/>
                  </a:lnTo>
                  <a:lnTo>
                    <a:pt x="141" y="625"/>
                  </a:lnTo>
                  <a:lnTo>
                    <a:pt x="135" y="625"/>
                  </a:lnTo>
                  <a:lnTo>
                    <a:pt x="141" y="625"/>
                  </a:lnTo>
                  <a:lnTo>
                    <a:pt x="141" y="631"/>
                  </a:lnTo>
                  <a:lnTo>
                    <a:pt x="141" y="625"/>
                  </a:lnTo>
                  <a:lnTo>
                    <a:pt x="147" y="631"/>
                  </a:lnTo>
                  <a:lnTo>
                    <a:pt x="147" y="625"/>
                  </a:lnTo>
                  <a:lnTo>
                    <a:pt x="153" y="625"/>
                  </a:lnTo>
                  <a:lnTo>
                    <a:pt x="159" y="625"/>
                  </a:lnTo>
                  <a:lnTo>
                    <a:pt x="159" y="631"/>
                  </a:lnTo>
                  <a:lnTo>
                    <a:pt x="159" y="625"/>
                  </a:lnTo>
                  <a:lnTo>
                    <a:pt x="153" y="619"/>
                  </a:lnTo>
                  <a:lnTo>
                    <a:pt x="159" y="619"/>
                  </a:lnTo>
                  <a:lnTo>
                    <a:pt x="159" y="625"/>
                  </a:lnTo>
                  <a:lnTo>
                    <a:pt x="166" y="625"/>
                  </a:lnTo>
                  <a:lnTo>
                    <a:pt x="172" y="625"/>
                  </a:lnTo>
                  <a:lnTo>
                    <a:pt x="172" y="631"/>
                  </a:lnTo>
                  <a:lnTo>
                    <a:pt x="178" y="631"/>
                  </a:lnTo>
                  <a:lnTo>
                    <a:pt x="178" y="637"/>
                  </a:lnTo>
                  <a:lnTo>
                    <a:pt x="184" y="637"/>
                  </a:lnTo>
                  <a:lnTo>
                    <a:pt x="190" y="637"/>
                  </a:lnTo>
                  <a:lnTo>
                    <a:pt x="196" y="637"/>
                  </a:lnTo>
                  <a:lnTo>
                    <a:pt x="202" y="643"/>
                  </a:lnTo>
                  <a:lnTo>
                    <a:pt x="202" y="649"/>
                  </a:lnTo>
                  <a:lnTo>
                    <a:pt x="202" y="655"/>
                  </a:lnTo>
                  <a:lnTo>
                    <a:pt x="208" y="649"/>
                  </a:lnTo>
                  <a:lnTo>
                    <a:pt x="215" y="655"/>
                  </a:lnTo>
                  <a:lnTo>
                    <a:pt x="208" y="661"/>
                  </a:lnTo>
                  <a:lnTo>
                    <a:pt x="215" y="655"/>
                  </a:lnTo>
                  <a:lnTo>
                    <a:pt x="227" y="649"/>
                  </a:lnTo>
                  <a:lnTo>
                    <a:pt x="221" y="643"/>
                  </a:lnTo>
                  <a:lnTo>
                    <a:pt x="221" y="637"/>
                  </a:lnTo>
                  <a:lnTo>
                    <a:pt x="227" y="637"/>
                  </a:lnTo>
                  <a:lnTo>
                    <a:pt x="227" y="643"/>
                  </a:lnTo>
                  <a:lnTo>
                    <a:pt x="227" y="637"/>
                  </a:lnTo>
                  <a:lnTo>
                    <a:pt x="233" y="637"/>
                  </a:lnTo>
                  <a:lnTo>
                    <a:pt x="239" y="643"/>
                  </a:lnTo>
                  <a:lnTo>
                    <a:pt x="245" y="643"/>
                  </a:lnTo>
                  <a:lnTo>
                    <a:pt x="245" y="649"/>
                  </a:lnTo>
                  <a:lnTo>
                    <a:pt x="251" y="649"/>
                  </a:lnTo>
                  <a:lnTo>
                    <a:pt x="257" y="649"/>
                  </a:lnTo>
                  <a:lnTo>
                    <a:pt x="264" y="649"/>
                  </a:lnTo>
                  <a:lnTo>
                    <a:pt x="264" y="643"/>
                  </a:lnTo>
                  <a:lnTo>
                    <a:pt x="270" y="643"/>
                  </a:lnTo>
                  <a:lnTo>
                    <a:pt x="276" y="637"/>
                  </a:lnTo>
                  <a:lnTo>
                    <a:pt x="276" y="631"/>
                  </a:lnTo>
                  <a:lnTo>
                    <a:pt x="282" y="637"/>
                  </a:lnTo>
                  <a:lnTo>
                    <a:pt x="288" y="631"/>
                  </a:lnTo>
                  <a:lnTo>
                    <a:pt x="288" y="637"/>
                  </a:lnTo>
                  <a:lnTo>
                    <a:pt x="288" y="631"/>
                  </a:lnTo>
                  <a:lnTo>
                    <a:pt x="294" y="631"/>
                  </a:lnTo>
                  <a:lnTo>
                    <a:pt x="300" y="631"/>
                  </a:lnTo>
                  <a:lnTo>
                    <a:pt x="306" y="631"/>
                  </a:lnTo>
                  <a:lnTo>
                    <a:pt x="306" y="625"/>
                  </a:lnTo>
                  <a:lnTo>
                    <a:pt x="306" y="619"/>
                  </a:lnTo>
                  <a:lnTo>
                    <a:pt x="306" y="625"/>
                  </a:lnTo>
                  <a:lnTo>
                    <a:pt x="313" y="625"/>
                  </a:lnTo>
                  <a:lnTo>
                    <a:pt x="319" y="625"/>
                  </a:lnTo>
                  <a:lnTo>
                    <a:pt x="319" y="631"/>
                  </a:lnTo>
                  <a:lnTo>
                    <a:pt x="325" y="631"/>
                  </a:lnTo>
                  <a:lnTo>
                    <a:pt x="331" y="631"/>
                  </a:lnTo>
                  <a:lnTo>
                    <a:pt x="337" y="637"/>
                  </a:lnTo>
                  <a:lnTo>
                    <a:pt x="337" y="643"/>
                  </a:lnTo>
                  <a:lnTo>
                    <a:pt x="343" y="643"/>
                  </a:lnTo>
                  <a:lnTo>
                    <a:pt x="349" y="643"/>
                  </a:lnTo>
                  <a:lnTo>
                    <a:pt x="349" y="637"/>
                  </a:lnTo>
                  <a:lnTo>
                    <a:pt x="349" y="631"/>
                  </a:lnTo>
                  <a:lnTo>
                    <a:pt x="349" y="625"/>
                  </a:lnTo>
                  <a:lnTo>
                    <a:pt x="343" y="625"/>
                  </a:lnTo>
                  <a:lnTo>
                    <a:pt x="343" y="619"/>
                  </a:lnTo>
                  <a:lnTo>
                    <a:pt x="343" y="612"/>
                  </a:lnTo>
                  <a:lnTo>
                    <a:pt x="343" y="600"/>
                  </a:lnTo>
                  <a:lnTo>
                    <a:pt x="337" y="600"/>
                  </a:lnTo>
                  <a:lnTo>
                    <a:pt x="337" y="594"/>
                  </a:lnTo>
                  <a:lnTo>
                    <a:pt x="331" y="588"/>
                  </a:lnTo>
                  <a:lnTo>
                    <a:pt x="337" y="588"/>
                  </a:lnTo>
                  <a:lnTo>
                    <a:pt x="337" y="582"/>
                  </a:lnTo>
                  <a:lnTo>
                    <a:pt x="343" y="582"/>
                  </a:lnTo>
                  <a:lnTo>
                    <a:pt x="349" y="576"/>
                  </a:lnTo>
                  <a:lnTo>
                    <a:pt x="355" y="576"/>
                  </a:lnTo>
                  <a:lnTo>
                    <a:pt x="362" y="570"/>
                  </a:lnTo>
                  <a:lnTo>
                    <a:pt x="368" y="570"/>
                  </a:lnTo>
                  <a:lnTo>
                    <a:pt x="368" y="563"/>
                  </a:lnTo>
                  <a:lnTo>
                    <a:pt x="368" y="557"/>
                  </a:lnTo>
                  <a:lnTo>
                    <a:pt x="368" y="551"/>
                  </a:lnTo>
                  <a:lnTo>
                    <a:pt x="374" y="545"/>
                  </a:lnTo>
                  <a:lnTo>
                    <a:pt x="374" y="551"/>
                  </a:lnTo>
                  <a:lnTo>
                    <a:pt x="380" y="551"/>
                  </a:lnTo>
                  <a:lnTo>
                    <a:pt x="386" y="551"/>
                  </a:lnTo>
                  <a:lnTo>
                    <a:pt x="386" y="545"/>
                  </a:lnTo>
                  <a:lnTo>
                    <a:pt x="386" y="539"/>
                  </a:lnTo>
                  <a:lnTo>
                    <a:pt x="386" y="533"/>
                  </a:lnTo>
                  <a:lnTo>
                    <a:pt x="386" y="527"/>
                  </a:lnTo>
                  <a:lnTo>
                    <a:pt x="380" y="521"/>
                  </a:lnTo>
                  <a:lnTo>
                    <a:pt x="374" y="521"/>
                  </a:lnTo>
                  <a:lnTo>
                    <a:pt x="374" y="514"/>
                  </a:lnTo>
                  <a:lnTo>
                    <a:pt x="368" y="514"/>
                  </a:lnTo>
                  <a:lnTo>
                    <a:pt x="368" y="508"/>
                  </a:lnTo>
                  <a:lnTo>
                    <a:pt x="362" y="502"/>
                  </a:lnTo>
                  <a:lnTo>
                    <a:pt x="355" y="502"/>
                  </a:lnTo>
                  <a:lnTo>
                    <a:pt x="355" y="496"/>
                  </a:lnTo>
                  <a:lnTo>
                    <a:pt x="349" y="496"/>
                  </a:lnTo>
                  <a:lnTo>
                    <a:pt x="349" y="490"/>
                  </a:lnTo>
                  <a:lnTo>
                    <a:pt x="343" y="484"/>
                  </a:lnTo>
                  <a:lnTo>
                    <a:pt x="337" y="484"/>
                  </a:lnTo>
                  <a:lnTo>
                    <a:pt x="331" y="478"/>
                  </a:lnTo>
                  <a:lnTo>
                    <a:pt x="331" y="472"/>
                  </a:lnTo>
                  <a:lnTo>
                    <a:pt x="331" y="465"/>
                  </a:lnTo>
                  <a:lnTo>
                    <a:pt x="325" y="465"/>
                  </a:lnTo>
                  <a:lnTo>
                    <a:pt x="325" y="459"/>
                  </a:lnTo>
                  <a:lnTo>
                    <a:pt x="325" y="453"/>
                  </a:lnTo>
                  <a:lnTo>
                    <a:pt x="319" y="453"/>
                  </a:lnTo>
                  <a:lnTo>
                    <a:pt x="319" y="447"/>
                  </a:lnTo>
                  <a:lnTo>
                    <a:pt x="319" y="441"/>
                  </a:lnTo>
                  <a:lnTo>
                    <a:pt x="325" y="441"/>
                  </a:lnTo>
                  <a:lnTo>
                    <a:pt x="325" y="435"/>
                  </a:lnTo>
                  <a:lnTo>
                    <a:pt x="319" y="435"/>
                  </a:lnTo>
                  <a:lnTo>
                    <a:pt x="319" y="429"/>
                  </a:lnTo>
                  <a:lnTo>
                    <a:pt x="319" y="423"/>
                  </a:lnTo>
                  <a:lnTo>
                    <a:pt x="313" y="423"/>
                  </a:lnTo>
                  <a:lnTo>
                    <a:pt x="313" y="416"/>
                  </a:lnTo>
                  <a:lnTo>
                    <a:pt x="306" y="416"/>
                  </a:lnTo>
                  <a:lnTo>
                    <a:pt x="306" y="410"/>
                  </a:lnTo>
                  <a:lnTo>
                    <a:pt x="306" y="404"/>
                  </a:lnTo>
                  <a:lnTo>
                    <a:pt x="300" y="404"/>
                  </a:lnTo>
                  <a:lnTo>
                    <a:pt x="306" y="404"/>
                  </a:lnTo>
                  <a:lnTo>
                    <a:pt x="300" y="398"/>
                  </a:lnTo>
                  <a:lnTo>
                    <a:pt x="306" y="398"/>
                  </a:lnTo>
                  <a:lnTo>
                    <a:pt x="306" y="404"/>
                  </a:lnTo>
                  <a:lnTo>
                    <a:pt x="313" y="404"/>
                  </a:lnTo>
                  <a:lnTo>
                    <a:pt x="313" y="410"/>
                  </a:lnTo>
                  <a:lnTo>
                    <a:pt x="313" y="404"/>
                  </a:lnTo>
                  <a:lnTo>
                    <a:pt x="319" y="398"/>
                  </a:lnTo>
                  <a:lnTo>
                    <a:pt x="319" y="392"/>
                  </a:lnTo>
                  <a:lnTo>
                    <a:pt x="325" y="392"/>
                  </a:lnTo>
                  <a:lnTo>
                    <a:pt x="331" y="392"/>
                  </a:lnTo>
                  <a:lnTo>
                    <a:pt x="331" y="386"/>
                  </a:lnTo>
                  <a:lnTo>
                    <a:pt x="337" y="386"/>
                  </a:lnTo>
                  <a:lnTo>
                    <a:pt x="343" y="392"/>
                  </a:lnTo>
                  <a:lnTo>
                    <a:pt x="349" y="386"/>
                  </a:lnTo>
                  <a:lnTo>
                    <a:pt x="349" y="380"/>
                  </a:lnTo>
                  <a:lnTo>
                    <a:pt x="355" y="380"/>
                  </a:lnTo>
                  <a:lnTo>
                    <a:pt x="362" y="374"/>
                  </a:lnTo>
                  <a:lnTo>
                    <a:pt x="368" y="374"/>
                  </a:lnTo>
                  <a:lnTo>
                    <a:pt x="374" y="374"/>
                  </a:lnTo>
                  <a:lnTo>
                    <a:pt x="374" y="367"/>
                  </a:lnTo>
                  <a:lnTo>
                    <a:pt x="380" y="361"/>
                  </a:lnTo>
                  <a:lnTo>
                    <a:pt x="386" y="361"/>
                  </a:lnTo>
                  <a:lnTo>
                    <a:pt x="392" y="361"/>
                  </a:lnTo>
                  <a:lnTo>
                    <a:pt x="392" y="355"/>
                  </a:lnTo>
                  <a:lnTo>
                    <a:pt x="398" y="355"/>
                  </a:lnTo>
                  <a:lnTo>
                    <a:pt x="404" y="355"/>
                  </a:lnTo>
                  <a:lnTo>
                    <a:pt x="404" y="349"/>
                  </a:lnTo>
                  <a:lnTo>
                    <a:pt x="411" y="349"/>
                  </a:lnTo>
                  <a:lnTo>
                    <a:pt x="417" y="349"/>
                  </a:lnTo>
                  <a:lnTo>
                    <a:pt x="417" y="343"/>
                  </a:lnTo>
                  <a:lnTo>
                    <a:pt x="411" y="343"/>
                  </a:lnTo>
                  <a:lnTo>
                    <a:pt x="404" y="343"/>
                  </a:lnTo>
                  <a:lnTo>
                    <a:pt x="404" y="337"/>
                  </a:lnTo>
                  <a:lnTo>
                    <a:pt x="411" y="337"/>
                  </a:lnTo>
                  <a:lnTo>
                    <a:pt x="417" y="337"/>
                  </a:lnTo>
                  <a:lnTo>
                    <a:pt x="423" y="337"/>
                  </a:lnTo>
                  <a:lnTo>
                    <a:pt x="423" y="343"/>
                  </a:lnTo>
                  <a:lnTo>
                    <a:pt x="429" y="343"/>
                  </a:lnTo>
                  <a:lnTo>
                    <a:pt x="423" y="349"/>
                  </a:lnTo>
                  <a:lnTo>
                    <a:pt x="429" y="361"/>
                  </a:lnTo>
                  <a:lnTo>
                    <a:pt x="435" y="355"/>
                  </a:lnTo>
                  <a:lnTo>
                    <a:pt x="435" y="349"/>
                  </a:lnTo>
                  <a:lnTo>
                    <a:pt x="441" y="343"/>
                  </a:lnTo>
                  <a:lnTo>
                    <a:pt x="441" y="337"/>
                  </a:lnTo>
                  <a:lnTo>
                    <a:pt x="441" y="331"/>
                  </a:lnTo>
                  <a:lnTo>
                    <a:pt x="441" y="325"/>
                  </a:lnTo>
                  <a:lnTo>
                    <a:pt x="447" y="318"/>
                  </a:lnTo>
                  <a:lnTo>
                    <a:pt x="447" y="312"/>
                  </a:lnTo>
                  <a:lnTo>
                    <a:pt x="441" y="312"/>
                  </a:lnTo>
                  <a:lnTo>
                    <a:pt x="441" y="306"/>
                  </a:lnTo>
                  <a:lnTo>
                    <a:pt x="441" y="300"/>
                  </a:lnTo>
                  <a:lnTo>
                    <a:pt x="435" y="294"/>
                  </a:lnTo>
                  <a:lnTo>
                    <a:pt x="429" y="294"/>
                  </a:lnTo>
                  <a:lnTo>
                    <a:pt x="429" y="28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499" name="Freeform 221"/>
            <p:cNvSpPr>
              <a:spLocks/>
            </p:cNvSpPr>
            <p:nvPr/>
          </p:nvSpPr>
          <p:spPr bwMode="auto">
            <a:xfrm>
              <a:off x="3446972" y="4023789"/>
              <a:ext cx="722700" cy="967173"/>
            </a:xfrm>
            <a:custGeom>
              <a:avLst/>
              <a:gdLst>
                <a:gd name="T0" fmla="*/ 1066027744 w 447"/>
                <a:gd name="T1" fmla="*/ 493950876 h 661"/>
                <a:gd name="T2" fmla="*/ 1035785856 w 447"/>
                <a:gd name="T3" fmla="*/ 415826719 h 661"/>
                <a:gd name="T4" fmla="*/ 1035785856 w 447"/>
                <a:gd name="T5" fmla="*/ 277217316 h 661"/>
                <a:gd name="T6" fmla="*/ 972781129 w 447"/>
                <a:gd name="T7" fmla="*/ 246975438 h 661"/>
                <a:gd name="T8" fmla="*/ 942539241 w 447"/>
                <a:gd name="T9" fmla="*/ 168851330 h 661"/>
                <a:gd name="T10" fmla="*/ 879536101 w 447"/>
                <a:gd name="T11" fmla="*/ 138609452 h 661"/>
                <a:gd name="T12" fmla="*/ 788810239 w 447"/>
                <a:gd name="T13" fmla="*/ 138609452 h 661"/>
                <a:gd name="T14" fmla="*/ 864415157 w 447"/>
                <a:gd name="T15" fmla="*/ 108367574 h 661"/>
                <a:gd name="T16" fmla="*/ 771168344 w 447"/>
                <a:gd name="T17" fmla="*/ 153730391 h 661"/>
                <a:gd name="T18" fmla="*/ 710684568 w 447"/>
                <a:gd name="T19" fmla="*/ 168851330 h 661"/>
                <a:gd name="T20" fmla="*/ 665321736 w 447"/>
                <a:gd name="T21" fmla="*/ 201612571 h 661"/>
                <a:gd name="T22" fmla="*/ 617439540 w 447"/>
                <a:gd name="T23" fmla="*/ 201612571 h 661"/>
                <a:gd name="T24" fmla="*/ 665321736 w 447"/>
                <a:gd name="T25" fmla="*/ 108367574 h 661"/>
                <a:gd name="T26" fmla="*/ 541834820 w 447"/>
                <a:gd name="T27" fmla="*/ 108367574 h 661"/>
                <a:gd name="T28" fmla="*/ 493951037 w 447"/>
                <a:gd name="T29" fmla="*/ 93246610 h 661"/>
                <a:gd name="T30" fmla="*/ 448588205 w 447"/>
                <a:gd name="T31" fmla="*/ 15120945 h 661"/>
                <a:gd name="T32" fmla="*/ 355343078 w 447"/>
                <a:gd name="T33" fmla="*/ 0 h 661"/>
                <a:gd name="T34" fmla="*/ 370464022 w 447"/>
                <a:gd name="T35" fmla="*/ 60483781 h 661"/>
                <a:gd name="T36" fmla="*/ 340222134 w 447"/>
                <a:gd name="T37" fmla="*/ 138609452 h 661"/>
                <a:gd name="T38" fmla="*/ 370464022 w 447"/>
                <a:gd name="T39" fmla="*/ 216733560 h 661"/>
                <a:gd name="T40" fmla="*/ 448588205 w 447"/>
                <a:gd name="T41" fmla="*/ 277217316 h 661"/>
                <a:gd name="T42" fmla="*/ 418346316 w 447"/>
                <a:gd name="T43" fmla="*/ 246975438 h 661"/>
                <a:gd name="T44" fmla="*/ 309980245 w 447"/>
                <a:gd name="T45" fmla="*/ 262096377 h 661"/>
                <a:gd name="T46" fmla="*/ 292338350 w 447"/>
                <a:gd name="T47" fmla="*/ 340222023 h 661"/>
                <a:gd name="T48" fmla="*/ 231854574 w 447"/>
                <a:gd name="T49" fmla="*/ 262096377 h 661"/>
                <a:gd name="T50" fmla="*/ 138609497 w 447"/>
                <a:gd name="T51" fmla="*/ 340222023 h 661"/>
                <a:gd name="T52" fmla="*/ 138609497 w 447"/>
                <a:gd name="T53" fmla="*/ 448588059 h 661"/>
                <a:gd name="T54" fmla="*/ 123488553 w 447"/>
                <a:gd name="T55" fmla="*/ 539313694 h 661"/>
                <a:gd name="T56" fmla="*/ 108367609 w 447"/>
                <a:gd name="T57" fmla="*/ 632560279 h 661"/>
                <a:gd name="T58" fmla="*/ 15120950 w 447"/>
                <a:gd name="T59" fmla="*/ 662802157 h 661"/>
                <a:gd name="T60" fmla="*/ 30241900 w 447"/>
                <a:gd name="T61" fmla="*/ 740926215 h 661"/>
                <a:gd name="T62" fmla="*/ 15120950 w 447"/>
                <a:gd name="T63" fmla="*/ 834172999 h 661"/>
                <a:gd name="T64" fmla="*/ 15120950 w 447"/>
                <a:gd name="T65" fmla="*/ 909777694 h 661"/>
                <a:gd name="T66" fmla="*/ 45362844 w 447"/>
                <a:gd name="T67" fmla="*/ 972780814 h 661"/>
                <a:gd name="T68" fmla="*/ 30241900 w 447"/>
                <a:gd name="T69" fmla="*/ 1018143631 h 661"/>
                <a:gd name="T70" fmla="*/ 63004752 w 447"/>
                <a:gd name="T71" fmla="*/ 1141632094 h 661"/>
                <a:gd name="T72" fmla="*/ 108367609 w 447"/>
                <a:gd name="T73" fmla="*/ 1249998031 h 661"/>
                <a:gd name="T74" fmla="*/ 246975518 w 447"/>
                <a:gd name="T75" fmla="*/ 1280239909 h 661"/>
                <a:gd name="T76" fmla="*/ 216733630 w 447"/>
                <a:gd name="T77" fmla="*/ 1436489613 h 661"/>
                <a:gd name="T78" fmla="*/ 201612637 w 447"/>
                <a:gd name="T79" fmla="*/ 1590219955 h 661"/>
                <a:gd name="T80" fmla="*/ 309980245 w 447"/>
                <a:gd name="T81" fmla="*/ 1605340894 h 661"/>
                <a:gd name="T82" fmla="*/ 355343078 w 447"/>
                <a:gd name="T83" fmla="*/ 1575099016 h 661"/>
                <a:gd name="T84" fmla="*/ 400705910 w 447"/>
                <a:gd name="T85" fmla="*/ 1575099016 h 661"/>
                <a:gd name="T86" fmla="*/ 478830093 w 447"/>
                <a:gd name="T87" fmla="*/ 1605340894 h 661"/>
                <a:gd name="T88" fmla="*/ 556955764 w 447"/>
                <a:gd name="T89" fmla="*/ 1620461833 h 661"/>
                <a:gd name="T90" fmla="*/ 647681428 w 447"/>
                <a:gd name="T91" fmla="*/ 1635582772 h 661"/>
                <a:gd name="T92" fmla="*/ 740926456 w 447"/>
                <a:gd name="T93" fmla="*/ 1590219955 h 661"/>
                <a:gd name="T94" fmla="*/ 834173269 w 447"/>
                <a:gd name="T95" fmla="*/ 1590219955 h 661"/>
                <a:gd name="T96" fmla="*/ 864415157 w 447"/>
                <a:gd name="T97" fmla="*/ 1542336187 h 661"/>
                <a:gd name="T98" fmla="*/ 912297353 w 447"/>
                <a:gd name="T99" fmla="*/ 1436489613 h 661"/>
                <a:gd name="T100" fmla="*/ 972781129 w 447"/>
                <a:gd name="T101" fmla="*/ 1358365555 h 661"/>
                <a:gd name="T102" fmla="*/ 894657045 w 447"/>
                <a:gd name="T103" fmla="*/ 1249998031 h 661"/>
                <a:gd name="T104" fmla="*/ 819052127 w 447"/>
                <a:gd name="T105" fmla="*/ 1141632094 h 661"/>
                <a:gd name="T106" fmla="*/ 788810239 w 447"/>
                <a:gd name="T107" fmla="*/ 1048385509 h 661"/>
                <a:gd name="T108" fmla="*/ 788810239 w 447"/>
                <a:gd name="T109" fmla="*/ 1033264570 h 661"/>
                <a:gd name="T110" fmla="*/ 879536101 w 447"/>
                <a:gd name="T111" fmla="*/ 957659874 h 661"/>
                <a:gd name="T112" fmla="*/ 1003023017 w 447"/>
                <a:gd name="T113" fmla="*/ 894656755 h 661"/>
                <a:gd name="T114" fmla="*/ 1050906800 w 447"/>
                <a:gd name="T115" fmla="*/ 849293938 h 661"/>
                <a:gd name="T116" fmla="*/ 1111390576 w 447"/>
                <a:gd name="T117" fmla="*/ 834172999 h 66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47"/>
                <a:gd name="T178" fmla="*/ 0 h 661"/>
                <a:gd name="T179" fmla="*/ 447 w 447"/>
                <a:gd name="T180" fmla="*/ 661 h 66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47" h="661">
                  <a:moveTo>
                    <a:pt x="429" y="257"/>
                  </a:moveTo>
                  <a:lnTo>
                    <a:pt x="429" y="251"/>
                  </a:lnTo>
                  <a:lnTo>
                    <a:pt x="429" y="245"/>
                  </a:lnTo>
                  <a:lnTo>
                    <a:pt x="429" y="239"/>
                  </a:lnTo>
                  <a:lnTo>
                    <a:pt x="429" y="233"/>
                  </a:lnTo>
                  <a:lnTo>
                    <a:pt x="423" y="227"/>
                  </a:lnTo>
                  <a:lnTo>
                    <a:pt x="423" y="220"/>
                  </a:lnTo>
                  <a:lnTo>
                    <a:pt x="423" y="208"/>
                  </a:lnTo>
                  <a:lnTo>
                    <a:pt x="423" y="202"/>
                  </a:lnTo>
                  <a:lnTo>
                    <a:pt x="423" y="196"/>
                  </a:lnTo>
                  <a:lnTo>
                    <a:pt x="417" y="196"/>
                  </a:lnTo>
                  <a:lnTo>
                    <a:pt x="417" y="190"/>
                  </a:lnTo>
                  <a:lnTo>
                    <a:pt x="411" y="190"/>
                  </a:lnTo>
                  <a:lnTo>
                    <a:pt x="411" y="184"/>
                  </a:lnTo>
                  <a:lnTo>
                    <a:pt x="404" y="184"/>
                  </a:lnTo>
                  <a:lnTo>
                    <a:pt x="398" y="184"/>
                  </a:lnTo>
                  <a:lnTo>
                    <a:pt x="404" y="178"/>
                  </a:lnTo>
                  <a:lnTo>
                    <a:pt x="404" y="171"/>
                  </a:lnTo>
                  <a:lnTo>
                    <a:pt x="404" y="165"/>
                  </a:lnTo>
                  <a:lnTo>
                    <a:pt x="411" y="165"/>
                  </a:lnTo>
                  <a:lnTo>
                    <a:pt x="411" y="159"/>
                  </a:lnTo>
                  <a:lnTo>
                    <a:pt x="411" y="153"/>
                  </a:lnTo>
                  <a:lnTo>
                    <a:pt x="411" y="147"/>
                  </a:lnTo>
                  <a:lnTo>
                    <a:pt x="417" y="147"/>
                  </a:lnTo>
                  <a:lnTo>
                    <a:pt x="417" y="141"/>
                  </a:lnTo>
                  <a:lnTo>
                    <a:pt x="417" y="135"/>
                  </a:lnTo>
                  <a:lnTo>
                    <a:pt x="411" y="129"/>
                  </a:lnTo>
                  <a:lnTo>
                    <a:pt x="411" y="122"/>
                  </a:lnTo>
                  <a:lnTo>
                    <a:pt x="411" y="116"/>
                  </a:lnTo>
                  <a:lnTo>
                    <a:pt x="411" y="110"/>
                  </a:lnTo>
                  <a:lnTo>
                    <a:pt x="411" y="104"/>
                  </a:lnTo>
                  <a:lnTo>
                    <a:pt x="404" y="104"/>
                  </a:lnTo>
                  <a:lnTo>
                    <a:pt x="411" y="104"/>
                  </a:lnTo>
                  <a:lnTo>
                    <a:pt x="404" y="98"/>
                  </a:lnTo>
                  <a:lnTo>
                    <a:pt x="404" y="104"/>
                  </a:lnTo>
                  <a:lnTo>
                    <a:pt x="398" y="104"/>
                  </a:lnTo>
                  <a:lnTo>
                    <a:pt x="404" y="104"/>
                  </a:lnTo>
                  <a:lnTo>
                    <a:pt x="398" y="104"/>
                  </a:lnTo>
                  <a:lnTo>
                    <a:pt x="392" y="98"/>
                  </a:lnTo>
                  <a:lnTo>
                    <a:pt x="386" y="98"/>
                  </a:lnTo>
                  <a:lnTo>
                    <a:pt x="386" y="92"/>
                  </a:lnTo>
                  <a:lnTo>
                    <a:pt x="386" y="86"/>
                  </a:lnTo>
                  <a:lnTo>
                    <a:pt x="392" y="86"/>
                  </a:lnTo>
                  <a:lnTo>
                    <a:pt x="386" y="86"/>
                  </a:lnTo>
                  <a:lnTo>
                    <a:pt x="386" y="80"/>
                  </a:lnTo>
                  <a:lnTo>
                    <a:pt x="380" y="80"/>
                  </a:lnTo>
                  <a:lnTo>
                    <a:pt x="386" y="80"/>
                  </a:lnTo>
                  <a:lnTo>
                    <a:pt x="386" y="73"/>
                  </a:lnTo>
                  <a:lnTo>
                    <a:pt x="380" y="67"/>
                  </a:lnTo>
                  <a:lnTo>
                    <a:pt x="374" y="67"/>
                  </a:lnTo>
                  <a:lnTo>
                    <a:pt x="368" y="67"/>
                  </a:lnTo>
                  <a:lnTo>
                    <a:pt x="368" y="73"/>
                  </a:lnTo>
                  <a:lnTo>
                    <a:pt x="368" y="67"/>
                  </a:lnTo>
                  <a:lnTo>
                    <a:pt x="362" y="67"/>
                  </a:lnTo>
                  <a:lnTo>
                    <a:pt x="362" y="61"/>
                  </a:lnTo>
                  <a:lnTo>
                    <a:pt x="362" y="55"/>
                  </a:lnTo>
                  <a:lnTo>
                    <a:pt x="355" y="61"/>
                  </a:lnTo>
                  <a:lnTo>
                    <a:pt x="355" y="55"/>
                  </a:lnTo>
                  <a:lnTo>
                    <a:pt x="355" y="61"/>
                  </a:lnTo>
                  <a:lnTo>
                    <a:pt x="349" y="55"/>
                  </a:lnTo>
                  <a:lnTo>
                    <a:pt x="349" y="49"/>
                  </a:lnTo>
                  <a:lnTo>
                    <a:pt x="349" y="43"/>
                  </a:lnTo>
                  <a:lnTo>
                    <a:pt x="343" y="43"/>
                  </a:lnTo>
                  <a:lnTo>
                    <a:pt x="337" y="43"/>
                  </a:lnTo>
                  <a:lnTo>
                    <a:pt x="337" y="49"/>
                  </a:lnTo>
                  <a:lnTo>
                    <a:pt x="331" y="49"/>
                  </a:lnTo>
                  <a:lnTo>
                    <a:pt x="325" y="49"/>
                  </a:lnTo>
                  <a:lnTo>
                    <a:pt x="319" y="49"/>
                  </a:lnTo>
                  <a:lnTo>
                    <a:pt x="319" y="55"/>
                  </a:lnTo>
                  <a:lnTo>
                    <a:pt x="313" y="55"/>
                  </a:lnTo>
                  <a:lnTo>
                    <a:pt x="319" y="55"/>
                  </a:lnTo>
                  <a:lnTo>
                    <a:pt x="319" y="49"/>
                  </a:lnTo>
                  <a:lnTo>
                    <a:pt x="319" y="43"/>
                  </a:lnTo>
                  <a:lnTo>
                    <a:pt x="325" y="49"/>
                  </a:lnTo>
                  <a:lnTo>
                    <a:pt x="325" y="43"/>
                  </a:lnTo>
                  <a:lnTo>
                    <a:pt x="331" y="43"/>
                  </a:lnTo>
                  <a:lnTo>
                    <a:pt x="325" y="43"/>
                  </a:lnTo>
                  <a:lnTo>
                    <a:pt x="331" y="43"/>
                  </a:lnTo>
                  <a:lnTo>
                    <a:pt x="337" y="43"/>
                  </a:lnTo>
                  <a:lnTo>
                    <a:pt x="343" y="43"/>
                  </a:lnTo>
                  <a:lnTo>
                    <a:pt x="331" y="43"/>
                  </a:lnTo>
                  <a:lnTo>
                    <a:pt x="325" y="37"/>
                  </a:lnTo>
                  <a:lnTo>
                    <a:pt x="319" y="43"/>
                  </a:lnTo>
                  <a:lnTo>
                    <a:pt x="319" y="49"/>
                  </a:lnTo>
                  <a:lnTo>
                    <a:pt x="313" y="55"/>
                  </a:lnTo>
                  <a:lnTo>
                    <a:pt x="306" y="55"/>
                  </a:lnTo>
                  <a:lnTo>
                    <a:pt x="306" y="61"/>
                  </a:lnTo>
                  <a:lnTo>
                    <a:pt x="300" y="61"/>
                  </a:lnTo>
                  <a:lnTo>
                    <a:pt x="300" y="67"/>
                  </a:lnTo>
                  <a:lnTo>
                    <a:pt x="306" y="61"/>
                  </a:lnTo>
                  <a:lnTo>
                    <a:pt x="306" y="67"/>
                  </a:lnTo>
                  <a:lnTo>
                    <a:pt x="300" y="67"/>
                  </a:lnTo>
                  <a:lnTo>
                    <a:pt x="300" y="73"/>
                  </a:lnTo>
                  <a:lnTo>
                    <a:pt x="306" y="73"/>
                  </a:lnTo>
                  <a:lnTo>
                    <a:pt x="300" y="73"/>
                  </a:lnTo>
                  <a:lnTo>
                    <a:pt x="300" y="67"/>
                  </a:lnTo>
                  <a:lnTo>
                    <a:pt x="300" y="61"/>
                  </a:lnTo>
                  <a:lnTo>
                    <a:pt x="294" y="67"/>
                  </a:lnTo>
                  <a:lnTo>
                    <a:pt x="288" y="67"/>
                  </a:lnTo>
                  <a:lnTo>
                    <a:pt x="282" y="67"/>
                  </a:lnTo>
                  <a:lnTo>
                    <a:pt x="276" y="67"/>
                  </a:lnTo>
                  <a:lnTo>
                    <a:pt x="276" y="73"/>
                  </a:lnTo>
                  <a:lnTo>
                    <a:pt x="282" y="73"/>
                  </a:lnTo>
                  <a:lnTo>
                    <a:pt x="276" y="73"/>
                  </a:lnTo>
                  <a:lnTo>
                    <a:pt x="276" y="80"/>
                  </a:lnTo>
                  <a:lnTo>
                    <a:pt x="276" y="86"/>
                  </a:lnTo>
                  <a:lnTo>
                    <a:pt x="270" y="92"/>
                  </a:lnTo>
                  <a:lnTo>
                    <a:pt x="270" y="86"/>
                  </a:lnTo>
                  <a:lnTo>
                    <a:pt x="264" y="86"/>
                  </a:lnTo>
                  <a:lnTo>
                    <a:pt x="264" y="80"/>
                  </a:lnTo>
                  <a:lnTo>
                    <a:pt x="257" y="80"/>
                  </a:lnTo>
                  <a:lnTo>
                    <a:pt x="251" y="80"/>
                  </a:lnTo>
                  <a:lnTo>
                    <a:pt x="245" y="80"/>
                  </a:lnTo>
                  <a:lnTo>
                    <a:pt x="245" y="86"/>
                  </a:lnTo>
                  <a:lnTo>
                    <a:pt x="245" y="92"/>
                  </a:lnTo>
                  <a:lnTo>
                    <a:pt x="245" y="86"/>
                  </a:lnTo>
                  <a:lnTo>
                    <a:pt x="245" y="92"/>
                  </a:lnTo>
                  <a:lnTo>
                    <a:pt x="239" y="92"/>
                  </a:lnTo>
                  <a:lnTo>
                    <a:pt x="239" y="86"/>
                  </a:lnTo>
                  <a:lnTo>
                    <a:pt x="245" y="80"/>
                  </a:lnTo>
                  <a:lnTo>
                    <a:pt x="239" y="80"/>
                  </a:lnTo>
                  <a:lnTo>
                    <a:pt x="239" y="73"/>
                  </a:lnTo>
                  <a:lnTo>
                    <a:pt x="245" y="73"/>
                  </a:lnTo>
                  <a:lnTo>
                    <a:pt x="245" y="67"/>
                  </a:lnTo>
                  <a:lnTo>
                    <a:pt x="251" y="61"/>
                  </a:lnTo>
                  <a:lnTo>
                    <a:pt x="251" y="55"/>
                  </a:lnTo>
                  <a:lnTo>
                    <a:pt x="251" y="49"/>
                  </a:lnTo>
                  <a:lnTo>
                    <a:pt x="257" y="49"/>
                  </a:lnTo>
                  <a:lnTo>
                    <a:pt x="257" y="43"/>
                  </a:lnTo>
                  <a:lnTo>
                    <a:pt x="264" y="43"/>
                  </a:lnTo>
                  <a:lnTo>
                    <a:pt x="257" y="37"/>
                  </a:lnTo>
                  <a:lnTo>
                    <a:pt x="251" y="37"/>
                  </a:lnTo>
                  <a:lnTo>
                    <a:pt x="251" y="43"/>
                  </a:lnTo>
                  <a:lnTo>
                    <a:pt x="251" y="49"/>
                  </a:lnTo>
                  <a:lnTo>
                    <a:pt x="245" y="43"/>
                  </a:lnTo>
                  <a:lnTo>
                    <a:pt x="239" y="49"/>
                  </a:lnTo>
                  <a:lnTo>
                    <a:pt x="233" y="55"/>
                  </a:lnTo>
                  <a:lnTo>
                    <a:pt x="227" y="49"/>
                  </a:lnTo>
                  <a:lnTo>
                    <a:pt x="221" y="43"/>
                  </a:lnTo>
                  <a:lnTo>
                    <a:pt x="215" y="43"/>
                  </a:lnTo>
                  <a:lnTo>
                    <a:pt x="208" y="43"/>
                  </a:lnTo>
                  <a:lnTo>
                    <a:pt x="208" y="49"/>
                  </a:lnTo>
                  <a:lnTo>
                    <a:pt x="208" y="43"/>
                  </a:lnTo>
                  <a:lnTo>
                    <a:pt x="208" y="37"/>
                  </a:lnTo>
                  <a:lnTo>
                    <a:pt x="202" y="37"/>
                  </a:lnTo>
                  <a:lnTo>
                    <a:pt x="196" y="37"/>
                  </a:lnTo>
                  <a:lnTo>
                    <a:pt x="196" y="43"/>
                  </a:lnTo>
                  <a:lnTo>
                    <a:pt x="190" y="43"/>
                  </a:lnTo>
                  <a:lnTo>
                    <a:pt x="190" y="37"/>
                  </a:lnTo>
                  <a:lnTo>
                    <a:pt x="196" y="37"/>
                  </a:lnTo>
                  <a:lnTo>
                    <a:pt x="202" y="37"/>
                  </a:lnTo>
                  <a:lnTo>
                    <a:pt x="202" y="31"/>
                  </a:lnTo>
                  <a:lnTo>
                    <a:pt x="202" y="24"/>
                  </a:lnTo>
                  <a:lnTo>
                    <a:pt x="196" y="18"/>
                  </a:lnTo>
                  <a:lnTo>
                    <a:pt x="202" y="18"/>
                  </a:lnTo>
                  <a:lnTo>
                    <a:pt x="196" y="18"/>
                  </a:lnTo>
                  <a:lnTo>
                    <a:pt x="196" y="12"/>
                  </a:lnTo>
                  <a:lnTo>
                    <a:pt x="190" y="12"/>
                  </a:lnTo>
                  <a:lnTo>
                    <a:pt x="184" y="6"/>
                  </a:lnTo>
                  <a:lnTo>
                    <a:pt x="178" y="6"/>
                  </a:lnTo>
                  <a:lnTo>
                    <a:pt x="184" y="6"/>
                  </a:lnTo>
                  <a:lnTo>
                    <a:pt x="178" y="6"/>
                  </a:lnTo>
                  <a:lnTo>
                    <a:pt x="172" y="6"/>
                  </a:lnTo>
                  <a:lnTo>
                    <a:pt x="166" y="12"/>
                  </a:lnTo>
                  <a:lnTo>
                    <a:pt x="159" y="6"/>
                  </a:lnTo>
                  <a:lnTo>
                    <a:pt x="153" y="6"/>
                  </a:lnTo>
                  <a:lnTo>
                    <a:pt x="147" y="6"/>
                  </a:lnTo>
                  <a:lnTo>
                    <a:pt x="147" y="0"/>
                  </a:lnTo>
                  <a:lnTo>
                    <a:pt x="141" y="6"/>
                  </a:lnTo>
                  <a:lnTo>
                    <a:pt x="141" y="0"/>
                  </a:lnTo>
                  <a:lnTo>
                    <a:pt x="141" y="6"/>
                  </a:lnTo>
                  <a:lnTo>
                    <a:pt x="135" y="6"/>
                  </a:lnTo>
                  <a:lnTo>
                    <a:pt x="135" y="0"/>
                  </a:lnTo>
                  <a:lnTo>
                    <a:pt x="135" y="6"/>
                  </a:lnTo>
                  <a:lnTo>
                    <a:pt x="135" y="12"/>
                  </a:lnTo>
                  <a:lnTo>
                    <a:pt x="135" y="18"/>
                  </a:lnTo>
                  <a:lnTo>
                    <a:pt x="141" y="18"/>
                  </a:lnTo>
                  <a:lnTo>
                    <a:pt x="141" y="24"/>
                  </a:lnTo>
                  <a:lnTo>
                    <a:pt x="141" y="31"/>
                  </a:lnTo>
                  <a:lnTo>
                    <a:pt x="147" y="24"/>
                  </a:lnTo>
                  <a:lnTo>
                    <a:pt x="147" y="31"/>
                  </a:lnTo>
                  <a:lnTo>
                    <a:pt x="147" y="37"/>
                  </a:lnTo>
                  <a:lnTo>
                    <a:pt x="153" y="37"/>
                  </a:lnTo>
                  <a:lnTo>
                    <a:pt x="147" y="43"/>
                  </a:lnTo>
                  <a:lnTo>
                    <a:pt x="141" y="43"/>
                  </a:lnTo>
                  <a:lnTo>
                    <a:pt x="135" y="43"/>
                  </a:lnTo>
                  <a:lnTo>
                    <a:pt x="135" y="49"/>
                  </a:lnTo>
                  <a:lnTo>
                    <a:pt x="129" y="49"/>
                  </a:lnTo>
                  <a:lnTo>
                    <a:pt x="129" y="55"/>
                  </a:lnTo>
                  <a:lnTo>
                    <a:pt x="135" y="55"/>
                  </a:lnTo>
                  <a:lnTo>
                    <a:pt x="141" y="55"/>
                  </a:lnTo>
                  <a:lnTo>
                    <a:pt x="141" y="61"/>
                  </a:lnTo>
                  <a:lnTo>
                    <a:pt x="141" y="67"/>
                  </a:lnTo>
                  <a:lnTo>
                    <a:pt x="147" y="67"/>
                  </a:lnTo>
                  <a:lnTo>
                    <a:pt x="153" y="73"/>
                  </a:lnTo>
                  <a:lnTo>
                    <a:pt x="147" y="80"/>
                  </a:lnTo>
                  <a:lnTo>
                    <a:pt x="147" y="73"/>
                  </a:lnTo>
                  <a:lnTo>
                    <a:pt x="141" y="80"/>
                  </a:lnTo>
                  <a:lnTo>
                    <a:pt x="147" y="80"/>
                  </a:lnTo>
                  <a:lnTo>
                    <a:pt x="147" y="86"/>
                  </a:lnTo>
                  <a:lnTo>
                    <a:pt x="147" y="92"/>
                  </a:lnTo>
                  <a:lnTo>
                    <a:pt x="153" y="86"/>
                  </a:lnTo>
                  <a:lnTo>
                    <a:pt x="153" y="92"/>
                  </a:lnTo>
                  <a:lnTo>
                    <a:pt x="159" y="92"/>
                  </a:lnTo>
                  <a:lnTo>
                    <a:pt x="166" y="92"/>
                  </a:lnTo>
                  <a:lnTo>
                    <a:pt x="166" y="98"/>
                  </a:lnTo>
                  <a:lnTo>
                    <a:pt x="172" y="98"/>
                  </a:lnTo>
                  <a:lnTo>
                    <a:pt x="172" y="104"/>
                  </a:lnTo>
                  <a:lnTo>
                    <a:pt x="178" y="104"/>
                  </a:lnTo>
                  <a:lnTo>
                    <a:pt x="178" y="110"/>
                  </a:lnTo>
                  <a:lnTo>
                    <a:pt x="178" y="116"/>
                  </a:lnTo>
                  <a:lnTo>
                    <a:pt x="184" y="116"/>
                  </a:lnTo>
                  <a:lnTo>
                    <a:pt x="190" y="116"/>
                  </a:lnTo>
                  <a:lnTo>
                    <a:pt x="190" y="122"/>
                  </a:lnTo>
                  <a:lnTo>
                    <a:pt x="184" y="122"/>
                  </a:lnTo>
                  <a:lnTo>
                    <a:pt x="178" y="116"/>
                  </a:lnTo>
                  <a:lnTo>
                    <a:pt x="178" y="110"/>
                  </a:lnTo>
                  <a:lnTo>
                    <a:pt x="172" y="110"/>
                  </a:lnTo>
                  <a:lnTo>
                    <a:pt x="172" y="104"/>
                  </a:lnTo>
                  <a:lnTo>
                    <a:pt x="166" y="98"/>
                  </a:lnTo>
                  <a:lnTo>
                    <a:pt x="166" y="92"/>
                  </a:lnTo>
                  <a:lnTo>
                    <a:pt x="159" y="92"/>
                  </a:lnTo>
                  <a:lnTo>
                    <a:pt x="153" y="92"/>
                  </a:lnTo>
                  <a:lnTo>
                    <a:pt x="147" y="92"/>
                  </a:lnTo>
                  <a:lnTo>
                    <a:pt x="147" y="98"/>
                  </a:lnTo>
                  <a:lnTo>
                    <a:pt x="141" y="98"/>
                  </a:lnTo>
                  <a:lnTo>
                    <a:pt x="135" y="92"/>
                  </a:lnTo>
                  <a:lnTo>
                    <a:pt x="129" y="92"/>
                  </a:lnTo>
                  <a:lnTo>
                    <a:pt x="129" y="104"/>
                  </a:lnTo>
                  <a:lnTo>
                    <a:pt x="123" y="104"/>
                  </a:lnTo>
                  <a:lnTo>
                    <a:pt x="123" y="110"/>
                  </a:lnTo>
                  <a:lnTo>
                    <a:pt x="129" y="110"/>
                  </a:lnTo>
                  <a:lnTo>
                    <a:pt x="129" y="116"/>
                  </a:lnTo>
                  <a:lnTo>
                    <a:pt x="129" y="122"/>
                  </a:lnTo>
                  <a:lnTo>
                    <a:pt x="123" y="116"/>
                  </a:lnTo>
                  <a:lnTo>
                    <a:pt x="116" y="116"/>
                  </a:lnTo>
                  <a:lnTo>
                    <a:pt x="110" y="122"/>
                  </a:lnTo>
                  <a:lnTo>
                    <a:pt x="116" y="122"/>
                  </a:lnTo>
                  <a:lnTo>
                    <a:pt x="116" y="129"/>
                  </a:lnTo>
                  <a:lnTo>
                    <a:pt x="116" y="135"/>
                  </a:lnTo>
                  <a:lnTo>
                    <a:pt x="110" y="135"/>
                  </a:lnTo>
                  <a:lnTo>
                    <a:pt x="110" y="129"/>
                  </a:lnTo>
                  <a:lnTo>
                    <a:pt x="104" y="129"/>
                  </a:lnTo>
                  <a:lnTo>
                    <a:pt x="104" y="122"/>
                  </a:lnTo>
                  <a:lnTo>
                    <a:pt x="110" y="122"/>
                  </a:lnTo>
                  <a:lnTo>
                    <a:pt x="110" y="116"/>
                  </a:lnTo>
                  <a:lnTo>
                    <a:pt x="104" y="110"/>
                  </a:lnTo>
                  <a:lnTo>
                    <a:pt x="104" y="104"/>
                  </a:lnTo>
                  <a:lnTo>
                    <a:pt x="98" y="104"/>
                  </a:lnTo>
                  <a:lnTo>
                    <a:pt x="92" y="104"/>
                  </a:lnTo>
                  <a:lnTo>
                    <a:pt x="86" y="104"/>
                  </a:lnTo>
                  <a:lnTo>
                    <a:pt x="80" y="110"/>
                  </a:lnTo>
                  <a:lnTo>
                    <a:pt x="74" y="110"/>
                  </a:lnTo>
                  <a:lnTo>
                    <a:pt x="67" y="110"/>
                  </a:lnTo>
                  <a:lnTo>
                    <a:pt x="61" y="110"/>
                  </a:lnTo>
                  <a:lnTo>
                    <a:pt x="55" y="116"/>
                  </a:lnTo>
                  <a:lnTo>
                    <a:pt x="55" y="122"/>
                  </a:lnTo>
                  <a:lnTo>
                    <a:pt x="61" y="122"/>
                  </a:lnTo>
                  <a:lnTo>
                    <a:pt x="55" y="122"/>
                  </a:lnTo>
                  <a:lnTo>
                    <a:pt x="55" y="135"/>
                  </a:lnTo>
                  <a:lnTo>
                    <a:pt x="55" y="141"/>
                  </a:lnTo>
                  <a:lnTo>
                    <a:pt x="61" y="141"/>
                  </a:lnTo>
                  <a:lnTo>
                    <a:pt x="67" y="141"/>
                  </a:lnTo>
                  <a:lnTo>
                    <a:pt x="67" y="147"/>
                  </a:lnTo>
                  <a:lnTo>
                    <a:pt x="61" y="147"/>
                  </a:lnTo>
                  <a:lnTo>
                    <a:pt x="61" y="153"/>
                  </a:lnTo>
                  <a:lnTo>
                    <a:pt x="61" y="159"/>
                  </a:lnTo>
                  <a:lnTo>
                    <a:pt x="61" y="165"/>
                  </a:lnTo>
                  <a:lnTo>
                    <a:pt x="61" y="171"/>
                  </a:lnTo>
                  <a:lnTo>
                    <a:pt x="55" y="178"/>
                  </a:lnTo>
                  <a:lnTo>
                    <a:pt x="55" y="184"/>
                  </a:lnTo>
                  <a:lnTo>
                    <a:pt x="55" y="196"/>
                  </a:lnTo>
                  <a:lnTo>
                    <a:pt x="49" y="196"/>
                  </a:lnTo>
                  <a:lnTo>
                    <a:pt x="43" y="196"/>
                  </a:lnTo>
                  <a:lnTo>
                    <a:pt x="37" y="202"/>
                  </a:lnTo>
                  <a:lnTo>
                    <a:pt x="43" y="202"/>
                  </a:lnTo>
                  <a:lnTo>
                    <a:pt x="37" y="202"/>
                  </a:lnTo>
                  <a:lnTo>
                    <a:pt x="37" y="208"/>
                  </a:lnTo>
                  <a:lnTo>
                    <a:pt x="43" y="214"/>
                  </a:lnTo>
                  <a:lnTo>
                    <a:pt x="49" y="214"/>
                  </a:lnTo>
                  <a:lnTo>
                    <a:pt x="55" y="214"/>
                  </a:lnTo>
                  <a:lnTo>
                    <a:pt x="55" y="220"/>
                  </a:lnTo>
                  <a:lnTo>
                    <a:pt x="55" y="227"/>
                  </a:lnTo>
                  <a:lnTo>
                    <a:pt x="55" y="233"/>
                  </a:lnTo>
                  <a:lnTo>
                    <a:pt x="49" y="239"/>
                  </a:lnTo>
                  <a:lnTo>
                    <a:pt x="49" y="245"/>
                  </a:lnTo>
                  <a:lnTo>
                    <a:pt x="43" y="245"/>
                  </a:lnTo>
                  <a:lnTo>
                    <a:pt x="37" y="245"/>
                  </a:lnTo>
                  <a:lnTo>
                    <a:pt x="37" y="251"/>
                  </a:lnTo>
                  <a:lnTo>
                    <a:pt x="43" y="251"/>
                  </a:lnTo>
                  <a:lnTo>
                    <a:pt x="43" y="257"/>
                  </a:lnTo>
                  <a:lnTo>
                    <a:pt x="43" y="263"/>
                  </a:lnTo>
                  <a:lnTo>
                    <a:pt x="37" y="263"/>
                  </a:lnTo>
                  <a:lnTo>
                    <a:pt x="31" y="263"/>
                  </a:lnTo>
                  <a:lnTo>
                    <a:pt x="25" y="263"/>
                  </a:lnTo>
                  <a:lnTo>
                    <a:pt x="25" y="269"/>
                  </a:lnTo>
                  <a:lnTo>
                    <a:pt x="25" y="263"/>
                  </a:lnTo>
                  <a:lnTo>
                    <a:pt x="18" y="263"/>
                  </a:lnTo>
                  <a:lnTo>
                    <a:pt x="12" y="263"/>
                  </a:lnTo>
                  <a:lnTo>
                    <a:pt x="6" y="263"/>
                  </a:lnTo>
                  <a:lnTo>
                    <a:pt x="6" y="269"/>
                  </a:lnTo>
                  <a:lnTo>
                    <a:pt x="0" y="269"/>
                  </a:lnTo>
                  <a:lnTo>
                    <a:pt x="6" y="269"/>
                  </a:lnTo>
                  <a:lnTo>
                    <a:pt x="6" y="276"/>
                  </a:lnTo>
                  <a:lnTo>
                    <a:pt x="0" y="276"/>
                  </a:lnTo>
                  <a:lnTo>
                    <a:pt x="6" y="276"/>
                  </a:lnTo>
                  <a:lnTo>
                    <a:pt x="6" y="282"/>
                  </a:lnTo>
                  <a:lnTo>
                    <a:pt x="12" y="282"/>
                  </a:lnTo>
                  <a:lnTo>
                    <a:pt x="12" y="288"/>
                  </a:lnTo>
                  <a:lnTo>
                    <a:pt x="12" y="294"/>
                  </a:lnTo>
                  <a:lnTo>
                    <a:pt x="18" y="300"/>
                  </a:lnTo>
                  <a:lnTo>
                    <a:pt x="12" y="306"/>
                  </a:lnTo>
                  <a:lnTo>
                    <a:pt x="18" y="306"/>
                  </a:lnTo>
                  <a:lnTo>
                    <a:pt x="12" y="312"/>
                  </a:lnTo>
                  <a:lnTo>
                    <a:pt x="12" y="318"/>
                  </a:lnTo>
                  <a:lnTo>
                    <a:pt x="6" y="318"/>
                  </a:lnTo>
                  <a:lnTo>
                    <a:pt x="6" y="325"/>
                  </a:lnTo>
                  <a:lnTo>
                    <a:pt x="12" y="325"/>
                  </a:lnTo>
                  <a:lnTo>
                    <a:pt x="12" y="331"/>
                  </a:lnTo>
                  <a:lnTo>
                    <a:pt x="6" y="331"/>
                  </a:lnTo>
                  <a:lnTo>
                    <a:pt x="0" y="337"/>
                  </a:lnTo>
                  <a:lnTo>
                    <a:pt x="0" y="343"/>
                  </a:lnTo>
                  <a:lnTo>
                    <a:pt x="6" y="343"/>
                  </a:lnTo>
                  <a:lnTo>
                    <a:pt x="6" y="349"/>
                  </a:lnTo>
                  <a:lnTo>
                    <a:pt x="12" y="349"/>
                  </a:lnTo>
                  <a:lnTo>
                    <a:pt x="6" y="349"/>
                  </a:lnTo>
                  <a:lnTo>
                    <a:pt x="6" y="355"/>
                  </a:lnTo>
                  <a:lnTo>
                    <a:pt x="6" y="349"/>
                  </a:lnTo>
                  <a:lnTo>
                    <a:pt x="6" y="355"/>
                  </a:lnTo>
                  <a:lnTo>
                    <a:pt x="6" y="361"/>
                  </a:lnTo>
                  <a:lnTo>
                    <a:pt x="12" y="361"/>
                  </a:lnTo>
                  <a:lnTo>
                    <a:pt x="12" y="367"/>
                  </a:lnTo>
                  <a:lnTo>
                    <a:pt x="12" y="374"/>
                  </a:lnTo>
                  <a:lnTo>
                    <a:pt x="18" y="374"/>
                  </a:lnTo>
                  <a:lnTo>
                    <a:pt x="12" y="380"/>
                  </a:lnTo>
                  <a:lnTo>
                    <a:pt x="18" y="386"/>
                  </a:lnTo>
                  <a:lnTo>
                    <a:pt x="18" y="380"/>
                  </a:lnTo>
                  <a:lnTo>
                    <a:pt x="18" y="386"/>
                  </a:lnTo>
                  <a:lnTo>
                    <a:pt x="18" y="380"/>
                  </a:lnTo>
                  <a:lnTo>
                    <a:pt x="18" y="386"/>
                  </a:lnTo>
                  <a:lnTo>
                    <a:pt x="25" y="386"/>
                  </a:lnTo>
                  <a:lnTo>
                    <a:pt x="18" y="386"/>
                  </a:lnTo>
                  <a:lnTo>
                    <a:pt x="25" y="386"/>
                  </a:lnTo>
                  <a:lnTo>
                    <a:pt x="25" y="392"/>
                  </a:lnTo>
                  <a:lnTo>
                    <a:pt x="18" y="392"/>
                  </a:lnTo>
                  <a:lnTo>
                    <a:pt x="25" y="392"/>
                  </a:lnTo>
                  <a:lnTo>
                    <a:pt x="25" y="398"/>
                  </a:lnTo>
                  <a:lnTo>
                    <a:pt x="18" y="398"/>
                  </a:lnTo>
                  <a:lnTo>
                    <a:pt x="18" y="404"/>
                  </a:lnTo>
                  <a:lnTo>
                    <a:pt x="12" y="404"/>
                  </a:lnTo>
                  <a:lnTo>
                    <a:pt x="12" y="410"/>
                  </a:lnTo>
                  <a:lnTo>
                    <a:pt x="12" y="416"/>
                  </a:lnTo>
                  <a:lnTo>
                    <a:pt x="12" y="423"/>
                  </a:lnTo>
                  <a:lnTo>
                    <a:pt x="12" y="429"/>
                  </a:lnTo>
                  <a:lnTo>
                    <a:pt x="18" y="435"/>
                  </a:lnTo>
                  <a:lnTo>
                    <a:pt x="18" y="441"/>
                  </a:lnTo>
                  <a:lnTo>
                    <a:pt x="25" y="441"/>
                  </a:lnTo>
                  <a:lnTo>
                    <a:pt x="31" y="441"/>
                  </a:lnTo>
                  <a:lnTo>
                    <a:pt x="31" y="447"/>
                  </a:lnTo>
                  <a:lnTo>
                    <a:pt x="25" y="453"/>
                  </a:lnTo>
                  <a:lnTo>
                    <a:pt x="25" y="459"/>
                  </a:lnTo>
                  <a:lnTo>
                    <a:pt x="25" y="465"/>
                  </a:lnTo>
                  <a:lnTo>
                    <a:pt x="18" y="465"/>
                  </a:lnTo>
                  <a:lnTo>
                    <a:pt x="25" y="472"/>
                  </a:lnTo>
                  <a:lnTo>
                    <a:pt x="31" y="478"/>
                  </a:lnTo>
                  <a:lnTo>
                    <a:pt x="31" y="484"/>
                  </a:lnTo>
                  <a:lnTo>
                    <a:pt x="37" y="484"/>
                  </a:lnTo>
                  <a:lnTo>
                    <a:pt x="37" y="490"/>
                  </a:lnTo>
                  <a:lnTo>
                    <a:pt x="37" y="496"/>
                  </a:lnTo>
                  <a:lnTo>
                    <a:pt x="43" y="496"/>
                  </a:lnTo>
                  <a:lnTo>
                    <a:pt x="49" y="496"/>
                  </a:lnTo>
                  <a:lnTo>
                    <a:pt x="55" y="502"/>
                  </a:lnTo>
                  <a:lnTo>
                    <a:pt x="61" y="502"/>
                  </a:lnTo>
                  <a:lnTo>
                    <a:pt x="67" y="502"/>
                  </a:lnTo>
                  <a:lnTo>
                    <a:pt x="74" y="502"/>
                  </a:lnTo>
                  <a:lnTo>
                    <a:pt x="80" y="502"/>
                  </a:lnTo>
                  <a:lnTo>
                    <a:pt x="80" y="508"/>
                  </a:lnTo>
                  <a:lnTo>
                    <a:pt x="86" y="508"/>
                  </a:lnTo>
                  <a:lnTo>
                    <a:pt x="92" y="508"/>
                  </a:lnTo>
                  <a:lnTo>
                    <a:pt x="98" y="508"/>
                  </a:lnTo>
                  <a:lnTo>
                    <a:pt x="110" y="514"/>
                  </a:lnTo>
                  <a:lnTo>
                    <a:pt x="110" y="521"/>
                  </a:lnTo>
                  <a:lnTo>
                    <a:pt x="104" y="533"/>
                  </a:lnTo>
                  <a:lnTo>
                    <a:pt x="98" y="533"/>
                  </a:lnTo>
                  <a:lnTo>
                    <a:pt x="98" y="539"/>
                  </a:lnTo>
                  <a:lnTo>
                    <a:pt x="98" y="545"/>
                  </a:lnTo>
                  <a:lnTo>
                    <a:pt x="92" y="545"/>
                  </a:lnTo>
                  <a:lnTo>
                    <a:pt x="92" y="551"/>
                  </a:lnTo>
                  <a:lnTo>
                    <a:pt x="92" y="563"/>
                  </a:lnTo>
                  <a:lnTo>
                    <a:pt x="86" y="570"/>
                  </a:lnTo>
                  <a:lnTo>
                    <a:pt x="86" y="576"/>
                  </a:lnTo>
                  <a:lnTo>
                    <a:pt x="86" y="582"/>
                  </a:lnTo>
                  <a:lnTo>
                    <a:pt x="80" y="588"/>
                  </a:lnTo>
                  <a:lnTo>
                    <a:pt x="80" y="594"/>
                  </a:lnTo>
                  <a:lnTo>
                    <a:pt x="86" y="600"/>
                  </a:lnTo>
                  <a:lnTo>
                    <a:pt x="80" y="606"/>
                  </a:lnTo>
                  <a:lnTo>
                    <a:pt x="80" y="612"/>
                  </a:lnTo>
                  <a:lnTo>
                    <a:pt x="80" y="619"/>
                  </a:lnTo>
                  <a:lnTo>
                    <a:pt x="80" y="625"/>
                  </a:lnTo>
                  <a:lnTo>
                    <a:pt x="80" y="631"/>
                  </a:lnTo>
                  <a:lnTo>
                    <a:pt x="80" y="637"/>
                  </a:lnTo>
                  <a:lnTo>
                    <a:pt x="86" y="637"/>
                  </a:lnTo>
                  <a:lnTo>
                    <a:pt x="92" y="637"/>
                  </a:lnTo>
                  <a:lnTo>
                    <a:pt x="98" y="637"/>
                  </a:lnTo>
                  <a:lnTo>
                    <a:pt x="104" y="637"/>
                  </a:lnTo>
                  <a:lnTo>
                    <a:pt x="110" y="631"/>
                  </a:lnTo>
                  <a:lnTo>
                    <a:pt x="116" y="637"/>
                  </a:lnTo>
                  <a:lnTo>
                    <a:pt x="123" y="637"/>
                  </a:lnTo>
                  <a:lnTo>
                    <a:pt x="129" y="637"/>
                  </a:lnTo>
                  <a:lnTo>
                    <a:pt x="123" y="637"/>
                  </a:lnTo>
                  <a:lnTo>
                    <a:pt x="129" y="631"/>
                  </a:lnTo>
                  <a:lnTo>
                    <a:pt x="129" y="637"/>
                  </a:lnTo>
                  <a:lnTo>
                    <a:pt x="129" y="631"/>
                  </a:lnTo>
                  <a:lnTo>
                    <a:pt x="135" y="631"/>
                  </a:lnTo>
                  <a:lnTo>
                    <a:pt x="129" y="631"/>
                  </a:lnTo>
                  <a:lnTo>
                    <a:pt x="123" y="631"/>
                  </a:lnTo>
                  <a:lnTo>
                    <a:pt x="123" y="625"/>
                  </a:lnTo>
                  <a:lnTo>
                    <a:pt x="129" y="619"/>
                  </a:lnTo>
                  <a:lnTo>
                    <a:pt x="135" y="619"/>
                  </a:lnTo>
                  <a:lnTo>
                    <a:pt x="141" y="625"/>
                  </a:lnTo>
                  <a:lnTo>
                    <a:pt x="135" y="625"/>
                  </a:lnTo>
                  <a:lnTo>
                    <a:pt x="141" y="625"/>
                  </a:lnTo>
                  <a:lnTo>
                    <a:pt x="141" y="631"/>
                  </a:lnTo>
                  <a:lnTo>
                    <a:pt x="141" y="625"/>
                  </a:lnTo>
                  <a:lnTo>
                    <a:pt x="147" y="631"/>
                  </a:lnTo>
                  <a:lnTo>
                    <a:pt x="147" y="625"/>
                  </a:lnTo>
                  <a:lnTo>
                    <a:pt x="153" y="625"/>
                  </a:lnTo>
                  <a:lnTo>
                    <a:pt x="159" y="625"/>
                  </a:lnTo>
                  <a:lnTo>
                    <a:pt x="159" y="631"/>
                  </a:lnTo>
                  <a:lnTo>
                    <a:pt x="159" y="625"/>
                  </a:lnTo>
                  <a:lnTo>
                    <a:pt x="153" y="619"/>
                  </a:lnTo>
                  <a:lnTo>
                    <a:pt x="159" y="619"/>
                  </a:lnTo>
                  <a:lnTo>
                    <a:pt x="159" y="625"/>
                  </a:lnTo>
                  <a:lnTo>
                    <a:pt x="166" y="625"/>
                  </a:lnTo>
                  <a:lnTo>
                    <a:pt x="172" y="625"/>
                  </a:lnTo>
                  <a:lnTo>
                    <a:pt x="172" y="631"/>
                  </a:lnTo>
                  <a:lnTo>
                    <a:pt x="178" y="631"/>
                  </a:lnTo>
                  <a:lnTo>
                    <a:pt x="178" y="637"/>
                  </a:lnTo>
                  <a:lnTo>
                    <a:pt x="184" y="637"/>
                  </a:lnTo>
                  <a:lnTo>
                    <a:pt x="190" y="637"/>
                  </a:lnTo>
                  <a:lnTo>
                    <a:pt x="196" y="637"/>
                  </a:lnTo>
                  <a:lnTo>
                    <a:pt x="202" y="643"/>
                  </a:lnTo>
                  <a:lnTo>
                    <a:pt x="202" y="649"/>
                  </a:lnTo>
                  <a:lnTo>
                    <a:pt x="202" y="655"/>
                  </a:lnTo>
                  <a:lnTo>
                    <a:pt x="208" y="649"/>
                  </a:lnTo>
                  <a:lnTo>
                    <a:pt x="215" y="655"/>
                  </a:lnTo>
                  <a:lnTo>
                    <a:pt x="208" y="661"/>
                  </a:lnTo>
                  <a:lnTo>
                    <a:pt x="215" y="655"/>
                  </a:lnTo>
                  <a:lnTo>
                    <a:pt x="227" y="649"/>
                  </a:lnTo>
                  <a:lnTo>
                    <a:pt x="221" y="643"/>
                  </a:lnTo>
                  <a:lnTo>
                    <a:pt x="221" y="637"/>
                  </a:lnTo>
                  <a:lnTo>
                    <a:pt x="227" y="637"/>
                  </a:lnTo>
                  <a:lnTo>
                    <a:pt x="227" y="643"/>
                  </a:lnTo>
                  <a:lnTo>
                    <a:pt x="227" y="637"/>
                  </a:lnTo>
                  <a:lnTo>
                    <a:pt x="233" y="637"/>
                  </a:lnTo>
                  <a:lnTo>
                    <a:pt x="239" y="643"/>
                  </a:lnTo>
                  <a:lnTo>
                    <a:pt x="245" y="643"/>
                  </a:lnTo>
                  <a:lnTo>
                    <a:pt x="245" y="649"/>
                  </a:lnTo>
                  <a:lnTo>
                    <a:pt x="251" y="649"/>
                  </a:lnTo>
                  <a:lnTo>
                    <a:pt x="257" y="649"/>
                  </a:lnTo>
                  <a:lnTo>
                    <a:pt x="264" y="649"/>
                  </a:lnTo>
                  <a:lnTo>
                    <a:pt x="264" y="643"/>
                  </a:lnTo>
                  <a:lnTo>
                    <a:pt x="270" y="643"/>
                  </a:lnTo>
                  <a:lnTo>
                    <a:pt x="276" y="637"/>
                  </a:lnTo>
                  <a:lnTo>
                    <a:pt x="276" y="631"/>
                  </a:lnTo>
                  <a:lnTo>
                    <a:pt x="282" y="637"/>
                  </a:lnTo>
                  <a:lnTo>
                    <a:pt x="288" y="631"/>
                  </a:lnTo>
                  <a:lnTo>
                    <a:pt x="288" y="637"/>
                  </a:lnTo>
                  <a:lnTo>
                    <a:pt x="288" y="631"/>
                  </a:lnTo>
                  <a:lnTo>
                    <a:pt x="294" y="631"/>
                  </a:lnTo>
                  <a:lnTo>
                    <a:pt x="300" y="631"/>
                  </a:lnTo>
                  <a:lnTo>
                    <a:pt x="306" y="631"/>
                  </a:lnTo>
                  <a:lnTo>
                    <a:pt x="306" y="625"/>
                  </a:lnTo>
                  <a:lnTo>
                    <a:pt x="306" y="619"/>
                  </a:lnTo>
                  <a:lnTo>
                    <a:pt x="306" y="625"/>
                  </a:lnTo>
                  <a:lnTo>
                    <a:pt x="313" y="625"/>
                  </a:lnTo>
                  <a:lnTo>
                    <a:pt x="319" y="625"/>
                  </a:lnTo>
                  <a:lnTo>
                    <a:pt x="319" y="631"/>
                  </a:lnTo>
                  <a:lnTo>
                    <a:pt x="325" y="631"/>
                  </a:lnTo>
                  <a:lnTo>
                    <a:pt x="331" y="631"/>
                  </a:lnTo>
                  <a:lnTo>
                    <a:pt x="337" y="637"/>
                  </a:lnTo>
                  <a:lnTo>
                    <a:pt x="337" y="643"/>
                  </a:lnTo>
                  <a:lnTo>
                    <a:pt x="343" y="643"/>
                  </a:lnTo>
                  <a:lnTo>
                    <a:pt x="349" y="643"/>
                  </a:lnTo>
                  <a:lnTo>
                    <a:pt x="349" y="637"/>
                  </a:lnTo>
                  <a:lnTo>
                    <a:pt x="349" y="631"/>
                  </a:lnTo>
                  <a:lnTo>
                    <a:pt x="349" y="625"/>
                  </a:lnTo>
                  <a:lnTo>
                    <a:pt x="343" y="625"/>
                  </a:lnTo>
                  <a:lnTo>
                    <a:pt x="343" y="619"/>
                  </a:lnTo>
                  <a:lnTo>
                    <a:pt x="343" y="612"/>
                  </a:lnTo>
                  <a:lnTo>
                    <a:pt x="343" y="600"/>
                  </a:lnTo>
                  <a:lnTo>
                    <a:pt x="337" y="600"/>
                  </a:lnTo>
                  <a:lnTo>
                    <a:pt x="337" y="594"/>
                  </a:lnTo>
                  <a:lnTo>
                    <a:pt x="331" y="588"/>
                  </a:lnTo>
                  <a:lnTo>
                    <a:pt x="337" y="588"/>
                  </a:lnTo>
                  <a:lnTo>
                    <a:pt x="337" y="582"/>
                  </a:lnTo>
                  <a:lnTo>
                    <a:pt x="343" y="582"/>
                  </a:lnTo>
                  <a:lnTo>
                    <a:pt x="349" y="576"/>
                  </a:lnTo>
                  <a:lnTo>
                    <a:pt x="355" y="576"/>
                  </a:lnTo>
                  <a:lnTo>
                    <a:pt x="362" y="570"/>
                  </a:lnTo>
                  <a:lnTo>
                    <a:pt x="368" y="570"/>
                  </a:lnTo>
                  <a:lnTo>
                    <a:pt x="368" y="563"/>
                  </a:lnTo>
                  <a:lnTo>
                    <a:pt x="368" y="557"/>
                  </a:lnTo>
                  <a:lnTo>
                    <a:pt x="368" y="551"/>
                  </a:lnTo>
                  <a:lnTo>
                    <a:pt x="374" y="545"/>
                  </a:lnTo>
                  <a:lnTo>
                    <a:pt x="374" y="551"/>
                  </a:lnTo>
                  <a:lnTo>
                    <a:pt x="380" y="551"/>
                  </a:lnTo>
                  <a:lnTo>
                    <a:pt x="386" y="551"/>
                  </a:lnTo>
                  <a:lnTo>
                    <a:pt x="386" y="545"/>
                  </a:lnTo>
                  <a:lnTo>
                    <a:pt x="386" y="539"/>
                  </a:lnTo>
                  <a:lnTo>
                    <a:pt x="386" y="533"/>
                  </a:lnTo>
                  <a:lnTo>
                    <a:pt x="386" y="527"/>
                  </a:lnTo>
                  <a:lnTo>
                    <a:pt x="380" y="521"/>
                  </a:lnTo>
                  <a:lnTo>
                    <a:pt x="374" y="521"/>
                  </a:lnTo>
                  <a:lnTo>
                    <a:pt x="374" y="514"/>
                  </a:lnTo>
                  <a:lnTo>
                    <a:pt x="368" y="514"/>
                  </a:lnTo>
                  <a:lnTo>
                    <a:pt x="368" y="508"/>
                  </a:lnTo>
                  <a:lnTo>
                    <a:pt x="362" y="502"/>
                  </a:lnTo>
                  <a:lnTo>
                    <a:pt x="355" y="502"/>
                  </a:lnTo>
                  <a:lnTo>
                    <a:pt x="355" y="496"/>
                  </a:lnTo>
                  <a:lnTo>
                    <a:pt x="349" y="496"/>
                  </a:lnTo>
                  <a:lnTo>
                    <a:pt x="349" y="490"/>
                  </a:lnTo>
                  <a:lnTo>
                    <a:pt x="343" y="484"/>
                  </a:lnTo>
                  <a:lnTo>
                    <a:pt x="337" y="484"/>
                  </a:lnTo>
                  <a:lnTo>
                    <a:pt x="331" y="478"/>
                  </a:lnTo>
                  <a:lnTo>
                    <a:pt x="331" y="472"/>
                  </a:lnTo>
                  <a:lnTo>
                    <a:pt x="331" y="465"/>
                  </a:lnTo>
                  <a:lnTo>
                    <a:pt x="325" y="465"/>
                  </a:lnTo>
                  <a:lnTo>
                    <a:pt x="325" y="459"/>
                  </a:lnTo>
                  <a:lnTo>
                    <a:pt x="325" y="453"/>
                  </a:lnTo>
                  <a:lnTo>
                    <a:pt x="319" y="453"/>
                  </a:lnTo>
                  <a:lnTo>
                    <a:pt x="319" y="447"/>
                  </a:lnTo>
                  <a:lnTo>
                    <a:pt x="319" y="441"/>
                  </a:lnTo>
                  <a:lnTo>
                    <a:pt x="325" y="441"/>
                  </a:lnTo>
                  <a:lnTo>
                    <a:pt x="325" y="435"/>
                  </a:lnTo>
                  <a:lnTo>
                    <a:pt x="319" y="435"/>
                  </a:lnTo>
                  <a:lnTo>
                    <a:pt x="319" y="429"/>
                  </a:lnTo>
                  <a:lnTo>
                    <a:pt x="319" y="423"/>
                  </a:lnTo>
                  <a:lnTo>
                    <a:pt x="313" y="423"/>
                  </a:lnTo>
                  <a:lnTo>
                    <a:pt x="313" y="416"/>
                  </a:lnTo>
                  <a:lnTo>
                    <a:pt x="306" y="416"/>
                  </a:lnTo>
                  <a:lnTo>
                    <a:pt x="306" y="410"/>
                  </a:lnTo>
                  <a:lnTo>
                    <a:pt x="306" y="404"/>
                  </a:lnTo>
                  <a:lnTo>
                    <a:pt x="300" y="404"/>
                  </a:lnTo>
                  <a:lnTo>
                    <a:pt x="306" y="404"/>
                  </a:lnTo>
                  <a:lnTo>
                    <a:pt x="300" y="398"/>
                  </a:lnTo>
                  <a:lnTo>
                    <a:pt x="306" y="398"/>
                  </a:lnTo>
                  <a:lnTo>
                    <a:pt x="306" y="404"/>
                  </a:lnTo>
                  <a:lnTo>
                    <a:pt x="313" y="404"/>
                  </a:lnTo>
                  <a:lnTo>
                    <a:pt x="313" y="410"/>
                  </a:lnTo>
                  <a:lnTo>
                    <a:pt x="313" y="404"/>
                  </a:lnTo>
                  <a:lnTo>
                    <a:pt x="319" y="398"/>
                  </a:lnTo>
                  <a:lnTo>
                    <a:pt x="319" y="392"/>
                  </a:lnTo>
                  <a:lnTo>
                    <a:pt x="325" y="392"/>
                  </a:lnTo>
                  <a:lnTo>
                    <a:pt x="331" y="392"/>
                  </a:lnTo>
                  <a:lnTo>
                    <a:pt x="331" y="386"/>
                  </a:lnTo>
                  <a:lnTo>
                    <a:pt x="337" y="386"/>
                  </a:lnTo>
                  <a:lnTo>
                    <a:pt x="343" y="392"/>
                  </a:lnTo>
                  <a:lnTo>
                    <a:pt x="349" y="386"/>
                  </a:lnTo>
                  <a:lnTo>
                    <a:pt x="349" y="380"/>
                  </a:lnTo>
                  <a:lnTo>
                    <a:pt x="355" y="380"/>
                  </a:lnTo>
                  <a:lnTo>
                    <a:pt x="362" y="374"/>
                  </a:lnTo>
                  <a:lnTo>
                    <a:pt x="368" y="374"/>
                  </a:lnTo>
                  <a:lnTo>
                    <a:pt x="374" y="374"/>
                  </a:lnTo>
                  <a:lnTo>
                    <a:pt x="374" y="367"/>
                  </a:lnTo>
                  <a:lnTo>
                    <a:pt x="380" y="361"/>
                  </a:lnTo>
                  <a:lnTo>
                    <a:pt x="386" y="361"/>
                  </a:lnTo>
                  <a:lnTo>
                    <a:pt x="392" y="361"/>
                  </a:lnTo>
                  <a:lnTo>
                    <a:pt x="392" y="355"/>
                  </a:lnTo>
                  <a:lnTo>
                    <a:pt x="398" y="355"/>
                  </a:lnTo>
                  <a:lnTo>
                    <a:pt x="404" y="355"/>
                  </a:lnTo>
                  <a:lnTo>
                    <a:pt x="404" y="349"/>
                  </a:lnTo>
                  <a:lnTo>
                    <a:pt x="411" y="349"/>
                  </a:lnTo>
                  <a:lnTo>
                    <a:pt x="417" y="349"/>
                  </a:lnTo>
                  <a:lnTo>
                    <a:pt x="417" y="343"/>
                  </a:lnTo>
                  <a:lnTo>
                    <a:pt x="411" y="343"/>
                  </a:lnTo>
                  <a:lnTo>
                    <a:pt x="404" y="343"/>
                  </a:lnTo>
                  <a:lnTo>
                    <a:pt x="404" y="337"/>
                  </a:lnTo>
                  <a:lnTo>
                    <a:pt x="411" y="337"/>
                  </a:lnTo>
                  <a:lnTo>
                    <a:pt x="417" y="337"/>
                  </a:lnTo>
                  <a:lnTo>
                    <a:pt x="423" y="337"/>
                  </a:lnTo>
                  <a:lnTo>
                    <a:pt x="423" y="343"/>
                  </a:lnTo>
                  <a:lnTo>
                    <a:pt x="429" y="343"/>
                  </a:lnTo>
                  <a:lnTo>
                    <a:pt x="423" y="349"/>
                  </a:lnTo>
                  <a:lnTo>
                    <a:pt x="429" y="361"/>
                  </a:lnTo>
                  <a:lnTo>
                    <a:pt x="435" y="355"/>
                  </a:lnTo>
                  <a:lnTo>
                    <a:pt x="435" y="349"/>
                  </a:lnTo>
                  <a:lnTo>
                    <a:pt x="441" y="343"/>
                  </a:lnTo>
                  <a:lnTo>
                    <a:pt x="441" y="337"/>
                  </a:lnTo>
                  <a:lnTo>
                    <a:pt x="441" y="331"/>
                  </a:lnTo>
                  <a:lnTo>
                    <a:pt x="441" y="325"/>
                  </a:lnTo>
                  <a:lnTo>
                    <a:pt x="447" y="318"/>
                  </a:lnTo>
                  <a:lnTo>
                    <a:pt x="447" y="312"/>
                  </a:lnTo>
                  <a:lnTo>
                    <a:pt x="441" y="312"/>
                  </a:lnTo>
                  <a:lnTo>
                    <a:pt x="441" y="306"/>
                  </a:lnTo>
                  <a:lnTo>
                    <a:pt x="441" y="300"/>
                  </a:lnTo>
                  <a:lnTo>
                    <a:pt x="435" y="294"/>
                  </a:lnTo>
                  <a:lnTo>
                    <a:pt x="429" y="294"/>
                  </a:lnTo>
                  <a:lnTo>
                    <a:pt x="429" y="288"/>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0" name="Freeform 222"/>
            <p:cNvSpPr>
              <a:spLocks/>
            </p:cNvSpPr>
            <p:nvPr/>
          </p:nvSpPr>
          <p:spPr bwMode="auto">
            <a:xfrm>
              <a:off x="4130869" y="4399831"/>
              <a:ext cx="9701" cy="45359"/>
            </a:xfrm>
            <a:custGeom>
              <a:avLst/>
              <a:gdLst>
                <a:gd name="T0" fmla="*/ 15120939 w 6"/>
                <a:gd name="T1" fmla="*/ 78123262 h 31"/>
                <a:gd name="T2" fmla="*/ 15120939 w 6"/>
                <a:gd name="T3" fmla="*/ 63002482 h 31"/>
                <a:gd name="T4" fmla="*/ 15120939 w 6"/>
                <a:gd name="T5" fmla="*/ 47881689 h 31"/>
                <a:gd name="T6" fmla="*/ 0 w 6"/>
                <a:gd name="T7" fmla="*/ 30241573 h 31"/>
                <a:gd name="T8" fmla="*/ 15120939 w 6"/>
                <a:gd name="T9" fmla="*/ 0 h 31"/>
                <a:gd name="T10" fmla="*/ 0 60000 65536"/>
                <a:gd name="T11" fmla="*/ 0 60000 65536"/>
                <a:gd name="T12" fmla="*/ 0 60000 65536"/>
                <a:gd name="T13" fmla="*/ 0 60000 65536"/>
                <a:gd name="T14" fmla="*/ 0 60000 65536"/>
                <a:gd name="T15" fmla="*/ 0 w 6"/>
                <a:gd name="T16" fmla="*/ 0 h 31"/>
                <a:gd name="T17" fmla="*/ 6 w 6"/>
                <a:gd name="T18" fmla="*/ 31 h 31"/>
              </a:gdLst>
              <a:ahLst/>
              <a:cxnLst>
                <a:cxn ang="T10">
                  <a:pos x="T0" y="T1"/>
                </a:cxn>
                <a:cxn ang="T11">
                  <a:pos x="T2" y="T3"/>
                </a:cxn>
                <a:cxn ang="T12">
                  <a:pos x="T4" y="T5"/>
                </a:cxn>
                <a:cxn ang="T13">
                  <a:pos x="T6" y="T7"/>
                </a:cxn>
                <a:cxn ang="T14">
                  <a:pos x="T8" y="T9"/>
                </a:cxn>
              </a:cxnLst>
              <a:rect l="T15" t="T16" r="T17" b="T18"/>
              <a:pathLst>
                <a:path w="6" h="31">
                  <a:moveTo>
                    <a:pt x="6" y="31"/>
                  </a:moveTo>
                  <a:lnTo>
                    <a:pt x="6" y="25"/>
                  </a:lnTo>
                  <a:lnTo>
                    <a:pt x="6" y="19"/>
                  </a:lnTo>
                  <a:lnTo>
                    <a:pt x="0" y="12"/>
                  </a:lnTo>
                  <a:lnTo>
                    <a:pt x="6" y="0"/>
                  </a:lnTo>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1" name="Freeform 223"/>
            <p:cNvSpPr>
              <a:spLocks/>
            </p:cNvSpPr>
            <p:nvPr/>
          </p:nvSpPr>
          <p:spPr bwMode="auto">
            <a:xfrm>
              <a:off x="4020927" y="4050127"/>
              <a:ext cx="50120" cy="62918"/>
            </a:xfrm>
            <a:custGeom>
              <a:avLst/>
              <a:gdLst>
                <a:gd name="T0" fmla="*/ 0 w 31"/>
                <a:gd name="T1" fmla="*/ 78126207 h 43"/>
                <a:gd name="T2" fmla="*/ 0 w 31"/>
                <a:gd name="T3" fmla="*/ 93247250 h 43"/>
                <a:gd name="T4" fmla="*/ 17640123 w 31"/>
                <a:gd name="T5" fmla="*/ 93247250 h 43"/>
                <a:gd name="T6" fmla="*/ 17640123 w 31"/>
                <a:gd name="T7" fmla="*/ 108368317 h 43"/>
                <a:gd name="T8" fmla="*/ 32760909 w 31"/>
                <a:gd name="T9" fmla="*/ 108368317 h 43"/>
                <a:gd name="T10" fmla="*/ 32760909 w 31"/>
                <a:gd name="T11" fmla="*/ 93247250 h 43"/>
                <a:gd name="T12" fmla="*/ 32760909 w 31"/>
                <a:gd name="T13" fmla="*/ 78126207 h 43"/>
                <a:gd name="T14" fmla="*/ 47881689 w 31"/>
                <a:gd name="T15" fmla="*/ 78126207 h 43"/>
                <a:gd name="T16" fmla="*/ 63002482 w 31"/>
                <a:gd name="T17" fmla="*/ 93247250 h 43"/>
                <a:gd name="T18" fmla="*/ 63002482 w 31"/>
                <a:gd name="T19" fmla="*/ 78126207 h 43"/>
                <a:gd name="T20" fmla="*/ 63002482 w 31"/>
                <a:gd name="T21" fmla="*/ 93247250 h 43"/>
                <a:gd name="T22" fmla="*/ 63002482 w 31"/>
                <a:gd name="T23" fmla="*/ 78126207 h 43"/>
                <a:gd name="T24" fmla="*/ 78123262 w 31"/>
                <a:gd name="T25" fmla="*/ 78126207 h 43"/>
                <a:gd name="T26" fmla="*/ 63002482 w 31"/>
                <a:gd name="T27" fmla="*/ 78126207 h 43"/>
                <a:gd name="T28" fmla="*/ 47881689 w 31"/>
                <a:gd name="T29" fmla="*/ 63005164 h 43"/>
                <a:gd name="T30" fmla="*/ 47881689 w 31"/>
                <a:gd name="T31" fmla="*/ 47884109 h 43"/>
                <a:gd name="T32" fmla="*/ 63002482 w 31"/>
                <a:gd name="T33" fmla="*/ 47884109 h 43"/>
                <a:gd name="T34" fmla="*/ 63002482 w 31"/>
                <a:gd name="T35" fmla="*/ 32763066 h 43"/>
                <a:gd name="T36" fmla="*/ 32760909 w 31"/>
                <a:gd name="T37" fmla="*/ 32763066 h 43"/>
                <a:gd name="T38" fmla="*/ 32760909 w 31"/>
                <a:gd name="T39" fmla="*/ 15121049 h 43"/>
                <a:gd name="T40" fmla="*/ 32760909 w 31"/>
                <a:gd name="T41" fmla="*/ 0 h 43"/>
                <a:gd name="T42" fmla="*/ 17640123 w 31"/>
                <a:gd name="T43" fmla="*/ 0 h 43"/>
                <a:gd name="T44" fmla="*/ 17640123 w 31"/>
                <a:gd name="T45" fmla="*/ 15121049 h 43"/>
                <a:gd name="T46" fmla="*/ 0 w 31"/>
                <a:gd name="T47" fmla="*/ 15121049 h 43"/>
                <a:gd name="T48" fmla="*/ 0 w 31"/>
                <a:gd name="T49" fmla="*/ 32763066 h 43"/>
                <a:gd name="T50" fmla="*/ 0 w 31"/>
                <a:gd name="T51" fmla="*/ 15121049 h 43"/>
                <a:gd name="T52" fmla="*/ 17640123 w 31"/>
                <a:gd name="T53" fmla="*/ 15121049 h 43"/>
                <a:gd name="T54" fmla="*/ 0 w 31"/>
                <a:gd name="T55" fmla="*/ 32763066 h 43"/>
                <a:gd name="T56" fmla="*/ 17640123 w 31"/>
                <a:gd name="T57" fmla="*/ 32763066 h 43"/>
                <a:gd name="T58" fmla="*/ 17640123 w 31"/>
                <a:gd name="T59" fmla="*/ 15121049 h 43"/>
                <a:gd name="T60" fmla="*/ 32760909 w 31"/>
                <a:gd name="T61" fmla="*/ 32763066 h 43"/>
                <a:gd name="T62" fmla="*/ 32760909 w 31"/>
                <a:gd name="T63" fmla="*/ 47884109 h 43"/>
                <a:gd name="T64" fmla="*/ 17640123 w 31"/>
                <a:gd name="T65" fmla="*/ 47884109 h 43"/>
                <a:gd name="T66" fmla="*/ 17640123 w 31"/>
                <a:gd name="T67" fmla="*/ 32763066 h 43"/>
                <a:gd name="T68" fmla="*/ 0 w 31"/>
                <a:gd name="T69" fmla="*/ 32763066 h 43"/>
                <a:gd name="T70" fmla="*/ 0 w 31"/>
                <a:gd name="T71" fmla="*/ 47884109 h 43"/>
                <a:gd name="T72" fmla="*/ 17640123 w 31"/>
                <a:gd name="T73" fmla="*/ 47884109 h 43"/>
                <a:gd name="T74" fmla="*/ 0 w 31"/>
                <a:gd name="T75" fmla="*/ 63005164 h 43"/>
                <a:gd name="T76" fmla="*/ 17640123 w 31"/>
                <a:gd name="T77" fmla="*/ 63005164 h 43"/>
                <a:gd name="T78" fmla="*/ 0 w 31"/>
                <a:gd name="T79" fmla="*/ 63005164 h 43"/>
                <a:gd name="T80" fmla="*/ 17640123 w 31"/>
                <a:gd name="T81" fmla="*/ 78126207 h 43"/>
                <a:gd name="T82" fmla="*/ 0 w 31"/>
                <a:gd name="T83" fmla="*/ 78126207 h 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
                <a:gd name="T127" fmla="*/ 0 h 43"/>
                <a:gd name="T128" fmla="*/ 31 w 31"/>
                <a:gd name="T129" fmla="*/ 43 h 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 h="43">
                  <a:moveTo>
                    <a:pt x="0" y="31"/>
                  </a:moveTo>
                  <a:lnTo>
                    <a:pt x="0" y="37"/>
                  </a:lnTo>
                  <a:lnTo>
                    <a:pt x="7" y="37"/>
                  </a:lnTo>
                  <a:lnTo>
                    <a:pt x="7" y="43"/>
                  </a:lnTo>
                  <a:lnTo>
                    <a:pt x="13" y="43"/>
                  </a:lnTo>
                  <a:lnTo>
                    <a:pt x="13" y="37"/>
                  </a:lnTo>
                  <a:lnTo>
                    <a:pt x="13" y="31"/>
                  </a:lnTo>
                  <a:lnTo>
                    <a:pt x="19" y="31"/>
                  </a:lnTo>
                  <a:lnTo>
                    <a:pt x="25" y="37"/>
                  </a:lnTo>
                  <a:lnTo>
                    <a:pt x="25" y="31"/>
                  </a:lnTo>
                  <a:lnTo>
                    <a:pt x="25" y="37"/>
                  </a:lnTo>
                  <a:lnTo>
                    <a:pt x="25" y="31"/>
                  </a:lnTo>
                  <a:lnTo>
                    <a:pt x="31" y="31"/>
                  </a:lnTo>
                  <a:lnTo>
                    <a:pt x="25" y="31"/>
                  </a:lnTo>
                  <a:lnTo>
                    <a:pt x="19" y="25"/>
                  </a:lnTo>
                  <a:lnTo>
                    <a:pt x="19" y="19"/>
                  </a:lnTo>
                  <a:lnTo>
                    <a:pt x="25" y="19"/>
                  </a:lnTo>
                  <a:lnTo>
                    <a:pt x="25" y="13"/>
                  </a:lnTo>
                  <a:lnTo>
                    <a:pt x="13" y="13"/>
                  </a:lnTo>
                  <a:lnTo>
                    <a:pt x="13" y="6"/>
                  </a:lnTo>
                  <a:lnTo>
                    <a:pt x="13" y="0"/>
                  </a:lnTo>
                  <a:lnTo>
                    <a:pt x="7" y="0"/>
                  </a:lnTo>
                  <a:lnTo>
                    <a:pt x="7" y="6"/>
                  </a:lnTo>
                  <a:lnTo>
                    <a:pt x="0" y="6"/>
                  </a:lnTo>
                  <a:lnTo>
                    <a:pt x="0" y="13"/>
                  </a:lnTo>
                  <a:lnTo>
                    <a:pt x="0" y="6"/>
                  </a:lnTo>
                  <a:lnTo>
                    <a:pt x="7" y="6"/>
                  </a:lnTo>
                  <a:lnTo>
                    <a:pt x="0" y="13"/>
                  </a:lnTo>
                  <a:lnTo>
                    <a:pt x="7" y="13"/>
                  </a:lnTo>
                  <a:lnTo>
                    <a:pt x="7" y="6"/>
                  </a:lnTo>
                  <a:lnTo>
                    <a:pt x="13" y="13"/>
                  </a:lnTo>
                  <a:lnTo>
                    <a:pt x="13" y="19"/>
                  </a:lnTo>
                  <a:lnTo>
                    <a:pt x="7" y="19"/>
                  </a:lnTo>
                  <a:lnTo>
                    <a:pt x="7" y="13"/>
                  </a:lnTo>
                  <a:lnTo>
                    <a:pt x="0" y="13"/>
                  </a:lnTo>
                  <a:lnTo>
                    <a:pt x="0" y="19"/>
                  </a:lnTo>
                  <a:lnTo>
                    <a:pt x="7" y="19"/>
                  </a:lnTo>
                  <a:lnTo>
                    <a:pt x="0" y="25"/>
                  </a:lnTo>
                  <a:lnTo>
                    <a:pt x="7" y="25"/>
                  </a:lnTo>
                  <a:lnTo>
                    <a:pt x="0" y="25"/>
                  </a:lnTo>
                  <a:lnTo>
                    <a:pt x="7" y="31"/>
                  </a:lnTo>
                  <a:lnTo>
                    <a:pt x="0" y="3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2" name="Freeform 224"/>
            <p:cNvSpPr>
              <a:spLocks/>
            </p:cNvSpPr>
            <p:nvPr/>
          </p:nvSpPr>
          <p:spPr bwMode="auto">
            <a:xfrm>
              <a:off x="4061346" y="4121824"/>
              <a:ext cx="38803" cy="36579"/>
            </a:xfrm>
            <a:custGeom>
              <a:avLst/>
              <a:gdLst>
                <a:gd name="T0" fmla="*/ 0 w 24"/>
                <a:gd name="T1" fmla="*/ 0 h 25"/>
                <a:gd name="T2" fmla="*/ 15120939 w 24"/>
                <a:gd name="T3" fmla="*/ 0 h 25"/>
                <a:gd name="T4" fmla="*/ 30241878 w 24"/>
                <a:gd name="T5" fmla="*/ 15120749 h 25"/>
                <a:gd name="T6" fmla="*/ 45362810 w 24"/>
                <a:gd name="T7" fmla="*/ 15120749 h 25"/>
                <a:gd name="T8" fmla="*/ 45362810 w 24"/>
                <a:gd name="T9" fmla="*/ 32760827 h 25"/>
                <a:gd name="T10" fmla="*/ 60483756 w 24"/>
                <a:gd name="T11" fmla="*/ 47881570 h 25"/>
                <a:gd name="T12" fmla="*/ 60483756 w 24"/>
                <a:gd name="T13" fmla="*/ 63002324 h 25"/>
                <a:gd name="T14" fmla="*/ 45362810 w 24"/>
                <a:gd name="T15" fmla="*/ 63002324 h 25"/>
                <a:gd name="T16" fmla="*/ 30241878 w 24"/>
                <a:gd name="T17" fmla="*/ 63002324 h 25"/>
                <a:gd name="T18" fmla="*/ 15120939 w 24"/>
                <a:gd name="T19" fmla="*/ 63002324 h 25"/>
                <a:gd name="T20" fmla="*/ 30241878 w 24"/>
                <a:gd name="T21" fmla="*/ 63002324 h 25"/>
                <a:gd name="T22" fmla="*/ 30241878 w 24"/>
                <a:gd name="T23" fmla="*/ 47881570 h 25"/>
                <a:gd name="T24" fmla="*/ 30241878 w 24"/>
                <a:gd name="T25" fmla="*/ 32760827 h 25"/>
                <a:gd name="T26" fmla="*/ 30241878 w 24"/>
                <a:gd name="T27" fmla="*/ 47881570 h 25"/>
                <a:gd name="T28" fmla="*/ 45362810 w 24"/>
                <a:gd name="T29" fmla="*/ 47881570 h 25"/>
                <a:gd name="T30" fmla="*/ 45362810 w 24"/>
                <a:gd name="T31" fmla="*/ 32760827 h 25"/>
                <a:gd name="T32" fmla="*/ 30241878 w 24"/>
                <a:gd name="T33" fmla="*/ 32760827 h 25"/>
                <a:gd name="T34" fmla="*/ 30241878 w 24"/>
                <a:gd name="T35" fmla="*/ 15120749 h 25"/>
                <a:gd name="T36" fmla="*/ 30241878 w 24"/>
                <a:gd name="T37" fmla="*/ 32760827 h 25"/>
                <a:gd name="T38" fmla="*/ 15120939 w 24"/>
                <a:gd name="T39" fmla="*/ 32760827 h 25"/>
                <a:gd name="T40" fmla="*/ 30241878 w 24"/>
                <a:gd name="T41" fmla="*/ 15120749 h 25"/>
                <a:gd name="T42" fmla="*/ 15120939 w 24"/>
                <a:gd name="T43" fmla="*/ 15120749 h 25"/>
                <a:gd name="T44" fmla="*/ 15120939 w 24"/>
                <a:gd name="T45" fmla="*/ 32760827 h 25"/>
                <a:gd name="T46" fmla="*/ 15120939 w 24"/>
                <a:gd name="T47" fmla="*/ 15120749 h 25"/>
                <a:gd name="T48" fmla="*/ 0 w 24"/>
                <a:gd name="T49" fmla="*/ 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25"/>
                <a:gd name="T77" fmla="*/ 24 w 24"/>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25">
                  <a:moveTo>
                    <a:pt x="0" y="0"/>
                  </a:moveTo>
                  <a:lnTo>
                    <a:pt x="6" y="0"/>
                  </a:lnTo>
                  <a:lnTo>
                    <a:pt x="12" y="6"/>
                  </a:lnTo>
                  <a:lnTo>
                    <a:pt x="18" y="6"/>
                  </a:lnTo>
                  <a:lnTo>
                    <a:pt x="18" y="13"/>
                  </a:lnTo>
                  <a:lnTo>
                    <a:pt x="24" y="19"/>
                  </a:lnTo>
                  <a:lnTo>
                    <a:pt x="24" y="25"/>
                  </a:lnTo>
                  <a:lnTo>
                    <a:pt x="18" y="25"/>
                  </a:lnTo>
                  <a:lnTo>
                    <a:pt x="12" y="25"/>
                  </a:lnTo>
                  <a:lnTo>
                    <a:pt x="6" y="25"/>
                  </a:lnTo>
                  <a:lnTo>
                    <a:pt x="12" y="25"/>
                  </a:lnTo>
                  <a:lnTo>
                    <a:pt x="12" y="19"/>
                  </a:lnTo>
                  <a:lnTo>
                    <a:pt x="12" y="13"/>
                  </a:lnTo>
                  <a:lnTo>
                    <a:pt x="12" y="19"/>
                  </a:lnTo>
                  <a:lnTo>
                    <a:pt x="18" y="19"/>
                  </a:lnTo>
                  <a:lnTo>
                    <a:pt x="18" y="13"/>
                  </a:lnTo>
                  <a:lnTo>
                    <a:pt x="12" y="13"/>
                  </a:lnTo>
                  <a:lnTo>
                    <a:pt x="12" y="6"/>
                  </a:lnTo>
                  <a:lnTo>
                    <a:pt x="12" y="13"/>
                  </a:lnTo>
                  <a:lnTo>
                    <a:pt x="6" y="13"/>
                  </a:lnTo>
                  <a:lnTo>
                    <a:pt x="12" y="6"/>
                  </a:lnTo>
                  <a:lnTo>
                    <a:pt x="6" y="6"/>
                  </a:lnTo>
                  <a:lnTo>
                    <a:pt x="6" y="13"/>
                  </a:lnTo>
                  <a:lnTo>
                    <a:pt x="6"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3" name="Freeform 225"/>
            <p:cNvSpPr>
              <a:spLocks/>
            </p:cNvSpPr>
            <p:nvPr/>
          </p:nvSpPr>
          <p:spPr bwMode="auto">
            <a:xfrm>
              <a:off x="3634517" y="4006231"/>
              <a:ext cx="21019" cy="43896"/>
            </a:xfrm>
            <a:custGeom>
              <a:avLst/>
              <a:gdLst>
                <a:gd name="T0" fmla="*/ 0 w 13"/>
                <a:gd name="T1" fmla="*/ 75604693 h 30"/>
                <a:gd name="T2" fmla="*/ 0 w 13"/>
                <a:gd name="T3" fmla="*/ 30241880 h 30"/>
                <a:gd name="T4" fmla="*/ 17642316 w 13"/>
                <a:gd name="T5" fmla="*/ 0 h 30"/>
                <a:gd name="T6" fmla="*/ 17642316 w 13"/>
                <a:gd name="T7" fmla="*/ 15120940 h 30"/>
                <a:gd name="T8" fmla="*/ 17642316 w 13"/>
                <a:gd name="T9" fmla="*/ 30241880 h 30"/>
                <a:gd name="T10" fmla="*/ 17642316 w 13"/>
                <a:gd name="T11" fmla="*/ 45362813 h 30"/>
                <a:gd name="T12" fmla="*/ 32763622 w 13"/>
                <a:gd name="T13" fmla="*/ 45362813 h 30"/>
                <a:gd name="T14" fmla="*/ 17642316 w 13"/>
                <a:gd name="T15" fmla="*/ 45362813 h 30"/>
                <a:gd name="T16" fmla="*/ 0 w 13"/>
                <a:gd name="T17" fmla="*/ 45362813 h 30"/>
                <a:gd name="T18" fmla="*/ 0 w 13"/>
                <a:gd name="T19" fmla="*/ 75604693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30"/>
                <a:gd name="T32" fmla="*/ 13 w 13"/>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30">
                  <a:moveTo>
                    <a:pt x="0" y="30"/>
                  </a:moveTo>
                  <a:lnTo>
                    <a:pt x="0" y="12"/>
                  </a:lnTo>
                  <a:lnTo>
                    <a:pt x="7" y="0"/>
                  </a:lnTo>
                  <a:lnTo>
                    <a:pt x="7" y="6"/>
                  </a:lnTo>
                  <a:lnTo>
                    <a:pt x="7" y="12"/>
                  </a:lnTo>
                  <a:lnTo>
                    <a:pt x="7" y="18"/>
                  </a:lnTo>
                  <a:lnTo>
                    <a:pt x="13" y="18"/>
                  </a:lnTo>
                  <a:lnTo>
                    <a:pt x="7" y="18"/>
                  </a:lnTo>
                  <a:lnTo>
                    <a:pt x="0" y="18"/>
                  </a:lnTo>
                  <a:lnTo>
                    <a:pt x="0" y="3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4" name="Freeform 226"/>
            <p:cNvSpPr>
              <a:spLocks/>
            </p:cNvSpPr>
            <p:nvPr/>
          </p:nvSpPr>
          <p:spPr bwMode="auto">
            <a:xfrm>
              <a:off x="3645835" y="4041348"/>
              <a:ext cx="9701" cy="8779"/>
            </a:xfrm>
            <a:custGeom>
              <a:avLst/>
              <a:gdLst>
                <a:gd name="T0" fmla="*/ 0 w 6"/>
                <a:gd name="T1" fmla="*/ 15120939 h 6"/>
                <a:gd name="T2" fmla="*/ 15120939 w 6"/>
                <a:gd name="T3" fmla="*/ 15120939 h 6"/>
                <a:gd name="T4" fmla="*/ 15120939 w 6"/>
                <a:gd name="T5" fmla="*/ 0 h 6"/>
                <a:gd name="T6" fmla="*/ 15120939 w 6"/>
                <a:gd name="T7" fmla="*/ 15120939 h 6"/>
                <a:gd name="T8" fmla="*/ 15120939 w 6"/>
                <a:gd name="T9" fmla="*/ 0 h 6"/>
                <a:gd name="T10" fmla="*/ 0 w 6"/>
                <a:gd name="T11" fmla="*/ 15120939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6"/>
                  </a:moveTo>
                  <a:lnTo>
                    <a:pt x="6" y="6"/>
                  </a:lnTo>
                  <a:lnTo>
                    <a:pt x="6" y="0"/>
                  </a:ln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5" name="Rectangle 227"/>
            <p:cNvSpPr>
              <a:spLocks noChangeArrowheads="1"/>
            </p:cNvSpPr>
            <p:nvPr/>
          </p:nvSpPr>
          <p:spPr bwMode="auto">
            <a:xfrm>
              <a:off x="3674938" y="4077928"/>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06" name="Freeform 228"/>
            <p:cNvSpPr>
              <a:spLocks/>
            </p:cNvSpPr>
            <p:nvPr/>
          </p:nvSpPr>
          <p:spPr bwMode="auto">
            <a:xfrm>
              <a:off x="3883501" y="4140845"/>
              <a:ext cx="9701" cy="8779"/>
            </a:xfrm>
            <a:custGeom>
              <a:avLst/>
              <a:gdLst>
                <a:gd name="T0" fmla="*/ 0 w 6"/>
                <a:gd name="T1" fmla="*/ 0 h 6"/>
                <a:gd name="T2" fmla="*/ 0 w 6"/>
                <a:gd name="T3" fmla="*/ 15120939 h 6"/>
                <a:gd name="T4" fmla="*/ 0 w 6"/>
                <a:gd name="T5" fmla="*/ 0 h 6"/>
                <a:gd name="T6" fmla="*/ 0 w 6"/>
                <a:gd name="T7" fmla="*/ 15120939 h 6"/>
                <a:gd name="T8" fmla="*/ 0 w 6"/>
                <a:gd name="T9" fmla="*/ 0 h 6"/>
                <a:gd name="T10" fmla="*/ 15120939 w 6"/>
                <a:gd name="T11" fmla="*/ 0 h 6"/>
                <a:gd name="T12" fmla="*/ 0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0" y="0"/>
                  </a:moveTo>
                  <a:lnTo>
                    <a:pt x="0" y="6"/>
                  </a:lnTo>
                  <a:lnTo>
                    <a:pt x="0" y="0"/>
                  </a:lnTo>
                  <a:lnTo>
                    <a:pt x="0" y="6"/>
                  </a:lnTo>
                  <a:lnTo>
                    <a:pt x="0"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7" name="Freeform 229"/>
            <p:cNvSpPr>
              <a:spLocks/>
            </p:cNvSpPr>
            <p:nvPr/>
          </p:nvSpPr>
          <p:spPr bwMode="auto">
            <a:xfrm>
              <a:off x="3634518" y="4050126"/>
              <a:ext cx="11318" cy="19022"/>
            </a:xfrm>
            <a:custGeom>
              <a:avLst/>
              <a:gdLst>
                <a:gd name="T0" fmla="*/ 0 w 7"/>
                <a:gd name="T1" fmla="*/ 0 h 13"/>
                <a:gd name="T2" fmla="*/ 17642683 w 7"/>
                <a:gd name="T3" fmla="*/ 15121306 h 13"/>
                <a:gd name="T4" fmla="*/ 0 w 7"/>
                <a:gd name="T5" fmla="*/ 15121306 h 13"/>
                <a:gd name="T6" fmla="*/ 0 w 7"/>
                <a:gd name="T7" fmla="*/ 32763622 h 13"/>
                <a:gd name="T8" fmla="*/ 0 w 7"/>
                <a:gd name="T9" fmla="*/ 15121306 h 13"/>
                <a:gd name="T10" fmla="*/ 0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0" y="0"/>
                  </a:moveTo>
                  <a:lnTo>
                    <a:pt x="7" y="6"/>
                  </a:lnTo>
                  <a:lnTo>
                    <a:pt x="0" y="6"/>
                  </a:lnTo>
                  <a:lnTo>
                    <a:pt x="0" y="13"/>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08" name="Rectangle 230"/>
            <p:cNvSpPr>
              <a:spLocks noChangeArrowheads="1"/>
            </p:cNvSpPr>
            <p:nvPr/>
          </p:nvSpPr>
          <p:spPr bwMode="auto">
            <a:xfrm>
              <a:off x="3655536" y="4069149"/>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09" name="Freeform 231"/>
            <p:cNvSpPr>
              <a:spLocks/>
            </p:cNvSpPr>
            <p:nvPr/>
          </p:nvSpPr>
          <p:spPr bwMode="auto">
            <a:xfrm>
              <a:off x="3545595" y="4175962"/>
              <a:ext cx="9701" cy="8779"/>
            </a:xfrm>
            <a:custGeom>
              <a:avLst/>
              <a:gdLst>
                <a:gd name="T0" fmla="*/ 0 w 6"/>
                <a:gd name="T1" fmla="*/ 0 h 6"/>
                <a:gd name="T2" fmla="*/ 15120939 w 6"/>
                <a:gd name="T3" fmla="*/ 0 h 6"/>
                <a:gd name="T4" fmla="*/ 0 w 6"/>
                <a:gd name="T5" fmla="*/ 0 h 6"/>
                <a:gd name="T6" fmla="*/ 0 w 6"/>
                <a:gd name="T7" fmla="*/ 15120939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6" y="0"/>
                  </a:lnTo>
                  <a:lnTo>
                    <a:pt x="0"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0" name="Freeform 232"/>
            <p:cNvSpPr>
              <a:spLocks/>
            </p:cNvSpPr>
            <p:nvPr/>
          </p:nvSpPr>
          <p:spPr bwMode="auto">
            <a:xfrm>
              <a:off x="3506793" y="4193519"/>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1" name="Freeform 233"/>
            <p:cNvSpPr>
              <a:spLocks/>
            </p:cNvSpPr>
            <p:nvPr/>
          </p:nvSpPr>
          <p:spPr bwMode="auto">
            <a:xfrm>
              <a:off x="4011227" y="4069149"/>
              <a:ext cx="9701" cy="17558"/>
            </a:xfrm>
            <a:custGeom>
              <a:avLst/>
              <a:gdLst>
                <a:gd name="T0" fmla="*/ 0 w 6"/>
                <a:gd name="T1" fmla="*/ 15120939 h 12"/>
                <a:gd name="T2" fmla="*/ 0 w 6"/>
                <a:gd name="T3" fmla="*/ 30241878 h 12"/>
                <a:gd name="T4" fmla="*/ 0 w 6"/>
                <a:gd name="T5" fmla="*/ 15120939 h 12"/>
                <a:gd name="T6" fmla="*/ 0 w 6"/>
                <a:gd name="T7" fmla="*/ 0 h 12"/>
                <a:gd name="T8" fmla="*/ 15120939 w 6"/>
                <a:gd name="T9" fmla="*/ 0 h 12"/>
                <a:gd name="T10" fmla="*/ 0 w 6"/>
                <a:gd name="T11" fmla="*/ 0 h 12"/>
                <a:gd name="T12" fmla="*/ 0 w 6"/>
                <a:gd name="T13" fmla="*/ 15120939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6"/>
                  </a:moveTo>
                  <a:lnTo>
                    <a:pt x="0" y="12"/>
                  </a:lnTo>
                  <a:lnTo>
                    <a:pt x="0" y="6"/>
                  </a:lnTo>
                  <a:lnTo>
                    <a:pt x="0" y="0"/>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2" name="Freeform 234"/>
            <p:cNvSpPr>
              <a:spLocks/>
            </p:cNvSpPr>
            <p:nvPr/>
          </p:nvSpPr>
          <p:spPr bwMode="auto">
            <a:xfrm>
              <a:off x="3566613" y="4175961"/>
              <a:ext cx="19401" cy="1464"/>
            </a:xfrm>
            <a:custGeom>
              <a:avLst/>
              <a:gdLst>
                <a:gd name="T0" fmla="*/ 0 w 12"/>
                <a:gd name="T1" fmla="*/ 0 h 1588"/>
                <a:gd name="T2" fmla="*/ 15120939 w 12"/>
                <a:gd name="T3" fmla="*/ 0 h 1588"/>
                <a:gd name="T4" fmla="*/ 30241878 w 12"/>
                <a:gd name="T5" fmla="*/ 0 h 1588"/>
                <a:gd name="T6" fmla="*/ 15120939 w 12"/>
                <a:gd name="T7" fmla="*/ 0 h 1588"/>
                <a:gd name="T8" fmla="*/ 0 w 12"/>
                <a:gd name="T9" fmla="*/ 0 h 1588"/>
                <a:gd name="T10" fmla="*/ 0 60000 65536"/>
                <a:gd name="T11" fmla="*/ 0 60000 65536"/>
                <a:gd name="T12" fmla="*/ 0 60000 65536"/>
                <a:gd name="T13" fmla="*/ 0 60000 65536"/>
                <a:gd name="T14" fmla="*/ 0 60000 65536"/>
                <a:gd name="T15" fmla="*/ 0 w 12"/>
                <a:gd name="T16" fmla="*/ 0 h 1588"/>
                <a:gd name="T17" fmla="*/ 12 w 12"/>
                <a:gd name="T18" fmla="*/ 1588 h 1588"/>
              </a:gdLst>
              <a:ahLst/>
              <a:cxnLst>
                <a:cxn ang="T10">
                  <a:pos x="T0" y="T1"/>
                </a:cxn>
                <a:cxn ang="T11">
                  <a:pos x="T2" y="T3"/>
                </a:cxn>
                <a:cxn ang="T12">
                  <a:pos x="T4" y="T5"/>
                </a:cxn>
                <a:cxn ang="T13">
                  <a:pos x="T6" y="T7"/>
                </a:cxn>
                <a:cxn ang="T14">
                  <a:pos x="T8" y="T9"/>
                </a:cxn>
              </a:cxnLst>
              <a:rect l="T15" t="T16" r="T17" b="T18"/>
              <a:pathLst>
                <a:path w="12" h="1588">
                  <a:moveTo>
                    <a:pt x="0" y="0"/>
                  </a:moveTo>
                  <a:lnTo>
                    <a:pt x="6" y="0"/>
                  </a:lnTo>
                  <a:lnTo>
                    <a:pt x="12" y="0"/>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3" name="Freeform 235"/>
            <p:cNvSpPr>
              <a:spLocks/>
            </p:cNvSpPr>
            <p:nvPr/>
          </p:nvSpPr>
          <p:spPr bwMode="auto">
            <a:xfrm>
              <a:off x="4011227" y="4077928"/>
              <a:ext cx="9701" cy="8779"/>
            </a:xfrm>
            <a:custGeom>
              <a:avLst/>
              <a:gdLst>
                <a:gd name="T0" fmla="*/ 0 w 6"/>
                <a:gd name="T1" fmla="*/ 15120939 h 6"/>
                <a:gd name="T2" fmla="*/ 15120939 w 6"/>
                <a:gd name="T3" fmla="*/ 0 h 6"/>
                <a:gd name="T4" fmla="*/ 0 w 6"/>
                <a:gd name="T5" fmla="*/ 15120939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6"/>
                  </a:move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4" name="Freeform 236"/>
            <p:cNvSpPr>
              <a:spLocks/>
            </p:cNvSpPr>
            <p:nvPr/>
          </p:nvSpPr>
          <p:spPr bwMode="auto">
            <a:xfrm>
              <a:off x="3586014" y="4167183"/>
              <a:ext cx="9701" cy="8779"/>
            </a:xfrm>
            <a:custGeom>
              <a:avLst/>
              <a:gdLst>
                <a:gd name="T0" fmla="*/ 0 w 6"/>
                <a:gd name="T1" fmla="*/ 15120939 h 6"/>
                <a:gd name="T2" fmla="*/ 0 w 6"/>
                <a:gd name="T3" fmla="*/ 0 h 6"/>
                <a:gd name="T4" fmla="*/ 15120939 w 6"/>
                <a:gd name="T5" fmla="*/ 15120939 h 6"/>
                <a:gd name="T6" fmla="*/ 15120939 w 6"/>
                <a:gd name="T7" fmla="*/ 0 h 6"/>
                <a:gd name="T8" fmla="*/ 0 w 6"/>
                <a:gd name="T9" fmla="*/ 0 h 6"/>
                <a:gd name="T10" fmla="*/ 0 w 6"/>
                <a:gd name="T11" fmla="*/ 15120939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6"/>
                  </a:moveTo>
                  <a:lnTo>
                    <a:pt x="0" y="0"/>
                  </a:lnTo>
                  <a:lnTo>
                    <a:pt x="6" y="6"/>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5" name="Freeform 237"/>
            <p:cNvSpPr>
              <a:spLocks/>
            </p:cNvSpPr>
            <p:nvPr/>
          </p:nvSpPr>
          <p:spPr bwMode="auto">
            <a:xfrm>
              <a:off x="3526194" y="4184740"/>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6" name="Freeform 238"/>
            <p:cNvSpPr>
              <a:spLocks/>
            </p:cNvSpPr>
            <p:nvPr/>
          </p:nvSpPr>
          <p:spPr bwMode="auto">
            <a:xfrm>
              <a:off x="3595715" y="4167182"/>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7" name="Rectangle 239"/>
            <p:cNvSpPr>
              <a:spLocks noChangeArrowheads="1"/>
            </p:cNvSpPr>
            <p:nvPr/>
          </p:nvSpPr>
          <p:spPr bwMode="auto">
            <a:xfrm>
              <a:off x="3645835" y="4077928"/>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18" name="Freeform 240"/>
            <p:cNvSpPr>
              <a:spLocks/>
            </p:cNvSpPr>
            <p:nvPr/>
          </p:nvSpPr>
          <p:spPr bwMode="auto">
            <a:xfrm>
              <a:off x="3645835" y="4149624"/>
              <a:ext cx="9701" cy="1464"/>
            </a:xfrm>
            <a:custGeom>
              <a:avLst/>
              <a:gdLst>
                <a:gd name="T0" fmla="*/ 0 w 6"/>
                <a:gd name="T1" fmla="*/ 0 h 1588"/>
                <a:gd name="T2" fmla="*/ 15120939 w 6"/>
                <a:gd name="T3" fmla="*/ 0 h 1588"/>
                <a:gd name="T4" fmla="*/ 0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19" name="Freeform 241"/>
            <p:cNvSpPr>
              <a:spLocks/>
            </p:cNvSpPr>
            <p:nvPr/>
          </p:nvSpPr>
          <p:spPr bwMode="auto">
            <a:xfrm>
              <a:off x="3645836" y="4140845"/>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0" name="Freeform 242"/>
            <p:cNvSpPr>
              <a:spLocks/>
            </p:cNvSpPr>
            <p:nvPr/>
          </p:nvSpPr>
          <p:spPr bwMode="auto">
            <a:xfrm>
              <a:off x="3446971" y="4929508"/>
              <a:ext cx="357308" cy="250206"/>
            </a:xfrm>
            <a:custGeom>
              <a:avLst/>
              <a:gdLst>
                <a:gd name="T0" fmla="*/ 30241922 w 221"/>
                <a:gd name="T1" fmla="*/ 322579390 h 171"/>
                <a:gd name="T2" fmla="*/ 45362877 w 221"/>
                <a:gd name="T3" fmla="*/ 292337581 h 171"/>
                <a:gd name="T4" fmla="*/ 93246707 w 221"/>
                <a:gd name="T5" fmla="*/ 277216677 h 171"/>
                <a:gd name="T6" fmla="*/ 108367687 w 221"/>
                <a:gd name="T7" fmla="*/ 307458486 h 171"/>
                <a:gd name="T8" fmla="*/ 108367687 w 221"/>
                <a:gd name="T9" fmla="*/ 322579390 h 171"/>
                <a:gd name="T10" fmla="*/ 123488641 w 221"/>
                <a:gd name="T11" fmla="*/ 352821198 h 171"/>
                <a:gd name="T12" fmla="*/ 138609596 w 221"/>
                <a:gd name="T13" fmla="*/ 400703268 h 171"/>
                <a:gd name="T14" fmla="*/ 186491826 w 221"/>
                <a:gd name="T15" fmla="*/ 400703268 h 171"/>
                <a:gd name="T16" fmla="*/ 216733786 w 221"/>
                <a:gd name="T17" fmla="*/ 400703268 h 171"/>
                <a:gd name="T18" fmla="*/ 262096650 w 221"/>
                <a:gd name="T19" fmla="*/ 385582364 h 171"/>
                <a:gd name="T20" fmla="*/ 262096650 w 221"/>
                <a:gd name="T21" fmla="*/ 337700294 h 171"/>
                <a:gd name="T22" fmla="*/ 309980468 w 221"/>
                <a:gd name="T23" fmla="*/ 292337581 h 171"/>
                <a:gd name="T24" fmla="*/ 309980468 w 221"/>
                <a:gd name="T25" fmla="*/ 337700294 h 171"/>
                <a:gd name="T26" fmla="*/ 340222378 w 221"/>
                <a:gd name="T27" fmla="*/ 370461460 h 171"/>
                <a:gd name="T28" fmla="*/ 370464287 w 221"/>
                <a:gd name="T29" fmla="*/ 370461460 h 171"/>
                <a:gd name="T30" fmla="*/ 370464287 w 221"/>
                <a:gd name="T31" fmla="*/ 415824172 h 171"/>
                <a:gd name="T32" fmla="*/ 385585242 w 221"/>
                <a:gd name="T33" fmla="*/ 415824172 h 171"/>
                <a:gd name="T34" fmla="*/ 400706197 w 221"/>
                <a:gd name="T35" fmla="*/ 337700294 h 171"/>
                <a:gd name="T36" fmla="*/ 418346617 w 221"/>
                <a:gd name="T37" fmla="*/ 307458486 h 171"/>
                <a:gd name="T38" fmla="*/ 433467571 w 221"/>
                <a:gd name="T39" fmla="*/ 277216677 h 171"/>
                <a:gd name="T40" fmla="*/ 463709481 w 221"/>
                <a:gd name="T41" fmla="*/ 322579390 h 171"/>
                <a:gd name="T42" fmla="*/ 493951391 w 221"/>
                <a:gd name="T43" fmla="*/ 292337581 h 171"/>
                <a:gd name="T44" fmla="*/ 509072346 w 221"/>
                <a:gd name="T45" fmla="*/ 307458486 h 171"/>
                <a:gd name="T46" fmla="*/ 524193301 w 221"/>
                <a:gd name="T47" fmla="*/ 337700294 h 171"/>
                <a:gd name="T48" fmla="*/ 524193301 w 221"/>
                <a:gd name="T49" fmla="*/ 292337581 h 171"/>
                <a:gd name="T50" fmla="*/ 524193301 w 221"/>
                <a:gd name="T51" fmla="*/ 246974869 h 171"/>
                <a:gd name="T52" fmla="*/ 556956163 w 221"/>
                <a:gd name="T53" fmla="*/ 262095773 h 171"/>
                <a:gd name="T54" fmla="*/ 556956163 w 221"/>
                <a:gd name="T55" fmla="*/ 214212116 h 171"/>
                <a:gd name="T56" fmla="*/ 556956163 w 221"/>
                <a:gd name="T57" fmla="*/ 168849353 h 171"/>
                <a:gd name="T58" fmla="*/ 524193301 w 221"/>
                <a:gd name="T59" fmla="*/ 183970258 h 171"/>
                <a:gd name="T60" fmla="*/ 509072346 w 221"/>
                <a:gd name="T61" fmla="*/ 183970258 h 171"/>
                <a:gd name="T62" fmla="*/ 493951391 w 221"/>
                <a:gd name="T63" fmla="*/ 183970258 h 171"/>
                <a:gd name="T64" fmla="*/ 478830436 w 221"/>
                <a:gd name="T65" fmla="*/ 168849353 h 171"/>
                <a:gd name="T66" fmla="*/ 493951391 w 221"/>
                <a:gd name="T67" fmla="*/ 168849353 h 171"/>
                <a:gd name="T68" fmla="*/ 463709481 w 221"/>
                <a:gd name="T69" fmla="*/ 153728449 h 171"/>
                <a:gd name="T70" fmla="*/ 448588526 w 221"/>
                <a:gd name="T71" fmla="*/ 153728449 h 171"/>
                <a:gd name="T72" fmla="*/ 433467571 w 221"/>
                <a:gd name="T73" fmla="*/ 123486641 h 171"/>
                <a:gd name="T74" fmla="*/ 448588526 w 221"/>
                <a:gd name="T75" fmla="*/ 90725450 h 171"/>
                <a:gd name="T76" fmla="*/ 448588526 w 221"/>
                <a:gd name="T77" fmla="*/ 75604546 h 171"/>
                <a:gd name="T78" fmla="*/ 433467571 w 221"/>
                <a:gd name="T79" fmla="*/ 45362725 h 171"/>
                <a:gd name="T80" fmla="*/ 400706197 w 221"/>
                <a:gd name="T81" fmla="*/ 30241821 h 171"/>
                <a:gd name="T82" fmla="*/ 370464287 w 221"/>
                <a:gd name="T83" fmla="*/ 15120910 h 171"/>
                <a:gd name="T84" fmla="*/ 355343333 w 221"/>
                <a:gd name="T85" fmla="*/ 30241821 h 171"/>
                <a:gd name="T86" fmla="*/ 355343333 w 221"/>
                <a:gd name="T87" fmla="*/ 15120910 h 171"/>
                <a:gd name="T88" fmla="*/ 309980468 w 221"/>
                <a:gd name="T89" fmla="*/ 15120910 h 171"/>
                <a:gd name="T90" fmla="*/ 340222378 w 221"/>
                <a:gd name="T91" fmla="*/ 30241821 h 171"/>
                <a:gd name="T92" fmla="*/ 325101423 w 221"/>
                <a:gd name="T93" fmla="*/ 30241821 h 171"/>
                <a:gd name="T94" fmla="*/ 309980468 w 221"/>
                <a:gd name="T95" fmla="*/ 45362725 h 171"/>
                <a:gd name="T96" fmla="*/ 262096650 w 221"/>
                <a:gd name="T97" fmla="*/ 45362725 h 171"/>
                <a:gd name="T98" fmla="*/ 216733786 w 221"/>
                <a:gd name="T99" fmla="*/ 45362725 h 171"/>
                <a:gd name="T100" fmla="*/ 186491826 w 221"/>
                <a:gd name="T101" fmla="*/ 60483642 h 171"/>
                <a:gd name="T102" fmla="*/ 153730551 w 221"/>
                <a:gd name="T103" fmla="*/ 75604546 h 171"/>
                <a:gd name="T104" fmla="*/ 123488641 w 221"/>
                <a:gd name="T105" fmla="*/ 60483642 h 171"/>
                <a:gd name="T106" fmla="*/ 138609596 w 221"/>
                <a:gd name="T107" fmla="*/ 75604546 h 171"/>
                <a:gd name="T108" fmla="*/ 123488641 w 221"/>
                <a:gd name="T109" fmla="*/ 105846379 h 171"/>
                <a:gd name="T110" fmla="*/ 93246707 w 221"/>
                <a:gd name="T111" fmla="*/ 153728449 h 171"/>
                <a:gd name="T112" fmla="*/ 63004797 w 221"/>
                <a:gd name="T113" fmla="*/ 183970258 h 171"/>
                <a:gd name="T114" fmla="*/ 45362877 w 221"/>
                <a:gd name="T115" fmla="*/ 229333020 h 171"/>
                <a:gd name="T116" fmla="*/ 15120961 w 221"/>
                <a:gd name="T117" fmla="*/ 277216677 h 171"/>
                <a:gd name="T118" fmla="*/ 30241922 w 221"/>
                <a:gd name="T119" fmla="*/ 322579390 h 171"/>
                <a:gd name="T120" fmla="*/ 0 w 221"/>
                <a:gd name="T121" fmla="*/ 337700294 h 171"/>
                <a:gd name="T122" fmla="*/ 30241922 w 221"/>
                <a:gd name="T123" fmla="*/ 352821198 h 1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1"/>
                <a:gd name="T187" fmla="*/ 0 h 171"/>
                <a:gd name="T188" fmla="*/ 221 w 221"/>
                <a:gd name="T189" fmla="*/ 171 h 1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1" h="171">
                  <a:moveTo>
                    <a:pt x="12" y="128"/>
                  </a:moveTo>
                  <a:lnTo>
                    <a:pt x="18" y="128"/>
                  </a:lnTo>
                  <a:lnTo>
                    <a:pt x="12" y="128"/>
                  </a:lnTo>
                  <a:lnTo>
                    <a:pt x="12" y="122"/>
                  </a:lnTo>
                  <a:lnTo>
                    <a:pt x="18" y="122"/>
                  </a:lnTo>
                  <a:lnTo>
                    <a:pt x="18" y="116"/>
                  </a:lnTo>
                  <a:lnTo>
                    <a:pt x="25" y="116"/>
                  </a:lnTo>
                  <a:lnTo>
                    <a:pt x="31" y="116"/>
                  </a:lnTo>
                  <a:lnTo>
                    <a:pt x="37" y="110"/>
                  </a:lnTo>
                  <a:lnTo>
                    <a:pt x="37" y="116"/>
                  </a:lnTo>
                  <a:lnTo>
                    <a:pt x="43" y="116"/>
                  </a:lnTo>
                  <a:lnTo>
                    <a:pt x="43" y="122"/>
                  </a:lnTo>
                  <a:lnTo>
                    <a:pt x="43" y="128"/>
                  </a:lnTo>
                  <a:lnTo>
                    <a:pt x="49" y="128"/>
                  </a:lnTo>
                  <a:lnTo>
                    <a:pt x="43" y="128"/>
                  </a:lnTo>
                  <a:lnTo>
                    <a:pt x="43" y="134"/>
                  </a:lnTo>
                  <a:lnTo>
                    <a:pt x="43" y="140"/>
                  </a:lnTo>
                  <a:lnTo>
                    <a:pt x="49" y="140"/>
                  </a:lnTo>
                  <a:lnTo>
                    <a:pt x="49" y="147"/>
                  </a:lnTo>
                  <a:lnTo>
                    <a:pt x="55" y="153"/>
                  </a:lnTo>
                  <a:lnTo>
                    <a:pt x="55" y="159"/>
                  </a:lnTo>
                  <a:lnTo>
                    <a:pt x="61" y="165"/>
                  </a:lnTo>
                  <a:lnTo>
                    <a:pt x="67" y="159"/>
                  </a:lnTo>
                  <a:lnTo>
                    <a:pt x="74" y="159"/>
                  </a:lnTo>
                  <a:lnTo>
                    <a:pt x="80" y="159"/>
                  </a:lnTo>
                  <a:lnTo>
                    <a:pt x="86" y="153"/>
                  </a:lnTo>
                  <a:lnTo>
                    <a:pt x="86" y="159"/>
                  </a:lnTo>
                  <a:lnTo>
                    <a:pt x="92" y="159"/>
                  </a:lnTo>
                  <a:lnTo>
                    <a:pt x="98" y="153"/>
                  </a:lnTo>
                  <a:lnTo>
                    <a:pt x="104" y="153"/>
                  </a:lnTo>
                  <a:lnTo>
                    <a:pt x="104" y="147"/>
                  </a:lnTo>
                  <a:lnTo>
                    <a:pt x="110" y="140"/>
                  </a:lnTo>
                  <a:lnTo>
                    <a:pt x="104" y="134"/>
                  </a:lnTo>
                  <a:lnTo>
                    <a:pt x="104" y="128"/>
                  </a:lnTo>
                  <a:lnTo>
                    <a:pt x="116" y="122"/>
                  </a:lnTo>
                  <a:lnTo>
                    <a:pt x="123" y="116"/>
                  </a:lnTo>
                  <a:lnTo>
                    <a:pt x="129" y="116"/>
                  </a:lnTo>
                  <a:lnTo>
                    <a:pt x="123" y="128"/>
                  </a:lnTo>
                  <a:lnTo>
                    <a:pt x="123" y="134"/>
                  </a:lnTo>
                  <a:lnTo>
                    <a:pt x="129" y="134"/>
                  </a:lnTo>
                  <a:lnTo>
                    <a:pt x="135" y="140"/>
                  </a:lnTo>
                  <a:lnTo>
                    <a:pt x="135" y="147"/>
                  </a:lnTo>
                  <a:lnTo>
                    <a:pt x="141" y="140"/>
                  </a:lnTo>
                  <a:lnTo>
                    <a:pt x="141" y="147"/>
                  </a:lnTo>
                  <a:lnTo>
                    <a:pt x="147" y="147"/>
                  </a:lnTo>
                  <a:lnTo>
                    <a:pt x="141" y="153"/>
                  </a:lnTo>
                  <a:lnTo>
                    <a:pt x="147" y="159"/>
                  </a:lnTo>
                  <a:lnTo>
                    <a:pt x="147" y="165"/>
                  </a:lnTo>
                  <a:lnTo>
                    <a:pt x="147" y="171"/>
                  </a:lnTo>
                  <a:lnTo>
                    <a:pt x="153" y="171"/>
                  </a:lnTo>
                  <a:lnTo>
                    <a:pt x="153" y="165"/>
                  </a:lnTo>
                  <a:lnTo>
                    <a:pt x="153" y="159"/>
                  </a:lnTo>
                  <a:lnTo>
                    <a:pt x="153" y="153"/>
                  </a:lnTo>
                  <a:lnTo>
                    <a:pt x="159" y="134"/>
                  </a:lnTo>
                  <a:lnTo>
                    <a:pt x="166" y="134"/>
                  </a:lnTo>
                  <a:lnTo>
                    <a:pt x="166" y="128"/>
                  </a:lnTo>
                  <a:lnTo>
                    <a:pt x="166" y="122"/>
                  </a:lnTo>
                  <a:lnTo>
                    <a:pt x="166" y="116"/>
                  </a:lnTo>
                  <a:lnTo>
                    <a:pt x="166" y="110"/>
                  </a:lnTo>
                  <a:lnTo>
                    <a:pt x="172" y="110"/>
                  </a:lnTo>
                  <a:lnTo>
                    <a:pt x="172" y="116"/>
                  </a:lnTo>
                  <a:lnTo>
                    <a:pt x="178" y="128"/>
                  </a:lnTo>
                  <a:lnTo>
                    <a:pt x="184" y="128"/>
                  </a:lnTo>
                  <a:lnTo>
                    <a:pt x="190" y="122"/>
                  </a:lnTo>
                  <a:lnTo>
                    <a:pt x="190" y="116"/>
                  </a:lnTo>
                  <a:lnTo>
                    <a:pt x="196" y="116"/>
                  </a:lnTo>
                  <a:lnTo>
                    <a:pt x="202" y="116"/>
                  </a:lnTo>
                  <a:lnTo>
                    <a:pt x="196" y="122"/>
                  </a:lnTo>
                  <a:lnTo>
                    <a:pt x="202" y="122"/>
                  </a:lnTo>
                  <a:lnTo>
                    <a:pt x="202" y="128"/>
                  </a:lnTo>
                  <a:lnTo>
                    <a:pt x="202" y="134"/>
                  </a:lnTo>
                  <a:lnTo>
                    <a:pt x="208" y="134"/>
                  </a:lnTo>
                  <a:lnTo>
                    <a:pt x="208" y="128"/>
                  </a:lnTo>
                  <a:lnTo>
                    <a:pt x="208" y="122"/>
                  </a:lnTo>
                  <a:lnTo>
                    <a:pt x="208" y="116"/>
                  </a:lnTo>
                  <a:lnTo>
                    <a:pt x="202" y="110"/>
                  </a:lnTo>
                  <a:lnTo>
                    <a:pt x="202" y="104"/>
                  </a:lnTo>
                  <a:lnTo>
                    <a:pt x="208" y="98"/>
                  </a:lnTo>
                  <a:lnTo>
                    <a:pt x="215" y="98"/>
                  </a:lnTo>
                  <a:lnTo>
                    <a:pt x="215" y="104"/>
                  </a:lnTo>
                  <a:lnTo>
                    <a:pt x="221" y="104"/>
                  </a:lnTo>
                  <a:lnTo>
                    <a:pt x="221" y="98"/>
                  </a:lnTo>
                  <a:lnTo>
                    <a:pt x="221" y="91"/>
                  </a:lnTo>
                  <a:lnTo>
                    <a:pt x="221" y="85"/>
                  </a:lnTo>
                  <a:lnTo>
                    <a:pt x="221" y="79"/>
                  </a:lnTo>
                  <a:lnTo>
                    <a:pt x="221" y="73"/>
                  </a:lnTo>
                  <a:lnTo>
                    <a:pt x="221" y="67"/>
                  </a:lnTo>
                  <a:lnTo>
                    <a:pt x="215" y="67"/>
                  </a:lnTo>
                  <a:lnTo>
                    <a:pt x="215" y="73"/>
                  </a:lnTo>
                  <a:lnTo>
                    <a:pt x="208" y="73"/>
                  </a:lnTo>
                  <a:lnTo>
                    <a:pt x="208" y="79"/>
                  </a:lnTo>
                  <a:lnTo>
                    <a:pt x="202" y="79"/>
                  </a:lnTo>
                  <a:lnTo>
                    <a:pt x="202" y="73"/>
                  </a:lnTo>
                  <a:lnTo>
                    <a:pt x="196" y="73"/>
                  </a:lnTo>
                  <a:lnTo>
                    <a:pt x="190" y="73"/>
                  </a:lnTo>
                  <a:lnTo>
                    <a:pt x="196" y="73"/>
                  </a:lnTo>
                  <a:lnTo>
                    <a:pt x="190" y="73"/>
                  </a:lnTo>
                  <a:lnTo>
                    <a:pt x="196" y="73"/>
                  </a:lnTo>
                  <a:lnTo>
                    <a:pt x="190" y="67"/>
                  </a:lnTo>
                  <a:lnTo>
                    <a:pt x="196" y="67"/>
                  </a:lnTo>
                  <a:lnTo>
                    <a:pt x="190" y="67"/>
                  </a:lnTo>
                  <a:lnTo>
                    <a:pt x="196" y="67"/>
                  </a:lnTo>
                  <a:lnTo>
                    <a:pt x="190" y="67"/>
                  </a:lnTo>
                  <a:lnTo>
                    <a:pt x="190" y="61"/>
                  </a:lnTo>
                  <a:lnTo>
                    <a:pt x="184" y="61"/>
                  </a:lnTo>
                  <a:lnTo>
                    <a:pt x="178" y="61"/>
                  </a:lnTo>
                  <a:lnTo>
                    <a:pt x="172" y="61"/>
                  </a:lnTo>
                  <a:lnTo>
                    <a:pt x="178" y="61"/>
                  </a:lnTo>
                  <a:lnTo>
                    <a:pt x="178" y="55"/>
                  </a:lnTo>
                  <a:lnTo>
                    <a:pt x="172" y="55"/>
                  </a:lnTo>
                  <a:lnTo>
                    <a:pt x="172" y="49"/>
                  </a:lnTo>
                  <a:lnTo>
                    <a:pt x="178" y="49"/>
                  </a:lnTo>
                  <a:lnTo>
                    <a:pt x="178" y="42"/>
                  </a:lnTo>
                  <a:lnTo>
                    <a:pt x="178" y="36"/>
                  </a:lnTo>
                  <a:lnTo>
                    <a:pt x="184" y="36"/>
                  </a:lnTo>
                  <a:lnTo>
                    <a:pt x="184" y="30"/>
                  </a:lnTo>
                  <a:lnTo>
                    <a:pt x="178" y="30"/>
                  </a:lnTo>
                  <a:lnTo>
                    <a:pt x="178" y="24"/>
                  </a:lnTo>
                  <a:lnTo>
                    <a:pt x="172" y="24"/>
                  </a:lnTo>
                  <a:lnTo>
                    <a:pt x="172" y="18"/>
                  </a:lnTo>
                  <a:lnTo>
                    <a:pt x="166" y="18"/>
                  </a:lnTo>
                  <a:lnTo>
                    <a:pt x="166" y="12"/>
                  </a:lnTo>
                  <a:lnTo>
                    <a:pt x="159" y="12"/>
                  </a:lnTo>
                  <a:lnTo>
                    <a:pt x="159" y="6"/>
                  </a:lnTo>
                  <a:lnTo>
                    <a:pt x="153" y="6"/>
                  </a:lnTo>
                  <a:lnTo>
                    <a:pt x="147" y="6"/>
                  </a:lnTo>
                  <a:lnTo>
                    <a:pt x="147" y="12"/>
                  </a:lnTo>
                  <a:lnTo>
                    <a:pt x="141" y="6"/>
                  </a:lnTo>
                  <a:lnTo>
                    <a:pt x="141" y="12"/>
                  </a:lnTo>
                  <a:lnTo>
                    <a:pt x="141" y="6"/>
                  </a:lnTo>
                  <a:lnTo>
                    <a:pt x="135" y="6"/>
                  </a:lnTo>
                  <a:lnTo>
                    <a:pt x="141" y="6"/>
                  </a:lnTo>
                  <a:lnTo>
                    <a:pt x="135" y="0"/>
                  </a:lnTo>
                  <a:lnTo>
                    <a:pt x="129" y="0"/>
                  </a:lnTo>
                  <a:lnTo>
                    <a:pt x="123" y="6"/>
                  </a:lnTo>
                  <a:lnTo>
                    <a:pt x="123" y="12"/>
                  </a:lnTo>
                  <a:lnTo>
                    <a:pt x="129" y="12"/>
                  </a:lnTo>
                  <a:lnTo>
                    <a:pt x="135" y="12"/>
                  </a:lnTo>
                  <a:lnTo>
                    <a:pt x="129" y="12"/>
                  </a:lnTo>
                  <a:lnTo>
                    <a:pt x="129" y="18"/>
                  </a:lnTo>
                  <a:lnTo>
                    <a:pt x="129" y="12"/>
                  </a:lnTo>
                  <a:lnTo>
                    <a:pt x="123" y="18"/>
                  </a:lnTo>
                  <a:lnTo>
                    <a:pt x="129" y="18"/>
                  </a:lnTo>
                  <a:lnTo>
                    <a:pt x="123" y="18"/>
                  </a:lnTo>
                  <a:lnTo>
                    <a:pt x="116" y="18"/>
                  </a:lnTo>
                  <a:lnTo>
                    <a:pt x="110" y="12"/>
                  </a:lnTo>
                  <a:lnTo>
                    <a:pt x="104" y="18"/>
                  </a:lnTo>
                  <a:lnTo>
                    <a:pt x="98" y="18"/>
                  </a:lnTo>
                  <a:lnTo>
                    <a:pt x="92" y="18"/>
                  </a:lnTo>
                  <a:lnTo>
                    <a:pt x="86" y="18"/>
                  </a:lnTo>
                  <a:lnTo>
                    <a:pt x="80" y="18"/>
                  </a:lnTo>
                  <a:lnTo>
                    <a:pt x="80" y="24"/>
                  </a:lnTo>
                  <a:lnTo>
                    <a:pt x="74" y="24"/>
                  </a:lnTo>
                  <a:lnTo>
                    <a:pt x="74" y="30"/>
                  </a:lnTo>
                  <a:lnTo>
                    <a:pt x="67" y="30"/>
                  </a:lnTo>
                  <a:lnTo>
                    <a:pt x="61" y="30"/>
                  </a:lnTo>
                  <a:lnTo>
                    <a:pt x="61" y="24"/>
                  </a:lnTo>
                  <a:lnTo>
                    <a:pt x="55" y="24"/>
                  </a:lnTo>
                  <a:lnTo>
                    <a:pt x="49" y="24"/>
                  </a:lnTo>
                  <a:lnTo>
                    <a:pt x="49" y="30"/>
                  </a:lnTo>
                  <a:lnTo>
                    <a:pt x="49" y="36"/>
                  </a:lnTo>
                  <a:lnTo>
                    <a:pt x="55" y="30"/>
                  </a:lnTo>
                  <a:lnTo>
                    <a:pt x="55" y="36"/>
                  </a:lnTo>
                  <a:lnTo>
                    <a:pt x="55" y="42"/>
                  </a:lnTo>
                  <a:lnTo>
                    <a:pt x="49" y="42"/>
                  </a:lnTo>
                  <a:lnTo>
                    <a:pt x="49" y="49"/>
                  </a:lnTo>
                  <a:lnTo>
                    <a:pt x="43" y="55"/>
                  </a:lnTo>
                  <a:lnTo>
                    <a:pt x="37" y="61"/>
                  </a:lnTo>
                  <a:lnTo>
                    <a:pt x="37" y="67"/>
                  </a:lnTo>
                  <a:lnTo>
                    <a:pt x="25" y="67"/>
                  </a:lnTo>
                  <a:lnTo>
                    <a:pt x="25" y="73"/>
                  </a:lnTo>
                  <a:lnTo>
                    <a:pt x="25" y="79"/>
                  </a:lnTo>
                  <a:lnTo>
                    <a:pt x="25" y="85"/>
                  </a:lnTo>
                  <a:lnTo>
                    <a:pt x="18" y="91"/>
                  </a:lnTo>
                  <a:lnTo>
                    <a:pt x="12" y="104"/>
                  </a:lnTo>
                  <a:lnTo>
                    <a:pt x="12" y="110"/>
                  </a:lnTo>
                  <a:lnTo>
                    <a:pt x="6" y="110"/>
                  </a:lnTo>
                  <a:lnTo>
                    <a:pt x="6" y="116"/>
                  </a:lnTo>
                  <a:lnTo>
                    <a:pt x="12" y="122"/>
                  </a:lnTo>
                  <a:lnTo>
                    <a:pt x="12" y="128"/>
                  </a:lnTo>
                  <a:lnTo>
                    <a:pt x="6" y="128"/>
                  </a:lnTo>
                  <a:lnTo>
                    <a:pt x="6" y="134"/>
                  </a:lnTo>
                  <a:lnTo>
                    <a:pt x="0" y="134"/>
                  </a:lnTo>
                  <a:lnTo>
                    <a:pt x="0" y="140"/>
                  </a:lnTo>
                  <a:lnTo>
                    <a:pt x="6" y="140"/>
                  </a:lnTo>
                  <a:lnTo>
                    <a:pt x="12" y="140"/>
                  </a:lnTo>
                  <a:lnTo>
                    <a:pt x="18" y="128"/>
                  </a:lnTo>
                  <a:lnTo>
                    <a:pt x="12" y="12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1" name="Freeform 243"/>
            <p:cNvSpPr>
              <a:spLocks/>
            </p:cNvSpPr>
            <p:nvPr/>
          </p:nvSpPr>
          <p:spPr bwMode="auto">
            <a:xfrm>
              <a:off x="3734758" y="4767093"/>
              <a:ext cx="604675" cy="340925"/>
            </a:xfrm>
            <a:custGeom>
              <a:avLst/>
              <a:gdLst>
                <a:gd name="T0" fmla="*/ 292338129 w 374"/>
                <a:gd name="T1" fmla="*/ 433467546 h 233"/>
                <a:gd name="T2" fmla="*/ 199093122 w 374"/>
                <a:gd name="T3" fmla="*/ 448588500 h 233"/>
                <a:gd name="T4" fmla="*/ 138607804 w 374"/>
                <a:gd name="T5" fmla="*/ 478830408 h 233"/>
                <a:gd name="T6" fmla="*/ 93246569 w 374"/>
                <a:gd name="T7" fmla="*/ 448588500 h 233"/>
                <a:gd name="T8" fmla="*/ 60483755 w 374"/>
                <a:gd name="T9" fmla="*/ 463709454 h 233"/>
                <a:gd name="T10" fmla="*/ 45362810 w 374"/>
                <a:gd name="T11" fmla="*/ 463709454 h 233"/>
                <a:gd name="T12" fmla="*/ 30241878 w 374"/>
                <a:gd name="T13" fmla="*/ 448588500 h 233"/>
                <a:gd name="T14" fmla="*/ 15120939 w 374"/>
                <a:gd name="T15" fmla="*/ 418346592 h 233"/>
                <a:gd name="T16" fmla="*/ 15120939 w 374"/>
                <a:gd name="T17" fmla="*/ 370464265 h 233"/>
                <a:gd name="T18" fmla="*/ 30241878 w 374"/>
                <a:gd name="T19" fmla="*/ 325101404 h 233"/>
                <a:gd name="T20" fmla="*/ 75604688 w 374"/>
                <a:gd name="T21" fmla="*/ 355343311 h 233"/>
                <a:gd name="T22" fmla="*/ 108367527 w 374"/>
                <a:gd name="T23" fmla="*/ 340222357 h 233"/>
                <a:gd name="T24" fmla="*/ 138607804 w 374"/>
                <a:gd name="T25" fmla="*/ 325101404 h 233"/>
                <a:gd name="T26" fmla="*/ 199093122 w 374"/>
                <a:gd name="T27" fmla="*/ 355343311 h 233"/>
                <a:gd name="T28" fmla="*/ 246975331 w 374"/>
                <a:gd name="T29" fmla="*/ 309980450 h 233"/>
                <a:gd name="T30" fmla="*/ 292338129 w 374"/>
                <a:gd name="T31" fmla="*/ 309980450 h 233"/>
                <a:gd name="T32" fmla="*/ 322579994 w 374"/>
                <a:gd name="T33" fmla="*/ 294859496 h 233"/>
                <a:gd name="T34" fmla="*/ 385584673 w 374"/>
                <a:gd name="T35" fmla="*/ 309980450 h 233"/>
                <a:gd name="T36" fmla="*/ 430947570 w 374"/>
                <a:gd name="T37" fmla="*/ 325101404 h 233"/>
                <a:gd name="T38" fmla="*/ 415826538 w 374"/>
                <a:gd name="T39" fmla="*/ 262096635 h 233"/>
                <a:gd name="T40" fmla="*/ 400705606 w 374"/>
                <a:gd name="T41" fmla="*/ 201612769 h 233"/>
                <a:gd name="T42" fmla="*/ 463708797 w 374"/>
                <a:gd name="T43" fmla="*/ 156249907 h 233"/>
                <a:gd name="T44" fmla="*/ 493950662 w 374"/>
                <a:gd name="T45" fmla="*/ 93246701 h 233"/>
                <a:gd name="T46" fmla="*/ 524192527 w 374"/>
                <a:gd name="T47" fmla="*/ 78125747 h 233"/>
                <a:gd name="T48" fmla="*/ 554434392 w 374"/>
                <a:gd name="T49" fmla="*/ 93246701 h 233"/>
                <a:gd name="T50" fmla="*/ 587195619 w 374"/>
                <a:gd name="T51" fmla="*/ 93246701 h 233"/>
                <a:gd name="T52" fmla="*/ 632558417 w 374"/>
                <a:gd name="T53" fmla="*/ 93246701 h 233"/>
                <a:gd name="T54" fmla="*/ 662801870 w 374"/>
                <a:gd name="T55" fmla="*/ 47883827 h 233"/>
                <a:gd name="T56" fmla="*/ 677922802 w 374"/>
                <a:gd name="T57" fmla="*/ 0 h 233"/>
                <a:gd name="T58" fmla="*/ 710684029 w 374"/>
                <a:gd name="T59" fmla="*/ 15120960 h 233"/>
                <a:gd name="T60" fmla="*/ 740925894 w 374"/>
                <a:gd name="T61" fmla="*/ 32762873 h 233"/>
                <a:gd name="T62" fmla="*/ 771167759 w 374"/>
                <a:gd name="T63" fmla="*/ 32762873 h 233"/>
                <a:gd name="T64" fmla="*/ 786288692 w 374"/>
                <a:gd name="T65" fmla="*/ 63004793 h 233"/>
                <a:gd name="T66" fmla="*/ 834172637 w 374"/>
                <a:gd name="T67" fmla="*/ 63004793 h 233"/>
                <a:gd name="T68" fmla="*/ 864414502 w 374"/>
                <a:gd name="T69" fmla="*/ 63004793 h 233"/>
                <a:gd name="T70" fmla="*/ 894656367 w 374"/>
                <a:gd name="T71" fmla="*/ 78125747 h 233"/>
                <a:gd name="T72" fmla="*/ 894656367 w 374"/>
                <a:gd name="T73" fmla="*/ 123488634 h 233"/>
                <a:gd name="T74" fmla="*/ 909777300 w 374"/>
                <a:gd name="T75" fmla="*/ 171370861 h 233"/>
                <a:gd name="T76" fmla="*/ 924898232 w 374"/>
                <a:gd name="T77" fmla="*/ 231854727 h 233"/>
                <a:gd name="T78" fmla="*/ 924898232 w 374"/>
                <a:gd name="T79" fmla="*/ 246975681 h 233"/>
                <a:gd name="T80" fmla="*/ 924898232 w 374"/>
                <a:gd name="T81" fmla="*/ 294859496 h 233"/>
                <a:gd name="T82" fmla="*/ 864414502 w 374"/>
                <a:gd name="T83" fmla="*/ 279738542 h 233"/>
                <a:gd name="T84" fmla="*/ 879535435 w 374"/>
                <a:gd name="T85" fmla="*/ 309980450 h 233"/>
                <a:gd name="T86" fmla="*/ 849293570 w 374"/>
                <a:gd name="T87" fmla="*/ 355343311 h 233"/>
                <a:gd name="T88" fmla="*/ 864414502 w 374"/>
                <a:gd name="T89" fmla="*/ 418346592 h 233"/>
                <a:gd name="T90" fmla="*/ 849293570 w 374"/>
                <a:gd name="T91" fmla="*/ 448588500 h 233"/>
                <a:gd name="T92" fmla="*/ 816530557 w 374"/>
                <a:gd name="T93" fmla="*/ 463709454 h 233"/>
                <a:gd name="T94" fmla="*/ 801409624 w 374"/>
                <a:gd name="T95" fmla="*/ 509072316 h 233"/>
                <a:gd name="T96" fmla="*/ 756046827 w 374"/>
                <a:gd name="T97" fmla="*/ 509072316 h 233"/>
                <a:gd name="T98" fmla="*/ 693043735 w 374"/>
                <a:gd name="T99" fmla="*/ 526714222 h 233"/>
                <a:gd name="T100" fmla="*/ 662801870 w 374"/>
                <a:gd name="T101" fmla="*/ 526714222 h 233"/>
                <a:gd name="T102" fmla="*/ 632558417 w 374"/>
                <a:gd name="T103" fmla="*/ 572077084 h 233"/>
                <a:gd name="T104" fmla="*/ 617437484 w 374"/>
                <a:gd name="T105" fmla="*/ 572077084 h 233"/>
                <a:gd name="T106" fmla="*/ 554434392 w 374"/>
                <a:gd name="T107" fmla="*/ 556956130 h 233"/>
                <a:gd name="T108" fmla="*/ 478829730 w 374"/>
                <a:gd name="T109" fmla="*/ 541835176 h 233"/>
                <a:gd name="T110" fmla="*/ 385584673 w 374"/>
                <a:gd name="T111" fmla="*/ 526714222 h 233"/>
                <a:gd name="T112" fmla="*/ 340221876 w 374"/>
                <a:gd name="T113" fmla="*/ 478830408 h 2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4"/>
                <a:gd name="T172" fmla="*/ 0 h 233"/>
                <a:gd name="T173" fmla="*/ 374 w 374"/>
                <a:gd name="T174" fmla="*/ 233 h 2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4" h="233">
                  <a:moveTo>
                    <a:pt x="128" y="172"/>
                  </a:moveTo>
                  <a:lnTo>
                    <a:pt x="128" y="166"/>
                  </a:lnTo>
                  <a:lnTo>
                    <a:pt x="122" y="166"/>
                  </a:lnTo>
                  <a:lnTo>
                    <a:pt x="122" y="172"/>
                  </a:lnTo>
                  <a:lnTo>
                    <a:pt x="116" y="172"/>
                  </a:lnTo>
                  <a:lnTo>
                    <a:pt x="104" y="184"/>
                  </a:lnTo>
                  <a:lnTo>
                    <a:pt x="98" y="178"/>
                  </a:lnTo>
                  <a:lnTo>
                    <a:pt x="92" y="178"/>
                  </a:lnTo>
                  <a:lnTo>
                    <a:pt x="86" y="178"/>
                  </a:lnTo>
                  <a:lnTo>
                    <a:pt x="79" y="178"/>
                  </a:lnTo>
                  <a:lnTo>
                    <a:pt x="73" y="190"/>
                  </a:lnTo>
                  <a:lnTo>
                    <a:pt x="73" y="196"/>
                  </a:lnTo>
                  <a:lnTo>
                    <a:pt x="67" y="196"/>
                  </a:lnTo>
                  <a:lnTo>
                    <a:pt x="61" y="196"/>
                  </a:lnTo>
                  <a:lnTo>
                    <a:pt x="55" y="190"/>
                  </a:lnTo>
                  <a:lnTo>
                    <a:pt x="49" y="190"/>
                  </a:lnTo>
                  <a:lnTo>
                    <a:pt x="43" y="190"/>
                  </a:lnTo>
                  <a:lnTo>
                    <a:pt x="43" y="184"/>
                  </a:lnTo>
                  <a:lnTo>
                    <a:pt x="43" y="178"/>
                  </a:lnTo>
                  <a:lnTo>
                    <a:pt x="37" y="178"/>
                  </a:lnTo>
                  <a:lnTo>
                    <a:pt x="37" y="184"/>
                  </a:lnTo>
                  <a:lnTo>
                    <a:pt x="30" y="184"/>
                  </a:lnTo>
                  <a:lnTo>
                    <a:pt x="30" y="190"/>
                  </a:lnTo>
                  <a:lnTo>
                    <a:pt x="24" y="190"/>
                  </a:lnTo>
                  <a:lnTo>
                    <a:pt x="24" y="184"/>
                  </a:lnTo>
                  <a:lnTo>
                    <a:pt x="18" y="184"/>
                  </a:lnTo>
                  <a:lnTo>
                    <a:pt x="12" y="184"/>
                  </a:lnTo>
                  <a:lnTo>
                    <a:pt x="18" y="184"/>
                  </a:lnTo>
                  <a:lnTo>
                    <a:pt x="12" y="184"/>
                  </a:lnTo>
                  <a:lnTo>
                    <a:pt x="18" y="184"/>
                  </a:lnTo>
                  <a:lnTo>
                    <a:pt x="12" y="178"/>
                  </a:lnTo>
                  <a:lnTo>
                    <a:pt x="18" y="178"/>
                  </a:lnTo>
                  <a:lnTo>
                    <a:pt x="12" y="178"/>
                  </a:lnTo>
                  <a:lnTo>
                    <a:pt x="18" y="178"/>
                  </a:lnTo>
                  <a:lnTo>
                    <a:pt x="12" y="178"/>
                  </a:lnTo>
                  <a:lnTo>
                    <a:pt x="12" y="172"/>
                  </a:lnTo>
                  <a:lnTo>
                    <a:pt x="6" y="172"/>
                  </a:lnTo>
                  <a:lnTo>
                    <a:pt x="0" y="172"/>
                  </a:lnTo>
                  <a:lnTo>
                    <a:pt x="6" y="172"/>
                  </a:lnTo>
                  <a:lnTo>
                    <a:pt x="6" y="166"/>
                  </a:lnTo>
                  <a:lnTo>
                    <a:pt x="0" y="166"/>
                  </a:lnTo>
                  <a:lnTo>
                    <a:pt x="0" y="160"/>
                  </a:lnTo>
                  <a:lnTo>
                    <a:pt x="0" y="153"/>
                  </a:lnTo>
                  <a:lnTo>
                    <a:pt x="0" y="147"/>
                  </a:lnTo>
                  <a:lnTo>
                    <a:pt x="6" y="147"/>
                  </a:lnTo>
                  <a:lnTo>
                    <a:pt x="6" y="141"/>
                  </a:lnTo>
                  <a:lnTo>
                    <a:pt x="0" y="141"/>
                  </a:lnTo>
                  <a:lnTo>
                    <a:pt x="0" y="135"/>
                  </a:lnTo>
                  <a:lnTo>
                    <a:pt x="6" y="129"/>
                  </a:lnTo>
                  <a:lnTo>
                    <a:pt x="12" y="129"/>
                  </a:lnTo>
                  <a:lnTo>
                    <a:pt x="18" y="129"/>
                  </a:lnTo>
                  <a:lnTo>
                    <a:pt x="24" y="135"/>
                  </a:lnTo>
                  <a:lnTo>
                    <a:pt x="24" y="141"/>
                  </a:lnTo>
                  <a:lnTo>
                    <a:pt x="24" y="147"/>
                  </a:lnTo>
                  <a:lnTo>
                    <a:pt x="30" y="141"/>
                  </a:lnTo>
                  <a:lnTo>
                    <a:pt x="37" y="147"/>
                  </a:lnTo>
                  <a:lnTo>
                    <a:pt x="30" y="153"/>
                  </a:lnTo>
                  <a:lnTo>
                    <a:pt x="37" y="147"/>
                  </a:lnTo>
                  <a:lnTo>
                    <a:pt x="49" y="141"/>
                  </a:lnTo>
                  <a:lnTo>
                    <a:pt x="43" y="135"/>
                  </a:lnTo>
                  <a:lnTo>
                    <a:pt x="43" y="129"/>
                  </a:lnTo>
                  <a:lnTo>
                    <a:pt x="49" y="129"/>
                  </a:lnTo>
                  <a:lnTo>
                    <a:pt x="49" y="135"/>
                  </a:lnTo>
                  <a:lnTo>
                    <a:pt x="49" y="129"/>
                  </a:lnTo>
                  <a:lnTo>
                    <a:pt x="55" y="129"/>
                  </a:lnTo>
                  <a:lnTo>
                    <a:pt x="61" y="135"/>
                  </a:lnTo>
                  <a:lnTo>
                    <a:pt x="67" y="135"/>
                  </a:lnTo>
                  <a:lnTo>
                    <a:pt x="67" y="141"/>
                  </a:lnTo>
                  <a:lnTo>
                    <a:pt x="73" y="141"/>
                  </a:lnTo>
                  <a:lnTo>
                    <a:pt x="79" y="141"/>
                  </a:lnTo>
                  <a:lnTo>
                    <a:pt x="86" y="141"/>
                  </a:lnTo>
                  <a:lnTo>
                    <a:pt x="86" y="135"/>
                  </a:lnTo>
                  <a:lnTo>
                    <a:pt x="92" y="135"/>
                  </a:lnTo>
                  <a:lnTo>
                    <a:pt x="98" y="129"/>
                  </a:lnTo>
                  <a:lnTo>
                    <a:pt x="98" y="123"/>
                  </a:lnTo>
                  <a:lnTo>
                    <a:pt x="104" y="129"/>
                  </a:lnTo>
                  <a:lnTo>
                    <a:pt x="110" y="123"/>
                  </a:lnTo>
                  <a:lnTo>
                    <a:pt x="110" y="129"/>
                  </a:lnTo>
                  <a:lnTo>
                    <a:pt x="110" y="123"/>
                  </a:lnTo>
                  <a:lnTo>
                    <a:pt x="116" y="123"/>
                  </a:lnTo>
                  <a:lnTo>
                    <a:pt x="122" y="123"/>
                  </a:lnTo>
                  <a:lnTo>
                    <a:pt x="128" y="123"/>
                  </a:lnTo>
                  <a:lnTo>
                    <a:pt x="128" y="117"/>
                  </a:lnTo>
                  <a:lnTo>
                    <a:pt x="128" y="111"/>
                  </a:lnTo>
                  <a:lnTo>
                    <a:pt x="128" y="117"/>
                  </a:lnTo>
                  <a:lnTo>
                    <a:pt x="135" y="117"/>
                  </a:lnTo>
                  <a:lnTo>
                    <a:pt x="141" y="117"/>
                  </a:lnTo>
                  <a:lnTo>
                    <a:pt x="141" y="123"/>
                  </a:lnTo>
                  <a:lnTo>
                    <a:pt x="147" y="123"/>
                  </a:lnTo>
                  <a:lnTo>
                    <a:pt x="153" y="123"/>
                  </a:lnTo>
                  <a:lnTo>
                    <a:pt x="159" y="129"/>
                  </a:lnTo>
                  <a:lnTo>
                    <a:pt x="159" y="135"/>
                  </a:lnTo>
                  <a:lnTo>
                    <a:pt x="165" y="135"/>
                  </a:lnTo>
                  <a:lnTo>
                    <a:pt x="171" y="135"/>
                  </a:lnTo>
                  <a:lnTo>
                    <a:pt x="171" y="129"/>
                  </a:lnTo>
                  <a:lnTo>
                    <a:pt x="171" y="123"/>
                  </a:lnTo>
                  <a:lnTo>
                    <a:pt x="171" y="117"/>
                  </a:lnTo>
                  <a:lnTo>
                    <a:pt x="165" y="117"/>
                  </a:lnTo>
                  <a:lnTo>
                    <a:pt x="165" y="111"/>
                  </a:lnTo>
                  <a:lnTo>
                    <a:pt x="165" y="104"/>
                  </a:lnTo>
                  <a:lnTo>
                    <a:pt x="165" y="92"/>
                  </a:lnTo>
                  <a:lnTo>
                    <a:pt x="159" y="92"/>
                  </a:lnTo>
                  <a:lnTo>
                    <a:pt x="159" y="86"/>
                  </a:lnTo>
                  <a:lnTo>
                    <a:pt x="153" y="80"/>
                  </a:lnTo>
                  <a:lnTo>
                    <a:pt x="159" y="80"/>
                  </a:lnTo>
                  <a:lnTo>
                    <a:pt x="159" y="74"/>
                  </a:lnTo>
                  <a:lnTo>
                    <a:pt x="165" y="74"/>
                  </a:lnTo>
                  <a:lnTo>
                    <a:pt x="171" y="68"/>
                  </a:lnTo>
                  <a:lnTo>
                    <a:pt x="177" y="68"/>
                  </a:lnTo>
                  <a:lnTo>
                    <a:pt x="184" y="62"/>
                  </a:lnTo>
                  <a:lnTo>
                    <a:pt x="190" y="62"/>
                  </a:lnTo>
                  <a:lnTo>
                    <a:pt x="190" y="55"/>
                  </a:lnTo>
                  <a:lnTo>
                    <a:pt x="190" y="49"/>
                  </a:lnTo>
                  <a:lnTo>
                    <a:pt x="190" y="43"/>
                  </a:lnTo>
                  <a:lnTo>
                    <a:pt x="196" y="37"/>
                  </a:lnTo>
                  <a:lnTo>
                    <a:pt x="196" y="43"/>
                  </a:lnTo>
                  <a:lnTo>
                    <a:pt x="202" y="43"/>
                  </a:lnTo>
                  <a:lnTo>
                    <a:pt x="208" y="43"/>
                  </a:lnTo>
                  <a:lnTo>
                    <a:pt x="208" y="37"/>
                  </a:lnTo>
                  <a:lnTo>
                    <a:pt x="208" y="31"/>
                  </a:lnTo>
                  <a:lnTo>
                    <a:pt x="208" y="25"/>
                  </a:lnTo>
                  <a:lnTo>
                    <a:pt x="214" y="25"/>
                  </a:lnTo>
                  <a:lnTo>
                    <a:pt x="214" y="31"/>
                  </a:lnTo>
                  <a:lnTo>
                    <a:pt x="220" y="31"/>
                  </a:lnTo>
                  <a:lnTo>
                    <a:pt x="220" y="37"/>
                  </a:lnTo>
                  <a:lnTo>
                    <a:pt x="226" y="37"/>
                  </a:lnTo>
                  <a:lnTo>
                    <a:pt x="226" y="43"/>
                  </a:lnTo>
                  <a:lnTo>
                    <a:pt x="233" y="43"/>
                  </a:lnTo>
                  <a:lnTo>
                    <a:pt x="239" y="43"/>
                  </a:lnTo>
                  <a:lnTo>
                    <a:pt x="233" y="37"/>
                  </a:lnTo>
                  <a:lnTo>
                    <a:pt x="239" y="37"/>
                  </a:lnTo>
                  <a:lnTo>
                    <a:pt x="245" y="37"/>
                  </a:lnTo>
                  <a:lnTo>
                    <a:pt x="251" y="37"/>
                  </a:lnTo>
                  <a:lnTo>
                    <a:pt x="251" y="43"/>
                  </a:lnTo>
                  <a:lnTo>
                    <a:pt x="251" y="37"/>
                  </a:lnTo>
                  <a:lnTo>
                    <a:pt x="251" y="31"/>
                  </a:lnTo>
                  <a:lnTo>
                    <a:pt x="257" y="31"/>
                  </a:lnTo>
                  <a:lnTo>
                    <a:pt x="257" y="25"/>
                  </a:lnTo>
                  <a:lnTo>
                    <a:pt x="263" y="25"/>
                  </a:lnTo>
                  <a:lnTo>
                    <a:pt x="263" y="19"/>
                  </a:lnTo>
                  <a:lnTo>
                    <a:pt x="263" y="13"/>
                  </a:lnTo>
                  <a:lnTo>
                    <a:pt x="263" y="6"/>
                  </a:lnTo>
                  <a:lnTo>
                    <a:pt x="263" y="0"/>
                  </a:lnTo>
                  <a:lnTo>
                    <a:pt x="263" y="6"/>
                  </a:lnTo>
                  <a:lnTo>
                    <a:pt x="269" y="0"/>
                  </a:lnTo>
                  <a:lnTo>
                    <a:pt x="269" y="6"/>
                  </a:lnTo>
                  <a:lnTo>
                    <a:pt x="269" y="0"/>
                  </a:lnTo>
                  <a:lnTo>
                    <a:pt x="269" y="6"/>
                  </a:lnTo>
                  <a:lnTo>
                    <a:pt x="275" y="6"/>
                  </a:lnTo>
                  <a:lnTo>
                    <a:pt x="282" y="6"/>
                  </a:lnTo>
                  <a:lnTo>
                    <a:pt x="275" y="6"/>
                  </a:lnTo>
                  <a:lnTo>
                    <a:pt x="282" y="6"/>
                  </a:lnTo>
                  <a:lnTo>
                    <a:pt x="288" y="6"/>
                  </a:lnTo>
                  <a:lnTo>
                    <a:pt x="288" y="13"/>
                  </a:lnTo>
                  <a:lnTo>
                    <a:pt x="294" y="13"/>
                  </a:lnTo>
                  <a:lnTo>
                    <a:pt x="300" y="13"/>
                  </a:lnTo>
                  <a:lnTo>
                    <a:pt x="300" y="19"/>
                  </a:lnTo>
                  <a:lnTo>
                    <a:pt x="306" y="13"/>
                  </a:lnTo>
                  <a:lnTo>
                    <a:pt x="306" y="19"/>
                  </a:lnTo>
                  <a:lnTo>
                    <a:pt x="306" y="13"/>
                  </a:lnTo>
                  <a:lnTo>
                    <a:pt x="306" y="19"/>
                  </a:lnTo>
                  <a:lnTo>
                    <a:pt x="312" y="19"/>
                  </a:lnTo>
                  <a:lnTo>
                    <a:pt x="306" y="19"/>
                  </a:lnTo>
                  <a:lnTo>
                    <a:pt x="312" y="19"/>
                  </a:lnTo>
                  <a:lnTo>
                    <a:pt x="312" y="25"/>
                  </a:lnTo>
                  <a:lnTo>
                    <a:pt x="318" y="25"/>
                  </a:lnTo>
                  <a:lnTo>
                    <a:pt x="324" y="25"/>
                  </a:lnTo>
                  <a:lnTo>
                    <a:pt x="331" y="25"/>
                  </a:lnTo>
                  <a:lnTo>
                    <a:pt x="331" y="31"/>
                  </a:lnTo>
                  <a:lnTo>
                    <a:pt x="331" y="25"/>
                  </a:lnTo>
                  <a:lnTo>
                    <a:pt x="337" y="25"/>
                  </a:lnTo>
                  <a:lnTo>
                    <a:pt x="337" y="19"/>
                  </a:lnTo>
                  <a:lnTo>
                    <a:pt x="337" y="25"/>
                  </a:lnTo>
                  <a:lnTo>
                    <a:pt x="343" y="19"/>
                  </a:lnTo>
                  <a:lnTo>
                    <a:pt x="343" y="25"/>
                  </a:lnTo>
                  <a:lnTo>
                    <a:pt x="349" y="25"/>
                  </a:lnTo>
                  <a:lnTo>
                    <a:pt x="349" y="31"/>
                  </a:lnTo>
                  <a:lnTo>
                    <a:pt x="349" y="25"/>
                  </a:lnTo>
                  <a:lnTo>
                    <a:pt x="349" y="31"/>
                  </a:lnTo>
                  <a:lnTo>
                    <a:pt x="355" y="31"/>
                  </a:lnTo>
                  <a:lnTo>
                    <a:pt x="361" y="31"/>
                  </a:lnTo>
                  <a:lnTo>
                    <a:pt x="361" y="37"/>
                  </a:lnTo>
                  <a:lnTo>
                    <a:pt x="361" y="43"/>
                  </a:lnTo>
                  <a:lnTo>
                    <a:pt x="361" y="49"/>
                  </a:lnTo>
                  <a:lnTo>
                    <a:pt x="355" y="49"/>
                  </a:lnTo>
                  <a:lnTo>
                    <a:pt x="355" y="55"/>
                  </a:lnTo>
                  <a:lnTo>
                    <a:pt x="355" y="62"/>
                  </a:lnTo>
                  <a:lnTo>
                    <a:pt x="361" y="62"/>
                  </a:lnTo>
                  <a:lnTo>
                    <a:pt x="355" y="62"/>
                  </a:lnTo>
                  <a:lnTo>
                    <a:pt x="361" y="68"/>
                  </a:lnTo>
                  <a:lnTo>
                    <a:pt x="361" y="74"/>
                  </a:lnTo>
                  <a:lnTo>
                    <a:pt x="361" y="80"/>
                  </a:lnTo>
                  <a:lnTo>
                    <a:pt x="367" y="80"/>
                  </a:lnTo>
                  <a:lnTo>
                    <a:pt x="367" y="86"/>
                  </a:lnTo>
                  <a:lnTo>
                    <a:pt x="367" y="92"/>
                  </a:lnTo>
                  <a:lnTo>
                    <a:pt x="367" y="86"/>
                  </a:lnTo>
                  <a:lnTo>
                    <a:pt x="367" y="92"/>
                  </a:lnTo>
                  <a:lnTo>
                    <a:pt x="374" y="92"/>
                  </a:lnTo>
                  <a:lnTo>
                    <a:pt x="367" y="92"/>
                  </a:lnTo>
                  <a:lnTo>
                    <a:pt x="367" y="98"/>
                  </a:lnTo>
                  <a:lnTo>
                    <a:pt x="367" y="104"/>
                  </a:lnTo>
                  <a:lnTo>
                    <a:pt x="361" y="104"/>
                  </a:lnTo>
                  <a:lnTo>
                    <a:pt x="367" y="104"/>
                  </a:lnTo>
                  <a:lnTo>
                    <a:pt x="367" y="111"/>
                  </a:lnTo>
                  <a:lnTo>
                    <a:pt x="367" y="117"/>
                  </a:lnTo>
                  <a:lnTo>
                    <a:pt x="361" y="117"/>
                  </a:lnTo>
                  <a:lnTo>
                    <a:pt x="355" y="117"/>
                  </a:lnTo>
                  <a:lnTo>
                    <a:pt x="349" y="117"/>
                  </a:lnTo>
                  <a:lnTo>
                    <a:pt x="349" y="111"/>
                  </a:lnTo>
                  <a:lnTo>
                    <a:pt x="343" y="111"/>
                  </a:lnTo>
                  <a:lnTo>
                    <a:pt x="343" y="117"/>
                  </a:lnTo>
                  <a:lnTo>
                    <a:pt x="337" y="117"/>
                  </a:lnTo>
                  <a:lnTo>
                    <a:pt x="337" y="123"/>
                  </a:lnTo>
                  <a:lnTo>
                    <a:pt x="343" y="123"/>
                  </a:lnTo>
                  <a:lnTo>
                    <a:pt x="349" y="123"/>
                  </a:lnTo>
                  <a:lnTo>
                    <a:pt x="349" y="129"/>
                  </a:lnTo>
                  <a:lnTo>
                    <a:pt x="349" y="135"/>
                  </a:lnTo>
                  <a:lnTo>
                    <a:pt x="349" y="141"/>
                  </a:lnTo>
                  <a:lnTo>
                    <a:pt x="343" y="141"/>
                  </a:lnTo>
                  <a:lnTo>
                    <a:pt x="337" y="141"/>
                  </a:lnTo>
                  <a:lnTo>
                    <a:pt x="337" y="147"/>
                  </a:lnTo>
                  <a:lnTo>
                    <a:pt x="337" y="153"/>
                  </a:lnTo>
                  <a:lnTo>
                    <a:pt x="337" y="160"/>
                  </a:lnTo>
                  <a:lnTo>
                    <a:pt x="337" y="166"/>
                  </a:lnTo>
                  <a:lnTo>
                    <a:pt x="343" y="166"/>
                  </a:lnTo>
                  <a:lnTo>
                    <a:pt x="337" y="166"/>
                  </a:lnTo>
                  <a:lnTo>
                    <a:pt x="337" y="172"/>
                  </a:lnTo>
                  <a:lnTo>
                    <a:pt x="337" y="166"/>
                  </a:lnTo>
                  <a:lnTo>
                    <a:pt x="337" y="172"/>
                  </a:lnTo>
                  <a:lnTo>
                    <a:pt x="337" y="178"/>
                  </a:lnTo>
                  <a:lnTo>
                    <a:pt x="337" y="172"/>
                  </a:lnTo>
                  <a:lnTo>
                    <a:pt x="337" y="178"/>
                  </a:lnTo>
                  <a:lnTo>
                    <a:pt x="331" y="178"/>
                  </a:lnTo>
                  <a:lnTo>
                    <a:pt x="324" y="178"/>
                  </a:lnTo>
                  <a:lnTo>
                    <a:pt x="324" y="184"/>
                  </a:lnTo>
                  <a:lnTo>
                    <a:pt x="318" y="190"/>
                  </a:lnTo>
                  <a:lnTo>
                    <a:pt x="312" y="190"/>
                  </a:lnTo>
                  <a:lnTo>
                    <a:pt x="312" y="196"/>
                  </a:lnTo>
                  <a:lnTo>
                    <a:pt x="312" y="202"/>
                  </a:lnTo>
                  <a:lnTo>
                    <a:pt x="318" y="202"/>
                  </a:lnTo>
                  <a:lnTo>
                    <a:pt x="318" y="209"/>
                  </a:lnTo>
                  <a:lnTo>
                    <a:pt x="312" y="209"/>
                  </a:lnTo>
                  <a:lnTo>
                    <a:pt x="312" y="202"/>
                  </a:lnTo>
                  <a:lnTo>
                    <a:pt x="306" y="202"/>
                  </a:lnTo>
                  <a:lnTo>
                    <a:pt x="300" y="202"/>
                  </a:lnTo>
                  <a:lnTo>
                    <a:pt x="294" y="202"/>
                  </a:lnTo>
                  <a:lnTo>
                    <a:pt x="294" y="209"/>
                  </a:lnTo>
                  <a:lnTo>
                    <a:pt x="288" y="209"/>
                  </a:lnTo>
                  <a:lnTo>
                    <a:pt x="282" y="209"/>
                  </a:lnTo>
                  <a:lnTo>
                    <a:pt x="275" y="209"/>
                  </a:lnTo>
                  <a:lnTo>
                    <a:pt x="269" y="209"/>
                  </a:lnTo>
                  <a:lnTo>
                    <a:pt x="263" y="215"/>
                  </a:lnTo>
                  <a:lnTo>
                    <a:pt x="263" y="209"/>
                  </a:lnTo>
                  <a:lnTo>
                    <a:pt x="263" y="215"/>
                  </a:lnTo>
                  <a:lnTo>
                    <a:pt x="263" y="209"/>
                  </a:lnTo>
                  <a:lnTo>
                    <a:pt x="257" y="209"/>
                  </a:lnTo>
                  <a:lnTo>
                    <a:pt x="257" y="215"/>
                  </a:lnTo>
                  <a:lnTo>
                    <a:pt x="257" y="221"/>
                  </a:lnTo>
                  <a:lnTo>
                    <a:pt x="251" y="221"/>
                  </a:lnTo>
                  <a:lnTo>
                    <a:pt x="251" y="227"/>
                  </a:lnTo>
                  <a:lnTo>
                    <a:pt x="251" y="221"/>
                  </a:lnTo>
                  <a:lnTo>
                    <a:pt x="251" y="227"/>
                  </a:lnTo>
                  <a:lnTo>
                    <a:pt x="245" y="227"/>
                  </a:lnTo>
                  <a:lnTo>
                    <a:pt x="245" y="233"/>
                  </a:lnTo>
                  <a:lnTo>
                    <a:pt x="245" y="227"/>
                  </a:lnTo>
                  <a:lnTo>
                    <a:pt x="239" y="227"/>
                  </a:lnTo>
                  <a:lnTo>
                    <a:pt x="233" y="227"/>
                  </a:lnTo>
                  <a:lnTo>
                    <a:pt x="226" y="227"/>
                  </a:lnTo>
                  <a:lnTo>
                    <a:pt x="220" y="227"/>
                  </a:lnTo>
                  <a:lnTo>
                    <a:pt x="220" y="221"/>
                  </a:lnTo>
                  <a:lnTo>
                    <a:pt x="214" y="221"/>
                  </a:lnTo>
                  <a:lnTo>
                    <a:pt x="208" y="221"/>
                  </a:lnTo>
                  <a:lnTo>
                    <a:pt x="202" y="221"/>
                  </a:lnTo>
                  <a:lnTo>
                    <a:pt x="196" y="215"/>
                  </a:lnTo>
                  <a:lnTo>
                    <a:pt x="190" y="215"/>
                  </a:lnTo>
                  <a:lnTo>
                    <a:pt x="177" y="215"/>
                  </a:lnTo>
                  <a:lnTo>
                    <a:pt x="165" y="209"/>
                  </a:lnTo>
                  <a:lnTo>
                    <a:pt x="159" y="209"/>
                  </a:lnTo>
                  <a:lnTo>
                    <a:pt x="159" y="215"/>
                  </a:lnTo>
                  <a:lnTo>
                    <a:pt x="153" y="209"/>
                  </a:lnTo>
                  <a:lnTo>
                    <a:pt x="147" y="209"/>
                  </a:lnTo>
                  <a:lnTo>
                    <a:pt x="141" y="202"/>
                  </a:lnTo>
                  <a:lnTo>
                    <a:pt x="135" y="196"/>
                  </a:lnTo>
                  <a:lnTo>
                    <a:pt x="128" y="190"/>
                  </a:lnTo>
                  <a:lnTo>
                    <a:pt x="135" y="190"/>
                  </a:lnTo>
                  <a:lnTo>
                    <a:pt x="128" y="184"/>
                  </a:lnTo>
                  <a:lnTo>
                    <a:pt x="128" y="178"/>
                  </a:lnTo>
                  <a:lnTo>
                    <a:pt x="128" y="17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2" name="Freeform 244"/>
            <p:cNvSpPr>
              <a:spLocks/>
            </p:cNvSpPr>
            <p:nvPr/>
          </p:nvSpPr>
          <p:spPr bwMode="auto">
            <a:xfrm>
              <a:off x="5131654" y="2123098"/>
              <a:ext cx="3060561" cy="3576051"/>
            </a:xfrm>
            <a:custGeom>
              <a:avLst/>
              <a:gdLst>
                <a:gd name="T0" fmla="*/ 183972233 w 1893"/>
                <a:gd name="T1" fmla="*/ 264615606 h 2444"/>
                <a:gd name="T2" fmla="*/ 322580070 w 1893"/>
                <a:gd name="T3" fmla="*/ 526711850 h 2444"/>
                <a:gd name="T4" fmla="*/ 246975389 w 1893"/>
                <a:gd name="T5" fmla="*/ 710683977 h 2444"/>
                <a:gd name="T6" fmla="*/ 307459134 w 1893"/>
                <a:gd name="T7" fmla="*/ 803928927 h 2444"/>
                <a:gd name="T8" fmla="*/ 337701006 w 1893"/>
                <a:gd name="T9" fmla="*/ 897175663 h 2444"/>
                <a:gd name="T10" fmla="*/ 292338197 w 1893"/>
                <a:gd name="T11" fmla="*/ 927417526 h 2444"/>
                <a:gd name="T12" fmla="*/ 292338197 w 1893"/>
                <a:gd name="T13" fmla="*/ 987901252 h 2444"/>
                <a:gd name="T14" fmla="*/ 292338197 w 1893"/>
                <a:gd name="T15" fmla="*/ 1020662477 h 2444"/>
                <a:gd name="T16" fmla="*/ 277217261 w 1893"/>
                <a:gd name="T17" fmla="*/ 1081146202 h 2444"/>
                <a:gd name="T18" fmla="*/ 337701006 w 1893"/>
                <a:gd name="T19" fmla="*/ 1144150877 h 2444"/>
                <a:gd name="T20" fmla="*/ 355342892 w 1893"/>
                <a:gd name="T21" fmla="*/ 1219755534 h 2444"/>
                <a:gd name="T22" fmla="*/ 400705700 w 1893"/>
                <a:gd name="T23" fmla="*/ 1282758622 h 2444"/>
                <a:gd name="T24" fmla="*/ 337701006 w 1893"/>
                <a:gd name="T25" fmla="*/ 1328123004 h 2444"/>
                <a:gd name="T26" fmla="*/ 446068608 w 1893"/>
                <a:gd name="T27" fmla="*/ 1436488885 h 2444"/>
                <a:gd name="T28" fmla="*/ 524192650 w 1893"/>
                <a:gd name="T29" fmla="*/ 1544854767 h 2444"/>
                <a:gd name="T30" fmla="*/ 430947671 w 1893"/>
                <a:gd name="T31" fmla="*/ 1668343565 h 2444"/>
                <a:gd name="T32" fmla="*/ 355342892 w 1893"/>
                <a:gd name="T33" fmla="*/ 1761588515 h 2444"/>
                <a:gd name="T34" fmla="*/ 292338197 w 1893"/>
                <a:gd name="T35" fmla="*/ 1837193172 h 2444"/>
                <a:gd name="T36" fmla="*/ 231854453 w 1893"/>
                <a:gd name="T37" fmla="*/ 1885076916 h 2444"/>
                <a:gd name="T38" fmla="*/ 168851297 w 1893"/>
                <a:gd name="T39" fmla="*/ 1930439710 h 2444"/>
                <a:gd name="T40" fmla="*/ 90725641 w 1893"/>
                <a:gd name="T41" fmla="*/ 2008563729 h 2444"/>
                <a:gd name="T42" fmla="*/ 355342892 w 1893"/>
                <a:gd name="T43" fmla="*/ 2147483647 h 2444"/>
                <a:gd name="T44" fmla="*/ 60483769 w 1893"/>
                <a:gd name="T45" fmla="*/ 2147483647 h 2444"/>
                <a:gd name="T46" fmla="*/ 569555459 w 1893"/>
                <a:gd name="T47" fmla="*/ 2147483647 h 2444"/>
                <a:gd name="T48" fmla="*/ 1156752803 w 1893"/>
                <a:gd name="T49" fmla="*/ 2147483647 h 2444"/>
                <a:gd name="T50" fmla="*/ 1451610264 w 1893"/>
                <a:gd name="T51" fmla="*/ 2147483647 h 2444"/>
                <a:gd name="T52" fmla="*/ 1328123413 w 1893"/>
                <a:gd name="T53" fmla="*/ 2147483647 h 2444"/>
                <a:gd name="T54" fmla="*/ 1481852136 w 1893"/>
                <a:gd name="T55" fmla="*/ 2147483647 h 2444"/>
                <a:gd name="T56" fmla="*/ 2147483647 w 1893"/>
                <a:gd name="T57" fmla="*/ 2147483647 h 2444"/>
                <a:gd name="T58" fmla="*/ 2147483647 w 1893"/>
                <a:gd name="T59" fmla="*/ 2147483647 h 2444"/>
                <a:gd name="T60" fmla="*/ 2147483647 w 1893"/>
                <a:gd name="T61" fmla="*/ 2147483647 h 2444"/>
                <a:gd name="T62" fmla="*/ 2147483647 w 1893"/>
                <a:gd name="T63" fmla="*/ 2147483647 h 2444"/>
                <a:gd name="T64" fmla="*/ 2147483647 w 1893"/>
                <a:gd name="T65" fmla="*/ 2147483647 h 2444"/>
                <a:gd name="T66" fmla="*/ 2147483647 w 1893"/>
                <a:gd name="T67" fmla="*/ 2147483647 h 2444"/>
                <a:gd name="T68" fmla="*/ 2147483647 w 1893"/>
                <a:gd name="T69" fmla="*/ 2147483647 h 2444"/>
                <a:gd name="T70" fmla="*/ 2147483647 w 1893"/>
                <a:gd name="T71" fmla="*/ 1975802504 h 2444"/>
                <a:gd name="T72" fmla="*/ 2147483647 w 1893"/>
                <a:gd name="T73" fmla="*/ 665321183 h 2444"/>
                <a:gd name="T74" fmla="*/ 2147483647 w 1893"/>
                <a:gd name="T75" fmla="*/ 78124044 h 2444"/>
                <a:gd name="T76" fmla="*/ 2147483647 w 1893"/>
                <a:gd name="T77" fmla="*/ 325100919 h 2444"/>
                <a:gd name="T78" fmla="*/ 2147483647 w 1893"/>
                <a:gd name="T79" fmla="*/ 309978400 h 2444"/>
                <a:gd name="T80" fmla="*/ 2147483647 w 1893"/>
                <a:gd name="T81" fmla="*/ 463708763 h 2444"/>
                <a:gd name="T82" fmla="*/ 2147483647 w 1893"/>
                <a:gd name="T83" fmla="*/ 433466900 h 2444"/>
                <a:gd name="T84" fmla="*/ 2053928743 w 1893"/>
                <a:gd name="T85" fmla="*/ 849291920 h 2444"/>
                <a:gd name="T86" fmla="*/ 1605340575 w 1893"/>
                <a:gd name="T87" fmla="*/ 1174392740 h 2444"/>
                <a:gd name="T88" fmla="*/ 1156752803 w 1893"/>
                <a:gd name="T89" fmla="*/ 1313002072 h 2444"/>
                <a:gd name="T90" fmla="*/ 725805132 w 1893"/>
                <a:gd name="T91" fmla="*/ 740925840 h 2444"/>
                <a:gd name="T92" fmla="*/ 1728827823 w 1893"/>
                <a:gd name="T93" fmla="*/ 587195576 h 2444"/>
                <a:gd name="T94" fmla="*/ 756047004 w 1893"/>
                <a:gd name="T95" fmla="*/ 108365931 h 2444"/>
                <a:gd name="T96" fmla="*/ 446068608 w 1893"/>
                <a:gd name="T97" fmla="*/ 47883756 h 2444"/>
                <a:gd name="T98" fmla="*/ 385584764 w 1893"/>
                <a:gd name="T99" fmla="*/ 78124044 h 2444"/>
                <a:gd name="T100" fmla="*/ 355342892 w 1893"/>
                <a:gd name="T101" fmla="*/ 93246563 h 2444"/>
                <a:gd name="T102" fmla="*/ 292338197 w 1893"/>
                <a:gd name="T103" fmla="*/ 123486863 h 2444"/>
                <a:gd name="T104" fmla="*/ 231854453 w 1893"/>
                <a:gd name="T105" fmla="*/ 171370606 h 24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93"/>
                <a:gd name="T160" fmla="*/ 0 h 2444"/>
                <a:gd name="T161" fmla="*/ 1893 w 1893"/>
                <a:gd name="T162" fmla="*/ 2444 h 24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93" h="2444">
                  <a:moveTo>
                    <a:pt x="79" y="74"/>
                  </a:moveTo>
                  <a:lnTo>
                    <a:pt x="55" y="86"/>
                  </a:lnTo>
                  <a:lnTo>
                    <a:pt x="61" y="92"/>
                  </a:lnTo>
                  <a:lnTo>
                    <a:pt x="67" y="92"/>
                  </a:lnTo>
                  <a:lnTo>
                    <a:pt x="73" y="92"/>
                  </a:lnTo>
                  <a:lnTo>
                    <a:pt x="73" y="105"/>
                  </a:lnTo>
                  <a:lnTo>
                    <a:pt x="55" y="117"/>
                  </a:lnTo>
                  <a:lnTo>
                    <a:pt x="67" y="147"/>
                  </a:lnTo>
                  <a:lnTo>
                    <a:pt x="98" y="160"/>
                  </a:lnTo>
                  <a:lnTo>
                    <a:pt x="116" y="184"/>
                  </a:lnTo>
                  <a:lnTo>
                    <a:pt x="134" y="196"/>
                  </a:lnTo>
                  <a:lnTo>
                    <a:pt x="128" y="209"/>
                  </a:lnTo>
                  <a:lnTo>
                    <a:pt x="116" y="227"/>
                  </a:lnTo>
                  <a:lnTo>
                    <a:pt x="110" y="227"/>
                  </a:lnTo>
                  <a:lnTo>
                    <a:pt x="85" y="258"/>
                  </a:lnTo>
                  <a:lnTo>
                    <a:pt x="85" y="264"/>
                  </a:lnTo>
                  <a:lnTo>
                    <a:pt x="92" y="270"/>
                  </a:lnTo>
                  <a:lnTo>
                    <a:pt x="98" y="282"/>
                  </a:lnTo>
                  <a:lnTo>
                    <a:pt x="104" y="288"/>
                  </a:lnTo>
                  <a:lnTo>
                    <a:pt x="110" y="294"/>
                  </a:lnTo>
                  <a:lnTo>
                    <a:pt x="110" y="301"/>
                  </a:lnTo>
                  <a:lnTo>
                    <a:pt x="116" y="307"/>
                  </a:lnTo>
                  <a:lnTo>
                    <a:pt x="116" y="313"/>
                  </a:lnTo>
                  <a:lnTo>
                    <a:pt x="122" y="319"/>
                  </a:lnTo>
                  <a:lnTo>
                    <a:pt x="128" y="325"/>
                  </a:lnTo>
                  <a:lnTo>
                    <a:pt x="128" y="331"/>
                  </a:lnTo>
                  <a:lnTo>
                    <a:pt x="134" y="337"/>
                  </a:lnTo>
                  <a:lnTo>
                    <a:pt x="134" y="343"/>
                  </a:lnTo>
                  <a:lnTo>
                    <a:pt x="134" y="350"/>
                  </a:lnTo>
                  <a:lnTo>
                    <a:pt x="134" y="356"/>
                  </a:lnTo>
                  <a:lnTo>
                    <a:pt x="141" y="362"/>
                  </a:lnTo>
                  <a:lnTo>
                    <a:pt x="141" y="368"/>
                  </a:lnTo>
                  <a:lnTo>
                    <a:pt x="134" y="368"/>
                  </a:lnTo>
                  <a:lnTo>
                    <a:pt x="128" y="368"/>
                  </a:lnTo>
                  <a:lnTo>
                    <a:pt x="122" y="368"/>
                  </a:lnTo>
                  <a:lnTo>
                    <a:pt x="116" y="368"/>
                  </a:lnTo>
                  <a:lnTo>
                    <a:pt x="122" y="374"/>
                  </a:lnTo>
                  <a:lnTo>
                    <a:pt x="128" y="380"/>
                  </a:lnTo>
                  <a:lnTo>
                    <a:pt x="122" y="380"/>
                  </a:lnTo>
                  <a:lnTo>
                    <a:pt x="122" y="386"/>
                  </a:lnTo>
                  <a:lnTo>
                    <a:pt x="116" y="386"/>
                  </a:lnTo>
                  <a:lnTo>
                    <a:pt x="116" y="392"/>
                  </a:lnTo>
                  <a:lnTo>
                    <a:pt x="122" y="392"/>
                  </a:lnTo>
                  <a:lnTo>
                    <a:pt x="122" y="399"/>
                  </a:lnTo>
                  <a:lnTo>
                    <a:pt x="116" y="399"/>
                  </a:lnTo>
                  <a:lnTo>
                    <a:pt x="116" y="405"/>
                  </a:lnTo>
                  <a:lnTo>
                    <a:pt x="110" y="405"/>
                  </a:lnTo>
                  <a:lnTo>
                    <a:pt x="116" y="405"/>
                  </a:lnTo>
                  <a:lnTo>
                    <a:pt x="122" y="411"/>
                  </a:lnTo>
                  <a:lnTo>
                    <a:pt x="122" y="417"/>
                  </a:lnTo>
                  <a:lnTo>
                    <a:pt x="116" y="417"/>
                  </a:lnTo>
                  <a:lnTo>
                    <a:pt x="116" y="423"/>
                  </a:lnTo>
                  <a:lnTo>
                    <a:pt x="110" y="423"/>
                  </a:lnTo>
                  <a:lnTo>
                    <a:pt x="110" y="429"/>
                  </a:lnTo>
                  <a:lnTo>
                    <a:pt x="110" y="435"/>
                  </a:lnTo>
                  <a:lnTo>
                    <a:pt x="116" y="441"/>
                  </a:lnTo>
                  <a:lnTo>
                    <a:pt x="122" y="441"/>
                  </a:lnTo>
                  <a:lnTo>
                    <a:pt x="128" y="441"/>
                  </a:lnTo>
                  <a:lnTo>
                    <a:pt x="134" y="448"/>
                  </a:lnTo>
                  <a:lnTo>
                    <a:pt x="134" y="454"/>
                  </a:lnTo>
                  <a:lnTo>
                    <a:pt x="134" y="460"/>
                  </a:lnTo>
                  <a:lnTo>
                    <a:pt x="128" y="460"/>
                  </a:lnTo>
                  <a:lnTo>
                    <a:pt x="128" y="466"/>
                  </a:lnTo>
                  <a:lnTo>
                    <a:pt x="134" y="472"/>
                  </a:lnTo>
                  <a:lnTo>
                    <a:pt x="134" y="478"/>
                  </a:lnTo>
                  <a:lnTo>
                    <a:pt x="141" y="484"/>
                  </a:lnTo>
                  <a:lnTo>
                    <a:pt x="147" y="484"/>
                  </a:lnTo>
                  <a:lnTo>
                    <a:pt x="147" y="490"/>
                  </a:lnTo>
                  <a:lnTo>
                    <a:pt x="153" y="490"/>
                  </a:lnTo>
                  <a:lnTo>
                    <a:pt x="153" y="497"/>
                  </a:lnTo>
                  <a:lnTo>
                    <a:pt x="159" y="503"/>
                  </a:lnTo>
                  <a:lnTo>
                    <a:pt x="159" y="509"/>
                  </a:lnTo>
                  <a:lnTo>
                    <a:pt x="153" y="509"/>
                  </a:lnTo>
                  <a:lnTo>
                    <a:pt x="153" y="515"/>
                  </a:lnTo>
                  <a:lnTo>
                    <a:pt x="147" y="515"/>
                  </a:lnTo>
                  <a:lnTo>
                    <a:pt x="147" y="521"/>
                  </a:lnTo>
                  <a:lnTo>
                    <a:pt x="141" y="527"/>
                  </a:lnTo>
                  <a:lnTo>
                    <a:pt x="134" y="527"/>
                  </a:lnTo>
                  <a:lnTo>
                    <a:pt x="128" y="533"/>
                  </a:lnTo>
                  <a:lnTo>
                    <a:pt x="147" y="552"/>
                  </a:lnTo>
                  <a:lnTo>
                    <a:pt x="153" y="558"/>
                  </a:lnTo>
                  <a:lnTo>
                    <a:pt x="171" y="564"/>
                  </a:lnTo>
                  <a:lnTo>
                    <a:pt x="171" y="570"/>
                  </a:lnTo>
                  <a:lnTo>
                    <a:pt x="177" y="570"/>
                  </a:lnTo>
                  <a:lnTo>
                    <a:pt x="177" y="576"/>
                  </a:lnTo>
                  <a:lnTo>
                    <a:pt x="184" y="576"/>
                  </a:lnTo>
                  <a:lnTo>
                    <a:pt x="190" y="582"/>
                  </a:lnTo>
                  <a:lnTo>
                    <a:pt x="190" y="588"/>
                  </a:lnTo>
                  <a:lnTo>
                    <a:pt x="202" y="601"/>
                  </a:lnTo>
                  <a:lnTo>
                    <a:pt x="208" y="613"/>
                  </a:lnTo>
                  <a:lnTo>
                    <a:pt x="196" y="637"/>
                  </a:lnTo>
                  <a:lnTo>
                    <a:pt x="190" y="644"/>
                  </a:lnTo>
                  <a:lnTo>
                    <a:pt x="184" y="650"/>
                  </a:lnTo>
                  <a:lnTo>
                    <a:pt x="177" y="656"/>
                  </a:lnTo>
                  <a:lnTo>
                    <a:pt x="177" y="662"/>
                  </a:lnTo>
                  <a:lnTo>
                    <a:pt x="171" y="662"/>
                  </a:lnTo>
                  <a:lnTo>
                    <a:pt x="165" y="668"/>
                  </a:lnTo>
                  <a:lnTo>
                    <a:pt x="159" y="674"/>
                  </a:lnTo>
                  <a:lnTo>
                    <a:pt x="159" y="680"/>
                  </a:lnTo>
                  <a:lnTo>
                    <a:pt x="153" y="686"/>
                  </a:lnTo>
                  <a:lnTo>
                    <a:pt x="147" y="693"/>
                  </a:lnTo>
                  <a:lnTo>
                    <a:pt x="141" y="699"/>
                  </a:lnTo>
                  <a:lnTo>
                    <a:pt x="134" y="705"/>
                  </a:lnTo>
                  <a:lnTo>
                    <a:pt x="128" y="711"/>
                  </a:lnTo>
                  <a:lnTo>
                    <a:pt x="128" y="717"/>
                  </a:lnTo>
                  <a:lnTo>
                    <a:pt x="122" y="717"/>
                  </a:lnTo>
                  <a:lnTo>
                    <a:pt x="116" y="723"/>
                  </a:lnTo>
                  <a:lnTo>
                    <a:pt x="116" y="729"/>
                  </a:lnTo>
                  <a:lnTo>
                    <a:pt x="110" y="729"/>
                  </a:lnTo>
                  <a:lnTo>
                    <a:pt x="110" y="735"/>
                  </a:lnTo>
                  <a:lnTo>
                    <a:pt x="104" y="735"/>
                  </a:lnTo>
                  <a:lnTo>
                    <a:pt x="98" y="742"/>
                  </a:lnTo>
                  <a:lnTo>
                    <a:pt x="98" y="748"/>
                  </a:lnTo>
                  <a:lnTo>
                    <a:pt x="92" y="748"/>
                  </a:lnTo>
                  <a:lnTo>
                    <a:pt x="92" y="754"/>
                  </a:lnTo>
                  <a:lnTo>
                    <a:pt x="85" y="754"/>
                  </a:lnTo>
                  <a:lnTo>
                    <a:pt x="79" y="760"/>
                  </a:lnTo>
                  <a:lnTo>
                    <a:pt x="73" y="760"/>
                  </a:lnTo>
                  <a:lnTo>
                    <a:pt x="73" y="766"/>
                  </a:lnTo>
                  <a:lnTo>
                    <a:pt x="67" y="766"/>
                  </a:lnTo>
                  <a:lnTo>
                    <a:pt x="67" y="772"/>
                  </a:lnTo>
                  <a:lnTo>
                    <a:pt x="61" y="778"/>
                  </a:lnTo>
                  <a:lnTo>
                    <a:pt x="55" y="778"/>
                  </a:lnTo>
                  <a:lnTo>
                    <a:pt x="49" y="784"/>
                  </a:lnTo>
                  <a:lnTo>
                    <a:pt x="43" y="791"/>
                  </a:lnTo>
                  <a:lnTo>
                    <a:pt x="36" y="797"/>
                  </a:lnTo>
                  <a:lnTo>
                    <a:pt x="36" y="803"/>
                  </a:lnTo>
                  <a:lnTo>
                    <a:pt x="24" y="809"/>
                  </a:lnTo>
                  <a:lnTo>
                    <a:pt x="61" y="809"/>
                  </a:lnTo>
                  <a:lnTo>
                    <a:pt x="55" y="809"/>
                  </a:lnTo>
                  <a:lnTo>
                    <a:pt x="61" y="827"/>
                  </a:lnTo>
                  <a:lnTo>
                    <a:pt x="141" y="864"/>
                  </a:lnTo>
                  <a:lnTo>
                    <a:pt x="92" y="858"/>
                  </a:lnTo>
                  <a:lnTo>
                    <a:pt x="43" y="889"/>
                  </a:lnTo>
                  <a:lnTo>
                    <a:pt x="24" y="913"/>
                  </a:lnTo>
                  <a:lnTo>
                    <a:pt x="30" y="993"/>
                  </a:lnTo>
                  <a:lnTo>
                    <a:pt x="0" y="1042"/>
                  </a:lnTo>
                  <a:lnTo>
                    <a:pt x="24" y="1109"/>
                  </a:lnTo>
                  <a:lnTo>
                    <a:pt x="43" y="1207"/>
                  </a:lnTo>
                  <a:lnTo>
                    <a:pt x="116" y="1225"/>
                  </a:lnTo>
                  <a:lnTo>
                    <a:pt x="196" y="1244"/>
                  </a:lnTo>
                  <a:lnTo>
                    <a:pt x="190" y="1342"/>
                  </a:lnTo>
                  <a:lnTo>
                    <a:pt x="245" y="1421"/>
                  </a:lnTo>
                  <a:lnTo>
                    <a:pt x="226" y="1446"/>
                  </a:lnTo>
                  <a:lnTo>
                    <a:pt x="226" y="1526"/>
                  </a:lnTo>
                  <a:lnTo>
                    <a:pt x="269" y="1507"/>
                  </a:lnTo>
                  <a:lnTo>
                    <a:pt x="349" y="1519"/>
                  </a:lnTo>
                  <a:lnTo>
                    <a:pt x="349" y="1550"/>
                  </a:lnTo>
                  <a:lnTo>
                    <a:pt x="404" y="1630"/>
                  </a:lnTo>
                  <a:lnTo>
                    <a:pt x="459" y="1703"/>
                  </a:lnTo>
                  <a:lnTo>
                    <a:pt x="490" y="1697"/>
                  </a:lnTo>
                  <a:lnTo>
                    <a:pt x="557" y="1728"/>
                  </a:lnTo>
                  <a:lnTo>
                    <a:pt x="631" y="1758"/>
                  </a:lnTo>
                  <a:lnTo>
                    <a:pt x="643" y="1887"/>
                  </a:lnTo>
                  <a:lnTo>
                    <a:pt x="600" y="1911"/>
                  </a:lnTo>
                  <a:lnTo>
                    <a:pt x="576" y="1960"/>
                  </a:lnTo>
                  <a:lnTo>
                    <a:pt x="582" y="1979"/>
                  </a:lnTo>
                  <a:lnTo>
                    <a:pt x="539" y="2009"/>
                  </a:lnTo>
                  <a:lnTo>
                    <a:pt x="514" y="2016"/>
                  </a:lnTo>
                  <a:lnTo>
                    <a:pt x="551" y="2065"/>
                  </a:lnTo>
                  <a:lnTo>
                    <a:pt x="533" y="2058"/>
                  </a:lnTo>
                  <a:lnTo>
                    <a:pt x="527" y="2089"/>
                  </a:lnTo>
                  <a:lnTo>
                    <a:pt x="520" y="2071"/>
                  </a:lnTo>
                  <a:lnTo>
                    <a:pt x="508" y="2120"/>
                  </a:lnTo>
                  <a:lnTo>
                    <a:pt x="465" y="2126"/>
                  </a:lnTo>
                  <a:lnTo>
                    <a:pt x="453" y="2144"/>
                  </a:lnTo>
                  <a:lnTo>
                    <a:pt x="520" y="2199"/>
                  </a:lnTo>
                  <a:lnTo>
                    <a:pt x="588" y="2254"/>
                  </a:lnTo>
                  <a:lnTo>
                    <a:pt x="588" y="2242"/>
                  </a:lnTo>
                  <a:lnTo>
                    <a:pt x="643" y="2248"/>
                  </a:lnTo>
                  <a:lnTo>
                    <a:pt x="698" y="2254"/>
                  </a:lnTo>
                  <a:lnTo>
                    <a:pt x="766" y="2297"/>
                  </a:lnTo>
                  <a:lnTo>
                    <a:pt x="833" y="2340"/>
                  </a:lnTo>
                  <a:lnTo>
                    <a:pt x="900" y="2383"/>
                  </a:lnTo>
                  <a:lnTo>
                    <a:pt x="968" y="2426"/>
                  </a:lnTo>
                  <a:lnTo>
                    <a:pt x="1047" y="2444"/>
                  </a:lnTo>
                  <a:lnTo>
                    <a:pt x="1017" y="2377"/>
                  </a:lnTo>
                  <a:lnTo>
                    <a:pt x="986" y="2316"/>
                  </a:lnTo>
                  <a:lnTo>
                    <a:pt x="986" y="2254"/>
                  </a:lnTo>
                  <a:lnTo>
                    <a:pt x="980" y="2279"/>
                  </a:lnTo>
                  <a:lnTo>
                    <a:pt x="962" y="2212"/>
                  </a:lnTo>
                  <a:lnTo>
                    <a:pt x="949" y="2187"/>
                  </a:lnTo>
                  <a:lnTo>
                    <a:pt x="986" y="2101"/>
                  </a:lnTo>
                  <a:lnTo>
                    <a:pt x="1047" y="2071"/>
                  </a:lnTo>
                  <a:lnTo>
                    <a:pt x="1072" y="2052"/>
                  </a:lnTo>
                  <a:lnTo>
                    <a:pt x="1072" y="2034"/>
                  </a:lnTo>
                  <a:lnTo>
                    <a:pt x="1047" y="1948"/>
                  </a:lnTo>
                  <a:lnTo>
                    <a:pt x="998" y="1881"/>
                  </a:lnTo>
                  <a:lnTo>
                    <a:pt x="956" y="1813"/>
                  </a:lnTo>
                  <a:lnTo>
                    <a:pt x="980" y="1722"/>
                  </a:lnTo>
                  <a:lnTo>
                    <a:pt x="1005" y="1624"/>
                  </a:lnTo>
                  <a:lnTo>
                    <a:pt x="1060" y="1660"/>
                  </a:lnTo>
                  <a:lnTo>
                    <a:pt x="1072" y="1624"/>
                  </a:lnTo>
                  <a:lnTo>
                    <a:pt x="1121" y="1581"/>
                  </a:lnTo>
                  <a:lnTo>
                    <a:pt x="1164" y="1544"/>
                  </a:lnTo>
                  <a:lnTo>
                    <a:pt x="1237" y="1544"/>
                  </a:lnTo>
                  <a:lnTo>
                    <a:pt x="1299" y="1587"/>
                  </a:lnTo>
                  <a:lnTo>
                    <a:pt x="1354" y="1630"/>
                  </a:lnTo>
                  <a:lnTo>
                    <a:pt x="1433" y="1617"/>
                  </a:lnTo>
                  <a:lnTo>
                    <a:pt x="1525" y="1617"/>
                  </a:lnTo>
                  <a:lnTo>
                    <a:pt x="1617" y="1642"/>
                  </a:lnTo>
                  <a:lnTo>
                    <a:pt x="1636" y="1617"/>
                  </a:lnTo>
                  <a:lnTo>
                    <a:pt x="1605" y="1526"/>
                  </a:lnTo>
                  <a:lnTo>
                    <a:pt x="1538" y="1495"/>
                  </a:lnTo>
                  <a:lnTo>
                    <a:pt x="1544" y="1403"/>
                  </a:lnTo>
                  <a:lnTo>
                    <a:pt x="1593" y="1372"/>
                  </a:lnTo>
                  <a:lnTo>
                    <a:pt x="1593" y="1305"/>
                  </a:lnTo>
                  <a:lnTo>
                    <a:pt x="1495" y="1342"/>
                  </a:lnTo>
                  <a:lnTo>
                    <a:pt x="1476" y="1268"/>
                  </a:lnTo>
                  <a:lnTo>
                    <a:pt x="1538" y="1293"/>
                  </a:lnTo>
                  <a:lnTo>
                    <a:pt x="1574" y="1244"/>
                  </a:lnTo>
                  <a:lnTo>
                    <a:pt x="1556" y="1195"/>
                  </a:lnTo>
                  <a:lnTo>
                    <a:pt x="1501" y="1115"/>
                  </a:lnTo>
                  <a:lnTo>
                    <a:pt x="1562" y="962"/>
                  </a:lnTo>
                  <a:lnTo>
                    <a:pt x="1513" y="907"/>
                  </a:lnTo>
                  <a:lnTo>
                    <a:pt x="1574" y="784"/>
                  </a:lnTo>
                  <a:lnTo>
                    <a:pt x="1574" y="644"/>
                  </a:lnTo>
                  <a:lnTo>
                    <a:pt x="1593" y="503"/>
                  </a:lnTo>
                  <a:lnTo>
                    <a:pt x="1623" y="429"/>
                  </a:lnTo>
                  <a:lnTo>
                    <a:pt x="1721" y="356"/>
                  </a:lnTo>
                  <a:lnTo>
                    <a:pt x="1770" y="307"/>
                  </a:lnTo>
                  <a:lnTo>
                    <a:pt x="1844" y="264"/>
                  </a:lnTo>
                  <a:lnTo>
                    <a:pt x="1893" y="203"/>
                  </a:lnTo>
                  <a:lnTo>
                    <a:pt x="1856" y="141"/>
                  </a:lnTo>
                  <a:lnTo>
                    <a:pt x="1862" y="98"/>
                  </a:lnTo>
                  <a:lnTo>
                    <a:pt x="1819" y="80"/>
                  </a:lnTo>
                  <a:lnTo>
                    <a:pt x="1838" y="56"/>
                  </a:lnTo>
                  <a:lnTo>
                    <a:pt x="1734" y="31"/>
                  </a:lnTo>
                  <a:lnTo>
                    <a:pt x="1630" y="7"/>
                  </a:lnTo>
                  <a:lnTo>
                    <a:pt x="1599" y="31"/>
                  </a:lnTo>
                  <a:lnTo>
                    <a:pt x="1636" y="92"/>
                  </a:lnTo>
                  <a:lnTo>
                    <a:pt x="1587" y="117"/>
                  </a:lnTo>
                  <a:lnTo>
                    <a:pt x="1580" y="141"/>
                  </a:lnTo>
                  <a:lnTo>
                    <a:pt x="1550" y="129"/>
                  </a:lnTo>
                  <a:lnTo>
                    <a:pt x="1550" y="92"/>
                  </a:lnTo>
                  <a:lnTo>
                    <a:pt x="1476" y="105"/>
                  </a:lnTo>
                  <a:lnTo>
                    <a:pt x="1415" y="117"/>
                  </a:lnTo>
                  <a:lnTo>
                    <a:pt x="1348" y="141"/>
                  </a:lnTo>
                  <a:lnTo>
                    <a:pt x="1268" y="135"/>
                  </a:lnTo>
                  <a:lnTo>
                    <a:pt x="1299" y="123"/>
                  </a:lnTo>
                  <a:lnTo>
                    <a:pt x="1286" y="92"/>
                  </a:lnTo>
                  <a:lnTo>
                    <a:pt x="1329" y="80"/>
                  </a:lnTo>
                  <a:lnTo>
                    <a:pt x="1225" y="117"/>
                  </a:lnTo>
                  <a:lnTo>
                    <a:pt x="1219" y="129"/>
                  </a:lnTo>
                  <a:lnTo>
                    <a:pt x="1109" y="160"/>
                  </a:lnTo>
                  <a:lnTo>
                    <a:pt x="1047" y="184"/>
                  </a:lnTo>
                  <a:lnTo>
                    <a:pt x="1047" y="196"/>
                  </a:lnTo>
                  <a:lnTo>
                    <a:pt x="998" y="203"/>
                  </a:lnTo>
                  <a:lnTo>
                    <a:pt x="980" y="264"/>
                  </a:lnTo>
                  <a:lnTo>
                    <a:pt x="900" y="264"/>
                  </a:lnTo>
                  <a:lnTo>
                    <a:pt x="857" y="215"/>
                  </a:lnTo>
                  <a:lnTo>
                    <a:pt x="949" y="172"/>
                  </a:lnTo>
                  <a:lnTo>
                    <a:pt x="876" y="117"/>
                  </a:lnTo>
                  <a:lnTo>
                    <a:pt x="778" y="111"/>
                  </a:lnTo>
                  <a:lnTo>
                    <a:pt x="827" y="141"/>
                  </a:lnTo>
                  <a:lnTo>
                    <a:pt x="821" y="239"/>
                  </a:lnTo>
                  <a:lnTo>
                    <a:pt x="827" y="301"/>
                  </a:lnTo>
                  <a:lnTo>
                    <a:pt x="815" y="337"/>
                  </a:lnTo>
                  <a:lnTo>
                    <a:pt x="790" y="337"/>
                  </a:lnTo>
                  <a:lnTo>
                    <a:pt x="778" y="307"/>
                  </a:lnTo>
                  <a:lnTo>
                    <a:pt x="729" y="294"/>
                  </a:lnTo>
                  <a:lnTo>
                    <a:pt x="668" y="343"/>
                  </a:lnTo>
                  <a:lnTo>
                    <a:pt x="606" y="392"/>
                  </a:lnTo>
                  <a:lnTo>
                    <a:pt x="637" y="466"/>
                  </a:lnTo>
                  <a:lnTo>
                    <a:pt x="527" y="448"/>
                  </a:lnTo>
                  <a:lnTo>
                    <a:pt x="465" y="411"/>
                  </a:lnTo>
                  <a:lnTo>
                    <a:pt x="459" y="454"/>
                  </a:lnTo>
                  <a:lnTo>
                    <a:pt x="502" y="484"/>
                  </a:lnTo>
                  <a:lnTo>
                    <a:pt x="527" y="515"/>
                  </a:lnTo>
                  <a:lnTo>
                    <a:pt x="459" y="521"/>
                  </a:lnTo>
                  <a:lnTo>
                    <a:pt x="373" y="460"/>
                  </a:lnTo>
                  <a:lnTo>
                    <a:pt x="355" y="386"/>
                  </a:lnTo>
                  <a:lnTo>
                    <a:pt x="361" y="356"/>
                  </a:lnTo>
                  <a:lnTo>
                    <a:pt x="367" y="356"/>
                  </a:lnTo>
                  <a:lnTo>
                    <a:pt x="312" y="313"/>
                  </a:lnTo>
                  <a:lnTo>
                    <a:pt x="288" y="294"/>
                  </a:lnTo>
                  <a:lnTo>
                    <a:pt x="233" y="245"/>
                  </a:lnTo>
                  <a:lnTo>
                    <a:pt x="269" y="258"/>
                  </a:lnTo>
                  <a:lnTo>
                    <a:pt x="392" y="294"/>
                  </a:lnTo>
                  <a:lnTo>
                    <a:pt x="520" y="331"/>
                  </a:lnTo>
                  <a:lnTo>
                    <a:pt x="655" y="294"/>
                  </a:lnTo>
                  <a:lnTo>
                    <a:pt x="686" y="233"/>
                  </a:lnTo>
                  <a:lnTo>
                    <a:pt x="649" y="184"/>
                  </a:lnTo>
                  <a:lnTo>
                    <a:pt x="514" y="123"/>
                  </a:lnTo>
                  <a:lnTo>
                    <a:pt x="386" y="62"/>
                  </a:lnTo>
                  <a:lnTo>
                    <a:pt x="300" y="68"/>
                  </a:lnTo>
                  <a:lnTo>
                    <a:pt x="282" y="74"/>
                  </a:lnTo>
                  <a:lnTo>
                    <a:pt x="300" y="43"/>
                  </a:lnTo>
                  <a:lnTo>
                    <a:pt x="269" y="49"/>
                  </a:lnTo>
                  <a:lnTo>
                    <a:pt x="233" y="25"/>
                  </a:lnTo>
                  <a:lnTo>
                    <a:pt x="282" y="19"/>
                  </a:lnTo>
                  <a:lnTo>
                    <a:pt x="226" y="0"/>
                  </a:lnTo>
                  <a:lnTo>
                    <a:pt x="171" y="13"/>
                  </a:lnTo>
                  <a:lnTo>
                    <a:pt x="177" y="19"/>
                  </a:lnTo>
                  <a:lnTo>
                    <a:pt x="177" y="25"/>
                  </a:lnTo>
                  <a:lnTo>
                    <a:pt x="177" y="31"/>
                  </a:lnTo>
                  <a:lnTo>
                    <a:pt x="171" y="31"/>
                  </a:lnTo>
                  <a:lnTo>
                    <a:pt x="165" y="31"/>
                  </a:lnTo>
                  <a:lnTo>
                    <a:pt x="159" y="31"/>
                  </a:lnTo>
                  <a:lnTo>
                    <a:pt x="153" y="31"/>
                  </a:lnTo>
                  <a:lnTo>
                    <a:pt x="153" y="25"/>
                  </a:lnTo>
                  <a:lnTo>
                    <a:pt x="147" y="25"/>
                  </a:lnTo>
                  <a:lnTo>
                    <a:pt x="141" y="19"/>
                  </a:lnTo>
                  <a:lnTo>
                    <a:pt x="141" y="25"/>
                  </a:lnTo>
                  <a:lnTo>
                    <a:pt x="141" y="31"/>
                  </a:lnTo>
                  <a:lnTo>
                    <a:pt x="141" y="37"/>
                  </a:lnTo>
                  <a:lnTo>
                    <a:pt x="141" y="43"/>
                  </a:lnTo>
                  <a:lnTo>
                    <a:pt x="134" y="43"/>
                  </a:lnTo>
                  <a:lnTo>
                    <a:pt x="128" y="43"/>
                  </a:lnTo>
                  <a:lnTo>
                    <a:pt x="122" y="43"/>
                  </a:lnTo>
                  <a:lnTo>
                    <a:pt x="116" y="43"/>
                  </a:lnTo>
                  <a:lnTo>
                    <a:pt x="116" y="49"/>
                  </a:lnTo>
                  <a:lnTo>
                    <a:pt x="110" y="49"/>
                  </a:lnTo>
                  <a:lnTo>
                    <a:pt x="104" y="49"/>
                  </a:lnTo>
                  <a:lnTo>
                    <a:pt x="98" y="56"/>
                  </a:lnTo>
                  <a:lnTo>
                    <a:pt x="98" y="62"/>
                  </a:lnTo>
                  <a:lnTo>
                    <a:pt x="98" y="68"/>
                  </a:lnTo>
                  <a:lnTo>
                    <a:pt x="92" y="68"/>
                  </a:lnTo>
                  <a:lnTo>
                    <a:pt x="92" y="74"/>
                  </a:lnTo>
                  <a:lnTo>
                    <a:pt x="85" y="80"/>
                  </a:lnTo>
                  <a:lnTo>
                    <a:pt x="85" y="74"/>
                  </a:lnTo>
                  <a:lnTo>
                    <a:pt x="79" y="7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3" name="Freeform 245"/>
            <p:cNvSpPr>
              <a:spLocks/>
            </p:cNvSpPr>
            <p:nvPr/>
          </p:nvSpPr>
          <p:spPr bwMode="auto">
            <a:xfrm>
              <a:off x="7210830" y="1236401"/>
              <a:ext cx="1209350" cy="456517"/>
            </a:xfrm>
            <a:custGeom>
              <a:avLst/>
              <a:gdLst>
                <a:gd name="T0" fmla="*/ 1885077053 w 748"/>
                <a:gd name="T1" fmla="*/ 45362807 h 312"/>
                <a:gd name="T2" fmla="*/ 1698585552 w 748"/>
                <a:gd name="T3" fmla="*/ 168851246 h 312"/>
                <a:gd name="T4" fmla="*/ 1282758716 w 748"/>
                <a:gd name="T5" fmla="*/ 277217178 h 312"/>
                <a:gd name="T6" fmla="*/ 866933864 w 748"/>
                <a:gd name="T7" fmla="*/ 400703992 h 312"/>
                <a:gd name="T8" fmla="*/ 773688708 w 748"/>
                <a:gd name="T9" fmla="*/ 415824924 h 312"/>
                <a:gd name="T10" fmla="*/ 803930574 w 748"/>
                <a:gd name="T11" fmla="*/ 463708767 h 312"/>
                <a:gd name="T12" fmla="*/ 758567776 w 748"/>
                <a:gd name="T13" fmla="*/ 493950630 h 312"/>
                <a:gd name="T14" fmla="*/ 680442164 w 748"/>
                <a:gd name="T15" fmla="*/ 509071562 h 312"/>
                <a:gd name="T16" fmla="*/ 680442164 w 748"/>
                <a:gd name="T17" fmla="*/ 539313425 h 312"/>
                <a:gd name="T18" fmla="*/ 556953754 w 748"/>
                <a:gd name="T19" fmla="*/ 524192493 h 312"/>
                <a:gd name="T20" fmla="*/ 556953754 w 748"/>
                <a:gd name="T21" fmla="*/ 602316513 h 312"/>
                <a:gd name="T22" fmla="*/ 493950662 w 748"/>
                <a:gd name="T23" fmla="*/ 632558376 h 312"/>
                <a:gd name="T24" fmla="*/ 493950662 w 748"/>
                <a:gd name="T25" fmla="*/ 710683983 h 312"/>
                <a:gd name="T26" fmla="*/ 355342808 w 748"/>
                <a:gd name="T27" fmla="*/ 662801827 h 312"/>
                <a:gd name="T28" fmla="*/ 478829730 w 748"/>
                <a:gd name="T29" fmla="*/ 725804914 h 312"/>
                <a:gd name="T30" fmla="*/ 403224968 w 748"/>
                <a:gd name="T31" fmla="*/ 725804914 h 312"/>
                <a:gd name="T32" fmla="*/ 403224968 w 748"/>
                <a:gd name="T33" fmla="*/ 786288641 h 312"/>
                <a:gd name="T34" fmla="*/ 63003117 w 748"/>
                <a:gd name="T35" fmla="*/ 756046778 h 312"/>
                <a:gd name="T36" fmla="*/ 141128754 w 748"/>
                <a:gd name="T37" fmla="*/ 695563051 h 312"/>
                <a:gd name="T38" fmla="*/ 0 w 748"/>
                <a:gd name="T39" fmla="*/ 695563051 h 312"/>
                <a:gd name="T40" fmla="*/ 186491551 w 748"/>
                <a:gd name="T41" fmla="*/ 602316513 h 312"/>
                <a:gd name="T42" fmla="*/ 231854399 w 748"/>
                <a:gd name="T43" fmla="*/ 602316513 h 312"/>
                <a:gd name="T44" fmla="*/ 186491551 w 748"/>
                <a:gd name="T45" fmla="*/ 556953718 h 312"/>
                <a:gd name="T46" fmla="*/ 246975331 w 748"/>
                <a:gd name="T47" fmla="*/ 524192493 h 312"/>
                <a:gd name="T48" fmla="*/ 340221876 w 748"/>
                <a:gd name="T49" fmla="*/ 463708767 h 312"/>
                <a:gd name="T50" fmla="*/ 294857490 w 748"/>
                <a:gd name="T51" fmla="*/ 448587835 h 312"/>
                <a:gd name="T52" fmla="*/ 340221876 w 748"/>
                <a:gd name="T53" fmla="*/ 415824924 h 312"/>
                <a:gd name="T54" fmla="*/ 246975331 w 748"/>
                <a:gd name="T55" fmla="*/ 400703992 h 312"/>
                <a:gd name="T56" fmla="*/ 370463741 w 748"/>
                <a:gd name="T57" fmla="*/ 355342785 h 312"/>
                <a:gd name="T58" fmla="*/ 478829730 w 748"/>
                <a:gd name="T59" fmla="*/ 325100922 h 312"/>
                <a:gd name="T60" fmla="*/ 834172637 w 748"/>
                <a:gd name="T61" fmla="*/ 201612471 h 312"/>
                <a:gd name="T62" fmla="*/ 897175729 w 748"/>
                <a:gd name="T63" fmla="*/ 153728727 h 312"/>
                <a:gd name="T64" fmla="*/ 1499493670 w 748"/>
                <a:gd name="T65" fmla="*/ 63003113 h 312"/>
                <a:gd name="T66" fmla="*/ 1776711164 w 748"/>
                <a:gd name="T67" fmla="*/ 0 h 312"/>
                <a:gd name="T68" fmla="*/ 1885077053 w 748"/>
                <a:gd name="T69" fmla="*/ 45362807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8"/>
                <a:gd name="T106" fmla="*/ 0 h 312"/>
                <a:gd name="T107" fmla="*/ 748 w 748"/>
                <a:gd name="T108" fmla="*/ 312 h 31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8" h="312">
                  <a:moveTo>
                    <a:pt x="748" y="18"/>
                  </a:moveTo>
                  <a:lnTo>
                    <a:pt x="674" y="67"/>
                  </a:lnTo>
                  <a:lnTo>
                    <a:pt x="509" y="110"/>
                  </a:lnTo>
                  <a:lnTo>
                    <a:pt x="344" y="159"/>
                  </a:lnTo>
                  <a:lnTo>
                    <a:pt x="307" y="165"/>
                  </a:lnTo>
                  <a:lnTo>
                    <a:pt x="319" y="184"/>
                  </a:lnTo>
                  <a:lnTo>
                    <a:pt x="301" y="196"/>
                  </a:lnTo>
                  <a:lnTo>
                    <a:pt x="270" y="202"/>
                  </a:lnTo>
                  <a:lnTo>
                    <a:pt x="270" y="214"/>
                  </a:lnTo>
                  <a:lnTo>
                    <a:pt x="221" y="208"/>
                  </a:lnTo>
                  <a:lnTo>
                    <a:pt x="221" y="239"/>
                  </a:lnTo>
                  <a:lnTo>
                    <a:pt x="196" y="251"/>
                  </a:lnTo>
                  <a:lnTo>
                    <a:pt x="196" y="282"/>
                  </a:lnTo>
                  <a:lnTo>
                    <a:pt x="141" y="263"/>
                  </a:lnTo>
                  <a:lnTo>
                    <a:pt x="190" y="288"/>
                  </a:lnTo>
                  <a:lnTo>
                    <a:pt x="160" y="288"/>
                  </a:lnTo>
                  <a:lnTo>
                    <a:pt x="160" y="312"/>
                  </a:lnTo>
                  <a:lnTo>
                    <a:pt x="25" y="300"/>
                  </a:lnTo>
                  <a:lnTo>
                    <a:pt x="56" y="276"/>
                  </a:lnTo>
                  <a:lnTo>
                    <a:pt x="0" y="276"/>
                  </a:lnTo>
                  <a:lnTo>
                    <a:pt x="74" y="239"/>
                  </a:lnTo>
                  <a:lnTo>
                    <a:pt x="92" y="239"/>
                  </a:lnTo>
                  <a:lnTo>
                    <a:pt x="74" y="221"/>
                  </a:lnTo>
                  <a:lnTo>
                    <a:pt x="98" y="208"/>
                  </a:lnTo>
                  <a:lnTo>
                    <a:pt x="135" y="184"/>
                  </a:lnTo>
                  <a:lnTo>
                    <a:pt x="117" y="178"/>
                  </a:lnTo>
                  <a:lnTo>
                    <a:pt x="135" y="165"/>
                  </a:lnTo>
                  <a:lnTo>
                    <a:pt x="98" y="159"/>
                  </a:lnTo>
                  <a:lnTo>
                    <a:pt x="147" y="141"/>
                  </a:lnTo>
                  <a:lnTo>
                    <a:pt x="190" y="129"/>
                  </a:lnTo>
                  <a:lnTo>
                    <a:pt x="331" y="80"/>
                  </a:lnTo>
                  <a:lnTo>
                    <a:pt x="356" y="61"/>
                  </a:lnTo>
                  <a:lnTo>
                    <a:pt x="595" y="25"/>
                  </a:lnTo>
                  <a:lnTo>
                    <a:pt x="705" y="0"/>
                  </a:lnTo>
                  <a:lnTo>
                    <a:pt x="748"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4" name="Freeform 246"/>
            <p:cNvSpPr>
              <a:spLocks/>
            </p:cNvSpPr>
            <p:nvPr/>
          </p:nvSpPr>
          <p:spPr bwMode="auto">
            <a:xfrm>
              <a:off x="7032985" y="1692919"/>
              <a:ext cx="485033" cy="340924"/>
            </a:xfrm>
            <a:custGeom>
              <a:avLst/>
              <a:gdLst>
                <a:gd name="T0" fmla="*/ 756046766 w 300"/>
                <a:gd name="T1" fmla="*/ 572073950 h 233"/>
                <a:gd name="T2" fmla="*/ 524192485 w 300"/>
                <a:gd name="T3" fmla="*/ 370461676 h 233"/>
                <a:gd name="T4" fmla="*/ 509071554 w 300"/>
                <a:gd name="T5" fmla="*/ 156249485 h 233"/>
                <a:gd name="T6" fmla="*/ 524192485 w 300"/>
                <a:gd name="T7" fmla="*/ 123486713 h 233"/>
                <a:gd name="T8" fmla="*/ 556953709 w 300"/>
                <a:gd name="T9" fmla="*/ 93244862 h 233"/>
                <a:gd name="T10" fmla="*/ 617437435 w 300"/>
                <a:gd name="T11" fmla="*/ 17640278 h 233"/>
                <a:gd name="T12" fmla="*/ 294857467 w 300"/>
                <a:gd name="T13" fmla="*/ 0 h 233"/>
                <a:gd name="T14" fmla="*/ 216733449 w 300"/>
                <a:gd name="T15" fmla="*/ 78123949 h 233"/>
                <a:gd name="T16" fmla="*/ 138607793 w 300"/>
                <a:gd name="T17" fmla="*/ 141128572 h 233"/>
                <a:gd name="T18" fmla="*/ 186491536 w 300"/>
                <a:gd name="T19" fmla="*/ 171370398 h 233"/>
                <a:gd name="T20" fmla="*/ 78124043 w 300"/>
                <a:gd name="T21" fmla="*/ 279736198 h 233"/>
                <a:gd name="T22" fmla="*/ 0 w 300"/>
                <a:gd name="T23" fmla="*/ 309978024 h 233"/>
                <a:gd name="T24" fmla="*/ 45362806 w 300"/>
                <a:gd name="T25" fmla="*/ 418345461 h 233"/>
                <a:gd name="T26" fmla="*/ 153728725 w 300"/>
                <a:gd name="T27" fmla="*/ 403224449 h 233"/>
                <a:gd name="T28" fmla="*/ 231854380 w 300"/>
                <a:gd name="T29" fmla="*/ 418345461 h 233"/>
                <a:gd name="T30" fmla="*/ 277217174 w 300"/>
                <a:gd name="T31" fmla="*/ 418345461 h 233"/>
                <a:gd name="T32" fmla="*/ 309978398 w 300"/>
                <a:gd name="T33" fmla="*/ 493950026 h 233"/>
                <a:gd name="T34" fmla="*/ 294857467 w 300"/>
                <a:gd name="T35" fmla="*/ 526711211 h 233"/>
                <a:gd name="T36" fmla="*/ 385583055 w 300"/>
                <a:gd name="T37" fmla="*/ 556953037 h 233"/>
                <a:gd name="T38" fmla="*/ 478829691 w 300"/>
                <a:gd name="T39" fmla="*/ 572073950 h 233"/>
                <a:gd name="T40" fmla="*/ 602316503 w 300"/>
                <a:gd name="T41" fmla="*/ 572073950 h 233"/>
                <a:gd name="T42" fmla="*/ 710683972 w 300"/>
                <a:gd name="T43" fmla="*/ 587194863 h 233"/>
                <a:gd name="T44" fmla="*/ 756046766 w 300"/>
                <a:gd name="T45" fmla="*/ 572073950 h 2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0"/>
                <a:gd name="T70" fmla="*/ 0 h 233"/>
                <a:gd name="T71" fmla="*/ 300 w 300"/>
                <a:gd name="T72" fmla="*/ 233 h 2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0" h="233">
                  <a:moveTo>
                    <a:pt x="300" y="227"/>
                  </a:moveTo>
                  <a:lnTo>
                    <a:pt x="208" y="147"/>
                  </a:lnTo>
                  <a:lnTo>
                    <a:pt x="202" y="62"/>
                  </a:lnTo>
                  <a:lnTo>
                    <a:pt x="208" y="49"/>
                  </a:lnTo>
                  <a:lnTo>
                    <a:pt x="221" y="37"/>
                  </a:lnTo>
                  <a:lnTo>
                    <a:pt x="245" y="7"/>
                  </a:lnTo>
                  <a:lnTo>
                    <a:pt x="117" y="0"/>
                  </a:lnTo>
                  <a:lnTo>
                    <a:pt x="86" y="31"/>
                  </a:lnTo>
                  <a:lnTo>
                    <a:pt x="55" y="56"/>
                  </a:lnTo>
                  <a:lnTo>
                    <a:pt x="74" y="68"/>
                  </a:lnTo>
                  <a:lnTo>
                    <a:pt x="31" y="111"/>
                  </a:lnTo>
                  <a:lnTo>
                    <a:pt x="0" y="123"/>
                  </a:lnTo>
                  <a:lnTo>
                    <a:pt x="18" y="166"/>
                  </a:lnTo>
                  <a:lnTo>
                    <a:pt x="61" y="160"/>
                  </a:lnTo>
                  <a:lnTo>
                    <a:pt x="92" y="166"/>
                  </a:lnTo>
                  <a:lnTo>
                    <a:pt x="110" y="166"/>
                  </a:lnTo>
                  <a:lnTo>
                    <a:pt x="123" y="196"/>
                  </a:lnTo>
                  <a:lnTo>
                    <a:pt x="117" y="209"/>
                  </a:lnTo>
                  <a:lnTo>
                    <a:pt x="153" y="221"/>
                  </a:lnTo>
                  <a:lnTo>
                    <a:pt x="190" y="227"/>
                  </a:lnTo>
                  <a:lnTo>
                    <a:pt x="239" y="227"/>
                  </a:lnTo>
                  <a:lnTo>
                    <a:pt x="282" y="233"/>
                  </a:lnTo>
                  <a:lnTo>
                    <a:pt x="300" y="22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5" name="Freeform 247"/>
            <p:cNvSpPr>
              <a:spLocks/>
            </p:cNvSpPr>
            <p:nvPr/>
          </p:nvSpPr>
          <p:spPr bwMode="auto">
            <a:xfrm>
              <a:off x="4536680" y="4015010"/>
              <a:ext cx="218266" cy="89255"/>
            </a:xfrm>
            <a:custGeom>
              <a:avLst/>
              <a:gdLst>
                <a:gd name="T0" fmla="*/ 153730664 w 135"/>
                <a:gd name="T1" fmla="*/ 0 h 61"/>
                <a:gd name="T2" fmla="*/ 138609698 w 135"/>
                <a:gd name="T3" fmla="*/ 60484072 h 61"/>
                <a:gd name="T4" fmla="*/ 15120972 w 135"/>
                <a:gd name="T5" fmla="*/ 45363048 h 61"/>
                <a:gd name="T6" fmla="*/ 15120972 w 135"/>
                <a:gd name="T7" fmla="*/ 75605084 h 61"/>
                <a:gd name="T8" fmla="*/ 63004843 w 135"/>
                <a:gd name="T9" fmla="*/ 75605084 h 61"/>
                <a:gd name="T10" fmla="*/ 63004843 w 135"/>
                <a:gd name="T11" fmla="*/ 93247058 h 61"/>
                <a:gd name="T12" fmla="*/ 45362910 w 135"/>
                <a:gd name="T13" fmla="*/ 93247058 h 61"/>
                <a:gd name="T14" fmla="*/ 0 w 135"/>
                <a:gd name="T15" fmla="*/ 123489106 h 61"/>
                <a:gd name="T16" fmla="*/ 30241944 w 135"/>
                <a:gd name="T17" fmla="*/ 123489106 h 61"/>
                <a:gd name="T18" fmla="*/ 63004843 w 135"/>
                <a:gd name="T19" fmla="*/ 123489106 h 61"/>
                <a:gd name="T20" fmla="*/ 93246775 w 135"/>
                <a:gd name="T21" fmla="*/ 138610118 h 61"/>
                <a:gd name="T22" fmla="*/ 216733944 w 135"/>
                <a:gd name="T23" fmla="*/ 153731130 h 61"/>
                <a:gd name="T24" fmla="*/ 340222627 w 135"/>
                <a:gd name="T25" fmla="*/ 138610118 h 61"/>
                <a:gd name="T26" fmla="*/ 340222627 w 135"/>
                <a:gd name="T27" fmla="*/ 60484072 h 61"/>
                <a:gd name="T28" fmla="*/ 231854910 w 135"/>
                <a:gd name="T29" fmla="*/ 45363048 h 61"/>
                <a:gd name="T30" fmla="*/ 153730664 w 135"/>
                <a:gd name="T31" fmla="*/ 15121018 h 61"/>
                <a:gd name="T32" fmla="*/ 153730664 w 135"/>
                <a:gd name="T33" fmla="*/ 0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5"/>
                <a:gd name="T52" fmla="*/ 0 h 61"/>
                <a:gd name="T53" fmla="*/ 135 w 13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5" h="61">
                  <a:moveTo>
                    <a:pt x="61" y="0"/>
                  </a:moveTo>
                  <a:lnTo>
                    <a:pt x="55" y="24"/>
                  </a:lnTo>
                  <a:lnTo>
                    <a:pt x="6" y="18"/>
                  </a:lnTo>
                  <a:lnTo>
                    <a:pt x="6" y="30"/>
                  </a:lnTo>
                  <a:lnTo>
                    <a:pt x="25" y="30"/>
                  </a:lnTo>
                  <a:lnTo>
                    <a:pt x="25" y="37"/>
                  </a:lnTo>
                  <a:lnTo>
                    <a:pt x="18" y="37"/>
                  </a:lnTo>
                  <a:lnTo>
                    <a:pt x="0" y="49"/>
                  </a:lnTo>
                  <a:lnTo>
                    <a:pt x="12" y="49"/>
                  </a:lnTo>
                  <a:lnTo>
                    <a:pt x="25" y="49"/>
                  </a:lnTo>
                  <a:lnTo>
                    <a:pt x="37" y="55"/>
                  </a:lnTo>
                  <a:lnTo>
                    <a:pt x="86" y="61"/>
                  </a:lnTo>
                  <a:lnTo>
                    <a:pt x="135" y="55"/>
                  </a:lnTo>
                  <a:lnTo>
                    <a:pt x="135" y="24"/>
                  </a:lnTo>
                  <a:lnTo>
                    <a:pt x="92" y="18"/>
                  </a:lnTo>
                  <a:lnTo>
                    <a:pt x="61" y="6"/>
                  </a:lnTo>
                  <a:lnTo>
                    <a:pt x="61"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6" name="Freeform 249"/>
            <p:cNvSpPr>
              <a:spLocks/>
            </p:cNvSpPr>
            <p:nvPr/>
          </p:nvSpPr>
          <p:spPr bwMode="auto">
            <a:xfrm>
              <a:off x="6785619" y="2177236"/>
              <a:ext cx="158444" cy="99497"/>
            </a:xfrm>
            <a:custGeom>
              <a:avLst/>
              <a:gdLst>
                <a:gd name="T0" fmla="*/ 246975335 w 98"/>
                <a:gd name="T1" fmla="*/ 93244970 h 68"/>
                <a:gd name="T2" fmla="*/ 30241878 w 98"/>
                <a:gd name="T3" fmla="*/ 171370598 h 68"/>
                <a:gd name="T4" fmla="*/ 0 w 98"/>
                <a:gd name="T5" fmla="*/ 63003109 h 68"/>
                <a:gd name="T6" fmla="*/ 78124050 w 98"/>
                <a:gd name="T7" fmla="*/ 0 h 68"/>
                <a:gd name="T8" fmla="*/ 246975335 w 98"/>
                <a:gd name="T9" fmla="*/ 93244970 h 68"/>
                <a:gd name="T10" fmla="*/ 0 60000 65536"/>
                <a:gd name="T11" fmla="*/ 0 60000 65536"/>
                <a:gd name="T12" fmla="*/ 0 60000 65536"/>
                <a:gd name="T13" fmla="*/ 0 60000 65536"/>
                <a:gd name="T14" fmla="*/ 0 60000 65536"/>
                <a:gd name="T15" fmla="*/ 0 w 98"/>
                <a:gd name="T16" fmla="*/ 0 h 68"/>
                <a:gd name="T17" fmla="*/ 98 w 98"/>
                <a:gd name="T18" fmla="*/ 68 h 68"/>
              </a:gdLst>
              <a:ahLst/>
              <a:cxnLst>
                <a:cxn ang="T10">
                  <a:pos x="T0" y="T1"/>
                </a:cxn>
                <a:cxn ang="T11">
                  <a:pos x="T2" y="T3"/>
                </a:cxn>
                <a:cxn ang="T12">
                  <a:pos x="T4" y="T5"/>
                </a:cxn>
                <a:cxn ang="T13">
                  <a:pos x="T6" y="T7"/>
                </a:cxn>
                <a:cxn ang="T14">
                  <a:pos x="T8" y="T9"/>
                </a:cxn>
              </a:cxnLst>
              <a:rect l="T15" t="T16" r="T17" b="T18"/>
              <a:pathLst>
                <a:path w="98" h="68">
                  <a:moveTo>
                    <a:pt x="98" y="37"/>
                  </a:moveTo>
                  <a:lnTo>
                    <a:pt x="12" y="68"/>
                  </a:lnTo>
                  <a:lnTo>
                    <a:pt x="0" y="25"/>
                  </a:lnTo>
                  <a:lnTo>
                    <a:pt x="31" y="0"/>
                  </a:lnTo>
                  <a:lnTo>
                    <a:pt x="98" y="3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7" name="Freeform 250"/>
            <p:cNvSpPr>
              <a:spLocks/>
            </p:cNvSpPr>
            <p:nvPr/>
          </p:nvSpPr>
          <p:spPr bwMode="auto">
            <a:xfrm>
              <a:off x="7587540" y="2070423"/>
              <a:ext cx="168145" cy="71696"/>
            </a:xfrm>
            <a:custGeom>
              <a:avLst/>
              <a:gdLst>
                <a:gd name="T0" fmla="*/ 262096272 w 104"/>
                <a:gd name="T1" fmla="*/ 123486080 h 49"/>
                <a:gd name="T2" fmla="*/ 47883761 w 104"/>
                <a:gd name="T3" fmla="*/ 0 h 49"/>
                <a:gd name="T4" fmla="*/ 0 w 104"/>
                <a:gd name="T5" fmla="*/ 15120842 h 49"/>
                <a:gd name="T6" fmla="*/ 138607809 w 104"/>
                <a:gd name="T7" fmla="*/ 123486080 h 49"/>
                <a:gd name="T8" fmla="*/ 262096272 w 104"/>
                <a:gd name="T9" fmla="*/ 123486080 h 49"/>
                <a:gd name="T10" fmla="*/ 0 60000 65536"/>
                <a:gd name="T11" fmla="*/ 0 60000 65536"/>
                <a:gd name="T12" fmla="*/ 0 60000 65536"/>
                <a:gd name="T13" fmla="*/ 0 60000 65536"/>
                <a:gd name="T14" fmla="*/ 0 60000 65536"/>
                <a:gd name="T15" fmla="*/ 0 w 104"/>
                <a:gd name="T16" fmla="*/ 0 h 49"/>
                <a:gd name="T17" fmla="*/ 104 w 104"/>
                <a:gd name="T18" fmla="*/ 49 h 49"/>
              </a:gdLst>
              <a:ahLst/>
              <a:cxnLst>
                <a:cxn ang="T10">
                  <a:pos x="T0" y="T1"/>
                </a:cxn>
                <a:cxn ang="T11">
                  <a:pos x="T2" y="T3"/>
                </a:cxn>
                <a:cxn ang="T12">
                  <a:pos x="T4" y="T5"/>
                </a:cxn>
                <a:cxn ang="T13">
                  <a:pos x="T6" y="T7"/>
                </a:cxn>
                <a:cxn ang="T14">
                  <a:pos x="T8" y="T9"/>
                </a:cxn>
              </a:cxnLst>
              <a:rect l="T15" t="T16" r="T17" b="T18"/>
              <a:pathLst>
                <a:path w="104" h="49">
                  <a:moveTo>
                    <a:pt x="104" y="49"/>
                  </a:moveTo>
                  <a:lnTo>
                    <a:pt x="19" y="0"/>
                  </a:lnTo>
                  <a:lnTo>
                    <a:pt x="0" y="6"/>
                  </a:lnTo>
                  <a:lnTo>
                    <a:pt x="55" y="49"/>
                  </a:lnTo>
                  <a:lnTo>
                    <a:pt x="104" y="4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8" name="Freeform 253"/>
            <p:cNvSpPr>
              <a:spLocks/>
            </p:cNvSpPr>
            <p:nvPr/>
          </p:nvSpPr>
          <p:spPr bwMode="auto">
            <a:xfrm>
              <a:off x="4714526" y="3567272"/>
              <a:ext cx="100240" cy="61454"/>
            </a:xfrm>
            <a:custGeom>
              <a:avLst/>
              <a:gdLst>
                <a:gd name="T0" fmla="*/ 156249699 w 62"/>
                <a:gd name="T1" fmla="*/ 15120938 h 42"/>
                <a:gd name="T2" fmla="*/ 15120940 w 62"/>
                <a:gd name="T3" fmla="*/ 105846574 h 42"/>
                <a:gd name="T4" fmla="*/ 0 w 62"/>
                <a:gd name="T5" fmla="*/ 30241876 h 42"/>
                <a:gd name="T6" fmla="*/ 138609403 w 62"/>
                <a:gd name="T7" fmla="*/ 0 h 42"/>
                <a:gd name="T8" fmla="*/ 156249699 w 62"/>
                <a:gd name="T9" fmla="*/ 15120938 h 42"/>
                <a:gd name="T10" fmla="*/ 0 60000 65536"/>
                <a:gd name="T11" fmla="*/ 0 60000 65536"/>
                <a:gd name="T12" fmla="*/ 0 60000 65536"/>
                <a:gd name="T13" fmla="*/ 0 60000 65536"/>
                <a:gd name="T14" fmla="*/ 0 60000 65536"/>
                <a:gd name="T15" fmla="*/ 0 w 62"/>
                <a:gd name="T16" fmla="*/ 0 h 42"/>
                <a:gd name="T17" fmla="*/ 62 w 62"/>
                <a:gd name="T18" fmla="*/ 42 h 42"/>
              </a:gdLst>
              <a:ahLst/>
              <a:cxnLst>
                <a:cxn ang="T10">
                  <a:pos x="T0" y="T1"/>
                </a:cxn>
                <a:cxn ang="T11">
                  <a:pos x="T2" y="T3"/>
                </a:cxn>
                <a:cxn ang="T12">
                  <a:pos x="T4" y="T5"/>
                </a:cxn>
                <a:cxn ang="T13">
                  <a:pos x="T6" y="T7"/>
                </a:cxn>
                <a:cxn ang="T14">
                  <a:pos x="T8" y="T9"/>
                </a:cxn>
              </a:cxnLst>
              <a:rect l="T15" t="T16" r="T17" b="T18"/>
              <a:pathLst>
                <a:path w="62" h="42">
                  <a:moveTo>
                    <a:pt x="62" y="6"/>
                  </a:moveTo>
                  <a:lnTo>
                    <a:pt x="6" y="42"/>
                  </a:lnTo>
                  <a:lnTo>
                    <a:pt x="0" y="12"/>
                  </a:lnTo>
                  <a:lnTo>
                    <a:pt x="55" y="0"/>
                  </a:lnTo>
                  <a:lnTo>
                    <a:pt x="62"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29" name="Freeform 256"/>
            <p:cNvSpPr>
              <a:spLocks/>
            </p:cNvSpPr>
            <p:nvPr/>
          </p:nvSpPr>
          <p:spPr bwMode="auto">
            <a:xfrm>
              <a:off x="4724226" y="3513134"/>
              <a:ext cx="69522" cy="17558"/>
            </a:xfrm>
            <a:custGeom>
              <a:avLst/>
              <a:gdLst>
                <a:gd name="T0" fmla="*/ 108368317 w 43"/>
                <a:gd name="T1" fmla="*/ 30241878 h 12"/>
                <a:gd name="T2" fmla="*/ 0 w 43"/>
                <a:gd name="T3" fmla="*/ 15120939 h 12"/>
                <a:gd name="T4" fmla="*/ 32763066 w 43"/>
                <a:gd name="T5" fmla="*/ 0 h 12"/>
                <a:gd name="T6" fmla="*/ 108368317 w 43"/>
                <a:gd name="T7" fmla="*/ 30241878 h 12"/>
                <a:gd name="T8" fmla="*/ 0 60000 65536"/>
                <a:gd name="T9" fmla="*/ 0 60000 65536"/>
                <a:gd name="T10" fmla="*/ 0 60000 65536"/>
                <a:gd name="T11" fmla="*/ 0 60000 65536"/>
                <a:gd name="T12" fmla="*/ 0 w 43"/>
                <a:gd name="T13" fmla="*/ 0 h 12"/>
                <a:gd name="T14" fmla="*/ 43 w 43"/>
                <a:gd name="T15" fmla="*/ 12 h 12"/>
              </a:gdLst>
              <a:ahLst/>
              <a:cxnLst>
                <a:cxn ang="T8">
                  <a:pos x="T0" y="T1"/>
                </a:cxn>
                <a:cxn ang="T9">
                  <a:pos x="T2" y="T3"/>
                </a:cxn>
                <a:cxn ang="T10">
                  <a:pos x="T4" y="T5"/>
                </a:cxn>
                <a:cxn ang="T11">
                  <a:pos x="T6" y="T7"/>
                </a:cxn>
              </a:cxnLst>
              <a:rect l="T12" t="T13" r="T14" b="T15"/>
              <a:pathLst>
                <a:path w="43" h="12">
                  <a:moveTo>
                    <a:pt x="43" y="12"/>
                  </a:moveTo>
                  <a:lnTo>
                    <a:pt x="0" y="6"/>
                  </a:lnTo>
                  <a:lnTo>
                    <a:pt x="13" y="0"/>
                  </a:lnTo>
                  <a:lnTo>
                    <a:pt x="43"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0" name="Freeform 257"/>
            <p:cNvSpPr>
              <a:spLocks/>
            </p:cNvSpPr>
            <p:nvPr/>
          </p:nvSpPr>
          <p:spPr bwMode="auto">
            <a:xfrm>
              <a:off x="5379022" y="2150898"/>
              <a:ext cx="9701" cy="1464"/>
            </a:xfrm>
            <a:custGeom>
              <a:avLst/>
              <a:gdLst>
                <a:gd name="T0" fmla="*/ 15120939 w 6"/>
                <a:gd name="T1" fmla="*/ 0 h 1588"/>
                <a:gd name="T2" fmla="*/ 0 w 6"/>
                <a:gd name="T3" fmla="*/ 0 h 1588"/>
                <a:gd name="T4" fmla="*/ 15120939 w 6"/>
                <a:gd name="T5" fmla="*/ 0 h 1588"/>
                <a:gd name="T6" fmla="*/ 0 60000 65536"/>
                <a:gd name="T7" fmla="*/ 0 60000 65536"/>
                <a:gd name="T8" fmla="*/ 0 60000 65536"/>
                <a:gd name="T9" fmla="*/ 0 w 6"/>
                <a:gd name="T10" fmla="*/ 0 h 1588"/>
                <a:gd name="T11" fmla="*/ 6 w 6"/>
                <a:gd name="T12" fmla="*/ 1588 h 1588"/>
              </a:gdLst>
              <a:ahLst/>
              <a:cxnLst>
                <a:cxn ang="T6">
                  <a:pos x="T0" y="T1"/>
                </a:cxn>
                <a:cxn ang="T7">
                  <a:pos x="T2" y="T3"/>
                </a:cxn>
                <a:cxn ang="T8">
                  <a:pos x="T4" y="T5"/>
                </a:cxn>
              </a:cxnLst>
              <a:rect l="T9" t="T10" r="T11" b="T12"/>
              <a:pathLst>
                <a:path w="6" h="1588">
                  <a:moveTo>
                    <a:pt x="6" y="0"/>
                  </a:moveTo>
                  <a:lnTo>
                    <a:pt x="0" y="0"/>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1" name="Freeform 258"/>
            <p:cNvSpPr>
              <a:spLocks/>
            </p:cNvSpPr>
            <p:nvPr/>
          </p:nvSpPr>
          <p:spPr bwMode="auto">
            <a:xfrm>
              <a:off x="6358789" y="5707928"/>
              <a:ext cx="318505" cy="349703"/>
            </a:xfrm>
            <a:custGeom>
              <a:avLst/>
              <a:gdLst>
                <a:gd name="T0" fmla="*/ 63003017 w 197"/>
                <a:gd name="T1" fmla="*/ 93244866 h 239"/>
                <a:gd name="T2" fmla="*/ 0 w 197"/>
                <a:gd name="T3" fmla="*/ 0 h 239"/>
                <a:gd name="T4" fmla="*/ 186491256 w 197"/>
                <a:gd name="T5" fmla="*/ 17640278 h 239"/>
                <a:gd name="T6" fmla="*/ 355340659 w 197"/>
                <a:gd name="T7" fmla="*/ 17640278 h 239"/>
                <a:gd name="T8" fmla="*/ 478828972 w 197"/>
                <a:gd name="T9" fmla="*/ 47882112 h 239"/>
                <a:gd name="T10" fmla="*/ 448587155 w 197"/>
                <a:gd name="T11" fmla="*/ 231854109 h 239"/>
                <a:gd name="T12" fmla="*/ 496469238 w 197"/>
                <a:gd name="T13" fmla="*/ 264615295 h 239"/>
                <a:gd name="T14" fmla="*/ 433466246 w 197"/>
                <a:gd name="T15" fmla="*/ 355340778 h 239"/>
                <a:gd name="T16" fmla="*/ 496469238 w 197"/>
                <a:gd name="T17" fmla="*/ 541832146 h 239"/>
                <a:gd name="T18" fmla="*/ 403224330 w 197"/>
                <a:gd name="T19" fmla="*/ 602315801 h 239"/>
                <a:gd name="T20" fmla="*/ 264615207 w 197"/>
                <a:gd name="T21" fmla="*/ 478829133 h 239"/>
                <a:gd name="T22" fmla="*/ 246974940 w 197"/>
                <a:gd name="T23" fmla="*/ 433466392 h 239"/>
                <a:gd name="T24" fmla="*/ 231854032 w 197"/>
                <a:gd name="T25" fmla="*/ 418345478 h 239"/>
                <a:gd name="T26" fmla="*/ 141128530 w 197"/>
                <a:gd name="T27" fmla="*/ 355340778 h 239"/>
                <a:gd name="T28" fmla="*/ 93244834 w 197"/>
                <a:gd name="T29" fmla="*/ 231854109 h 239"/>
                <a:gd name="T30" fmla="*/ 63003017 w 197"/>
                <a:gd name="T31" fmla="*/ 93244866 h 2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39"/>
                <a:gd name="T50" fmla="*/ 197 w 197"/>
                <a:gd name="T51" fmla="*/ 239 h 2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39">
                  <a:moveTo>
                    <a:pt x="25" y="37"/>
                  </a:moveTo>
                  <a:lnTo>
                    <a:pt x="0" y="0"/>
                  </a:lnTo>
                  <a:lnTo>
                    <a:pt x="74" y="7"/>
                  </a:lnTo>
                  <a:lnTo>
                    <a:pt x="141" y="7"/>
                  </a:lnTo>
                  <a:lnTo>
                    <a:pt x="190" y="19"/>
                  </a:lnTo>
                  <a:lnTo>
                    <a:pt x="178" y="92"/>
                  </a:lnTo>
                  <a:lnTo>
                    <a:pt x="197" y="105"/>
                  </a:lnTo>
                  <a:lnTo>
                    <a:pt x="172" y="141"/>
                  </a:lnTo>
                  <a:lnTo>
                    <a:pt x="197" y="215"/>
                  </a:lnTo>
                  <a:lnTo>
                    <a:pt x="160" y="239"/>
                  </a:lnTo>
                  <a:lnTo>
                    <a:pt x="105" y="190"/>
                  </a:lnTo>
                  <a:lnTo>
                    <a:pt x="98" y="172"/>
                  </a:lnTo>
                  <a:lnTo>
                    <a:pt x="92" y="166"/>
                  </a:lnTo>
                  <a:lnTo>
                    <a:pt x="56" y="141"/>
                  </a:lnTo>
                  <a:lnTo>
                    <a:pt x="37" y="92"/>
                  </a:lnTo>
                  <a:lnTo>
                    <a:pt x="25" y="3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2" name="Freeform 259"/>
            <p:cNvSpPr>
              <a:spLocks/>
            </p:cNvSpPr>
            <p:nvPr/>
          </p:nvSpPr>
          <p:spPr bwMode="auto">
            <a:xfrm>
              <a:off x="6636874" y="5672811"/>
              <a:ext cx="316889" cy="438959"/>
            </a:xfrm>
            <a:custGeom>
              <a:avLst/>
              <a:gdLst>
                <a:gd name="T0" fmla="*/ 63003118 w 196"/>
                <a:gd name="T1" fmla="*/ 602316503 h 300"/>
                <a:gd name="T2" fmla="*/ 0 w 196"/>
                <a:gd name="T3" fmla="*/ 415824918 h 300"/>
                <a:gd name="T4" fmla="*/ 63003118 w 196"/>
                <a:gd name="T5" fmla="*/ 325100917 h 300"/>
                <a:gd name="T6" fmla="*/ 15120939 w 196"/>
                <a:gd name="T7" fmla="*/ 292338105 h 300"/>
                <a:gd name="T8" fmla="*/ 45362811 w 196"/>
                <a:gd name="T9" fmla="*/ 108365931 h 300"/>
                <a:gd name="T10" fmla="*/ 108367528 w 196"/>
                <a:gd name="T11" fmla="*/ 0 h 300"/>
                <a:gd name="T12" fmla="*/ 292338133 w 196"/>
                <a:gd name="T13" fmla="*/ 45362806 h 300"/>
                <a:gd name="T14" fmla="*/ 355342814 w 196"/>
                <a:gd name="T15" fmla="*/ 183972175 h 300"/>
                <a:gd name="T16" fmla="*/ 493950670 w 196"/>
                <a:gd name="T17" fmla="*/ 340221848 h 300"/>
                <a:gd name="T18" fmla="*/ 415826545 w 196"/>
                <a:gd name="T19" fmla="*/ 355342780 h 300"/>
                <a:gd name="T20" fmla="*/ 340221881 w 196"/>
                <a:gd name="T21" fmla="*/ 617437435 h 300"/>
                <a:gd name="T22" fmla="*/ 309978428 w 196"/>
                <a:gd name="T23" fmla="*/ 756046766 h 300"/>
                <a:gd name="T24" fmla="*/ 216733469 w 196"/>
                <a:gd name="T25" fmla="*/ 647680885 h 300"/>
                <a:gd name="T26" fmla="*/ 231854402 w 196"/>
                <a:gd name="T27" fmla="*/ 602316503 h 300"/>
                <a:gd name="T28" fmla="*/ 216733469 w 196"/>
                <a:gd name="T29" fmla="*/ 478829691 h 300"/>
                <a:gd name="T30" fmla="*/ 63003118 w 196"/>
                <a:gd name="T31" fmla="*/ 602316503 h 3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6"/>
                <a:gd name="T49" fmla="*/ 0 h 300"/>
                <a:gd name="T50" fmla="*/ 196 w 196"/>
                <a:gd name="T51" fmla="*/ 300 h 3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6" h="300">
                  <a:moveTo>
                    <a:pt x="25" y="239"/>
                  </a:moveTo>
                  <a:lnTo>
                    <a:pt x="0" y="165"/>
                  </a:lnTo>
                  <a:lnTo>
                    <a:pt x="25" y="129"/>
                  </a:lnTo>
                  <a:lnTo>
                    <a:pt x="6" y="116"/>
                  </a:lnTo>
                  <a:lnTo>
                    <a:pt x="18" y="43"/>
                  </a:lnTo>
                  <a:lnTo>
                    <a:pt x="43" y="0"/>
                  </a:lnTo>
                  <a:lnTo>
                    <a:pt x="116" y="18"/>
                  </a:lnTo>
                  <a:lnTo>
                    <a:pt x="141" y="73"/>
                  </a:lnTo>
                  <a:lnTo>
                    <a:pt x="196" y="135"/>
                  </a:lnTo>
                  <a:lnTo>
                    <a:pt x="165" y="141"/>
                  </a:lnTo>
                  <a:lnTo>
                    <a:pt x="135" y="245"/>
                  </a:lnTo>
                  <a:lnTo>
                    <a:pt x="123" y="300"/>
                  </a:lnTo>
                  <a:lnTo>
                    <a:pt x="86" y="257"/>
                  </a:lnTo>
                  <a:lnTo>
                    <a:pt x="92" y="239"/>
                  </a:lnTo>
                  <a:lnTo>
                    <a:pt x="86" y="190"/>
                  </a:lnTo>
                  <a:lnTo>
                    <a:pt x="25" y="23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3" name="Freeform 260"/>
            <p:cNvSpPr>
              <a:spLocks/>
            </p:cNvSpPr>
            <p:nvPr/>
          </p:nvSpPr>
          <p:spPr bwMode="auto">
            <a:xfrm>
              <a:off x="6082320" y="5403583"/>
              <a:ext cx="624076" cy="332145"/>
            </a:xfrm>
            <a:custGeom>
              <a:avLst/>
              <a:gdLst>
                <a:gd name="T0" fmla="*/ 183972191 w 386"/>
                <a:gd name="T1" fmla="*/ 201612216 h 227"/>
                <a:gd name="T2" fmla="*/ 0 w 386"/>
                <a:gd name="T3" fmla="*/ 30241837 h 227"/>
                <a:gd name="T4" fmla="*/ 15120939 w 386"/>
                <a:gd name="T5" fmla="*/ 0 h 227"/>
                <a:gd name="T6" fmla="*/ 153728738 w 386"/>
                <a:gd name="T7" fmla="*/ 15120919 h 227"/>
                <a:gd name="T8" fmla="*/ 292338132 w 386"/>
                <a:gd name="T9" fmla="*/ 30241837 h 227"/>
                <a:gd name="T10" fmla="*/ 463708802 w 386"/>
                <a:gd name="T11" fmla="*/ 138607620 h 227"/>
                <a:gd name="T12" fmla="*/ 632558423 w 386"/>
                <a:gd name="T13" fmla="*/ 246975003 h 227"/>
                <a:gd name="T14" fmla="*/ 803930582 w 386"/>
                <a:gd name="T15" fmla="*/ 355340748 h 227"/>
                <a:gd name="T16" fmla="*/ 972780402 w 386"/>
                <a:gd name="T17" fmla="*/ 463708180 h 227"/>
                <a:gd name="T18" fmla="*/ 909777309 w 386"/>
                <a:gd name="T19" fmla="*/ 572073926 h 227"/>
                <a:gd name="T20" fmla="*/ 786288700 w 386"/>
                <a:gd name="T21" fmla="*/ 541832101 h 227"/>
                <a:gd name="T22" fmla="*/ 617437491 w 386"/>
                <a:gd name="T23" fmla="*/ 541832101 h 227"/>
                <a:gd name="T24" fmla="*/ 430947575 w 386"/>
                <a:gd name="T25" fmla="*/ 524191830 h 227"/>
                <a:gd name="T26" fmla="*/ 262096266 w 386"/>
                <a:gd name="T27" fmla="*/ 556953013 h 227"/>
                <a:gd name="T28" fmla="*/ 277217199 w 386"/>
                <a:gd name="T29" fmla="*/ 385582573 h 227"/>
                <a:gd name="T30" fmla="*/ 183972191 w 386"/>
                <a:gd name="T31" fmla="*/ 201612216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6"/>
                <a:gd name="T49" fmla="*/ 0 h 227"/>
                <a:gd name="T50" fmla="*/ 386 w 386"/>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6" h="227">
                  <a:moveTo>
                    <a:pt x="73" y="80"/>
                  </a:moveTo>
                  <a:lnTo>
                    <a:pt x="0" y="12"/>
                  </a:lnTo>
                  <a:lnTo>
                    <a:pt x="6" y="0"/>
                  </a:lnTo>
                  <a:lnTo>
                    <a:pt x="61" y="6"/>
                  </a:lnTo>
                  <a:lnTo>
                    <a:pt x="116" y="12"/>
                  </a:lnTo>
                  <a:lnTo>
                    <a:pt x="184" y="55"/>
                  </a:lnTo>
                  <a:lnTo>
                    <a:pt x="251" y="98"/>
                  </a:lnTo>
                  <a:lnTo>
                    <a:pt x="319" y="141"/>
                  </a:lnTo>
                  <a:lnTo>
                    <a:pt x="386" y="184"/>
                  </a:lnTo>
                  <a:lnTo>
                    <a:pt x="361" y="227"/>
                  </a:lnTo>
                  <a:lnTo>
                    <a:pt x="312" y="215"/>
                  </a:lnTo>
                  <a:lnTo>
                    <a:pt x="245" y="215"/>
                  </a:lnTo>
                  <a:lnTo>
                    <a:pt x="171" y="208"/>
                  </a:lnTo>
                  <a:lnTo>
                    <a:pt x="104" y="221"/>
                  </a:lnTo>
                  <a:lnTo>
                    <a:pt x="110" y="153"/>
                  </a:lnTo>
                  <a:lnTo>
                    <a:pt x="73" y="8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4" name="Freeform 261"/>
            <p:cNvSpPr>
              <a:spLocks/>
            </p:cNvSpPr>
            <p:nvPr/>
          </p:nvSpPr>
          <p:spPr bwMode="auto">
            <a:xfrm>
              <a:off x="5042731" y="5646474"/>
              <a:ext cx="226349" cy="241427"/>
            </a:xfrm>
            <a:custGeom>
              <a:avLst/>
              <a:gdLst>
                <a:gd name="T0" fmla="*/ 199091513 w 140"/>
                <a:gd name="T1" fmla="*/ 30241818 h 165"/>
                <a:gd name="T2" fmla="*/ 183970582 w 140"/>
                <a:gd name="T3" fmla="*/ 30241818 h 165"/>
                <a:gd name="T4" fmla="*/ 168851238 w 140"/>
                <a:gd name="T5" fmla="*/ 45362722 h 165"/>
                <a:gd name="T6" fmla="*/ 183970582 w 140"/>
                <a:gd name="T7" fmla="*/ 45362722 h 165"/>
                <a:gd name="T8" fmla="*/ 168851238 w 140"/>
                <a:gd name="T9" fmla="*/ 45362722 h 165"/>
                <a:gd name="T10" fmla="*/ 183970582 w 140"/>
                <a:gd name="T11" fmla="*/ 45362722 h 165"/>
                <a:gd name="T12" fmla="*/ 168851238 w 140"/>
                <a:gd name="T13" fmla="*/ 45362722 h 165"/>
                <a:gd name="T14" fmla="*/ 168851238 w 140"/>
                <a:gd name="T15" fmla="*/ 30241818 h 165"/>
                <a:gd name="T16" fmla="*/ 153728720 w 140"/>
                <a:gd name="T17" fmla="*/ 30241818 h 165"/>
                <a:gd name="T18" fmla="*/ 153728720 w 140"/>
                <a:gd name="T19" fmla="*/ 15120909 h 165"/>
                <a:gd name="T20" fmla="*/ 153728720 w 140"/>
                <a:gd name="T21" fmla="*/ 0 h 165"/>
                <a:gd name="T22" fmla="*/ 138607789 w 140"/>
                <a:gd name="T23" fmla="*/ 0 h 165"/>
                <a:gd name="T24" fmla="*/ 138607789 w 140"/>
                <a:gd name="T25" fmla="*/ 15120909 h 165"/>
                <a:gd name="T26" fmla="*/ 123486858 w 140"/>
                <a:gd name="T27" fmla="*/ 15120909 h 165"/>
                <a:gd name="T28" fmla="*/ 123486858 w 140"/>
                <a:gd name="T29" fmla="*/ 0 h 165"/>
                <a:gd name="T30" fmla="*/ 105846566 w 140"/>
                <a:gd name="T31" fmla="*/ 0 h 165"/>
                <a:gd name="T32" fmla="*/ 105846566 w 140"/>
                <a:gd name="T33" fmla="*/ 15120909 h 165"/>
                <a:gd name="T34" fmla="*/ 105846566 w 140"/>
                <a:gd name="T35" fmla="*/ 30241818 h 165"/>
                <a:gd name="T36" fmla="*/ 90725610 w 140"/>
                <a:gd name="T37" fmla="*/ 30241818 h 165"/>
                <a:gd name="T38" fmla="*/ 75604679 w 140"/>
                <a:gd name="T39" fmla="*/ 30241818 h 165"/>
                <a:gd name="T40" fmla="*/ 60483748 w 140"/>
                <a:gd name="T41" fmla="*/ 30241818 h 165"/>
                <a:gd name="T42" fmla="*/ 45362805 w 140"/>
                <a:gd name="T43" fmla="*/ 45362722 h 165"/>
                <a:gd name="T44" fmla="*/ 60483748 w 140"/>
                <a:gd name="T45" fmla="*/ 45362722 h 165"/>
                <a:gd name="T46" fmla="*/ 45362805 w 140"/>
                <a:gd name="T47" fmla="*/ 60483637 h 165"/>
                <a:gd name="T48" fmla="*/ 30241874 w 140"/>
                <a:gd name="T49" fmla="*/ 60483637 h 165"/>
                <a:gd name="T50" fmla="*/ 30241874 w 140"/>
                <a:gd name="T51" fmla="*/ 75604540 h 165"/>
                <a:gd name="T52" fmla="*/ 15120937 w 140"/>
                <a:gd name="T53" fmla="*/ 90725443 h 165"/>
                <a:gd name="T54" fmla="*/ 45362805 w 140"/>
                <a:gd name="T55" fmla="*/ 105846371 h 165"/>
                <a:gd name="T56" fmla="*/ 60483748 w 140"/>
                <a:gd name="T57" fmla="*/ 105846371 h 165"/>
                <a:gd name="T58" fmla="*/ 60483748 w 140"/>
                <a:gd name="T59" fmla="*/ 138607534 h 165"/>
                <a:gd name="T60" fmla="*/ 60483748 w 140"/>
                <a:gd name="T61" fmla="*/ 153728437 h 165"/>
                <a:gd name="T62" fmla="*/ 60483748 w 140"/>
                <a:gd name="T63" fmla="*/ 168849340 h 165"/>
                <a:gd name="T64" fmla="*/ 45362805 w 140"/>
                <a:gd name="T65" fmla="*/ 168849340 h 165"/>
                <a:gd name="T66" fmla="*/ 45362805 w 140"/>
                <a:gd name="T67" fmla="*/ 183970243 h 165"/>
                <a:gd name="T68" fmla="*/ 30241874 w 140"/>
                <a:gd name="T69" fmla="*/ 183970243 h 165"/>
                <a:gd name="T70" fmla="*/ 30241874 w 140"/>
                <a:gd name="T71" fmla="*/ 229333002 h 165"/>
                <a:gd name="T72" fmla="*/ 30241874 w 140"/>
                <a:gd name="T73" fmla="*/ 246974849 h 165"/>
                <a:gd name="T74" fmla="*/ 15120937 w 140"/>
                <a:gd name="T75" fmla="*/ 262095752 h 165"/>
                <a:gd name="T76" fmla="*/ 15120937 w 140"/>
                <a:gd name="T77" fmla="*/ 277216655 h 165"/>
                <a:gd name="T78" fmla="*/ 0 w 140"/>
                <a:gd name="T79" fmla="*/ 292337558 h 165"/>
                <a:gd name="T80" fmla="*/ 0 w 140"/>
                <a:gd name="T81" fmla="*/ 307458461 h 165"/>
                <a:gd name="T82" fmla="*/ 60483748 w 140"/>
                <a:gd name="T83" fmla="*/ 322579364 h 165"/>
                <a:gd name="T84" fmla="*/ 15120937 w 140"/>
                <a:gd name="T85" fmla="*/ 415824139 h 165"/>
                <a:gd name="T86" fmla="*/ 153728720 w 140"/>
                <a:gd name="T87" fmla="*/ 277216655 h 165"/>
                <a:gd name="T88" fmla="*/ 352821820 w 140"/>
                <a:gd name="T89" fmla="*/ 229333002 h 165"/>
                <a:gd name="T90" fmla="*/ 307459028 w 140"/>
                <a:gd name="T91" fmla="*/ 168849340 h 165"/>
                <a:gd name="T92" fmla="*/ 229333424 w 140"/>
                <a:gd name="T93" fmla="*/ 30241818 h 165"/>
                <a:gd name="T94" fmla="*/ 214212493 w 140"/>
                <a:gd name="T95" fmla="*/ 30241818 h 165"/>
                <a:gd name="T96" fmla="*/ 214212493 w 140"/>
                <a:gd name="T97" fmla="*/ 15120909 h 165"/>
                <a:gd name="T98" fmla="*/ 214212493 w 140"/>
                <a:gd name="T99" fmla="*/ 30241818 h 165"/>
                <a:gd name="T100" fmla="*/ 199091513 w 140"/>
                <a:gd name="T101" fmla="*/ 30241818 h 165"/>
                <a:gd name="T102" fmla="*/ 214212493 w 140"/>
                <a:gd name="T103" fmla="*/ 30241818 h 165"/>
                <a:gd name="T104" fmla="*/ 199091513 w 140"/>
                <a:gd name="T105" fmla="*/ 30241818 h 1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0"/>
                <a:gd name="T160" fmla="*/ 0 h 165"/>
                <a:gd name="T161" fmla="*/ 140 w 140"/>
                <a:gd name="T162" fmla="*/ 165 h 1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0" h="165">
                  <a:moveTo>
                    <a:pt x="79" y="12"/>
                  </a:moveTo>
                  <a:lnTo>
                    <a:pt x="73" y="12"/>
                  </a:lnTo>
                  <a:lnTo>
                    <a:pt x="67" y="18"/>
                  </a:lnTo>
                  <a:lnTo>
                    <a:pt x="73" y="18"/>
                  </a:lnTo>
                  <a:lnTo>
                    <a:pt x="67" y="18"/>
                  </a:lnTo>
                  <a:lnTo>
                    <a:pt x="73" y="18"/>
                  </a:lnTo>
                  <a:lnTo>
                    <a:pt x="67" y="18"/>
                  </a:lnTo>
                  <a:lnTo>
                    <a:pt x="67" y="12"/>
                  </a:lnTo>
                  <a:lnTo>
                    <a:pt x="61" y="12"/>
                  </a:lnTo>
                  <a:lnTo>
                    <a:pt x="61" y="6"/>
                  </a:lnTo>
                  <a:lnTo>
                    <a:pt x="61" y="0"/>
                  </a:lnTo>
                  <a:lnTo>
                    <a:pt x="55" y="0"/>
                  </a:lnTo>
                  <a:lnTo>
                    <a:pt x="55" y="6"/>
                  </a:lnTo>
                  <a:lnTo>
                    <a:pt x="49" y="6"/>
                  </a:lnTo>
                  <a:lnTo>
                    <a:pt x="49" y="0"/>
                  </a:lnTo>
                  <a:lnTo>
                    <a:pt x="42" y="0"/>
                  </a:lnTo>
                  <a:lnTo>
                    <a:pt x="42" y="6"/>
                  </a:lnTo>
                  <a:lnTo>
                    <a:pt x="42" y="12"/>
                  </a:lnTo>
                  <a:lnTo>
                    <a:pt x="36" y="12"/>
                  </a:lnTo>
                  <a:lnTo>
                    <a:pt x="30" y="12"/>
                  </a:lnTo>
                  <a:lnTo>
                    <a:pt x="24" y="12"/>
                  </a:lnTo>
                  <a:lnTo>
                    <a:pt x="18" y="18"/>
                  </a:lnTo>
                  <a:lnTo>
                    <a:pt x="24" y="18"/>
                  </a:lnTo>
                  <a:lnTo>
                    <a:pt x="18" y="24"/>
                  </a:lnTo>
                  <a:lnTo>
                    <a:pt x="12" y="24"/>
                  </a:lnTo>
                  <a:lnTo>
                    <a:pt x="12" y="30"/>
                  </a:lnTo>
                  <a:lnTo>
                    <a:pt x="6" y="36"/>
                  </a:lnTo>
                  <a:lnTo>
                    <a:pt x="18" y="42"/>
                  </a:lnTo>
                  <a:lnTo>
                    <a:pt x="24" y="42"/>
                  </a:lnTo>
                  <a:lnTo>
                    <a:pt x="24" y="55"/>
                  </a:lnTo>
                  <a:lnTo>
                    <a:pt x="24" y="61"/>
                  </a:lnTo>
                  <a:lnTo>
                    <a:pt x="24" y="67"/>
                  </a:lnTo>
                  <a:lnTo>
                    <a:pt x="18" y="67"/>
                  </a:lnTo>
                  <a:lnTo>
                    <a:pt x="18" y="73"/>
                  </a:lnTo>
                  <a:lnTo>
                    <a:pt x="12" y="73"/>
                  </a:lnTo>
                  <a:lnTo>
                    <a:pt x="12" y="91"/>
                  </a:lnTo>
                  <a:lnTo>
                    <a:pt x="12" y="98"/>
                  </a:lnTo>
                  <a:lnTo>
                    <a:pt x="6" y="104"/>
                  </a:lnTo>
                  <a:lnTo>
                    <a:pt x="6" y="110"/>
                  </a:lnTo>
                  <a:lnTo>
                    <a:pt x="0" y="116"/>
                  </a:lnTo>
                  <a:lnTo>
                    <a:pt x="0" y="122"/>
                  </a:lnTo>
                  <a:lnTo>
                    <a:pt x="24" y="128"/>
                  </a:lnTo>
                  <a:lnTo>
                    <a:pt x="6" y="165"/>
                  </a:lnTo>
                  <a:lnTo>
                    <a:pt x="61" y="110"/>
                  </a:lnTo>
                  <a:lnTo>
                    <a:pt x="140" y="91"/>
                  </a:lnTo>
                  <a:lnTo>
                    <a:pt x="122" y="67"/>
                  </a:lnTo>
                  <a:lnTo>
                    <a:pt x="91" y="12"/>
                  </a:lnTo>
                  <a:lnTo>
                    <a:pt x="85" y="12"/>
                  </a:lnTo>
                  <a:lnTo>
                    <a:pt x="85" y="6"/>
                  </a:lnTo>
                  <a:lnTo>
                    <a:pt x="85" y="12"/>
                  </a:lnTo>
                  <a:lnTo>
                    <a:pt x="79" y="12"/>
                  </a:lnTo>
                  <a:lnTo>
                    <a:pt x="85" y="12"/>
                  </a:lnTo>
                  <a:lnTo>
                    <a:pt x="79"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5" name="Freeform 262"/>
            <p:cNvSpPr>
              <a:spLocks/>
            </p:cNvSpPr>
            <p:nvPr/>
          </p:nvSpPr>
          <p:spPr bwMode="auto">
            <a:xfrm>
              <a:off x="4745245" y="5377246"/>
              <a:ext cx="494734" cy="384820"/>
            </a:xfrm>
            <a:custGeom>
              <a:avLst/>
              <a:gdLst>
                <a:gd name="T0" fmla="*/ 509071558 w 306"/>
                <a:gd name="T1" fmla="*/ 524191827 h 263"/>
                <a:gd name="T2" fmla="*/ 524192489 w 306"/>
                <a:gd name="T3" fmla="*/ 493950003 h 263"/>
                <a:gd name="T4" fmla="*/ 569555284 w 306"/>
                <a:gd name="T5" fmla="*/ 493950003 h 263"/>
                <a:gd name="T6" fmla="*/ 587195577 w 306"/>
                <a:gd name="T7" fmla="*/ 463708178 h 263"/>
                <a:gd name="T8" fmla="*/ 602316508 w 306"/>
                <a:gd name="T9" fmla="*/ 463708178 h 263"/>
                <a:gd name="T10" fmla="*/ 617437440 w 306"/>
                <a:gd name="T11" fmla="*/ 493950003 h 263"/>
                <a:gd name="T12" fmla="*/ 647680890 w 306"/>
                <a:gd name="T13" fmla="*/ 509070915 h 263"/>
                <a:gd name="T14" fmla="*/ 632558371 w 306"/>
                <a:gd name="T15" fmla="*/ 509070915 h 263"/>
                <a:gd name="T16" fmla="*/ 677922753 w 306"/>
                <a:gd name="T17" fmla="*/ 493950003 h 263"/>
                <a:gd name="T18" fmla="*/ 677922753 w 306"/>
                <a:gd name="T19" fmla="*/ 478829090 h 263"/>
                <a:gd name="T20" fmla="*/ 693043684 w 306"/>
                <a:gd name="T21" fmla="*/ 478829090 h 263"/>
                <a:gd name="T22" fmla="*/ 677922753 w 306"/>
                <a:gd name="T23" fmla="*/ 446066320 h 263"/>
                <a:gd name="T24" fmla="*/ 662801822 w 306"/>
                <a:gd name="T25" fmla="*/ 400703483 h 263"/>
                <a:gd name="T26" fmla="*/ 647680890 w 306"/>
                <a:gd name="T27" fmla="*/ 385582571 h 263"/>
                <a:gd name="T28" fmla="*/ 647680890 w 306"/>
                <a:gd name="T29" fmla="*/ 370461659 h 263"/>
                <a:gd name="T30" fmla="*/ 662801822 w 306"/>
                <a:gd name="T31" fmla="*/ 340219834 h 263"/>
                <a:gd name="T32" fmla="*/ 677922753 w 306"/>
                <a:gd name="T33" fmla="*/ 322579563 h 263"/>
                <a:gd name="T34" fmla="*/ 677922753 w 306"/>
                <a:gd name="T35" fmla="*/ 277216826 h 263"/>
                <a:gd name="T36" fmla="*/ 693043684 w 306"/>
                <a:gd name="T37" fmla="*/ 231854089 h 263"/>
                <a:gd name="T38" fmla="*/ 693043684 w 306"/>
                <a:gd name="T39" fmla="*/ 199091269 h 263"/>
                <a:gd name="T40" fmla="*/ 740925840 w 306"/>
                <a:gd name="T41" fmla="*/ 183970356 h 263"/>
                <a:gd name="T42" fmla="*/ 771167703 w 306"/>
                <a:gd name="T43" fmla="*/ 168849444 h 263"/>
                <a:gd name="T44" fmla="*/ 771167703 w 306"/>
                <a:gd name="T45" fmla="*/ 123486707 h 263"/>
                <a:gd name="T46" fmla="*/ 756046772 w 306"/>
                <a:gd name="T47" fmla="*/ 108365795 h 263"/>
                <a:gd name="T48" fmla="*/ 693043684 w 306"/>
                <a:gd name="T49" fmla="*/ 75604587 h 263"/>
                <a:gd name="T50" fmla="*/ 647680890 w 306"/>
                <a:gd name="T51" fmla="*/ 45362750 h 263"/>
                <a:gd name="T52" fmla="*/ 602316508 w 306"/>
                <a:gd name="T53" fmla="*/ 15120919 h 263"/>
                <a:gd name="T54" fmla="*/ 463708763 w 306"/>
                <a:gd name="T55" fmla="*/ 45362750 h 263"/>
                <a:gd name="T56" fmla="*/ 355342782 w 306"/>
                <a:gd name="T57" fmla="*/ 123486707 h 263"/>
                <a:gd name="T58" fmla="*/ 292338108 w 306"/>
                <a:gd name="T59" fmla="*/ 108365795 h 263"/>
                <a:gd name="T60" fmla="*/ 216733450 w 306"/>
                <a:gd name="T61" fmla="*/ 123486707 h 263"/>
                <a:gd name="T62" fmla="*/ 138607794 w 306"/>
                <a:gd name="T63" fmla="*/ 75604587 h 263"/>
                <a:gd name="T64" fmla="*/ 60483751 w 306"/>
                <a:gd name="T65" fmla="*/ 75604587 h 263"/>
                <a:gd name="T66" fmla="*/ 45362807 w 306"/>
                <a:gd name="T67" fmla="*/ 0 h 263"/>
                <a:gd name="T68" fmla="*/ 15120938 w 306"/>
                <a:gd name="T69" fmla="*/ 45362750 h 263"/>
                <a:gd name="T70" fmla="*/ 0 w 306"/>
                <a:gd name="T71" fmla="*/ 123486707 h 263"/>
                <a:gd name="T72" fmla="*/ 30241875 w 306"/>
                <a:gd name="T73" fmla="*/ 168849444 h 263"/>
                <a:gd name="T74" fmla="*/ 75604682 w 306"/>
                <a:gd name="T75" fmla="*/ 231854089 h 263"/>
                <a:gd name="T76" fmla="*/ 45362807 w 306"/>
                <a:gd name="T77" fmla="*/ 292337738 h 263"/>
                <a:gd name="T78" fmla="*/ 15120938 w 306"/>
                <a:gd name="T79" fmla="*/ 322579563 h 263"/>
                <a:gd name="T80" fmla="*/ 15120938 w 306"/>
                <a:gd name="T81" fmla="*/ 446066320 h 263"/>
                <a:gd name="T82" fmla="*/ 60483751 w 306"/>
                <a:gd name="T83" fmla="*/ 493950003 h 263"/>
                <a:gd name="T84" fmla="*/ 75604682 w 306"/>
                <a:gd name="T85" fmla="*/ 569554564 h 263"/>
                <a:gd name="T86" fmla="*/ 75604682 w 306"/>
                <a:gd name="T87" fmla="*/ 632557572 h 263"/>
                <a:gd name="T88" fmla="*/ 108365931 w 306"/>
                <a:gd name="T89" fmla="*/ 617436660 h 263"/>
                <a:gd name="T90" fmla="*/ 153728726 w 306"/>
                <a:gd name="T91" fmla="*/ 617436660 h 263"/>
                <a:gd name="T92" fmla="*/ 199091520 w 306"/>
                <a:gd name="T93" fmla="*/ 602315748 h 263"/>
                <a:gd name="T94" fmla="*/ 231854382 w 306"/>
                <a:gd name="T95" fmla="*/ 587194835 h 263"/>
                <a:gd name="T96" fmla="*/ 262096245 w 306"/>
                <a:gd name="T97" fmla="*/ 587194835 h 263"/>
                <a:gd name="T98" fmla="*/ 292338108 w 306"/>
                <a:gd name="T99" fmla="*/ 617436660 h 263"/>
                <a:gd name="T100" fmla="*/ 340221851 w 306"/>
                <a:gd name="T101" fmla="*/ 632557572 h 263"/>
                <a:gd name="T102" fmla="*/ 385584645 w 306"/>
                <a:gd name="T103" fmla="*/ 647678485 h 263"/>
                <a:gd name="T104" fmla="*/ 415824921 w 306"/>
                <a:gd name="T105" fmla="*/ 632557572 h 263"/>
                <a:gd name="T106" fmla="*/ 463708763 w 306"/>
                <a:gd name="T107" fmla="*/ 632557572 h 263"/>
                <a:gd name="T108" fmla="*/ 478829695 w 306"/>
                <a:gd name="T109" fmla="*/ 587194835 h 263"/>
                <a:gd name="T110" fmla="*/ 478829695 w 306"/>
                <a:gd name="T111" fmla="*/ 554433652 h 2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6"/>
                <a:gd name="T169" fmla="*/ 0 h 263"/>
                <a:gd name="T170" fmla="*/ 306 w 306"/>
                <a:gd name="T171" fmla="*/ 263 h 2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6" h="263">
                  <a:moveTo>
                    <a:pt x="196" y="214"/>
                  </a:moveTo>
                  <a:lnTo>
                    <a:pt x="196" y="208"/>
                  </a:lnTo>
                  <a:lnTo>
                    <a:pt x="202" y="208"/>
                  </a:lnTo>
                  <a:lnTo>
                    <a:pt x="208" y="202"/>
                  </a:lnTo>
                  <a:lnTo>
                    <a:pt x="202" y="202"/>
                  </a:lnTo>
                  <a:lnTo>
                    <a:pt x="208" y="196"/>
                  </a:lnTo>
                  <a:lnTo>
                    <a:pt x="214" y="196"/>
                  </a:lnTo>
                  <a:lnTo>
                    <a:pt x="220" y="196"/>
                  </a:lnTo>
                  <a:lnTo>
                    <a:pt x="226" y="196"/>
                  </a:lnTo>
                  <a:lnTo>
                    <a:pt x="226" y="190"/>
                  </a:lnTo>
                  <a:lnTo>
                    <a:pt x="226" y="184"/>
                  </a:lnTo>
                  <a:lnTo>
                    <a:pt x="233" y="184"/>
                  </a:lnTo>
                  <a:lnTo>
                    <a:pt x="233" y="190"/>
                  </a:lnTo>
                  <a:lnTo>
                    <a:pt x="239" y="190"/>
                  </a:lnTo>
                  <a:lnTo>
                    <a:pt x="239" y="184"/>
                  </a:lnTo>
                  <a:lnTo>
                    <a:pt x="245" y="184"/>
                  </a:lnTo>
                  <a:lnTo>
                    <a:pt x="245" y="190"/>
                  </a:lnTo>
                  <a:lnTo>
                    <a:pt x="245" y="196"/>
                  </a:lnTo>
                  <a:lnTo>
                    <a:pt x="251" y="196"/>
                  </a:lnTo>
                  <a:lnTo>
                    <a:pt x="251" y="202"/>
                  </a:lnTo>
                  <a:lnTo>
                    <a:pt x="257" y="202"/>
                  </a:lnTo>
                  <a:lnTo>
                    <a:pt x="251" y="202"/>
                  </a:lnTo>
                  <a:lnTo>
                    <a:pt x="257" y="202"/>
                  </a:lnTo>
                  <a:lnTo>
                    <a:pt x="251" y="202"/>
                  </a:lnTo>
                  <a:lnTo>
                    <a:pt x="257" y="196"/>
                  </a:lnTo>
                  <a:lnTo>
                    <a:pt x="263" y="196"/>
                  </a:lnTo>
                  <a:lnTo>
                    <a:pt x="269" y="196"/>
                  </a:lnTo>
                  <a:lnTo>
                    <a:pt x="263" y="196"/>
                  </a:lnTo>
                  <a:lnTo>
                    <a:pt x="269" y="196"/>
                  </a:lnTo>
                  <a:lnTo>
                    <a:pt x="269" y="190"/>
                  </a:lnTo>
                  <a:lnTo>
                    <a:pt x="269" y="196"/>
                  </a:lnTo>
                  <a:lnTo>
                    <a:pt x="275" y="196"/>
                  </a:lnTo>
                  <a:lnTo>
                    <a:pt x="275" y="190"/>
                  </a:lnTo>
                  <a:lnTo>
                    <a:pt x="275" y="184"/>
                  </a:lnTo>
                  <a:lnTo>
                    <a:pt x="269" y="184"/>
                  </a:lnTo>
                  <a:lnTo>
                    <a:pt x="269" y="177"/>
                  </a:lnTo>
                  <a:lnTo>
                    <a:pt x="263" y="171"/>
                  </a:lnTo>
                  <a:lnTo>
                    <a:pt x="263" y="165"/>
                  </a:lnTo>
                  <a:lnTo>
                    <a:pt x="263" y="159"/>
                  </a:lnTo>
                  <a:lnTo>
                    <a:pt x="263" y="153"/>
                  </a:lnTo>
                  <a:lnTo>
                    <a:pt x="257" y="159"/>
                  </a:lnTo>
                  <a:lnTo>
                    <a:pt x="257" y="153"/>
                  </a:lnTo>
                  <a:lnTo>
                    <a:pt x="251" y="153"/>
                  </a:lnTo>
                  <a:lnTo>
                    <a:pt x="251" y="147"/>
                  </a:lnTo>
                  <a:lnTo>
                    <a:pt x="257" y="147"/>
                  </a:lnTo>
                  <a:lnTo>
                    <a:pt x="257" y="141"/>
                  </a:lnTo>
                  <a:lnTo>
                    <a:pt x="257" y="135"/>
                  </a:lnTo>
                  <a:lnTo>
                    <a:pt x="263" y="135"/>
                  </a:lnTo>
                  <a:lnTo>
                    <a:pt x="263" y="128"/>
                  </a:lnTo>
                  <a:lnTo>
                    <a:pt x="269" y="135"/>
                  </a:lnTo>
                  <a:lnTo>
                    <a:pt x="269" y="128"/>
                  </a:lnTo>
                  <a:lnTo>
                    <a:pt x="269" y="122"/>
                  </a:lnTo>
                  <a:lnTo>
                    <a:pt x="269" y="116"/>
                  </a:lnTo>
                  <a:lnTo>
                    <a:pt x="269" y="110"/>
                  </a:lnTo>
                  <a:lnTo>
                    <a:pt x="269" y="104"/>
                  </a:lnTo>
                  <a:lnTo>
                    <a:pt x="269" y="98"/>
                  </a:lnTo>
                  <a:lnTo>
                    <a:pt x="275" y="92"/>
                  </a:lnTo>
                  <a:lnTo>
                    <a:pt x="269" y="92"/>
                  </a:lnTo>
                  <a:lnTo>
                    <a:pt x="275" y="86"/>
                  </a:lnTo>
                  <a:lnTo>
                    <a:pt x="275" y="79"/>
                  </a:lnTo>
                  <a:lnTo>
                    <a:pt x="282" y="73"/>
                  </a:lnTo>
                  <a:lnTo>
                    <a:pt x="288" y="73"/>
                  </a:lnTo>
                  <a:lnTo>
                    <a:pt x="294" y="73"/>
                  </a:lnTo>
                  <a:lnTo>
                    <a:pt x="300" y="73"/>
                  </a:lnTo>
                  <a:lnTo>
                    <a:pt x="300" y="67"/>
                  </a:lnTo>
                  <a:lnTo>
                    <a:pt x="306" y="67"/>
                  </a:lnTo>
                  <a:lnTo>
                    <a:pt x="306" y="61"/>
                  </a:lnTo>
                  <a:lnTo>
                    <a:pt x="300" y="55"/>
                  </a:lnTo>
                  <a:lnTo>
                    <a:pt x="306" y="49"/>
                  </a:lnTo>
                  <a:lnTo>
                    <a:pt x="300" y="49"/>
                  </a:lnTo>
                  <a:lnTo>
                    <a:pt x="306" y="43"/>
                  </a:lnTo>
                  <a:lnTo>
                    <a:pt x="300" y="43"/>
                  </a:lnTo>
                  <a:lnTo>
                    <a:pt x="306" y="43"/>
                  </a:lnTo>
                  <a:lnTo>
                    <a:pt x="288" y="43"/>
                  </a:lnTo>
                  <a:lnTo>
                    <a:pt x="275" y="30"/>
                  </a:lnTo>
                  <a:lnTo>
                    <a:pt x="269" y="18"/>
                  </a:lnTo>
                  <a:lnTo>
                    <a:pt x="263" y="24"/>
                  </a:lnTo>
                  <a:lnTo>
                    <a:pt x="257" y="18"/>
                  </a:lnTo>
                  <a:lnTo>
                    <a:pt x="245" y="18"/>
                  </a:lnTo>
                  <a:lnTo>
                    <a:pt x="239" y="12"/>
                  </a:lnTo>
                  <a:lnTo>
                    <a:pt x="239" y="6"/>
                  </a:lnTo>
                  <a:lnTo>
                    <a:pt x="220" y="6"/>
                  </a:lnTo>
                  <a:lnTo>
                    <a:pt x="214" y="12"/>
                  </a:lnTo>
                  <a:lnTo>
                    <a:pt x="184" y="18"/>
                  </a:lnTo>
                  <a:lnTo>
                    <a:pt x="165" y="43"/>
                  </a:lnTo>
                  <a:lnTo>
                    <a:pt x="147" y="55"/>
                  </a:lnTo>
                  <a:lnTo>
                    <a:pt x="141" y="49"/>
                  </a:lnTo>
                  <a:lnTo>
                    <a:pt x="135" y="49"/>
                  </a:lnTo>
                  <a:lnTo>
                    <a:pt x="128" y="43"/>
                  </a:lnTo>
                  <a:lnTo>
                    <a:pt x="116" y="43"/>
                  </a:lnTo>
                  <a:lnTo>
                    <a:pt x="104" y="43"/>
                  </a:lnTo>
                  <a:lnTo>
                    <a:pt x="98" y="49"/>
                  </a:lnTo>
                  <a:lnTo>
                    <a:pt x="86" y="49"/>
                  </a:lnTo>
                  <a:lnTo>
                    <a:pt x="67" y="37"/>
                  </a:lnTo>
                  <a:lnTo>
                    <a:pt x="61" y="37"/>
                  </a:lnTo>
                  <a:lnTo>
                    <a:pt x="55" y="30"/>
                  </a:lnTo>
                  <a:lnTo>
                    <a:pt x="30" y="37"/>
                  </a:lnTo>
                  <a:lnTo>
                    <a:pt x="24" y="37"/>
                  </a:lnTo>
                  <a:lnTo>
                    <a:pt x="24" y="30"/>
                  </a:lnTo>
                  <a:lnTo>
                    <a:pt x="24" y="18"/>
                  </a:lnTo>
                  <a:lnTo>
                    <a:pt x="30" y="12"/>
                  </a:lnTo>
                  <a:lnTo>
                    <a:pt x="18" y="0"/>
                  </a:lnTo>
                  <a:lnTo>
                    <a:pt x="12" y="6"/>
                  </a:lnTo>
                  <a:lnTo>
                    <a:pt x="12" y="12"/>
                  </a:lnTo>
                  <a:lnTo>
                    <a:pt x="6" y="18"/>
                  </a:lnTo>
                  <a:lnTo>
                    <a:pt x="0" y="18"/>
                  </a:lnTo>
                  <a:lnTo>
                    <a:pt x="0" y="37"/>
                  </a:lnTo>
                  <a:lnTo>
                    <a:pt x="0" y="49"/>
                  </a:lnTo>
                  <a:lnTo>
                    <a:pt x="6" y="49"/>
                  </a:lnTo>
                  <a:lnTo>
                    <a:pt x="6" y="67"/>
                  </a:lnTo>
                  <a:lnTo>
                    <a:pt x="12" y="67"/>
                  </a:lnTo>
                  <a:lnTo>
                    <a:pt x="18" y="73"/>
                  </a:lnTo>
                  <a:lnTo>
                    <a:pt x="24" y="86"/>
                  </a:lnTo>
                  <a:lnTo>
                    <a:pt x="30" y="92"/>
                  </a:lnTo>
                  <a:lnTo>
                    <a:pt x="30" y="98"/>
                  </a:lnTo>
                  <a:lnTo>
                    <a:pt x="18" y="110"/>
                  </a:lnTo>
                  <a:lnTo>
                    <a:pt x="18" y="116"/>
                  </a:lnTo>
                  <a:lnTo>
                    <a:pt x="12" y="116"/>
                  </a:lnTo>
                  <a:lnTo>
                    <a:pt x="6" y="122"/>
                  </a:lnTo>
                  <a:lnTo>
                    <a:pt x="6" y="128"/>
                  </a:lnTo>
                  <a:lnTo>
                    <a:pt x="6" y="165"/>
                  </a:lnTo>
                  <a:lnTo>
                    <a:pt x="0" y="165"/>
                  </a:lnTo>
                  <a:lnTo>
                    <a:pt x="6" y="177"/>
                  </a:lnTo>
                  <a:lnTo>
                    <a:pt x="18" y="190"/>
                  </a:lnTo>
                  <a:lnTo>
                    <a:pt x="24" y="190"/>
                  </a:lnTo>
                  <a:lnTo>
                    <a:pt x="24" y="196"/>
                  </a:lnTo>
                  <a:lnTo>
                    <a:pt x="30" y="214"/>
                  </a:lnTo>
                  <a:lnTo>
                    <a:pt x="30" y="220"/>
                  </a:lnTo>
                  <a:lnTo>
                    <a:pt x="30" y="226"/>
                  </a:lnTo>
                  <a:lnTo>
                    <a:pt x="30" y="239"/>
                  </a:lnTo>
                  <a:lnTo>
                    <a:pt x="30" y="245"/>
                  </a:lnTo>
                  <a:lnTo>
                    <a:pt x="30" y="251"/>
                  </a:lnTo>
                  <a:lnTo>
                    <a:pt x="36" y="251"/>
                  </a:lnTo>
                  <a:lnTo>
                    <a:pt x="43" y="251"/>
                  </a:lnTo>
                  <a:lnTo>
                    <a:pt x="43" y="245"/>
                  </a:lnTo>
                  <a:lnTo>
                    <a:pt x="49" y="245"/>
                  </a:lnTo>
                  <a:lnTo>
                    <a:pt x="55" y="245"/>
                  </a:lnTo>
                  <a:lnTo>
                    <a:pt x="61" y="245"/>
                  </a:lnTo>
                  <a:lnTo>
                    <a:pt x="67" y="245"/>
                  </a:lnTo>
                  <a:lnTo>
                    <a:pt x="73" y="239"/>
                  </a:lnTo>
                  <a:lnTo>
                    <a:pt x="79" y="239"/>
                  </a:lnTo>
                  <a:lnTo>
                    <a:pt x="86" y="239"/>
                  </a:lnTo>
                  <a:lnTo>
                    <a:pt x="86" y="233"/>
                  </a:lnTo>
                  <a:lnTo>
                    <a:pt x="92" y="233"/>
                  </a:lnTo>
                  <a:lnTo>
                    <a:pt x="98" y="239"/>
                  </a:lnTo>
                  <a:lnTo>
                    <a:pt x="98" y="233"/>
                  </a:lnTo>
                  <a:lnTo>
                    <a:pt x="104" y="233"/>
                  </a:lnTo>
                  <a:lnTo>
                    <a:pt x="110" y="233"/>
                  </a:lnTo>
                  <a:lnTo>
                    <a:pt x="110" y="245"/>
                  </a:lnTo>
                  <a:lnTo>
                    <a:pt x="116" y="245"/>
                  </a:lnTo>
                  <a:lnTo>
                    <a:pt x="122" y="251"/>
                  </a:lnTo>
                  <a:lnTo>
                    <a:pt x="122" y="245"/>
                  </a:lnTo>
                  <a:lnTo>
                    <a:pt x="135" y="251"/>
                  </a:lnTo>
                  <a:lnTo>
                    <a:pt x="141" y="257"/>
                  </a:lnTo>
                  <a:lnTo>
                    <a:pt x="147" y="263"/>
                  </a:lnTo>
                  <a:lnTo>
                    <a:pt x="153" y="257"/>
                  </a:lnTo>
                  <a:lnTo>
                    <a:pt x="159" y="257"/>
                  </a:lnTo>
                  <a:lnTo>
                    <a:pt x="165" y="257"/>
                  </a:lnTo>
                  <a:lnTo>
                    <a:pt x="165" y="251"/>
                  </a:lnTo>
                  <a:lnTo>
                    <a:pt x="171" y="251"/>
                  </a:lnTo>
                  <a:lnTo>
                    <a:pt x="177" y="251"/>
                  </a:lnTo>
                  <a:lnTo>
                    <a:pt x="184" y="251"/>
                  </a:lnTo>
                  <a:lnTo>
                    <a:pt x="190" y="245"/>
                  </a:lnTo>
                  <a:lnTo>
                    <a:pt x="184" y="239"/>
                  </a:lnTo>
                  <a:lnTo>
                    <a:pt x="190" y="233"/>
                  </a:lnTo>
                  <a:lnTo>
                    <a:pt x="184" y="233"/>
                  </a:lnTo>
                  <a:lnTo>
                    <a:pt x="184" y="220"/>
                  </a:lnTo>
                  <a:lnTo>
                    <a:pt x="190" y="220"/>
                  </a:lnTo>
                  <a:lnTo>
                    <a:pt x="196" y="21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6" name="Freeform 263"/>
            <p:cNvSpPr>
              <a:spLocks/>
            </p:cNvSpPr>
            <p:nvPr/>
          </p:nvSpPr>
          <p:spPr bwMode="auto">
            <a:xfrm>
              <a:off x="4507577" y="5574777"/>
              <a:ext cx="137427" cy="384821"/>
            </a:xfrm>
            <a:custGeom>
              <a:avLst/>
              <a:gdLst>
                <a:gd name="T0" fmla="*/ 199093853 w 85"/>
                <a:gd name="T1" fmla="*/ 385585082 h 263"/>
                <a:gd name="T2" fmla="*/ 168851877 w 85"/>
                <a:gd name="T3" fmla="*/ 385585082 h 263"/>
                <a:gd name="T4" fmla="*/ 153730889 w 85"/>
                <a:gd name="T5" fmla="*/ 337701284 h 263"/>
                <a:gd name="T6" fmla="*/ 153730889 w 85"/>
                <a:gd name="T7" fmla="*/ 277217490 h 263"/>
                <a:gd name="T8" fmla="*/ 153730889 w 85"/>
                <a:gd name="T9" fmla="*/ 229335280 h 263"/>
                <a:gd name="T10" fmla="*/ 153730889 w 85"/>
                <a:gd name="T11" fmla="*/ 199093333 h 263"/>
                <a:gd name="T12" fmla="*/ 153730889 w 85"/>
                <a:gd name="T13" fmla="*/ 153730487 h 263"/>
                <a:gd name="T14" fmla="*/ 138609901 w 85"/>
                <a:gd name="T15" fmla="*/ 90725716 h 263"/>
                <a:gd name="T16" fmla="*/ 108367925 w 85"/>
                <a:gd name="T17" fmla="*/ 75604768 h 263"/>
                <a:gd name="T18" fmla="*/ 90725953 w 85"/>
                <a:gd name="T19" fmla="*/ 30241910 h 263"/>
                <a:gd name="T20" fmla="*/ 60483977 w 85"/>
                <a:gd name="T21" fmla="*/ 45362858 h 263"/>
                <a:gd name="T22" fmla="*/ 45362977 w 85"/>
                <a:gd name="T23" fmla="*/ 15120955 h 263"/>
                <a:gd name="T24" fmla="*/ 15120994 w 85"/>
                <a:gd name="T25" fmla="*/ 60483819 h 263"/>
                <a:gd name="T26" fmla="*/ 0 w 85"/>
                <a:gd name="T27" fmla="*/ 105846690 h 263"/>
                <a:gd name="T28" fmla="*/ 0 w 85"/>
                <a:gd name="T29" fmla="*/ 153730487 h 263"/>
                <a:gd name="T30" fmla="*/ 0 w 85"/>
                <a:gd name="T31" fmla="*/ 183972385 h 263"/>
                <a:gd name="T32" fmla="*/ 30241989 w 85"/>
                <a:gd name="T33" fmla="*/ 183972385 h 263"/>
                <a:gd name="T34" fmla="*/ 30241989 w 85"/>
                <a:gd name="T35" fmla="*/ 214214331 h 263"/>
                <a:gd name="T36" fmla="*/ 30241989 w 85"/>
                <a:gd name="T37" fmla="*/ 246975593 h 263"/>
                <a:gd name="T38" fmla="*/ 15120994 w 85"/>
                <a:gd name="T39" fmla="*/ 229335280 h 263"/>
                <a:gd name="T40" fmla="*/ 15120994 w 85"/>
                <a:gd name="T41" fmla="*/ 262096541 h 263"/>
                <a:gd name="T42" fmla="*/ 0 w 85"/>
                <a:gd name="T43" fmla="*/ 277217490 h 263"/>
                <a:gd name="T44" fmla="*/ 15120994 w 85"/>
                <a:gd name="T45" fmla="*/ 292338439 h 263"/>
                <a:gd name="T46" fmla="*/ 15120994 w 85"/>
                <a:gd name="T47" fmla="*/ 322580336 h 263"/>
                <a:gd name="T48" fmla="*/ 15120994 w 85"/>
                <a:gd name="T49" fmla="*/ 352822233 h 263"/>
                <a:gd name="T50" fmla="*/ 15120994 w 85"/>
                <a:gd name="T51" fmla="*/ 385585082 h 263"/>
                <a:gd name="T52" fmla="*/ 15120994 w 85"/>
                <a:gd name="T53" fmla="*/ 385585082 h 263"/>
                <a:gd name="T54" fmla="*/ 15120994 w 85"/>
                <a:gd name="T55" fmla="*/ 385585082 h 263"/>
                <a:gd name="T56" fmla="*/ 15120994 w 85"/>
                <a:gd name="T57" fmla="*/ 385585082 h 263"/>
                <a:gd name="T58" fmla="*/ 0 w 85"/>
                <a:gd name="T59" fmla="*/ 400706031 h 263"/>
                <a:gd name="T60" fmla="*/ 0 w 85"/>
                <a:gd name="T61" fmla="*/ 430948027 h 263"/>
                <a:gd name="T62" fmla="*/ 0 w 85"/>
                <a:gd name="T63" fmla="*/ 461189924 h 263"/>
                <a:gd name="T64" fmla="*/ 15120994 w 85"/>
                <a:gd name="T65" fmla="*/ 476310873 h 263"/>
                <a:gd name="T66" fmla="*/ 15120994 w 85"/>
                <a:gd name="T67" fmla="*/ 476310873 h 263"/>
                <a:gd name="T68" fmla="*/ 15120994 w 85"/>
                <a:gd name="T69" fmla="*/ 476310873 h 263"/>
                <a:gd name="T70" fmla="*/ 15120994 w 85"/>
                <a:gd name="T71" fmla="*/ 509072134 h 263"/>
                <a:gd name="T72" fmla="*/ 0 w 85"/>
                <a:gd name="T73" fmla="*/ 509072134 h 263"/>
                <a:gd name="T74" fmla="*/ 15120994 w 85"/>
                <a:gd name="T75" fmla="*/ 524193083 h 263"/>
                <a:gd name="T76" fmla="*/ 30241989 w 85"/>
                <a:gd name="T77" fmla="*/ 554434980 h 263"/>
                <a:gd name="T78" fmla="*/ 45362977 w 85"/>
                <a:gd name="T79" fmla="*/ 569555929 h 263"/>
                <a:gd name="T80" fmla="*/ 60483977 w 85"/>
                <a:gd name="T81" fmla="*/ 584676877 h 263"/>
                <a:gd name="T82" fmla="*/ 60483977 w 85"/>
                <a:gd name="T83" fmla="*/ 599797826 h 263"/>
                <a:gd name="T84" fmla="*/ 75604965 w 85"/>
                <a:gd name="T85" fmla="*/ 632560675 h 263"/>
                <a:gd name="T86" fmla="*/ 90725953 w 85"/>
                <a:gd name="T87" fmla="*/ 647681623 h 263"/>
                <a:gd name="T88" fmla="*/ 123488913 w 85"/>
                <a:gd name="T89" fmla="*/ 647681623 h 263"/>
                <a:gd name="T90" fmla="*/ 123488913 w 85"/>
                <a:gd name="T91" fmla="*/ 617439726 h 263"/>
                <a:gd name="T92" fmla="*/ 123488913 w 85"/>
                <a:gd name="T93" fmla="*/ 599797826 h 263"/>
                <a:gd name="T94" fmla="*/ 138609901 w 85"/>
                <a:gd name="T95" fmla="*/ 569555929 h 263"/>
                <a:gd name="T96" fmla="*/ 168851877 w 85"/>
                <a:gd name="T97" fmla="*/ 554434980 h 263"/>
                <a:gd name="T98" fmla="*/ 168851877 w 85"/>
                <a:gd name="T99" fmla="*/ 524193083 h 263"/>
                <a:gd name="T100" fmla="*/ 168851877 w 85"/>
                <a:gd name="T101" fmla="*/ 493951186 h 263"/>
                <a:gd name="T102" fmla="*/ 199093853 w 85"/>
                <a:gd name="T103" fmla="*/ 476310873 h 263"/>
                <a:gd name="T104" fmla="*/ 199093853 w 85"/>
                <a:gd name="T105" fmla="*/ 461189924 h 263"/>
                <a:gd name="T106" fmla="*/ 199093853 w 85"/>
                <a:gd name="T107" fmla="*/ 446068976 h 263"/>
                <a:gd name="T108" fmla="*/ 199093853 w 85"/>
                <a:gd name="T109" fmla="*/ 415826979 h 2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5"/>
                <a:gd name="T166" fmla="*/ 0 h 263"/>
                <a:gd name="T167" fmla="*/ 85 w 85"/>
                <a:gd name="T168" fmla="*/ 263 h 2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5" h="263">
                  <a:moveTo>
                    <a:pt x="79" y="159"/>
                  </a:moveTo>
                  <a:lnTo>
                    <a:pt x="79" y="153"/>
                  </a:lnTo>
                  <a:lnTo>
                    <a:pt x="73" y="153"/>
                  </a:lnTo>
                  <a:lnTo>
                    <a:pt x="67" y="153"/>
                  </a:lnTo>
                  <a:lnTo>
                    <a:pt x="67" y="134"/>
                  </a:lnTo>
                  <a:lnTo>
                    <a:pt x="61" y="134"/>
                  </a:lnTo>
                  <a:lnTo>
                    <a:pt x="55" y="116"/>
                  </a:lnTo>
                  <a:lnTo>
                    <a:pt x="61" y="110"/>
                  </a:lnTo>
                  <a:lnTo>
                    <a:pt x="55" y="98"/>
                  </a:lnTo>
                  <a:lnTo>
                    <a:pt x="61" y="91"/>
                  </a:lnTo>
                  <a:lnTo>
                    <a:pt x="55" y="79"/>
                  </a:lnTo>
                  <a:lnTo>
                    <a:pt x="61" y="79"/>
                  </a:lnTo>
                  <a:lnTo>
                    <a:pt x="61" y="67"/>
                  </a:lnTo>
                  <a:lnTo>
                    <a:pt x="61" y="61"/>
                  </a:lnTo>
                  <a:lnTo>
                    <a:pt x="55" y="42"/>
                  </a:lnTo>
                  <a:lnTo>
                    <a:pt x="55" y="36"/>
                  </a:lnTo>
                  <a:lnTo>
                    <a:pt x="49" y="30"/>
                  </a:lnTo>
                  <a:lnTo>
                    <a:pt x="43" y="30"/>
                  </a:lnTo>
                  <a:lnTo>
                    <a:pt x="43" y="12"/>
                  </a:lnTo>
                  <a:lnTo>
                    <a:pt x="36" y="12"/>
                  </a:lnTo>
                  <a:lnTo>
                    <a:pt x="30" y="12"/>
                  </a:lnTo>
                  <a:lnTo>
                    <a:pt x="24" y="18"/>
                  </a:lnTo>
                  <a:lnTo>
                    <a:pt x="18" y="0"/>
                  </a:lnTo>
                  <a:lnTo>
                    <a:pt x="18" y="6"/>
                  </a:lnTo>
                  <a:lnTo>
                    <a:pt x="12" y="12"/>
                  </a:lnTo>
                  <a:lnTo>
                    <a:pt x="6" y="24"/>
                  </a:lnTo>
                  <a:lnTo>
                    <a:pt x="6" y="30"/>
                  </a:lnTo>
                  <a:lnTo>
                    <a:pt x="0" y="42"/>
                  </a:lnTo>
                  <a:lnTo>
                    <a:pt x="0" y="49"/>
                  </a:lnTo>
                  <a:lnTo>
                    <a:pt x="0" y="61"/>
                  </a:lnTo>
                  <a:lnTo>
                    <a:pt x="0" y="67"/>
                  </a:lnTo>
                  <a:lnTo>
                    <a:pt x="0" y="73"/>
                  </a:lnTo>
                  <a:lnTo>
                    <a:pt x="6" y="73"/>
                  </a:lnTo>
                  <a:lnTo>
                    <a:pt x="12" y="73"/>
                  </a:lnTo>
                  <a:lnTo>
                    <a:pt x="12" y="79"/>
                  </a:lnTo>
                  <a:lnTo>
                    <a:pt x="12" y="85"/>
                  </a:lnTo>
                  <a:lnTo>
                    <a:pt x="12" y="91"/>
                  </a:lnTo>
                  <a:lnTo>
                    <a:pt x="12" y="98"/>
                  </a:lnTo>
                  <a:lnTo>
                    <a:pt x="6" y="98"/>
                  </a:lnTo>
                  <a:lnTo>
                    <a:pt x="6" y="91"/>
                  </a:lnTo>
                  <a:lnTo>
                    <a:pt x="6" y="98"/>
                  </a:lnTo>
                  <a:lnTo>
                    <a:pt x="6" y="104"/>
                  </a:lnTo>
                  <a:lnTo>
                    <a:pt x="6" y="110"/>
                  </a:lnTo>
                  <a:lnTo>
                    <a:pt x="0" y="110"/>
                  </a:lnTo>
                  <a:lnTo>
                    <a:pt x="6" y="110"/>
                  </a:lnTo>
                  <a:lnTo>
                    <a:pt x="6" y="116"/>
                  </a:lnTo>
                  <a:lnTo>
                    <a:pt x="6" y="122"/>
                  </a:lnTo>
                  <a:lnTo>
                    <a:pt x="6" y="128"/>
                  </a:lnTo>
                  <a:lnTo>
                    <a:pt x="6" y="134"/>
                  </a:lnTo>
                  <a:lnTo>
                    <a:pt x="6" y="140"/>
                  </a:lnTo>
                  <a:lnTo>
                    <a:pt x="6" y="147"/>
                  </a:lnTo>
                  <a:lnTo>
                    <a:pt x="6" y="153"/>
                  </a:lnTo>
                  <a:lnTo>
                    <a:pt x="6" y="147"/>
                  </a:lnTo>
                  <a:lnTo>
                    <a:pt x="6" y="153"/>
                  </a:lnTo>
                  <a:lnTo>
                    <a:pt x="6" y="147"/>
                  </a:lnTo>
                  <a:lnTo>
                    <a:pt x="6" y="153"/>
                  </a:lnTo>
                  <a:lnTo>
                    <a:pt x="0" y="153"/>
                  </a:lnTo>
                  <a:lnTo>
                    <a:pt x="6" y="153"/>
                  </a:lnTo>
                  <a:lnTo>
                    <a:pt x="6" y="159"/>
                  </a:lnTo>
                  <a:lnTo>
                    <a:pt x="0" y="159"/>
                  </a:lnTo>
                  <a:lnTo>
                    <a:pt x="0" y="165"/>
                  </a:lnTo>
                  <a:lnTo>
                    <a:pt x="0" y="171"/>
                  </a:lnTo>
                  <a:lnTo>
                    <a:pt x="0" y="177"/>
                  </a:lnTo>
                  <a:lnTo>
                    <a:pt x="0" y="183"/>
                  </a:lnTo>
                  <a:lnTo>
                    <a:pt x="6" y="183"/>
                  </a:lnTo>
                  <a:lnTo>
                    <a:pt x="6" y="189"/>
                  </a:lnTo>
                  <a:lnTo>
                    <a:pt x="6" y="183"/>
                  </a:lnTo>
                  <a:lnTo>
                    <a:pt x="6" y="189"/>
                  </a:lnTo>
                  <a:lnTo>
                    <a:pt x="0" y="183"/>
                  </a:lnTo>
                  <a:lnTo>
                    <a:pt x="6" y="189"/>
                  </a:lnTo>
                  <a:lnTo>
                    <a:pt x="6" y="196"/>
                  </a:lnTo>
                  <a:lnTo>
                    <a:pt x="6" y="202"/>
                  </a:lnTo>
                  <a:lnTo>
                    <a:pt x="0" y="196"/>
                  </a:lnTo>
                  <a:lnTo>
                    <a:pt x="0" y="202"/>
                  </a:lnTo>
                  <a:lnTo>
                    <a:pt x="0" y="208"/>
                  </a:lnTo>
                  <a:lnTo>
                    <a:pt x="6" y="208"/>
                  </a:lnTo>
                  <a:lnTo>
                    <a:pt x="6" y="214"/>
                  </a:lnTo>
                  <a:lnTo>
                    <a:pt x="12" y="220"/>
                  </a:lnTo>
                  <a:lnTo>
                    <a:pt x="18" y="220"/>
                  </a:lnTo>
                  <a:lnTo>
                    <a:pt x="18" y="226"/>
                  </a:lnTo>
                  <a:lnTo>
                    <a:pt x="24" y="226"/>
                  </a:lnTo>
                  <a:lnTo>
                    <a:pt x="24" y="232"/>
                  </a:lnTo>
                  <a:lnTo>
                    <a:pt x="30" y="238"/>
                  </a:lnTo>
                  <a:lnTo>
                    <a:pt x="24" y="238"/>
                  </a:lnTo>
                  <a:lnTo>
                    <a:pt x="30" y="245"/>
                  </a:lnTo>
                  <a:lnTo>
                    <a:pt x="30" y="251"/>
                  </a:lnTo>
                  <a:lnTo>
                    <a:pt x="30" y="257"/>
                  </a:lnTo>
                  <a:lnTo>
                    <a:pt x="36" y="257"/>
                  </a:lnTo>
                  <a:lnTo>
                    <a:pt x="43" y="263"/>
                  </a:lnTo>
                  <a:lnTo>
                    <a:pt x="49" y="257"/>
                  </a:lnTo>
                  <a:lnTo>
                    <a:pt x="49" y="251"/>
                  </a:lnTo>
                  <a:lnTo>
                    <a:pt x="49" y="245"/>
                  </a:lnTo>
                  <a:lnTo>
                    <a:pt x="55" y="245"/>
                  </a:lnTo>
                  <a:lnTo>
                    <a:pt x="49" y="238"/>
                  </a:lnTo>
                  <a:lnTo>
                    <a:pt x="49" y="232"/>
                  </a:lnTo>
                  <a:lnTo>
                    <a:pt x="55" y="226"/>
                  </a:lnTo>
                  <a:lnTo>
                    <a:pt x="61" y="226"/>
                  </a:lnTo>
                  <a:lnTo>
                    <a:pt x="67" y="220"/>
                  </a:lnTo>
                  <a:lnTo>
                    <a:pt x="67" y="214"/>
                  </a:lnTo>
                  <a:lnTo>
                    <a:pt x="67" y="208"/>
                  </a:lnTo>
                  <a:lnTo>
                    <a:pt x="67" y="202"/>
                  </a:lnTo>
                  <a:lnTo>
                    <a:pt x="67" y="196"/>
                  </a:lnTo>
                  <a:lnTo>
                    <a:pt x="73" y="189"/>
                  </a:lnTo>
                  <a:lnTo>
                    <a:pt x="79" y="189"/>
                  </a:lnTo>
                  <a:lnTo>
                    <a:pt x="85" y="189"/>
                  </a:lnTo>
                  <a:lnTo>
                    <a:pt x="79" y="183"/>
                  </a:lnTo>
                  <a:lnTo>
                    <a:pt x="85" y="177"/>
                  </a:lnTo>
                  <a:lnTo>
                    <a:pt x="79" y="177"/>
                  </a:lnTo>
                  <a:lnTo>
                    <a:pt x="85" y="171"/>
                  </a:lnTo>
                  <a:lnTo>
                    <a:pt x="79" y="165"/>
                  </a:lnTo>
                  <a:lnTo>
                    <a:pt x="79" y="15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7" name="Freeform 264"/>
            <p:cNvSpPr>
              <a:spLocks/>
            </p:cNvSpPr>
            <p:nvPr/>
          </p:nvSpPr>
          <p:spPr bwMode="auto">
            <a:xfrm>
              <a:off x="4219791" y="5242632"/>
              <a:ext cx="307188" cy="349703"/>
            </a:xfrm>
            <a:custGeom>
              <a:avLst/>
              <a:gdLst>
                <a:gd name="T0" fmla="*/ 15120939 w 190"/>
                <a:gd name="T1" fmla="*/ 30241840 h 239"/>
                <a:gd name="T2" fmla="*/ 60483755 w 190"/>
                <a:gd name="T3" fmla="*/ 45362754 h 239"/>
                <a:gd name="T4" fmla="*/ 93246570 w 190"/>
                <a:gd name="T5" fmla="*/ 15120920 h 239"/>
                <a:gd name="T6" fmla="*/ 138607805 w 190"/>
                <a:gd name="T7" fmla="*/ 30241840 h 239"/>
                <a:gd name="T8" fmla="*/ 153728738 w 190"/>
                <a:gd name="T9" fmla="*/ 0 h 239"/>
                <a:gd name="T10" fmla="*/ 186491552 w 190"/>
                <a:gd name="T11" fmla="*/ 30241840 h 239"/>
                <a:gd name="T12" fmla="*/ 216733467 w 190"/>
                <a:gd name="T13" fmla="*/ 30241840 h 239"/>
                <a:gd name="T14" fmla="*/ 231854400 w 190"/>
                <a:gd name="T15" fmla="*/ 45362754 h 239"/>
                <a:gd name="T16" fmla="*/ 262096265 w 190"/>
                <a:gd name="T17" fmla="*/ 45362754 h 239"/>
                <a:gd name="T18" fmla="*/ 277217198 w 190"/>
                <a:gd name="T19" fmla="*/ 30241840 h 239"/>
                <a:gd name="T20" fmla="*/ 292338130 w 190"/>
                <a:gd name="T21" fmla="*/ 45362754 h 239"/>
                <a:gd name="T22" fmla="*/ 309978425 w 190"/>
                <a:gd name="T23" fmla="*/ 30241840 h 239"/>
                <a:gd name="T24" fmla="*/ 340221877 w 190"/>
                <a:gd name="T25" fmla="*/ 45362754 h 239"/>
                <a:gd name="T26" fmla="*/ 340221877 w 190"/>
                <a:gd name="T27" fmla="*/ 45362754 h 239"/>
                <a:gd name="T28" fmla="*/ 370463743 w 190"/>
                <a:gd name="T29" fmla="*/ 60483680 h 239"/>
                <a:gd name="T30" fmla="*/ 385584675 w 190"/>
                <a:gd name="T31" fmla="*/ 93244866 h 239"/>
                <a:gd name="T32" fmla="*/ 433466934 w 190"/>
                <a:gd name="T33" fmla="*/ 78123952 h 239"/>
                <a:gd name="T34" fmla="*/ 448587867 w 190"/>
                <a:gd name="T35" fmla="*/ 93244866 h 239"/>
                <a:gd name="T36" fmla="*/ 433466934 w 190"/>
                <a:gd name="T37" fmla="*/ 153728545 h 239"/>
                <a:gd name="T38" fmla="*/ 415826541 w 190"/>
                <a:gd name="T39" fmla="*/ 168849459 h 239"/>
                <a:gd name="T40" fmla="*/ 415826541 w 190"/>
                <a:gd name="T41" fmla="*/ 201612232 h 239"/>
                <a:gd name="T42" fmla="*/ 448587867 w 190"/>
                <a:gd name="T43" fmla="*/ 231854109 h 239"/>
                <a:gd name="T44" fmla="*/ 463708799 w 190"/>
                <a:gd name="T45" fmla="*/ 246975023 h 239"/>
                <a:gd name="T46" fmla="*/ 478829732 w 190"/>
                <a:gd name="T47" fmla="*/ 262095937 h 239"/>
                <a:gd name="T48" fmla="*/ 463708799 w 190"/>
                <a:gd name="T49" fmla="*/ 292337764 h 239"/>
                <a:gd name="T50" fmla="*/ 433466934 w 190"/>
                <a:gd name="T51" fmla="*/ 277216851 h 239"/>
                <a:gd name="T52" fmla="*/ 463708799 w 190"/>
                <a:gd name="T53" fmla="*/ 355340778 h 239"/>
                <a:gd name="T54" fmla="*/ 448587867 w 190"/>
                <a:gd name="T55" fmla="*/ 385582605 h 239"/>
                <a:gd name="T56" fmla="*/ 433466934 w 190"/>
                <a:gd name="T57" fmla="*/ 370461691 h 239"/>
                <a:gd name="T58" fmla="*/ 400705608 w 190"/>
                <a:gd name="T59" fmla="*/ 385582605 h 239"/>
                <a:gd name="T60" fmla="*/ 415826541 w 190"/>
                <a:gd name="T61" fmla="*/ 430945445 h 239"/>
                <a:gd name="T62" fmla="*/ 400705608 w 190"/>
                <a:gd name="T63" fmla="*/ 415824433 h 239"/>
                <a:gd name="T64" fmla="*/ 370463743 w 190"/>
                <a:gd name="T65" fmla="*/ 430945445 h 239"/>
                <a:gd name="T66" fmla="*/ 370463743 w 190"/>
                <a:gd name="T67" fmla="*/ 493950046 h 239"/>
                <a:gd name="T68" fmla="*/ 340221877 w 190"/>
                <a:gd name="T69" fmla="*/ 554433701 h 239"/>
                <a:gd name="T70" fmla="*/ 355342810 w 190"/>
                <a:gd name="T71" fmla="*/ 587194887 h 239"/>
                <a:gd name="T72" fmla="*/ 325100945 w 190"/>
                <a:gd name="T73" fmla="*/ 587194887 h 239"/>
                <a:gd name="T74" fmla="*/ 277217198 w 190"/>
                <a:gd name="T75" fmla="*/ 539312787 h 239"/>
                <a:gd name="T76" fmla="*/ 277217198 w 190"/>
                <a:gd name="T77" fmla="*/ 539312787 h 239"/>
                <a:gd name="T78" fmla="*/ 231854400 w 190"/>
                <a:gd name="T79" fmla="*/ 524191874 h 239"/>
                <a:gd name="T80" fmla="*/ 231854400 w 190"/>
                <a:gd name="T81" fmla="*/ 524191874 h 239"/>
                <a:gd name="T82" fmla="*/ 246975332 w 190"/>
                <a:gd name="T83" fmla="*/ 509070960 h 239"/>
                <a:gd name="T84" fmla="*/ 216733467 w 190"/>
                <a:gd name="T85" fmla="*/ 463708219 h 239"/>
                <a:gd name="T86" fmla="*/ 186491552 w 190"/>
                <a:gd name="T87" fmla="*/ 400703519 h 239"/>
                <a:gd name="T88" fmla="*/ 153728738 w 190"/>
                <a:gd name="T89" fmla="*/ 370461691 h 239"/>
                <a:gd name="T90" fmla="*/ 138607805 w 190"/>
                <a:gd name="T91" fmla="*/ 355340778 h 239"/>
                <a:gd name="T92" fmla="*/ 108367527 w 190"/>
                <a:gd name="T93" fmla="*/ 307458678 h 239"/>
                <a:gd name="T94" fmla="*/ 93246570 w 190"/>
                <a:gd name="T95" fmla="*/ 277216851 h 239"/>
                <a:gd name="T96" fmla="*/ 60483755 w 190"/>
                <a:gd name="T97" fmla="*/ 216733196 h 239"/>
                <a:gd name="T98" fmla="*/ 60483755 w 190"/>
                <a:gd name="T99" fmla="*/ 201612232 h 239"/>
                <a:gd name="T100" fmla="*/ 30241878 w 190"/>
                <a:gd name="T101" fmla="*/ 123486718 h 239"/>
                <a:gd name="T102" fmla="*/ 0 w 190"/>
                <a:gd name="T103" fmla="*/ 108365804 h 2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239"/>
                <a:gd name="T158" fmla="*/ 190 w 190"/>
                <a:gd name="T159" fmla="*/ 239 h 2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239">
                  <a:moveTo>
                    <a:pt x="0" y="43"/>
                  </a:moveTo>
                  <a:lnTo>
                    <a:pt x="6" y="12"/>
                  </a:lnTo>
                  <a:lnTo>
                    <a:pt x="12" y="6"/>
                  </a:lnTo>
                  <a:lnTo>
                    <a:pt x="24" y="18"/>
                  </a:lnTo>
                  <a:lnTo>
                    <a:pt x="31" y="24"/>
                  </a:lnTo>
                  <a:lnTo>
                    <a:pt x="37" y="6"/>
                  </a:lnTo>
                  <a:lnTo>
                    <a:pt x="43" y="6"/>
                  </a:lnTo>
                  <a:lnTo>
                    <a:pt x="55" y="12"/>
                  </a:lnTo>
                  <a:lnTo>
                    <a:pt x="55" y="6"/>
                  </a:lnTo>
                  <a:lnTo>
                    <a:pt x="61" y="0"/>
                  </a:lnTo>
                  <a:lnTo>
                    <a:pt x="61" y="6"/>
                  </a:lnTo>
                  <a:lnTo>
                    <a:pt x="74" y="12"/>
                  </a:lnTo>
                  <a:lnTo>
                    <a:pt x="80" y="12"/>
                  </a:lnTo>
                  <a:lnTo>
                    <a:pt x="86" y="12"/>
                  </a:lnTo>
                  <a:lnTo>
                    <a:pt x="86" y="18"/>
                  </a:lnTo>
                  <a:lnTo>
                    <a:pt x="92" y="18"/>
                  </a:lnTo>
                  <a:lnTo>
                    <a:pt x="98" y="12"/>
                  </a:lnTo>
                  <a:lnTo>
                    <a:pt x="104" y="18"/>
                  </a:lnTo>
                  <a:lnTo>
                    <a:pt x="110" y="18"/>
                  </a:lnTo>
                  <a:lnTo>
                    <a:pt x="110" y="12"/>
                  </a:lnTo>
                  <a:lnTo>
                    <a:pt x="116" y="12"/>
                  </a:lnTo>
                  <a:lnTo>
                    <a:pt x="116" y="18"/>
                  </a:lnTo>
                  <a:lnTo>
                    <a:pt x="123" y="18"/>
                  </a:lnTo>
                  <a:lnTo>
                    <a:pt x="123" y="12"/>
                  </a:lnTo>
                  <a:lnTo>
                    <a:pt x="129" y="18"/>
                  </a:lnTo>
                  <a:lnTo>
                    <a:pt x="135" y="18"/>
                  </a:lnTo>
                  <a:lnTo>
                    <a:pt x="135" y="24"/>
                  </a:lnTo>
                  <a:lnTo>
                    <a:pt x="135" y="18"/>
                  </a:lnTo>
                  <a:lnTo>
                    <a:pt x="141" y="18"/>
                  </a:lnTo>
                  <a:lnTo>
                    <a:pt x="147" y="24"/>
                  </a:lnTo>
                  <a:lnTo>
                    <a:pt x="147" y="31"/>
                  </a:lnTo>
                  <a:lnTo>
                    <a:pt x="153" y="37"/>
                  </a:lnTo>
                  <a:lnTo>
                    <a:pt x="165" y="37"/>
                  </a:lnTo>
                  <a:lnTo>
                    <a:pt x="172" y="31"/>
                  </a:lnTo>
                  <a:lnTo>
                    <a:pt x="172" y="37"/>
                  </a:lnTo>
                  <a:lnTo>
                    <a:pt x="178" y="37"/>
                  </a:lnTo>
                  <a:lnTo>
                    <a:pt x="178" y="43"/>
                  </a:lnTo>
                  <a:lnTo>
                    <a:pt x="172" y="61"/>
                  </a:lnTo>
                  <a:lnTo>
                    <a:pt x="172" y="67"/>
                  </a:lnTo>
                  <a:lnTo>
                    <a:pt x="165" y="67"/>
                  </a:lnTo>
                  <a:lnTo>
                    <a:pt x="165" y="73"/>
                  </a:lnTo>
                  <a:lnTo>
                    <a:pt x="165" y="80"/>
                  </a:lnTo>
                  <a:lnTo>
                    <a:pt x="165" y="86"/>
                  </a:lnTo>
                  <a:lnTo>
                    <a:pt x="178" y="92"/>
                  </a:lnTo>
                  <a:lnTo>
                    <a:pt x="178" y="98"/>
                  </a:lnTo>
                  <a:lnTo>
                    <a:pt x="184" y="98"/>
                  </a:lnTo>
                  <a:lnTo>
                    <a:pt x="190" y="110"/>
                  </a:lnTo>
                  <a:lnTo>
                    <a:pt x="190" y="104"/>
                  </a:lnTo>
                  <a:lnTo>
                    <a:pt x="190" y="110"/>
                  </a:lnTo>
                  <a:lnTo>
                    <a:pt x="184" y="116"/>
                  </a:lnTo>
                  <a:lnTo>
                    <a:pt x="178" y="110"/>
                  </a:lnTo>
                  <a:lnTo>
                    <a:pt x="172" y="110"/>
                  </a:lnTo>
                  <a:lnTo>
                    <a:pt x="178" y="129"/>
                  </a:lnTo>
                  <a:lnTo>
                    <a:pt x="184" y="141"/>
                  </a:lnTo>
                  <a:lnTo>
                    <a:pt x="184" y="147"/>
                  </a:lnTo>
                  <a:lnTo>
                    <a:pt x="178" y="153"/>
                  </a:lnTo>
                  <a:lnTo>
                    <a:pt x="178" y="147"/>
                  </a:lnTo>
                  <a:lnTo>
                    <a:pt x="172" y="147"/>
                  </a:lnTo>
                  <a:lnTo>
                    <a:pt x="172" y="153"/>
                  </a:lnTo>
                  <a:lnTo>
                    <a:pt x="159" y="153"/>
                  </a:lnTo>
                  <a:lnTo>
                    <a:pt x="159" y="159"/>
                  </a:lnTo>
                  <a:lnTo>
                    <a:pt x="165" y="171"/>
                  </a:lnTo>
                  <a:lnTo>
                    <a:pt x="159" y="178"/>
                  </a:lnTo>
                  <a:lnTo>
                    <a:pt x="159" y="165"/>
                  </a:lnTo>
                  <a:lnTo>
                    <a:pt x="153" y="171"/>
                  </a:lnTo>
                  <a:lnTo>
                    <a:pt x="147" y="171"/>
                  </a:lnTo>
                  <a:lnTo>
                    <a:pt x="141" y="184"/>
                  </a:lnTo>
                  <a:lnTo>
                    <a:pt x="147" y="196"/>
                  </a:lnTo>
                  <a:lnTo>
                    <a:pt x="135" y="196"/>
                  </a:lnTo>
                  <a:lnTo>
                    <a:pt x="135" y="220"/>
                  </a:lnTo>
                  <a:lnTo>
                    <a:pt x="141" y="220"/>
                  </a:lnTo>
                  <a:lnTo>
                    <a:pt x="141" y="233"/>
                  </a:lnTo>
                  <a:lnTo>
                    <a:pt x="135" y="239"/>
                  </a:lnTo>
                  <a:lnTo>
                    <a:pt x="129" y="233"/>
                  </a:lnTo>
                  <a:lnTo>
                    <a:pt x="123" y="233"/>
                  </a:lnTo>
                  <a:lnTo>
                    <a:pt x="110" y="214"/>
                  </a:lnTo>
                  <a:lnTo>
                    <a:pt x="104" y="214"/>
                  </a:lnTo>
                  <a:lnTo>
                    <a:pt x="110" y="214"/>
                  </a:lnTo>
                  <a:lnTo>
                    <a:pt x="104" y="208"/>
                  </a:lnTo>
                  <a:lnTo>
                    <a:pt x="92" y="208"/>
                  </a:lnTo>
                  <a:lnTo>
                    <a:pt x="92" y="202"/>
                  </a:lnTo>
                  <a:lnTo>
                    <a:pt x="92" y="208"/>
                  </a:lnTo>
                  <a:lnTo>
                    <a:pt x="92" y="202"/>
                  </a:lnTo>
                  <a:lnTo>
                    <a:pt x="98" y="202"/>
                  </a:lnTo>
                  <a:lnTo>
                    <a:pt x="92" y="190"/>
                  </a:lnTo>
                  <a:lnTo>
                    <a:pt x="86" y="184"/>
                  </a:lnTo>
                  <a:lnTo>
                    <a:pt x="80" y="165"/>
                  </a:lnTo>
                  <a:lnTo>
                    <a:pt x="74" y="159"/>
                  </a:lnTo>
                  <a:lnTo>
                    <a:pt x="67" y="153"/>
                  </a:lnTo>
                  <a:lnTo>
                    <a:pt x="61" y="147"/>
                  </a:lnTo>
                  <a:lnTo>
                    <a:pt x="61" y="141"/>
                  </a:lnTo>
                  <a:lnTo>
                    <a:pt x="55" y="141"/>
                  </a:lnTo>
                  <a:lnTo>
                    <a:pt x="49" y="129"/>
                  </a:lnTo>
                  <a:lnTo>
                    <a:pt x="43" y="122"/>
                  </a:lnTo>
                  <a:lnTo>
                    <a:pt x="43" y="116"/>
                  </a:lnTo>
                  <a:lnTo>
                    <a:pt x="37" y="110"/>
                  </a:lnTo>
                  <a:lnTo>
                    <a:pt x="24" y="98"/>
                  </a:lnTo>
                  <a:lnTo>
                    <a:pt x="24" y="86"/>
                  </a:lnTo>
                  <a:lnTo>
                    <a:pt x="18" y="80"/>
                  </a:lnTo>
                  <a:lnTo>
                    <a:pt x="24" y="80"/>
                  </a:lnTo>
                  <a:lnTo>
                    <a:pt x="18" y="61"/>
                  </a:lnTo>
                  <a:lnTo>
                    <a:pt x="12" y="49"/>
                  </a:lnTo>
                  <a:lnTo>
                    <a:pt x="6" y="49"/>
                  </a:lnTo>
                  <a:lnTo>
                    <a:pt x="0" y="4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8" name="Freeform 265"/>
            <p:cNvSpPr>
              <a:spLocks/>
            </p:cNvSpPr>
            <p:nvPr/>
          </p:nvSpPr>
          <p:spPr bwMode="auto">
            <a:xfrm>
              <a:off x="4556081" y="5699149"/>
              <a:ext cx="525453" cy="510655"/>
            </a:xfrm>
            <a:custGeom>
              <a:avLst/>
              <a:gdLst>
                <a:gd name="T0" fmla="*/ 418346384 w 325"/>
                <a:gd name="T1" fmla="*/ 680441534 h 349"/>
                <a:gd name="T2" fmla="*/ 385585028 w 325"/>
                <a:gd name="T3" fmla="*/ 650199697 h 349"/>
                <a:gd name="T4" fmla="*/ 309980296 w 325"/>
                <a:gd name="T5" fmla="*/ 602315994 h 349"/>
                <a:gd name="T6" fmla="*/ 370464082 w 325"/>
                <a:gd name="T7" fmla="*/ 572074157 h 349"/>
                <a:gd name="T8" fmla="*/ 370464082 w 325"/>
                <a:gd name="T9" fmla="*/ 526711401 h 349"/>
                <a:gd name="T10" fmla="*/ 385585028 w 325"/>
                <a:gd name="T11" fmla="*/ 556953238 h 349"/>
                <a:gd name="T12" fmla="*/ 403225339 w 325"/>
                <a:gd name="T13" fmla="*/ 509071123 h 349"/>
                <a:gd name="T14" fmla="*/ 355343135 w 325"/>
                <a:gd name="T15" fmla="*/ 418345612 h 349"/>
                <a:gd name="T16" fmla="*/ 325101242 w 325"/>
                <a:gd name="T17" fmla="*/ 340219973 h 349"/>
                <a:gd name="T18" fmla="*/ 325101242 w 325"/>
                <a:gd name="T19" fmla="*/ 279736299 h 349"/>
                <a:gd name="T20" fmla="*/ 355343135 w 325"/>
                <a:gd name="T21" fmla="*/ 231854184 h 349"/>
                <a:gd name="T22" fmla="*/ 370464082 w 325"/>
                <a:gd name="T23" fmla="*/ 294857217 h 349"/>
                <a:gd name="T24" fmla="*/ 433467331 w 325"/>
                <a:gd name="T25" fmla="*/ 370461810 h 349"/>
                <a:gd name="T26" fmla="*/ 433467331 w 325"/>
                <a:gd name="T27" fmla="*/ 340219973 h 349"/>
                <a:gd name="T28" fmla="*/ 463709224 w 325"/>
                <a:gd name="T29" fmla="*/ 340219973 h 349"/>
                <a:gd name="T30" fmla="*/ 493951117 w 325"/>
                <a:gd name="T31" fmla="*/ 385582729 h 349"/>
                <a:gd name="T32" fmla="*/ 463709224 w 325"/>
                <a:gd name="T33" fmla="*/ 294857217 h 349"/>
                <a:gd name="T34" fmla="*/ 541834908 w 325"/>
                <a:gd name="T35" fmla="*/ 325099055 h 349"/>
                <a:gd name="T36" fmla="*/ 493951117 w 325"/>
                <a:gd name="T37" fmla="*/ 279736299 h 349"/>
                <a:gd name="T38" fmla="*/ 463709224 w 325"/>
                <a:gd name="T39" fmla="*/ 201612297 h 349"/>
                <a:gd name="T40" fmla="*/ 541834908 w 325"/>
                <a:gd name="T41" fmla="*/ 171370460 h 349"/>
                <a:gd name="T42" fmla="*/ 602318693 w 325"/>
                <a:gd name="T43" fmla="*/ 171370460 h 349"/>
                <a:gd name="T44" fmla="*/ 650200897 w 325"/>
                <a:gd name="T45" fmla="*/ 156249541 h 349"/>
                <a:gd name="T46" fmla="*/ 650200897 w 325"/>
                <a:gd name="T47" fmla="*/ 171370460 h 349"/>
                <a:gd name="T48" fmla="*/ 740926576 w 325"/>
                <a:gd name="T49" fmla="*/ 186491379 h 349"/>
                <a:gd name="T50" fmla="*/ 773689420 w 325"/>
                <a:gd name="T51" fmla="*/ 186491379 h 349"/>
                <a:gd name="T52" fmla="*/ 819052260 w 325"/>
                <a:gd name="T53" fmla="*/ 78123977 h 349"/>
                <a:gd name="T54" fmla="*/ 758568474 w 325"/>
                <a:gd name="T55" fmla="*/ 32761209 h 349"/>
                <a:gd name="T56" fmla="*/ 710684683 w 325"/>
                <a:gd name="T57" fmla="*/ 78123977 h 349"/>
                <a:gd name="T58" fmla="*/ 602318693 w 325"/>
                <a:gd name="T59" fmla="*/ 63003058 h 349"/>
                <a:gd name="T60" fmla="*/ 541834908 w 325"/>
                <a:gd name="T61" fmla="*/ 47882127 h 349"/>
                <a:gd name="T62" fmla="*/ 448588277 w 325"/>
                <a:gd name="T63" fmla="*/ 63003058 h 349"/>
                <a:gd name="T64" fmla="*/ 355343135 w 325"/>
                <a:gd name="T65" fmla="*/ 78123977 h 349"/>
                <a:gd name="T66" fmla="*/ 309980296 w 325"/>
                <a:gd name="T67" fmla="*/ 123486757 h 349"/>
                <a:gd name="T68" fmla="*/ 216733665 w 325"/>
                <a:gd name="T69" fmla="*/ 156249541 h 349"/>
                <a:gd name="T70" fmla="*/ 156249830 w 325"/>
                <a:gd name="T71" fmla="*/ 171370460 h 349"/>
                <a:gd name="T72" fmla="*/ 123488573 w 325"/>
                <a:gd name="T73" fmla="*/ 246975102 h 349"/>
                <a:gd name="T74" fmla="*/ 93246655 w 325"/>
                <a:gd name="T75" fmla="*/ 325099055 h 349"/>
                <a:gd name="T76" fmla="*/ 47883803 w 325"/>
                <a:gd name="T77" fmla="*/ 403224594 h 349"/>
                <a:gd name="T78" fmla="*/ 15120953 w 325"/>
                <a:gd name="T79" fmla="*/ 433466531 h 349"/>
                <a:gd name="T80" fmla="*/ 32762857 w 325"/>
                <a:gd name="T81" fmla="*/ 493950205 h 349"/>
                <a:gd name="T82" fmla="*/ 78125709 w 325"/>
                <a:gd name="T83" fmla="*/ 556953238 h 349"/>
                <a:gd name="T84" fmla="*/ 108367626 w 325"/>
                <a:gd name="T85" fmla="*/ 602315994 h 349"/>
                <a:gd name="T86" fmla="*/ 123488573 w 325"/>
                <a:gd name="T87" fmla="*/ 587195076 h 349"/>
                <a:gd name="T88" fmla="*/ 138609519 w 325"/>
                <a:gd name="T89" fmla="*/ 572074157 h 349"/>
                <a:gd name="T90" fmla="*/ 156249830 w 325"/>
                <a:gd name="T91" fmla="*/ 602315994 h 349"/>
                <a:gd name="T92" fmla="*/ 108367626 w 325"/>
                <a:gd name="T93" fmla="*/ 602315994 h 349"/>
                <a:gd name="T94" fmla="*/ 123488573 w 325"/>
                <a:gd name="T95" fmla="*/ 650199697 h 349"/>
                <a:gd name="T96" fmla="*/ 138609519 w 325"/>
                <a:gd name="T97" fmla="*/ 725804290 h 349"/>
                <a:gd name="T98" fmla="*/ 201612669 w 325"/>
                <a:gd name="T99" fmla="*/ 740925208 h 349"/>
                <a:gd name="T100" fmla="*/ 262096505 w 325"/>
                <a:gd name="T101" fmla="*/ 710683371 h 349"/>
                <a:gd name="T102" fmla="*/ 325101242 w 325"/>
                <a:gd name="T103" fmla="*/ 740925208 h 349"/>
                <a:gd name="T104" fmla="*/ 355343135 w 325"/>
                <a:gd name="T105" fmla="*/ 756046127 h 349"/>
                <a:gd name="T106" fmla="*/ 370464082 w 325"/>
                <a:gd name="T107" fmla="*/ 788807323 h 349"/>
                <a:gd name="T108" fmla="*/ 403225339 w 325"/>
                <a:gd name="T109" fmla="*/ 803928242 h 349"/>
                <a:gd name="T110" fmla="*/ 448588277 w 325"/>
                <a:gd name="T111" fmla="*/ 819049160 h 349"/>
                <a:gd name="T112" fmla="*/ 478830170 w 325"/>
                <a:gd name="T113" fmla="*/ 864412114 h 349"/>
                <a:gd name="T114" fmla="*/ 493951117 w 325"/>
                <a:gd name="T115" fmla="*/ 819049160 h 349"/>
                <a:gd name="T116" fmla="*/ 478830170 w 325"/>
                <a:gd name="T117" fmla="*/ 740925208 h 3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5"/>
                <a:gd name="T178" fmla="*/ 0 h 349"/>
                <a:gd name="T179" fmla="*/ 325 w 325"/>
                <a:gd name="T180" fmla="*/ 349 h 3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5" h="349">
                  <a:moveTo>
                    <a:pt x="178" y="288"/>
                  </a:moveTo>
                  <a:lnTo>
                    <a:pt x="178" y="282"/>
                  </a:lnTo>
                  <a:lnTo>
                    <a:pt x="178" y="276"/>
                  </a:lnTo>
                  <a:lnTo>
                    <a:pt x="172" y="276"/>
                  </a:lnTo>
                  <a:lnTo>
                    <a:pt x="166" y="276"/>
                  </a:lnTo>
                  <a:lnTo>
                    <a:pt x="160" y="276"/>
                  </a:lnTo>
                  <a:lnTo>
                    <a:pt x="166" y="270"/>
                  </a:lnTo>
                  <a:lnTo>
                    <a:pt x="166" y="264"/>
                  </a:lnTo>
                  <a:lnTo>
                    <a:pt x="160" y="264"/>
                  </a:lnTo>
                  <a:lnTo>
                    <a:pt x="160" y="258"/>
                  </a:lnTo>
                  <a:lnTo>
                    <a:pt x="153" y="258"/>
                  </a:lnTo>
                  <a:lnTo>
                    <a:pt x="160" y="264"/>
                  </a:lnTo>
                  <a:lnTo>
                    <a:pt x="153" y="264"/>
                  </a:lnTo>
                  <a:lnTo>
                    <a:pt x="153" y="258"/>
                  </a:lnTo>
                  <a:lnTo>
                    <a:pt x="147" y="251"/>
                  </a:lnTo>
                  <a:lnTo>
                    <a:pt x="141" y="251"/>
                  </a:lnTo>
                  <a:lnTo>
                    <a:pt x="135" y="251"/>
                  </a:lnTo>
                  <a:lnTo>
                    <a:pt x="135" y="245"/>
                  </a:lnTo>
                  <a:lnTo>
                    <a:pt x="129" y="245"/>
                  </a:lnTo>
                  <a:lnTo>
                    <a:pt x="123" y="245"/>
                  </a:lnTo>
                  <a:lnTo>
                    <a:pt x="123" y="239"/>
                  </a:lnTo>
                  <a:lnTo>
                    <a:pt x="129" y="239"/>
                  </a:lnTo>
                  <a:lnTo>
                    <a:pt x="135" y="239"/>
                  </a:lnTo>
                  <a:lnTo>
                    <a:pt x="135" y="245"/>
                  </a:lnTo>
                  <a:lnTo>
                    <a:pt x="141" y="239"/>
                  </a:lnTo>
                  <a:lnTo>
                    <a:pt x="147" y="239"/>
                  </a:lnTo>
                  <a:lnTo>
                    <a:pt x="147" y="233"/>
                  </a:lnTo>
                  <a:lnTo>
                    <a:pt x="147" y="227"/>
                  </a:lnTo>
                  <a:lnTo>
                    <a:pt x="147" y="221"/>
                  </a:lnTo>
                  <a:lnTo>
                    <a:pt x="141" y="221"/>
                  </a:lnTo>
                  <a:lnTo>
                    <a:pt x="141" y="215"/>
                  </a:lnTo>
                  <a:lnTo>
                    <a:pt x="141" y="221"/>
                  </a:lnTo>
                  <a:lnTo>
                    <a:pt x="141" y="215"/>
                  </a:lnTo>
                  <a:lnTo>
                    <a:pt x="141" y="209"/>
                  </a:lnTo>
                  <a:lnTo>
                    <a:pt x="147" y="209"/>
                  </a:lnTo>
                  <a:lnTo>
                    <a:pt x="147" y="202"/>
                  </a:lnTo>
                  <a:lnTo>
                    <a:pt x="153" y="202"/>
                  </a:lnTo>
                  <a:lnTo>
                    <a:pt x="153" y="209"/>
                  </a:lnTo>
                  <a:lnTo>
                    <a:pt x="160" y="209"/>
                  </a:lnTo>
                  <a:lnTo>
                    <a:pt x="160" y="215"/>
                  </a:lnTo>
                  <a:lnTo>
                    <a:pt x="160" y="221"/>
                  </a:lnTo>
                  <a:lnTo>
                    <a:pt x="153" y="221"/>
                  </a:lnTo>
                  <a:lnTo>
                    <a:pt x="153" y="227"/>
                  </a:lnTo>
                  <a:lnTo>
                    <a:pt x="160" y="221"/>
                  </a:lnTo>
                  <a:lnTo>
                    <a:pt x="166" y="221"/>
                  </a:lnTo>
                  <a:lnTo>
                    <a:pt x="166" y="215"/>
                  </a:lnTo>
                  <a:lnTo>
                    <a:pt x="166" y="209"/>
                  </a:lnTo>
                  <a:lnTo>
                    <a:pt x="160" y="209"/>
                  </a:lnTo>
                  <a:lnTo>
                    <a:pt x="160" y="202"/>
                  </a:lnTo>
                  <a:lnTo>
                    <a:pt x="160" y="196"/>
                  </a:lnTo>
                  <a:lnTo>
                    <a:pt x="153" y="196"/>
                  </a:lnTo>
                  <a:lnTo>
                    <a:pt x="153" y="184"/>
                  </a:lnTo>
                  <a:lnTo>
                    <a:pt x="147" y="184"/>
                  </a:lnTo>
                  <a:lnTo>
                    <a:pt x="141" y="178"/>
                  </a:lnTo>
                  <a:lnTo>
                    <a:pt x="141" y="172"/>
                  </a:lnTo>
                  <a:lnTo>
                    <a:pt x="141" y="166"/>
                  </a:lnTo>
                  <a:lnTo>
                    <a:pt x="141" y="160"/>
                  </a:lnTo>
                  <a:lnTo>
                    <a:pt x="135" y="160"/>
                  </a:lnTo>
                  <a:lnTo>
                    <a:pt x="135" y="153"/>
                  </a:lnTo>
                  <a:lnTo>
                    <a:pt x="135" y="147"/>
                  </a:lnTo>
                  <a:lnTo>
                    <a:pt x="129" y="147"/>
                  </a:lnTo>
                  <a:lnTo>
                    <a:pt x="129" y="141"/>
                  </a:lnTo>
                  <a:lnTo>
                    <a:pt x="129" y="135"/>
                  </a:lnTo>
                  <a:lnTo>
                    <a:pt x="129" y="129"/>
                  </a:lnTo>
                  <a:lnTo>
                    <a:pt x="129" y="123"/>
                  </a:lnTo>
                  <a:lnTo>
                    <a:pt x="129" y="117"/>
                  </a:lnTo>
                  <a:lnTo>
                    <a:pt x="135" y="111"/>
                  </a:lnTo>
                  <a:lnTo>
                    <a:pt x="129" y="111"/>
                  </a:lnTo>
                  <a:lnTo>
                    <a:pt x="129" y="117"/>
                  </a:lnTo>
                  <a:lnTo>
                    <a:pt x="129" y="111"/>
                  </a:lnTo>
                  <a:lnTo>
                    <a:pt x="129" y="104"/>
                  </a:lnTo>
                  <a:lnTo>
                    <a:pt x="129" y="98"/>
                  </a:lnTo>
                  <a:lnTo>
                    <a:pt x="135" y="98"/>
                  </a:lnTo>
                  <a:lnTo>
                    <a:pt x="135" y="104"/>
                  </a:lnTo>
                  <a:lnTo>
                    <a:pt x="135" y="98"/>
                  </a:lnTo>
                  <a:lnTo>
                    <a:pt x="141" y="98"/>
                  </a:lnTo>
                  <a:lnTo>
                    <a:pt x="141" y="92"/>
                  </a:lnTo>
                  <a:lnTo>
                    <a:pt x="147" y="92"/>
                  </a:lnTo>
                  <a:lnTo>
                    <a:pt x="147" y="98"/>
                  </a:lnTo>
                  <a:lnTo>
                    <a:pt x="147" y="104"/>
                  </a:lnTo>
                  <a:lnTo>
                    <a:pt x="141" y="104"/>
                  </a:lnTo>
                  <a:lnTo>
                    <a:pt x="141" y="111"/>
                  </a:lnTo>
                  <a:lnTo>
                    <a:pt x="147" y="111"/>
                  </a:lnTo>
                  <a:lnTo>
                    <a:pt x="147" y="117"/>
                  </a:lnTo>
                  <a:lnTo>
                    <a:pt x="153" y="123"/>
                  </a:lnTo>
                  <a:lnTo>
                    <a:pt x="160" y="123"/>
                  </a:lnTo>
                  <a:lnTo>
                    <a:pt x="166" y="129"/>
                  </a:lnTo>
                  <a:lnTo>
                    <a:pt x="166" y="135"/>
                  </a:lnTo>
                  <a:lnTo>
                    <a:pt x="166" y="141"/>
                  </a:lnTo>
                  <a:lnTo>
                    <a:pt x="166" y="147"/>
                  </a:lnTo>
                  <a:lnTo>
                    <a:pt x="172" y="147"/>
                  </a:lnTo>
                  <a:lnTo>
                    <a:pt x="178" y="153"/>
                  </a:lnTo>
                  <a:lnTo>
                    <a:pt x="184" y="153"/>
                  </a:lnTo>
                  <a:lnTo>
                    <a:pt x="184" y="147"/>
                  </a:lnTo>
                  <a:lnTo>
                    <a:pt x="178" y="147"/>
                  </a:lnTo>
                  <a:lnTo>
                    <a:pt x="178" y="141"/>
                  </a:lnTo>
                  <a:lnTo>
                    <a:pt x="172" y="141"/>
                  </a:lnTo>
                  <a:lnTo>
                    <a:pt x="172" y="135"/>
                  </a:lnTo>
                  <a:lnTo>
                    <a:pt x="166" y="135"/>
                  </a:lnTo>
                  <a:lnTo>
                    <a:pt x="166" y="129"/>
                  </a:lnTo>
                  <a:lnTo>
                    <a:pt x="166" y="123"/>
                  </a:lnTo>
                  <a:lnTo>
                    <a:pt x="172" y="123"/>
                  </a:lnTo>
                  <a:lnTo>
                    <a:pt x="178" y="129"/>
                  </a:lnTo>
                  <a:lnTo>
                    <a:pt x="184" y="129"/>
                  </a:lnTo>
                  <a:lnTo>
                    <a:pt x="184" y="135"/>
                  </a:lnTo>
                  <a:lnTo>
                    <a:pt x="190" y="135"/>
                  </a:lnTo>
                  <a:lnTo>
                    <a:pt x="184" y="141"/>
                  </a:lnTo>
                  <a:lnTo>
                    <a:pt x="190" y="147"/>
                  </a:lnTo>
                  <a:lnTo>
                    <a:pt x="190" y="141"/>
                  </a:lnTo>
                  <a:lnTo>
                    <a:pt x="190" y="147"/>
                  </a:lnTo>
                  <a:lnTo>
                    <a:pt x="196" y="147"/>
                  </a:lnTo>
                  <a:lnTo>
                    <a:pt x="196" y="153"/>
                  </a:lnTo>
                  <a:lnTo>
                    <a:pt x="196" y="147"/>
                  </a:lnTo>
                  <a:lnTo>
                    <a:pt x="196" y="141"/>
                  </a:lnTo>
                  <a:lnTo>
                    <a:pt x="196" y="135"/>
                  </a:lnTo>
                  <a:lnTo>
                    <a:pt x="190" y="129"/>
                  </a:lnTo>
                  <a:lnTo>
                    <a:pt x="184" y="129"/>
                  </a:lnTo>
                  <a:lnTo>
                    <a:pt x="184" y="123"/>
                  </a:lnTo>
                  <a:lnTo>
                    <a:pt x="184" y="117"/>
                  </a:lnTo>
                  <a:lnTo>
                    <a:pt x="190" y="117"/>
                  </a:lnTo>
                  <a:lnTo>
                    <a:pt x="196" y="117"/>
                  </a:lnTo>
                  <a:lnTo>
                    <a:pt x="203" y="123"/>
                  </a:lnTo>
                  <a:lnTo>
                    <a:pt x="209" y="123"/>
                  </a:lnTo>
                  <a:lnTo>
                    <a:pt x="209" y="129"/>
                  </a:lnTo>
                  <a:lnTo>
                    <a:pt x="215" y="135"/>
                  </a:lnTo>
                  <a:lnTo>
                    <a:pt x="215" y="129"/>
                  </a:lnTo>
                  <a:lnTo>
                    <a:pt x="209" y="123"/>
                  </a:lnTo>
                  <a:lnTo>
                    <a:pt x="209" y="117"/>
                  </a:lnTo>
                  <a:lnTo>
                    <a:pt x="203" y="117"/>
                  </a:lnTo>
                  <a:lnTo>
                    <a:pt x="203" y="111"/>
                  </a:lnTo>
                  <a:lnTo>
                    <a:pt x="196" y="111"/>
                  </a:lnTo>
                  <a:lnTo>
                    <a:pt x="196" y="104"/>
                  </a:lnTo>
                  <a:lnTo>
                    <a:pt x="196" y="111"/>
                  </a:lnTo>
                  <a:lnTo>
                    <a:pt x="190" y="111"/>
                  </a:lnTo>
                  <a:lnTo>
                    <a:pt x="190" y="104"/>
                  </a:lnTo>
                  <a:lnTo>
                    <a:pt x="190" y="98"/>
                  </a:lnTo>
                  <a:lnTo>
                    <a:pt x="184" y="92"/>
                  </a:lnTo>
                  <a:lnTo>
                    <a:pt x="178" y="86"/>
                  </a:lnTo>
                  <a:lnTo>
                    <a:pt x="184" y="86"/>
                  </a:lnTo>
                  <a:lnTo>
                    <a:pt x="184" y="80"/>
                  </a:lnTo>
                  <a:lnTo>
                    <a:pt x="190" y="80"/>
                  </a:lnTo>
                  <a:lnTo>
                    <a:pt x="196" y="80"/>
                  </a:lnTo>
                  <a:lnTo>
                    <a:pt x="203" y="86"/>
                  </a:lnTo>
                  <a:lnTo>
                    <a:pt x="209" y="80"/>
                  </a:lnTo>
                  <a:lnTo>
                    <a:pt x="209" y="74"/>
                  </a:lnTo>
                  <a:lnTo>
                    <a:pt x="215" y="74"/>
                  </a:lnTo>
                  <a:lnTo>
                    <a:pt x="215" y="68"/>
                  </a:lnTo>
                  <a:lnTo>
                    <a:pt x="221" y="68"/>
                  </a:lnTo>
                  <a:lnTo>
                    <a:pt x="221" y="62"/>
                  </a:lnTo>
                  <a:lnTo>
                    <a:pt x="227" y="68"/>
                  </a:lnTo>
                  <a:lnTo>
                    <a:pt x="227" y="74"/>
                  </a:lnTo>
                  <a:lnTo>
                    <a:pt x="227" y="68"/>
                  </a:lnTo>
                  <a:lnTo>
                    <a:pt x="233" y="74"/>
                  </a:lnTo>
                  <a:lnTo>
                    <a:pt x="239" y="68"/>
                  </a:lnTo>
                  <a:lnTo>
                    <a:pt x="245" y="68"/>
                  </a:lnTo>
                  <a:lnTo>
                    <a:pt x="245" y="62"/>
                  </a:lnTo>
                  <a:lnTo>
                    <a:pt x="252" y="62"/>
                  </a:lnTo>
                  <a:lnTo>
                    <a:pt x="252" y="55"/>
                  </a:lnTo>
                  <a:lnTo>
                    <a:pt x="252" y="49"/>
                  </a:lnTo>
                  <a:lnTo>
                    <a:pt x="252" y="55"/>
                  </a:lnTo>
                  <a:lnTo>
                    <a:pt x="258" y="62"/>
                  </a:lnTo>
                  <a:lnTo>
                    <a:pt x="252" y="55"/>
                  </a:lnTo>
                  <a:lnTo>
                    <a:pt x="252" y="62"/>
                  </a:lnTo>
                  <a:lnTo>
                    <a:pt x="258" y="68"/>
                  </a:lnTo>
                  <a:lnTo>
                    <a:pt x="258" y="62"/>
                  </a:lnTo>
                  <a:lnTo>
                    <a:pt x="258" y="68"/>
                  </a:lnTo>
                  <a:lnTo>
                    <a:pt x="258" y="62"/>
                  </a:lnTo>
                  <a:lnTo>
                    <a:pt x="258" y="68"/>
                  </a:lnTo>
                  <a:lnTo>
                    <a:pt x="264" y="62"/>
                  </a:lnTo>
                  <a:lnTo>
                    <a:pt x="264" y="68"/>
                  </a:lnTo>
                  <a:lnTo>
                    <a:pt x="270" y="68"/>
                  </a:lnTo>
                  <a:lnTo>
                    <a:pt x="270" y="74"/>
                  </a:lnTo>
                  <a:lnTo>
                    <a:pt x="276" y="74"/>
                  </a:lnTo>
                  <a:lnTo>
                    <a:pt x="288" y="74"/>
                  </a:lnTo>
                  <a:lnTo>
                    <a:pt x="294" y="74"/>
                  </a:lnTo>
                  <a:lnTo>
                    <a:pt x="301" y="74"/>
                  </a:lnTo>
                  <a:lnTo>
                    <a:pt x="294" y="80"/>
                  </a:lnTo>
                  <a:lnTo>
                    <a:pt x="301" y="80"/>
                  </a:lnTo>
                  <a:lnTo>
                    <a:pt x="294" y="80"/>
                  </a:lnTo>
                  <a:lnTo>
                    <a:pt x="294" y="86"/>
                  </a:lnTo>
                  <a:lnTo>
                    <a:pt x="301" y="80"/>
                  </a:lnTo>
                  <a:lnTo>
                    <a:pt x="307" y="74"/>
                  </a:lnTo>
                  <a:lnTo>
                    <a:pt x="307" y="68"/>
                  </a:lnTo>
                  <a:lnTo>
                    <a:pt x="313" y="62"/>
                  </a:lnTo>
                  <a:lnTo>
                    <a:pt x="313" y="55"/>
                  </a:lnTo>
                  <a:lnTo>
                    <a:pt x="313" y="37"/>
                  </a:lnTo>
                  <a:lnTo>
                    <a:pt x="319" y="37"/>
                  </a:lnTo>
                  <a:lnTo>
                    <a:pt x="319" y="31"/>
                  </a:lnTo>
                  <a:lnTo>
                    <a:pt x="325" y="31"/>
                  </a:lnTo>
                  <a:lnTo>
                    <a:pt x="325" y="25"/>
                  </a:lnTo>
                  <a:lnTo>
                    <a:pt x="325" y="19"/>
                  </a:lnTo>
                  <a:lnTo>
                    <a:pt x="325" y="6"/>
                  </a:lnTo>
                  <a:lnTo>
                    <a:pt x="319" y="6"/>
                  </a:lnTo>
                  <a:lnTo>
                    <a:pt x="307" y="0"/>
                  </a:lnTo>
                  <a:lnTo>
                    <a:pt x="301" y="0"/>
                  </a:lnTo>
                  <a:lnTo>
                    <a:pt x="301" y="13"/>
                  </a:lnTo>
                  <a:lnTo>
                    <a:pt x="307" y="13"/>
                  </a:lnTo>
                  <a:lnTo>
                    <a:pt x="301" y="19"/>
                  </a:lnTo>
                  <a:lnTo>
                    <a:pt x="307" y="25"/>
                  </a:lnTo>
                  <a:lnTo>
                    <a:pt x="301" y="31"/>
                  </a:lnTo>
                  <a:lnTo>
                    <a:pt x="294" y="31"/>
                  </a:lnTo>
                  <a:lnTo>
                    <a:pt x="288" y="31"/>
                  </a:lnTo>
                  <a:lnTo>
                    <a:pt x="282" y="31"/>
                  </a:lnTo>
                  <a:lnTo>
                    <a:pt x="282" y="37"/>
                  </a:lnTo>
                  <a:lnTo>
                    <a:pt x="276" y="37"/>
                  </a:lnTo>
                  <a:lnTo>
                    <a:pt x="270" y="37"/>
                  </a:lnTo>
                  <a:lnTo>
                    <a:pt x="264" y="43"/>
                  </a:lnTo>
                  <a:lnTo>
                    <a:pt x="258" y="37"/>
                  </a:lnTo>
                  <a:lnTo>
                    <a:pt x="252" y="31"/>
                  </a:lnTo>
                  <a:lnTo>
                    <a:pt x="239" y="25"/>
                  </a:lnTo>
                  <a:lnTo>
                    <a:pt x="239" y="31"/>
                  </a:lnTo>
                  <a:lnTo>
                    <a:pt x="233" y="25"/>
                  </a:lnTo>
                  <a:lnTo>
                    <a:pt x="227" y="25"/>
                  </a:lnTo>
                  <a:lnTo>
                    <a:pt x="227" y="13"/>
                  </a:lnTo>
                  <a:lnTo>
                    <a:pt x="221" y="13"/>
                  </a:lnTo>
                  <a:lnTo>
                    <a:pt x="215" y="13"/>
                  </a:lnTo>
                  <a:lnTo>
                    <a:pt x="215" y="19"/>
                  </a:lnTo>
                  <a:lnTo>
                    <a:pt x="209" y="13"/>
                  </a:lnTo>
                  <a:lnTo>
                    <a:pt x="203" y="13"/>
                  </a:lnTo>
                  <a:lnTo>
                    <a:pt x="203" y="19"/>
                  </a:lnTo>
                  <a:lnTo>
                    <a:pt x="196" y="19"/>
                  </a:lnTo>
                  <a:lnTo>
                    <a:pt x="190" y="19"/>
                  </a:lnTo>
                  <a:lnTo>
                    <a:pt x="184" y="25"/>
                  </a:lnTo>
                  <a:lnTo>
                    <a:pt x="178" y="25"/>
                  </a:lnTo>
                  <a:lnTo>
                    <a:pt x="172" y="25"/>
                  </a:lnTo>
                  <a:lnTo>
                    <a:pt x="166" y="25"/>
                  </a:lnTo>
                  <a:lnTo>
                    <a:pt x="160" y="25"/>
                  </a:lnTo>
                  <a:lnTo>
                    <a:pt x="160" y="31"/>
                  </a:lnTo>
                  <a:lnTo>
                    <a:pt x="153" y="31"/>
                  </a:lnTo>
                  <a:lnTo>
                    <a:pt x="147" y="31"/>
                  </a:lnTo>
                  <a:lnTo>
                    <a:pt x="141" y="31"/>
                  </a:lnTo>
                  <a:lnTo>
                    <a:pt x="135" y="31"/>
                  </a:lnTo>
                  <a:lnTo>
                    <a:pt x="135" y="37"/>
                  </a:lnTo>
                  <a:lnTo>
                    <a:pt x="135" y="43"/>
                  </a:lnTo>
                  <a:lnTo>
                    <a:pt x="135" y="49"/>
                  </a:lnTo>
                  <a:lnTo>
                    <a:pt x="135" y="43"/>
                  </a:lnTo>
                  <a:lnTo>
                    <a:pt x="129" y="49"/>
                  </a:lnTo>
                  <a:lnTo>
                    <a:pt x="123" y="49"/>
                  </a:lnTo>
                  <a:lnTo>
                    <a:pt x="111" y="43"/>
                  </a:lnTo>
                  <a:lnTo>
                    <a:pt x="111" y="49"/>
                  </a:lnTo>
                  <a:lnTo>
                    <a:pt x="104" y="49"/>
                  </a:lnTo>
                  <a:lnTo>
                    <a:pt x="104" y="43"/>
                  </a:lnTo>
                  <a:lnTo>
                    <a:pt x="98" y="49"/>
                  </a:lnTo>
                  <a:lnTo>
                    <a:pt x="92" y="55"/>
                  </a:lnTo>
                  <a:lnTo>
                    <a:pt x="86" y="62"/>
                  </a:lnTo>
                  <a:lnTo>
                    <a:pt x="86" y="68"/>
                  </a:lnTo>
                  <a:lnTo>
                    <a:pt x="86" y="62"/>
                  </a:lnTo>
                  <a:lnTo>
                    <a:pt x="80" y="68"/>
                  </a:lnTo>
                  <a:lnTo>
                    <a:pt x="74" y="68"/>
                  </a:lnTo>
                  <a:lnTo>
                    <a:pt x="68" y="68"/>
                  </a:lnTo>
                  <a:lnTo>
                    <a:pt x="68" y="74"/>
                  </a:lnTo>
                  <a:lnTo>
                    <a:pt x="62" y="68"/>
                  </a:lnTo>
                  <a:lnTo>
                    <a:pt x="55" y="74"/>
                  </a:lnTo>
                  <a:lnTo>
                    <a:pt x="49" y="74"/>
                  </a:lnTo>
                  <a:lnTo>
                    <a:pt x="49" y="80"/>
                  </a:lnTo>
                  <a:lnTo>
                    <a:pt x="55" y="86"/>
                  </a:lnTo>
                  <a:lnTo>
                    <a:pt x="49" y="92"/>
                  </a:lnTo>
                  <a:lnTo>
                    <a:pt x="55" y="92"/>
                  </a:lnTo>
                  <a:lnTo>
                    <a:pt x="49" y="98"/>
                  </a:lnTo>
                  <a:lnTo>
                    <a:pt x="55" y="104"/>
                  </a:lnTo>
                  <a:lnTo>
                    <a:pt x="49" y="104"/>
                  </a:lnTo>
                  <a:lnTo>
                    <a:pt x="43" y="104"/>
                  </a:lnTo>
                  <a:lnTo>
                    <a:pt x="37" y="111"/>
                  </a:lnTo>
                  <a:lnTo>
                    <a:pt x="37" y="117"/>
                  </a:lnTo>
                  <a:lnTo>
                    <a:pt x="37" y="123"/>
                  </a:lnTo>
                  <a:lnTo>
                    <a:pt x="37" y="129"/>
                  </a:lnTo>
                  <a:lnTo>
                    <a:pt x="37" y="135"/>
                  </a:lnTo>
                  <a:lnTo>
                    <a:pt x="31" y="141"/>
                  </a:lnTo>
                  <a:lnTo>
                    <a:pt x="25" y="141"/>
                  </a:lnTo>
                  <a:lnTo>
                    <a:pt x="19" y="147"/>
                  </a:lnTo>
                  <a:lnTo>
                    <a:pt x="19" y="153"/>
                  </a:lnTo>
                  <a:lnTo>
                    <a:pt x="25" y="160"/>
                  </a:lnTo>
                  <a:lnTo>
                    <a:pt x="19" y="160"/>
                  </a:lnTo>
                  <a:lnTo>
                    <a:pt x="19" y="166"/>
                  </a:lnTo>
                  <a:lnTo>
                    <a:pt x="19" y="172"/>
                  </a:lnTo>
                  <a:lnTo>
                    <a:pt x="13" y="178"/>
                  </a:lnTo>
                  <a:lnTo>
                    <a:pt x="6" y="172"/>
                  </a:lnTo>
                  <a:lnTo>
                    <a:pt x="0" y="172"/>
                  </a:lnTo>
                  <a:lnTo>
                    <a:pt x="6" y="178"/>
                  </a:lnTo>
                  <a:lnTo>
                    <a:pt x="6" y="172"/>
                  </a:lnTo>
                  <a:lnTo>
                    <a:pt x="6" y="178"/>
                  </a:lnTo>
                  <a:lnTo>
                    <a:pt x="13" y="178"/>
                  </a:lnTo>
                  <a:lnTo>
                    <a:pt x="13" y="184"/>
                  </a:lnTo>
                  <a:lnTo>
                    <a:pt x="13" y="190"/>
                  </a:lnTo>
                  <a:lnTo>
                    <a:pt x="19" y="190"/>
                  </a:lnTo>
                  <a:lnTo>
                    <a:pt x="19" y="196"/>
                  </a:lnTo>
                  <a:lnTo>
                    <a:pt x="13" y="196"/>
                  </a:lnTo>
                  <a:lnTo>
                    <a:pt x="19" y="196"/>
                  </a:lnTo>
                  <a:lnTo>
                    <a:pt x="19" y="202"/>
                  </a:lnTo>
                  <a:lnTo>
                    <a:pt x="19" y="209"/>
                  </a:lnTo>
                  <a:lnTo>
                    <a:pt x="25" y="209"/>
                  </a:lnTo>
                  <a:lnTo>
                    <a:pt x="25" y="215"/>
                  </a:lnTo>
                  <a:lnTo>
                    <a:pt x="31" y="215"/>
                  </a:lnTo>
                  <a:lnTo>
                    <a:pt x="31" y="221"/>
                  </a:lnTo>
                  <a:lnTo>
                    <a:pt x="31" y="227"/>
                  </a:lnTo>
                  <a:lnTo>
                    <a:pt x="37" y="227"/>
                  </a:lnTo>
                  <a:lnTo>
                    <a:pt x="37" y="233"/>
                  </a:lnTo>
                  <a:lnTo>
                    <a:pt x="37" y="239"/>
                  </a:lnTo>
                  <a:lnTo>
                    <a:pt x="37" y="233"/>
                  </a:lnTo>
                  <a:lnTo>
                    <a:pt x="43" y="233"/>
                  </a:lnTo>
                  <a:lnTo>
                    <a:pt x="43" y="239"/>
                  </a:lnTo>
                  <a:lnTo>
                    <a:pt x="43" y="233"/>
                  </a:lnTo>
                  <a:lnTo>
                    <a:pt x="37" y="233"/>
                  </a:lnTo>
                  <a:lnTo>
                    <a:pt x="37" y="227"/>
                  </a:lnTo>
                  <a:lnTo>
                    <a:pt x="43" y="227"/>
                  </a:lnTo>
                  <a:lnTo>
                    <a:pt x="43" y="221"/>
                  </a:lnTo>
                  <a:lnTo>
                    <a:pt x="43" y="227"/>
                  </a:lnTo>
                  <a:lnTo>
                    <a:pt x="49" y="233"/>
                  </a:lnTo>
                  <a:lnTo>
                    <a:pt x="43" y="227"/>
                  </a:lnTo>
                  <a:lnTo>
                    <a:pt x="49" y="227"/>
                  </a:lnTo>
                  <a:lnTo>
                    <a:pt x="49" y="233"/>
                  </a:lnTo>
                  <a:lnTo>
                    <a:pt x="49" y="227"/>
                  </a:lnTo>
                  <a:lnTo>
                    <a:pt x="49" y="233"/>
                  </a:lnTo>
                  <a:lnTo>
                    <a:pt x="55" y="233"/>
                  </a:lnTo>
                  <a:lnTo>
                    <a:pt x="55" y="227"/>
                  </a:lnTo>
                  <a:lnTo>
                    <a:pt x="55" y="233"/>
                  </a:lnTo>
                  <a:lnTo>
                    <a:pt x="55" y="227"/>
                  </a:lnTo>
                  <a:lnTo>
                    <a:pt x="62" y="233"/>
                  </a:lnTo>
                  <a:lnTo>
                    <a:pt x="55" y="239"/>
                  </a:lnTo>
                  <a:lnTo>
                    <a:pt x="62" y="239"/>
                  </a:lnTo>
                  <a:lnTo>
                    <a:pt x="62" y="245"/>
                  </a:lnTo>
                  <a:lnTo>
                    <a:pt x="62" y="239"/>
                  </a:lnTo>
                  <a:lnTo>
                    <a:pt x="55" y="239"/>
                  </a:lnTo>
                  <a:lnTo>
                    <a:pt x="55" y="245"/>
                  </a:lnTo>
                  <a:lnTo>
                    <a:pt x="55" y="239"/>
                  </a:lnTo>
                  <a:lnTo>
                    <a:pt x="49" y="239"/>
                  </a:lnTo>
                  <a:lnTo>
                    <a:pt x="43" y="239"/>
                  </a:lnTo>
                  <a:lnTo>
                    <a:pt x="37" y="239"/>
                  </a:lnTo>
                  <a:lnTo>
                    <a:pt x="43" y="239"/>
                  </a:lnTo>
                  <a:lnTo>
                    <a:pt x="37" y="239"/>
                  </a:lnTo>
                  <a:lnTo>
                    <a:pt x="43" y="239"/>
                  </a:lnTo>
                  <a:lnTo>
                    <a:pt x="43" y="245"/>
                  </a:lnTo>
                  <a:lnTo>
                    <a:pt x="37" y="245"/>
                  </a:lnTo>
                  <a:lnTo>
                    <a:pt x="37" y="251"/>
                  </a:lnTo>
                  <a:lnTo>
                    <a:pt x="43" y="251"/>
                  </a:lnTo>
                  <a:lnTo>
                    <a:pt x="49" y="258"/>
                  </a:lnTo>
                  <a:lnTo>
                    <a:pt x="49" y="264"/>
                  </a:lnTo>
                  <a:lnTo>
                    <a:pt x="49" y="270"/>
                  </a:lnTo>
                  <a:lnTo>
                    <a:pt x="55" y="276"/>
                  </a:lnTo>
                  <a:lnTo>
                    <a:pt x="55" y="282"/>
                  </a:lnTo>
                  <a:lnTo>
                    <a:pt x="62" y="282"/>
                  </a:lnTo>
                  <a:lnTo>
                    <a:pt x="55" y="282"/>
                  </a:lnTo>
                  <a:lnTo>
                    <a:pt x="55" y="288"/>
                  </a:lnTo>
                  <a:lnTo>
                    <a:pt x="62" y="294"/>
                  </a:lnTo>
                  <a:lnTo>
                    <a:pt x="62" y="288"/>
                  </a:lnTo>
                  <a:lnTo>
                    <a:pt x="68" y="288"/>
                  </a:lnTo>
                  <a:lnTo>
                    <a:pt x="68" y="282"/>
                  </a:lnTo>
                  <a:lnTo>
                    <a:pt x="74" y="288"/>
                  </a:lnTo>
                  <a:lnTo>
                    <a:pt x="74" y="294"/>
                  </a:lnTo>
                  <a:lnTo>
                    <a:pt x="80" y="294"/>
                  </a:lnTo>
                  <a:lnTo>
                    <a:pt x="80" y="288"/>
                  </a:lnTo>
                  <a:lnTo>
                    <a:pt x="86" y="288"/>
                  </a:lnTo>
                  <a:lnTo>
                    <a:pt x="92" y="288"/>
                  </a:lnTo>
                  <a:lnTo>
                    <a:pt x="92" y="282"/>
                  </a:lnTo>
                  <a:lnTo>
                    <a:pt x="98" y="288"/>
                  </a:lnTo>
                  <a:lnTo>
                    <a:pt x="98" y="282"/>
                  </a:lnTo>
                  <a:lnTo>
                    <a:pt x="104" y="282"/>
                  </a:lnTo>
                  <a:lnTo>
                    <a:pt x="104" y="288"/>
                  </a:lnTo>
                  <a:lnTo>
                    <a:pt x="111" y="288"/>
                  </a:lnTo>
                  <a:lnTo>
                    <a:pt x="117" y="288"/>
                  </a:lnTo>
                  <a:lnTo>
                    <a:pt x="117" y="282"/>
                  </a:lnTo>
                  <a:lnTo>
                    <a:pt x="123" y="282"/>
                  </a:lnTo>
                  <a:lnTo>
                    <a:pt x="123" y="288"/>
                  </a:lnTo>
                  <a:lnTo>
                    <a:pt x="129" y="294"/>
                  </a:lnTo>
                  <a:lnTo>
                    <a:pt x="129" y="288"/>
                  </a:lnTo>
                  <a:lnTo>
                    <a:pt x="129" y="282"/>
                  </a:lnTo>
                  <a:lnTo>
                    <a:pt x="135" y="288"/>
                  </a:lnTo>
                  <a:lnTo>
                    <a:pt x="135" y="294"/>
                  </a:lnTo>
                  <a:lnTo>
                    <a:pt x="141" y="294"/>
                  </a:lnTo>
                  <a:lnTo>
                    <a:pt x="135" y="294"/>
                  </a:lnTo>
                  <a:lnTo>
                    <a:pt x="141" y="300"/>
                  </a:lnTo>
                  <a:lnTo>
                    <a:pt x="147" y="300"/>
                  </a:lnTo>
                  <a:lnTo>
                    <a:pt x="153" y="300"/>
                  </a:lnTo>
                  <a:lnTo>
                    <a:pt x="147" y="300"/>
                  </a:lnTo>
                  <a:lnTo>
                    <a:pt x="153" y="300"/>
                  </a:lnTo>
                  <a:lnTo>
                    <a:pt x="160" y="307"/>
                  </a:lnTo>
                  <a:lnTo>
                    <a:pt x="153" y="313"/>
                  </a:lnTo>
                  <a:lnTo>
                    <a:pt x="147" y="313"/>
                  </a:lnTo>
                  <a:lnTo>
                    <a:pt x="141" y="313"/>
                  </a:lnTo>
                  <a:lnTo>
                    <a:pt x="141" y="319"/>
                  </a:lnTo>
                  <a:lnTo>
                    <a:pt x="147" y="319"/>
                  </a:lnTo>
                  <a:lnTo>
                    <a:pt x="147" y="325"/>
                  </a:lnTo>
                  <a:lnTo>
                    <a:pt x="153" y="325"/>
                  </a:lnTo>
                  <a:lnTo>
                    <a:pt x="153" y="319"/>
                  </a:lnTo>
                  <a:lnTo>
                    <a:pt x="160" y="319"/>
                  </a:lnTo>
                  <a:lnTo>
                    <a:pt x="166" y="319"/>
                  </a:lnTo>
                  <a:lnTo>
                    <a:pt x="172" y="313"/>
                  </a:lnTo>
                  <a:lnTo>
                    <a:pt x="178" y="313"/>
                  </a:lnTo>
                  <a:lnTo>
                    <a:pt x="178" y="319"/>
                  </a:lnTo>
                  <a:lnTo>
                    <a:pt x="172" y="319"/>
                  </a:lnTo>
                  <a:lnTo>
                    <a:pt x="178" y="319"/>
                  </a:lnTo>
                  <a:lnTo>
                    <a:pt x="178" y="325"/>
                  </a:lnTo>
                  <a:lnTo>
                    <a:pt x="184" y="325"/>
                  </a:lnTo>
                  <a:lnTo>
                    <a:pt x="184" y="331"/>
                  </a:lnTo>
                  <a:lnTo>
                    <a:pt x="184" y="337"/>
                  </a:lnTo>
                  <a:lnTo>
                    <a:pt x="184" y="331"/>
                  </a:lnTo>
                  <a:lnTo>
                    <a:pt x="190" y="331"/>
                  </a:lnTo>
                  <a:lnTo>
                    <a:pt x="190" y="337"/>
                  </a:lnTo>
                  <a:lnTo>
                    <a:pt x="190" y="343"/>
                  </a:lnTo>
                  <a:lnTo>
                    <a:pt x="196" y="343"/>
                  </a:lnTo>
                  <a:lnTo>
                    <a:pt x="196" y="349"/>
                  </a:lnTo>
                  <a:lnTo>
                    <a:pt x="196" y="343"/>
                  </a:lnTo>
                  <a:lnTo>
                    <a:pt x="203" y="343"/>
                  </a:lnTo>
                  <a:lnTo>
                    <a:pt x="203" y="337"/>
                  </a:lnTo>
                  <a:lnTo>
                    <a:pt x="196" y="331"/>
                  </a:lnTo>
                  <a:lnTo>
                    <a:pt x="196" y="325"/>
                  </a:lnTo>
                  <a:lnTo>
                    <a:pt x="196" y="319"/>
                  </a:lnTo>
                  <a:lnTo>
                    <a:pt x="196" y="313"/>
                  </a:lnTo>
                  <a:lnTo>
                    <a:pt x="196" y="307"/>
                  </a:lnTo>
                  <a:lnTo>
                    <a:pt x="203" y="307"/>
                  </a:lnTo>
                  <a:lnTo>
                    <a:pt x="203" y="300"/>
                  </a:lnTo>
                  <a:lnTo>
                    <a:pt x="196" y="294"/>
                  </a:lnTo>
                  <a:lnTo>
                    <a:pt x="190" y="294"/>
                  </a:lnTo>
                  <a:lnTo>
                    <a:pt x="190" y="288"/>
                  </a:lnTo>
                  <a:lnTo>
                    <a:pt x="184" y="288"/>
                  </a:lnTo>
                  <a:lnTo>
                    <a:pt x="178" y="28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39" name="Freeform 266"/>
            <p:cNvSpPr>
              <a:spLocks/>
            </p:cNvSpPr>
            <p:nvPr/>
          </p:nvSpPr>
          <p:spPr bwMode="auto">
            <a:xfrm>
              <a:off x="4645004" y="6120549"/>
              <a:ext cx="189163" cy="251670"/>
            </a:xfrm>
            <a:custGeom>
              <a:avLst/>
              <a:gdLst>
                <a:gd name="T0" fmla="*/ 246974682 w 117"/>
                <a:gd name="T1" fmla="*/ 138607800 h 172"/>
                <a:gd name="T2" fmla="*/ 246974682 w 117"/>
                <a:gd name="T3" fmla="*/ 108367524 h 172"/>
                <a:gd name="T4" fmla="*/ 216732897 w 117"/>
                <a:gd name="T5" fmla="*/ 93246567 h 172"/>
                <a:gd name="T6" fmla="*/ 201611954 w 117"/>
                <a:gd name="T7" fmla="*/ 63003115 h 172"/>
                <a:gd name="T8" fmla="*/ 171370169 w 117"/>
                <a:gd name="T9" fmla="*/ 47883758 h 172"/>
                <a:gd name="T10" fmla="*/ 123486547 w 117"/>
                <a:gd name="T11" fmla="*/ 30241877 h 172"/>
                <a:gd name="T12" fmla="*/ 108365655 w 117"/>
                <a:gd name="T13" fmla="*/ 0 h 172"/>
                <a:gd name="T14" fmla="*/ 78123844 w 117"/>
                <a:gd name="T15" fmla="*/ 30241877 h 172"/>
                <a:gd name="T16" fmla="*/ 47882046 w 117"/>
                <a:gd name="T17" fmla="*/ 30241877 h 172"/>
                <a:gd name="T18" fmla="*/ 32761153 w 117"/>
                <a:gd name="T19" fmla="*/ 63003115 h 172"/>
                <a:gd name="T20" fmla="*/ 17640254 w 117"/>
                <a:gd name="T21" fmla="*/ 93246567 h 172"/>
                <a:gd name="T22" fmla="*/ 17640254 w 117"/>
                <a:gd name="T23" fmla="*/ 108367524 h 172"/>
                <a:gd name="T24" fmla="*/ 32761153 w 117"/>
                <a:gd name="T25" fmla="*/ 138607800 h 172"/>
                <a:gd name="T26" fmla="*/ 47882046 w 117"/>
                <a:gd name="T27" fmla="*/ 171370614 h 172"/>
                <a:gd name="T28" fmla="*/ 78123844 w 117"/>
                <a:gd name="T29" fmla="*/ 231854392 h 172"/>
                <a:gd name="T30" fmla="*/ 63002951 w 117"/>
                <a:gd name="T31" fmla="*/ 277217188 h 172"/>
                <a:gd name="T32" fmla="*/ 78123844 w 117"/>
                <a:gd name="T33" fmla="*/ 309978414 h 172"/>
                <a:gd name="T34" fmla="*/ 93244737 w 117"/>
                <a:gd name="T35" fmla="*/ 340221866 h 172"/>
                <a:gd name="T36" fmla="*/ 108365655 w 117"/>
                <a:gd name="T37" fmla="*/ 340221866 h 172"/>
                <a:gd name="T38" fmla="*/ 108365655 w 117"/>
                <a:gd name="T39" fmla="*/ 294857482 h 172"/>
                <a:gd name="T40" fmla="*/ 141128383 w 117"/>
                <a:gd name="T41" fmla="*/ 325100934 h 172"/>
                <a:gd name="T42" fmla="*/ 156249276 w 117"/>
                <a:gd name="T43" fmla="*/ 340221866 h 172"/>
                <a:gd name="T44" fmla="*/ 156249276 w 117"/>
                <a:gd name="T45" fmla="*/ 370463730 h 172"/>
                <a:gd name="T46" fmla="*/ 156249276 w 117"/>
                <a:gd name="T47" fmla="*/ 385584662 h 172"/>
                <a:gd name="T48" fmla="*/ 171370169 w 117"/>
                <a:gd name="T49" fmla="*/ 418345987 h 172"/>
                <a:gd name="T50" fmla="*/ 171370169 w 117"/>
                <a:gd name="T51" fmla="*/ 400705595 h 172"/>
                <a:gd name="T52" fmla="*/ 186491061 w 117"/>
                <a:gd name="T53" fmla="*/ 370463730 h 172"/>
                <a:gd name="T54" fmla="*/ 186491061 w 117"/>
                <a:gd name="T55" fmla="*/ 355342798 h 172"/>
                <a:gd name="T56" fmla="*/ 216732897 w 117"/>
                <a:gd name="T57" fmla="*/ 355342798 h 172"/>
                <a:gd name="T58" fmla="*/ 216732897 w 117"/>
                <a:gd name="T59" fmla="*/ 370463730 h 172"/>
                <a:gd name="T60" fmla="*/ 231853790 w 117"/>
                <a:gd name="T61" fmla="*/ 400705595 h 172"/>
                <a:gd name="T62" fmla="*/ 264614930 w 117"/>
                <a:gd name="T63" fmla="*/ 418345987 h 172"/>
                <a:gd name="T64" fmla="*/ 246974682 w 117"/>
                <a:gd name="T65" fmla="*/ 385584662 h 172"/>
                <a:gd name="T66" fmla="*/ 231853790 w 117"/>
                <a:gd name="T67" fmla="*/ 355342798 h 172"/>
                <a:gd name="T68" fmla="*/ 246974682 w 117"/>
                <a:gd name="T69" fmla="*/ 325100934 h 172"/>
                <a:gd name="T70" fmla="*/ 231853790 w 117"/>
                <a:gd name="T71" fmla="*/ 294857482 h 172"/>
                <a:gd name="T72" fmla="*/ 216732897 w 117"/>
                <a:gd name="T73" fmla="*/ 277217188 h 172"/>
                <a:gd name="T74" fmla="*/ 216732897 w 117"/>
                <a:gd name="T75" fmla="*/ 231854392 h 172"/>
                <a:gd name="T76" fmla="*/ 201611954 w 117"/>
                <a:gd name="T77" fmla="*/ 201612478 h 172"/>
                <a:gd name="T78" fmla="*/ 216732897 w 117"/>
                <a:gd name="T79" fmla="*/ 171370614 h 172"/>
                <a:gd name="T80" fmla="*/ 231853790 w 117"/>
                <a:gd name="T81" fmla="*/ 201612478 h 172"/>
                <a:gd name="T82" fmla="*/ 246974682 w 117"/>
                <a:gd name="T83" fmla="*/ 216733460 h 172"/>
                <a:gd name="T84" fmla="*/ 264614930 w 117"/>
                <a:gd name="T85" fmla="*/ 216733460 h 172"/>
                <a:gd name="T86" fmla="*/ 279735823 w 117"/>
                <a:gd name="T87" fmla="*/ 216733460 h 172"/>
                <a:gd name="T88" fmla="*/ 294856716 w 117"/>
                <a:gd name="T89" fmla="*/ 186491546 h 172"/>
                <a:gd name="T90" fmla="*/ 279735823 w 117"/>
                <a:gd name="T91" fmla="*/ 153728733 h 172"/>
                <a:gd name="T92" fmla="*/ 264614930 w 117"/>
                <a:gd name="T93" fmla="*/ 171370614 h 1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7"/>
                <a:gd name="T142" fmla="*/ 0 h 172"/>
                <a:gd name="T143" fmla="*/ 117 w 117"/>
                <a:gd name="T144" fmla="*/ 172 h 1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7" h="172">
                  <a:moveTo>
                    <a:pt x="105" y="61"/>
                  </a:moveTo>
                  <a:lnTo>
                    <a:pt x="98" y="61"/>
                  </a:lnTo>
                  <a:lnTo>
                    <a:pt x="98" y="55"/>
                  </a:lnTo>
                  <a:lnTo>
                    <a:pt x="98" y="49"/>
                  </a:lnTo>
                  <a:lnTo>
                    <a:pt x="105" y="49"/>
                  </a:lnTo>
                  <a:lnTo>
                    <a:pt x="98" y="43"/>
                  </a:lnTo>
                  <a:lnTo>
                    <a:pt x="92" y="43"/>
                  </a:lnTo>
                  <a:lnTo>
                    <a:pt x="92" y="37"/>
                  </a:lnTo>
                  <a:lnTo>
                    <a:pt x="86" y="37"/>
                  </a:lnTo>
                  <a:lnTo>
                    <a:pt x="86" y="31"/>
                  </a:lnTo>
                  <a:lnTo>
                    <a:pt x="80" y="31"/>
                  </a:lnTo>
                  <a:lnTo>
                    <a:pt x="80" y="25"/>
                  </a:lnTo>
                  <a:lnTo>
                    <a:pt x="74" y="25"/>
                  </a:lnTo>
                  <a:lnTo>
                    <a:pt x="74" y="19"/>
                  </a:lnTo>
                  <a:lnTo>
                    <a:pt x="68" y="19"/>
                  </a:lnTo>
                  <a:lnTo>
                    <a:pt x="62" y="12"/>
                  </a:lnTo>
                  <a:lnTo>
                    <a:pt x="56" y="12"/>
                  </a:lnTo>
                  <a:lnTo>
                    <a:pt x="49" y="12"/>
                  </a:lnTo>
                  <a:lnTo>
                    <a:pt x="49" y="6"/>
                  </a:lnTo>
                  <a:lnTo>
                    <a:pt x="43" y="6"/>
                  </a:lnTo>
                  <a:lnTo>
                    <a:pt x="43" y="0"/>
                  </a:lnTo>
                  <a:lnTo>
                    <a:pt x="37" y="0"/>
                  </a:lnTo>
                  <a:lnTo>
                    <a:pt x="31" y="6"/>
                  </a:lnTo>
                  <a:lnTo>
                    <a:pt x="31" y="12"/>
                  </a:lnTo>
                  <a:lnTo>
                    <a:pt x="31" y="19"/>
                  </a:lnTo>
                  <a:lnTo>
                    <a:pt x="25" y="19"/>
                  </a:lnTo>
                  <a:lnTo>
                    <a:pt x="19" y="12"/>
                  </a:lnTo>
                  <a:lnTo>
                    <a:pt x="13" y="12"/>
                  </a:lnTo>
                  <a:lnTo>
                    <a:pt x="13" y="19"/>
                  </a:lnTo>
                  <a:lnTo>
                    <a:pt x="13" y="25"/>
                  </a:lnTo>
                  <a:lnTo>
                    <a:pt x="13" y="31"/>
                  </a:lnTo>
                  <a:lnTo>
                    <a:pt x="7" y="31"/>
                  </a:lnTo>
                  <a:lnTo>
                    <a:pt x="7" y="37"/>
                  </a:lnTo>
                  <a:lnTo>
                    <a:pt x="0" y="37"/>
                  </a:lnTo>
                  <a:lnTo>
                    <a:pt x="0" y="43"/>
                  </a:lnTo>
                  <a:lnTo>
                    <a:pt x="7" y="43"/>
                  </a:lnTo>
                  <a:lnTo>
                    <a:pt x="7" y="49"/>
                  </a:lnTo>
                  <a:lnTo>
                    <a:pt x="13" y="49"/>
                  </a:lnTo>
                  <a:lnTo>
                    <a:pt x="13" y="55"/>
                  </a:lnTo>
                  <a:lnTo>
                    <a:pt x="13" y="61"/>
                  </a:lnTo>
                  <a:lnTo>
                    <a:pt x="19" y="61"/>
                  </a:lnTo>
                  <a:lnTo>
                    <a:pt x="19" y="68"/>
                  </a:lnTo>
                  <a:lnTo>
                    <a:pt x="25" y="74"/>
                  </a:lnTo>
                  <a:lnTo>
                    <a:pt x="25" y="80"/>
                  </a:lnTo>
                  <a:lnTo>
                    <a:pt x="31" y="92"/>
                  </a:lnTo>
                  <a:lnTo>
                    <a:pt x="25" y="98"/>
                  </a:lnTo>
                  <a:lnTo>
                    <a:pt x="25" y="104"/>
                  </a:lnTo>
                  <a:lnTo>
                    <a:pt x="25" y="110"/>
                  </a:lnTo>
                  <a:lnTo>
                    <a:pt x="25" y="117"/>
                  </a:lnTo>
                  <a:lnTo>
                    <a:pt x="25" y="123"/>
                  </a:lnTo>
                  <a:lnTo>
                    <a:pt x="31" y="123"/>
                  </a:lnTo>
                  <a:lnTo>
                    <a:pt x="31" y="129"/>
                  </a:lnTo>
                  <a:lnTo>
                    <a:pt x="31" y="135"/>
                  </a:lnTo>
                  <a:lnTo>
                    <a:pt x="37" y="135"/>
                  </a:lnTo>
                  <a:lnTo>
                    <a:pt x="37" y="141"/>
                  </a:lnTo>
                  <a:lnTo>
                    <a:pt x="43" y="141"/>
                  </a:lnTo>
                  <a:lnTo>
                    <a:pt x="43" y="135"/>
                  </a:lnTo>
                  <a:lnTo>
                    <a:pt x="43" y="129"/>
                  </a:lnTo>
                  <a:lnTo>
                    <a:pt x="43" y="123"/>
                  </a:lnTo>
                  <a:lnTo>
                    <a:pt x="43" y="117"/>
                  </a:lnTo>
                  <a:lnTo>
                    <a:pt x="49" y="117"/>
                  </a:lnTo>
                  <a:lnTo>
                    <a:pt x="49" y="123"/>
                  </a:lnTo>
                  <a:lnTo>
                    <a:pt x="56" y="129"/>
                  </a:lnTo>
                  <a:lnTo>
                    <a:pt x="56" y="123"/>
                  </a:lnTo>
                  <a:lnTo>
                    <a:pt x="56" y="129"/>
                  </a:lnTo>
                  <a:lnTo>
                    <a:pt x="62" y="135"/>
                  </a:lnTo>
                  <a:lnTo>
                    <a:pt x="56" y="135"/>
                  </a:lnTo>
                  <a:lnTo>
                    <a:pt x="62" y="141"/>
                  </a:lnTo>
                  <a:lnTo>
                    <a:pt x="62" y="147"/>
                  </a:lnTo>
                  <a:lnTo>
                    <a:pt x="62" y="153"/>
                  </a:lnTo>
                  <a:lnTo>
                    <a:pt x="62" y="159"/>
                  </a:lnTo>
                  <a:lnTo>
                    <a:pt x="62" y="153"/>
                  </a:lnTo>
                  <a:lnTo>
                    <a:pt x="62" y="159"/>
                  </a:lnTo>
                  <a:lnTo>
                    <a:pt x="62" y="166"/>
                  </a:lnTo>
                  <a:lnTo>
                    <a:pt x="68" y="166"/>
                  </a:lnTo>
                  <a:lnTo>
                    <a:pt x="68" y="172"/>
                  </a:lnTo>
                  <a:lnTo>
                    <a:pt x="68" y="166"/>
                  </a:lnTo>
                  <a:lnTo>
                    <a:pt x="68" y="159"/>
                  </a:lnTo>
                  <a:lnTo>
                    <a:pt x="68" y="153"/>
                  </a:lnTo>
                  <a:lnTo>
                    <a:pt x="68" y="147"/>
                  </a:lnTo>
                  <a:lnTo>
                    <a:pt x="74" y="147"/>
                  </a:lnTo>
                  <a:lnTo>
                    <a:pt x="68" y="147"/>
                  </a:lnTo>
                  <a:lnTo>
                    <a:pt x="68" y="141"/>
                  </a:lnTo>
                  <a:lnTo>
                    <a:pt x="74" y="141"/>
                  </a:lnTo>
                  <a:lnTo>
                    <a:pt x="74" y="135"/>
                  </a:lnTo>
                  <a:lnTo>
                    <a:pt x="80" y="135"/>
                  </a:lnTo>
                  <a:lnTo>
                    <a:pt x="86" y="141"/>
                  </a:lnTo>
                  <a:lnTo>
                    <a:pt x="86" y="147"/>
                  </a:lnTo>
                  <a:lnTo>
                    <a:pt x="86" y="141"/>
                  </a:lnTo>
                  <a:lnTo>
                    <a:pt x="86" y="147"/>
                  </a:lnTo>
                  <a:lnTo>
                    <a:pt x="86" y="153"/>
                  </a:lnTo>
                  <a:lnTo>
                    <a:pt x="92" y="153"/>
                  </a:lnTo>
                  <a:lnTo>
                    <a:pt x="92" y="159"/>
                  </a:lnTo>
                  <a:lnTo>
                    <a:pt x="98" y="159"/>
                  </a:lnTo>
                  <a:lnTo>
                    <a:pt x="98" y="166"/>
                  </a:lnTo>
                  <a:lnTo>
                    <a:pt x="105" y="166"/>
                  </a:lnTo>
                  <a:lnTo>
                    <a:pt x="98" y="166"/>
                  </a:lnTo>
                  <a:lnTo>
                    <a:pt x="98" y="159"/>
                  </a:lnTo>
                  <a:lnTo>
                    <a:pt x="98" y="153"/>
                  </a:lnTo>
                  <a:lnTo>
                    <a:pt x="92" y="147"/>
                  </a:lnTo>
                  <a:lnTo>
                    <a:pt x="98" y="141"/>
                  </a:lnTo>
                  <a:lnTo>
                    <a:pt x="92" y="141"/>
                  </a:lnTo>
                  <a:lnTo>
                    <a:pt x="98" y="141"/>
                  </a:lnTo>
                  <a:lnTo>
                    <a:pt x="98" y="135"/>
                  </a:lnTo>
                  <a:lnTo>
                    <a:pt x="98" y="129"/>
                  </a:lnTo>
                  <a:lnTo>
                    <a:pt x="92" y="129"/>
                  </a:lnTo>
                  <a:lnTo>
                    <a:pt x="92" y="123"/>
                  </a:lnTo>
                  <a:lnTo>
                    <a:pt x="92" y="117"/>
                  </a:lnTo>
                  <a:lnTo>
                    <a:pt x="92" y="110"/>
                  </a:lnTo>
                  <a:lnTo>
                    <a:pt x="92" y="104"/>
                  </a:lnTo>
                  <a:lnTo>
                    <a:pt x="86" y="110"/>
                  </a:lnTo>
                  <a:lnTo>
                    <a:pt x="86" y="104"/>
                  </a:lnTo>
                  <a:lnTo>
                    <a:pt x="86" y="98"/>
                  </a:lnTo>
                  <a:lnTo>
                    <a:pt x="86" y="92"/>
                  </a:lnTo>
                  <a:lnTo>
                    <a:pt x="86" y="86"/>
                  </a:lnTo>
                  <a:lnTo>
                    <a:pt x="80" y="86"/>
                  </a:lnTo>
                  <a:lnTo>
                    <a:pt x="80" y="80"/>
                  </a:lnTo>
                  <a:lnTo>
                    <a:pt x="80" y="74"/>
                  </a:lnTo>
                  <a:lnTo>
                    <a:pt x="80" y="68"/>
                  </a:lnTo>
                  <a:lnTo>
                    <a:pt x="86" y="68"/>
                  </a:lnTo>
                  <a:lnTo>
                    <a:pt x="86" y="74"/>
                  </a:lnTo>
                  <a:lnTo>
                    <a:pt x="92" y="74"/>
                  </a:lnTo>
                  <a:lnTo>
                    <a:pt x="92" y="80"/>
                  </a:lnTo>
                  <a:lnTo>
                    <a:pt x="92" y="74"/>
                  </a:lnTo>
                  <a:lnTo>
                    <a:pt x="98" y="80"/>
                  </a:lnTo>
                  <a:lnTo>
                    <a:pt x="98" y="86"/>
                  </a:lnTo>
                  <a:lnTo>
                    <a:pt x="98" y="92"/>
                  </a:lnTo>
                  <a:lnTo>
                    <a:pt x="105" y="92"/>
                  </a:lnTo>
                  <a:lnTo>
                    <a:pt x="105" y="86"/>
                  </a:lnTo>
                  <a:lnTo>
                    <a:pt x="105" y="80"/>
                  </a:lnTo>
                  <a:lnTo>
                    <a:pt x="105" y="86"/>
                  </a:lnTo>
                  <a:lnTo>
                    <a:pt x="111" y="86"/>
                  </a:lnTo>
                  <a:lnTo>
                    <a:pt x="111" y="80"/>
                  </a:lnTo>
                  <a:lnTo>
                    <a:pt x="117" y="80"/>
                  </a:lnTo>
                  <a:lnTo>
                    <a:pt x="117" y="74"/>
                  </a:lnTo>
                  <a:lnTo>
                    <a:pt x="111" y="74"/>
                  </a:lnTo>
                  <a:lnTo>
                    <a:pt x="111" y="68"/>
                  </a:lnTo>
                  <a:lnTo>
                    <a:pt x="111" y="61"/>
                  </a:lnTo>
                  <a:lnTo>
                    <a:pt x="111" y="68"/>
                  </a:lnTo>
                  <a:lnTo>
                    <a:pt x="111" y="74"/>
                  </a:lnTo>
                  <a:lnTo>
                    <a:pt x="105" y="68"/>
                  </a:lnTo>
                  <a:lnTo>
                    <a:pt x="105" y="6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0" name="Freeform 267"/>
            <p:cNvSpPr>
              <a:spLocks/>
            </p:cNvSpPr>
            <p:nvPr/>
          </p:nvSpPr>
          <p:spPr bwMode="auto">
            <a:xfrm>
              <a:off x="4834167" y="6452695"/>
              <a:ext cx="227966" cy="98035"/>
            </a:xfrm>
            <a:custGeom>
              <a:avLst/>
              <a:gdLst>
                <a:gd name="T0" fmla="*/ 216733927 w 141"/>
                <a:gd name="T1" fmla="*/ 168852029 h 67"/>
                <a:gd name="T2" fmla="*/ 246975856 w 141"/>
                <a:gd name="T3" fmla="*/ 153731027 h 67"/>
                <a:gd name="T4" fmla="*/ 262096821 w 141"/>
                <a:gd name="T5" fmla="*/ 138610026 h 67"/>
                <a:gd name="T6" fmla="*/ 292338751 w 141"/>
                <a:gd name="T7" fmla="*/ 153731027 h 67"/>
                <a:gd name="T8" fmla="*/ 307459715 w 141"/>
                <a:gd name="T9" fmla="*/ 153731027 h 67"/>
                <a:gd name="T10" fmla="*/ 340222599 w 141"/>
                <a:gd name="T11" fmla="*/ 138610026 h 67"/>
                <a:gd name="T12" fmla="*/ 355343564 w 141"/>
                <a:gd name="T13" fmla="*/ 108368022 h 67"/>
                <a:gd name="T14" fmla="*/ 340222599 w 141"/>
                <a:gd name="T15" fmla="*/ 93246996 h 67"/>
                <a:gd name="T16" fmla="*/ 340222599 w 141"/>
                <a:gd name="T17" fmla="*/ 93246996 h 67"/>
                <a:gd name="T18" fmla="*/ 325101635 w 141"/>
                <a:gd name="T19" fmla="*/ 108368022 h 67"/>
                <a:gd name="T20" fmla="*/ 292338751 w 141"/>
                <a:gd name="T21" fmla="*/ 108368022 h 67"/>
                <a:gd name="T22" fmla="*/ 277217786 w 141"/>
                <a:gd name="T23" fmla="*/ 123489024 h 67"/>
                <a:gd name="T24" fmla="*/ 277217786 w 141"/>
                <a:gd name="T25" fmla="*/ 93246996 h 67"/>
                <a:gd name="T26" fmla="*/ 262096821 w 141"/>
                <a:gd name="T27" fmla="*/ 75605033 h 67"/>
                <a:gd name="T28" fmla="*/ 246975856 w 141"/>
                <a:gd name="T29" fmla="*/ 93246996 h 67"/>
                <a:gd name="T30" fmla="*/ 216733927 w 141"/>
                <a:gd name="T31" fmla="*/ 75605033 h 67"/>
                <a:gd name="T32" fmla="*/ 201612913 w 141"/>
                <a:gd name="T33" fmla="*/ 60484032 h 67"/>
                <a:gd name="T34" fmla="*/ 168851616 w 141"/>
                <a:gd name="T35" fmla="*/ 60484032 h 67"/>
                <a:gd name="T36" fmla="*/ 138609687 w 141"/>
                <a:gd name="T37" fmla="*/ 60484032 h 67"/>
                <a:gd name="T38" fmla="*/ 108367757 w 141"/>
                <a:gd name="T39" fmla="*/ 75605033 h 67"/>
                <a:gd name="T40" fmla="*/ 93246768 w 141"/>
                <a:gd name="T41" fmla="*/ 60484032 h 67"/>
                <a:gd name="T42" fmla="*/ 93246768 w 141"/>
                <a:gd name="T43" fmla="*/ 60484032 h 67"/>
                <a:gd name="T44" fmla="*/ 78125803 w 141"/>
                <a:gd name="T45" fmla="*/ 45363017 h 67"/>
                <a:gd name="T46" fmla="*/ 93246768 w 141"/>
                <a:gd name="T47" fmla="*/ 30242016 h 67"/>
                <a:gd name="T48" fmla="*/ 78125803 w 141"/>
                <a:gd name="T49" fmla="*/ 15121008 h 67"/>
                <a:gd name="T50" fmla="*/ 78125803 w 141"/>
                <a:gd name="T51" fmla="*/ 45363017 h 67"/>
                <a:gd name="T52" fmla="*/ 45362907 w 141"/>
                <a:gd name="T53" fmla="*/ 45363017 h 67"/>
                <a:gd name="T54" fmla="*/ 45362907 w 141"/>
                <a:gd name="T55" fmla="*/ 15121008 h 67"/>
                <a:gd name="T56" fmla="*/ 30241942 w 141"/>
                <a:gd name="T57" fmla="*/ 0 h 67"/>
                <a:gd name="T58" fmla="*/ 30241942 w 141"/>
                <a:gd name="T59" fmla="*/ 30242016 h 67"/>
                <a:gd name="T60" fmla="*/ 15120971 w 141"/>
                <a:gd name="T61" fmla="*/ 45363017 h 67"/>
                <a:gd name="T62" fmla="*/ 15120971 w 141"/>
                <a:gd name="T63" fmla="*/ 15121008 h 67"/>
                <a:gd name="T64" fmla="*/ 15120971 w 141"/>
                <a:gd name="T65" fmla="*/ 45363017 h 67"/>
                <a:gd name="T66" fmla="*/ 15120971 w 141"/>
                <a:gd name="T67" fmla="*/ 75605033 h 67"/>
                <a:gd name="T68" fmla="*/ 0 w 141"/>
                <a:gd name="T69" fmla="*/ 93246996 h 67"/>
                <a:gd name="T70" fmla="*/ 15120971 w 141"/>
                <a:gd name="T71" fmla="*/ 108368022 h 67"/>
                <a:gd name="T72" fmla="*/ 45362907 w 141"/>
                <a:gd name="T73" fmla="*/ 108368022 h 67"/>
                <a:gd name="T74" fmla="*/ 78125803 w 141"/>
                <a:gd name="T75" fmla="*/ 108368022 h 67"/>
                <a:gd name="T76" fmla="*/ 108367757 w 141"/>
                <a:gd name="T77" fmla="*/ 108368022 h 67"/>
                <a:gd name="T78" fmla="*/ 108367757 w 141"/>
                <a:gd name="T79" fmla="*/ 108368022 h 67"/>
                <a:gd name="T80" fmla="*/ 108367757 w 141"/>
                <a:gd name="T81" fmla="*/ 123489024 h 67"/>
                <a:gd name="T82" fmla="*/ 138609687 w 141"/>
                <a:gd name="T83" fmla="*/ 123489024 h 67"/>
                <a:gd name="T84" fmla="*/ 153730651 w 141"/>
                <a:gd name="T85" fmla="*/ 123489024 h 67"/>
                <a:gd name="T86" fmla="*/ 153730651 w 141"/>
                <a:gd name="T87" fmla="*/ 153731027 h 67"/>
                <a:gd name="T88" fmla="*/ 168851616 w 141"/>
                <a:gd name="T89" fmla="*/ 168852029 h 67"/>
                <a:gd name="T90" fmla="*/ 201612913 w 141"/>
                <a:gd name="T91" fmla="*/ 168852029 h 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1"/>
                <a:gd name="T139" fmla="*/ 0 h 67"/>
                <a:gd name="T140" fmla="*/ 141 w 141"/>
                <a:gd name="T141" fmla="*/ 67 h 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1" h="67">
                  <a:moveTo>
                    <a:pt x="80" y="67"/>
                  </a:moveTo>
                  <a:lnTo>
                    <a:pt x="86" y="67"/>
                  </a:lnTo>
                  <a:lnTo>
                    <a:pt x="92" y="61"/>
                  </a:lnTo>
                  <a:lnTo>
                    <a:pt x="98" y="61"/>
                  </a:lnTo>
                  <a:lnTo>
                    <a:pt x="104" y="61"/>
                  </a:lnTo>
                  <a:lnTo>
                    <a:pt x="104" y="55"/>
                  </a:lnTo>
                  <a:lnTo>
                    <a:pt x="110" y="61"/>
                  </a:lnTo>
                  <a:lnTo>
                    <a:pt x="116" y="61"/>
                  </a:lnTo>
                  <a:lnTo>
                    <a:pt x="122" y="55"/>
                  </a:lnTo>
                  <a:lnTo>
                    <a:pt x="122" y="61"/>
                  </a:lnTo>
                  <a:lnTo>
                    <a:pt x="129" y="61"/>
                  </a:lnTo>
                  <a:lnTo>
                    <a:pt x="135" y="55"/>
                  </a:lnTo>
                  <a:lnTo>
                    <a:pt x="135" y="49"/>
                  </a:lnTo>
                  <a:lnTo>
                    <a:pt x="141" y="43"/>
                  </a:lnTo>
                  <a:lnTo>
                    <a:pt x="135" y="43"/>
                  </a:lnTo>
                  <a:lnTo>
                    <a:pt x="135" y="37"/>
                  </a:lnTo>
                  <a:lnTo>
                    <a:pt x="141" y="30"/>
                  </a:lnTo>
                  <a:lnTo>
                    <a:pt x="135" y="37"/>
                  </a:lnTo>
                  <a:lnTo>
                    <a:pt x="135" y="43"/>
                  </a:lnTo>
                  <a:lnTo>
                    <a:pt x="129" y="43"/>
                  </a:lnTo>
                  <a:lnTo>
                    <a:pt x="122" y="43"/>
                  </a:lnTo>
                  <a:lnTo>
                    <a:pt x="116" y="43"/>
                  </a:lnTo>
                  <a:lnTo>
                    <a:pt x="116" y="49"/>
                  </a:lnTo>
                  <a:lnTo>
                    <a:pt x="110" y="49"/>
                  </a:lnTo>
                  <a:lnTo>
                    <a:pt x="110" y="43"/>
                  </a:lnTo>
                  <a:lnTo>
                    <a:pt x="110" y="37"/>
                  </a:lnTo>
                  <a:lnTo>
                    <a:pt x="110" y="30"/>
                  </a:lnTo>
                  <a:lnTo>
                    <a:pt x="104" y="30"/>
                  </a:lnTo>
                  <a:lnTo>
                    <a:pt x="98" y="30"/>
                  </a:lnTo>
                  <a:lnTo>
                    <a:pt x="98" y="37"/>
                  </a:lnTo>
                  <a:lnTo>
                    <a:pt x="92" y="30"/>
                  </a:lnTo>
                  <a:lnTo>
                    <a:pt x="86" y="30"/>
                  </a:lnTo>
                  <a:lnTo>
                    <a:pt x="80" y="30"/>
                  </a:lnTo>
                  <a:lnTo>
                    <a:pt x="80" y="24"/>
                  </a:lnTo>
                  <a:lnTo>
                    <a:pt x="73" y="24"/>
                  </a:lnTo>
                  <a:lnTo>
                    <a:pt x="67" y="24"/>
                  </a:lnTo>
                  <a:lnTo>
                    <a:pt x="61" y="24"/>
                  </a:lnTo>
                  <a:lnTo>
                    <a:pt x="55" y="24"/>
                  </a:lnTo>
                  <a:lnTo>
                    <a:pt x="49" y="30"/>
                  </a:lnTo>
                  <a:lnTo>
                    <a:pt x="43" y="30"/>
                  </a:lnTo>
                  <a:lnTo>
                    <a:pt x="37" y="30"/>
                  </a:lnTo>
                  <a:lnTo>
                    <a:pt x="37" y="24"/>
                  </a:lnTo>
                  <a:lnTo>
                    <a:pt x="37" y="18"/>
                  </a:lnTo>
                  <a:lnTo>
                    <a:pt x="37" y="24"/>
                  </a:lnTo>
                  <a:lnTo>
                    <a:pt x="37" y="18"/>
                  </a:lnTo>
                  <a:lnTo>
                    <a:pt x="31" y="18"/>
                  </a:lnTo>
                  <a:lnTo>
                    <a:pt x="37" y="18"/>
                  </a:lnTo>
                  <a:lnTo>
                    <a:pt x="37" y="12"/>
                  </a:lnTo>
                  <a:lnTo>
                    <a:pt x="31" y="12"/>
                  </a:lnTo>
                  <a:lnTo>
                    <a:pt x="31" y="6"/>
                  </a:lnTo>
                  <a:lnTo>
                    <a:pt x="31" y="12"/>
                  </a:lnTo>
                  <a:lnTo>
                    <a:pt x="31" y="18"/>
                  </a:lnTo>
                  <a:lnTo>
                    <a:pt x="24" y="18"/>
                  </a:lnTo>
                  <a:lnTo>
                    <a:pt x="18" y="18"/>
                  </a:lnTo>
                  <a:lnTo>
                    <a:pt x="18" y="12"/>
                  </a:lnTo>
                  <a:lnTo>
                    <a:pt x="18" y="6"/>
                  </a:lnTo>
                  <a:lnTo>
                    <a:pt x="12" y="6"/>
                  </a:lnTo>
                  <a:lnTo>
                    <a:pt x="12" y="0"/>
                  </a:lnTo>
                  <a:lnTo>
                    <a:pt x="12" y="6"/>
                  </a:lnTo>
                  <a:lnTo>
                    <a:pt x="12" y="12"/>
                  </a:lnTo>
                  <a:lnTo>
                    <a:pt x="12" y="18"/>
                  </a:lnTo>
                  <a:lnTo>
                    <a:pt x="6" y="18"/>
                  </a:lnTo>
                  <a:lnTo>
                    <a:pt x="6" y="12"/>
                  </a:lnTo>
                  <a:lnTo>
                    <a:pt x="6" y="6"/>
                  </a:lnTo>
                  <a:lnTo>
                    <a:pt x="6" y="12"/>
                  </a:lnTo>
                  <a:lnTo>
                    <a:pt x="6" y="18"/>
                  </a:lnTo>
                  <a:lnTo>
                    <a:pt x="6" y="24"/>
                  </a:lnTo>
                  <a:lnTo>
                    <a:pt x="6" y="30"/>
                  </a:lnTo>
                  <a:lnTo>
                    <a:pt x="6" y="37"/>
                  </a:lnTo>
                  <a:lnTo>
                    <a:pt x="0" y="37"/>
                  </a:lnTo>
                  <a:lnTo>
                    <a:pt x="6" y="37"/>
                  </a:lnTo>
                  <a:lnTo>
                    <a:pt x="6" y="43"/>
                  </a:lnTo>
                  <a:lnTo>
                    <a:pt x="12" y="43"/>
                  </a:lnTo>
                  <a:lnTo>
                    <a:pt x="18" y="43"/>
                  </a:lnTo>
                  <a:lnTo>
                    <a:pt x="24" y="43"/>
                  </a:lnTo>
                  <a:lnTo>
                    <a:pt x="31" y="43"/>
                  </a:lnTo>
                  <a:lnTo>
                    <a:pt x="37" y="43"/>
                  </a:lnTo>
                  <a:lnTo>
                    <a:pt x="43" y="43"/>
                  </a:lnTo>
                  <a:lnTo>
                    <a:pt x="37" y="43"/>
                  </a:lnTo>
                  <a:lnTo>
                    <a:pt x="43" y="43"/>
                  </a:lnTo>
                  <a:lnTo>
                    <a:pt x="49" y="43"/>
                  </a:lnTo>
                  <a:lnTo>
                    <a:pt x="43" y="49"/>
                  </a:lnTo>
                  <a:lnTo>
                    <a:pt x="49" y="49"/>
                  </a:lnTo>
                  <a:lnTo>
                    <a:pt x="55" y="49"/>
                  </a:lnTo>
                  <a:lnTo>
                    <a:pt x="55" y="55"/>
                  </a:lnTo>
                  <a:lnTo>
                    <a:pt x="61" y="49"/>
                  </a:lnTo>
                  <a:lnTo>
                    <a:pt x="61" y="55"/>
                  </a:lnTo>
                  <a:lnTo>
                    <a:pt x="61" y="61"/>
                  </a:lnTo>
                  <a:lnTo>
                    <a:pt x="61" y="67"/>
                  </a:lnTo>
                  <a:lnTo>
                    <a:pt x="67" y="67"/>
                  </a:lnTo>
                  <a:lnTo>
                    <a:pt x="73" y="67"/>
                  </a:lnTo>
                  <a:lnTo>
                    <a:pt x="80" y="6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1" name="Freeform 268"/>
            <p:cNvSpPr>
              <a:spLocks/>
            </p:cNvSpPr>
            <p:nvPr/>
          </p:nvSpPr>
          <p:spPr bwMode="auto">
            <a:xfrm>
              <a:off x="4784047" y="6031294"/>
              <a:ext cx="139043" cy="134614"/>
            </a:xfrm>
            <a:custGeom>
              <a:avLst/>
              <a:gdLst>
                <a:gd name="T0" fmla="*/ 186491546 w 86"/>
                <a:gd name="T1" fmla="*/ 231854397 h 92"/>
                <a:gd name="T2" fmla="*/ 201612478 w 86"/>
                <a:gd name="T3" fmla="*/ 231854397 h 92"/>
                <a:gd name="T4" fmla="*/ 216733460 w 86"/>
                <a:gd name="T5" fmla="*/ 231854397 h 92"/>
                <a:gd name="T6" fmla="*/ 216733460 w 86"/>
                <a:gd name="T7" fmla="*/ 216733465 h 92"/>
                <a:gd name="T8" fmla="*/ 216733460 w 86"/>
                <a:gd name="T9" fmla="*/ 201612483 h 92"/>
                <a:gd name="T10" fmla="*/ 201612478 w 86"/>
                <a:gd name="T11" fmla="*/ 201612483 h 92"/>
                <a:gd name="T12" fmla="*/ 186491546 w 86"/>
                <a:gd name="T13" fmla="*/ 201612483 h 92"/>
                <a:gd name="T14" fmla="*/ 186491546 w 86"/>
                <a:gd name="T15" fmla="*/ 183972189 h 92"/>
                <a:gd name="T16" fmla="*/ 171370614 w 86"/>
                <a:gd name="T17" fmla="*/ 183972189 h 92"/>
                <a:gd name="T18" fmla="*/ 171370614 w 86"/>
                <a:gd name="T19" fmla="*/ 168851256 h 92"/>
                <a:gd name="T20" fmla="*/ 171370614 w 86"/>
                <a:gd name="T21" fmla="*/ 153728736 h 92"/>
                <a:gd name="T22" fmla="*/ 171370614 w 86"/>
                <a:gd name="T23" fmla="*/ 138607804 h 92"/>
                <a:gd name="T24" fmla="*/ 171370614 w 86"/>
                <a:gd name="T25" fmla="*/ 123486871 h 92"/>
                <a:gd name="T26" fmla="*/ 171370614 w 86"/>
                <a:gd name="T27" fmla="*/ 108367526 h 92"/>
                <a:gd name="T28" fmla="*/ 156249682 w 86"/>
                <a:gd name="T29" fmla="*/ 108367526 h 92"/>
                <a:gd name="T30" fmla="*/ 156249682 w 86"/>
                <a:gd name="T31" fmla="*/ 93246569 h 92"/>
                <a:gd name="T32" fmla="*/ 138607800 w 86"/>
                <a:gd name="T33" fmla="*/ 78124049 h 92"/>
                <a:gd name="T34" fmla="*/ 138607800 w 86"/>
                <a:gd name="T35" fmla="*/ 93246569 h 92"/>
                <a:gd name="T36" fmla="*/ 123486868 w 86"/>
                <a:gd name="T37" fmla="*/ 78124049 h 92"/>
                <a:gd name="T38" fmla="*/ 108367524 w 86"/>
                <a:gd name="T39" fmla="*/ 78124049 h 92"/>
                <a:gd name="T40" fmla="*/ 108367524 w 86"/>
                <a:gd name="T41" fmla="*/ 60483755 h 92"/>
                <a:gd name="T42" fmla="*/ 93246567 w 86"/>
                <a:gd name="T43" fmla="*/ 60483755 h 92"/>
                <a:gd name="T44" fmla="*/ 78124047 w 86"/>
                <a:gd name="T45" fmla="*/ 45362810 h 92"/>
                <a:gd name="T46" fmla="*/ 78124047 w 86"/>
                <a:gd name="T47" fmla="*/ 30241877 h 92"/>
                <a:gd name="T48" fmla="*/ 63003115 w 86"/>
                <a:gd name="T49" fmla="*/ 15120939 h 92"/>
                <a:gd name="T50" fmla="*/ 63003115 w 86"/>
                <a:gd name="T51" fmla="*/ 0 h 92"/>
                <a:gd name="T52" fmla="*/ 47883758 w 86"/>
                <a:gd name="T53" fmla="*/ 0 h 92"/>
                <a:gd name="T54" fmla="*/ 47883758 w 86"/>
                <a:gd name="T55" fmla="*/ 15120939 h 92"/>
                <a:gd name="T56" fmla="*/ 30241877 w 86"/>
                <a:gd name="T57" fmla="*/ 15120939 h 92"/>
                <a:gd name="T58" fmla="*/ 30241877 w 86"/>
                <a:gd name="T59" fmla="*/ 30241877 h 92"/>
                <a:gd name="T60" fmla="*/ 15120938 w 86"/>
                <a:gd name="T61" fmla="*/ 30241877 h 92"/>
                <a:gd name="T62" fmla="*/ 0 w 86"/>
                <a:gd name="T63" fmla="*/ 45362810 h 92"/>
                <a:gd name="T64" fmla="*/ 15120938 w 86"/>
                <a:gd name="T65" fmla="*/ 45362810 h 92"/>
                <a:gd name="T66" fmla="*/ 15120938 w 86"/>
                <a:gd name="T67" fmla="*/ 30241877 h 92"/>
                <a:gd name="T68" fmla="*/ 15120938 w 86"/>
                <a:gd name="T69" fmla="*/ 45362810 h 92"/>
                <a:gd name="T70" fmla="*/ 30241877 w 86"/>
                <a:gd name="T71" fmla="*/ 45362810 h 92"/>
                <a:gd name="T72" fmla="*/ 47883758 w 86"/>
                <a:gd name="T73" fmla="*/ 45362810 h 92"/>
                <a:gd name="T74" fmla="*/ 47883758 w 86"/>
                <a:gd name="T75" fmla="*/ 60483755 h 92"/>
                <a:gd name="T76" fmla="*/ 63003115 w 86"/>
                <a:gd name="T77" fmla="*/ 60483755 h 92"/>
                <a:gd name="T78" fmla="*/ 63003115 w 86"/>
                <a:gd name="T79" fmla="*/ 78124049 h 92"/>
                <a:gd name="T80" fmla="*/ 78124047 w 86"/>
                <a:gd name="T81" fmla="*/ 78124049 h 92"/>
                <a:gd name="T82" fmla="*/ 78124047 w 86"/>
                <a:gd name="T83" fmla="*/ 93246569 h 92"/>
                <a:gd name="T84" fmla="*/ 78124047 w 86"/>
                <a:gd name="T85" fmla="*/ 108367526 h 92"/>
                <a:gd name="T86" fmla="*/ 93246567 w 86"/>
                <a:gd name="T87" fmla="*/ 108367526 h 92"/>
                <a:gd name="T88" fmla="*/ 93246567 w 86"/>
                <a:gd name="T89" fmla="*/ 123486871 h 92"/>
                <a:gd name="T90" fmla="*/ 93246567 w 86"/>
                <a:gd name="T91" fmla="*/ 138607804 h 92"/>
                <a:gd name="T92" fmla="*/ 108367524 w 86"/>
                <a:gd name="T93" fmla="*/ 138607804 h 92"/>
                <a:gd name="T94" fmla="*/ 123486868 w 86"/>
                <a:gd name="T95" fmla="*/ 138607804 h 92"/>
                <a:gd name="T96" fmla="*/ 123486868 w 86"/>
                <a:gd name="T97" fmla="*/ 153728736 h 92"/>
                <a:gd name="T98" fmla="*/ 138607800 w 86"/>
                <a:gd name="T99" fmla="*/ 138607804 h 92"/>
                <a:gd name="T100" fmla="*/ 138607800 w 86"/>
                <a:gd name="T101" fmla="*/ 153728736 h 92"/>
                <a:gd name="T102" fmla="*/ 156249682 w 86"/>
                <a:gd name="T103" fmla="*/ 153728736 h 92"/>
                <a:gd name="T104" fmla="*/ 156249682 w 86"/>
                <a:gd name="T105" fmla="*/ 168851256 h 92"/>
                <a:gd name="T106" fmla="*/ 156249682 w 86"/>
                <a:gd name="T107" fmla="*/ 183972189 h 92"/>
                <a:gd name="T108" fmla="*/ 171370614 w 86"/>
                <a:gd name="T109" fmla="*/ 183972189 h 92"/>
                <a:gd name="T110" fmla="*/ 171370614 w 86"/>
                <a:gd name="T111" fmla="*/ 201612483 h 92"/>
                <a:gd name="T112" fmla="*/ 156249682 w 86"/>
                <a:gd name="T113" fmla="*/ 201612483 h 92"/>
                <a:gd name="T114" fmla="*/ 171370614 w 86"/>
                <a:gd name="T115" fmla="*/ 201612483 h 92"/>
                <a:gd name="T116" fmla="*/ 171370614 w 86"/>
                <a:gd name="T117" fmla="*/ 216733465 h 92"/>
                <a:gd name="T118" fmla="*/ 186491546 w 86"/>
                <a:gd name="T119" fmla="*/ 216733465 h 92"/>
                <a:gd name="T120" fmla="*/ 171370614 w 86"/>
                <a:gd name="T121" fmla="*/ 216733465 h 92"/>
                <a:gd name="T122" fmla="*/ 171370614 w 86"/>
                <a:gd name="T123" fmla="*/ 231854397 h 92"/>
                <a:gd name="T124" fmla="*/ 186491546 w 86"/>
                <a:gd name="T125" fmla="*/ 231854397 h 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6"/>
                <a:gd name="T190" fmla="*/ 0 h 92"/>
                <a:gd name="T191" fmla="*/ 86 w 86"/>
                <a:gd name="T192" fmla="*/ 92 h 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6" h="92">
                  <a:moveTo>
                    <a:pt x="74" y="92"/>
                  </a:moveTo>
                  <a:lnTo>
                    <a:pt x="80" y="92"/>
                  </a:lnTo>
                  <a:lnTo>
                    <a:pt x="86" y="92"/>
                  </a:lnTo>
                  <a:lnTo>
                    <a:pt x="86" y="86"/>
                  </a:lnTo>
                  <a:lnTo>
                    <a:pt x="86" y="80"/>
                  </a:lnTo>
                  <a:lnTo>
                    <a:pt x="80" y="80"/>
                  </a:lnTo>
                  <a:lnTo>
                    <a:pt x="74" y="80"/>
                  </a:lnTo>
                  <a:lnTo>
                    <a:pt x="74" y="73"/>
                  </a:lnTo>
                  <a:lnTo>
                    <a:pt x="68" y="73"/>
                  </a:lnTo>
                  <a:lnTo>
                    <a:pt x="68" y="67"/>
                  </a:lnTo>
                  <a:lnTo>
                    <a:pt x="68" y="61"/>
                  </a:lnTo>
                  <a:lnTo>
                    <a:pt x="68" y="55"/>
                  </a:lnTo>
                  <a:lnTo>
                    <a:pt x="68" y="49"/>
                  </a:lnTo>
                  <a:lnTo>
                    <a:pt x="68" y="43"/>
                  </a:lnTo>
                  <a:lnTo>
                    <a:pt x="62" y="43"/>
                  </a:lnTo>
                  <a:lnTo>
                    <a:pt x="62" y="37"/>
                  </a:lnTo>
                  <a:lnTo>
                    <a:pt x="55" y="31"/>
                  </a:lnTo>
                  <a:lnTo>
                    <a:pt x="55" y="37"/>
                  </a:lnTo>
                  <a:lnTo>
                    <a:pt x="49" y="31"/>
                  </a:lnTo>
                  <a:lnTo>
                    <a:pt x="43" y="31"/>
                  </a:lnTo>
                  <a:lnTo>
                    <a:pt x="43" y="24"/>
                  </a:lnTo>
                  <a:lnTo>
                    <a:pt x="37" y="24"/>
                  </a:lnTo>
                  <a:lnTo>
                    <a:pt x="31" y="18"/>
                  </a:lnTo>
                  <a:lnTo>
                    <a:pt x="31" y="12"/>
                  </a:lnTo>
                  <a:lnTo>
                    <a:pt x="25" y="6"/>
                  </a:lnTo>
                  <a:lnTo>
                    <a:pt x="25" y="0"/>
                  </a:lnTo>
                  <a:lnTo>
                    <a:pt x="19" y="0"/>
                  </a:lnTo>
                  <a:lnTo>
                    <a:pt x="19" y="6"/>
                  </a:lnTo>
                  <a:lnTo>
                    <a:pt x="12" y="6"/>
                  </a:lnTo>
                  <a:lnTo>
                    <a:pt x="12" y="12"/>
                  </a:lnTo>
                  <a:lnTo>
                    <a:pt x="6" y="12"/>
                  </a:lnTo>
                  <a:lnTo>
                    <a:pt x="0" y="18"/>
                  </a:lnTo>
                  <a:lnTo>
                    <a:pt x="6" y="18"/>
                  </a:lnTo>
                  <a:lnTo>
                    <a:pt x="6" y="12"/>
                  </a:lnTo>
                  <a:lnTo>
                    <a:pt x="6" y="18"/>
                  </a:lnTo>
                  <a:lnTo>
                    <a:pt x="12" y="18"/>
                  </a:lnTo>
                  <a:lnTo>
                    <a:pt x="19" y="18"/>
                  </a:lnTo>
                  <a:lnTo>
                    <a:pt x="19" y="24"/>
                  </a:lnTo>
                  <a:lnTo>
                    <a:pt x="25" y="24"/>
                  </a:lnTo>
                  <a:lnTo>
                    <a:pt x="25" y="31"/>
                  </a:lnTo>
                  <a:lnTo>
                    <a:pt x="31" y="31"/>
                  </a:lnTo>
                  <a:lnTo>
                    <a:pt x="31" y="37"/>
                  </a:lnTo>
                  <a:lnTo>
                    <a:pt x="31" y="43"/>
                  </a:lnTo>
                  <a:lnTo>
                    <a:pt x="37" y="43"/>
                  </a:lnTo>
                  <a:lnTo>
                    <a:pt x="37" y="49"/>
                  </a:lnTo>
                  <a:lnTo>
                    <a:pt x="37" y="55"/>
                  </a:lnTo>
                  <a:lnTo>
                    <a:pt x="43" y="55"/>
                  </a:lnTo>
                  <a:lnTo>
                    <a:pt x="49" y="55"/>
                  </a:lnTo>
                  <a:lnTo>
                    <a:pt x="49" y="61"/>
                  </a:lnTo>
                  <a:lnTo>
                    <a:pt x="55" y="55"/>
                  </a:lnTo>
                  <a:lnTo>
                    <a:pt x="55" y="61"/>
                  </a:lnTo>
                  <a:lnTo>
                    <a:pt x="62" y="61"/>
                  </a:lnTo>
                  <a:lnTo>
                    <a:pt x="62" y="67"/>
                  </a:lnTo>
                  <a:lnTo>
                    <a:pt x="62" y="73"/>
                  </a:lnTo>
                  <a:lnTo>
                    <a:pt x="68" y="73"/>
                  </a:lnTo>
                  <a:lnTo>
                    <a:pt x="68" y="80"/>
                  </a:lnTo>
                  <a:lnTo>
                    <a:pt x="62" y="80"/>
                  </a:lnTo>
                  <a:lnTo>
                    <a:pt x="68" y="80"/>
                  </a:lnTo>
                  <a:lnTo>
                    <a:pt x="68" y="86"/>
                  </a:lnTo>
                  <a:lnTo>
                    <a:pt x="74" y="86"/>
                  </a:lnTo>
                  <a:lnTo>
                    <a:pt x="68" y="86"/>
                  </a:lnTo>
                  <a:lnTo>
                    <a:pt x="68" y="92"/>
                  </a:lnTo>
                  <a:lnTo>
                    <a:pt x="74" y="9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2" name="Freeform 269"/>
            <p:cNvSpPr>
              <a:spLocks/>
            </p:cNvSpPr>
            <p:nvPr/>
          </p:nvSpPr>
          <p:spPr bwMode="auto">
            <a:xfrm>
              <a:off x="5012013" y="5985936"/>
              <a:ext cx="69522" cy="54138"/>
            </a:xfrm>
            <a:custGeom>
              <a:avLst/>
              <a:gdLst>
                <a:gd name="T0" fmla="*/ 93247250 w 43"/>
                <a:gd name="T1" fmla="*/ 63002575 h 37"/>
                <a:gd name="T2" fmla="*/ 108368317 w 43"/>
                <a:gd name="T3" fmla="*/ 78123378 h 37"/>
                <a:gd name="T4" fmla="*/ 108368317 w 43"/>
                <a:gd name="T5" fmla="*/ 93244180 h 37"/>
                <a:gd name="T6" fmla="*/ 93247250 w 43"/>
                <a:gd name="T7" fmla="*/ 78123378 h 37"/>
                <a:gd name="T8" fmla="*/ 93247250 w 43"/>
                <a:gd name="T9" fmla="*/ 63002575 h 37"/>
                <a:gd name="T10" fmla="*/ 78126207 w 43"/>
                <a:gd name="T11" fmla="*/ 63002575 h 37"/>
                <a:gd name="T12" fmla="*/ 78126207 w 43"/>
                <a:gd name="T13" fmla="*/ 78123378 h 37"/>
                <a:gd name="T14" fmla="*/ 93247250 w 43"/>
                <a:gd name="T15" fmla="*/ 78123378 h 37"/>
                <a:gd name="T16" fmla="*/ 93247250 w 43"/>
                <a:gd name="T17" fmla="*/ 93244180 h 37"/>
                <a:gd name="T18" fmla="*/ 78126207 w 43"/>
                <a:gd name="T19" fmla="*/ 93244180 h 37"/>
                <a:gd name="T20" fmla="*/ 63005164 w 43"/>
                <a:gd name="T21" fmla="*/ 93244180 h 37"/>
                <a:gd name="T22" fmla="*/ 47884109 w 43"/>
                <a:gd name="T23" fmla="*/ 78123378 h 37"/>
                <a:gd name="T24" fmla="*/ 47884109 w 43"/>
                <a:gd name="T25" fmla="*/ 93244180 h 37"/>
                <a:gd name="T26" fmla="*/ 47884109 w 43"/>
                <a:gd name="T27" fmla="*/ 78123378 h 37"/>
                <a:gd name="T28" fmla="*/ 47884109 w 43"/>
                <a:gd name="T29" fmla="*/ 63002575 h 37"/>
                <a:gd name="T30" fmla="*/ 47884109 w 43"/>
                <a:gd name="T31" fmla="*/ 78123378 h 37"/>
                <a:gd name="T32" fmla="*/ 47884109 w 43"/>
                <a:gd name="T33" fmla="*/ 63002575 h 37"/>
                <a:gd name="T34" fmla="*/ 63005164 w 43"/>
                <a:gd name="T35" fmla="*/ 47881760 h 37"/>
                <a:gd name="T36" fmla="*/ 47884109 w 43"/>
                <a:gd name="T37" fmla="*/ 47881760 h 37"/>
                <a:gd name="T38" fmla="*/ 47884109 w 43"/>
                <a:gd name="T39" fmla="*/ 63002575 h 37"/>
                <a:gd name="T40" fmla="*/ 30242098 w 43"/>
                <a:gd name="T41" fmla="*/ 63002575 h 37"/>
                <a:gd name="T42" fmla="*/ 15121049 w 43"/>
                <a:gd name="T43" fmla="*/ 63002575 h 37"/>
                <a:gd name="T44" fmla="*/ 15121049 w 43"/>
                <a:gd name="T45" fmla="*/ 47881760 h 37"/>
                <a:gd name="T46" fmla="*/ 0 w 43"/>
                <a:gd name="T47" fmla="*/ 47881760 h 37"/>
                <a:gd name="T48" fmla="*/ 15121049 w 43"/>
                <a:gd name="T49" fmla="*/ 47881760 h 37"/>
                <a:gd name="T50" fmla="*/ 0 w 43"/>
                <a:gd name="T51" fmla="*/ 47881760 h 37"/>
                <a:gd name="T52" fmla="*/ 15121049 w 43"/>
                <a:gd name="T53" fmla="*/ 32760958 h 37"/>
                <a:gd name="T54" fmla="*/ 30242098 w 43"/>
                <a:gd name="T55" fmla="*/ 32760958 h 37"/>
                <a:gd name="T56" fmla="*/ 47884109 w 43"/>
                <a:gd name="T57" fmla="*/ 15120809 h 37"/>
                <a:gd name="T58" fmla="*/ 47884109 w 43"/>
                <a:gd name="T59" fmla="*/ 0 h 37"/>
                <a:gd name="T60" fmla="*/ 63005164 w 43"/>
                <a:gd name="T61" fmla="*/ 0 h 37"/>
                <a:gd name="T62" fmla="*/ 78126207 w 43"/>
                <a:gd name="T63" fmla="*/ 0 h 37"/>
                <a:gd name="T64" fmla="*/ 78126207 w 43"/>
                <a:gd name="T65" fmla="*/ 15120809 h 37"/>
                <a:gd name="T66" fmla="*/ 78126207 w 43"/>
                <a:gd name="T67" fmla="*/ 32760958 h 37"/>
                <a:gd name="T68" fmla="*/ 93247250 w 43"/>
                <a:gd name="T69" fmla="*/ 47881760 h 37"/>
                <a:gd name="T70" fmla="*/ 93247250 w 43"/>
                <a:gd name="T71" fmla="*/ 63002575 h 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
                <a:gd name="T109" fmla="*/ 0 h 37"/>
                <a:gd name="T110" fmla="*/ 43 w 43"/>
                <a:gd name="T111" fmla="*/ 37 h 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 h="37">
                  <a:moveTo>
                    <a:pt x="37" y="25"/>
                  </a:moveTo>
                  <a:lnTo>
                    <a:pt x="43" y="31"/>
                  </a:lnTo>
                  <a:lnTo>
                    <a:pt x="43" y="37"/>
                  </a:lnTo>
                  <a:lnTo>
                    <a:pt x="37" y="31"/>
                  </a:lnTo>
                  <a:lnTo>
                    <a:pt x="37" y="25"/>
                  </a:lnTo>
                  <a:lnTo>
                    <a:pt x="31" y="25"/>
                  </a:lnTo>
                  <a:lnTo>
                    <a:pt x="31" y="31"/>
                  </a:lnTo>
                  <a:lnTo>
                    <a:pt x="37" y="31"/>
                  </a:lnTo>
                  <a:lnTo>
                    <a:pt x="37" y="37"/>
                  </a:lnTo>
                  <a:lnTo>
                    <a:pt x="31" y="37"/>
                  </a:lnTo>
                  <a:lnTo>
                    <a:pt x="25" y="37"/>
                  </a:lnTo>
                  <a:lnTo>
                    <a:pt x="19" y="31"/>
                  </a:lnTo>
                  <a:lnTo>
                    <a:pt x="19" y="37"/>
                  </a:lnTo>
                  <a:lnTo>
                    <a:pt x="19" y="31"/>
                  </a:lnTo>
                  <a:lnTo>
                    <a:pt x="19" y="25"/>
                  </a:lnTo>
                  <a:lnTo>
                    <a:pt x="19" y="31"/>
                  </a:lnTo>
                  <a:lnTo>
                    <a:pt x="19" y="25"/>
                  </a:lnTo>
                  <a:lnTo>
                    <a:pt x="25" y="19"/>
                  </a:lnTo>
                  <a:lnTo>
                    <a:pt x="19" y="19"/>
                  </a:lnTo>
                  <a:lnTo>
                    <a:pt x="19" y="25"/>
                  </a:lnTo>
                  <a:lnTo>
                    <a:pt x="12" y="25"/>
                  </a:lnTo>
                  <a:lnTo>
                    <a:pt x="6" y="25"/>
                  </a:lnTo>
                  <a:lnTo>
                    <a:pt x="6" y="19"/>
                  </a:lnTo>
                  <a:lnTo>
                    <a:pt x="0" y="19"/>
                  </a:lnTo>
                  <a:lnTo>
                    <a:pt x="6" y="19"/>
                  </a:lnTo>
                  <a:lnTo>
                    <a:pt x="0" y="19"/>
                  </a:lnTo>
                  <a:lnTo>
                    <a:pt x="6" y="13"/>
                  </a:lnTo>
                  <a:lnTo>
                    <a:pt x="12" y="13"/>
                  </a:lnTo>
                  <a:lnTo>
                    <a:pt x="19" y="6"/>
                  </a:lnTo>
                  <a:lnTo>
                    <a:pt x="19" y="0"/>
                  </a:lnTo>
                  <a:lnTo>
                    <a:pt x="25" y="0"/>
                  </a:lnTo>
                  <a:lnTo>
                    <a:pt x="31" y="0"/>
                  </a:lnTo>
                  <a:lnTo>
                    <a:pt x="31" y="6"/>
                  </a:lnTo>
                  <a:lnTo>
                    <a:pt x="31" y="13"/>
                  </a:lnTo>
                  <a:lnTo>
                    <a:pt x="37" y="19"/>
                  </a:lnTo>
                  <a:lnTo>
                    <a:pt x="37" y="2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3" name="Freeform 270"/>
            <p:cNvSpPr>
              <a:spLocks/>
            </p:cNvSpPr>
            <p:nvPr/>
          </p:nvSpPr>
          <p:spPr bwMode="auto">
            <a:xfrm>
              <a:off x="5160756" y="6363440"/>
              <a:ext cx="50121" cy="71696"/>
            </a:xfrm>
            <a:custGeom>
              <a:avLst/>
              <a:gdLst>
                <a:gd name="T0" fmla="*/ 30242187 w 31"/>
                <a:gd name="T1" fmla="*/ 90725038 h 49"/>
                <a:gd name="T2" fmla="*/ 45363275 w 31"/>
                <a:gd name="T3" fmla="*/ 75604203 h 49"/>
                <a:gd name="T4" fmla="*/ 63005349 w 31"/>
                <a:gd name="T5" fmla="*/ 75604203 h 49"/>
                <a:gd name="T6" fmla="*/ 45363275 w 31"/>
                <a:gd name="T7" fmla="*/ 60483367 h 49"/>
                <a:gd name="T8" fmla="*/ 63005349 w 31"/>
                <a:gd name="T9" fmla="*/ 60483367 h 49"/>
                <a:gd name="T10" fmla="*/ 63005349 w 31"/>
                <a:gd name="T11" fmla="*/ 45362519 h 49"/>
                <a:gd name="T12" fmla="*/ 63005349 w 31"/>
                <a:gd name="T13" fmla="*/ 30241684 h 49"/>
                <a:gd name="T14" fmla="*/ 63005349 w 31"/>
                <a:gd name="T15" fmla="*/ 15120842 h 49"/>
                <a:gd name="T16" fmla="*/ 78126437 w 31"/>
                <a:gd name="T17" fmla="*/ 15120842 h 49"/>
                <a:gd name="T18" fmla="*/ 78126437 w 31"/>
                <a:gd name="T19" fmla="*/ 0 h 49"/>
                <a:gd name="T20" fmla="*/ 63005349 w 31"/>
                <a:gd name="T21" fmla="*/ 0 h 49"/>
                <a:gd name="T22" fmla="*/ 45363275 w 31"/>
                <a:gd name="T23" fmla="*/ 15120842 h 49"/>
                <a:gd name="T24" fmla="*/ 30242187 w 31"/>
                <a:gd name="T25" fmla="*/ 15120842 h 49"/>
                <a:gd name="T26" fmla="*/ 30242187 w 31"/>
                <a:gd name="T27" fmla="*/ 30241684 h 49"/>
                <a:gd name="T28" fmla="*/ 15121094 w 31"/>
                <a:gd name="T29" fmla="*/ 30241684 h 49"/>
                <a:gd name="T30" fmla="*/ 15121094 w 31"/>
                <a:gd name="T31" fmla="*/ 45362519 h 49"/>
                <a:gd name="T32" fmla="*/ 15121094 w 31"/>
                <a:gd name="T33" fmla="*/ 60483367 h 49"/>
                <a:gd name="T34" fmla="*/ 0 w 31"/>
                <a:gd name="T35" fmla="*/ 60483367 h 49"/>
                <a:gd name="T36" fmla="*/ 15121094 w 31"/>
                <a:gd name="T37" fmla="*/ 60483367 h 49"/>
                <a:gd name="T38" fmla="*/ 15121094 w 31"/>
                <a:gd name="T39" fmla="*/ 75604203 h 49"/>
                <a:gd name="T40" fmla="*/ 15121094 w 31"/>
                <a:gd name="T41" fmla="*/ 90725038 h 49"/>
                <a:gd name="T42" fmla="*/ 15121094 w 31"/>
                <a:gd name="T43" fmla="*/ 105845899 h 49"/>
                <a:gd name="T44" fmla="*/ 15121094 w 31"/>
                <a:gd name="T45" fmla="*/ 123486080 h 49"/>
                <a:gd name="T46" fmla="*/ 30242187 w 31"/>
                <a:gd name="T47" fmla="*/ 105845899 h 49"/>
                <a:gd name="T48" fmla="*/ 30242187 w 31"/>
                <a:gd name="T49" fmla="*/ 90725038 h 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
                <a:gd name="T76" fmla="*/ 0 h 49"/>
                <a:gd name="T77" fmla="*/ 31 w 31"/>
                <a:gd name="T78" fmla="*/ 49 h 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 h="49">
                  <a:moveTo>
                    <a:pt x="12" y="36"/>
                  </a:moveTo>
                  <a:lnTo>
                    <a:pt x="18" y="30"/>
                  </a:lnTo>
                  <a:lnTo>
                    <a:pt x="25" y="30"/>
                  </a:lnTo>
                  <a:lnTo>
                    <a:pt x="18" y="24"/>
                  </a:lnTo>
                  <a:lnTo>
                    <a:pt x="25" y="24"/>
                  </a:lnTo>
                  <a:lnTo>
                    <a:pt x="25" y="18"/>
                  </a:lnTo>
                  <a:lnTo>
                    <a:pt x="25" y="12"/>
                  </a:lnTo>
                  <a:lnTo>
                    <a:pt x="25" y="6"/>
                  </a:lnTo>
                  <a:lnTo>
                    <a:pt x="31" y="6"/>
                  </a:lnTo>
                  <a:lnTo>
                    <a:pt x="31" y="0"/>
                  </a:lnTo>
                  <a:lnTo>
                    <a:pt x="25" y="0"/>
                  </a:lnTo>
                  <a:lnTo>
                    <a:pt x="18" y="6"/>
                  </a:lnTo>
                  <a:lnTo>
                    <a:pt x="12" y="6"/>
                  </a:lnTo>
                  <a:lnTo>
                    <a:pt x="12" y="12"/>
                  </a:lnTo>
                  <a:lnTo>
                    <a:pt x="6" y="12"/>
                  </a:lnTo>
                  <a:lnTo>
                    <a:pt x="6" y="18"/>
                  </a:lnTo>
                  <a:lnTo>
                    <a:pt x="6" y="24"/>
                  </a:lnTo>
                  <a:lnTo>
                    <a:pt x="0" y="24"/>
                  </a:lnTo>
                  <a:lnTo>
                    <a:pt x="6" y="24"/>
                  </a:lnTo>
                  <a:lnTo>
                    <a:pt x="6" y="30"/>
                  </a:lnTo>
                  <a:lnTo>
                    <a:pt x="6" y="36"/>
                  </a:lnTo>
                  <a:lnTo>
                    <a:pt x="6" y="42"/>
                  </a:lnTo>
                  <a:lnTo>
                    <a:pt x="6" y="49"/>
                  </a:lnTo>
                  <a:lnTo>
                    <a:pt x="12" y="42"/>
                  </a:lnTo>
                  <a:lnTo>
                    <a:pt x="12" y="3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4" name="Freeform 271"/>
            <p:cNvSpPr>
              <a:spLocks/>
            </p:cNvSpPr>
            <p:nvPr/>
          </p:nvSpPr>
          <p:spPr bwMode="auto">
            <a:xfrm>
              <a:off x="5021713" y="6085433"/>
              <a:ext cx="21019" cy="62917"/>
            </a:xfrm>
            <a:custGeom>
              <a:avLst/>
              <a:gdLst>
                <a:gd name="T0" fmla="*/ 15121306 w 13"/>
                <a:gd name="T1" fmla="*/ 45362477 h 43"/>
                <a:gd name="T2" fmla="*/ 15121306 w 13"/>
                <a:gd name="T3" fmla="*/ 60483310 h 43"/>
                <a:gd name="T4" fmla="*/ 15121306 w 13"/>
                <a:gd name="T5" fmla="*/ 75604132 h 43"/>
                <a:gd name="T6" fmla="*/ 0 w 13"/>
                <a:gd name="T7" fmla="*/ 75604132 h 43"/>
                <a:gd name="T8" fmla="*/ 0 w 13"/>
                <a:gd name="T9" fmla="*/ 90724953 h 43"/>
                <a:gd name="T10" fmla="*/ 15121306 w 13"/>
                <a:gd name="T11" fmla="*/ 90724953 h 43"/>
                <a:gd name="T12" fmla="*/ 15121306 w 13"/>
                <a:gd name="T13" fmla="*/ 108365142 h 43"/>
                <a:gd name="T14" fmla="*/ 15121306 w 13"/>
                <a:gd name="T15" fmla="*/ 90724953 h 43"/>
                <a:gd name="T16" fmla="*/ 32763622 w 13"/>
                <a:gd name="T17" fmla="*/ 90724953 h 43"/>
                <a:gd name="T18" fmla="*/ 32763622 w 13"/>
                <a:gd name="T19" fmla="*/ 75604132 h 43"/>
                <a:gd name="T20" fmla="*/ 32763622 w 13"/>
                <a:gd name="T21" fmla="*/ 60483310 h 43"/>
                <a:gd name="T22" fmla="*/ 32763622 w 13"/>
                <a:gd name="T23" fmla="*/ 45362477 h 43"/>
                <a:gd name="T24" fmla="*/ 32763622 w 13"/>
                <a:gd name="T25" fmla="*/ 30241655 h 43"/>
                <a:gd name="T26" fmla="*/ 32763622 w 13"/>
                <a:gd name="T27" fmla="*/ 15120828 h 43"/>
                <a:gd name="T28" fmla="*/ 15121306 w 13"/>
                <a:gd name="T29" fmla="*/ 15120828 h 43"/>
                <a:gd name="T30" fmla="*/ 15121306 w 13"/>
                <a:gd name="T31" fmla="*/ 0 h 43"/>
                <a:gd name="T32" fmla="*/ 15121306 w 13"/>
                <a:gd name="T33" fmla="*/ 15120828 h 43"/>
                <a:gd name="T34" fmla="*/ 0 w 13"/>
                <a:gd name="T35" fmla="*/ 15120828 h 43"/>
                <a:gd name="T36" fmla="*/ 0 w 13"/>
                <a:gd name="T37" fmla="*/ 30241655 h 43"/>
                <a:gd name="T38" fmla="*/ 15121306 w 13"/>
                <a:gd name="T39" fmla="*/ 4536247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43"/>
                <a:gd name="T62" fmla="*/ 13 w 13"/>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43">
                  <a:moveTo>
                    <a:pt x="6" y="18"/>
                  </a:moveTo>
                  <a:lnTo>
                    <a:pt x="6" y="24"/>
                  </a:lnTo>
                  <a:lnTo>
                    <a:pt x="6" y="30"/>
                  </a:lnTo>
                  <a:lnTo>
                    <a:pt x="0" y="30"/>
                  </a:lnTo>
                  <a:lnTo>
                    <a:pt x="0" y="36"/>
                  </a:lnTo>
                  <a:lnTo>
                    <a:pt x="6" y="36"/>
                  </a:lnTo>
                  <a:lnTo>
                    <a:pt x="6" y="43"/>
                  </a:lnTo>
                  <a:lnTo>
                    <a:pt x="6" y="36"/>
                  </a:lnTo>
                  <a:lnTo>
                    <a:pt x="13" y="36"/>
                  </a:lnTo>
                  <a:lnTo>
                    <a:pt x="13" y="30"/>
                  </a:lnTo>
                  <a:lnTo>
                    <a:pt x="13" y="24"/>
                  </a:lnTo>
                  <a:lnTo>
                    <a:pt x="13" y="18"/>
                  </a:lnTo>
                  <a:lnTo>
                    <a:pt x="13" y="12"/>
                  </a:lnTo>
                  <a:lnTo>
                    <a:pt x="13" y="6"/>
                  </a:lnTo>
                  <a:lnTo>
                    <a:pt x="6" y="6"/>
                  </a:lnTo>
                  <a:lnTo>
                    <a:pt x="6" y="0"/>
                  </a:lnTo>
                  <a:lnTo>
                    <a:pt x="6" y="6"/>
                  </a:lnTo>
                  <a:lnTo>
                    <a:pt x="0" y="6"/>
                  </a:lnTo>
                  <a:lnTo>
                    <a:pt x="0" y="12"/>
                  </a:lnTo>
                  <a:lnTo>
                    <a:pt x="6"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5" name="Freeform 272"/>
            <p:cNvSpPr>
              <a:spLocks/>
            </p:cNvSpPr>
            <p:nvPr/>
          </p:nvSpPr>
          <p:spPr bwMode="auto">
            <a:xfrm>
              <a:off x="4586800" y="6102991"/>
              <a:ext cx="38803" cy="54138"/>
            </a:xfrm>
            <a:custGeom>
              <a:avLst/>
              <a:gdLst>
                <a:gd name="T0" fmla="*/ 15120939 w 24"/>
                <a:gd name="T1" fmla="*/ 45362420 h 37"/>
                <a:gd name="T2" fmla="*/ 15120939 w 24"/>
                <a:gd name="T3" fmla="*/ 60483235 h 37"/>
                <a:gd name="T4" fmla="*/ 15120939 w 24"/>
                <a:gd name="T5" fmla="*/ 78123378 h 37"/>
                <a:gd name="T6" fmla="*/ 30241878 w 24"/>
                <a:gd name="T7" fmla="*/ 93244180 h 37"/>
                <a:gd name="T8" fmla="*/ 30241878 w 24"/>
                <a:gd name="T9" fmla="*/ 78123378 h 37"/>
                <a:gd name="T10" fmla="*/ 45362810 w 24"/>
                <a:gd name="T11" fmla="*/ 93244180 h 37"/>
                <a:gd name="T12" fmla="*/ 60483756 w 24"/>
                <a:gd name="T13" fmla="*/ 93244180 h 37"/>
                <a:gd name="T14" fmla="*/ 60483756 w 24"/>
                <a:gd name="T15" fmla="*/ 78123378 h 37"/>
                <a:gd name="T16" fmla="*/ 45362810 w 24"/>
                <a:gd name="T17" fmla="*/ 78123378 h 37"/>
                <a:gd name="T18" fmla="*/ 45362810 w 24"/>
                <a:gd name="T19" fmla="*/ 60483235 h 37"/>
                <a:gd name="T20" fmla="*/ 45362810 w 24"/>
                <a:gd name="T21" fmla="*/ 45362420 h 37"/>
                <a:gd name="T22" fmla="*/ 30241878 w 24"/>
                <a:gd name="T23" fmla="*/ 45362420 h 37"/>
                <a:gd name="T24" fmla="*/ 30241878 w 24"/>
                <a:gd name="T25" fmla="*/ 30241617 h 37"/>
                <a:gd name="T26" fmla="*/ 30241878 w 24"/>
                <a:gd name="T27" fmla="*/ 15120809 h 37"/>
                <a:gd name="T28" fmla="*/ 30241878 w 24"/>
                <a:gd name="T29" fmla="*/ 0 h 37"/>
                <a:gd name="T30" fmla="*/ 15120939 w 24"/>
                <a:gd name="T31" fmla="*/ 0 h 37"/>
                <a:gd name="T32" fmla="*/ 15120939 w 24"/>
                <a:gd name="T33" fmla="*/ 15120809 h 37"/>
                <a:gd name="T34" fmla="*/ 30241878 w 24"/>
                <a:gd name="T35" fmla="*/ 15120809 h 37"/>
                <a:gd name="T36" fmla="*/ 15120939 w 24"/>
                <a:gd name="T37" fmla="*/ 30241617 h 37"/>
                <a:gd name="T38" fmla="*/ 0 w 24"/>
                <a:gd name="T39" fmla="*/ 30241617 h 37"/>
                <a:gd name="T40" fmla="*/ 0 w 24"/>
                <a:gd name="T41" fmla="*/ 45362420 h 37"/>
                <a:gd name="T42" fmla="*/ 0 w 24"/>
                <a:gd name="T43" fmla="*/ 60483235 h 37"/>
                <a:gd name="T44" fmla="*/ 0 w 24"/>
                <a:gd name="T45" fmla="*/ 78123378 h 37"/>
                <a:gd name="T46" fmla="*/ 15120939 w 24"/>
                <a:gd name="T47" fmla="*/ 78123378 h 37"/>
                <a:gd name="T48" fmla="*/ 15120939 w 24"/>
                <a:gd name="T49" fmla="*/ 60483235 h 37"/>
                <a:gd name="T50" fmla="*/ 15120939 w 24"/>
                <a:gd name="T51" fmla="*/ 45362420 h 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37"/>
                <a:gd name="T80" fmla="*/ 24 w 24"/>
                <a:gd name="T81" fmla="*/ 37 h 3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37">
                  <a:moveTo>
                    <a:pt x="6" y="18"/>
                  </a:moveTo>
                  <a:lnTo>
                    <a:pt x="6" y="24"/>
                  </a:lnTo>
                  <a:lnTo>
                    <a:pt x="6" y="31"/>
                  </a:lnTo>
                  <a:lnTo>
                    <a:pt x="12" y="37"/>
                  </a:lnTo>
                  <a:lnTo>
                    <a:pt x="12" y="31"/>
                  </a:lnTo>
                  <a:lnTo>
                    <a:pt x="18" y="37"/>
                  </a:lnTo>
                  <a:lnTo>
                    <a:pt x="24" y="37"/>
                  </a:lnTo>
                  <a:lnTo>
                    <a:pt x="24" y="31"/>
                  </a:lnTo>
                  <a:lnTo>
                    <a:pt x="18" y="31"/>
                  </a:lnTo>
                  <a:lnTo>
                    <a:pt x="18" y="24"/>
                  </a:lnTo>
                  <a:lnTo>
                    <a:pt x="18" y="18"/>
                  </a:lnTo>
                  <a:lnTo>
                    <a:pt x="12" y="18"/>
                  </a:lnTo>
                  <a:lnTo>
                    <a:pt x="12" y="12"/>
                  </a:lnTo>
                  <a:lnTo>
                    <a:pt x="12" y="6"/>
                  </a:lnTo>
                  <a:lnTo>
                    <a:pt x="12" y="0"/>
                  </a:lnTo>
                  <a:lnTo>
                    <a:pt x="6" y="0"/>
                  </a:lnTo>
                  <a:lnTo>
                    <a:pt x="6" y="6"/>
                  </a:lnTo>
                  <a:lnTo>
                    <a:pt x="12" y="6"/>
                  </a:lnTo>
                  <a:lnTo>
                    <a:pt x="6" y="12"/>
                  </a:lnTo>
                  <a:lnTo>
                    <a:pt x="0" y="12"/>
                  </a:lnTo>
                  <a:lnTo>
                    <a:pt x="0" y="18"/>
                  </a:lnTo>
                  <a:lnTo>
                    <a:pt x="0" y="24"/>
                  </a:lnTo>
                  <a:lnTo>
                    <a:pt x="0" y="31"/>
                  </a:lnTo>
                  <a:lnTo>
                    <a:pt x="6" y="31"/>
                  </a:lnTo>
                  <a:lnTo>
                    <a:pt x="6" y="24"/>
                  </a:lnTo>
                  <a:lnTo>
                    <a:pt x="6"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6" name="Freeform 273"/>
            <p:cNvSpPr>
              <a:spLocks/>
            </p:cNvSpPr>
            <p:nvPr/>
          </p:nvSpPr>
          <p:spPr bwMode="auto">
            <a:xfrm>
              <a:off x="4526979" y="5933261"/>
              <a:ext cx="38803" cy="61454"/>
            </a:xfrm>
            <a:custGeom>
              <a:avLst/>
              <a:gdLst>
                <a:gd name="T0" fmla="*/ 30241878 w 24"/>
                <a:gd name="T1" fmla="*/ 45362808 h 42"/>
                <a:gd name="T2" fmla="*/ 45362810 w 24"/>
                <a:gd name="T3" fmla="*/ 45362808 h 42"/>
                <a:gd name="T4" fmla="*/ 30241878 w 24"/>
                <a:gd name="T5" fmla="*/ 45362808 h 42"/>
                <a:gd name="T6" fmla="*/ 30241878 w 24"/>
                <a:gd name="T7" fmla="*/ 30241876 h 42"/>
                <a:gd name="T8" fmla="*/ 30241878 w 24"/>
                <a:gd name="T9" fmla="*/ 15120938 h 42"/>
                <a:gd name="T10" fmla="*/ 45362810 w 24"/>
                <a:gd name="T11" fmla="*/ 15120938 h 42"/>
                <a:gd name="T12" fmla="*/ 30241878 w 24"/>
                <a:gd name="T13" fmla="*/ 0 h 42"/>
                <a:gd name="T14" fmla="*/ 15120939 w 24"/>
                <a:gd name="T15" fmla="*/ 0 h 42"/>
                <a:gd name="T16" fmla="*/ 15120939 w 24"/>
                <a:gd name="T17" fmla="*/ 15120938 h 42"/>
                <a:gd name="T18" fmla="*/ 15120939 w 24"/>
                <a:gd name="T19" fmla="*/ 0 h 42"/>
                <a:gd name="T20" fmla="*/ 0 w 24"/>
                <a:gd name="T21" fmla="*/ 0 h 42"/>
                <a:gd name="T22" fmla="*/ 0 w 24"/>
                <a:gd name="T23" fmla="*/ 15120938 h 42"/>
                <a:gd name="T24" fmla="*/ 0 w 24"/>
                <a:gd name="T25" fmla="*/ 30241876 h 42"/>
                <a:gd name="T26" fmla="*/ 15120939 w 24"/>
                <a:gd name="T27" fmla="*/ 30241876 h 42"/>
                <a:gd name="T28" fmla="*/ 0 w 24"/>
                <a:gd name="T29" fmla="*/ 30241876 h 42"/>
                <a:gd name="T30" fmla="*/ 15120939 w 24"/>
                <a:gd name="T31" fmla="*/ 30241876 h 42"/>
                <a:gd name="T32" fmla="*/ 15120939 w 24"/>
                <a:gd name="T33" fmla="*/ 45362808 h 42"/>
                <a:gd name="T34" fmla="*/ 30241878 w 24"/>
                <a:gd name="T35" fmla="*/ 45362808 h 42"/>
                <a:gd name="T36" fmla="*/ 30241878 w 24"/>
                <a:gd name="T37" fmla="*/ 60483753 h 42"/>
                <a:gd name="T38" fmla="*/ 30241878 w 24"/>
                <a:gd name="T39" fmla="*/ 75604685 h 42"/>
                <a:gd name="T40" fmla="*/ 30241878 w 24"/>
                <a:gd name="T41" fmla="*/ 90725617 h 42"/>
                <a:gd name="T42" fmla="*/ 45362810 w 24"/>
                <a:gd name="T43" fmla="*/ 90725617 h 42"/>
                <a:gd name="T44" fmla="*/ 60483756 w 24"/>
                <a:gd name="T45" fmla="*/ 90725617 h 42"/>
                <a:gd name="T46" fmla="*/ 60483756 w 24"/>
                <a:gd name="T47" fmla="*/ 105846574 h 42"/>
                <a:gd name="T48" fmla="*/ 60483756 w 24"/>
                <a:gd name="T49" fmla="*/ 90725617 h 42"/>
                <a:gd name="T50" fmla="*/ 60483756 w 24"/>
                <a:gd name="T51" fmla="*/ 75604685 h 42"/>
                <a:gd name="T52" fmla="*/ 45362810 w 24"/>
                <a:gd name="T53" fmla="*/ 75604685 h 42"/>
                <a:gd name="T54" fmla="*/ 30241878 w 24"/>
                <a:gd name="T55" fmla="*/ 75604685 h 42"/>
                <a:gd name="T56" fmla="*/ 45362810 w 24"/>
                <a:gd name="T57" fmla="*/ 60483753 h 42"/>
                <a:gd name="T58" fmla="*/ 30241878 w 24"/>
                <a:gd name="T59" fmla="*/ 60483753 h 42"/>
                <a:gd name="T60" fmla="*/ 30241878 w 24"/>
                <a:gd name="T61" fmla="*/ 45362808 h 4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42"/>
                <a:gd name="T95" fmla="*/ 24 w 24"/>
                <a:gd name="T96" fmla="*/ 42 h 4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42">
                  <a:moveTo>
                    <a:pt x="12" y="18"/>
                  </a:moveTo>
                  <a:lnTo>
                    <a:pt x="18" y="18"/>
                  </a:lnTo>
                  <a:lnTo>
                    <a:pt x="12" y="18"/>
                  </a:lnTo>
                  <a:lnTo>
                    <a:pt x="12" y="12"/>
                  </a:lnTo>
                  <a:lnTo>
                    <a:pt x="12" y="6"/>
                  </a:lnTo>
                  <a:lnTo>
                    <a:pt x="18" y="6"/>
                  </a:lnTo>
                  <a:lnTo>
                    <a:pt x="12" y="0"/>
                  </a:lnTo>
                  <a:lnTo>
                    <a:pt x="6" y="0"/>
                  </a:lnTo>
                  <a:lnTo>
                    <a:pt x="6" y="6"/>
                  </a:lnTo>
                  <a:lnTo>
                    <a:pt x="6" y="0"/>
                  </a:lnTo>
                  <a:lnTo>
                    <a:pt x="0" y="0"/>
                  </a:lnTo>
                  <a:lnTo>
                    <a:pt x="0" y="6"/>
                  </a:lnTo>
                  <a:lnTo>
                    <a:pt x="0" y="12"/>
                  </a:lnTo>
                  <a:lnTo>
                    <a:pt x="6" y="12"/>
                  </a:lnTo>
                  <a:lnTo>
                    <a:pt x="0" y="12"/>
                  </a:lnTo>
                  <a:lnTo>
                    <a:pt x="6" y="12"/>
                  </a:lnTo>
                  <a:lnTo>
                    <a:pt x="6" y="18"/>
                  </a:lnTo>
                  <a:lnTo>
                    <a:pt x="12" y="18"/>
                  </a:lnTo>
                  <a:lnTo>
                    <a:pt x="12" y="24"/>
                  </a:lnTo>
                  <a:lnTo>
                    <a:pt x="12" y="30"/>
                  </a:lnTo>
                  <a:lnTo>
                    <a:pt x="12" y="36"/>
                  </a:lnTo>
                  <a:lnTo>
                    <a:pt x="18" y="36"/>
                  </a:lnTo>
                  <a:lnTo>
                    <a:pt x="24" y="36"/>
                  </a:lnTo>
                  <a:lnTo>
                    <a:pt x="24" y="42"/>
                  </a:lnTo>
                  <a:lnTo>
                    <a:pt x="24" y="36"/>
                  </a:lnTo>
                  <a:lnTo>
                    <a:pt x="24" y="30"/>
                  </a:lnTo>
                  <a:lnTo>
                    <a:pt x="18" y="30"/>
                  </a:lnTo>
                  <a:lnTo>
                    <a:pt x="12" y="30"/>
                  </a:lnTo>
                  <a:lnTo>
                    <a:pt x="18" y="24"/>
                  </a:lnTo>
                  <a:lnTo>
                    <a:pt x="12" y="24"/>
                  </a:lnTo>
                  <a:lnTo>
                    <a:pt x="12"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7" name="Freeform 274"/>
            <p:cNvSpPr>
              <a:spLocks/>
            </p:cNvSpPr>
            <p:nvPr/>
          </p:nvSpPr>
          <p:spPr bwMode="auto">
            <a:xfrm>
              <a:off x="4952192" y="5905459"/>
              <a:ext cx="30718" cy="36580"/>
            </a:xfrm>
            <a:custGeom>
              <a:avLst/>
              <a:gdLst>
                <a:gd name="T0" fmla="*/ 47881374 w 19"/>
                <a:gd name="T1" fmla="*/ 30242259 h 25"/>
                <a:gd name="T2" fmla="*/ 47881374 w 19"/>
                <a:gd name="T3" fmla="*/ 15121130 h 25"/>
                <a:gd name="T4" fmla="*/ 47881374 w 19"/>
                <a:gd name="T5" fmla="*/ 0 h 25"/>
                <a:gd name="T6" fmla="*/ 47881374 w 19"/>
                <a:gd name="T7" fmla="*/ 15121130 h 25"/>
                <a:gd name="T8" fmla="*/ 47881374 w 19"/>
                <a:gd name="T9" fmla="*/ 0 h 25"/>
                <a:gd name="T10" fmla="*/ 47881374 w 19"/>
                <a:gd name="T11" fmla="*/ 15121130 h 25"/>
                <a:gd name="T12" fmla="*/ 32760694 w 19"/>
                <a:gd name="T13" fmla="*/ 15121130 h 25"/>
                <a:gd name="T14" fmla="*/ 32760694 w 19"/>
                <a:gd name="T15" fmla="*/ 30242259 h 25"/>
                <a:gd name="T16" fmla="*/ 32760694 w 19"/>
                <a:gd name="T17" fmla="*/ 15121130 h 25"/>
                <a:gd name="T18" fmla="*/ 17640007 w 19"/>
                <a:gd name="T19" fmla="*/ 15121130 h 25"/>
                <a:gd name="T20" fmla="*/ 0 w 19"/>
                <a:gd name="T21" fmla="*/ 15121130 h 25"/>
                <a:gd name="T22" fmla="*/ 0 w 19"/>
                <a:gd name="T23" fmla="*/ 30242259 h 25"/>
                <a:gd name="T24" fmla="*/ 0 w 19"/>
                <a:gd name="T25" fmla="*/ 47884364 h 25"/>
                <a:gd name="T26" fmla="*/ 17640007 w 19"/>
                <a:gd name="T27" fmla="*/ 47884364 h 25"/>
                <a:gd name="T28" fmla="*/ 17640007 w 19"/>
                <a:gd name="T29" fmla="*/ 63005499 h 25"/>
                <a:gd name="T30" fmla="*/ 32760694 w 19"/>
                <a:gd name="T31" fmla="*/ 63005499 h 25"/>
                <a:gd name="T32" fmla="*/ 17640007 w 19"/>
                <a:gd name="T33" fmla="*/ 47884364 h 25"/>
                <a:gd name="T34" fmla="*/ 32760694 w 19"/>
                <a:gd name="T35" fmla="*/ 47884364 h 25"/>
                <a:gd name="T36" fmla="*/ 17640007 w 19"/>
                <a:gd name="T37" fmla="*/ 47884364 h 25"/>
                <a:gd name="T38" fmla="*/ 32760694 w 19"/>
                <a:gd name="T39" fmla="*/ 30242259 h 25"/>
                <a:gd name="T40" fmla="*/ 17640007 w 19"/>
                <a:gd name="T41" fmla="*/ 30242259 h 25"/>
                <a:gd name="T42" fmla="*/ 32760694 w 19"/>
                <a:gd name="T43" fmla="*/ 30242259 h 25"/>
                <a:gd name="T44" fmla="*/ 32760694 w 19"/>
                <a:gd name="T45" fmla="*/ 47884364 h 25"/>
                <a:gd name="T46" fmla="*/ 32760694 w 19"/>
                <a:gd name="T47" fmla="*/ 63005499 h 25"/>
                <a:gd name="T48" fmla="*/ 47881374 w 19"/>
                <a:gd name="T49" fmla="*/ 63005499 h 25"/>
                <a:gd name="T50" fmla="*/ 47881374 w 19"/>
                <a:gd name="T51" fmla="*/ 47884364 h 25"/>
                <a:gd name="T52" fmla="*/ 47881374 w 19"/>
                <a:gd name="T53" fmla="*/ 30242259 h 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
                <a:gd name="T82" fmla="*/ 0 h 25"/>
                <a:gd name="T83" fmla="*/ 19 w 19"/>
                <a:gd name="T84" fmla="*/ 25 h 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 h="25">
                  <a:moveTo>
                    <a:pt x="19" y="12"/>
                  </a:moveTo>
                  <a:lnTo>
                    <a:pt x="19" y="6"/>
                  </a:lnTo>
                  <a:lnTo>
                    <a:pt x="19" y="0"/>
                  </a:lnTo>
                  <a:lnTo>
                    <a:pt x="19" y="6"/>
                  </a:lnTo>
                  <a:lnTo>
                    <a:pt x="19" y="0"/>
                  </a:lnTo>
                  <a:lnTo>
                    <a:pt x="19" y="6"/>
                  </a:lnTo>
                  <a:lnTo>
                    <a:pt x="13" y="6"/>
                  </a:lnTo>
                  <a:lnTo>
                    <a:pt x="13" y="12"/>
                  </a:lnTo>
                  <a:lnTo>
                    <a:pt x="13" y="6"/>
                  </a:lnTo>
                  <a:lnTo>
                    <a:pt x="7" y="6"/>
                  </a:lnTo>
                  <a:lnTo>
                    <a:pt x="0" y="6"/>
                  </a:lnTo>
                  <a:lnTo>
                    <a:pt x="0" y="12"/>
                  </a:lnTo>
                  <a:lnTo>
                    <a:pt x="0" y="19"/>
                  </a:lnTo>
                  <a:lnTo>
                    <a:pt x="7" y="19"/>
                  </a:lnTo>
                  <a:lnTo>
                    <a:pt x="7" y="25"/>
                  </a:lnTo>
                  <a:lnTo>
                    <a:pt x="13" y="25"/>
                  </a:lnTo>
                  <a:lnTo>
                    <a:pt x="7" y="19"/>
                  </a:lnTo>
                  <a:lnTo>
                    <a:pt x="13" y="19"/>
                  </a:lnTo>
                  <a:lnTo>
                    <a:pt x="7" y="19"/>
                  </a:lnTo>
                  <a:lnTo>
                    <a:pt x="13" y="12"/>
                  </a:lnTo>
                  <a:lnTo>
                    <a:pt x="7" y="12"/>
                  </a:lnTo>
                  <a:lnTo>
                    <a:pt x="13" y="12"/>
                  </a:lnTo>
                  <a:lnTo>
                    <a:pt x="13" y="19"/>
                  </a:lnTo>
                  <a:lnTo>
                    <a:pt x="13" y="25"/>
                  </a:lnTo>
                  <a:lnTo>
                    <a:pt x="19" y="25"/>
                  </a:lnTo>
                  <a:lnTo>
                    <a:pt x="19" y="19"/>
                  </a:lnTo>
                  <a:lnTo>
                    <a:pt x="19"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8" name="Freeform 275"/>
            <p:cNvSpPr>
              <a:spLocks/>
            </p:cNvSpPr>
            <p:nvPr/>
          </p:nvSpPr>
          <p:spPr bwMode="auto">
            <a:xfrm>
              <a:off x="5081535" y="6192246"/>
              <a:ext cx="40419" cy="17558"/>
            </a:xfrm>
            <a:custGeom>
              <a:avLst/>
              <a:gdLst>
                <a:gd name="T0" fmla="*/ 0 w 25"/>
                <a:gd name="T1" fmla="*/ 30241878 h 12"/>
                <a:gd name="T2" fmla="*/ 0 w 25"/>
                <a:gd name="T3" fmla="*/ 15120939 h 12"/>
                <a:gd name="T4" fmla="*/ 15120749 w 25"/>
                <a:gd name="T5" fmla="*/ 15120939 h 12"/>
                <a:gd name="T6" fmla="*/ 15120749 w 25"/>
                <a:gd name="T7" fmla="*/ 30241878 h 12"/>
                <a:gd name="T8" fmla="*/ 30241497 w 25"/>
                <a:gd name="T9" fmla="*/ 30241878 h 12"/>
                <a:gd name="T10" fmla="*/ 45362240 w 25"/>
                <a:gd name="T11" fmla="*/ 15120939 h 12"/>
                <a:gd name="T12" fmla="*/ 63002324 w 25"/>
                <a:gd name="T13" fmla="*/ 15120939 h 12"/>
                <a:gd name="T14" fmla="*/ 45362240 w 25"/>
                <a:gd name="T15" fmla="*/ 0 h 12"/>
                <a:gd name="T16" fmla="*/ 63002324 w 25"/>
                <a:gd name="T17" fmla="*/ 0 h 12"/>
                <a:gd name="T18" fmla="*/ 45362240 w 25"/>
                <a:gd name="T19" fmla="*/ 0 h 12"/>
                <a:gd name="T20" fmla="*/ 30241497 w 25"/>
                <a:gd name="T21" fmla="*/ 0 h 12"/>
                <a:gd name="T22" fmla="*/ 15120749 w 25"/>
                <a:gd name="T23" fmla="*/ 0 h 12"/>
                <a:gd name="T24" fmla="*/ 0 w 25"/>
                <a:gd name="T25" fmla="*/ 0 h 12"/>
                <a:gd name="T26" fmla="*/ 0 w 25"/>
                <a:gd name="T27" fmla="*/ 15120939 h 12"/>
                <a:gd name="T28" fmla="*/ 0 w 25"/>
                <a:gd name="T29" fmla="*/ 30241878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2"/>
                <a:gd name="T47" fmla="*/ 25 w 25"/>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2">
                  <a:moveTo>
                    <a:pt x="0" y="12"/>
                  </a:moveTo>
                  <a:lnTo>
                    <a:pt x="0" y="6"/>
                  </a:lnTo>
                  <a:lnTo>
                    <a:pt x="6" y="6"/>
                  </a:lnTo>
                  <a:lnTo>
                    <a:pt x="6" y="12"/>
                  </a:lnTo>
                  <a:lnTo>
                    <a:pt x="12" y="12"/>
                  </a:lnTo>
                  <a:lnTo>
                    <a:pt x="18" y="6"/>
                  </a:lnTo>
                  <a:lnTo>
                    <a:pt x="25" y="6"/>
                  </a:lnTo>
                  <a:lnTo>
                    <a:pt x="18" y="0"/>
                  </a:lnTo>
                  <a:lnTo>
                    <a:pt x="25" y="0"/>
                  </a:lnTo>
                  <a:lnTo>
                    <a:pt x="18" y="0"/>
                  </a:lnTo>
                  <a:lnTo>
                    <a:pt x="12" y="0"/>
                  </a:lnTo>
                  <a:lnTo>
                    <a:pt x="6" y="0"/>
                  </a:lnTo>
                  <a:lnTo>
                    <a:pt x="0" y="0"/>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49" name="Freeform 276"/>
            <p:cNvSpPr>
              <a:spLocks/>
            </p:cNvSpPr>
            <p:nvPr/>
          </p:nvSpPr>
          <p:spPr bwMode="auto">
            <a:xfrm>
              <a:off x="4606202" y="6174687"/>
              <a:ext cx="29102" cy="35117"/>
            </a:xfrm>
            <a:custGeom>
              <a:avLst/>
              <a:gdLst>
                <a:gd name="T0" fmla="*/ 15120937 w 18"/>
                <a:gd name="T1" fmla="*/ 45362810 h 24"/>
                <a:gd name="T2" fmla="*/ 30241875 w 18"/>
                <a:gd name="T3" fmla="*/ 60483756 h 24"/>
                <a:gd name="T4" fmla="*/ 30241875 w 18"/>
                <a:gd name="T5" fmla="*/ 45362810 h 24"/>
                <a:gd name="T6" fmla="*/ 45362806 w 18"/>
                <a:gd name="T7" fmla="*/ 45362810 h 24"/>
                <a:gd name="T8" fmla="*/ 45362806 w 18"/>
                <a:gd name="T9" fmla="*/ 30241878 h 24"/>
                <a:gd name="T10" fmla="*/ 30241875 w 18"/>
                <a:gd name="T11" fmla="*/ 15120939 h 24"/>
                <a:gd name="T12" fmla="*/ 15120937 w 18"/>
                <a:gd name="T13" fmla="*/ 15120939 h 24"/>
                <a:gd name="T14" fmla="*/ 15120937 w 18"/>
                <a:gd name="T15" fmla="*/ 0 h 24"/>
                <a:gd name="T16" fmla="*/ 0 w 18"/>
                <a:gd name="T17" fmla="*/ 15120939 h 24"/>
                <a:gd name="T18" fmla="*/ 0 w 18"/>
                <a:gd name="T19" fmla="*/ 30241878 h 24"/>
                <a:gd name="T20" fmla="*/ 15120937 w 18"/>
                <a:gd name="T21" fmla="*/ 30241878 h 24"/>
                <a:gd name="T22" fmla="*/ 15120937 w 18"/>
                <a:gd name="T23" fmla="*/ 4536281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4"/>
                <a:gd name="T38" fmla="*/ 18 w 18"/>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4">
                  <a:moveTo>
                    <a:pt x="6" y="18"/>
                  </a:moveTo>
                  <a:lnTo>
                    <a:pt x="12" y="24"/>
                  </a:lnTo>
                  <a:lnTo>
                    <a:pt x="12" y="18"/>
                  </a:lnTo>
                  <a:lnTo>
                    <a:pt x="18" y="18"/>
                  </a:lnTo>
                  <a:lnTo>
                    <a:pt x="18" y="12"/>
                  </a:lnTo>
                  <a:lnTo>
                    <a:pt x="12" y="6"/>
                  </a:lnTo>
                  <a:lnTo>
                    <a:pt x="6" y="6"/>
                  </a:lnTo>
                  <a:lnTo>
                    <a:pt x="6" y="0"/>
                  </a:lnTo>
                  <a:lnTo>
                    <a:pt x="0" y="6"/>
                  </a:lnTo>
                  <a:lnTo>
                    <a:pt x="0" y="12"/>
                  </a:lnTo>
                  <a:lnTo>
                    <a:pt x="6" y="12"/>
                  </a:lnTo>
                  <a:lnTo>
                    <a:pt x="6"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0" name="Freeform 277"/>
            <p:cNvSpPr>
              <a:spLocks/>
            </p:cNvSpPr>
            <p:nvPr/>
          </p:nvSpPr>
          <p:spPr bwMode="auto">
            <a:xfrm>
              <a:off x="4982910" y="6263942"/>
              <a:ext cx="19401" cy="45359"/>
            </a:xfrm>
            <a:custGeom>
              <a:avLst/>
              <a:gdLst>
                <a:gd name="T0" fmla="*/ 30241878 w 12"/>
                <a:gd name="T1" fmla="*/ 15120786 h 31"/>
                <a:gd name="T2" fmla="*/ 30241878 w 12"/>
                <a:gd name="T3" fmla="*/ 30241573 h 31"/>
                <a:gd name="T4" fmla="*/ 30241878 w 12"/>
                <a:gd name="T5" fmla="*/ 47881689 h 31"/>
                <a:gd name="T6" fmla="*/ 15120939 w 12"/>
                <a:gd name="T7" fmla="*/ 63002482 h 31"/>
                <a:gd name="T8" fmla="*/ 15120939 w 12"/>
                <a:gd name="T9" fmla="*/ 78123262 h 31"/>
                <a:gd name="T10" fmla="*/ 15120939 w 12"/>
                <a:gd name="T11" fmla="*/ 63002482 h 31"/>
                <a:gd name="T12" fmla="*/ 0 w 12"/>
                <a:gd name="T13" fmla="*/ 63002482 h 31"/>
                <a:gd name="T14" fmla="*/ 0 w 12"/>
                <a:gd name="T15" fmla="*/ 47881689 h 31"/>
                <a:gd name="T16" fmla="*/ 0 w 12"/>
                <a:gd name="T17" fmla="*/ 30241573 h 31"/>
                <a:gd name="T18" fmla="*/ 0 w 12"/>
                <a:gd name="T19" fmla="*/ 15120786 h 31"/>
                <a:gd name="T20" fmla="*/ 15120939 w 12"/>
                <a:gd name="T21" fmla="*/ 15120786 h 31"/>
                <a:gd name="T22" fmla="*/ 15120939 w 12"/>
                <a:gd name="T23" fmla="*/ 0 h 31"/>
                <a:gd name="T24" fmla="*/ 30241878 w 12"/>
                <a:gd name="T25" fmla="*/ 15120786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31"/>
                <a:gd name="T41" fmla="*/ 12 w 12"/>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31">
                  <a:moveTo>
                    <a:pt x="12" y="6"/>
                  </a:moveTo>
                  <a:lnTo>
                    <a:pt x="12" y="12"/>
                  </a:lnTo>
                  <a:lnTo>
                    <a:pt x="12" y="19"/>
                  </a:lnTo>
                  <a:lnTo>
                    <a:pt x="6" y="25"/>
                  </a:lnTo>
                  <a:lnTo>
                    <a:pt x="6" y="31"/>
                  </a:lnTo>
                  <a:lnTo>
                    <a:pt x="6" y="25"/>
                  </a:lnTo>
                  <a:lnTo>
                    <a:pt x="0" y="25"/>
                  </a:lnTo>
                  <a:lnTo>
                    <a:pt x="0" y="19"/>
                  </a:lnTo>
                  <a:lnTo>
                    <a:pt x="0" y="12"/>
                  </a:lnTo>
                  <a:lnTo>
                    <a:pt x="0" y="6"/>
                  </a:lnTo>
                  <a:lnTo>
                    <a:pt x="6" y="6"/>
                  </a:lnTo>
                  <a:lnTo>
                    <a:pt x="6" y="0"/>
                  </a:lnTo>
                  <a:lnTo>
                    <a:pt x="12"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1" name="Freeform 278"/>
            <p:cNvSpPr>
              <a:spLocks/>
            </p:cNvSpPr>
            <p:nvPr/>
          </p:nvSpPr>
          <p:spPr bwMode="auto">
            <a:xfrm>
              <a:off x="4913389" y="5807425"/>
              <a:ext cx="19401" cy="35117"/>
            </a:xfrm>
            <a:custGeom>
              <a:avLst/>
              <a:gdLst>
                <a:gd name="T0" fmla="*/ 30241878 w 12"/>
                <a:gd name="T1" fmla="*/ 15120939 h 24"/>
                <a:gd name="T2" fmla="*/ 30241878 w 12"/>
                <a:gd name="T3" fmla="*/ 30241878 h 24"/>
                <a:gd name="T4" fmla="*/ 30241878 w 12"/>
                <a:gd name="T5" fmla="*/ 45362810 h 24"/>
                <a:gd name="T6" fmla="*/ 15120939 w 12"/>
                <a:gd name="T7" fmla="*/ 60483756 h 24"/>
                <a:gd name="T8" fmla="*/ 15120939 w 12"/>
                <a:gd name="T9" fmla="*/ 45362810 h 24"/>
                <a:gd name="T10" fmla="*/ 0 w 12"/>
                <a:gd name="T11" fmla="*/ 45362810 h 24"/>
                <a:gd name="T12" fmla="*/ 0 w 12"/>
                <a:gd name="T13" fmla="*/ 30241878 h 24"/>
                <a:gd name="T14" fmla="*/ 15120939 w 12"/>
                <a:gd name="T15" fmla="*/ 15120939 h 24"/>
                <a:gd name="T16" fmla="*/ 15120939 w 12"/>
                <a:gd name="T17" fmla="*/ 0 h 24"/>
                <a:gd name="T18" fmla="*/ 30241878 w 12"/>
                <a:gd name="T19" fmla="*/ 15120939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4"/>
                <a:gd name="T32" fmla="*/ 12 w 1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4">
                  <a:moveTo>
                    <a:pt x="12" y="6"/>
                  </a:moveTo>
                  <a:lnTo>
                    <a:pt x="12" y="12"/>
                  </a:lnTo>
                  <a:lnTo>
                    <a:pt x="12" y="18"/>
                  </a:lnTo>
                  <a:lnTo>
                    <a:pt x="6" y="24"/>
                  </a:lnTo>
                  <a:lnTo>
                    <a:pt x="6" y="18"/>
                  </a:lnTo>
                  <a:lnTo>
                    <a:pt x="0" y="18"/>
                  </a:lnTo>
                  <a:lnTo>
                    <a:pt x="0" y="12"/>
                  </a:lnTo>
                  <a:lnTo>
                    <a:pt x="6" y="6"/>
                  </a:lnTo>
                  <a:lnTo>
                    <a:pt x="6" y="0"/>
                  </a:lnTo>
                  <a:lnTo>
                    <a:pt x="12"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2" name="Freeform 279"/>
            <p:cNvSpPr>
              <a:spLocks/>
            </p:cNvSpPr>
            <p:nvPr/>
          </p:nvSpPr>
          <p:spPr bwMode="auto">
            <a:xfrm>
              <a:off x="4932791" y="6165908"/>
              <a:ext cx="19401" cy="35117"/>
            </a:xfrm>
            <a:custGeom>
              <a:avLst/>
              <a:gdLst>
                <a:gd name="T0" fmla="*/ 30241878 w 12"/>
                <a:gd name="T1" fmla="*/ 45362810 h 24"/>
                <a:gd name="T2" fmla="*/ 30241878 w 12"/>
                <a:gd name="T3" fmla="*/ 60483756 h 24"/>
                <a:gd name="T4" fmla="*/ 15120939 w 12"/>
                <a:gd name="T5" fmla="*/ 45362810 h 24"/>
                <a:gd name="T6" fmla="*/ 0 w 12"/>
                <a:gd name="T7" fmla="*/ 45362810 h 24"/>
                <a:gd name="T8" fmla="*/ 0 w 12"/>
                <a:gd name="T9" fmla="*/ 30241878 h 24"/>
                <a:gd name="T10" fmla="*/ 0 w 12"/>
                <a:gd name="T11" fmla="*/ 15120939 h 24"/>
                <a:gd name="T12" fmla="*/ 0 w 12"/>
                <a:gd name="T13" fmla="*/ 0 h 24"/>
                <a:gd name="T14" fmla="*/ 15120939 w 12"/>
                <a:gd name="T15" fmla="*/ 15120939 h 24"/>
                <a:gd name="T16" fmla="*/ 15120939 w 12"/>
                <a:gd name="T17" fmla="*/ 30241878 h 24"/>
                <a:gd name="T18" fmla="*/ 30241878 w 12"/>
                <a:gd name="T19" fmla="*/ 15120939 h 24"/>
                <a:gd name="T20" fmla="*/ 30241878 w 12"/>
                <a:gd name="T21" fmla="*/ 30241878 h 24"/>
                <a:gd name="T22" fmla="*/ 30241878 w 12"/>
                <a:gd name="T23" fmla="*/ 4536281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24"/>
                <a:gd name="T38" fmla="*/ 12 w 12"/>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24">
                  <a:moveTo>
                    <a:pt x="12" y="18"/>
                  </a:moveTo>
                  <a:lnTo>
                    <a:pt x="12" y="24"/>
                  </a:lnTo>
                  <a:lnTo>
                    <a:pt x="6" y="18"/>
                  </a:lnTo>
                  <a:lnTo>
                    <a:pt x="0" y="18"/>
                  </a:lnTo>
                  <a:lnTo>
                    <a:pt x="0" y="12"/>
                  </a:lnTo>
                  <a:lnTo>
                    <a:pt x="0" y="6"/>
                  </a:lnTo>
                  <a:lnTo>
                    <a:pt x="0" y="0"/>
                  </a:lnTo>
                  <a:lnTo>
                    <a:pt x="6" y="6"/>
                  </a:lnTo>
                  <a:lnTo>
                    <a:pt x="6" y="12"/>
                  </a:lnTo>
                  <a:lnTo>
                    <a:pt x="12" y="6"/>
                  </a:lnTo>
                  <a:lnTo>
                    <a:pt x="12" y="12"/>
                  </a:lnTo>
                  <a:lnTo>
                    <a:pt x="12"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3" name="Freeform 280"/>
            <p:cNvSpPr>
              <a:spLocks/>
            </p:cNvSpPr>
            <p:nvPr/>
          </p:nvSpPr>
          <p:spPr bwMode="auto">
            <a:xfrm>
              <a:off x="5110636" y="6443915"/>
              <a:ext cx="21018" cy="52675"/>
            </a:xfrm>
            <a:custGeom>
              <a:avLst/>
              <a:gdLst>
                <a:gd name="T0" fmla="*/ 32760447 w 13"/>
                <a:gd name="T1" fmla="*/ 45362806 h 36"/>
                <a:gd name="T2" fmla="*/ 32760447 w 13"/>
                <a:gd name="T3" fmla="*/ 60483749 h 36"/>
                <a:gd name="T4" fmla="*/ 32760447 w 13"/>
                <a:gd name="T5" fmla="*/ 75604680 h 36"/>
                <a:gd name="T6" fmla="*/ 17639874 w 13"/>
                <a:gd name="T7" fmla="*/ 75604680 h 36"/>
                <a:gd name="T8" fmla="*/ 17639874 w 13"/>
                <a:gd name="T9" fmla="*/ 90725611 h 36"/>
                <a:gd name="T10" fmla="*/ 17639874 w 13"/>
                <a:gd name="T11" fmla="*/ 75604680 h 36"/>
                <a:gd name="T12" fmla="*/ 17639874 w 13"/>
                <a:gd name="T13" fmla="*/ 60483749 h 36"/>
                <a:gd name="T14" fmla="*/ 17639874 w 13"/>
                <a:gd name="T15" fmla="*/ 45362806 h 36"/>
                <a:gd name="T16" fmla="*/ 0 w 13"/>
                <a:gd name="T17" fmla="*/ 45362806 h 36"/>
                <a:gd name="T18" fmla="*/ 17639874 w 13"/>
                <a:gd name="T19" fmla="*/ 30241875 h 36"/>
                <a:gd name="T20" fmla="*/ 17639874 w 13"/>
                <a:gd name="T21" fmla="*/ 15120937 h 36"/>
                <a:gd name="T22" fmla="*/ 17639874 w 13"/>
                <a:gd name="T23" fmla="*/ 0 h 36"/>
                <a:gd name="T24" fmla="*/ 32760447 w 13"/>
                <a:gd name="T25" fmla="*/ 0 h 36"/>
                <a:gd name="T26" fmla="*/ 32760447 w 13"/>
                <a:gd name="T27" fmla="*/ 15120937 h 36"/>
                <a:gd name="T28" fmla="*/ 17639874 w 13"/>
                <a:gd name="T29" fmla="*/ 30241875 h 36"/>
                <a:gd name="T30" fmla="*/ 17639874 w 13"/>
                <a:gd name="T31" fmla="*/ 45362806 h 36"/>
                <a:gd name="T32" fmla="*/ 32760447 w 13"/>
                <a:gd name="T33" fmla="*/ 4536280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36"/>
                <a:gd name="T53" fmla="*/ 13 w 13"/>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36">
                  <a:moveTo>
                    <a:pt x="13" y="18"/>
                  </a:moveTo>
                  <a:lnTo>
                    <a:pt x="13" y="24"/>
                  </a:lnTo>
                  <a:lnTo>
                    <a:pt x="13" y="30"/>
                  </a:lnTo>
                  <a:lnTo>
                    <a:pt x="7" y="30"/>
                  </a:lnTo>
                  <a:lnTo>
                    <a:pt x="7" y="36"/>
                  </a:lnTo>
                  <a:lnTo>
                    <a:pt x="7" y="30"/>
                  </a:lnTo>
                  <a:lnTo>
                    <a:pt x="7" y="24"/>
                  </a:lnTo>
                  <a:lnTo>
                    <a:pt x="7" y="18"/>
                  </a:lnTo>
                  <a:lnTo>
                    <a:pt x="0" y="18"/>
                  </a:lnTo>
                  <a:lnTo>
                    <a:pt x="7" y="12"/>
                  </a:lnTo>
                  <a:lnTo>
                    <a:pt x="7" y="6"/>
                  </a:lnTo>
                  <a:lnTo>
                    <a:pt x="7" y="0"/>
                  </a:lnTo>
                  <a:lnTo>
                    <a:pt x="13" y="0"/>
                  </a:lnTo>
                  <a:lnTo>
                    <a:pt x="13" y="6"/>
                  </a:lnTo>
                  <a:lnTo>
                    <a:pt x="7" y="12"/>
                  </a:lnTo>
                  <a:lnTo>
                    <a:pt x="7" y="18"/>
                  </a:lnTo>
                  <a:lnTo>
                    <a:pt x="13"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4" name="Freeform 281"/>
            <p:cNvSpPr>
              <a:spLocks/>
            </p:cNvSpPr>
            <p:nvPr/>
          </p:nvSpPr>
          <p:spPr bwMode="auto">
            <a:xfrm>
              <a:off x="5100936" y="6300522"/>
              <a:ext cx="40419" cy="35117"/>
            </a:xfrm>
            <a:custGeom>
              <a:avLst/>
              <a:gdLst>
                <a:gd name="T0" fmla="*/ 47881570 w 25"/>
                <a:gd name="T1" fmla="*/ 30241878 h 24"/>
                <a:gd name="T2" fmla="*/ 47881570 w 25"/>
                <a:gd name="T3" fmla="*/ 15120939 h 24"/>
                <a:gd name="T4" fmla="*/ 63002324 w 25"/>
                <a:gd name="T5" fmla="*/ 15120939 h 24"/>
                <a:gd name="T6" fmla="*/ 47881570 w 25"/>
                <a:gd name="T7" fmla="*/ 15120939 h 24"/>
                <a:gd name="T8" fmla="*/ 47881570 w 25"/>
                <a:gd name="T9" fmla="*/ 0 h 24"/>
                <a:gd name="T10" fmla="*/ 47881570 w 25"/>
                <a:gd name="T11" fmla="*/ 15120939 h 24"/>
                <a:gd name="T12" fmla="*/ 32760827 w 25"/>
                <a:gd name="T13" fmla="*/ 15120939 h 24"/>
                <a:gd name="T14" fmla="*/ 15120749 w 25"/>
                <a:gd name="T15" fmla="*/ 15120939 h 24"/>
                <a:gd name="T16" fmla="*/ 15120749 w 25"/>
                <a:gd name="T17" fmla="*/ 30241878 h 24"/>
                <a:gd name="T18" fmla="*/ 0 w 25"/>
                <a:gd name="T19" fmla="*/ 45362810 h 24"/>
                <a:gd name="T20" fmla="*/ 0 w 25"/>
                <a:gd name="T21" fmla="*/ 60483756 h 24"/>
                <a:gd name="T22" fmla="*/ 15120749 w 25"/>
                <a:gd name="T23" fmla="*/ 60483756 h 24"/>
                <a:gd name="T24" fmla="*/ 15120749 w 25"/>
                <a:gd name="T25" fmla="*/ 45362810 h 24"/>
                <a:gd name="T26" fmla="*/ 15120749 w 25"/>
                <a:gd name="T27" fmla="*/ 30241878 h 24"/>
                <a:gd name="T28" fmla="*/ 32760827 w 25"/>
                <a:gd name="T29" fmla="*/ 45362810 h 24"/>
                <a:gd name="T30" fmla="*/ 32760827 w 25"/>
                <a:gd name="T31" fmla="*/ 30241878 h 24"/>
                <a:gd name="T32" fmla="*/ 47881570 w 25"/>
                <a:gd name="T33" fmla="*/ 30241878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24"/>
                <a:gd name="T53" fmla="*/ 25 w 25"/>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24">
                  <a:moveTo>
                    <a:pt x="19" y="12"/>
                  </a:moveTo>
                  <a:lnTo>
                    <a:pt x="19" y="6"/>
                  </a:lnTo>
                  <a:lnTo>
                    <a:pt x="25" y="6"/>
                  </a:lnTo>
                  <a:lnTo>
                    <a:pt x="19" y="6"/>
                  </a:lnTo>
                  <a:lnTo>
                    <a:pt x="19" y="0"/>
                  </a:lnTo>
                  <a:lnTo>
                    <a:pt x="19" y="6"/>
                  </a:lnTo>
                  <a:lnTo>
                    <a:pt x="13" y="6"/>
                  </a:lnTo>
                  <a:lnTo>
                    <a:pt x="6" y="6"/>
                  </a:lnTo>
                  <a:lnTo>
                    <a:pt x="6" y="12"/>
                  </a:lnTo>
                  <a:lnTo>
                    <a:pt x="0" y="18"/>
                  </a:lnTo>
                  <a:lnTo>
                    <a:pt x="0" y="24"/>
                  </a:lnTo>
                  <a:lnTo>
                    <a:pt x="6" y="24"/>
                  </a:lnTo>
                  <a:lnTo>
                    <a:pt x="6" y="18"/>
                  </a:lnTo>
                  <a:lnTo>
                    <a:pt x="6" y="12"/>
                  </a:lnTo>
                  <a:lnTo>
                    <a:pt x="13" y="18"/>
                  </a:lnTo>
                  <a:lnTo>
                    <a:pt x="13" y="12"/>
                  </a:lnTo>
                  <a:lnTo>
                    <a:pt x="19"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5" name="Freeform 282"/>
            <p:cNvSpPr>
              <a:spLocks/>
            </p:cNvSpPr>
            <p:nvPr/>
          </p:nvSpPr>
          <p:spPr bwMode="auto">
            <a:xfrm>
              <a:off x="4784047" y="6372219"/>
              <a:ext cx="19401" cy="26338"/>
            </a:xfrm>
            <a:custGeom>
              <a:avLst/>
              <a:gdLst>
                <a:gd name="T0" fmla="*/ 30241878 w 12"/>
                <a:gd name="T1" fmla="*/ 15120937 h 18"/>
                <a:gd name="T2" fmla="*/ 30241878 w 12"/>
                <a:gd name="T3" fmla="*/ 30241875 h 18"/>
                <a:gd name="T4" fmla="*/ 30241878 w 12"/>
                <a:gd name="T5" fmla="*/ 45362806 h 18"/>
                <a:gd name="T6" fmla="*/ 15120939 w 12"/>
                <a:gd name="T7" fmla="*/ 45362806 h 18"/>
                <a:gd name="T8" fmla="*/ 15120939 w 12"/>
                <a:gd name="T9" fmla="*/ 30241875 h 18"/>
                <a:gd name="T10" fmla="*/ 0 w 12"/>
                <a:gd name="T11" fmla="*/ 30241875 h 18"/>
                <a:gd name="T12" fmla="*/ 15120939 w 12"/>
                <a:gd name="T13" fmla="*/ 30241875 h 18"/>
                <a:gd name="T14" fmla="*/ 15120939 w 12"/>
                <a:gd name="T15" fmla="*/ 15120937 h 18"/>
                <a:gd name="T16" fmla="*/ 0 w 12"/>
                <a:gd name="T17" fmla="*/ 15120937 h 18"/>
                <a:gd name="T18" fmla="*/ 15120939 w 12"/>
                <a:gd name="T19" fmla="*/ 0 h 18"/>
                <a:gd name="T20" fmla="*/ 15120939 w 12"/>
                <a:gd name="T21" fmla="*/ 15120937 h 18"/>
                <a:gd name="T22" fmla="*/ 30241878 w 12"/>
                <a:gd name="T23" fmla="*/ 1512093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8"/>
                <a:gd name="T38" fmla="*/ 12 w 1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8">
                  <a:moveTo>
                    <a:pt x="12" y="6"/>
                  </a:moveTo>
                  <a:lnTo>
                    <a:pt x="12" y="12"/>
                  </a:lnTo>
                  <a:lnTo>
                    <a:pt x="12" y="18"/>
                  </a:lnTo>
                  <a:lnTo>
                    <a:pt x="6" y="18"/>
                  </a:lnTo>
                  <a:lnTo>
                    <a:pt x="6" y="12"/>
                  </a:lnTo>
                  <a:lnTo>
                    <a:pt x="0" y="12"/>
                  </a:lnTo>
                  <a:lnTo>
                    <a:pt x="6" y="12"/>
                  </a:lnTo>
                  <a:lnTo>
                    <a:pt x="6" y="6"/>
                  </a:lnTo>
                  <a:lnTo>
                    <a:pt x="0" y="6"/>
                  </a:lnTo>
                  <a:lnTo>
                    <a:pt x="6" y="0"/>
                  </a:lnTo>
                  <a:lnTo>
                    <a:pt x="6" y="6"/>
                  </a:lnTo>
                  <a:lnTo>
                    <a:pt x="12"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6" name="Freeform 283"/>
            <p:cNvSpPr>
              <a:spLocks/>
            </p:cNvSpPr>
            <p:nvPr/>
          </p:nvSpPr>
          <p:spPr bwMode="auto">
            <a:xfrm>
              <a:off x="4606202" y="6057632"/>
              <a:ext cx="9701" cy="36580"/>
            </a:xfrm>
            <a:custGeom>
              <a:avLst/>
              <a:gdLst>
                <a:gd name="T0" fmla="*/ 15120939 w 6"/>
                <a:gd name="T1" fmla="*/ 15121130 h 25"/>
                <a:gd name="T2" fmla="*/ 15120939 w 6"/>
                <a:gd name="T3" fmla="*/ 32763240 h 25"/>
                <a:gd name="T4" fmla="*/ 15120939 w 6"/>
                <a:gd name="T5" fmla="*/ 47884364 h 25"/>
                <a:gd name="T6" fmla="*/ 0 w 6"/>
                <a:gd name="T7" fmla="*/ 47884364 h 25"/>
                <a:gd name="T8" fmla="*/ 0 w 6"/>
                <a:gd name="T9" fmla="*/ 63005499 h 25"/>
                <a:gd name="T10" fmla="*/ 0 w 6"/>
                <a:gd name="T11" fmla="*/ 47884364 h 25"/>
                <a:gd name="T12" fmla="*/ 0 w 6"/>
                <a:gd name="T13" fmla="*/ 63005499 h 25"/>
                <a:gd name="T14" fmla="*/ 0 w 6"/>
                <a:gd name="T15" fmla="*/ 47884364 h 25"/>
                <a:gd name="T16" fmla="*/ 0 w 6"/>
                <a:gd name="T17" fmla="*/ 63005499 h 25"/>
                <a:gd name="T18" fmla="*/ 0 w 6"/>
                <a:gd name="T19" fmla="*/ 47884364 h 25"/>
                <a:gd name="T20" fmla="*/ 0 w 6"/>
                <a:gd name="T21" fmla="*/ 32763240 h 25"/>
                <a:gd name="T22" fmla="*/ 0 w 6"/>
                <a:gd name="T23" fmla="*/ 15121130 h 25"/>
                <a:gd name="T24" fmla="*/ 0 w 6"/>
                <a:gd name="T25" fmla="*/ 0 h 25"/>
                <a:gd name="T26" fmla="*/ 15120939 w 6"/>
                <a:gd name="T27" fmla="*/ 0 h 25"/>
                <a:gd name="T28" fmla="*/ 15120939 w 6"/>
                <a:gd name="T29" fmla="*/ 1512113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25"/>
                <a:gd name="T47" fmla="*/ 6 w 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25">
                  <a:moveTo>
                    <a:pt x="6" y="6"/>
                  </a:moveTo>
                  <a:lnTo>
                    <a:pt x="6" y="13"/>
                  </a:lnTo>
                  <a:lnTo>
                    <a:pt x="6" y="19"/>
                  </a:lnTo>
                  <a:lnTo>
                    <a:pt x="0" y="19"/>
                  </a:lnTo>
                  <a:lnTo>
                    <a:pt x="0" y="25"/>
                  </a:lnTo>
                  <a:lnTo>
                    <a:pt x="0" y="19"/>
                  </a:lnTo>
                  <a:lnTo>
                    <a:pt x="0" y="25"/>
                  </a:lnTo>
                  <a:lnTo>
                    <a:pt x="0" y="19"/>
                  </a:lnTo>
                  <a:lnTo>
                    <a:pt x="0" y="25"/>
                  </a:lnTo>
                  <a:lnTo>
                    <a:pt x="0" y="19"/>
                  </a:lnTo>
                  <a:lnTo>
                    <a:pt x="0" y="13"/>
                  </a:lnTo>
                  <a:lnTo>
                    <a:pt x="0" y="6"/>
                  </a:lnTo>
                  <a:lnTo>
                    <a:pt x="0" y="0"/>
                  </a:lnTo>
                  <a:lnTo>
                    <a:pt x="6" y="0"/>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7" name="Freeform 284"/>
            <p:cNvSpPr>
              <a:spLocks/>
            </p:cNvSpPr>
            <p:nvPr/>
          </p:nvSpPr>
          <p:spPr bwMode="auto">
            <a:xfrm>
              <a:off x="5031414" y="6201025"/>
              <a:ext cx="30719" cy="27801"/>
            </a:xfrm>
            <a:custGeom>
              <a:avLst/>
              <a:gdLst>
                <a:gd name="T0" fmla="*/ 32763367 w 19"/>
                <a:gd name="T1" fmla="*/ 32763367 h 19"/>
                <a:gd name="T2" fmla="*/ 32763367 w 19"/>
                <a:gd name="T3" fmla="*/ 15121188 h 19"/>
                <a:gd name="T4" fmla="*/ 47884549 w 19"/>
                <a:gd name="T5" fmla="*/ 15121188 h 19"/>
                <a:gd name="T6" fmla="*/ 47884549 w 19"/>
                <a:gd name="T7" fmla="*/ 0 h 19"/>
                <a:gd name="T8" fmla="*/ 32763367 w 19"/>
                <a:gd name="T9" fmla="*/ 0 h 19"/>
                <a:gd name="T10" fmla="*/ 32763367 w 19"/>
                <a:gd name="T11" fmla="*/ 15121188 h 19"/>
                <a:gd name="T12" fmla="*/ 17642179 w 19"/>
                <a:gd name="T13" fmla="*/ 15121188 h 19"/>
                <a:gd name="T14" fmla="*/ 0 w 19"/>
                <a:gd name="T15" fmla="*/ 15121188 h 19"/>
                <a:gd name="T16" fmla="*/ 0 w 19"/>
                <a:gd name="T17" fmla="*/ 32763367 h 19"/>
                <a:gd name="T18" fmla="*/ 0 w 19"/>
                <a:gd name="T19" fmla="*/ 47884549 h 19"/>
                <a:gd name="T20" fmla="*/ 17642179 w 19"/>
                <a:gd name="T21" fmla="*/ 32763367 h 19"/>
                <a:gd name="T22" fmla="*/ 32763367 w 19"/>
                <a:gd name="T23" fmla="*/ 3276336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9"/>
                <a:gd name="T38" fmla="*/ 19 w 1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9">
                  <a:moveTo>
                    <a:pt x="13" y="13"/>
                  </a:moveTo>
                  <a:lnTo>
                    <a:pt x="13" y="6"/>
                  </a:lnTo>
                  <a:lnTo>
                    <a:pt x="19" y="6"/>
                  </a:lnTo>
                  <a:lnTo>
                    <a:pt x="19" y="0"/>
                  </a:lnTo>
                  <a:lnTo>
                    <a:pt x="13" y="0"/>
                  </a:lnTo>
                  <a:lnTo>
                    <a:pt x="13" y="6"/>
                  </a:lnTo>
                  <a:lnTo>
                    <a:pt x="7" y="6"/>
                  </a:lnTo>
                  <a:lnTo>
                    <a:pt x="0" y="6"/>
                  </a:lnTo>
                  <a:lnTo>
                    <a:pt x="0" y="13"/>
                  </a:lnTo>
                  <a:lnTo>
                    <a:pt x="0" y="19"/>
                  </a:lnTo>
                  <a:lnTo>
                    <a:pt x="7" y="13"/>
                  </a:lnTo>
                  <a:lnTo>
                    <a:pt x="13"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8" name="Freeform 285"/>
            <p:cNvSpPr>
              <a:spLocks/>
            </p:cNvSpPr>
            <p:nvPr/>
          </p:nvSpPr>
          <p:spPr bwMode="auto">
            <a:xfrm>
              <a:off x="4903689" y="6040073"/>
              <a:ext cx="19401" cy="26338"/>
            </a:xfrm>
            <a:custGeom>
              <a:avLst/>
              <a:gdLst>
                <a:gd name="T0" fmla="*/ 30241878 w 12"/>
                <a:gd name="T1" fmla="*/ 45362806 h 18"/>
                <a:gd name="T2" fmla="*/ 30241878 w 12"/>
                <a:gd name="T3" fmla="*/ 30241875 h 18"/>
                <a:gd name="T4" fmla="*/ 15120939 w 12"/>
                <a:gd name="T5" fmla="*/ 30241875 h 18"/>
                <a:gd name="T6" fmla="*/ 15120939 w 12"/>
                <a:gd name="T7" fmla="*/ 15120937 h 18"/>
                <a:gd name="T8" fmla="*/ 30241878 w 12"/>
                <a:gd name="T9" fmla="*/ 15120937 h 18"/>
                <a:gd name="T10" fmla="*/ 15120939 w 12"/>
                <a:gd name="T11" fmla="*/ 0 h 18"/>
                <a:gd name="T12" fmla="*/ 0 w 12"/>
                <a:gd name="T13" fmla="*/ 0 h 18"/>
                <a:gd name="T14" fmla="*/ 0 w 12"/>
                <a:gd name="T15" fmla="*/ 15120937 h 18"/>
                <a:gd name="T16" fmla="*/ 15120939 w 12"/>
                <a:gd name="T17" fmla="*/ 15120937 h 18"/>
                <a:gd name="T18" fmla="*/ 0 w 12"/>
                <a:gd name="T19" fmla="*/ 15120937 h 18"/>
                <a:gd name="T20" fmla="*/ 0 w 12"/>
                <a:gd name="T21" fmla="*/ 30241875 h 18"/>
                <a:gd name="T22" fmla="*/ 15120939 w 12"/>
                <a:gd name="T23" fmla="*/ 30241875 h 18"/>
                <a:gd name="T24" fmla="*/ 15120939 w 12"/>
                <a:gd name="T25" fmla="*/ 45362806 h 18"/>
                <a:gd name="T26" fmla="*/ 30241878 w 12"/>
                <a:gd name="T27" fmla="*/ 45362806 h 18"/>
                <a:gd name="T28" fmla="*/ 15120939 w 12"/>
                <a:gd name="T29" fmla="*/ 45362806 h 18"/>
                <a:gd name="T30" fmla="*/ 30241878 w 12"/>
                <a:gd name="T31" fmla="*/ 45362806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8"/>
                <a:gd name="T50" fmla="*/ 12 w 12"/>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8">
                  <a:moveTo>
                    <a:pt x="12" y="18"/>
                  </a:moveTo>
                  <a:lnTo>
                    <a:pt x="12" y="12"/>
                  </a:lnTo>
                  <a:lnTo>
                    <a:pt x="6" y="12"/>
                  </a:lnTo>
                  <a:lnTo>
                    <a:pt x="6" y="6"/>
                  </a:lnTo>
                  <a:lnTo>
                    <a:pt x="12" y="6"/>
                  </a:lnTo>
                  <a:lnTo>
                    <a:pt x="6" y="0"/>
                  </a:lnTo>
                  <a:lnTo>
                    <a:pt x="0" y="0"/>
                  </a:lnTo>
                  <a:lnTo>
                    <a:pt x="0" y="6"/>
                  </a:lnTo>
                  <a:lnTo>
                    <a:pt x="6" y="6"/>
                  </a:lnTo>
                  <a:lnTo>
                    <a:pt x="0" y="6"/>
                  </a:lnTo>
                  <a:lnTo>
                    <a:pt x="0" y="12"/>
                  </a:lnTo>
                  <a:lnTo>
                    <a:pt x="6" y="12"/>
                  </a:lnTo>
                  <a:lnTo>
                    <a:pt x="6" y="18"/>
                  </a:lnTo>
                  <a:lnTo>
                    <a:pt x="12" y="18"/>
                  </a:lnTo>
                  <a:lnTo>
                    <a:pt x="6" y="18"/>
                  </a:lnTo>
                  <a:lnTo>
                    <a:pt x="12"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59" name="Freeform 286"/>
            <p:cNvSpPr>
              <a:spLocks/>
            </p:cNvSpPr>
            <p:nvPr/>
          </p:nvSpPr>
          <p:spPr bwMode="auto">
            <a:xfrm>
              <a:off x="4952192" y="6201025"/>
              <a:ext cx="21018" cy="27801"/>
            </a:xfrm>
            <a:custGeom>
              <a:avLst/>
              <a:gdLst>
                <a:gd name="T0" fmla="*/ 32760447 w 13"/>
                <a:gd name="T1" fmla="*/ 15121188 h 19"/>
                <a:gd name="T2" fmla="*/ 32760447 w 13"/>
                <a:gd name="T3" fmla="*/ 32763367 h 19"/>
                <a:gd name="T4" fmla="*/ 32760447 w 13"/>
                <a:gd name="T5" fmla="*/ 47884549 h 19"/>
                <a:gd name="T6" fmla="*/ 32760447 w 13"/>
                <a:gd name="T7" fmla="*/ 32763367 h 19"/>
                <a:gd name="T8" fmla="*/ 17639874 w 13"/>
                <a:gd name="T9" fmla="*/ 32763367 h 19"/>
                <a:gd name="T10" fmla="*/ 0 w 13"/>
                <a:gd name="T11" fmla="*/ 15121188 h 19"/>
                <a:gd name="T12" fmla="*/ 0 w 13"/>
                <a:gd name="T13" fmla="*/ 0 h 19"/>
                <a:gd name="T14" fmla="*/ 0 w 13"/>
                <a:gd name="T15" fmla="*/ 15121188 h 19"/>
                <a:gd name="T16" fmla="*/ 17639874 w 13"/>
                <a:gd name="T17" fmla="*/ 15121188 h 19"/>
                <a:gd name="T18" fmla="*/ 32760447 w 13"/>
                <a:gd name="T19" fmla="*/ 1512118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9"/>
                <a:gd name="T32" fmla="*/ 13 w 13"/>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9">
                  <a:moveTo>
                    <a:pt x="13" y="6"/>
                  </a:moveTo>
                  <a:lnTo>
                    <a:pt x="13" y="13"/>
                  </a:lnTo>
                  <a:lnTo>
                    <a:pt x="13" y="19"/>
                  </a:lnTo>
                  <a:lnTo>
                    <a:pt x="13" y="13"/>
                  </a:lnTo>
                  <a:lnTo>
                    <a:pt x="7" y="13"/>
                  </a:lnTo>
                  <a:lnTo>
                    <a:pt x="0" y="6"/>
                  </a:lnTo>
                  <a:lnTo>
                    <a:pt x="0" y="0"/>
                  </a:lnTo>
                  <a:lnTo>
                    <a:pt x="0" y="6"/>
                  </a:lnTo>
                  <a:lnTo>
                    <a:pt x="7" y="6"/>
                  </a:lnTo>
                  <a:lnTo>
                    <a:pt x="13"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0" name="Freeform 287"/>
            <p:cNvSpPr>
              <a:spLocks/>
            </p:cNvSpPr>
            <p:nvPr/>
          </p:nvSpPr>
          <p:spPr bwMode="auto">
            <a:xfrm>
              <a:off x="4963509" y="6272722"/>
              <a:ext cx="9701" cy="19021"/>
            </a:xfrm>
            <a:custGeom>
              <a:avLst/>
              <a:gdLst>
                <a:gd name="T0" fmla="*/ 0 w 6"/>
                <a:gd name="T1" fmla="*/ 32760447 h 13"/>
                <a:gd name="T2" fmla="*/ 15120939 w 6"/>
                <a:gd name="T3" fmla="*/ 32760447 h 13"/>
                <a:gd name="T4" fmla="*/ 15120939 w 6"/>
                <a:gd name="T5" fmla="*/ 15120573 h 13"/>
                <a:gd name="T6" fmla="*/ 15120939 w 6"/>
                <a:gd name="T7" fmla="*/ 0 h 13"/>
                <a:gd name="T8" fmla="*/ 0 w 6"/>
                <a:gd name="T9" fmla="*/ 0 h 13"/>
                <a:gd name="T10" fmla="*/ 15120939 w 6"/>
                <a:gd name="T11" fmla="*/ 0 h 13"/>
                <a:gd name="T12" fmla="*/ 0 w 6"/>
                <a:gd name="T13" fmla="*/ 0 h 13"/>
                <a:gd name="T14" fmla="*/ 0 w 6"/>
                <a:gd name="T15" fmla="*/ 15120573 h 13"/>
                <a:gd name="T16" fmla="*/ 0 w 6"/>
                <a:gd name="T17" fmla="*/ 327604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3"/>
                <a:gd name="T29" fmla="*/ 6 w 6"/>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3">
                  <a:moveTo>
                    <a:pt x="0" y="13"/>
                  </a:moveTo>
                  <a:lnTo>
                    <a:pt x="6" y="13"/>
                  </a:lnTo>
                  <a:lnTo>
                    <a:pt x="6" y="6"/>
                  </a:lnTo>
                  <a:lnTo>
                    <a:pt x="6" y="0"/>
                  </a:lnTo>
                  <a:lnTo>
                    <a:pt x="0" y="0"/>
                  </a:lnTo>
                  <a:lnTo>
                    <a:pt x="6" y="0"/>
                  </a:lnTo>
                  <a:lnTo>
                    <a:pt x="0" y="0"/>
                  </a:lnTo>
                  <a:lnTo>
                    <a:pt x="0" y="6"/>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1" name="Freeform 288"/>
            <p:cNvSpPr>
              <a:spLocks/>
            </p:cNvSpPr>
            <p:nvPr/>
          </p:nvSpPr>
          <p:spPr bwMode="auto">
            <a:xfrm>
              <a:off x="4893988" y="6318080"/>
              <a:ext cx="19401" cy="17558"/>
            </a:xfrm>
            <a:custGeom>
              <a:avLst/>
              <a:gdLst>
                <a:gd name="T0" fmla="*/ 15120939 w 12"/>
                <a:gd name="T1" fmla="*/ 30241878 h 12"/>
                <a:gd name="T2" fmla="*/ 30241878 w 12"/>
                <a:gd name="T3" fmla="*/ 30241878 h 12"/>
                <a:gd name="T4" fmla="*/ 30241878 w 12"/>
                <a:gd name="T5" fmla="*/ 15120939 h 12"/>
                <a:gd name="T6" fmla="*/ 30241878 w 12"/>
                <a:gd name="T7" fmla="*/ 0 h 12"/>
                <a:gd name="T8" fmla="*/ 15120939 w 12"/>
                <a:gd name="T9" fmla="*/ 0 h 12"/>
                <a:gd name="T10" fmla="*/ 15120939 w 12"/>
                <a:gd name="T11" fmla="*/ 15120939 h 12"/>
                <a:gd name="T12" fmla="*/ 30241878 w 12"/>
                <a:gd name="T13" fmla="*/ 15120939 h 12"/>
                <a:gd name="T14" fmla="*/ 15120939 w 12"/>
                <a:gd name="T15" fmla="*/ 15120939 h 12"/>
                <a:gd name="T16" fmla="*/ 15120939 w 12"/>
                <a:gd name="T17" fmla="*/ 0 h 12"/>
                <a:gd name="T18" fmla="*/ 15120939 w 12"/>
                <a:gd name="T19" fmla="*/ 15120939 h 12"/>
                <a:gd name="T20" fmla="*/ 0 w 12"/>
                <a:gd name="T21" fmla="*/ 15120939 h 12"/>
                <a:gd name="T22" fmla="*/ 15120939 w 12"/>
                <a:gd name="T23" fmla="*/ 30241878 h 12"/>
                <a:gd name="T24" fmla="*/ 0 w 12"/>
                <a:gd name="T25" fmla="*/ 30241878 h 12"/>
                <a:gd name="T26" fmla="*/ 15120939 w 12"/>
                <a:gd name="T27" fmla="*/ 30241878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2"/>
                <a:gd name="T44" fmla="*/ 12 w 12"/>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2">
                  <a:moveTo>
                    <a:pt x="6" y="12"/>
                  </a:moveTo>
                  <a:lnTo>
                    <a:pt x="12" y="12"/>
                  </a:lnTo>
                  <a:lnTo>
                    <a:pt x="12" y="6"/>
                  </a:lnTo>
                  <a:lnTo>
                    <a:pt x="12" y="0"/>
                  </a:lnTo>
                  <a:lnTo>
                    <a:pt x="6" y="0"/>
                  </a:lnTo>
                  <a:lnTo>
                    <a:pt x="6" y="6"/>
                  </a:lnTo>
                  <a:lnTo>
                    <a:pt x="12" y="6"/>
                  </a:lnTo>
                  <a:lnTo>
                    <a:pt x="6" y="6"/>
                  </a:lnTo>
                  <a:lnTo>
                    <a:pt x="6" y="0"/>
                  </a:lnTo>
                  <a:lnTo>
                    <a:pt x="6" y="6"/>
                  </a:lnTo>
                  <a:lnTo>
                    <a:pt x="0" y="6"/>
                  </a:lnTo>
                  <a:lnTo>
                    <a:pt x="6" y="12"/>
                  </a:lnTo>
                  <a:lnTo>
                    <a:pt x="0" y="12"/>
                  </a:lnTo>
                  <a:lnTo>
                    <a:pt x="6"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2" name="Freeform 289"/>
            <p:cNvSpPr>
              <a:spLocks/>
            </p:cNvSpPr>
            <p:nvPr/>
          </p:nvSpPr>
          <p:spPr bwMode="auto">
            <a:xfrm>
              <a:off x="4992611" y="5851322"/>
              <a:ext cx="19401" cy="19021"/>
            </a:xfrm>
            <a:custGeom>
              <a:avLst/>
              <a:gdLst>
                <a:gd name="T0" fmla="*/ 15120939 w 12"/>
                <a:gd name="T1" fmla="*/ 0 h 13"/>
                <a:gd name="T2" fmla="*/ 30241878 w 12"/>
                <a:gd name="T3" fmla="*/ 17639874 h 13"/>
                <a:gd name="T4" fmla="*/ 15120939 w 12"/>
                <a:gd name="T5" fmla="*/ 17639874 h 13"/>
                <a:gd name="T6" fmla="*/ 15120939 w 12"/>
                <a:gd name="T7" fmla="*/ 32760447 h 13"/>
                <a:gd name="T8" fmla="*/ 15120939 w 12"/>
                <a:gd name="T9" fmla="*/ 17639874 h 13"/>
                <a:gd name="T10" fmla="*/ 0 w 12"/>
                <a:gd name="T11" fmla="*/ 17639874 h 13"/>
                <a:gd name="T12" fmla="*/ 0 w 12"/>
                <a:gd name="T13" fmla="*/ 0 h 13"/>
                <a:gd name="T14" fmla="*/ 15120939 w 12"/>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3"/>
                <a:gd name="T26" fmla="*/ 12 w 12"/>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3">
                  <a:moveTo>
                    <a:pt x="6" y="0"/>
                  </a:moveTo>
                  <a:lnTo>
                    <a:pt x="12" y="7"/>
                  </a:lnTo>
                  <a:lnTo>
                    <a:pt x="6" y="7"/>
                  </a:lnTo>
                  <a:lnTo>
                    <a:pt x="6" y="13"/>
                  </a:lnTo>
                  <a:lnTo>
                    <a:pt x="6" y="7"/>
                  </a:lnTo>
                  <a:lnTo>
                    <a:pt x="0" y="7"/>
                  </a:lnTo>
                  <a:lnTo>
                    <a:pt x="0" y="0"/>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3" name="Freeform 290"/>
            <p:cNvSpPr>
              <a:spLocks/>
            </p:cNvSpPr>
            <p:nvPr/>
          </p:nvSpPr>
          <p:spPr bwMode="auto">
            <a:xfrm>
              <a:off x="4893988" y="6201025"/>
              <a:ext cx="9701" cy="27801"/>
            </a:xfrm>
            <a:custGeom>
              <a:avLst/>
              <a:gdLst>
                <a:gd name="T0" fmla="*/ 15120939 w 6"/>
                <a:gd name="T1" fmla="*/ 0 h 19"/>
                <a:gd name="T2" fmla="*/ 15120939 w 6"/>
                <a:gd name="T3" fmla="*/ 15121188 h 19"/>
                <a:gd name="T4" fmla="*/ 15120939 w 6"/>
                <a:gd name="T5" fmla="*/ 32763367 h 19"/>
                <a:gd name="T6" fmla="*/ 0 w 6"/>
                <a:gd name="T7" fmla="*/ 47884549 h 19"/>
                <a:gd name="T8" fmla="*/ 0 w 6"/>
                <a:gd name="T9" fmla="*/ 32763367 h 19"/>
                <a:gd name="T10" fmla="*/ 0 w 6"/>
                <a:gd name="T11" fmla="*/ 15121188 h 19"/>
                <a:gd name="T12" fmla="*/ 15120939 w 6"/>
                <a:gd name="T13" fmla="*/ 15121188 h 19"/>
                <a:gd name="T14" fmla="*/ 15120939 w 6"/>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9"/>
                <a:gd name="T26" fmla="*/ 6 w 6"/>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9">
                  <a:moveTo>
                    <a:pt x="6" y="0"/>
                  </a:moveTo>
                  <a:lnTo>
                    <a:pt x="6" y="6"/>
                  </a:lnTo>
                  <a:lnTo>
                    <a:pt x="6" y="13"/>
                  </a:lnTo>
                  <a:lnTo>
                    <a:pt x="0" y="19"/>
                  </a:lnTo>
                  <a:lnTo>
                    <a:pt x="0" y="13"/>
                  </a:lnTo>
                  <a:lnTo>
                    <a:pt x="0" y="6"/>
                  </a:lnTo>
                  <a:lnTo>
                    <a:pt x="6" y="6"/>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4" name="Freeform 291"/>
            <p:cNvSpPr>
              <a:spLocks/>
            </p:cNvSpPr>
            <p:nvPr/>
          </p:nvSpPr>
          <p:spPr bwMode="auto">
            <a:xfrm>
              <a:off x="5012012" y="6300522"/>
              <a:ext cx="19401" cy="17558"/>
            </a:xfrm>
            <a:custGeom>
              <a:avLst/>
              <a:gdLst>
                <a:gd name="T0" fmla="*/ 0 w 12"/>
                <a:gd name="T1" fmla="*/ 30241878 h 12"/>
                <a:gd name="T2" fmla="*/ 15120939 w 12"/>
                <a:gd name="T3" fmla="*/ 30241878 h 12"/>
                <a:gd name="T4" fmla="*/ 15120939 w 12"/>
                <a:gd name="T5" fmla="*/ 15120939 h 12"/>
                <a:gd name="T6" fmla="*/ 30241878 w 12"/>
                <a:gd name="T7" fmla="*/ 15120939 h 12"/>
                <a:gd name="T8" fmla="*/ 30241878 w 12"/>
                <a:gd name="T9" fmla="*/ 0 h 12"/>
                <a:gd name="T10" fmla="*/ 15120939 w 12"/>
                <a:gd name="T11" fmla="*/ 0 h 12"/>
                <a:gd name="T12" fmla="*/ 30241878 w 12"/>
                <a:gd name="T13" fmla="*/ 0 h 12"/>
                <a:gd name="T14" fmla="*/ 15120939 w 12"/>
                <a:gd name="T15" fmla="*/ 15120939 h 12"/>
                <a:gd name="T16" fmla="*/ 15120939 w 12"/>
                <a:gd name="T17" fmla="*/ 30241878 h 12"/>
                <a:gd name="T18" fmla="*/ 0 w 12"/>
                <a:gd name="T19" fmla="*/ 30241878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0" y="12"/>
                  </a:moveTo>
                  <a:lnTo>
                    <a:pt x="6" y="12"/>
                  </a:lnTo>
                  <a:lnTo>
                    <a:pt x="6" y="6"/>
                  </a:lnTo>
                  <a:lnTo>
                    <a:pt x="12" y="6"/>
                  </a:lnTo>
                  <a:lnTo>
                    <a:pt x="12" y="0"/>
                  </a:lnTo>
                  <a:lnTo>
                    <a:pt x="6" y="0"/>
                  </a:lnTo>
                  <a:lnTo>
                    <a:pt x="12" y="0"/>
                  </a:lnTo>
                  <a:lnTo>
                    <a:pt x="6" y="6"/>
                  </a:lnTo>
                  <a:lnTo>
                    <a:pt x="6" y="12"/>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5" name="Freeform 292"/>
            <p:cNvSpPr>
              <a:spLocks/>
            </p:cNvSpPr>
            <p:nvPr/>
          </p:nvSpPr>
          <p:spPr bwMode="auto">
            <a:xfrm>
              <a:off x="5100936" y="6281501"/>
              <a:ext cx="9701" cy="19021"/>
            </a:xfrm>
            <a:custGeom>
              <a:avLst/>
              <a:gdLst>
                <a:gd name="T0" fmla="*/ 0 w 6"/>
                <a:gd name="T1" fmla="*/ 0 h 13"/>
                <a:gd name="T2" fmla="*/ 0 w 6"/>
                <a:gd name="T3" fmla="*/ 17639874 h 13"/>
                <a:gd name="T4" fmla="*/ 0 w 6"/>
                <a:gd name="T5" fmla="*/ 32760447 h 13"/>
                <a:gd name="T6" fmla="*/ 15120939 w 6"/>
                <a:gd name="T7" fmla="*/ 32760447 h 13"/>
                <a:gd name="T8" fmla="*/ 15120939 w 6"/>
                <a:gd name="T9" fmla="*/ 17639874 h 13"/>
                <a:gd name="T10" fmla="*/ 0 w 6"/>
                <a:gd name="T11" fmla="*/ 17639874 h 13"/>
                <a:gd name="T12" fmla="*/ 15120939 w 6"/>
                <a:gd name="T13" fmla="*/ 0 h 13"/>
                <a:gd name="T14" fmla="*/ 0 w 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3"/>
                <a:gd name="T26" fmla="*/ 6 w 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3">
                  <a:moveTo>
                    <a:pt x="0" y="0"/>
                  </a:moveTo>
                  <a:lnTo>
                    <a:pt x="0" y="7"/>
                  </a:lnTo>
                  <a:lnTo>
                    <a:pt x="0" y="13"/>
                  </a:lnTo>
                  <a:lnTo>
                    <a:pt x="6" y="13"/>
                  </a:lnTo>
                  <a:lnTo>
                    <a:pt x="6" y="7"/>
                  </a:lnTo>
                  <a:lnTo>
                    <a:pt x="0" y="7"/>
                  </a:ln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6" name="Freeform 293"/>
            <p:cNvSpPr>
              <a:spLocks/>
            </p:cNvSpPr>
            <p:nvPr/>
          </p:nvSpPr>
          <p:spPr bwMode="auto">
            <a:xfrm>
              <a:off x="4903689" y="6237605"/>
              <a:ext cx="9701" cy="17558"/>
            </a:xfrm>
            <a:custGeom>
              <a:avLst/>
              <a:gdLst>
                <a:gd name="T0" fmla="*/ 0 w 6"/>
                <a:gd name="T1" fmla="*/ 15120939 h 12"/>
                <a:gd name="T2" fmla="*/ 0 w 6"/>
                <a:gd name="T3" fmla="*/ 0 h 12"/>
                <a:gd name="T4" fmla="*/ 15120939 w 6"/>
                <a:gd name="T5" fmla="*/ 0 h 12"/>
                <a:gd name="T6" fmla="*/ 15120939 w 6"/>
                <a:gd name="T7" fmla="*/ 15120939 h 12"/>
                <a:gd name="T8" fmla="*/ 15120939 w 6"/>
                <a:gd name="T9" fmla="*/ 30241878 h 12"/>
                <a:gd name="T10" fmla="*/ 0 w 6"/>
                <a:gd name="T11" fmla="*/ 30241878 h 12"/>
                <a:gd name="T12" fmla="*/ 0 w 6"/>
                <a:gd name="T13" fmla="*/ 15120939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6"/>
                  </a:moveTo>
                  <a:lnTo>
                    <a:pt x="0" y="0"/>
                  </a:lnTo>
                  <a:lnTo>
                    <a:pt x="6" y="0"/>
                  </a:lnTo>
                  <a:lnTo>
                    <a:pt x="6" y="6"/>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7" name="Freeform 294"/>
            <p:cNvSpPr>
              <a:spLocks/>
            </p:cNvSpPr>
            <p:nvPr/>
          </p:nvSpPr>
          <p:spPr bwMode="auto">
            <a:xfrm>
              <a:off x="4606202" y="6102991"/>
              <a:ext cx="9701" cy="26338"/>
            </a:xfrm>
            <a:custGeom>
              <a:avLst/>
              <a:gdLst>
                <a:gd name="T0" fmla="*/ 0 w 6"/>
                <a:gd name="T1" fmla="*/ 0 h 18"/>
                <a:gd name="T2" fmla="*/ 15120939 w 6"/>
                <a:gd name="T3" fmla="*/ 0 h 18"/>
                <a:gd name="T4" fmla="*/ 15120939 w 6"/>
                <a:gd name="T5" fmla="*/ 15120937 h 18"/>
                <a:gd name="T6" fmla="*/ 15120939 w 6"/>
                <a:gd name="T7" fmla="*/ 30241875 h 18"/>
                <a:gd name="T8" fmla="*/ 15120939 w 6"/>
                <a:gd name="T9" fmla="*/ 45362806 h 18"/>
                <a:gd name="T10" fmla="*/ 15120939 w 6"/>
                <a:gd name="T11" fmla="*/ 30241875 h 18"/>
                <a:gd name="T12" fmla="*/ 0 w 6"/>
                <a:gd name="T13" fmla="*/ 15120937 h 18"/>
                <a:gd name="T14" fmla="*/ 0 w 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8"/>
                <a:gd name="T26" fmla="*/ 6 w 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8">
                  <a:moveTo>
                    <a:pt x="0" y="0"/>
                  </a:moveTo>
                  <a:lnTo>
                    <a:pt x="6" y="0"/>
                  </a:lnTo>
                  <a:lnTo>
                    <a:pt x="6" y="6"/>
                  </a:lnTo>
                  <a:lnTo>
                    <a:pt x="6" y="12"/>
                  </a:lnTo>
                  <a:lnTo>
                    <a:pt x="6" y="18"/>
                  </a:lnTo>
                  <a:lnTo>
                    <a:pt x="6" y="12"/>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8" name="Freeform 295"/>
            <p:cNvSpPr>
              <a:spLocks/>
            </p:cNvSpPr>
            <p:nvPr/>
          </p:nvSpPr>
          <p:spPr bwMode="auto">
            <a:xfrm>
              <a:off x="5052432" y="6335639"/>
              <a:ext cx="9701" cy="17558"/>
            </a:xfrm>
            <a:custGeom>
              <a:avLst/>
              <a:gdLst>
                <a:gd name="T0" fmla="*/ 15120939 w 6"/>
                <a:gd name="T1" fmla="*/ 30241878 h 12"/>
                <a:gd name="T2" fmla="*/ 15120939 w 6"/>
                <a:gd name="T3" fmla="*/ 15120939 h 12"/>
                <a:gd name="T4" fmla="*/ 15120939 w 6"/>
                <a:gd name="T5" fmla="*/ 0 h 12"/>
                <a:gd name="T6" fmla="*/ 15120939 w 6"/>
                <a:gd name="T7" fmla="*/ 15120939 h 12"/>
                <a:gd name="T8" fmla="*/ 0 w 6"/>
                <a:gd name="T9" fmla="*/ 15120939 h 12"/>
                <a:gd name="T10" fmla="*/ 0 w 6"/>
                <a:gd name="T11" fmla="*/ 30241878 h 12"/>
                <a:gd name="T12" fmla="*/ 15120939 w 6"/>
                <a:gd name="T13" fmla="*/ 30241878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6" y="12"/>
                  </a:moveTo>
                  <a:lnTo>
                    <a:pt x="6" y="6"/>
                  </a:lnTo>
                  <a:lnTo>
                    <a:pt x="6" y="0"/>
                  </a:lnTo>
                  <a:lnTo>
                    <a:pt x="6" y="6"/>
                  </a:lnTo>
                  <a:lnTo>
                    <a:pt x="0" y="6"/>
                  </a:lnTo>
                  <a:lnTo>
                    <a:pt x="0" y="12"/>
                  </a:lnTo>
                  <a:lnTo>
                    <a:pt x="6"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69" name="Freeform 296"/>
            <p:cNvSpPr>
              <a:spLocks/>
            </p:cNvSpPr>
            <p:nvPr/>
          </p:nvSpPr>
          <p:spPr bwMode="auto">
            <a:xfrm>
              <a:off x="4843867" y="6013736"/>
              <a:ext cx="19401" cy="17558"/>
            </a:xfrm>
            <a:custGeom>
              <a:avLst/>
              <a:gdLst>
                <a:gd name="T0" fmla="*/ 0 w 12"/>
                <a:gd name="T1" fmla="*/ 0 h 12"/>
                <a:gd name="T2" fmla="*/ 15120939 w 12"/>
                <a:gd name="T3" fmla="*/ 15120939 h 12"/>
                <a:gd name="T4" fmla="*/ 30241878 w 12"/>
                <a:gd name="T5" fmla="*/ 15120939 h 12"/>
                <a:gd name="T6" fmla="*/ 30241878 w 12"/>
                <a:gd name="T7" fmla="*/ 30241878 h 12"/>
                <a:gd name="T8" fmla="*/ 15120939 w 12"/>
                <a:gd name="T9" fmla="*/ 30241878 h 12"/>
                <a:gd name="T10" fmla="*/ 15120939 w 12"/>
                <a:gd name="T11" fmla="*/ 15120939 h 12"/>
                <a:gd name="T12" fmla="*/ 0 w 12"/>
                <a:gd name="T13" fmla="*/ 15120939 h 12"/>
                <a:gd name="T14" fmla="*/ 0 w 12"/>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0" y="0"/>
                  </a:moveTo>
                  <a:lnTo>
                    <a:pt x="6" y="6"/>
                  </a:lnTo>
                  <a:lnTo>
                    <a:pt x="12" y="6"/>
                  </a:lnTo>
                  <a:lnTo>
                    <a:pt x="12" y="12"/>
                  </a:lnTo>
                  <a:lnTo>
                    <a:pt x="6" y="12"/>
                  </a:lnTo>
                  <a:lnTo>
                    <a:pt x="6" y="6"/>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0" name="Freeform 297"/>
            <p:cNvSpPr>
              <a:spLocks/>
            </p:cNvSpPr>
            <p:nvPr/>
          </p:nvSpPr>
          <p:spPr bwMode="auto">
            <a:xfrm>
              <a:off x="4973210" y="6318080"/>
              <a:ext cx="9701" cy="17558"/>
            </a:xfrm>
            <a:custGeom>
              <a:avLst/>
              <a:gdLst>
                <a:gd name="T0" fmla="*/ 15120939 w 6"/>
                <a:gd name="T1" fmla="*/ 15120939 h 12"/>
                <a:gd name="T2" fmla="*/ 15120939 w 6"/>
                <a:gd name="T3" fmla="*/ 30241878 h 12"/>
                <a:gd name="T4" fmla="*/ 0 w 6"/>
                <a:gd name="T5" fmla="*/ 30241878 h 12"/>
                <a:gd name="T6" fmla="*/ 0 w 6"/>
                <a:gd name="T7" fmla="*/ 15120939 h 12"/>
                <a:gd name="T8" fmla="*/ 0 w 6"/>
                <a:gd name="T9" fmla="*/ 0 h 12"/>
                <a:gd name="T10" fmla="*/ 0 w 6"/>
                <a:gd name="T11" fmla="*/ 15120939 h 12"/>
                <a:gd name="T12" fmla="*/ 15120939 w 6"/>
                <a:gd name="T13" fmla="*/ 15120939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6" y="6"/>
                  </a:moveTo>
                  <a:lnTo>
                    <a:pt x="6" y="12"/>
                  </a:lnTo>
                  <a:lnTo>
                    <a:pt x="0" y="12"/>
                  </a:lnTo>
                  <a:lnTo>
                    <a:pt x="0" y="6"/>
                  </a:lnTo>
                  <a:lnTo>
                    <a:pt x="0" y="0"/>
                  </a:lnTo>
                  <a:lnTo>
                    <a:pt x="0" y="6"/>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1" name="Freeform 298"/>
            <p:cNvSpPr>
              <a:spLocks/>
            </p:cNvSpPr>
            <p:nvPr/>
          </p:nvSpPr>
          <p:spPr bwMode="auto">
            <a:xfrm>
              <a:off x="4942492" y="6228826"/>
              <a:ext cx="9701" cy="17558"/>
            </a:xfrm>
            <a:custGeom>
              <a:avLst/>
              <a:gdLst>
                <a:gd name="T0" fmla="*/ 0 w 6"/>
                <a:gd name="T1" fmla="*/ 0 h 12"/>
                <a:gd name="T2" fmla="*/ 0 w 6"/>
                <a:gd name="T3" fmla="*/ 15120939 h 12"/>
                <a:gd name="T4" fmla="*/ 15120939 w 6"/>
                <a:gd name="T5" fmla="*/ 15120939 h 12"/>
                <a:gd name="T6" fmla="*/ 0 w 6"/>
                <a:gd name="T7" fmla="*/ 15120939 h 12"/>
                <a:gd name="T8" fmla="*/ 0 w 6"/>
                <a:gd name="T9" fmla="*/ 30241878 h 12"/>
                <a:gd name="T10" fmla="*/ 0 w 6"/>
                <a:gd name="T11" fmla="*/ 15120939 h 12"/>
                <a:gd name="T12" fmla="*/ 0 w 6"/>
                <a:gd name="T13" fmla="*/ 0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0"/>
                  </a:moveTo>
                  <a:lnTo>
                    <a:pt x="0" y="6"/>
                  </a:lnTo>
                  <a:lnTo>
                    <a:pt x="6" y="6"/>
                  </a:lnTo>
                  <a:lnTo>
                    <a:pt x="0" y="6"/>
                  </a:lnTo>
                  <a:lnTo>
                    <a:pt x="0" y="12"/>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2" name="Freeform 299"/>
            <p:cNvSpPr>
              <a:spLocks/>
            </p:cNvSpPr>
            <p:nvPr/>
          </p:nvSpPr>
          <p:spPr bwMode="auto">
            <a:xfrm>
              <a:off x="4824466" y="6165908"/>
              <a:ext cx="19401" cy="17558"/>
            </a:xfrm>
            <a:custGeom>
              <a:avLst/>
              <a:gdLst>
                <a:gd name="T0" fmla="*/ 15120939 w 12"/>
                <a:gd name="T1" fmla="*/ 0 h 12"/>
                <a:gd name="T2" fmla="*/ 30241878 w 12"/>
                <a:gd name="T3" fmla="*/ 15120939 h 12"/>
                <a:gd name="T4" fmla="*/ 15120939 w 12"/>
                <a:gd name="T5" fmla="*/ 15120939 h 12"/>
                <a:gd name="T6" fmla="*/ 15120939 w 12"/>
                <a:gd name="T7" fmla="*/ 30241878 h 12"/>
                <a:gd name="T8" fmla="*/ 0 w 12"/>
                <a:gd name="T9" fmla="*/ 15120939 h 12"/>
                <a:gd name="T10" fmla="*/ 15120939 w 12"/>
                <a:gd name="T11" fmla="*/ 15120939 h 12"/>
                <a:gd name="T12" fmla="*/ 15120939 w 12"/>
                <a:gd name="T13" fmla="*/ 0 h 12"/>
                <a:gd name="T14" fmla="*/ 15120939 w 12"/>
                <a:gd name="T15" fmla="*/ 15120939 h 12"/>
                <a:gd name="T16" fmla="*/ 0 w 12"/>
                <a:gd name="T17" fmla="*/ 0 h 12"/>
                <a:gd name="T18" fmla="*/ 15120939 w 12"/>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6" y="0"/>
                  </a:moveTo>
                  <a:lnTo>
                    <a:pt x="12" y="6"/>
                  </a:lnTo>
                  <a:lnTo>
                    <a:pt x="6" y="6"/>
                  </a:lnTo>
                  <a:lnTo>
                    <a:pt x="6" y="12"/>
                  </a:lnTo>
                  <a:lnTo>
                    <a:pt x="0" y="6"/>
                  </a:lnTo>
                  <a:lnTo>
                    <a:pt x="6" y="6"/>
                  </a:lnTo>
                  <a:lnTo>
                    <a:pt x="6" y="0"/>
                  </a:lnTo>
                  <a:lnTo>
                    <a:pt x="6" y="6"/>
                  </a:lnTo>
                  <a:lnTo>
                    <a:pt x="0" y="0"/>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3" name="Freeform 300"/>
            <p:cNvSpPr>
              <a:spLocks/>
            </p:cNvSpPr>
            <p:nvPr/>
          </p:nvSpPr>
          <p:spPr bwMode="auto">
            <a:xfrm>
              <a:off x="4973210" y="6228826"/>
              <a:ext cx="19401" cy="8779"/>
            </a:xfrm>
            <a:custGeom>
              <a:avLst/>
              <a:gdLst>
                <a:gd name="T0" fmla="*/ 15120939 w 12"/>
                <a:gd name="T1" fmla="*/ 0 h 6"/>
                <a:gd name="T2" fmla="*/ 30241878 w 12"/>
                <a:gd name="T3" fmla="*/ 0 h 6"/>
                <a:gd name="T4" fmla="*/ 30241878 w 12"/>
                <a:gd name="T5" fmla="*/ 15120939 h 6"/>
                <a:gd name="T6" fmla="*/ 15120939 w 12"/>
                <a:gd name="T7" fmla="*/ 15120939 h 6"/>
                <a:gd name="T8" fmla="*/ 0 w 12"/>
                <a:gd name="T9" fmla="*/ 15120939 h 6"/>
                <a:gd name="T10" fmla="*/ 0 w 12"/>
                <a:gd name="T11" fmla="*/ 0 h 6"/>
                <a:gd name="T12" fmla="*/ 15120939 w 12"/>
                <a:gd name="T13" fmla="*/ 0 h 6"/>
                <a:gd name="T14" fmla="*/ 0 60000 65536"/>
                <a:gd name="T15" fmla="*/ 0 60000 65536"/>
                <a:gd name="T16" fmla="*/ 0 60000 65536"/>
                <a:gd name="T17" fmla="*/ 0 60000 65536"/>
                <a:gd name="T18" fmla="*/ 0 60000 65536"/>
                <a:gd name="T19" fmla="*/ 0 60000 65536"/>
                <a:gd name="T20" fmla="*/ 0 60000 65536"/>
                <a:gd name="T21" fmla="*/ 0 w 12"/>
                <a:gd name="T22" fmla="*/ 0 h 6"/>
                <a:gd name="T23" fmla="*/ 12 w 1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6">
                  <a:moveTo>
                    <a:pt x="6" y="0"/>
                  </a:moveTo>
                  <a:lnTo>
                    <a:pt x="12" y="0"/>
                  </a:lnTo>
                  <a:lnTo>
                    <a:pt x="12" y="6"/>
                  </a:lnTo>
                  <a:lnTo>
                    <a:pt x="6" y="6"/>
                  </a:lnTo>
                  <a:lnTo>
                    <a:pt x="0" y="6"/>
                  </a:lnTo>
                  <a:lnTo>
                    <a:pt x="0" y="0"/>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4" name="Freeform 301"/>
            <p:cNvSpPr>
              <a:spLocks/>
            </p:cNvSpPr>
            <p:nvPr/>
          </p:nvSpPr>
          <p:spPr bwMode="auto">
            <a:xfrm>
              <a:off x="4824466" y="6192246"/>
              <a:ext cx="19401" cy="8779"/>
            </a:xfrm>
            <a:custGeom>
              <a:avLst/>
              <a:gdLst>
                <a:gd name="T0" fmla="*/ 15120939 w 12"/>
                <a:gd name="T1" fmla="*/ 0 h 6"/>
                <a:gd name="T2" fmla="*/ 30241878 w 12"/>
                <a:gd name="T3" fmla="*/ 0 h 6"/>
                <a:gd name="T4" fmla="*/ 15120939 w 12"/>
                <a:gd name="T5" fmla="*/ 0 h 6"/>
                <a:gd name="T6" fmla="*/ 0 w 12"/>
                <a:gd name="T7" fmla="*/ 0 h 6"/>
                <a:gd name="T8" fmla="*/ 0 w 12"/>
                <a:gd name="T9" fmla="*/ 15120939 h 6"/>
                <a:gd name="T10" fmla="*/ 15120939 w 12"/>
                <a:gd name="T11" fmla="*/ 15120939 h 6"/>
                <a:gd name="T12" fmla="*/ 15120939 w 12"/>
                <a:gd name="T13" fmla="*/ 0 h 6"/>
                <a:gd name="T14" fmla="*/ 0 60000 65536"/>
                <a:gd name="T15" fmla="*/ 0 60000 65536"/>
                <a:gd name="T16" fmla="*/ 0 60000 65536"/>
                <a:gd name="T17" fmla="*/ 0 60000 65536"/>
                <a:gd name="T18" fmla="*/ 0 60000 65536"/>
                <a:gd name="T19" fmla="*/ 0 60000 65536"/>
                <a:gd name="T20" fmla="*/ 0 60000 65536"/>
                <a:gd name="T21" fmla="*/ 0 w 12"/>
                <a:gd name="T22" fmla="*/ 0 h 6"/>
                <a:gd name="T23" fmla="*/ 12 w 1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6">
                  <a:moveTo>
                    <a:pt x="6" y="0"/>
                  </a:moveTo>
                  <a:lnTo>
                    <a:pt x="12" y="0"/>
                  </a:lnTo>
                  <a:lnTo>
                    <a:pt x="6" y="0"/>
                  </a:lnTo>
                  <a:lnTo>
                    <a:pt x="0" y="0"/>
                  </a:lnTo>
                  <a:lnTo>
                    <a:pt x="0" y="6"/>
                  </a:lnTo>
                  <a:lnTo>
                    <a:pt x="6" y="6"/>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5" name="Freeform 302"/>
            <p:cNvSpPr>
              <a:spLocks/>
            </p:cNvSpPr>
            <p:nvPr/>
          </p:nvSpPr>
          <p:spPr bwMode="auto">
            <a:xfrm>
              <a:off x="4923090" y="6281501"/>
              <a:ext cx="9701" cy="19021"/>
            </a:xfrm>
            <a:custGeom>
              <a:avLst/>
              <a:gdLst>
                <a:gd name="T0" fmla="*/ 0 w 6"/>
                <a:gd name="T1" fmla="*/ 17639874 h 13"/>
                <a:gd name="T2" fmla="*/ 15120939 w 6"/>
                <a:gd name="T3" fmla="*/ 17639874 h 13"/>
                <a:gd name="T4" fmla="*/ 15120939 w 6"/>
                <a:gd name="T5" fmla="*/ 32760447 h 13"/>
                <a:gd name="T6" fmla="*/ 0 w 6"/>
                <a:gd name="T7" fmla="*/ 32760447 h 13"/>
                <a:gd name="T8" fmla="*/ 0 w 6"/>
                <a:gd name="T9" fmla="*/ 17639874 h 13"/>
                <a:gd name="T10" fmla="*/ 0 w 6"/>
                <a:gd name="T11" fmla="*/ 0 h 13"/>
                <a:gd name="T12" fmla="*/ 0 w 6"/>
                <a:gd name="T13" fmla="*/ 17639874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0" y="7"/>
                  </a:moveTo>
                  <a:lnTo>
                    <a:pt x="6" y="7"/>
                  </a:lnTo>
                  <a:lnTo>
                    <a:pt x="6" y="13"/>
                  </a:lnTo>
                  <a:lnTo>
                    <a:pt x="0" y="13"/>
                  </a:lnTo>
                  <a:lnTo>
                    <a:pt x="0" y="7"/>
                  </a:ln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6" name="Freeform 303"/>
            <p:cNvSpPr>
              <a:spLocks/>
            </p:cNvSpPr>
            <p:nvPr/>
          </p:nvSpPr>
          <p:spPr bwMode="auto">
            <a:xfrm>
              <a:off x="4982910" y="6363440"/>
              <a:ext cx="9701" cy="17558"/>
            </a:xfrm>
            <a:custGeom>
              <a:avLst/>
              <a:gdLst>
                <a:gd name="T0" fmla="*/ 0 w 6"/>
                <a:gd name="T1" fmla="*/ 30241878 h 12"/>
                <a:gd name="T2" fmla="*/ 15120939 w 6"/>
                <a:gd name="T3" fmla="*/ 30241878 h 12"/>
                <a:gd name="T4" fmla="*/ 15120939 w 6"/>
                <a:gd name="T5" fmla="*/ 15120939 h 12"/>
                <a:gd name="T6" fmla="*/ 15120939 w 6"/>
                <a:gd name="T7" fmla="*/ 0 h 12"/>
                <a:gd name="T8" fmla="*/ 0 w 6"/>
                <a:gd name="T9" fmla="*/ 0 h 12"/>
                <a:gd name="T10" fmla="*/ 15120939 w 6"/>
                <a:gd name="T11" fmla="*/ 0 h 12"/>
                <a:gd name="T12" fmla="*/ 15120939 w 6"/>
                <a:gd name="T13" fmla="*/ 15120939 h 12"/>
                <a:gd name="T14" fmla="*/ 0 w 6"/>
                <a:gd name="T15" fmla="*/ 15120939 h 12"/>
                <a:gd name="T16" fmla="*/ 0 w 6"/>
                <a:gd name="T17" fmla="*/ 30241878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2"/>
                <a:gd name="T29" fmla="*/ 6 w 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2">
                  <a:moveTo>
                    <a:pt x="0" y="12"/>
                  </a:moveTo>
                  <a:lnTo>
                    <a:pt x="6" y="12"/>
                  </a:lnTo>
                  <a:lnTo>
                    <a:pt x="6" y="6"/>
                  </a:lnTo>
                  <a:lnTo>
                    <a:pt x="6" y="0"/>
                  </a:lnTo>
                  <a:lnTo>
                    <a:pt x="0" y="0"/>
                  </a:lnTo>
                  <a:lnTo>
                    <a:pt x="6" y="0"/>
                  </a:lnTo>
                  <a:lnTo>
                    <a:pt x="6" y="6"/>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7" name="Freeform 304"/>
            <p:cNvSpPr>
              <a:spLocks/>
            </p:cNvSpPr>
            <p:nvPr/>
          </p:nvSpPr>
          <p:spPr bwMode="auto">
            <a:xfrm>
              <a:off x="4903689" y="6263943"/>
              <a:ext cx="9701" cy="8779"/>
            </a:xfrm>
            <a:custGeom>
              <a:avLst/>
              <a:gdLst>
                <a:gd name="T0" fmla="*/ 0 w 6"/>
                <a:gd name="T1" fmla="*/ 15120939 h 6"/>
                <a:gd name="T2" fmla="*/ 15120939 w 6"/>
                <a:gd name="T3" fmla="*/ 0 h 6"/>
                <a:gd name="T4" fmla="*/ 15120939 w 6"/>
                <a:gd name="T5" fmla="*/ 15120939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8" name="Freeform 305"/>
            <p:cNvSpPr>
              <a:spLocks/>
            </p:cNvSpPr>
            <p:nvPr/>
          </p:nvSpPr>
          <p:spPr bwMode="auto">
            <a:xfrm>
              <a:off x="5131654" y="6363440"/>
              <a:ext cx="9701" cy="8779"/>
            </a:xfrm>
            <a:custGeom>
              <a:avLst/>
              <a:gdLst>
                <a:gd name="T0" fmla="*/ 0 w 6"/>
                <a:gd name="T1" fmla="*/ 0 h 6"/>
                <a:gd name="T2" fmla="*/ 15120939 w 6"/>
                <a:gd name="T3" fmla="*/ 0 h 6"/>
                <a:gd name="T4" fmla="*/ 15120939 w 6"/>
                <a:gd name="T5" fmla="*/ 15120939 h 6"/>
                <a:gd name="T6" fmla="*/ 0 w 6"/>
                <a:gd name="T7" fmla="*/ 0 h 6"/>
                <a:gd name="T8" fmla="*/ 0 w 6"/>
                <a:gd name="T9" fmla="*/ 15120939 h 6"/>
                <a:gd name="T10" fmla="*/ 0 w 6"/>
                <a:gd name="T11" fmla="*/ 0 h 6"/>
                <a:gd name="T12" fmla="*/ 0 w 6"/>
                <a:gd name="T13" fmla="*/ 15120939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6" y="0"/>
                  </a:lnTo>
                  <a:lnTo>
                    <a:pt x="6" y="6"/>
                  </a:lnTo>
                  <a:lnTo>
                    <a:pt x="0" y="0"/>
                  </a:lnTo>
                  <a:lnTo>
                    <a:pt x="0" y="6"/>
                  </a:lnTo>
                  <a:lnTo>
                    <a:pt x="0" y="0"/>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79" name="Freeform 306"/>
            <p:cNvSpPr>
              <a:spLocks/>
            </p:cNvSpPr>
            <p:nvPr/>
          </p:nvSpPr>
          <p:spPr bwMode="auto">
            <a:xfrm>
              <a:off x="5170457" y="6335639"/>
              <a:ext cx="9701" cy="17558"/>
            </a:xfrm>
            <a:custGeom>
              <a:avLst/>
              <a:gdLst>
                <a:gd name="T0" fmla="*/ 0 w 6"/>
                <a:gd name="T1" fmla="*/ 30241878 h 12"/>
                <a:gd name="T2" fmla="*/ 15120939 w 6"/>
                <a:gd name="T3" fmla="*/ 15120939 h 12"/>
                <a:gd name="T4" fmla="*/ 0 w 6"/>
                <a:gd name="T5" fmla="*/ 15120939 h 12"/>
                <a:gd name="T6" fmla="*/ 15120939 w 6"/>
                <a:gd name="T7" fmla="*/ 15120939 h 12"/>
                <a:gd name="T8" fmla="*/ 0 w 6"/>
                <a:gd name="T9" fmla="*/ 15120939 h 12"/>
                <a:gd name="T10" fmla="*/ 15120939 w 6"/>
                <a:gd name="T11" fmla="*/ 15120939 h 12"/>
                <a:gd name="T12" fmla="*/ 0 w 6"/>
                <a:gd name="T13" fmla="*/ 15120939 h 12"/>
                <a:gd name="T14" fmla="*/ 0 w 6"/>
                <a:gd name="T15" fmla="*/ 0 h 12"/>
                <a:gd name="T16" fmla="*/ 0 w 6"/>
                <a:gd name="T17" fmla="*/ 15120939 h 12"/>
                <a:gd name="T18" fmla="*/ 0 w 6"/>
                <a:gd name="T19" fmla="*/ 30241878 h 12"/>
                <a:gd name="T20" fmla="*/ 0 w 6"/>
                <a:gd name="T21" fmla="*/ 15120939 h 12"/>
                <a:gd name="T22" fmla="*/ 0 w 6"/>
                <a:gd name="T23" fmla="*/ 30241878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2"/>
                <a:gd name="T38" fmla="*/ 6 w 6"/>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2">
                  <a:moveTo>
                    <a:pt x="0" y="12"/>
                  </a:moveTo>
                  <a:lnTo>
                    <a:pt x="6" y="6"/>
                  </a:lnTo>
                  <a:lnTo>
                    <a:pt x="0" y="6"/>
                  </a:lnTo>
                  <a:lnTo>
                    <a:pt x="6" y="6"/>
                  </a:lnTo>
                  <a:lnTo>
                    <a:pt x="0" y="6"/>
                  </a:lnTo>
                  <a:lnTo>
                    <a:pt x="6" y="6"/>
                  </a:lnTo>
                  <a:lnTo>
                    <a:pt x="0" y="6"/>
                  </a:lnTo>
                  <a:lnTo>
                    <a:pt x="0" y="0"/>
                  </a:lnTo>
                  <a:lnTo>
                    <a:pt x="0" y="6"/>
                  </a:lnTo>
                  <a:lnTo>
                    <a:pt x="0" y="12"/>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0" name="Rectangle 307"/>
            <p:cNvSpPr>
              <a:spLocks noChangeArrowheads="1"/>
            </p:cNvSpPr>
            <p:nvPr/>
          </p:nvSpPr>
          <p:spPr bwMode="auto">
            <a:xfrm>
              <a:off x="5100936" y="6487812"/>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81" name="Freeform 308"/>
            <p:cNvSpPr>
              <a:spLocks/>
            </p:cNvSpPr>
            <p:nvPr/>
          </p:nvSpPr>
          <p:spPr bwMode="auto">
            <a:xfrm>
              <a:off x="5091235" y="6263943"/>
              <a:ext cx="9701" cy="17558"/>
            </a:xfrm>
            <a:custGeom>
              <a:avLst/>
              <a:gdLst>
                <a:gd name="T0" fmla="*/ 0 w 6"/>
                <a:gd name="T1" fmla="*/ 30241878 h 12"/>
                <a:gd name="T2" fmla="*/ 15120939 w 6"/>
                <a:gd name="T3" fmla="*/ 30241878 h 12"/>
                <a:gd name="T4" fmla="*/ 0 w 6"/>
                <a:gd name="T5" fmla="*/ 30241878 h 12"/>
                <a:gd name="T6" fmla="*/ 15120939 w 6"/>
                <a:gd name="T7" fmla="*/ 30241878 h 12"/>
                <a:gd name="T8" fmla="*/ 15120939 w 6"/>
                <a:gd name="T9" fmla="*/ 15120939 h 12"/>
                <a:gd name="T10" fmla="*/ 0 w 6"/>
                <a:gd name="T11" fmla="*/ 0 h 12"/>
                <a:gd name="T12" fmla="*/ 0 w 6"/>
                <a:gd name="T13" fmla="*/ 15120939 h 12"/>
                <a:gd name="T14" fmla="*/ 0 w 6"/>
                <a:gd name="T15" fmla="*/ 30241878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12"/>
                  </a:lnTo>
                  <a:lnTo>
                    <a:pt x="0" y="12"/>
                  </a:lnTo>
                  <a:lnTo>
                    <a:pt x="6" y="12"/>
                  </a:lnTo>
                  <a:lnTo>
                    <a:pt x="6" y="6"/>
                  </a:lnTo>
                  <a:lnTo>
                    <a:pt x="0" y="0"/>
                  </a:lnTo>
                  <a:lnTo>
                    <a:pt x="0" y="6"/>
                  </a:lnTo>
                  <a:lnTo>
                    <a:pt x="0" y="1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2" name="Freeform 309"/>
            <p:cNvSpPr>
              <a:spLocks/>
            </p:cNvSpPr>
            <p:nvPr/>
          </p:nvSpPr>
          <p:spPr bwMode="auto">
            <a:xfrm>
              <a:off x="4863269" y="6004956"/>
              <a:ext cx="9701" cy="17558"/>
            </a:xfrm>
            <a:custGeom>
              <a:avLst/>
              <a:gdLst>
                <a:gd name="T0" fmla="*/ 0 w 6"/>
                <a:gd name="T1" fmla="*/ 15120939 h 12"/>
                <a:gd name="T2" fmla="*/ 15120939 w 6"/>
                <a:gd name="T3" fmla="*/ 15120939 h 12"/>
                <a:gd name="T4" fmla="*/ 15120939 w 6"/>
                <a:gd name="T5" fmla="*/ 0 h 12"/>
                <a:gd name="T6" fmla="*/ 15120939 w 6"/>
                <a:gd name="T7" fmla="*/ 15120939 h 12"/>
                <a:gd name="T8" fmla="*/ 15120939 w 6"/>
                <a:gd name="T9" fmla="*/ 30241878 h 12"/>
                <a:gd name="T10" fmla="*/ 0 w 6"/>
                <a:gd name="T11" fmla="*/ 30241878 h 12"/>
                <a:gd name="T12" fmla="*/ 0 w 6"/>
                <a:gd name="T13" fmla="*/ 15120939 h 12"/>
                <a:gd name="T14" fmla="*/ 0 60000 65536"/>
                <a:gd name="T15" fmla="*/ 0 60000 65536"/>
                <a:gd name="T16" fmla="*/ 0 60000 65536"/>
                <a:gd name="T17" fmla="*/ 0 60000 65536"/>
                <a:gd name="T18" fmla="*/ 0 60000 65536"/>
                <a:gd name="T19" fmla="*/ 0 60000 65536"/>
                <a:gd name="T20" fmla="*/ 0 60000 65536"/>
                <a:gd name="T21" fmla="*/ 0 w 6"/>
                <a:gd name="T22" fmla="*/ 0 h 12"/>
                <a:gd name="T23" fmla="*/ 6 w 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2">
                  <a:moveTo>
                    <a:pt x="0" y="6"/>
                  </a:moveTo>
                  <a:lnTo>
                    <a:pt x="6" y="6"/>
                  </a:lnTo>
                  <a:lnTo>
                    <a:pt x="6" y="0"/>
                  </a:lnTo>
                  <a:lnTo>
                    <a:pt x="6" y="6"/>
                  </a:lnTo>
                  <a:lnTo>
                    <a:pt x="6" y="12"/>
                  </a:lnTo>
                  <a:lnTo>
                    <a:pt x="0" y="12"/>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3" name="Freeform 310"/>
            <p:cNvSpPr>
              <a:spLocks/>
            </p:cNvSpPr>
            <p:nvPr/>
          </p:nvSpPr>
          <p:spPr bwMode="auto">
            <a:xfrm>
              <a:off x="4824466" y="6246385"/>
              <a:ext cx="19401" cy="8779"/>
            </a:xfrm>
            <a:custGeom>
              <a:avLst/>
              <a:gdLst>
                <a:gd name="T0" fmla="*/ 15120939 w 12"/>
                <a:gd name="T1" fmla="*/ 0 h 6"/>
                <a:gd name="T2" fmla="*/ 30241878 w 12"/>
                <a:gd name="T3" fmla="*/ 0 h 6"/>
                <a:gd name="T4" fmla="*/ 15120939 w 12"/>
                <a:gd name="T5" fmla="*/ 0 h 6"/>
                <a:gd name="T6" fmla="*/ 0 w 12"/>
                <a:gd name="T7" fmla="*/ 0 h 6"/>
                <a:gd name="T8" fmla="*/ 0 w 12"/>
                <a:gd name="T9" fmla="*/ 15120939 h 6"/>
                <a:gd name="T10" fmla="*/ 15120939 w 12"/>
                <a:gd name="T11" fmla="*/ 15120939 h 6"/>
                <a:gd name="T12" fmla="*/ 15120939 w 12"/>
                <a:gd name="T13" fmla="*/ 0 h 6"/>
                <a:gd name="T14" fmla="*/ 0 60000 65536"/>
                <a:gd name="T15" fmla="*/ 0 60000 65536"/>
                <a:gd name="T16" fmla="*/ 0 60000 65536"/>
                <a:gd name="T17" fmla="*/ 0 60000 65536"/>
                <a:gd name="T18" fmla="*/ 0 60000 65536"/>
                <a:gd name="T19" fmla="*/ 0 60000 65536"/>
                <a:gd name="T20" fmla="*/ 0 60000 65536"/>
                <a:gd name="T21" fmla="*/ 0 w 12"/>
                <a:gd name="T22" fmla="*/ 0 h 6"/>
                <a:gd name="T23" fmla="*/ 12 w 1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6">
                  <a:moveTo>
                    <a:pt x="6" y="0"/>
                  </a:moveTo>
                  <a:lnTo>
                    <a:pt x="12" y="0"/>
                  </a:lnTo>
                  <a:lnTo>
                    <a:pt x="6" y="0"/>
                  </a:lnTo>
                  <a:lnTo>
                    <a:pt x="0" y="0"/>
                  </a:lnTo>
                  <a:lnTo>
                    <a:pt x="0" y="6"/>
                  </a:lnTo>
                  <a:lnTo>
                    <a:pt x="6" y="6"/>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4" name="Freeform 311"/>
            <p:cNvSpPr>
              <a:spLocks/>
            </p:cNvSpPr>
            <p:nvPr/>
          </p:nvSpPr>
          <p:spPr bwMode="auto">
            <a:xfrm>
              <a:off x="4824466" y="6013736"/>
              <a:ext cx="9701" cy="8779"/>
            </a:xfrm>
            <a:custGeom>
              <a:avLst/>
              <a:gdLst>
                <a:gd name="T0" fmla="*/ 15120939 w 6"/>
                <a:gd name="T1" fmla="*/ 15120939 h 6"/>
                <a:gd name="T2" fmla="*/ 15120939 w 6"/>
                <a:gd name="T3" fmla="*/ 0 h 6"/>
                <a:gd name="T4" fmla="*/ 15120939 w 6"/>
                <a:gd name="T5" fmla="*/ 15120939 h 6"/>
                <a:gd name="T6" fmla="*/ 0 w 6"/>
                <a:gd name="T7" fmla="*/ 15120939 h 6"/>
                <a:gd name="T8" fmla="*/ 15120939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6" y="0"/>
                  </a:lnTo>
                  <a:lnTo>
                    <a:pt x="6" y="6"/>
                  </a:lnTo>
                  <a:lnTo>
                    <a:pt x="0" y="6"/>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5" name="Rectangle 312"/>
            <p:cNvSpPr>
              <a:spLocks noChangeArrowheads="1"/>
            </p:cNvSpPr>
            <p:nvPr/>
          </p:nvSpPr>
          <p:spPr bwMode="auto">
            <a:xfrm>
              <a:off x="4952192" y="5968377"/>
              <a:ext cx="11317"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86" name="Freeform 313"/>
            <p:cNvSpPr>
              <a:spLocks/>
            </p:cNvSpPr>
            <p:nvPr/>
          </p:nvSpPr>
          <p:spPr bwMode="auto">
            <a:xfrm>
              <a:off x="5121953" y="6344418"/>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7" name="Freeform 314"/>
            <p:cNvSpPr>
              <a:spLocks/>
            </p:cNvSpPr>
            <p:nvPr/>
          </p:nvSpPr>
          <p:spPr bwMode="auto">
            <a:xfrm>
              <a:off x="5012012" y="6372219"/>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8" name="Freeform 315"/>
            <p:cNvSpPr>
              <a:spLocks/>
            </p:cNvSpPr>
            <p:nvPr/>
          </p:nvSpPr>
          <p:spPr bwMode="auto">
            <a:xfrm>
              <a:off x="4992611" y="6085433"/>
              <a:ext cx="9701" cy="8779"/>
            </a:xfrm>
            <a:custGeom>
              <a:avLst/>
              <a:gdLst>
                <a:gd name="T0" fmla="*/ 15120939 w 6"/>
                <a:gd name="T1" fmla="*/ 15120939 h 6"/>
                <a:gd name="T2" fmla="*/ 0 w 6"/>
                <a:gd name="T3" fmla="*/ 15120939 h 6"/>
                <a:gd name="T4" fmla="*/ 15120939 w 6"/>
                <a:gd name="T5" fmla="*/ 15120939 h 6"/>
                <a:gd name="T6" fmla="*/ 0 w 6"/>
                <a:gd name="T7" fmla="*/ 15120939 h 6"/>
                <a:gd name="T8" fmla="*/ 0 w 6"/>
                <a:gd name="T9" fmla="*/ 0 h 6"/>
                <a:gd name="T10" fmla="*/ 15120939 w 6"/>
                <a:gd name="T11" fmla="*/ 0 h 6"/>
                <a:gd name="T12" fmla="*/ 15120939 w 6"/>
                <a:gd name="T13" fmla="*/ 15120939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6" y="6"/>
                  </a:moveTo>
                  <a:lnTo>
                    <a:pt x="0" y="6"/>
                  </a:lnTo>
                  <a:lnTo>
                    <a:pt x="6" y="6"/>
                  </a:lnTo>
                  <a:lnTo>
                    <a:pt x="0" y="6"/>
                  </a:lnTo>
                  <a:lnTo>
                    <a:pt x="0" y="0"/>
                  </a:lnTo>
                  <a:lnTo>
                    <a:pt x="6" y="0"/>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89" name="Freeform 316"/>
            <p:cNvSpPr>
              <a:spLocks/>
            </p:cNvSpPr>
            <p:nvPr/>
          </p:nvSpPr>
          <p:spPr bwMode="auto">
            <a:xfrm>
              <a:off x="4952192" y="6326860"/>
              <a:ext cx="11317" cy="8779"/>
            </a:xfrm>
            <a:custGeom>
              <a:avLst/>
              <a:gdLst>
                <a:gd name="T0" fmla="*/ 17639508 w 7"/>
                <a:gd name="T1" fmla="*/ 15120939 h 6"/>
                <a:gd name="T2" fmla="*/ 17639508 w 7"/>
                <a:gd name="T3" fmla="*/ 0 h 6"/>
                <a:gd name="T4" fmla="*/ 17639508 w 7"/>
                <a:gd name="T5" fmla="*/ 15120939 h 6"/>
                <a:gd name="T6" fmla="*/ 0 w 7"/>
                <a:gd name="T7" fmla="*/ 15120939 h 6"/>
                <a:gd name="T8" fmla="*/ 17639508 w 7"/>
                <a:gd name="T9" fmla="*/ 15120939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7" y="6"/>
                  </a:moveTo>
                  <a:lnTo>
                    <a:pt x="7" y="0"/>
                  </a:lnTo>
                  <a:lnTo>
                    <a:pt x="7" y="6"/>
                  </a:lnTo>
                  <a:lnTo>
                    <a:pt x="0" y="6"/>
                  </a:lnTo>
                  <a:lnTo>
                    <a:pt x="7"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0" name="Freeform 317"/>
            <p:cNvSpPr>
              <a:spLocks/>
            </p:cNvSpPr>
            <p:nvPr/>
          </p:nvSpPr>
          <p:spPr bwMode="auto">
            <a:xfrm>
              <a:off x="4952192" y="6281501"/>
              <a:ext cx="11317" cy="19021"/>
            </a:xfrm>
            <a:custGeom>
              <a:avLst/>
              <a:gdLst>
                <a:gd name="T0" fmla="*/ 0 w 7"/>
                <a:gd name="T1" fmla="*/ 32760447 h 13"/>
                <a:gd name="T2" fmla="*/ 0 w 7"/>
                <a:gd name="T3" fmla="*/ 17639874 h 13"/>
                <a:gd name="T4" fmla="*/ 0 w 7"/>
                <a:gd name="T5" fmla="*/ 0 h 13"/>
                <a:gd name="T6" fmla="*/ 17639508 w 7"/>
                <a:gd name="T7" fmla="*/ 0 h 13"/>
                <a:gd name="T8" fmla="*/ 0 w 7"/>
                <a:gd name="T9" fmla="*/ 17639874 h 13"/>
                <a:gd name="T10" fmla="*/ 0 w 7"/>
                <a:gd name="T11" fmla="*/ 32760447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0" y="13"/>
                  </a:moveTo>
                  <a:lnTo>
                    <a:pt x="0" y="7"/>
                  </a:lnTo>
                  <a:lnTo>
                    <a:pt x="0" y="0"/>
                  </a:lnTo>
                  <a:lnTo>
                    <a:pt x="7" y="0"/>
                  </a:lnTo>
                  <a:lnTo>
                    <a:pt x="0" y="7"/>
                  </a:lnTo>
                  <a:lnTo>
                    <a:pt x="0" y="1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1" name="Freeform 318"/>
            <p:cNvSpPr>
              <a:spLocks/>
            </p:cNvSpPr>
            <p:nvPr/>
          </p:nvSpPr>
          <p:spPr bwMode="auto">
            <a:xfrm>
              <a:off x="5071834" y="6246385"/>
              <a:ext cx="9701" cy="8779"/>
            </a:xfrm>
            <a:custGeom>
              <a:avLst/>
              <a:gdLst>
                <a:gd name="T0" fmla="*/ 0 w 6"/>
                <a:gd name="T1" fmla="*/ 15120939 h 6"/>
                <a:gd name="T2" fmla="*/ 0 w 6"/>
                <a:gd name="T3" fmla="*/ 0 h 6"/>
                <a:gd name="T4" fmla="*/ 15120939 w 6"/>
                <a:gd name="T5" fmla="*/ 0 h 6"/>
                <a:gd name="T6" fmla="*/ 0 w 6"/>
                <a:gd name="T7" fmla="*/ 0 h 6"/>
                <a:gd name="T8" fmla="*/ 0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0" y="0"/>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2" name="Freeform 319"/>
            <p:cNvSpPr>
              <a:spLocks/>
            </p:cNvSpPr>
            <p:nvPr/>
          </p:nvSpPr>
          <p:spPr bwMode="auto">
            <a:xfrm>
              <a:off x="5071834" y="6209804"/>
              <a:ext cx="1616" cy="19022"/>
            </a:xfrm>
            <a:custGeom>
              <a:avLst/>
              <a:gdLst>
                <a:gd name="T0" fmla="*/ 0 w 1587"/>
                <a:gd name="T1" fmla="*/ 17642316 h 13"/>
                <a:gd name="T2" fmla="*/ 0 w 1587"/>
                <a:gd name="T3" fmla="*/ 0 h 13"/>
                <a:gd name="T4" fmla="*/ 0 w 1587"/>
                <a:gd name="T5" fmla="*/ 17642316 h 13"/>
                <a:gd name="T6" fmla="*/ 0 w 1587"/>
                <a:gd name="T7" fmla="*/ 32763622 h 13"/>
                <a:gd name="T8" fmla="*/ 0 w 1587"/>
                <a:gd name="T9" fmla="*/ 17642316 h 13"/>
                <a:gd name="T10" fmla="*/ 0 60000 65536"/>
                <a:gd name="T11" fmla="*/ 0 60000 65536"/>
                <a:gd name="T12" fmla="*/ 0 60000 65536"/>
                <a:gd name="T13" fmla="*/ 0 60000 65536"/>
                <a:gd name="T14" fmla="*/ 0 60000 65536"/>
                <a:gd name="T15" fmla="*/ 0 w 1587"/>
                <a:gd name="T16" fmla="*/ 0 h 13"/>
                <a:gd name="T17" fmla="*/ 1587 w 1587"/>
                <a:gd name="T18" fmla="*/ 13 h 13"/>
              </a:gdLst>
              <a:ahLst/>
              <a:cxnLst>
                <a:cxn ang="T10">
                  <a:pos x="T0" y="T1"/>
                </a:cxn>
                <a:cxn ang="T11">
                  <a:pos x="T2" y="T3"/>
                </a:cxn>
                <a:cxn ang="T12">
                  <a:pos x="T4" y="T5"/>
                </a:cxn>
                <a:cxn ang="T13">
                  <a:pos x="T6" y="T7"/>
                </a:cxn>
                <a:cxn ang="T14">
                  <a:pos x="T8" y="T9"/>
                </a:cxn>
              </a:cxnLst>
              <a:rect l="T15" t="T16" r="T17" b="T18"/>
              <a:pathLst>
                <a:path w="1587" h="13">
                  <a:moveTo>
                    <a:pt x="0" y="7"/>
                  </a:moveTo>
                  <a:lnTo>
                    <a:pt x="0" y="0"/>
                  </a:lnTo>
                  <a:lnTo>
                    <a:pt x="0" y="7"/>
                  </a:lnTo>
                  <a:lnTo>
                    <a:pt x="0" y="13"/>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3" name="Freeform 320"/>
            <p:cNvSpPr>
              <a:spLocks/>
            </p:cNvSpPr>
            <p:nvPr/>
          </p:nvSpPr>
          <p:spPr bwMode="auto">
            <a:xfrm>
              <a:off x="4942492" y="6335639"/>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4" name="Rectangle 321"/>
            <p:cNvSpPr>
              <a:spLocks noChangeArrowheads="1"/>
            </p:cNvSpPr>
            <p:nvPr/>
          </p:nvSpPr>
          <p:spPr bwMode="auto">
            <a:xfrm>
              <a:off x="4913390" y="6309302"/>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95" name="Freeform 322"/>
            <p:cNvSpPr>
              <a:spLocks/>
            </p:cNvSpPr>
            <p:nvPr/>
          </p:nvSpPr>
          <p:spPr bwMode="auto">
            <a:xfrm>
              <a:off x="4565782" y="6004957"/>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6" name="Rectangle 323"/>
            <p:cNvSpPr>
              <a:spLocks noChangeArrowheads="1"/>
            </p:cNvSpPr>
            <p:nvPr/>
          </p:nvSpPr>
          <p:spPr bwMode="auto">
            <a:xfrm>
              <a:off x="4625603" y="6085433"/>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597" name="Freeform 324"/>
            <p:cNvSpPr>
              <a:spLocks/>
            </p:cNvSpPr>
            <p:nvPr/>
          </p:nvSpPr>
          <p:spPr bwMode="auto">
            <a:xfrm>
              <a:off x="4872970" y="6550729"/>
              <a:ext cx="11318" cy="8779"/>
            </a:xfrm>
            <a:custGeom>
              <a:avLst/>
              <a:gdLst>
                <a:gd name="T0" fmla="*/ 0 w 7"/>
                <a:gd name="T1" fmla="*/ 15120939 h 6"/>
                <a:gd name="T2" fmla="*/ 17642683 w 7"/>
                <a:gd name="T3" fmla="*/ 15120939 h 6"/>
                <a:gd name="T4" fmla="*/ 0 w 7"/>
                <a:gd name="T5" fmla="*/ 15120939 h 6"/>
                <a:gd name="T6" fmla="*/ 0 w 7"/>
                <a:gd name="T7" fmla="*/ 0 h 6"/>
                <a:gd name="T8" fmla="*/ 0 w 7"/>
                <a:gd name="T9" fmla="*/ 15120939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0" y="6"/>
                  </a:moveTo>
                  <a:lnTo>
                    <a:pt x="7" y="6"/>
                  </a:lnTo>
                  <a:lnTo>
                    <a:pt x="0"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8" name="Freeform 325"/>
            <p:cNvSpPr>
              <a:spLocks/>
            </p:cNvSpPr>
            <p:nvPr/>
          </p:nvSpPr>
          <p:spPr bwMode="auto">
            <a:xfrm>
              <a:off x="5151055" y="6389778"/>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599" name="Freeform 326"/>
            <p:cNvSpPr>
              <a:spLocks/>
            </p:cNvSpPr>
            <p:nvPr/>
          </p:nvSpPr>
          <p:spPr bwMode="auto">
            <a:xfrm>
              <a:off x="4803449" y="6255164"/>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0" name="Freeform 327"/>
            <p:cNvSpPr>
              <a:spLocks/>
            </p:cNvSpPr>
            <p:nvPr/>
          </p:nvSpPr>
          <p:spPr bwMode="auto">
            <a:xfrm>
              <a:off x="4615902" y="6085433"/>
              <a:ext cx="9701" cy="8779"/>
            </a:xfrm>
            <a:custGeom>
              <a:avLst/>
              <a:gdLst>
                <a:gd name="T0" fmla="*/ 0 w 6"/>
                <a:gd name="T1" fmla="*/ 0 h 6"/>
                <a:gd name="T2" fmla="*/ 15120939 w 6"/>
                <a:gd name="T3" fmla="*/ 0 h 6"/>
                <a:gd name="T4" fmla="*/ 0 w 6"/>
                <a:gd name="T5" fmla="*/ 0 h 6"/>
                <a:gd name="T6" fmla="*/ 0 w 6"/>
                <a:gd name="T7" fmla="*/ 15120939 h 6"/>
                <a:gd name="T8" fmla="*/ 15120939 w 6"/>
                <a:gd name="T9" fmla="*/ 15120939 h 6"/>
                <a:gd name="T10" fmla="*/ 0 w 6"/>
                <a:gd name="T11" fmla="*/ 15120939 h 6"/>
                <a:gd name="T12" fmla="*/ 0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0" y="0"/>
                  </a:moveTo>
                  <a:lnTo>
                    <a:pt x="6" y="0"/>
                  </a:lnTo>
                  <a:lnTo>
                    <a:pt x="0" y="0"/>
                  </a:lnTo>
                  <a:lnTo>
                    <a:pt x="0" y="6"/>
                  </a:lnTo>
                  <a:lnTo>
                    <a:pt x="6" y="6"/>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1" name="Freeform 328"/>
            <p:cNvSpPr>
              <a:spLocks/>
            </p:cNvSpPr>
            <p:nvPr/>
          </p:nvSpPr>
          <p:spPr bwMode="auto">
            <a:xfrm>
              <a:off x="4884288" y="5994714"/>
              <a:ext cx="1616" cy="10242"/>
            </a:xfrm>
            <a:custGeom>
              <a:avLst/>
              <a:gdLst>
                <a:gd name="T0" fmla="*/ 0 w 1587"/>
                <a:gd name="T1" fmla="*/ 17639508 h 7"/>
                <a:gd name="T2" fmla="*/ 0 w 1587"/>
                <a:gd name="T3" fmla="*/ 0 h 7"/>
                <a:gd name="T4" fmla="*/ 0 w 1587"/>
                <a:gd name="T5" fmla="*/ 17639508 h 7"/>
                <a:gd name="T6" fmla="*/ 0 60000 65536"/>
                <a:gd name="T7" fmla="*/ 0 60000 65536"/>
                <a:gd name="T8" fmla="*/ 0 60000 65536"/>
                <a:gd name="T9" fmla="*/ 0 w 1587"/>
                <a:gd name="T10" fmla="*/ 0 h 7"/>
                <a:gd name="T11" fmla="*/ 1587 w 1587"/>
                <a:gd name="T12" fmla="*/ 7 h 7"/>
              </a:gdLst>
              <a:ahLst/>
              <a:cxnLst>
                <a:cxn ang="T6">
                  <a:pos x="T0" y="T1"/>
                </a:cxn>
                <a:cxn ang="T7">
                  <a:pos x="T2" y="T3"/>
                </a:cxn>
                <a:cxn ang="T8">
                  <a:pos x="T4" y="T5"/>
                </a:cxn>
              </a:cxnLst>
              <a:rect l="T9" t="T10" r="T11" b="T12"/>
              <a:pathLst>
                <a:path w="1587" h="7">
                  <a:moveTo>
                    <a:pt x="0" y="7"/>
                  </a:move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2" name="Freeform 329"/>
            <p:cNvSpPr>
              <a:spLocks/>
            </p:cNvSpPr>
            <p:nvPr/>
          </p:nvSpPr>
          <p:spPr bwMode="auto">
            <a:xfrm>
              <a:off x="4834167" y="6220047"/>
              <a:ext cx="1617" cy="8779"/>
            </a:xfrm>
            <a:custGeom>
              <a:avLst/>
              <a:gdLst>
                <a:gd name="T0" fmla="*/ 0 w 1588"/>
                <a:gd name="T1" fmla="*/ 15120939 h 6"/>
                <a:gd name="T2" fmla="*/ 0 w 1588"/>
                <a:gd name="T3" fmla="*/ 0 h 6"/>
                <a:gd name="T4" fmla="*/ 0 w 1588"/>
                <a:gd name="T5" fmla="*/ 15120939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3" name="Freeform 330"/>
            <p:cNvSpPr>
              <a:spLocks/>
            </p:cNvSpPr>
            <p:nvPr/>
          </p:nvSpPr>
          <p:spPr bwMode="auto">
            <a:xfrm>
              <a:off x="4884288" y="6192246"/>
              <a:ext cx="1616" cy="17558"/>
            </a:xfrm>
            <a:custGeom>
              <a:avLst/>
              <a:gdLst>
                <a:gd name="T0" fmla="*/ 0 w 1587"/>
                <a:gd name="T1" fmla="*/ 0 h 12"/>
                <a:gd name="T2" fmla="*/ 0 w 1587"/>
                <a:gd name="T3" fmla="*/ 15120939 h 12"/>
                <a:gd name="T4" fmla="*/ 0 w 1587"/>
                <a:gd name="T5" fmla="*/ 30241878 h 12"/>
                <a:gd name="T6" fmla="*/ 0 w 1587"/>
                <a:gd name="T7" fmla="*/ 15120939 h 12"/>
                <a:gd name="T8" fmla="*/ 0 w 1587"/>
                <a:gd name="T9" fmla="*/ 0 h 12"/>
                <a:gd name="T10" fmla="*/ 0 60000 65536"/>
                <a:gd name="T11" fmla="*/ 0 60000 65536"/>
                <a:gd name="T12" fmla="*/ 0 60000 65536"/>
                <a:gd name="T13" fmla="*/ 0 60000 65536"/>
                <a:gd name="T14" fmla="*/ 0 60000 65536"/>
                <a:gd name="T15" fmla="*/ 0 w 1587"/>
                <a:gd name="T16" fmla="*/ 0 h 12"/>
                <a:gd name="T17" fmla="*/ 1587 w 1587"/>
                <a:gd name="T18" fmla="*/ 12 h 12"/>
              </a:gdLst>
              <a:ahLst/>
              <a:cxnLst>
                <a:cxn ang="T10">
                  <a:pos x="T0" y="T1"/>
                </a:cxn>
                <a:cxn ang="T11">
                  <a:pos x="T2" y="T3"/>
                </a:cxn>
                <a:cxn ang="T12">
                  <a:pos x="T4" y="T5"/>
                </a:cxn>
                <a:cxn ang="T13">
                  <a:pos x="T6" y="T7"/>
                </a:cxn>
                <a:cxn ang="T14">
                  <a:pos x="T8" y="T9"/>
                </a:cxn>
              </a:cxnLst>
              <a:rect l="T15" t="T16" r="T17" b="T18"/>
              <a:pathLst>
                <a:path w="1587" h="12">
                  <a:moveTo>
                    <a:pt x="0" y="0"/>
                  </a:moveTo>
                  <a:lnTo>
                    <a:pt x="0" y="6"/>
                  </a:lnTo>
                  <a:lnTo>
                    <a:pt x="0" y="12"/>
                  </a:ln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4" name="Freeform 331"/>
            <p:cNvSpPr>
              <a:spLocks/>
            </p:cNvSpPr>
            <p:nvPr/>
          </p:nvSpPr>
          <p:spPr bwMode="auto">
            <a:xfrm>
              <a:off x="5121953" y="6424894"/>
              <a:ext cx="1617" cy="10242"/>
            </a:xfrm>
            <a:custGeom>
              <a:avLst/>
              <a:gdLst>
                <a:gd name="T0" fmla="*/ 0 w 1588"/>
                <a:gd name="T1" fmla="*/ 17639508 h 7"/>
                <a:gd name="T2" fmla="*/ 0 w 1588"/>
                <a:gd name="T3" fmla="*/ 0 h 7"/>
                <a:gd name="T4" fmla="*/ 0 w 1588"/>
                <a:gd name="T5" fmla="*/ 17639508 h 7"/>
                <a:gd name="T6" fmla="*/ 0 60000 65536"/>
                <a:gd name="T7" fmla="*/ 0 60000 65536"/>
                <a:gd name="T8" fmla="*/ 0 60000 65536"/>
                <a:gd name="T9" fmla="*/ 0 w 1588"/>
                <a:gd name="T10" fmla="*/ 0 h 7"/>
                <a:gd name="T11" fmla="*/ 1588 w 1588"/>
                <a:gd name="T12" fmla="*/ 7 h 7"/>
              </a:gdLst>
              <a:ahLst/>
              <a:cxnLst>
                <a:cxn ang="T6">
                  <a:pos x="T0" y="T1"/>
                </a:cxn>
                <a:cxn ang="T7">
                  <a:pos x="T2" y="T3"/>
                </a:cxn>
                <a:cxn ang="T8">
                  <a:pos x="T4" y="T5"/>
                </a:cxn>
              </a:cxnLst>
              <a:rect l="T9" t="T10" r="T11" b="T12"/>
              <a:pathLst>
                <a:path w="1588" h="7">
                  <a:moveTo>
                    <a:pt x="0" y="7"/>
                  </a:move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5" name="Freeform 332"/>
            <p:cNvSpPr>
              <a:spLocks/>
            </p:cNvSpPr>
            <p:nvPr/>
          </p:nvSpPr>
          <p:spPr bwMode="auto">
            <a:xfrm>
              <a:off x="4814766" y="6424894"/>
              <a:ext cx="9701" cy="10242"/>
            </a:xfrm>
            <a:custGeom>
              <a:avLst/>
              <a:gdLst>
                <a:gd name="T0" fmla="*/ 15120939 w 6"/>
                <a:gd name="T1" fmla="*/ 17639508 h 7"/>
                <a:gd name="T2" fmla="*/ 0 w 6"/>
                <a:gd name="T3" fmla="*/ 0 h 7"/>
                <a:gd name="T4" fmla="*/ 0 w 6"/>
                <a:gd name="T5" fmla="*/ 17639508 h 7"/>
                <a:gd name="T6" fmla="*/ 15120939 w 6"/>
                <a:gd name="T7" fmla="*/ 17639508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7"/>
                  </a:moveTo>
                  <a:lnTo>
                    <a:pt x="0" y="0"/>
                  </a:lnTo>
                  <a:lnTo>
                    <a:pt x="0" y="7"/>
                  </a:lnTo>
                  <a:lnTo>
                    <a:pt x="6"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6" name="Rectangle 333"/>
            <p:cNvSpPr>
              <a:spLocks noChangeArrowheads="1"/>
            </p:cNvSpPr>
            <p:nvPr/>
          </p:nvSpPr>
          <p:spPr bwMode="auto">
            <a:xfrm>
              <a:off x="5012012" y="6272722"/>
              <a:ext cx="9701" cy="8779"/>
            </a:xfrm>
            <a:prstGeom prst="rect">
              <a:avLst/>
            </a:prstGeom>
            <a:grpFill/>
            <a:ln w="0" algn="ctr">
              <a:solidFill>
                <a:srgbClr val="FFFFFF"/>
              </a:solidFill>
              <a:miter lim="800000"/>
              <a:headEnd/>
              <a:tailEnd/>
            </a:ln>
          </p:spPr>
          <p:txBody>
            <a:bodyPr/>
            <a:lstStyle/>
            <a:p>
              <a:pPr>
                <a:buClr>
                  <a:srgbClr val="B40646"/>
                </a:buClr>
                <a:defRPr/>
              </a:pPr>
              <a:endParaRPr lang="en-GB" dirty="0">
                <a:solidFill>
                  <a:srgbClr val="000000"/>
                </a:solidFill>
              </a:endParaRPr>
            </a:p>
          </p:txBody>
        </p:sp>
        <p:sp>
          <p:nvSpPr>
            <p:cNvPr id="12607" name="Freeform 334"/>
            <p:cNvSpPr>
              <a:spLocks/>
            </p:cNvSpPr>
            <p:nvPr/>
          </p:nvSpPr>
          <p:spPr bwMode="auto">
            <a:xfrm>
              <a:off x="4982910" y="6309302"/>
              <a:ext cx="9701" cy="8779"/>
            </a:xfrm>
            <a:custGeom>
              <a:avLst/>
              <a:gdLst>
                <a:gd name="T0" fmla="*/ 0 w 6"/>
                <a:gd name="T1" fmla="*/ 15120939 h 6"/>
                <a:gd name="T2" fmla="*/ 0 w 6"/>
                <a:gd name="T3" fmla="*/ 0 h 6"/>
                <a:gd name="T4" fmla="*/ 15120939 w 6"/>
                <a:gd name="T5" fmla="*/ 0 h 6"/>
                <a:gd name="T6" fmla="*/ 0 w 6"/>
                <a:gd name="T7" fmla="*/ 0 h 6"/>
                <a:gd name="T8" fmla="*/ 0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0" y="0"/>
                  </a:lnTo>
                  <a:lnTo>
                    <a:pt x="6" y="0"/>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8" name="Freeform 335"/>
            <p:cNvSpPr>
              <a:spLocks/>
            </p:cNvSpPr>
            <p:nvPr/>
          </p:nvSpPr>
          <p:spPr bwMode="auto">
            <a:xfrm>
              <a:off x="4932791" y="6209804"/>
              <a:ext cx="1616" cy="10243"/>
            </a:xfrm>
            <a:custGeom>
              <a:avLst/>
              <a:gdLst>
                <a:gd name="T0" fmla="*/ 0 w 1587"/>
                <a:gd name="T1" fmla="*/ 17642683 h 7"/>
                <a:gd name="T2" fmla="*/ 0 w 1587"/>
                <a:gd name="T3" fmla="*/ 0 h 7"/>
                <a:gd name="T4" fmla="*/ 0 w 1587"/>
                <a:gd name="T5" fmla="*/ 17642683 h 7"/>
                <a:gd name="T6" fmla="*/ 0 60000 65536"/>
                <a:gd name="T7" fmla="*/ 0 60000 65536"/>
                <a:gd name="T8" fmla="*/ 0 60000 65536"/>
                <a:gd name="T9" fmla="*/ 0 w 1587"/>
                <a:gd name="T10" fmla="*/ 0 h 7"/>
                <a:gd name="T11" fmla="*/ 1587 w 1587"/>
                <a:gd name="T12" fmla="*/ 7 h 7"/>
              </a:gdLst>
              <a:ahLst/>
              <a:cxnLst>
                <a:cxn ang="T6">
                  <a:pos x="T0" y="T1"/>
                </a:cxn>
                <a:cxn ang="T7">
                  <a:pos x="T2" y="T3"/>
                </a:cxn>
                <a:cxn ang="T8">
                  <a:pos x="T4" y="T5"/>
                </a:cxn>
              </a:cxnLst>
              <a:rect l="T9" t="T10" r="T11" b="T12"/>
              <a:pathLst>
                <a:path w="1587" h="7">
                  <a:moveTo>
                    <a:pt x="0" y="7"/>
                  </a:moveTo>
                  <a:lnTo>
                    <a:pt x="0" y="0"/>
                  </a:lnTo>
                  <a:lnTo>
                    <a:pt x="0" y="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09" name="Freeform 336"/>
            <p:cNvSpPr>
              <a:spLocks/>
            </p:cNvSpPr>
            <p:nvPr/>
          </p:nvSpPr>
          <p:spPr bwMode="auto">
            <a:xfrm>
              <a:off x="5100936" y="6237605"/>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0" name="Freeform 337"/>
            <p:cNvSpPr>
              <a:spLocks/>
            </p:cNvSpPr>
            <p:nvPr/>
          </p:nvSpPr>
          <p:spPr bwMode="auto">
            <a:xfrm>
              <a:off x="4963509" y="6479032"/>
              <a:ext cx="9701" cy="8779"/>
            </a:xfrm>
            <a:custGeom>
              <a:avLst/>
              <a:gdLst>
                <a:gd name="T0" fmla="*/ 0 w 6"/>
                <a:gd name="T1" fmla="*/ 15120939 h 6"/>
                <a:gd name="T2" fmla="*/ 15120939 w 6"/>
                <a:gd name="T3" fmla="*/ 15120939 h 6"/>
                <a:gd name="T4" fmla="*/ 15120939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1" name="Freeform 338"/>
            <p:cNvSpPr>
              <a:spLocks/>
            </p:cNvSpPr>
            <p:nvPr/>
          </p:nvSpPr>
          <p:spPr bwMode="auto">
            <a:xfrm>
              <a:off x="4963509" y="6237605"/>
              <a:ext cx="9701" cy="8779"/>
            </a:xfrm>
            <a:custGeom>
              <a:avLst/>
              <a:gdLst>
                <a:gd name="T0" fmla="*/ 15120939 w 6"/>
                <a:gd name="T1" fmla="*/ 0 h 6"/>
                <a:gd name="T2" fmla="*/ 15120939 w 6"/>
                <a:gd name="T3" fmla="*/ 15120939 h 6"/>
                <a:gd name="T4" fmla="*/ 0 w 6"/>
                <a:gd name="T5" fmla="*/ 15120939 h 6"/>
                <a:gd name="T6" fmla="*/ 15120939 w 6"/>
                <a:gd name="T7" fmla="*/ 15120939 h 6"/>
                <a:gd name="T8" fmla="*/ 15120939 w 6"/>
                <a:gd name="T9" fmla="*/ 0 h 6"/>
                <a:gd name="T10" fmla="*/ 0 w 6"/>
                <a:gd name="T11" fmla="*/ 0 h 6"/>
                <a:gd name="T12" fmla="*/ 15120939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6" y="0"/>
                  </a:moveTo>
                  <a:lnTo>
                    <a:pt x="6" y="6"/>
                  </a:lnTo>
                  <a:lnTo>
                    <a:pt x="0" y="6"/>
                  </a:lnTo>
                  <a:lnTo>
                    <a:pt x="6" y="6"/>
                  </a:lnTo>
                  <a:lnTo>
                    <a:pt x="6" y="0"/>
                  </a:lnTo>
                  <a:lnTo>
                    <a:pt x="0" y="0"/>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2" name="Freeform 339"/>
            <p:cNvSpPr>
              <a:spLocks/>
            </p:cNvSpPr>
            <p:nvPr/>
          </p:nvSpPr>
          <p:spPr bwMode="auto">
            <a:xfrm>
              <a:off x="4695124" y="6318081"/>
              <a:ext cx="9701" cy="8779"/>
            </a:xfrm>
            <a:custGeom>
              <a:avLst/>
              <a:gdLst>
                <a:gd name="T0" fmla="*/ 0 w 6"/>
                <a:gd name="T1" fmla="*/ 15120939 h 6"/>
                <a:gd name="T2" fmla="*/ 15120939 w 6"/>
                <a:gd name="T3" fmla="*/ 15120939 h 6"/>
                <a:gd name="T4" fmla="*/ 0 w 6"/>
                <a:gd name="T5" fmla="*/ 0 h 6"/>
                <a:gd name="T6" fmla="*/ 0 w 6"/>
                <a:gd name="T7" fmla="*/ 15120939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6" y="6"/>
                  </a:ln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3" name="Freeform 340"/>
            <p:cNvSpPr>
              <a:spLocks/>
            </p:cNvSpPr>
            <p:nvPr/>
          </p:nvSpPr>
          <p:spPr bwMode="auto">
            <a:xfrm>
              <a:off x="5002312" y="6300522"/>
              <a:ext cx="1617" cy="8779"/>
            </a:xfrm>
            <a:custGeom>
              <a:avLst/>
              <a:gdLst>
                <a:gd name="T0" fmla="*/ 0 w 1588"/>
                <a:gd name="T1" fmla="*/ 15120939 h 6"/>
                <a:gd name="T2" fmla="*/ 0 w 1588"/>
                <a:gd name="T3" fmla="*/ 0 h 6"/>
                <a:gd name="T4" fmla="*/ 0 w 1588"/>
                <a:gd name="T5" fmla="*/ 15120939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4" name="Freeform 341"/>
            <p:cNvSpPr>
              <a:spLocks/>
            </p:cNvSpPr>
            <p:nvPr/>
          </p:nvSpPr>
          <p:spPr bwMode="auto">
            <a:xfrm>
              <a:off x="5121953" y="6291743"/>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5" name="Freeform 342"/>
            <p:cNvSpPr>
              <a:spLocks/>
            </p:cNvSpPr>
            <p:nvPr/>
          </p:nvSpPr>
          <p:spPr bwMode="auto">
            <a:xfrm>
              <a:off x="4952193" y="6291743"/>
              <a:ext cx="1616" cy="8779"/>
            </a:xfrm>
            <a:custGeom>
              <a:avLst/>
              <a:gdLst>
                <a:gd name="T0" fmla="*/ 0 w 1587"/>
                <a:gd name="T1" fmla="*/ 15120939 h 6"/>
                <a:gd name="T2" fmla="*/ 0 w 1587"/>
                <a:gd name="T3" fmla="*/ 0 h 6"/>
                <a:gd name="T4" fmla="*/ 0 w 1587"/>
                <a:gd name="T5" fmla="*/ 15120939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6"/>
                  </a:moveTo>
                  <a:lnTo>
                    <a:pt x="0"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6" name="Freeform 343"/>
            <p:cNvSpPr>
              <a:spLocks/>
            </p:cNvSpPr>
            <p:nvPr/>
          </p:nvSpPr>
          <p:spPr bwMode="auto">
            <a:xfrm>
              <a:off x="4884288" y="5985936"/>
              <a:ext cx="9701" cy="8779"/>
            </a:xfrm>
            <a:custGeom>
              <a:avLst/>
              <a:gdLst>
                <a:gd name="T0" fmla="*/ 15120939 w 6"/>
                <a:gd name="T1" fmla="*/ 15120939 h 6"/>
                <a:gd name="T2" fmla="*/ 15120939 w 6"/>
                <a:gd name="T3" fmla="*/ 0 h 6"/>
                <a:gd name="T4" fmla="*/ 15120939 w 6"/>
                <a:gd name="T5" fmla="*/ 15120939 h 6"/>
                <a:gd name="T6" fmla="*/ 0 w 6"/>
                <a:gd name="T7" fmla="*/ 15120939 h 6"/>
                <a:gd name="T8" fmla="*/ 15120939 w 6"/>
                <a:gd name="T9" fmla="*/ 15120939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6" y="0"/>
                  </a:lnTo>
                  <a:lnTo>
                    <a:pt x="6" y="6"/>
                  </a:lnTo>
                  <a:lnTo>
                    <a:pt x="0" y="6"/>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7" name="Freeform 344"/>
            <p:cNvSpPr>
              <a:spLocks/>
            </p:cNvSpPr>
            <p:nvPr/>
          </p:nvSpPr>
          <p:spPr bwMode="auto">
            <a:xfrm>
              <a:off x="4695124" y="6318081"/>
              <a:ext cx="1617" cy="8779"/>
            </a:xfrm>
            <a:custGeom>
              <a:avLst/>
              <a:gdLst>
                <a:gd name="T0" fmla="*/ 0 w 1588"/>
                <a:gd name="T1" fmla="*/ 0 h 6"/>
                <a:gd name="T2" fmla="*/ 0 w 1588"/>
                <a:gd name="T3" fmla="*/ 15120939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8" name="Freeform 345"/>
            <p:cNvSpPr>
              <a:spLocks/>
            </p:cNvSpPr>
            <p:nvPr/>
          </p:nvSpPr>
          <p:spPr bwMode="auto">
            <a:xfrm>
              <a:off x="4973210" y="6363440"/>
              <a:ext cx="9701" cy="1463"/>
            </a:xfrm>
            <a:custGeom>
              <a:avLst/>
              <a:gdLst>
                <a:gd name="T0" fmla="*/ 0 w 6"/>
                <a:gd name="T1" fmla="*/ 0 h 1587"/>
                <a:gd name="T2" fmla="*/ 15120939 w 6"/>
                <a:gd name="T3" fmla="*/ 0 h 1587"/>
                <a:gd name="T4" fmla="*/ 0 w 6"/>
                <a:gd name="T5" fmla="*/ 0 h 1587"/>
                <a:gd name="T6" fmla="*/ 0 60000 65536"/>
                <a:gd name="T7" fmla="*/ 0 60000 65536"/>
                <a:gd name="T8" fmla="*/ 0 60000 65536"/>
                <a:gd name="T9" fmla="*/ 0 w 6"/>
                <a:gd name="T10" fmla="*/ 0 h 1587"/>
                <a:gd name="T11" fmla="*/ 6 w 6"/>
                <a:gd name="T12" fmla="*/ 1587 h 1587"/>
              </a:gdLst>
              <a:ahLst/>
              <a:cxnLst>
                <a:cxn ang="T6">
                  <a:pos x="T0" y="T1"/>
                </a:cxn>
                <a:cxn ang="T7">
                  <a:pos x="T2" y="T3"/>
                </a:cxn>
                <a:cxn ang="T8">
                  <a:pos x="T4" y="T5"/>
                </a:cxn>
              </a:cxnLst>
              <a:rect l="T9" t="T10" r="T11" b="T12"/>
              <a:pathLst>
                <a:path w="6" h="1587">
                  <a:moveTo>
                    <a:pt x="0" y="0"/>
                  </a:moveTo>
                  <a:lnTo>
                    <a:pt x="6"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19" name="Freeform 346"/>
            <p:cNvSpPr>
              <a:spLocks/>
            </p:cNvSpPr>
            <p:nvPr/>
          </p:nvSpPr>
          <p:spPr bwMode="auto">
            <a:xfrm>
              <a:off x="4577100" y="6013736"/>
              <a:ext cx="1616" cy="8779"/>
            </a:xfrm>
            <a:custGeom>
              <a:avLst/>
              <a:gdLst>
                <a:gd name="T0" fmla="*/ 0 w 1587"/>
                <a:gd name="T1" fmla="*/ 0 h 6"/>
                <a:gd name="T2" fmla="*/ 0 w 1587"/>
                <a:gd name="T3" fmla="*/ 15120939 h 6"/>
                <a:gd name="T4" fmla="*/ 0 w 1587"/>
                <a:gd name="T5" fmla="*/ 0 h 6"/>
                <a:gd name="T6" fmla="*/ 0 60000 65536"/>
                <a:gd name="T7" fmla="*/ 0 60000 65536"/>
                <a:gd name="T8" fmla="*/ 0 60000 65536"/>
                <a:gd name="T9" fmla="*/ 0 w 1587"/>
                <a:gd name="T10" fmla="*/ 0 h 6"/>
                <a:gd name="T11" fmla="*/ 1587 w 1587"/>
                <a:gd name="T12" fmla="*/ 6 h 6"/>
              </a:gdLst>
              <a:ahLst/>
              <a:cxnLst>
                <a:cxn ang="T6">
                  <a:pos x="T0" y="T1"/>
                </a:cxn>
                <a:cxn ang="T7">
                  <a:pos x="T2" y="T3"/>
                </a:cxn>
                <a:cxn ang="T8">
                  <a:pos x="T4" y="T5"/>
                </a:cxn>
              </a:cxnLst>
              <a:rect l="T9" t="T10" r="T11" b="T12"/>
              <a:pathLst>
                <a:path w="1587"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20" name="Freeform 347"/>
            <p:cNvSpPr>
              <a:spLocks/>
            </p:cNvSpPr>
            <p:nvPr/>
          </p:nvSpPr>
          <p:spPr bwMode="auto">
            <a:xfrm>
              <a:off x="4596501" y="5618672"/>
              <a:ext cx="197247" cy="188753"/>
            </a:xfrm>
            <a:custGeom>
              <a:avLst/>
              <a:gdLst>
                <a:gd name="T0" fmla="*/ 307459085 w 122"/>
                <a:gd name="T1" fmla="*/ 216733963 h 129"/>
                <a:gd name="T2" fmla="*/ 307459085 w 122"/>
                <a:gd name="T3" fmla="*/ 201612946 h 129"/>
                <a:gd name="T4" fmla="*/ 307459085 w 122"/>
                <a:gd name="T5" fmla="*/ 186491979 h 129"/>
                <a:gd name="T6" fmla="*/ 307459085 w 122"/>
                <a:gd name="T7" fmla="*/ 153730677 h 129"/>
                <a:gd name="T8" fmla="*/ 307459085 w 122"/>
                <a:gd name="T9" fmla="*/ 138609710 h 129"/>
                <a:gd name="T10" fmla="*/ 307459085 w 122"/>
                <a:gd name="T11" fmla="*/ 123488743 h 129"/>
                <a:gd name="T12" fmla="*/ 292338151 w 122"/>
                <a:gd name="T13" fmla="*/ 78125816 h 129"/>
                <a:gd name="T14" fmla="*/ 292338151 w 122"/>
                <a:gd name="T15" fmla="*/ 63004849 h 129"/>
                <a:gd name="T16" fmla="*/ 277217217 w 122"/>
                <a:gd name="T17" fmla="*/ 63004849 h 129"/>
                <a:gd name="T18" fmla="*/ 246975350 w 122"/>
                <a:gd name="T19" fmla="*/ 30241947 h 129"/>
                <a:gd name="T20" fmla="*/ 231854416 w 122"/>
                <a:gd name="T21" fmla="*/ 0 h 129"/>
                <a:gd name="T22" fmla="*/ 168851270 w 122"/>
                <a:gd name="T23" fmla="*/ 0 h 129"/>
                <a:gd name="T24" fmla="*/ 153730336 w 122"/>
                <a:gd name="T25" fmla="*/ 15120973 h 129"/>
                <a:gd name="T26" fmla="*/ 108367535 w 122"/>
                <a:gd name="T27" fmla="*/ 0 h 129"/>
                <a:gd name="T28" fmla="*/ 93246576 w 122"/>
                <a:gd name="T29" fmla="*/ 47883869 h 129"/>
                <a:gd name="T30" fmla="*/ 75604693 w 122"/>
                <a:gd name="T31" fmla="*/ 30241947 h 129"/>
                <a:gd name="T32" fmla="*/ 30241880 w 122"/>
                <a:gd name="T33" fmla="*/ 63004849 h 129"/>
                <a:gd name="T34" fmla="*/ 30241880 w 122"/>
                <a:gd name="T35" fmla="*/ 93246783 h 129"/>
                <a:gd name="T36" fmla="*/ 15120940 w 122"/>
                <a:gd name="T37" fmla="*/ 123488743 h 129"/>
                <a:gd name="T38" fmla="*/ 0 w 122"/>
                <a:gd name="T39" fmla="*/ 123488743 h 129"/>
                <a:gd name="T40" fmla="*/ 15120940 w 122"/>
                <a:gd name="T41" fmla="*/ 153730677 h 129"/>
                <a:gd name="T42" fmla="*/ 0 w 122"/>
                <a:gd name="T43" fmla="*/ 171371012 h 129"/>
                <a:gd name="T44" fmla="*/ 15120940 w 122"/>
                <a:gd name="T45" fmla="*/ 201612946 h 129"/>
                <a:gd name="T46" fmla="*/ 0 w 122"/>
                <a:gd name="T47" fmla="*/ 216733963 h 129"/>
                <a:gd name="T48" fmla="*/ 15120940 w 122"/>
                <a:gd name="T49" fmla="*/ 262096865 h 129"/>
                <a:gd name="T50" fmla="*/ 30241880 w 122"/>
                <a:gd name="T51" fmla="*/ 262096865 h 129"/>
                <a:gd name="T52" fmla="*/ 30241880 w 122"/>
                <a:gd name="T53" fmla="*/ 309980722 h 129"/>
                <a:gd name="T54" fmla="*/ 45362814 w 122"/>
                <a:gd name="T55" fmla="*/ 309980722 h 129"/>
                <a:gd name="T56" fmla="*/ 60483760 w 122"/>
                <a:gd name="T57" fmla="*/ 309980722 h 129"/>
                <a:gd name="T58" fmla="*/ 60483760 w 122"/>
                <a:gd name="T59" fmla="*/ 325101689 h 129"/>
                <a:gd name="T60" fmla="*/ 75604693 w 122"/>
                <a:gd name="T61" fmla="*/ 325101689 h 129"/>
                <a:gd name="T62" fmla="*/ 93246576 w 122"/>
                <a:gd name="T63" fmla="*/ 309980722 h 129"/>
                <a:gd name="T64" fmla="*/ 108367535 w 122"/>
                <a:gd name="T65" fmla="*/ 325101689 h 129"/>
                <a:gd name="T66" fmla="*/ 108367535 w 122"/>
                <a:gd name="T67" fmla="*/ 309980722 h 129"/>
                <a:gd name="T68" fmla="*/ 123488469 w 122"/>
                <a:gd name="T69" fmla="*/ 309980722 h 129"/>
                <a:gd name="T70" fmla="*/ 138609402 w 122"/>
                <a:gd name="T71" fmla="*/ 309980722 h 129"/>
                <a:gd name="T72" fmla="*/ 153730336 w 122"/>
                <a:gd name="T73" fmla="*/ 294859755 h 129"/>
                <a:gd name="T74" fmla="*/ 153730336 w 122"/>
                <a:gd name="T75" fmla="*/ 309980722 h 129"/>
                <a:gd name="T76" fmla="*/ 153730336 w 122"/>
                <a:gd name="T77" fmla="*/ 294859755 h 129"/>
                <a:gd name="T78" fmla="*/ 168851270 w 122"/>
                <a:gd name="T79" fmla="*/ 277217832 h 129"/>
                <a:gd name="T80" fmla="*/ 183972204 w 122"/>
                <a:gd name="T81" fmla="*/ 262096865 h 129"/>
                <a:gd name="T82" fmla="*/ 199093137 w 122"/>
                <a:gd name="T83" fmla="*/ 246975898 h 129"/>
                <a:gd name="T84" fmla="*/ 199093137 w 122"/>
                <a:gd name="T85" fmla="*/ 262096865 h 129"/>
                <a:gd name="T86" fmla="*/ 216733483 w 122"/>
                <a:gd name="T87" fmla="*/ 262096865 h 129"/>
                <a:gd name="T88" fmla="*/ 216733483 w 122"/>
                <a:gd name="T89" fmla="*/ 246975898 h 129"/>
                <a:gd name="T90" fmla="*/ 246975350 w 122"/>
                <a:gd name="T91" fmla="*/ 262096865 h 129"/>
                <a:gd name="T92" fmla="*/ 262096284 w 122"/>
                <a:gd name="T93" fmla="*/ 262096865 h 129"/>
                <a:gd name="T94" fmla="*/ 277217217 w 122"/>
                <a:gd name="T95" fmla="*/ 246975898 h 129"/>
                <a:gd name="T96" fmla="*/ 277217217 w 122"/>
                <a:gd name="T97" fmla="*/ 262096865 h 129"/>
                <a:gd name="T98" fmla="*/ 277217217 w 122"/>
                <a:gd name="T99" fmla="*/ 246975898 h 129"/>
                <a:gd name="T100" fmla="*/ 277217217 w 122"/>
                <a:gd name="T101" fmla="*/ 231854931 h 129"/>
                <a:gd name="T102" fmla="*/ 277217217 w 122"/>
                <a:gd name="T103" fmla="*/ 216733963 h 129"/>
                <a:gd name="T104" fmla="*/ 292338151 w 122"/>
                <a:gd name="T105" fmla="*/ 216733963 h 129"/>
                <a:gd name="T106" fmla="*/ 307459085 w 122"/>
                <a:gd name="T107" fmla="*/ 216733963 h 1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2"/>
                <a:gd name="T163" fmla="*/ 0 h 129"/>
                <a:gd name="T164" fmla="*/ 122 w 122"/>
                <a:gd name="T165" fmla="*/ 129 h 1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2" h="129">
                  <a:moveTo>
                    <a:pt x="122" y="86"/>
                  </a:moveTo>
                  <a:lnTo>
                    <a:pt x="122" y="80"/>
                  </a:lnTo>
                  <a:lnTo>
                    <a:pt x="122" y="74"/>
                  </a:lnTo>
                  <a:lnTo>
                    <a:pt x="122" y="61"/>
                  </a:lnTo>
                  <a:lnTo>
                    <a:pt x="122" y="55"/>
                  </a:lnTo>
                  <a:lnTo>
                    <a:pt x="122" y="49"/>
                  </a:lnTo>
                  <a:lnTo>
                    <a:pt x="116" y="31"/>
                  </a:lnTo>
                  <a:lnTo>
                    <a:pt x="116" y="25"/>
                  </a:lnTo>
                  <a:lnTo>
                    <a:pt x="110" y="25"/>
                  </a:lnTo>
                  <a:lnTo>
                    <a:pt x="98" y="12"/>
                  </a:lnTo>
                  <a:lnTo>
                    <a:pt x="92" y="0"/>
                  </a:lnTo>
                  <a:lnTo>
                    <a:pt x="67" y="0"/>
                  </a:lnTo>
                  <a:lnTo>
                    <a:pt x="61" y="6"/>
                  </a:lnTo>
                  <a:lnTo>
                    <a:pt x="43" y="0"/>
                  </a:lnTo>
                  <a:lnTo>
                    <a:pt x="37" y="19"/>
                  </a:lnTo>
                  <a:lnTo>
                    <a:pt x="30" y="12"/>
                  </a:lnTo>
                  <a:lnTo>
                    <a:pt x="12" y="25"/>
                  </a:lnTo>
                  <a:lnTo>
                    <a:pt x="12" y="37"/>
                  </a:lnTo>
                  <a:lnTo>
                    <a:pt x="6" y="49"/>
                  </a:lnTo>
                  <a:lnTo>
                    <a:pt x="0" y="49"/>
                  </a:lnTo>
                  <a:lnTo>
                    <a:pt x="6" y="61"/>
                  </a:lnTo>
                  <a:lnTo>
                    <a:pt x="0" y="68"/>
                  </a:lnTo>
                  <a:lnTo>
                    <a:pt x="6" y="80"/>
                  </a:lnTo>
                  <a:lnTo>
                    <a:pt x="0" y="86"/>
                  </a:lnTo>
                  <a:lnTo>
                    <a:pt x="6" y="104"/>
                  </a:lnTo>
                  <a:lnTo>
                    <a:pt x="12" y="104"/>
                  </a:lnTo>
                  <a:lnTo>
                    <a:pt x="12" y="123"/>
                  </a:lnTo>
                  <a:lnTo>
                    <a:pt x="18" y="123"/>
                  </a:lnTo>
                  <a:lnTo>
                    <a:pt x="24" y="123"/>
                  </a:lnTo>
                  <a:lnTo>
                    <a:pt x="24" y="129"/>
                  </a:lnTo>
                  <a:lnTo>
                    <a:pt x="30" y="129"/>
                  </a:lnTo>
                  <a:lnTo>
                    <a:pt x="37" y="123"/>
                  </a:lnTo>
                  <a:lnTo>
                    <a:pt x="43" y="129"/>
                  </a:lnTo>
                  <a:lnTo>
                    <a:pt x="43" y="123"/>
                  </a:lnTo>
                  <a:lnTo>
                    <a:pt x="49" y="123"/>
                  </a:lnTo>
                  <a:lnTo>
                    <a:pt x="55" y="123"/>
                  </a:lnTo>
                  <a:lnTo>
                    <a:pt x="61" y="117"/>
                  </a:lnTo>
                  <a:lnTo>
                    <a:pt x="61" y="123"/>
                  </a:lnTo>
                  <a:lnTo>
                    <a:pt x="61" y="117"/>
                  </a:lnTo>
                  <a:lnTo>
                    <a:pt x="67" y="110"/>
                  </a:lnTo>
                  <a:lnTo>
                    <a:pt x="73" y="104"/>
                  </a:lnTo>
                  <a:lnTo>
                    <a:pt x="79" y="98"/>
                  </a:lnTo>
                  <a:lnTo>
                    <a:pt x="79" y="104"/>
                  </a:lnTo>
                  <a:lnTo>
                    <a:pt x="86" y="104"/>
                  </a:lnTo>
                  <a:lnTo>
                    <a:pt x="86" y="98"/>
                  </a:lnTo>
                  <a:lnTo>
                    <a:pt x="98" y="104"/>
                  </a:lnTo>
                  <a:lnTo>
                    <a:pt x="104" y="104"/>
                  </a:lnTo>
                  <a:lnTo>
                    <a:pt x="110" y="98"/>
                  </a:lnTo>
                  <a:lnTo>
                    <a:pt x="110" y="104"/>
                  </a:lnTo>
                  <a:lnTo>
                    <a:pt x="110" y="98"/>
                  </a:lnTo>
                  <a:lnTo>
                    <a:pt x="110" y="92"/>
                  </a:lnTo>
                  <a:lnTo>
                    <a:pt x="110" y="86"/>
                  </a:lnTo>
                  <a:lnTo>
                    <a:pt x="116" y="86"/>
                  </a:lnTo>
                  <a:lnTo>
                    <a:pt x="122" y="8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21" name="Freeform 348"/>
            <p:cNvSpPr>
              <a:spLocks/>
            </p:cNvSpPr>
            <p:nvPr/>
          </p:nvSpPr>
          <p:spPr bwMode="auto">
            <a:xfrm>
              <a:off x="4577099" y="4866590"/>
              <a:ext cx="742101" cy="591131"/>
            </a:xfrm>
            <a:custGeom>
              <a:avLst/>
              <a:gdLst>
                <a:gd name="T0" fmla="*/ 45362782 w 459"/>
                <a:gd name="T1" fmla="*/ 509071607 h 404"/>
                <a:gd name="T2" fmla="*/ 90725563 w 459"/>
                <a:gd name="T3" fmla="*/ 632558432 h 404"/>
                <a:gd name="T4" fmla="*/ 153728641 w 459"/>
                <a:gd name="T5" fmla="*/ 677922819 h 404"/>
                <a:gd name="T6" fmla="*/ 138607718 w 459"/>
                <a:gd name="T7" fmla="*/ 756046845 h 404"/>
                <a:gd name="T8" fmla="*/ 229333306 w 459"/>
                <a:gd name="T9" fmla="*/ 816530577 h 404"/>
                <a:gd name="T10" fmla="*/ 307458869 w 459"/>
                <a:gd name="T11" fmla="*/ 801409644 h 404"/>
                <a:gd name="T12" fmla="*/ 277217023 w 459"/>
                <a:gd name="T13" fmla="*/ 849293590 h 404"/>
                <a:gd name="T14" fmla="*/ 322579792 w 459"/>
                <a:gd name="T15" fmla="*/ 924898255 h 404"/>
                <a:gd name="T16" fmla="*/ 415824691 w 459"/>
                <a:gd name="T17" fmla="*/ 972780415 h 404"/>
                <a:gd name="T18" fmla="*/ 554434046 w 459"/>
                <a:gd name="T19" fmla="*/ 987901348 h 404"/>
                <a:gd name="T20" fmla="*/ 677920790 w 459"/>
                <a:gd name="T21" fmla="*/ 987901348 h 404"/>
                <a:gd name="T22" fmla="*/ 864412374 w 459"/>
                <a:gd name="T23" fmla="*/ 909777322 h 404"/>
                <a:gd name="T24" fmla="*/ 955137912 w 459"/>
                <a:gd name="T25" fmla="*/ 955140121 h 404"/>
                <a:gd name="T26" fmla="*/ 1033263476 w 459"/>
                <a:gd name="T27" fmla="*/ 940019188 h 404"/>
                <a:gd name="T28" fmla="*/ 1033263476 w 459"/>
                <a:gd name="T29" fmla="*/ 864414523 h 404"/>
                <a:gd name="T30" fmla="*/ 1078626245 w 459"/>
                <a:gd name="T31" fmla="*/ 786288711 h 404"/>
                <a:gd name="T32" fmla="*/ 1126508374 w 459"/>
                <a:gd name="T33" fmla="*/ 756046845 h 404"/>
                <a:gd name="T34" fmla="*/ 1156750220 w 459"/>
                <a:gd name="T35" fmla="*/ 677922819 h 404"/>
                <a:gd name="T36" fmla="*/ 1126508374 w 459"/>
                <a:gd name="T37" fmla="*/ 617437499 h 404"/>
                <a:gd name="T38" fmla="*/ 1063505322 w 459"/>
                <a:gd name="T39" fmla="*/ 647680953 h 404"/>
                <a:gd name="T40" fmla="*/ 1003021629 w 459"/>
                <a:gd name="T41" fmla="*/ 647680953 h 404"/>
                <a:gd name="T42" fmla="*/ 972779783 w 459"/>
                <a:gd name="T43" fmla="*/ 584676272 h 404"/>
                <a:gd name="T44" fmla="*/ 972779783 w 459"/>
                <a:gd name="T45" fmla="*/ 524192540 h 404"/>
                <a:gd name="T46" fmla="*/ 972779783 w 459"/>
                <a:gd name="T47" fmla="*/ 446068514 h 404"/>
                <a:gd name="T48" fmla="*/ 987900706 w 459"/>
                <a:gd name="T49" fmla="*/ 400705616 h 404"/>
                <a:gd name="T50" fmla="*/ 972779783 w 459"/>
                <a:gd name="T51" fmla="*/ 322580002 h 404"/>
                <a:gd name="T52" fmla="*/ 955137912 w 459"/>
                <a:gd name="T53" fmla="*/ 262096270 h 404"/>
                <a:gd name="T54" fmla="*/ 924896066 w 459"/>
                <a:gd name="T55" fmla="*/ 246975337 h 404"/>
                <a:gd name="T56" fmla="*/ 909775143 w 459"/>
                <a:gd name="T57" fmla="*/ 214214109 h 404"/>
                <a:gd name="T58" fmla="*/ 894654220 w 459"/>
                <a:gd name="T59" fmla="*/ 168851261 h 404"/>
                <a:gd name="T60" fmla="*/ 864412374 w 459"/>
                <a:gd name="T61" fmla="*/ 123488462 h 404"/>
                <a:gd name="T62" fmla="*/ 849291451 w 459"/>
                <a:gd name="T63" fmla="*/ 60483757 h 404"/>
                <a:gd name="T64" fmla="*/ 816530046 w 459"/>
                <a:gd name="T65" fmla="*/ 15120939 h 404"/>
                <a:gd name="T66" fmla="*/ 786288200 w 459"/>
                <a:gd name="T67" fmla="*/ 0 h 404"/>
                <a:gd name="T68" fmla="*/ 740925430 w 459"/>
                <a:gd name="T69" fmla="*/ 30241878 h 404"/>
                <a:gd name="T70" fmla="*/ 693041714 w 459"/>
                <a:gd name="T71" fmla="*/ 60483757 h 404"/>
                <a:gd name="T72" fmla="*/ 602316175 w 459"/>
                <a:gd name="T73" fmla="*/ 108367529 h 404"/>
                <a:gd name="T74" fmla="*/ 554434046 w 459"/>
                <a:gd name="T75" fmla="*/ 90725622 h 404"/>
                <a:gd name="T76" fmla="*/ 509071276 w 459"/>
                <a:gd name="T77" fmla="*/ 60483757 h 404"/>
                <a:gd name="T78" fmla="*/ 446066636 w 459"/>
                <a:gd name="T79" fmla="*/ 75604689 h 404"/>
                <a:gd name="T80" fmla="*/ 385582845 w 459"/>
                <a:gd name="T81" fmla="*/ 60483757 h 404"/>
                <a:gd name="T82" fmla="*/ 370461921 w 459"/>
                <a:gd name="T83" fmla="*/ 30241878 h 404"/>
                <a:gd name="T84" fmla="*/ 322579792 w 459"/>
                <a:gd name="T85" fmla="*/ 60483757 h 404"/>
                <a:gd name="T86" fmla="*/ 292337946 w 459"/>
                <a:gd name="T87" fmla="*/ 108367529 h 404"/>
                <a:gd name="T88" fmla="*/ 229333306 w 459"/>
                <a:gd name="T89" fmla="*/ 153728741 h 404"/>
                <a:gd name="T90" fmla="*/ 199091410 w 459"/>
                <a:gd name="T91" fmla="*/ 214214109 h 404"/>
                <a:gd name="T92" fmla="*/ 168849564 w 459"/>
                <a:gd name="T93" fmla="*/ 262096270 h 404"/>
                <a:gd name="T94" fmla="*/ 153728641 w 459"/>
                <a:gd name="T95" fmla="*/ 307459069 h 404"/>
                <a:gd name="T96" fmla="*/ 138607718 w 459"/>
                <a:gd name="T97" fmla="*/ 370463750 h 404"/>
                <a:gd name="T98" fmla="*/ 123486795 w 459"/>
                <a:gd name="T99" fmla="*/ 400705616 h 404"/>
                <a:gd name="T100" fmla="*/ 90725563 w 459"/>
                <a:gd name="T101" fmla="*/ 430947581 h 404"/>
                <a:gd name="T102" fmla="*/ 45362782 w 459"/>
                <a:gd name="T103" fmla="*/ 461189447 h 40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9"/>
                <a:gd name="T157" fmla="*/ 0 h 404"/>
                <a:gd name="T158" fmla="*/ 459 w 459"/>
                <a:gd name="T159" fmla="*/ 404 h 40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9" h="404">
                  <a:moveTo>
                    <a:pt x="0" y="183"/>
                  </a:moveTo>
                  <a:lnTo>
                    <a:pt x="6" y="196"/>
                  </a:lnTo>
                  <a:lnTo>
                    <a:pt x="12" y="196"/>
                  </a:lnTo>
                  <a:lnTo>
                    <a:pt x="12" y="202"/>
                  </a:lnTo>
                  <a:lnTo>
                    <a:pt x="18" y="202"/>
                  </a:lnTo>
                  <a:lnTo>
                    <a:pt x="24" y="214"/>
                  </a:lnTo>
                  <a:lnTo>
                    <a:pt x="24" y="220"/>
                  </a:lnTo>
                  <a:lnTo>
                    <a:pt x="30" y="214"/>
                  </a:lnTo>
                  <a:lnTo>
                    <a:pt x="30" y="245"/>
                  </a:lnTo>
                  <a:lnTo>
                    <a:pt x="36" y="251"/>
                  </a:lnTo>
                  <a:lnTo>
                    <a:pt x="42" y="257"/>
                  </a:lnTo>
                  <a:lnTo>
                    <a:pt x="49" y="257"/>
                  </a:lnTo>
                  <a:lnTo>
                    <a:pt x="49" y="263"/>
                  </a:lnTo>
                  <a:lnTo>
                    <a:pt x="61" y="263"/>
                  </a:lnTo>
                  <a:lnTo>
                    <a:pt x="61" y="269"/>
                  </a:lnTo>
                  <a:lnTo>
                    <a:pt x="55" y="281"/>
                  </a:lnTo>
                  <a:lnTo>
                    <a:pt x="67" y="288"/>
                  </a:lnTo>
                  <a:lnTo>
                    <a:pt x="67" y="294"/>
                  </a:lnTo>
                  <a:lnTo>
                    <a:pt x="55" y="294"/>
                  </a:lnTo>
                  <a:lnTo>
                    <a:pt x="55" y="300"/>
                  </a:lnTo>
                  <a:lnTo>
                    <a:pt x="67" y="300"/>
                  </a:lnTo>
                  <a:lnTo>
                    <a:pt x="67" y="306"/>
                  </a:lnTo>
                  <a:lnTo>
                    <a:pt x="67" y="312"/>
                  </a:lnTo>
                  <a:lnTo>
                    <a:pt x="85" y="312"/>
                  </a:lnTo>
                  <a:lnTo>
                    <a:pt x="91" y="324"/>
                  </a:lnTo>
                  <a:lnTo>
                    <a:pt x="91" y="330"/>
                  </a:lnTo>
                  <a:lnTo>
                    <a:pt x="98" y="312"/>
                  </a:lnTo>
                  <a:lnTo>
                    <a:pt x="110" y="306"/>
                  </a:lnTo>
                  <a:lnTo>
                    <a:pt x="116" y="318"/>
                  </a:lnTo>
                  <a:lnTo>
                    <a:pt x="122" y="318"/>
                  </a:lnTo>
                  <a:lnTo>
                    <a:pt x="122" y="324"/>
                  </a:lnTo>
                  <a:lnTo>
                    <a:pt x="116" y="324"/>
                  </a:lnTo>
                  <a:lnTo>
                    <a:pt x="110" y="324"/>
                  </a:lnTo>
                  <a:lnTo>
                    <a:pt x="110" y="330"/>
                  </a:lnTo>
                  <a:lnTo>
                    <a:pt x="110" y="337"/>
                  </a:lnTo>
                  <a:lnTo>
                    <a:pt x="116" y="343"/>
                  </a:lnTo>
                  <a:lnTo>
                    <a:pt x="122" y="343"/>
                  </a:lnTo>
                  <a:lnTo>
                    <a:pt x="122" y="349"/>
                  </a:lnTo>
                  <a:lnTo>
                    <a:pt x="134" y="361"/>
                  </a:lnTo>
                  <a:lnTo>
                    <a:pt x="128" y="367"/>
                  </a:lnTo>
                  <a:lnTo>
                    <a:pt x="128" y="379"/>
                  </a:lnTo>
                  <a:lnTo>
                    <a:pt x="128" y="386"/>
                  </a:lnTo>
                  <a:lnTo>
                    <a:pt x="134" y="386"/>
                  </a:lnTo>
                  <a:lnTo>
                    <a:pt x="159" y="379"/>
                  </a:lnTo>
                  <a:lnTo>
                    <a:pt x="165" y="386"/>
                  </a:lnTo>
                  <a:lnTo>
                    <a:pt x="171" y="386"/>
                  </a:lnTo>
                  <a:lnTo>
                    <a:pt x="190" y="398"/>
                  </a:lnTo>
                  <a:lnTo>
                    <a:pt x="202" y="398"/>
                  </a:lnTo>
                  <a:lnTo>
                    <a:pt x="208" y="392"/>
                  </a:lnTo>
                  <a:lnTo>
                    <a:pt x="220" y="392"/>
                  </a:lnTo>
                  <a:lnTo>
                    <a:pt x="232" y="392"/>
                  </a:lnTo>
                  <a:lnTo>
                    <a:pt x="239" y="398"/>
                  </a:lnTo>
                  <a:lnTo>
                    <a:pt x="245" y="398"/>
                  </a:lnTo>
                  <a:lnTo>
                    <a:pt x="251" y="404"/>
                  </a:lnTo>
                  <a:lnTo>
                    <a:pt x="269" y="392"/>
                  </a:lnTo>
                  <a:lnTo>
                    <a:pt x="288" y="367"/>
                  </a:lnTo>
                  <a:lnTo>
                    <a:pt x="318" y="361"/>
                  </a:lnTo>
                  <a:lnTo>
                    <a:pt x="324" y="355"/>
                  </a:lnTo>
                  <a:lnTo>
                    <a:pt x="343" y="355"/>
                  </a:lnTo>
                  <a:lnTo>
                    <a:pt x="343" y="361"/>
                  </a:lnTo>
                  <a:lnTo>
                    <a:pt x="349" y="367"/>
                  </a:lnTo>
                  <a:lnTo>
                    <a:pt x="361" y="367"/>
                  </a:lnTo>
                  <a:lnTo>
                    <a:pt x="367" y="373"/>
                  </a:lnTo>
                  <a:lnTo>
                    <a:pt x="373" y="367"/>
                  </a:lnTo>
                  <a:lnTo>
                    <a:pt x="379" y="379"/>
                  </a:lnTo>
                  <a:lnTo>
                    <a:pt x="392" y="392"/>
                  </a:lnTo>
                  <a:lnTo>
                    <a:pt x="410" y="392"/>
                  </a:lnTo>
                  <a:lnTo>
                    <a:pt x="410" y="386"/>
                  </a:lnTo>
                  <a:lnTo>
                    <a:pt x="410" y="379"/>
                  </a:lnTo>
                  <a:lnTo>
                    <a:pt x="410" y="373"/>
                  </a:lnTo>
                  <a:lnTo>
                    <a:pt x="410" y="367"/>
                  </a:lnTo>
                  <a:lnTo>
                    <a:pt x="410" y="361"/>
                  </a:lnTo>
                  <a:lnTo>
                    <a:pt x="410" y="355"/>
                  </a:lnTo>
                  <a:lnTo>
                    <a:pt x="410" y="349"/>
                  </a:lnTo>
                  <a:lnTo>
                    <a:pt x="410" y="343"/>
                  </a:lnTo>
                  <a:lnTo>
                    <a:pt x="410" y="337"/>
                  </a:lnTo>
                  <a:lnTo>
                    <a:pt x="416" y="337"/>
                  </a:lnTo>
                  <a:lnTo>
                    <a:pt x="422" y="330"/>
                  </a:lnTo>
                  <a:lnTo>
                    <a:pt x="422" y="318"/>
                  </a:lnTo>
                  <a:lnTo>
                    <a:pt x="428" y="312"/>
                  </a:lnTo>
                  <a:lnTo>
                    <a:pt x="428" y="306"/>
                  </a:lnTo>
                  <a:lnTo>
                    <a:pt x="435" y="306"/>
                  </a:lnTo>
                  <a:lnTo>
                    <a:pt x="435" y="300"/>
                  </a:lnTo>
                  <a:lnTo>
                    <a:pt x="441" y="300"/>
                  </a:lnTo>
                  <a:lnTo>
                    <a:pt x="447" y="300"/>
                  </a:lnTo>
                  <a:lnTo>
                    <a:pt x="453" y="300"/>
                  </a:lnTo>
                  <a:lnTo>
                    <a:pt x="459" y="294"/>
                  </a:lnTo>
                  <a:lnTo>
                    <a:pt x="459" y="281"/>
                  </a:lnTo>
                  <a:lnTo>
                    <a:pt x="459" y="275"/>
                  </a:lnTo>
                  <a:lnTo>
                    <a:pt x="459" y="269"/>
                  </a:lnTo>
                  <a:lnTo>
                    <a:pt x="459" y="263"/>
                  </a:lnTo>
                  <a:lnTo>
                    <a:pt x="459" y="257"/>
                  </a:lnTo>
                  <a:lnTo>
                    <a:pt x="459" y="251"/>
                  </a:lnTo>
                  <a:lnTo>
                    <a:pt x="453" y="245"/>
                  </a:lnTo>
                  <a:lnTo>
                    <a:pt x="447" y="245"/>
                  </a:lnTo>
                  <a:lnTo>
                    <a:pt x="441" y="245"/>
                  </a:lnTo>
                  <a:lnTo>
                    <a:pt x="435" y="251"/>
                  </a:lnTo>
                  <a:lnTo>
                    <a:pt x="428" y="251"/>
                  </a:lnTo>
                  <a:lnTo>
                    <a:pt x="428" y="257"/>
                  </a:lnTo>
                  <a:lnTo>
                    <a:pt x="422" y="257"/>
                  </a:lnTo>
                  <a:lnTo>
                    <a:pt x="416" y="251"/>
                  </a:lnTo>
                  <a:lnTo>
                    <a:pt x="416" y="257"/>
                  </a:lnTo>
                  <a:lnTo>
                    <a:pt x="416" y="263"/>
                  </a:lnTo>
                  <a:lnTo>
                    <a:pt x="410" y="263"/>
                  </a:lnTo>
                  <a:lnTo>
                    <a:pt x="398" y="257"/>
                  </a:lnTo>
                  <a:lnTo>
                    <a:pt x="398" y="251"/>
                  </a:lnTo>
                  <a:lnTo>
                    <a:pt x="392" y="245"/>
                  </a:lnTo>
                  <a:lnTo>
                    <a:pt x="386" y="245"/>
                  </a:lnTo>
                  <a:lnTo>
                    <a:pt x="386" y="239"/>
                  </a:lnTo>
                  <a:lnTo>
                    <a:pt x="386" y="232"/>
                  </a:lnTo>
                  <a:lnTo>
                    <a:pt x="379" y="232"/>
                  </a:lnTo>
                  <a:lnTo>
                    <a:pt x="386" y="226"/>
                  </a:lnTo>
                  <a:lnTo>
                    <a:pt x="386" y="220"/>
                  </a:lnTo>
                  <a:lnTo>
                    <a:pt x="386" y="214"/>
                  </a:lnTo>
                  <a:lnTo>
                    <a:pt x="386" y="208"/>
                  </a:lnTo>
                  <a:lnTo>
                    <a:pt x="386" y="202"/>
                  </a:lnTo>
                  <a:lnTo>
                    <a:pt x="386" y="196"/>
                  </a:lnTo>
                  <a:lnTo>
                    <a:pt x="386" y="190"/>
                  </a:lnTo>
                  <a:lnTo>
                    <a:pt x="386" y="183"/>
                  </a:lnTo>
                  <a:lnTo>
                    <a:pt x="386" y="177"/>
                  </a:lnTo>
                  <a:lnTo>
                    <a:pt x="386" y="171"/>
                  </a:lnTo>
                  <a:lnTo>
                    <a:pt x="392" y="165"/>
                  </a:lnTo>
                  <a:lnTo>
                    <a:pt x="386" y="165"/>
                  </a:lnTo>
                  <a:lnTo>
                    <a:pt x="392" y="165"/>
                  </a:lnTo>
                  <a:lnTo>
                    <a:pt x="392" y="159"/>
                  </a:lnTo>
                  <a:lnTo>
                    <a:pt x="392" y="153"/>
                  </a:lnTo>
                  <a:lnTo>
                    <a:pt x="392" y="147"/>
                  </a:lnTo>
                  <a:lnTo>
                    <a:pt x="392" y="141"/>
                  </a:lnTo>
                  <a:lnTo>
                    <a:pt x="392" y="134"/>
                  </a:lnTo>
                  <a:lnTo>
                    <a:pt x="386" y="128"/>
                  </a:lnTo>
                  <a:lnTo>
                    <a:pt x="386" y="122"/>
                  </a:lnTo>
                  <a:lnTo>
                    <a:pt x="386" y="116"/>
                  </a:lnTo>
                  <a:lnTo>
                    <a:pt x="386" y="110"/>
                  </a:lnTo>
                  <a:lnTo>
                    <a:pt x="379" y="110"/>
                  </a:lnTo>
                  <a:lnTo>
                    <a:pt x="379" y="104"/>
                  </a:lnTo>
                  <a:lnTo>
                    <a:pt x="373" y="104"/>
                  </a:lnTo>
                  <a:lnTo>
                    <a:pt x="379" y="104"/>
                  </a:lnTo>
                  <a:lnTo>
                    <a:pt x="373" y="104"/>
                  </a:lnTo>
                  <a:lnTo>
                    <a:pt x="373" y="98"/>
                  </a:lnTo>
                  <a:lnTo>
                    <a:pt x="367" y="98"/>
                  </a:lnTo>
                  <a:lnTo>
                    <a:pt x="367" y="92"/>
                  </a:lnTo>
                  <a:lnTo>
                    <a:pt x="367" y="85"/>
                  </a:lnTo>
                  <a:lnTo>
                    <a:pt x="361" y="85"/>
                  </a:lnTo>
                  <a:lnTo>
                    <a:pt x="361" y="79"/>
                  </a:lnTo>
                  <a:lnTo>
                    <a:pt x="361" y="85"/>
                  </a:lnTo>
                  <a:lnTo>
                    <a:pt x="361" y="79"/>
                  </a:lnTo>
                  <a:lnTo>
                    <a:pt x="361" y="73"/>
                  </a:lnTo>
                  <a:lnTo>
                    <a:pt x="355" y="73"/>
                  </a:lnTo>
                  <a:lnTo>
                    <a:pt x="361" y="67"/>
                  </a:lnTo>
                  <a:lnTo>
                    <a:pt x="355" y="67"/>
                  </a:lnTo>
                  <a:lnTo>
                    <a:pt x="355" y="61"/>
                  </a:lnTo>
                  <a:lnTo>
                    <a:pt x="349" y="61"/>
                  </a:lnTo>
                  <a:lnTo>
                    <a:pt x="349" y="55"/>
                  </a:lnTo>
                  <a:lnTo>
                    <a:pt x="343" y="55"/>
                  </a:lnTo>
                  <a:lnTo>
                    <a:pt x="343" y="49"/>
                  </a:lnTo>
                  <a:lnTo>
                    <a:pt x="343" y="43"/>
                  </a:lnTo>
                  <a:lnTo>
                    <a:pt x="343" y="36"/>
                  </a:lnTo>
                  <a:lnTo>
                    <a:pt x="343" y="30"/>
                  </a:lnTo>
                  <a:lnTo>
                    <a:pt x="337" y="30"/>
                  </a:lnTo>
                  <a:lnTo>
                    <a:pt x="337" y="24"/>
                  </a:lnTo>
                  <a:lnTo>
                    <a:pt x="337" y="18"/>
                  </a:lnTo>
                  <a:lnTo>
                    <a:pt x="330" y="12"/>
                  </a:lnTo>
                  <a:lnTo>
                    <a:pt x="324" y="6"/>
                  </a:lnTo>
                  <a:lnTo>
                    <a:pt x="330" y="6"/>
                  </a:lnTo>
                  <a:lnTo>
                    <a:pt x="324" y="6"/>
                  </a:lnTo>
                  <a:lnTo>
                    <a:pt x="324" y="0"/>
                  </a:lnTo>
                  <a:lnTo>
                    <a:pt x="324" y="6"/>
                  </a:lnTo>
                  <a:lnTo>
                    <a:pt x="324" y="0"/>
                  </a:lnTo>
                  <a:lnTo>
                    <a:pt x="318" y="0"/>
                  </a:lnTo>
                  <a:lnTo>
                    <a:pt x="312" y="0"/>
                  </a:lnTo>
                  <a:lnTo>
                    <a:pt x="312" y="6"/>
                  </a:lnTo>
                  <a:lnTo>
                    <a:pt x="306" y="6"/>
                  </a:lnTo>
                  <a:lnTo>
                    <a:pt x="300" y="6"/>
                  </a:lnTo>
                  <a:lnTo>
                    <a:pt x="300" y="12"/>
                  </a:lnTo>
                  <a:lnTo>
                    <a:pt x="294" y="12"/>
                  </a:lnTo>
                  <a:lnTo>
                    <a:pt x="294" y="18"/>
                  </a:lnTo>
                  <a:lnTo>
                    <a:pt x="294" y="24"/>
                  </a:lnTo>
                  <a:lnTo>
                    <a:pt x="288" y="24"/>
                  </a:lnTo>
                  <a:lnTo>
                    <a:pt x="281" y="24"/>
                  </a:lnTo>
                  <a:lnTo>
                    <a:pt x="275" y="24"/>
                  </a:lnTo>
                  <a:lnTo>
                    <a:pt x="269" y="30"/>
                  </a:lnTo>
                  <a:lnTo>
                    <a:pt x="263" y="30"/>
                  </a:lnTo>
                  <a:lnTo>
                    <a:pt x="251" y="30"/>
                  </a:lnTo>
                  <a:lnTo>
                    <a:pt x="245" y="30"/>
                  </a:lnTo>
                  <a:lnTo>
                    <a:pt x="239" y="43"/>
                  </a:lnTo>
                  <a:lnTo>
                    <a:pt x="232" y="49"/>
                  </a:lnTo>
                  <a:lnTo>
                    <a:pt x="226" y="49"/>
                  </a:lnTo>
                  <a:lnTo>
                    <a:pt x="226" y="43"/>
                  </a:lnTo>
                  <a:lnTo>
                    <a:pt x="226" y="36"/>
                  </a:lnTo>
                  <a:lnTo>
                    <a:pt x="220" y="36"/>
                  </a:lnTo>
                  <a:lnTo>
                    <a:pt x="214" y="36"/>
                  </a:lnTo>
                  <a:lnTo>
                    <a:pt x="214" y="30"/>
                  </a:lnTo>
                  <a:lnTo>
                    <a:pt x="214" y="24"/>
                  </a:lnTo>
                  <a:lnTo>
                    <a:pt x="208" y="24"/>
                  </a:lnTo>
                  <a:lnTo>
                    <a:pt x="202" y="24"/>
                  </a:lnTo>
                  <a:lnTo>
                    <a:pt x="202" y="30"/>
                  </a:lnTo>
                  <a:lnTo>
                    <a:pt x="196" y="30"/>
                  </a:lnTo>
                  <a:lnTo>
                    <a:pt x="190" y="30"/>
                  </a:lnTo>
                  <a:lnTo>
                    <a:pt x="183" y="24"/>
                  </a:lnTo>
                  <a:lnTo>
                    <a:pt x="177" y="30"/>
                  </a:lnTo>
                  <a:lnTo>
                    <a:pt x="177" y="24"/>
                  </a:lnTo>
                  <a:lnTo>
                    <a:pt x="171" y="24"/>
                  </a:lnTo>
                  <a:lnTo>
                    <a:pt x="165" y="24"/>
                  </a:lnTo>
                  <a:lnTo>
                    <a:pt x="159" y="24"/>
                  </a:lnTo>
                  <a:lnTo>
                    <a:pt x="153" y="24"/>
                  </a:lnTo>
                  <a:lnTo>
                    <a:pt x="153" y="18"/>
                  </a:lnTo>
                  <a:lnTo>
                    <a:pt x="147" y="18"/>
                  </a:lnTo>
                  <a:lnTo>
                    <a:pt x="147" y="12"/>
                  </a:lnTo>
                  <a:lnTo>
                    <a:pt x="147" y="18"/>
                  </a:lnTo>
                  <a:lnTo>
                    <a:pt x="147" y="12"/>
                  </a:lnTo>
                  <a:lnTo>
                    <a:pt x="140" y="12"/>
                  </a:lnTo>
                  <a:lnTo>
                    <a:pt x="140" y="18"/>
                  </a:lnTo>
                  <a:lnTo>
                    <a:pt x="140" y="24"/>
                  </a:lnTo>
                  <a:lnTo>
                    <a:pt x="134" y="24"/>
                  </a:lnTo>
                  <a:lnTo>
                    <a:pt x="128" y="24"/>
                  </a:lnTo>
                  <a:lnTo>
                    <a:pt x="128" y="30"/>
                  </a:lnTo>
                  <a:lnTo>
                    <a:pt x="122" y="30"/>
                  </a:lnTo>
                  <a:lnTo>
                    <a:pt x="122" y="36"/>
                  </a:lnTo>
                  <a:lnTo>
                    <a:pt x="122" y="43"/>
                  </a:lnTo>
                  <a:lnTo>
                    <a:pt x="116" y="43"/>
                  </a:lnTo>
                  <a:lnTo>
                    <a:pt x="110" y="43"/>
                  </a:lnTo>
                  <a:lnTo>
                    <a:pt x="104" y="43"/>
                  </a:lnTo>
                  <a:lnTo>
                    <a:pt x="98" y="49"/>
                  </a:lnTo>
                  <a:lnTo>
                    <a:pt x="98" y="55"/>
                  </a:lnTo>
                  <a:lnTo>
                    <a:pt x="91" y="61"/>
                  </a:lnTo>
                  <a:lnTo>
                    <a:pt x="85" y="61"/>
                  </a:lnTo>
                  <a:lnTo>
                    <a:pt x="85" y="67"/>
                  </a:lnTo>
                  <a:lnTo>
                    <a:pt x="85" y="73"/>
                  </a:lnTo>
                  <a:lnTo>
                    <a:pt x="85" y="79"/>
                  </a:lnTo>
                  <a:lnTo>
                    <a:pt x="79" y="85"/>
                  </a:lnTo>
                  <a:lnTo>
                    <a:pt x="79" y="92"/>
                  </a:lnTo>
                  <a:lnTo>
                    <a:pt x="79" y="98"/>
                  </a:lnTo>
                  <a:lnTo>
                    <a:pt x="73" y="98"/>
                  </a:lnTo>
                  <a:lnTo>
                    <a:pt x="73" y="104"/>
                  </a:lnTo>
                  <a:lnTo>
                    <a:pt x="67" y="104"/>
                  </a:lnTo>
                  <a:lnTo>
                    <a:pt x="73" y="110"/>
                  </a:lnTo>
                  <a:lnTo>
                    <a:pt x="73" y="116"/>
                  </a:lnTo>
                  <a:lnTo>
                    <a:pt x="67" y="116"/>
                  </a:lnTo>
                  <a:lnTo>
                    <a:pt x="67" y="122"/>
                  </a:lnTo>
                  <a:lnTo>
                    <a:pt x="61" y="122"/>
                  </a:lnTo>
                  <a:lnTo>
                    <a:pt x="61" y="128"/>
                  </a:lnTo>
                  <a:lnTo>
                    <a:pt x="61" y="134"/>
                  </a:lnTo>
                  <a:lnTo>
                    <a:pt x="61" y="141"/>
                  </a:lnTo>
                  <a:lnTo>
                    <a:pt x="55" y="141"/>
                  </a:lnTo>
                  <a:lnTo>
                    <a:pt x="55" y="147"/>
                  </a:lnTo>
                  <a:lnTo>
                    <a:pt x="49" y="147"/>
                  </a:lnTo>
                  <a:lnTo>
                    <a:pt x="49" y="153"/>
                  </a:lnTo>
                  <a:lnTo>
                    <a:pt x="55" y="153"/>
                  </a:lnTo>
                  <a:lnTo>
                    <a:pt x="55" y="159"/>
                  </a:lnTo>
                  <a:lnTo>
                    <a:pt x="49" y="159"/>
                  </a:lnTo>
                  <a:lnTo>
                    <a:pt x="49" y="165"/>
                  </a:lnTo>
                  <a:lnTo>
                    <a:pt x="49" y="171"/>
                  </a:lnTo>
                  <a:lnTo>
                    <a:pt x="42" y="171"/>
                  </a:lnTo>
                  <a:lnTo>
                    <a:pt x="42" y="177"/>
                  </a:lnTo>
                  <a:lnTo>
                    <a:pt x="36" y="171"/>
                  </a:lnTo>
                  <a:lnTo>
                    <a:pt x="30" y="171"/>
                  </a:lnTo>
                  <a:lnTo>
                    <a:pt x="24" y="171"/>
                  </a:lnTo>
                  <a:lnTo>
                    <a:pt x="24" y="177"/>
                  </a:lnTo>
                  <a:lnTo>
                    <a:pt x="24" y="183"/>
                  </a:lnTo>
                  <a:lnTo>
                    <a:pt x="18" y="183"/>
                  </a:lnTo>
                  <a:lnTo>
                    <a:pt x="12" y="177"/>
                  </a:lnTo>
                  <a:lnTo>
                    <a:pt x="12" y="183"/>
                  </a:lnTo>
                  <a:lnTo>
                    <a:pt x="6" y="183"/>
                  </a:lnTo>
                  <a:lnTo>
                    <a:pt x="0" y="18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2622" name="Freeform 349"/>
            <p:cNvSpPr>
              <a:spLocks/>
            </p:cNvSpPr>
            <p:nvPr/>
          </p:nvSpPr>
          <p:spPr bwMode="auto">
            <a:xfrm>
              <a:off x="4438057" y="5125576"/>
              <a:ext cx="355691" cy="564794"/>
            </a:xfrm>
            <a:custGeom>
              <a:avLst/>
              <a:gdLst>
                <a:gd name="T0" fmla="*/ 30241879 w 220"/>
                <a:gd name="T1" fmla="*/ 819051514 h 386"/>
                <a:gd name="T2" fmla="*/ 30241879 w 220"/>
                <a:gd name="T3" fmla="*/ 819051514 h 386"/>
                <a:gd name="T4" fmla="*/ 30241879 w 220"/>
                <a:gd name="T5" fmla="*/ 834172646 h 386"/>
                <a:gd name="T6" fmla="*/ 30241879 w 220"/>
                <a:gd name="T7" fmla="*/ 834172646 h 386"/>
                <a:gd name="T8" fmla="*/ 45362812 w 220"/>
                <a:gd name="T9" fmla="*/ 864414511 h 386"/>
                <a:gd name="T10" fmla="*/ 60483758 w 220"/>
                <a:gd name="T11" fmla="*/ 897175738 h 386"/>
                <a:gd name="T12" fmla="*/ 75604691 w 220"/>
                <a:gd name="T13" fmla="*/ 927417604 h 386"/>
                <a:gd name="T14" fmla="*/ 93246574 w 220"/>
                <a:gd name="T15" fmla="*/ 942538536 h 386"/>
                <a:gd name="T16" fmla="*/ 108367532 w 220"/>
                <a:gd name="T17" fmla="*/ 942538536 h 386"/>
                <a:gd name="T18" fmla="*/ 108367532 w 220"/>
                <a:gd name="T19" fmla="*/ 879535444 h 386"/>
                <a:gd name="T20" fmla="*/ 138609399 w 220"/>
                <a:gd name="T21" fmla="*/ 803930582 h 386"/>
                <a:gd name="T22" fmla="*/ 168851265 w 220"/>
                <a:gd name="T23" fmla="*/ 819051514 h 386"/>
                <a:gd name="T24" fmla="*/ 216733477 w 220"/>
                <a:gd name="T25" fmla="*/ 803930582 h 386"/>
                <a:gd name="T26" fmla="*/ 246975343 w 220"/>
                <a:gd name="T27" fmla="*/ 864414511 h 386"/>
                <a:gd name="T28" fmla="*/ 262096277 w 220"/>
                <a:gd name="T29" fmla="*/ 942538536 h 386"/>
                <a:gd name="T30" fmla="*/ 277217210 w 220"/>
                <a:gd name="T31" fmla="*/ 912296671 h 386"/>
                <a:gd name="T32" fmla="*/ 355342826 w 220"/>
                <a:gd name="T33" fmla="*/ 849293578 h 386"/>
                <a:gd name="T34" fmla="*/ 478829753 w 220"/>
                <a:gd name="T35" fmla="*/ 849293578 h 386"/>
                <a:gd name="T36" fmla="*/ 493950686 w 220"/>
                <a:gd name="T37" fmla="*/ 740925902 h 386"/>
                <a:gd name="T38" fmla="*/ 524192553 w 220"/>
                <a:gd name="T39" fmla="*/ 710684036 h 386"/>
                <a:gd name="T40" fmla="*/ 539313486 w 220"/>
                <a:gd name="T41" fmla="*/ 650200305 h 386"/>
                <a:gd name="T42" fmla="*/ 493950686 w 220"/>
                <a:gd name="T43" fmla="*/ 602316558 h 386"/>
                <a:gd name="T44" fmla="*/ 478829753 w 220"/>
                <a:gd name="T45" fmla="*/ 526711894 h 386"/>
                <a:gd name="T46" fmla="*/ 509071620 w 220"/>
                <a:gd name="T47" fmla="*/ 463708802 h 386"/>
                <a:gd name="T48" fmla="*/ 524192553 w 220"/>
                <a:gd name="T49" fmla="*/ 418346004 h 386"/>
                <a:gd name="T50" fmla="*/ 493950686 w 220"/>
                <a:gd name="T51" fmla="*/ 385584677 h 386"/>
                <a:gd name="T52" fmla="*/ 524192553 w 220"/>
                <a:gd name="T53" fmla="*/ 370463745 h 386"/>
                <a:gd name="T54" fmla="*/ 493950686 w 220"/>
                <a:gd name="T55" fmla="*/ 325100946 h 386"/>
                <a:gd name="T56" fmla="*/ 446068525 w 220"/>
                <a:gd name="T57" fmla="*/ 370463745 h 386"/>
                <a:gd name="T58" fmla="*/ 385584692 w 220"/>
                <a:gd name="T59" fmla="*/ 325100946 h 386"/>
                <a:gd name="T60" fmla="*/ 355342826 w 220"/>
                <a:gd name="T61" fmla="*/ 294857493 h 386"/>
                <a:gd name="T62" fmla="*/ 355342826 w 220"/>
                <a:gd name="T63" fmla="*/ 262096266 h 386"/>
                <a:gd name="T64" fmla="*/ 340221892 w 220"/>
                <a:gd name="T65" fmla="*/ 216733468 h 386"/>
                <a:gd name="T66" fmla="*/ 307459076 w 220"/>
                <a:gd name="T67" fmla="*/ 186491553 h 386"/>
                <a:gd name="T68" fmla="*/ 277217210 w 220"/>
                <a:gd name="T69" fmla="*/ 108367528 h 386"/>
                <a:gd name="T70" fmla="*/ 246975343 w 220"/>
                <a:gd name="T71" fmla="*/ 63003117 h 386"/>
                <a:gd name="T72" fmla="*/ 216733477 w 220"/>
                <a:gd name="T73" fmla="*/ 15120939 h 386"/>
                <a:gd name="T74" fmla="*/ 168851265 w 220"/>
                <a:gd name="T75" fmla="*/ 15120939 h 386"/>
                <a:gd name="T76" fmla="*/ 138609399 w 220"/>
                <a:gd name="T77" fmla="*/ 15120939 h 386"/>
                <a:gd name="T78" fmla="*/ 108367532 w 220"/>
                <a:gd name="T79" fmla="*/ 47883760 h 386"/>
                <a:gd name="T80" fmla="*/ 93246574 w 220"/>
                <a:gd name="T81" fmla="*/ 47883760 h 386"/>
                <a:gd name="T82" fmla="*/ 75604691 w 220"/>
                <a:gd name="T83" fmla="*/ 47883760 h 386"/>
                <a:gd name="T84" fmla="*/ 60483758 w 220"/>
                <a:gd name="T85" fmla="*/ 123486873 h 386"/>
                <a:gd name="T86" fmla="*/ 60483758 w 220"/>
                <a:gd name="T87" fmla="*/ 156249688 h 386"/>
                <a:gd name="T88" fmla="*/ 93246574 w 220"/>
                <a:gd name="T89" fmla="*/ 216733468 h 386"/>
                <a:gd name="T90" fmla="*/ 108367532 w 220"/>
                <a:gd name="T91" fmla="*/ 216733468 h 386"/>
                <a:gd name="T92" fmla="*/ 75604691 w 220"/>
                <a:gd name="T93" fmla="*/ 231854401 h 386"/>
                <a:gd name="T94" fmla="*/ 60483758 w 220"/>
                <a:gd name="T95" fmla="*/ 294857493 h 386"/>
                <a:gd name="T96" fmla="*/ 93246574 w 220"/>
                <a:gd name="T97" fmla="*/ 294857493 h 386"/>
                <a:gd name="T98" fmla="*/ 93246574 w 220"/>
                <a:gd name="T99" fmla="*/ 355342812 h 386"/>
                <a:gd name="T100" fmla="*/ 75604691 w 220"/>
                <a:gd name="T101" fmla="*/ 385584677 h 386"/>
                <a:gd name="T102" fmla="*/ 108367532 w 220"/>
                <a:gd name="T103" fmla="*/ 433466936 h 386"/>
                <a:gd name="T104" fmla="*/ 138609399 w 220"/>
                <a:gd name="T105" fmla="*/ 478829735 h 386"/>
                <a:gd name="T106" fmla="*/ 123488465 w 220"/>
                <a:gd name="T107" fmla="*/ 493950667 h 386"/>
                <a:gd name="T108" fmla="*/ 108367532 w 220"/>
                <a:gd name="T109" fmla="*/ 526711894 h 386"/>
                <a:gd name="T110" fmla="*/ 108367532 w 220"/>
                <a:gd name="T111" fmla="*/ 587195625 h 386"/>
                <a:gd name="T112" fmla="*/ 93246574 w 220"/>
                <a:gd name="T113" fmla="*/ 587195625 h 386"/>
                <a:gd name="T114" fmla="*/ 75604691 w 220"/>
                <a:gd name="T115" fmla="*/ 632558423 h 386"/>
                <a:gd name="T116" fmla="*/ 45362812 w 220"/>
                <a:gd name="T117" fmla="*/ 632558423 h 386"/>
                <a:gd name="T118" fmla="*/ 30241879 w 220"/>
                <a:gd name="T119" fmla="*/ 695563103 h 386"/>
                <a:gd name="T120" fmla="*/ 15120940 w 220"/>
                <a:gd name="T121" fmla="*/ 756046834 h 386"/>
                <a:gd name="T122" fmla="*/ 0 w 220"/>
                <a:gd name="T123" fmla="*/ 819051514 h 3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0"/>
                <a:gd name="T187" fmla="*/ 0 h 386"/>
                <a:gd name="T188" fmla="*/ 220 w 220"/>
                <a:gd name="T189" fmla="*/ 386 h 3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0" h="386">
                  <a:moveTo>
                    <a:pt x="0" y="325"/>
                  </a:moveTo>
                  <a:lnTo>
                    <a:pt x="6" y="325"/>
                  </a:lnTo>
                  <a:lnTo>
                    <a:pt x="12" y="325"/>
                  </a:lnTo>
                  <a:lnTo>
                    <a:pt x="6" y="325"/>
                  </a:lnTo>
                  <a:lnTo>
                    <a:pt x="12" y="319"/>
                  </a:lnTo>
                  <a:lnTo>
                    <a:pt x="12" y="325"/>
                  </a:lnTo>
                  <a:lnTo>
                    <a:pt x="12" y="331"/>
                  </a:lnTo>
                  <a:lnTo>
                    <a:pt x="12" y="325"/>
                  </a:lnTo>
                  <a:lnTo>
                    <a:pt x="12" y="331"/>
                  </a:lnTo>
                  <a:lnTo>
                    <a:pt x="6" y="325"/>
                  </a:lnTo>
                  <a:lnTo>
                    <a:pt x="6" y="331"/>
                  </a:lnTo>
                  <a:lnTo>
                    <a:pt x="12" y="331"/>
                  </a:lnTo>
                  <a:lnTo>
                    <a:pt x="12" y="337"/>
                  </a:lnTo>
                  <a:lnTo>
                    <a:pt x="12" y="343"/>
                  </a:lnTo>
                  <a:lnTo>
                    <a:pt x="18" y="343"/>
                  </a:lnTo>
                  <a:lnTo>
                    <a:pt x="18" y="349"/>
                  </a:lnTo>
                  <a:lnTo>
                    <a:pt x="24" y="349"/>
                  </a:lnTo>
                  <a:lnTo>
                    <a:pt x="24" y="356"/>
                  </a:lnTo>
                  <a:lnTo>
                    <a:pt x="30" y="356"/>
                  </a:lnTo>
                  <a:lnTo>
                    <a:pt x="30" y="362"/>
                  </a:lnTo>
                  <a:lnTo>
                    <a:pt x="30" y="368"/>
                  </a:lnTo>
                  <a:lnTo>
                    <a:pt x="37" y="368"/>
                  </a:lnTo>
                  <a:lnTo>
                    <a:pt x="30" y="368"/>
                  </a:lnTo>
                  <a:lnTo>
                    <a:pt x="37" y="374"/>
                  </a:lnTo>
                  <a:lnTo>
                    <a:pt x="43" y="374"/>
                  </a:lnTo>
                  <a:lnTo>
                    <a:pt x="43" y="380"/>
                  </a:lnTo>
                  <a:lnTo>
                    <a:pt x="43" y="374"/>
                  </a:lnTo>
                  <a:lnTo>
                    <a:pt x="43" y="368"/>
                  </a:lnTo>
                  <a:lnTo>
                    <a:pt x="43" y="356"/>
                  </a:lnTo>
                  <a:lnTo>
                    <a:pt x="43" y="349"/>
                  </a:lnTo>
                  <a:lnTo>
                    <a:pt x="49" y="337"/>
                  </a:lnTo>
                  <a:lnTo>
                    <a:pt x="49" y="331"/>
                  </a:lnTo>
                  <a:lnTo>
                    <a:pt x="55" y="319"/>
                  </a:lnTo>
                  <a:lnTo>
                    <a:pt x="61" y="313"/>
                  </a:lnTo>
                  <a:lnTo>
                    <a:pt x="61" y="307"/>
                  </a:lnTo>
                  <a:lnTo>
                    <a:pt x="67" y="325"/>
                  </a:lnTo>
                  <a:lnTo>
                    <a:pt x="73" y="319"/>
                  </a:lnTo>
                  <a:lnTo>
                    <a:pt x="79" y="319"/>
                  </a:lnTo>
                  <a:lnTo>
                    <a:pt x="86" y="319"/>
                  </a:lnTo>
                  <a:lnTo>
                    <a:pt x="86" y="337"/>
                  </a:lnTo>
                  <a:lnTo>
                    <a:pt x="92" y="337"/>
                  </a:lnTo>
                  <a:lnTo>
                    <a:pt x="98" y="343"/>
                  </a:lnTo>
                  <a:lnTo>
                    <a:pt x="98" y="349"/>
                  </a:lnTo>
                  <a:lnTo>
                    <a:pt x="104" y="368"/>
                  </a:lnTo>
                  <a:lnTo>
                    <a:pt x="104" y="374"/>
                  </a:lnTo>
                  <a:lnTo>
                    <a:pt x="104" y="386"/>
                  </a:lnTo>
                  <a:lnTo>
                    <a:pt x="110" y="374"/>
                  </a:lnTo>
                  <a:lnTo>
                    <a:pt x="110" y="362"/>
                  </a:lnTo>
                  <a:lnTo>
                    <a:pt x="128" y="349"/>
                  </a:lnTo>
                  <a:lnTo>
                    <a:pt x="135" y="356"/>
                  </a:lnTo>
                  <a:lnTo>
                    <a:pt x="141" y="337"/>
                  </a:lnTo>
                  <a:lnTo>
                    <a:pt x="159" y="343"/>
                  </a:lnTo>
                  <a:lnTo>
                    <a:pt x="165" y="337"/>
                  </a:lnTo>
                  <a:lnTo>
                    <a:pt x="190" y="337"/>
                  </a:lnTo>
                  <a:lnTo>
                    <a:pt x="196" y="337"/>
                  </a:lnTo>
                  <a:lnTo>
                    <a:pt x="196" y="300"/>
                  </a:lnTo>
                  <a:lnTo>
                    <a:pt x="196" y="294"/>
                  </a:lnTo>
                  <a:lnTo>
                    <a:pt x="202" y="288"/>
                  </a:lnTo>
                  <a:lnTo>
                    <a:pt x="208" y="288"/>
                  </a:lnTo>
                  <a:lnTo>
                    <a:pt x="208" y="282"/>
                  </a:lnTo>
                  <a:lnTo>
                    <a:pt x="220" y="270"/>
                  </a:lnTo>
                  <a:lnTo>
                    <a:pt x="220" y="264"/>
                  </a:lnTo>
                  <a:lnTo>
                    <a:pt x="214" y="258"/>
                  </a:lnTo>
                  <a:lnTo>
                    <a:pt x="208" y="245"/>
                  </a:lnTo>
                  <a:lnTo>
                    <a:pt x="202" y="239"/>
                  </a:lnTo>
                  <a:lnTo>
                    <a:pt x="196" y="239"/>
                  </a:lnTo>
                  <a:lnTo>
                    <a:pt x="196" y="221"/>
                  </a:lnTo>
                  <a:lnTo>
                    <a:pt x="190" y="221"/>
                  </a:lnTo>
                  <a:lnTo>
                    <a:pt x="190" y="209"/>
                  </a:lnTo>
                  <a:lnTo>
                    <a:pt x="190" y="190"/>
                  </a:lnTo>
                  <a:lnTo>
                    <a:pt x="196" y="190"/>
                  </a:lnTo>
                  <a:lnTo>
                    <a:pt x="202" y="184"/>
                  </a:lnTo>
                  <a:lnTo>
                    <a:pt x="202" y="178"/>
                  </a:lnTo>
                  <a:lnTo>
                    <a:pt x="208" y="172"/>
                  </a:lnTo>
                  <a:lnTo>
                    <a:pt x="208" y="166"/>
                  </a:lnTo>
                  <a:lnTo>
                    <a:pt x="202" y="166"/>
                  </a:lnTo>
                  <a:lnTo>
                    <a:pt x="196" y="160"/>
                  </a:lnTo>
                  <a:lnTo>
                    <a:pt x="196" y="153"/>
                  </a:lnTo>
                  <a:lnTo>
                    <a:pt x="196" y="147"/>
                  </a:lnTo>
                  <a:lnTo>
                    <a:pt x="202" y="147"/>
                  </a:lnTo>
                  <a:lnTo>
                    <a:pt x="208" y="147"/>
                  </a:lnTo>
                  <a:lnTo>
                    <a:pt x="208" y="141"/>
                  </a:lnTo>
                  <a:lnTo>
                    <a:pt x="202" y="141"/>
                  </a:lnTo>
                  <a:lnTo>
                    <a:pt x="196" y="129"/>
                  </a:lnTo>
                  <a:lnTo>
                    <a:pt x="184" y="135"/>
                  </a:lnTo>
                  <a:lnTo>
                    <a:pt x="177" y="153"/>
                  </a:lnTo>
                  <a:lnTo>
                    <a:pt x="177" y="147"/>
                  </a:lnTo>
                  <a:lnTo>
                    <a:pt x="171" y="135"/>
                  </a:lnTo>
                  <a:lnTo>
                    <a:pt x="153" y="135"/>
                  </a:lnTo>
                  <a:lnTo>
                    <a:pt x="153" y="129"/>
                  </a:lnTo>
                  <a:lnTo>
                    <a:pt x="153" y="123"/>
                  </a:lnTo>
                  <a:lnTo>
                    <a:pt x="141" y="123"/>
                  </a:lnTo>
                  <a:lnTo>
                    <a:pt x="141" y="117"/>
                  </a:lnTo>
                  <a:lnTo>
                    <a:pt x="153" y="117"/>
                  </a:lnTo>
                  <a:lnTo>
                    <a:pt x="153" y="111"/>
                  </a:lnTo>
                  <a:lnTo>
                    <a:pt x="141" y="104"/>
                  </a:lnTo>
                  <a:lnTo>
                    <a:pt x="147" y="92"/>
                  </a:lnTo>
                  <a:lnTo>
                    <a:pt x="147" y="86"/>
                  </a:lnTo>
                  <a:lnTo>
                    <a:pt x="135" y="86"/>
                  </a:lnTo>
                  <a:lnTo>
                    <a:pt x="135" y="80"/>
                  </a:lnTo>
                  <a:lnTo>
                    <a:pt x="128" y="80"/>
                  </a:lnTo>
                  <a:lnTo>
                    <a:pt x="122" y="74"/>
                  </a:lnTo>
                  <a:lnTo>
                    <a:pt x="116" y="68"/>
                  </a:lnTo>
                  <a:lnTo>
                    <a:pt x="116" y="37"/>
                  </a:lnTo>
                  <a:lnTo>
                    <a:pt x="110" y="43"/>
                  </a:lnTo>
                  <a:lnTo>
                    <a:pt x="110" y="37"/>
                  </a:lnTo>
                  <a:lnTo>
                    <a:pt x="104" y="25"/>
                  </a:lnTo>
                  <a:lnTo>
                    <a:pt x="98" y="25"/>
                  </a:lnTo>
                  <a:lnTo>
                    <a:pt x="98" y="19"/>
                  </a:lnTo>
                  <a:lnTo>
                    <a:pt x="92" y="19"/>
                  </a:lnTo>
                  <a:lnTo>
                    <a:pt x="86" y="6"/>
                  </a:lnTo>
                  <a:lnTo>
                    <a:pt x="79" y="6"/>
                  </a:lnTo>
                  <a:lnTo>
                    <a:pt x="73" y="6"/>
                  </a:lnTo>
                  <a:lnTo>
                    <a:pt x="67" y="6"/>
                  </a:lnTo>
                  <a:lnTo>
                    <a:pt x="61" y="6"/>
                  </a:lnTo>
                  <a:lnTo>
                    <a:pt x="61" y="0"/>
                  </a:lnTo>
                  <a:lnTo>
                    <a:pt x="55" y="6"/>
                  </a:lnTo>
                  <a:lnTo>
                    <a:pt x="49" y="6"/>
                  </a:lnTo>
                  <a:lnTo>
                    <a:pt x="49" y="13"/>
                  </a:lnTo>
                  <a:lnTo>
                    <a:pt x="43" y="19"/>
                  </a:lnTo>
                  <a:lnTo>
                    <a:pt x="43" y="13"/>
                  </a:lnTo>
                  <a:lnTo>
                    <a:pt x="43" y="19"/>
                  </a:lnTo>
                  <a:lnTo>
                    <a:pt x="37" y="19"/>
                  </a:lnTo>
                  <a:lnTo>
                    <a:pt x="30" y="19"/>
                  </a:lnTo>
                  <a:lnTo>
                    <a:pt x="30" y="13"/>
                  </a:lnTo>
                  <a:lnTo>
                    <a:pt x="30" y="19"/>
                  </a:lnTo>
                  <a:lnTo>
                    <a:pt x="24" y="25"/>
                  </a:lnTo>
                  <a:lnTo>
                    <a:pt x="18" y="25"/>
                  </a:lnTo>
                  <a:lnTo>
                    <a:pt x="24" y="49"/>
                  </a:lnTo>
                  <a:lnTo>
                    <a:pt x="24" y="55"/>
                  </a:lnTo>
                  <a:lnTo>
                    <a:pt x="30" y="62"/>
                  </a:lnTo>
                  <a:lnTo>
                    <a:pt x="24" y="62"/>
                  </a:lnTo>
                  <a:lnTo>
                    <a:pt x="30" y="74"/>
                  </a:lnTo>
                  <a:lnTo>
                    <a:pt x="37" y="80"/>
                  </a:lnTo>
                  <a:lnTo>
                    <a:pt x="37" y="86"/>
                  </a:lnTo>
                  <a:lnTo>
                    <a:pt x="49" y="86"/>
                  </a:lnTo>
                  <a:lnTo>
                    <a:pt x="49" y="92"/>
                  </a:lnTo>
                  <a:lnTo>
                    <a:pt x="43" y="86"/>
                  </a:lnTo>
                  <a:lnTo>
                    <a:pt x="43" y="92"/>
                  </a:lnTo>
                  <a:lnTo>
                    <a:pt x="37" y="86"/>
                  </a:lnTo>
                  <a:lnTo>
                    <a:pt x="30" y="92"/>
                  </a:lnTo>
                  <a:lnTo>
                    <a:pt x="30" y="104"/>
                  </a:lnTo>
                  <a:lnTo>
                    <a:pt x="37" y="111"/>
                  </a:lnTo>
                  <a:lnTo>
                    <a:pt x="24" y="117"/>
                  </a:lnTo>
                  <a:lnTo>
                    <a:pt x="30" y="117"/>
                  </a:lnTo>
                  <a:lnTo>
                    <a:pt x="37" y="111"/>
                  </a:lnTo>
                  <a:lnTo>
                    <a:pt x="37" y="117"/>
                  </a:lnTo>
                  <a:lnTo>
                    <a:pt x="43" y="117"/>
                  </a:lnTo>
                  <a:lnTo>
                    <a:pt x="43" y="123"/>
                  </a:lnTo>
                  <a:lnTo>
                    <a:pt x="37" y="141"/>
                  </a:lnTo>
                  <a:lnTo>
                    <a:pt x="37" y="147"/>
                  </a:lnTo>
                  <a:lnTo>
                    <a:pt x="30" y="147"/>
                  </a:lnTo>
                  <a:lnTo>
                    <a:pt x="30" y="153"/>
                  </a:lnTo>
                  <a:lnTo>
                    <a:pt x="30" y="160"/>
                  </a:lnTo>
                  <a:lnTo>
                    <a:pt x="30" y="166"/>
                  </a:lnTo>
                  <a:lnTo>
                    <a:pt x="43" y="172"/>
                  </a:lnTo>
                  <a:lnTo>
                    <a:pt x="43" y="178"/>
                  </a:lnTo>
                  <a:lnTo>
                    <a:pt x="49" y="178"/>
                  </a:lnTo>
                  <a:lnTo>
                    <a:pt x="55" y="190"/>
                  </a:lnTo>
                  <a:lnTo>
                    <a:pt x="55" y="184"/>
                  </a:lnTo>
                  <a:lnTo>
                    <a:pt x="55" y="190"/>
                  </a:lnTo>
                  <a:lnTo>
                    <a:pt x="49" y="196"/>
                  </a:lnTo>
                  <a:lnTo>
                    <a:pt x="43" y="190"/>
                  </a:lnTo>
                  <a:lnTo>
                    <a:pt x="37" y="190"/>
                  </a:lnTo>
                  <a:lnTo>
                    <a:pt x="43" y="209"/>
                  </a:lnTo>
                  <a:lnTo>
                    <a:pt x="49" y="221"/>
                  </a:lnTo>
                  <a:lnTo>
                    <a:pt x="49" y="227"/>
                  </a:lnTo>
                  <a:lnTo>
                    <a:pt x="43" y="233"/>
                  </a:lnTo>
                  <a:lnTo>
                    <a:pt x="43" y="227"/>
                  </a:lnTo>
                  <a:lnTo>
                    <a:pt x="37" y="227"/>
                  </a:lnTo>
                  <a:lnTo>
                    <a:pt x="37" y="233"/>
                  </a:lnTo>
                  <a:lnTo>
                    <a:pt x="24" y="233"/>
                  </a:lnTo>
                  <a:lnTo>
                    <a:pt x="24" y="239"/>
                  </a:lnTo>
                  <a:lnTo>
                    <a:pt x="30" y="251"/>
                  </a:lnTo>
                  <a:lnTo>
                    <a:pt x="24" y="258"/>
                  </a:lnTo>
                  <a:lnTo>
                    <a:pt x="24" y="245"/>
                  </a:lnTo>
                  <a:lnTo>
                    <a:pt x="18" y="251"/>
                  </a:lnTo>
                  <a:lnTo>
                    <a:pt x="12" y="251"/>
                  </a:lnTo>
                  <a:lnTo>
                    <a:pt x="6" y="264"/>
                  </a:lnTo>
                  <a:lnTo>
                    <a:pt x="12" y="276"/>
                  </a:lnTo>
                  <a:lnTo>
                    <a:pt x="0" y="276"/>
                  </a:lnTo>
                  <a:lnTo>
                    <a:pt x="0" y="300"/>
                  </a:lnTo>
                  <a:lnTo>
                    <a:pt x="6" y="300"/>
                  </a:lnTo>
                  <a:lnTo>
                    <a:pt x="6" y="313"/>
                  </a:lnTo>
                  <a:lnTo>
                    <a:pt x="0" y="319"/>
                  </a:lnTo>
                  <a:lnTo>
                    <a:pt x="0" y="32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grpSp>
    </p:spTree>
    <p:extLst>
      <p:ext uri="{BB962C8B-B14F-4D97-AF65-F5344CB8AC3E}">
        <p14:creationId xmlns:p14="http://schemas.microsoft.com/office/powerpoint/2010/main" val="1705428221"/>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AAAE1AA0-7147-415B-846D-8CEA97DB18A9}"/>
              </a:ext>
            </a:extLst>
          </p:cNvPr>
          <p:cNvGraphicFramePr>
            <a:graphicFrameLocks noChangeAspect="1"/>
          </p:cNvGraphicFramePr>
          <p:nvPr>
            <p:custDataLst>
              <p:tags r:id="rId1"/>
            </p:custDataLst>
            <p:extLst>
              <p:ext uri="{D42A27DB-BD31-4B8C-83A1-F6EECF244321}">
                <p14:modId xmlns:p14="http://schemas.microsoft.com/office/powerpoint/2010/main" val="32411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8" name="Objet 7" hidden="1">
                        <a:extLst>
                          <a:ext uri="{FF2B5EF4-FFF2-40B4-BE49-F238E27FC236}">
                            <a16:creationId xmlns:a16="http://schemas.microsoft.com/office/drawing/2014/main" id="{AAAE1AA0-7147-415B-846D-8CEA97DB1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e 1"/>
          <p:cNvGrpSpPr>
            <a:grpSpLocks noChangeAspect="1"/>
          </p:cNvGrpSpPr>
          <p:nvPr/>
        </p:nvGrpSpPr>
        <p:grpSpPr>
          <a:xfrm>
            <a:off x="3945537" y="1266423"/>
            <a:ext cx="4300926" cy="5120289"/>
            <a:chOff x="2804507" y="1072383"/>
            <a:chExt cx="4300926" cy="5120289"/>
          </a:xfrm>
          <a:solidFill>
            <a:schemeClr val="accent3"/>
          </a:solidFill>
        </p:grpSpPr>
        <p:sp>
          <p:nvSpPr>
            <p:cNvPr id="39" name="Freeform 2"/>
            <p:cNvSpPr>
              <a:spLocks noChangeAspect="1"/>
            </p:cNvSpPr>
            <p:nvPr/>
          </p:nvSpPr>
          <p:spPr bwMode="auto">
            <a:xfrm>
              <a:off x="2804507" y="1072383"/>
              <a:ext cx="4296986" cy="4713234"/>
            </a:xfrm>
            <a:custGeom>
              <a:avLst/>
              <a:gdLst/>
              <a:ahLst/>
              <a:cxnLst>
                <a:cxn ang="0">
                  <a:pos x="12174" y="18513"/>
                </a:cxn>
                <a:cxn ang="0">
                  <a:pos x="11905" y="19706"/>
                </a:cxn>
                <a:cxn ang="0">
                  <a:pos x="10048" y="19424"/>
                </a:cxn>
                <a:cxn ang="0">
                  <a:pos x="8109" y="18940"/>
                </a:cxn>
                <a:cxn ang="0">
                  <a:pos x="6868" y="19060"/>
                </a:cxn>
                <a:cxn ang="0">
                  <a:pos x="5756" y="18550"/>
                </a:cxn>
                <a:cxn ang="0">
                  <a:pos x="4103" y="17617"/>
                </a:cxn>
                <a:cxn ang="0">
                  <a:pos x="5387" y="14464"/>
                </a:cxn>
                <a:cxn ang="0">
                  <a:pos x="6001" y="13058"/>
                </a:cxn>
                <a:cxn ang="0">
                  <a:pos x="5387" y="11919"/>
                </a:cxn>
                <a:cxn ang="0">
                  <a:pos x="5427" y="10800"/>
                </a:cxn>
                <a:cxn ang="0">
                  <a:pos x="3753" y="8829"/>
                </a:cxn>
                <a:cxn ang="0">
                  <a:pos x="3425" y="8093"/>
                </a:cxn>
                <a:cxn ang="0">
                  <a:pos x="2844" y="7933"/>
                </a:cxn>
                <a:cxn ang="0">
                  <a:pos x="2477" y="7973"/>
                </a:cxn>
                <a:cxn ang="0">
                  <a:pos x="1172" y="6892"/>
                </a:cxn>
                <a:cxn ang="0">
                  <a:pos x="57" y="6425"/>
                </a:cxn>
                <a:cxn ang="0">
                  <a:pos x="348" y="5818"/>
                </a:cxn>
                <a:cxn ang="0">
                  <a:pos x="574" y="5861"/>
                </a:cxn>
                <a:cxn ang="0">
                  <a:pos x="329" y="5205"/>
                </a:cxn>
                <a:cxn ang="0">
                  <a:pos x="1341" y="5003"/>
                </a:cxn>
                <a:cxn ang="0">
                  <a:pos x="1874" y="5189"/>
                </a:cxn>
                <a:cxn ang="0">
                  <a:pos x="2886" y="5022"/>
                </a:cxn>
                <a:cxn ang="0">
                  <a:pos x="3713" y="5391"/>
                </a:cxn>
                <a:cxn ang="0">
                  <a:pos x="4103" y="5449"/>
                </a:cxn>
                <a:cxn ang="0">
                  <a:pos x="5075" y="5449"/>
                </a:cxn>
                <a:cxn ang="0">
                  <a:pos x="5037" y="4618"/>
                </a:cxn>
                <a:cxn ang="0">
                  <a:pos x="5570" y="3316"/>
                </a:cxn>
                <a:cxn ang="0">
                  <a:pos x="8045" y="3703"/>
                </a:cxn>
                <a:cxn ang="0">
                  <a:pos x="9902" y="1607"/>
                </a:cxn>
                <a:cxn ang="0">
                  <a:pos x="11822" y="895"/>
                </a:cxn>
                <a:cxn ang="0">
                  <a:pos x="13039" y="1769"/>
                </a:cxn>
                <a:cxn ang="0">
                  <a:pos x="13660" y="1769"/>
                </a:cxn>
                <a:cxn ang="0">
                  <a:pos x="13741" y="2463"/>
                </a:cxn>
                <a:cxn ang="0">
                  <a:pos x="14756" y="2237"/>
                </a:cxn>
                <a:cxn ang="0">
                  <a:pos x="15330" y="3114"/>
                </a:cxn>
                <a:cxn ang="0">
                  <a:pos x="15935" y="3478"/>
                </a:cxn>
                <a:cxn ang="0">
                  <a:pos x="16694" y="3560"/>
                </a:cxn>
                <a:cxn ang="0">
                  <a:pos x="17414" y="3826"/>
                </a:cxn>
                <a:cxn ang="0">
                  <a:pos x="18140" y="4131"/>
                </a:cxn>
                <a:cxn ang="0">
                  <a:pos x="18762" y="4108"/>
                </a:cxn>
                <a:cxn ang="0">
                  <a:pos x="19521" y="4352"/>
                </a:cxn>
                <a:cxn ang="0">
                  <a:pos x="19007" y="7950"/>
                </a:cxn>
                <a:cxn ang="0">
                  <a:pos x="18157" y="8319"/>
                </a:cxn>
                <a:cxn ang="0">
                  <a:pos x="17545" y="9644"/>
                </a:cxn>
                <a:cxn ang="0">
                  <a:pos x="16980" y="11127"/>
                </a:cxn>
                <a:cxn ang="0">
                  <a:pos x="18119" y="10619"/>
                </a:cxn>
                <a:cxn ang="0">
                  <a:pos x="18304" y="11775"/>
                </a:cxn>
                <a:cxn ang="0">
                  <a:pos x="18778" y="12612"/>
                </a:cxn>
                <a:cxn ang="0">
                  <a:pos x="18119" y="13646"/>
                </a:cxn>
                <a:cxn ang="0">
                  <a:pos x="18492" y="14809"/>
                </a:cxn>
                <a:cxn ang="0">
                  <a:pos x="19914" y="15479"/>
                </a:cxn>
                <a:cxn ang="0">
                  <a:pos x="19333" y="16640"/>
                </a:cxn>
                <a:cxn ang="0">
                  <a:pos x="18657" y="17269"/>
                </a:cxn>
                <a:cxn ang="0">
                  <a:pos x="18261" y="17899"/>
                </a:cxn>
                <a:cxn ang="0">
                  <a:pos x="17111" y="18082"/>
                </a:cxn>
                <a:cxn ang="0">
                  <a:pos x="16842" y="18045"/>
                </a:cxn>
                <a:cxn ang="0">
                  <a:pos x="15499" y="17514"/>
                </a:cxn>
                <a:cxn ang="0">
                  <a:pos x="15599" y="17472"/>
                </a:cxn>
              </a:cxnLst>
              <a:rect l="0" t="0" r="r" b="b"/>
              <a:pathLst>
                <a:path w="20000" h="20000">
                  <a:moveTo>
                    <a:pt x="14199" y="17389"/>
                  </a:moveTo>
                  <a:lnTo>
                    <a:pt x="14010" y="17286"/>
                  </a:lnTo>
                  <a:lnTo>
                    <a:pt x="14053" y="17248"/>
                  </a:lnTo>
                  <a:lnTo>
                    <a:pt x="13972" y="17166"/>
                  </a:lnTo>
                  <a:lnTo>
                    <a:pt x="12524" y="17981"/>
                  </a:lnTo>
                  <a:lnTo>
                    <a:pt x="12279" y="18327"/>
                  </a:lnTo>
                  <a:lnTo>
                    <a:pt x="12174" y="18223"/>
                  </a:lnTo>
                  <a:lnTo>
                    <a:pt x="12174" y="18327"/>
                  </a:lnTo>
                  <a:lnTo>
                    <a:pt x="12239" y="18350"/>
                  </a:lnTo>
                  <a:lnTo>
                    <a:pt x="12255" y="18327"/>
                  </a:lnTo>
                  <a:lnTo>
                    <a:pt x="12279" y="18327"/>
                  </a:lnTo>
                  <a:lnTo>
                    <a:pt x="12196" y="18592"/>
                  </a:lnTo>
                  <a:lnTo>
                    <a:pt x="12158" y="18571"/>
                  </a:lnTo>
                  <a:lnTo>
                    <a:pt x="12174" y="18513"/>
                  </a:lnTo>
                  <a:lnTo>
                    <a:pt x="12115" y="18550"/>
                  </a:lnTo>
                  <a:lnTo>
                    <a:pt x="12196" y="18837"/>
                  </a:lnTo>
                  <a:lnTo>
                    <a:pt x="12255" y="19528"/>
                  </a:lnTo>
                  <a:lnTo>
                    <a:pt x="12379" y="19570"/>
                  </a:lnTo>
                  <a:lnTo>
                    <a:pt x="12360" y="19650"/>
                  </a:lnTo>
                  <a:lnTo>
                    <a:pt x="12443" y="19749"/>
                  </a:lnTo>
                  <a:lnTo>
                    <a:pt x="12279" y="19772"/>
                  </a:lnTo>
                  <a:lnTo>
                    <a:pt x="12215" y="19669"/>
                  </a:lnTo>
                  <a:lnTo>
                    <a:pt x="12158" y="19690"/>
                  </a:lnTo>
                  <a:lnTo>
                    <a:pt x="12158" y="19669"/>
                  </a:lnTo>
                  <a:lnTo>
                    <a:pt x="12010" y="19669"/>
                  </a:lnTo>
                  <a:lnTo>
                    <a:pt x="12010" y="19706"/>
                  </a:lnTo>
                  <a:lnTo>
                    <a:pt x="11927" y="19690"/>
                  </a:lnTo>
                  <a:lnTo>
                    <a:pt x="11905" y="19706"/>
                  </a:lnTo>
                  <a:lnTo>
                    <a:pt x="11741" y="19810"/>
                  </a:lnTo>
                  <a:lnTo>
                    <a:pt x="11577" y="19810"/>
                  </a:lnTo>
                  <a:lnTo>
                    <a:pt x="11577" y="19875"/>
                  </a:lnTo>
                  <a:lnTo>
                    <a:pt x="11553" y="19875"/>
                  </a:lnTo>
                  <a:lnTo>
                    <a:pt x="11577" y="19972"/>
                  </a:lnTo>
                  <a:lnTo>
                    <a:pt x="11388" y="19934"/>
                  </a:lnTo>
                  <a:lnTo>
                    <a:pt x="11348" y="19998"/>
                  </a:lnTo>
                  <a:lnTo>
                    <a:pt x="10645" y="19810"/>
                  </a:lnTo>
                  <a:lnTo>
                    <a:pt x="10441" y="19955"/>
                  </a:lnTo>
                  <a:lnTo>
                    <a:pt x="10295" y="19732"/>
                  </a:lnTo>
                  <a:lnTo>
                    <a:pt x="9964" y="19626"/>
                  </a:lnTo>
                  <a:lnTo>
                    <a:pt x="9990" y="19467"/>
                  </a:lnTo>
                  <a:lnTo>
                    <a:pt x="10048" y="19450"/>
                  </a:lnTo>
                  <a:lnTo>
                    <a:pt x="10048" y="19424"/>
                  </a:lnTo>
                  <a:lnTo>
                    <a:pt x="9943" y="19408"/>
                  </a:lnTo>
                  <a:lnTo>
                    <a:pt x="9964" y="19342"/>
                  </a:lnTo>
                  <a:lnTo>
                    <a:pt x="9533" y="19262"/>
                  </a:lnTo>
                  <a:lnTo>
                    <a:pt x="9533" y="19368"/>
                  </a:lnTo>
                  <a:lnTo>
                    <a:pt x="9452" y="19368"/>
                  </a:lnTo>
                  <a:lnTo>
                    <a:pt x="9288" y="19076"/>
                  </a:lnTo>
                  <a:lnTo>
                    <a:pt x="8935" y="19076"/>
                  </a:lnTo>
                  <a:lnTo>
                    <a:pt x="8478" y="18837"/>
                  </a:lnTo>
                  <a:lnTo>
                    <a:pt x="8381" y="18795"/>
                  </a:lnTo>
                  <a:lnTo>
                    <a:pt x="8357" y="18820"/>
                  </a:lnTo>
                  <a:lnTo>
                    <a:pt x="8169" y="18773"/>
                  </a:lnTo>
                  <a:lnTo>
                    <a:pt x="8128" y="18820"/>
                  </a:lnTo>
                  <a:lnTo>
                    <a:pt x="8150" y="18877"/>
                  </a:lnTo>
                  <a:lnTo>
                    <a:pt x="8109" y="18940"/>
                  </a:lnTo>
                  <a:lnTo>
                    <a:pt x="8128" y="18957"/>
                  </a:lnTo>
                  <a:lnTo>
                    <a:pt x="8109" y="18997"/>
                  </a:lnTo>
                  <a:lnTo>
                    <a:pt x="8150" y="18997"/>
                  </a:lnTo>
                  <a:lnTo>
                    <a:pt x="8150" y="19142"/>
                  </a:lnTo>
                  <a:lnTo>
                    <a:pt x="8007" y="19119"/>
                  </a:lnTo>
                  <a:lnTo>
                    <a:pt x="7907" y="19119"/>
                  </a:lnTo>
                  <a:lnTo>
                    <a:pt x="7907" y="19142"/>
                  </a:lnTo>
                  <a:lnTo>
                    <a:pt x="7816" y="19119"/>
                  </a:lnTo>
                  <a:lnTo>
                    <a:pt x="7676" y="19119"/>
                  </a:lnTo>
                  <a:lnTo>
                    <a:pt x="7611" y="19060"/>
                  </a:lnTo>
                  <a:lnTo>
                    <a:pt x="7511" y="19159"/>
                  </a:lnTo>
                  <a:lnTo>
                    <a:pt x="6892" y="19102"/>
                  </a:lnTo>
                  <a:lnTo>
                    <a:pt x="6868" y="19060"/>
                  </a:lnTo>
                  <a:lnTo>
                    <a:pt x="6730" y="18877"/>
                  </a:lnTo>
                  <a:lnTo>
                    <a:pt x="6599" y="18837"/>
                  </a:lnTo>
                  <a:lnTo>
                    <a:pt x="6583" y="18795"/>
                  </a:lnTo>
                  <a:lnTo>
                    <a:pt x="6583" y="18820"/>
                  </a:lnTo>
                  <a:lnTo>
                    <a:pt x="6478" y="18731"/>
                  </a:lnTo>
                  <a:lnTo>
                    <a:pt x="6254" y="18858"/>
                  </a:lnTo>
                  <a:lnTo>
                    <a:pt x="6149" y="18773"/>
                  </a:lnTo>
                  <a:lnTo>
                    <a:pt x="6066" y="18877"/>
                  </a:lnTo>
                  <a:lnTo>
                    <a:pt x="6025" y="18858"/>
                  </a:lnTo>
                  <a:lnTo>
                    <a:pt x="6025" y="18820"/>
                  </a:lnTo>
                  <a:lnTo>
                    <a:pt x="5982" y="18820"/>
                  </a:lnTo>
                  <a:lnTo>
                    <a:pt x="5861" y="18632"/>
                  </a:lnTo>
                  <a:lnTo>
                    <a:pt x="5820" y="18632"/>
                  </a:lnTo>
                  <a:lnTo>
                    <a:pt x="5756" y="18550"/>
                  </a:lnTo>
                  <a:lnTo>
                    <a:pt x="5775" y="18550"/>
                  </a:lnTo>
                  <a:lnTo>
                    <a:pt x="5732" y="18447"/>
                  </a:lnTo>
                  <a:lnTo>
                    <a:pt x="5075" y="18310"/>
                  </a:lnTo>
                  <a:lnTo>
                    <a:pt x="4806" y="18165"/>
                  </a:lnTo>
                  <a:lnTo>
                    <a:pt x="4865" y="18061"/>
                  </a:lnTo>
                  <a:lnTo>
                    <a:pt x="4768" y="18082"/>
                  </a:lnTo>
                  <a:lnTo>
                    <a:pt x="4725" y="18247"/>
                  </a:lnTo>
                  <a:lnTo>
                    <a:pt x="4515" y="18101"/>
                  </a:lnTo>
                  <a:lnTo>
                    <a:pt x="4684" y="17737"/>
                  </a:lnTo>
                  <a:lnTo>
                    <a:pt x="4415" y="17634"/>
                  </a:lnTo>
                  <a:lnTo>
                    <a:pt x="4372" y="17714"/>
                  </a:lnTo>
                  <a:lnTo>
                    <a:pt x="4311" y="17714"/>
                  </a:lnTo>
                  <a:lnTo>
                    <a:pt x="4294" y="17594"/>
                  </a:lnTo>
                  <a:lnTo>
                    <a:pt x="4103" y="17617"/>
                  </a:lnTo>
                  <a:lnTo>
                    <a:pt x="4063" y="17495"/>
                  </a:lnTo>
                  <a:lnTo>
                    <a:pt x="4041" y="17495"/>
                  </a:lnTo>
                  <a:lnTo>
                    <a:pt x="4025" y="17432"/>
                  </a:lnTo>
                  <a:lnTo>
                    <a:pt x="4103" y="17415"/>
                  </a:lnTo>
                  <a:lnTo>
                    <a:pt x="4251" y="17389"/>
                  </a:lnTo>
                  <a:lnTo>
                    <a:pt x="4251" y="17373"/>
                  </a:lnTo>
                  <a:lnTo>
                    <a:pt x="4499" y="17084"/>
                  </a:lnTo>
                  <a:lnTo>
                    <a:pt x="5037" y="14969"/>
                  </a:lnTo>
                  <a:lnTo>
                    <a:pt x="5011" y="14767"/>
                  </a:lnTo>
                  <a:lnTo>
                    <a:pt x="5218" y="14525"/>
                  </a:lnTo>
                  <a:lnTo>
                    <a:pt x="5427" y="14583"/>
                  </a:lnTo>
                  <a:lnTo>
                    <a:pt x="5444" y="14525"/>
                  </a:lnTo>
                  <a:lnTo>
                    <a:pt x="5387" y="14464"/>
                  </a:lnTo>
                  <a:lnTo>
                    <a:pt x="5427" y="14485"/>
                  </a:lnTo>
                  <a:lnTo>
                    <a:pt x="5427" y="14464"/>
                  </a:lnTo>
                  <a:lnTo>
                    <a:pt x="5218" y="14318"/>
                  </a:lnTo>
                  <a:lnTo>
                    <a:pt x="5075" y="14647"/>
                  </a:lnTo>
                  <a:lnTo>
                    <a:pt x="5037" y="14623"/>
                  </a:lnTo>
                  <a:lnTo>
                    <a:pt x="5427" y="12509"/>
                  </a:lnTo>
                  <a:lnTo>
                    <a:pt x="5470" y="12492"/>
                  </a:lnTo>
                  <a:lnTo>
                    <a:pt x="5511" y="12548"/>
                  </a:lnTo>
                  <a:lnTo>
                    <a:pt x="5470" y="12548"/>
                  </a:lnTo>
                  <a:lnTo>
                    <a:pt x="5961" y="13284"/>
                  </a:lnTo>
                  <a:lnTo>
                    <a:pt x="6271" y="13871"/>
                  </a:lnTo>
                  <a:lnTo>
                    <a:pt x="6352" y="14017"/>
                  </a:lnTo>
                  <a:lnTo>
                    <a:pt x="6352" y="13808"/>
                  </a:lnTo>
                  <a:lnTo>
                    <a:pt x="6001" y="13058"/>
                  </a:lnTo>
                  <a:lnTo>
                    <a:pt x="5675" y="12532"/>
                  </a:lnTo>
                  <a:lnTo>
                    <a:pt x="5551" y="12410"/>
                  </a:lnTo>
                  <a:lnTo>
                    <a:pt x="5528" y="12365"/>
                  </a:lnTo>
                  <a:lnTo>
                    <a:pt x="5511" y="12365"/>
                  </a:lnTo>
                  <a:lnTo>
                    <a:pt x="5258" y="12227"/>
                  </a:lnTo>
                  <a:lnTo>
                    <a:pt x="5242" y="12243"/>
                  </a:lnTo>
                  <a:lnTo>
                    <a:pt x="5218" y="12243"/>
                  </a:lnTo>
                  <a:lnTo>
                    <a:pt x="5175" y="11961"/>
                  </a:lnTo>
                  <a:lnTo>
                    <a:pt x="5363" y="11961"/>
                  </a:lnTo>
                  <a:lnTo>
                    <a:pt x="5339" y="11982"/>
                  </a:lnTo>
                  <a:lnTo>
                    <a:pt x="5387" y="11982"/>
                  </a:lnTo>
                  <a:lnTo>
                    <a:pt x="5387" y="11961"/>
                  </a:lnTo>
                  <a:lnTo>
                    <a:pt x="5363" y="11945"/>
                  </a:lnTo>
                  <a:lnTo>
                    <a:pt x="5387" y="11919"/>
                  </a:lnTo>
                  <a:lnTo>
                    <a:pt x="5323" y="11839"/>
                  </a:lnTo>
                  <a:lnTo>
                    <a:pt x="5487" y="11653"/>
                  </a:lnTo>
                  <a:lnTo>
                    <a:pt x="5470" y="11653"/>
                  </a:lnTo>
                  <a:lnTo>
                    <a:pt x="5470" y="11637"/>
                  </a:lnTo>
                  <a:lnTo>
                    <a:pt x="5487" y="11637"/>
                  </a:lnTo>
                  <a:lnTo>
                    <a:pt x="5444" y="11515"/>
                  </a:lnTo>
                  <a:lnTo>
                    <a:pt x="5528" y="11491"/>
                  </a:lnTo>
                  <a:lnTo>
                    <a:pt x="5444" y="11268"/>
                  </a:lnTo>
                  <a:lnTo>
                    <a:pt x="5406" y="11268"/>
                  </a:lnTo>
                  <a:lnTo>
                    <a:pt x="5339" y="11146"/>
                  </a:lnTo>
                  <a:lnTo>
                    <a:pt x="5301" y="11169"/>
                  </a:lnTo>
                  <a:lnTo>
                    <a:pt x="5280" y="11066"/>
                  </a:lnTo>
                  <a:lnTo>
                    <a:pt x="5301" y="11066"/>
                  </a:lnTo>
                  <a:lnTo>
                    <a:pt x="5427" y="10800"/>
                  </a:lnTo>
                  <a:lnTo>
                    <a:pt x="5323" y="10800"/>
                  </a:lnTo>
                  <a:lnTo>
                    <a:pt x="5339" y="10821"/>
                  </a:lnTo>
                  <a:lnTo>
                    <a:pt x="5301" y="10878"/>
                  </a:lnTo>
                  <a:lnTo>
                    <a:pt x="5218" y="10800"/>
                  </a:lnTo>
                  <a:lnTo>
                    <a:pt x="5201" y="10800"/>
                  </a:lnTo>
                  <a:lnTo>
                    <a:pt x="5201" y="10838"/>
                  </a:lnTo>
                  <a:lnTo>
                    <a:pt x="4784" y="10539"/>
                  </a:lnTo>
                  <a:lnTo>
                    <a:pt x="4603" y="10497"/>
                  </a:lnTo>
                  <a:lnTo>
                    <a:pt x="4620" y="10476"/>
                  </a:lnTo>
                  <a:lnTo>
                    <a:pt x="3877" y="9395"/>
                  </a:lnTo>
                  <a:lnTo>
                    <a:pt x="3941" y="9353"/>
                  </a:lnTo>
                  <a:lnTo>
                    <a:pt x="3918" y="9353"/>
                  </a:lnTo>
                  <a:lnTo>
                    <a:pt x="4168" y="9071"/>
                  </a:lnTo>
                  <a:lnTo>
                    <a:pt x="3753" y="8829"/>
                  </a:lnTo>
                  <a:lnTo>
                    <a:pt x="3899" y="8645"/>
                  </a:lnTo>
                  <a:lnTo>
                    <a:pt x="3899" y="8521"/>
                  </a:lnTo>
                  <a:lnTo>
                    <a:pt x="4472" y="8666"/>
                  </a:lnTo>
                  <a:lnTo>
                    <a:pt x="3877" y="8457"/>
                  </a:lnTo>
                  <a:lnTo>
                    <a:pt x="3689" y="8587"/>
                  </a:lnTo>
                  <a:lnTo>
                    <a:pt x="3508" y="8483"/>
                  </a:lnTo>
                  <a:lnTo>
                    <a:pt x="3482" y="8483"/>
                  </a:lnTo>
                  <a:lnTo>
                    <a:pt x="3508" y="8521"/>
                  </a:lnTo>
                  <a:lnTo>
                    <a:pt x="3303" y="8417"/>
                  </a:lnTo>
                  <a:lnTo>
                    <a:pt x="3360" y="8401"/>
                  </a:lnTo>
                  <a:lnTo>
                    <a:pt x="3303" y="8239"/>
                  </a:lnTo>
                  <a:lnTo>
                    <a:pt x="3482" y="8175"/>
                  </a:lnTo>
                  <a:lnTo>
                    <a:pt x="3465" y="8077"/>
                  </a:lnTo>
                  <a:lnTo>
                    <a:pt x="3425" y="8093"/>
                  </a:lnTo>
                  <a:lnTo>
                    <a:pt x="3403" y="7997"/>
                  </a:lnTo>
                  <a:lnTo>
                    <a:pt x="3444" y="7973"/>
                  </a:lnTo>
                  <a:lnTo>
                    <a:pt x="3444" y="7997"/>
                  </a:lnTo>
                  <a:lnTo>
                    <a:pt x="3525" y="7973"/>
                  </a:lnTo>
                  <a:lnTo>
                    <a:pt x="3344" y="7910"/>
                  </a:lnTo>
                  <a:lnTo>
                    <a:pt x="3320" y="7933"/>
                  </a:lnTo>
                  <a:lnTo>
                    <a:pt x="3239" y="7910"/>
                  </a:lnTo>
                  <a:lnTo>
                    <a:pt x="3239" y="7950"/>
                  </a:lnTo>
                  <a:lnTo>
                    <a:pt x="3196" y="7933"/>
                  </a:lnTo>
                  <a:lnTo>
                    <a:pt x="3196" y="7910"/>
                  </a:lnTo>
                  <a:lnTo>
                    <a:pt x="3156" y="7910"/>
                  </a:lnTo>
                  <a:lnTo>
                    <a:pt x="3115" y="7950"/>
                  </a:lnTo>
                  <a:lnTo>
                    <a:pt x="2844" y="7933"/>
                  </a:lnTo>
                  <a:lnTo>
                    <a:pt x="2822" y="7853"/>
                  </a:lnTo>
                  <a:lnTo>
                    <a:pt x="2765" y="7811"/>
                  </a:lnTo>
                  <a:lnTo>
                    <a:pt x="2765" y="7788"/>
                  </a:lnTo>
                  <a:lnTo>
                    <a:pt x="3051" y="7853"/>
                  </a:lnTo>
                  <a:lnTo>
                    <a:pt x="3115" y="7651"/>
                  </a:lnTo>
                  <a:lnTo>
                    <a:pt x="3115" y="7625"/>
                  </a:lnTo>
                  <a:lnTo>
                    <a:pt x="3091" y="7708"/>
                  </a:lnTo>
                  <a:lnTo>
                    <a:pt x="2765" y="7729"/>
                  </a:lnTo>
                  <a:lnTo>
                    <a:pt x="2722" y="7625"/>
                  </a:lnTo>
                  <a:lnTo>
                    <a:pt x="2701" y="7625"/>
                  </a:lnTo>
                  <a:lnTo>
                    <a:pt x="2722" y="7788"/>
                  </a:lnTo>
                  <a:lnTo>
                    <a:pt x="2477" y="7750"/>
                  </a:lnTo>
                  <a:lnTo>
                    <a:pt x="2453" y="7689"/>
                  </a:lnTo>
                  <a:lnTo>
                    <a:pt x="2477" y="7973"/>
                  </a:lnTo>
                  <a:lnTo>
                    <a:pt x="2412" y="7950"/>
                  </a:lnTo>
                  <a:lnTo>
                    <a:pt x="2372" y="7828"/>
                  </a:lnTo>
                  <a:lnTo>
                    <a:pt x="2127" y="7442"/>
                  </a:lnTo>
                  <a:lnTo>
                    <a:pt x="2127" y="7463"/>
                  </a:lnTo>
                  <a:lnTo>
                    <a:pt x="2103" y="7442"/>
                  </a:lnTo>
                  <a:lnTo>
                    <a:pt x="2103" y="7423"/>
                  </a:lnTo>
                  <a:lnTo>
                    <a:pt x="2205" y="7442"/>
                  </a:lnTo>
                  <a:lnTo>
                    <a:pt x="2205" y="7423"/>
                  </a:lnTo>
                  <a:lnTo>
                    <a:pt x="1831" y="7261"/>
                  </a:lnTo>
                  <a:lnTo>
                    <a:pt x="1260" y="6996"/>
                  </a:lnTo>
                  <a:lnTo>
                    <a:pt x="1276" y="6975"/>
                  </a:lnTo>
                  <a:lnTo>
                    <a:pt x="1260" y="6958"/>
                  </a:lnTo>
                  <a:lnTo>
                    <a:pt x="1236" y="6958"/>
                  </a:lnTo>
                  <a:lnTo>
                    <a:pt x="1172" y="6892"/>
                  </a:lnTo>
                  <a:lnTo>
                    <a:pt x="1155" y="6996"/>
                  </a:lnTo>
                  <a:lnTo>
                    <a:pt x="886" y="6975"/>
                  </a:lnTo>
                  <a:lnTo>
                    <a:pt x="679" y="7099"/>
                  </a:lnTo>
                  <a:lnTo>
                    <a:pt x="533" y="7078"/>
                  </a:lnTo>
                  <a:lnTo>
                    <a:pt x="533" y="7022"/>
                  </a:lnTo>
                  <a:lnTo>
                    <a:pt x="574" y="6996"/>
                  </a:lnTo>
                  <a:lnTo>
                    <a:pt x="305" y="6568"/>
                  </a:lnTo>
                  <a:lnTo>
                    <a:pt x="264" y="6594"/>
                  </a:lnTo>
                  <a:lnTo>
                    <a:pt x="164" y="6528"/>
                  </a:lnTo>
                  <a:lnTo>
                    <a:pt x="141" y="6528"/>
                  </a:lnTo>
                  <a:lnTo>
                    <a:pt x="0" y="6490"/>
                  </a:lnTo>
                  <a:lnTo>
                    <a:pt x="17" y="6465"/>
                  </a:lnTo>
                  <a:lnTo>
                    <a:pt x="57" y="6465"/>
                  </a:lnTo>
                  <a:lnTo>
                    <a:pt x="57" y="6425"/>
                  </a:lnTo>
                  <a:lnTo>
                    <a:pt x="695" y="6408"/>
                  </a:lnTo>
                  <a:lnTo>
                    <a:pt x="760" y="6262"/>
                  </a:lnTo>
                  <a:lnTo>
                    <a:pt x="722" y="6262"/>
                  </a:lnTo>
                  <a:lnTo>
                    <a:pt x="695" y="6164"/>
                  </a:lnTo>
                  <a:lnTo>
                    <a:pt x="433" y="6084"/>
                  </a:lnTo>
                  <a:lnTo>
                    <a:pt x="348" y="6204"/>
                  </a:lnTo>
                  <a:lnTo>
                    <a:pt x="329" y="6204"/>
                  </a:lnTo>
                  <a:lnTo>
                    <a:pt x="305" y="6060"/>
                  </a:lnTo>
                  <a:lnTo>
                    <a:pt x="348" y="6044"/>
                  </a:lnTo>
                  <a:lnTo>
                    <a:pt x="348" y="5997"/>
                  </a:lnTo>
                  <a:lnTo>
                    <a:pt x="248" y="5997"/>
                  </a:lnTo>
                  <a:lnTo>
                    <a:pt x="221" y="5938"/>
                  </a:lnTo>
                  <a:lnTo>
                    <a:pt x="329" y="5938"/>
                  </a:lnTo>
                  <a:lnTo>
                    <a:pt x="348" y="5818"/>
                  </a:lnTo>
                  <a:lnTo>
                    <a:pt x="391" y="5818"/>
                  </a:lnTo>
                  <a:lnTo>
                    <a:pt x="369" y="5917"/>
                  </a:lnTo>
                  <a:lnTo>
                    <a:pt x="433" y="5877"/>
                  </a:lnTo>
                  <a:lnTo>
                    <a:pt x="433" y="5898"/>
                  </a:lnTo>
                  <a:lnTo>
                    <a:pt x="410" y="5917"/>
                  </a:lnTo>
                  <a:lnTo>
                    <a:pt x="433" y="5938"/>
                  </a:lnTo>
                  <a:lnTo>
                    <a:pt x="555" y="5938"/>
                  </a:lnTo>
                  <a:lnTo>
                    <a:pt x="555" y="5955"/>
                  </a:lnTo>
                  <a:lnTo>
                    <a:pt x="738" y="5938"/>
                  </a:lnTo>
                  <a:lnTo>
                    <a:pt x="695" y="5835"/>
                  </a:lnTo>
                  <a:lnTo>
                    <a:pt x="655" y="5835"/>
                  </a:lnTo>
                  <a:lnTo>
                    <a:pt x="638" y="5877"/>
                  </a:lnTo>
                  <a:lnTo>
                    <a:pt x="574" y="5861"/>
                  </a:lnTo>
                  <a:lnTo>
                    <a:pt x="598" y="5835"/>
                  </a:lnTo>
                  <a:lnTo>
                    <a:pt x="517" y="5861"/>
                  </a:lnTo>
                  <a:lnTo>
                    <a:pt x="598" y="5736"/>
                  </a:lnTo>
                  <a:lnTo>
                    <a:pt x="141" y="5778"/>
                  </a:lnTo>
                  <a:lnTo>
                    <a:pt x="141" y="5795"/>
                  </a:lnTo>
                  <a:lnTo>
                    <a:pt x="17" y="5818"/>
                  </a:lnTo>
                  <a:lnTo>
                    <a:pt x="17" y="5715"/>
                  </a:lnTo>
                  <a:lnTo>
                    <a:pt x="40" y="5715"/>
                  </a:lnTo>
                  <a:lnTo>
                    <a:pt x="141" y="5287"/>
                  </a:lnTo>
                  <a:lnTo>
                    <a:pt x="164" y="5308"/>
                  </a:lnTo>
                  <a:lnTo>
                    <a:pt x="181" y="5268"/>
                  </a:lnTo>
                  <a:lnTo>
                    <a:pt x="348" y="5247"/>
                  </a:lnTo>
                  <a:lnTo>
                    <a:pt x="329" y="5205"/>
                  </a:lnTo>
                  <a:lnTo>
                    <a:pt x="450" y="5149"/>
                  </a:lnTo>
                  <a:lnTo>
                    <a:pt x="617" y="5149"/>
                  </a:lnTo>
                  <a:lnTo>
                    <a:pt x="617" y="5106"/>
                  </a:lnTo>
                  <a:lnTo>
                    <a:pt x="803" y="5085"/>
                  </a:lnTo>
                  <a:lnTo>
                    <a:pt x="826" y="5106"/>
                  </a:lnTo>
                  <a:lnTo>
                    <a:pt x="803" y="5149"/>
                  </a:lnTo>
                  <a:lnTo>
                    <a:pt x="803" y="5165"/>
                  </a:lnTo>
                  <a:lnTo>
                    <a:pt x="1276" y="5022"/>
                  </a:lnTo>
                  <a:lnTo>
                    <a:pt x="1276" y="5003"/>
                  </a:lnTo>
                  <a:lnTo>
                    <a:pt x="1276" y="5022"/>
                  </a:lnTo>
                  <a:lnTo>
                    <a:pt x="1298" y="5022"/>
                  </a:lnTo>
                  <a:lnTo>
                    <a:pt x="1298" y="5003"/>
                  </a:lnTo>
                  <a:lnTo>
                    <a:pt x="1341" y="5003"/>
                  </a:lnTo>
                  <a:lnTo>
                    <a:pt x="1341" y="5165"/>
                  </a:lnTo>
                  <a:lnTo>
                    <a:pt x="1381" y="5165"/>
                  </a:lnTo>
                  <a:lnTo>
                    <a:pt x="1398" y="5125"/>
                  </a:lnTo>
                  <a:lnTo>
                    <a:pt x="1441" y="5149"/>
                  </a:lnTo>
                  <a:lnTo>
                    <a:pt x="1441" y="5205"/>
                  </a:lnTo>
                  <a:lnTo>
                    <a:pt x="1505" y="5231"/>
                  </a:lnTo>
                  <a:lnTo>
                    <a:pt x="1524" y="5069"/>
                  </a:lnTo>
                  <a:lnTo>
                    <a:pt x="1562" y="5069"/>
                  </a:lnTo>
                  <a:lnTo>
                    <a:pt x="1562" y="5043"/>
                  </a:lnTo>
                  <a:lnTo>
                    <a:pt x="1815" y="5125"/>
                  </a:lnTo>
                  <a:lnTo>
                    <a:pt x="1815" y="5149"/>
                  </a:lnTo>
                  <a:lnTo>
                    <a:pt x="1831" y="5149"/>
                  </a:lnTo>
                  <a:lnTo>
                    <a:pt x="1874" y="5149"/>
                  </a:lnTo>
                  <a:lnTo>
                    <a:pt x="1874" y="5189"/>
                  </a:lnTo>
                  <a:lnTo>
                    <a:pt x="1936" y="5165"/>
                  </a:lnTo>
                  <a:lnTo>
                    <a:pt x="1936" y="5149"/>
                  </a:lnTo>
                  <a:lnTo>
                    <a:pt x="1915" y="5125"/>
                  </a:lnTo>
                  <a:lnTo>
                    <a:pt x="1915" y="5069"/>
                  </a:lnTo>
                  <a:lnTo>
                    <a:pt x="1979" y="5003"/>
                  </a:lnTo>
                  <a:lnTo>
                    <a:pt x="1936" y="4939"/>
                  </a:lnTo>
                  <a:lnTo>
                    <a:pt x="2103" y="4820"/>
                  </a:lnTo>
                  <a:lnTo>
                    <a:pt x="2496" y="4777"/>
                  </a:lnTo>
                  <a:lnTo>
                    <a:pt x="2536" y="4860"/>
                  </a:lnTo>
                  <a:lnTo>
                    <a:pt x="2722" y="4761"/>
                  </a:lnTo>
                  <a:lnTo>
                    <a:pt x="2722" y="4900"/>
                  </a:lnTo>
                  <a:lnTo>
                    <a:pt x="2805" y="4923"/>
                  </a:lnTo>
                  <a:lnTo>
                    <a:pt x="2782" y="4982"/>
                  </a:lnTo>
                  <a:lnTo>
                    <a:pt x="2886" y="5022"/>
                  </a:lnTo>
                  <a:lnTo>
                    <a:pt x="2910" y="5022"/>
                  </a:lnTo>
                  <a:lnTo>
                    <a:pt x="2970" y="5189"/>
                  </a:lnTo>
                  <a:lnTo>
                    <a:pt x="3010" y="5189"/>
                  </a:lnTo>
                  <a:lnTo>
                    <a:pt x="3010" y="5247"/>
                  </a:lnTo>
                  <a:lnTo>
                    <a:pt x="3034" y="5247"/>
                  </a:lnTo>
                  <a:lnTo>
                    <a:pt x="3256" y="5673"/>
                  </a:lnTo>
                  <a:lnTo>
                    <a:pt x="3279" y="5593"/>
                  </a:lnTo>
                  <a:lnTo>
                    <a:pt x="3303" y="5593"/>
                  </a:lnTo>
                  <a:lnTo>
                    <a:pt x="3320" y="5616"/>
                  </a:lnTo>
                  <a:lnTo>
                    <a:pt x="3608" y="5391"/>
                  </a:lnTo>
                  <a:lnTo>
                    <a:pt x="3589" y="5351"/>
                  </a:lnTo>
                  <a:lnTo>
                    <a:pt x="3689" y="5351"/>
                  </a:lnTo>
                  <a:lnTo>
                    <a:pt x="3689" y="5391"/>
                  </a:lnTo>
                  <a:lnTo>
                    <a:pt x="3713" y="5391"/>
                  </a:lnTo>
                  <a:lnTo>
                    <a:pt x="3860" y="5268"/>
                  </a:lnTo>
                  <a:lnTo>
                    <a:pt x="3860" y="5308"/>
                  </a:lnTo>
                  <a:lnTo>
                    <a:pt x="3899" y="5325"/>
                  </a:lnTo>
                  <a:lnTo>
                    <a:pt x="3818" y="5431"/>
                  </a:lnTo>
                  <a:lnTo>
                    <a:pt x="3860" y="5431"/>
                  </a:lnTo>
                  <a:lnTo>
                    <a:pt x="3941" y="5367"/>
                  </a:lnTo>
                  <a:lnTo>
                    <a:pt x="3958" y="5391"/>
                  </a:lnTo>
                  <a:lnTo>
                    <a:pt x="3999" y="5534"/>
                  </a:lnTo>
                  <a:lnTo>
                    <a:pt x="4041" y="5471"/>
                  </a:lnTo>
                  <a:lnTo>
                    <a:pt x="4041" y="5534"/>
                  </a:lnTo>
                  <a:lnTo>
                    <a:pt x="4063" y="5534"/>
                  </a:lnTo>
                  <a:lnTo>
                    <a:pt x="4103" y="5449"/>
                  </a:lnTo>
                  <a:lnTo>
                    <a:pt x="4146" y="5489"/>
                  </a:lnTo>
                  <a:lnTo>
                    <a:pt x="4146" y="5471"/>
                  </a:lnTo>
                  <a:lnTo>
                    <a:pt x="4103" y="5407"/>
                  </a:lnTo>
                  <a:lnTo>
                    <a:pt x="4351" y="5351"/>
                  </a:lnTo>
                  <a:lnTo>
                    <a:pt x="4372" y="5308"/>
                  </a:lnTo>
                  <a:lnTo>
                    <a:pt x="4392" y="5308"/>
                  </a:lnTo>
                  <a:lnTo>
                    <a:pt x="4415" y="5308"/>
                  </a:lnTo>
                  <a:lnTo>
                    <a:pt x="4415" y="5287"/>
                  </a:lnTo>
                  <a:lnTo>
                    <a:pt x="4580" y="5268"/>
                  </a:lnTo>
                  <a:lnTo>
                    <a:pt x="4580" y="5471"/>
                  </a:lnTo>
                  <a:lnTo>
                    <a:pt x="4994" y="5449"/>
                  </a:lnTo>
                  <a:lnTo>
                    <a:pt x="5075" y="5471"/>
                  </a:lnTo>
                  <a:lnTo>
                    <a:pt x="5075" y="5449"/>
                  </a:lnTo>
                  <a:lnTo>
                    <a:pt x="5094" y="5449"/>
                  </a:lnTo>
                  <a:lnTo>
                    <a:pt x="5094" y="5471"/>
                  </a:lnTo>
                  <a:lnTo>
                    <a:pt x="5175" y="5471"/>
                  </a:lnTo>
                  <a:lnTo>
                    <a:pt x="5175" y="5449"/>
                  </a:lnTo>
                  <a:lnTo>
                    <a:pt x="5323" y="5471"/>
                  </a:lnTo>
                  <a:lnTo>
                    <a:pt x="5242" y="5407"/>
                  </a:lnTo>
                  <a:lnTo>
                    <a:pt x="5258" y="5391"/>
                  </a:lnTo>
                  <a:lnTo>
                    <a:pt x="5175" y="5407"/>
                  </a:lnTo>
                  <a:lnTo>
                    <a:pt x="4994" y="5003"/>
                  </a:lnTo>
                  <a:lnTo>
                    <a:pt x="4970" y="5003"/>
                  </a:lnTo>
                  <a:lnTo>
                    <a:pt x="4954" y="4982"/>
                  </a:lnTo>
                  <a:lnTo>
                    <a:pt x="5054" y="4618"/>
                  </a:lnTo>
                  <a:lnTo>
                    <a:pt x="5054" y="4601"/>
                  </a:lnTo>
                  <a:lnTo>
                    <a:pt x="5037" y="4618"/>
                  </a:lnTo>
                  <a:lnTo>
                    <a:pt x="5011" y="4131"/>
                  </a:lnTo>
                  <a:lnTo>
                    <a:pt x="4970" y="4131"/>
                  </a:lnTo>
                  <a:lnTo>
                    <a:pt x="4642" y="3335"/>
                  </a:lnTo>
                  <a:lnTo>
                    <a:pt x="4663" y="3092"/>
                  </a:lnTo>
                  <a:lnTo>
                    <a:pt x="4563" y="3050"/>
                  </a:lnTo>
                  <a:lnTo>
                    <a:pt x="4563" y="2930"/>
                  </a:lnTo>
                  <a:lnTo>
                    <a:pt x="4663" y="2987"/>
                  </a:lnTo>
                  <a:lnTo>
                    <a:pt x="4684" y="2947"/>
                  </a:lnTo>
                  <a:lnTo>
                    <a:pt x="5242" y="3092"/>
                  </a:lnTo>
                  <a:lnTo>
                    <a:pt x="5258" y="3029"/>
                  </a:lnTo>
                  <a:lnTo>
                    <a:pt x="5570" y="3050"/>
                  </a:lnTo>
                  <a:lnTo>
                    <a:pt x="5632" y="3252"/>
                  </a:lnTo>
                  <a:lnTo>
                    <a:pt x="5592" y="3252"/>
                  </a:lnTo>
                  <a:lnTo>
                    <a:pt x="5570" y="3316"/>
                  </a:lnTo>
                  <a:lnTo>
                    <a:pt x="5511" y="3316"/>
                  </a:lnTo>
                  <a:lnTo>
                    <a:pt x="5675" y="3800"/>
                  </a:lnTo>
                  <a:lnTo>
                    <a:pt x="5649" y="3826"/>
                  </a:lnTo>
                  <a:lnTo>
                    <a:pt x="5732" y="3842"/>
                  </a:lnTo>
                  <a:lnTo>
                    <a:pt x="5713" y="3842"/>
                  </a:lnTo>
                  <a:lnTo>
                    <a:pt x="5732" y="3882"/>
                  </a:lnTo>
                  <a:lnTo>
                    <a:pt x="5756" y="3882"/>
                  </a:lnTo>
                  <a:lnTo>
                    <a:pt x="5775" y="3882"/>
                  </a:lnTo>
                  <a:lnTo>
                    <a:pt x="5861" y="3762"/>
                  </a:lnTo>
                  <a:lnTo>
                    <a:pt x="6499" y="3906"/>
                  </a:lnTo>
                  <a:lnTo>
                    <a:pt x="7611" y="3826"/>
                  </a:lnTo>
                  <a:lnTo>
                    <a:pt x="7923" y="3722"/>
                  </a:lnTo>
                  <a:lnTo>
                    <a:pt x="8045" y="3703"/>
                  </a:lnTo>
                  <a:lnTo>
                    <a:pt x="7611" y="3600"/>
                  </a:lnTo>
                  <a:lnTo>
                    <a:pt x="7611" y="3581"/>
                  </a:lnTo>
                  <a:lnTo>
                    <a:pt x="7799" y="3092"/>
                  </a:lnTo>
                  <a:lnTo>
                    <a:pt x="9574" y="2317"/>
                  </a:lnTo>
                  <a:lnTo>
                    <a:pt x="9843" y="1993"/>
                  </a:lnTo>
                  <a:lnTo>
                    <a:pt x="9902" y="2051"/>
                  </a:lnTo>
                  <a:lnTo>
                    <a:pt x="10031" y="2051"/>
                  </a:lnTo>
                  <a:lnTo>
                    <a:pt x="9964" y="1972"/>
                  </a:lnTo>
                  <a:lnTo>
                    <a:pt x="9943" y="1993"/>
                  </a:lnTo>
                  <a:lnTo>
                    <a:pt x="9843" y="1645"/>
                  </a:lnTo>
                  <a:lnTo>
                    <a:pt x="9902" y="1645"/>
                  </a:lnTo>
                  <a:lnTo>
                    <a:pt x="9902" y="1628"/>
                  </a:lnTo>
                  <a:lnTo>
                    <a:pt x="9902" y="1607"/>
                  </a:lnTo>
                  <a:lnTo>
                    <a:pt x="9843" y="1542"/>
                  </a:lnTo>
                  <a:lnTo>
                    <a:pt x="9886" y="1260"/>
                  </a:lnTo>
                  <a:lnTo>
                    <a:pt x="9926" y="1243"/>
                  </a:lnTo>
                  <a:lnTo>
                    <a:pt x="9886" y="815"/>
                  </a:lnTo>
                  <a:lnTo>
                    <a:pt x="9902" y="815"/>
                  </a:lnTo>
                  <a:lnTo>
                    <a:pt x="9886" y="484"/>
                  </a:lnTo>
                  <a:lnTo>
                    <a:pt x="10645" y="186"/>
                  </a:lnTo>
                  <a:lnTo>
                    <a:pt x="11307" y="0"/>
                  </a:lnTo>
                  <a:lnTo>
                    <a:pt x="11431" y="324"/>
                  </a:lnTo>
                  <a:lnTo>
                    <a:pt x="11431" y="630"/>
                  </a:lnTo>
                  <a:lnTo>
                    <a:pt x="11577" y="630"/>
                  </a:lnTo>
                  <a:lnTo>
                    <a:pt x="11700" y="832"/>
                  </a:lnTo>
                  <a:lnTo>
                    <a:pt x="11762" y="832"/>
                  </a:lnTo>
                  <a:lnTo>
                    <a:pt x="11822" y="895"/>
                  </a:lnTo>
                  <a:lnTo>
                    <a:pt x="12158" y="670"/>
                  </a:lnTo>
                  <a:lnTo>
                    <a:pt x="12279" y="792"/>
                  </a:lnTo>
                  <a:lnTo>
                    <a:pt x="12255" y="815"/>
                  </a:lnTo>
                  <a:lnTo>
                    <a:pt x="12360" y="895"/>
                  </a:lnTo>
                  <a:lnTo>
                    <a:pt x="12360" y="912"/>
                  </a:lnTo>
                  <a:lnTo>
                    <a:pt x="12339" y="935"/>
                  </a:lnTo>
                  <a:lnTo>
                    <a:pt x="12548" y="1342"/>
                  </a:lnTo>
                  <a:lnTo>
                    <a:pt x="12753" y="1260"/>
                  </a:lnTo>
                  <a:lnTo>
                    <a:pt x="12729" y="1363"/>
                  </a:lnTo>
                  <a:lnTo>
                    <a:pt x="12834" y="1323"/>
                  </a:lnTo>
                  <a:lnTo>
                    <a:pt x="12853" y="1342"/>
                  </a:lnTo>
                  <a:lnTo>
                    <a:pt x="12901" y="1342"/>
                  </a:lnTo>
                  <a:lnTo>
                    <a:pt x="13039" y="1769"/>
                  </a:lnTo>
                  <a:lnTo>
                    <a:pt x="13039" y="1751"/>
                  </a:lnTo>
                  <a:lnTo>
                    <a:pt x="13065" y="1751"/>
                  </a:lnTo>
                  <a:lnTo>
                    <a:pt x="13082" y="1671"/>
                  </a:lnTo>
                  <a:lnTo>
                    <a:pt x="13186" y="1645"/>
                  </a:lnTo>
                  <a:lnTo>
                    <a:pt x="13203" y="1671"/>
                  </a:lnTo>
                  <a:lnTo>
                    <a:pt x="13203" y="1645"/>
                  </a:lnTo>
                  <a:lnTo>
                    <a:pt x="13267" y="1645"/>
                  </a:lnTo>
                  <a:lnTo>
                    <a:pt x="13267" y="1671"/>
                  </a:lnTo>
                  <a:lnTo>
                    <a:pt x="13308" y="1687"/>
                  </a:lnTo>
                  <a:lnTo>
                    <a:pt x="13308" y="1711"/>
                  </a:lnTo>
                  <a:lnTo>
                    <a:pt x="13515" y="1628"/>
                  </a:lnTo>
                  <a:lnTo>
                    <a:pt x="13598" y="1751"/>
                  </a:lnTo>
                  <a:lnTo>
                    <a:pt x="13660" y="1769"/>
                  </a:lnTo>
                  <a:lnTo>
                    <a:pt x="13660" y="1833"/>
                  </a:lnTo>
                  <a:lnTo>
                    <a:pt x="13677" y="1833"/>
                  </a:lnTo>
                  <a:lnTo>
                    <a:pt x="13677" y="1849"/>
                  </a:lnTo>
                  <a:lnTo>
                    <a:pt x="13725" y="1849"/>
                  </a:lnTo>
                  <a:lnTo>
                    <a:pt x="13703" y="1833"/>
                  </a:lnTo>
                  <a:lnTo>
                    <a:pt x="13725" y="1791"/>
                  </a:lnTo>
                  <a:lnTo>
                    <a:pt x="13808" y="1873"/>
                  </a:lnTo>
                  <a:lnTo>
                    <a:pt x="13677" y="2155"/>
                  </a:lnTo>
                  <a:lnTo>
                    <a:pt x="13725" y="2155"/>
                  </a:lnTo>
                  <a:lnTo>
                    <a:pt x="13725" y="2138"/>
                  </a:lnTo>
                  <a:lnTo>
                    <a:pt x="13784" y="2155"/>
                  </a:lnTo>
                  <a:lnTo>
                    <a:pt x="13825" y="2301"/>
                  </a:lnTo>
                  <a:lnTo>
                    <a:pt x="13703" y="2420"/>
                  </a:lnTo>
                  <a:lnTo>
                    <a:pt x="13741" y="2463"/>
                  </a:lnTo>
                  <a:lnTo>
                    <a:pt x="13703" y="2503"/>
                  </a:lnTo>
                  <a:lnTo>
                    <a:pt x="13784" y="2519"/>
                  </a:lnTo>
                  <a:lnTo>
                    <a:pt x="13784" y="2540"/>
                  </a:lnTo>
                  <a:lnTo>
                    <a:pt x="13849" y="2540"/>
                  </a:lnTo>
                  <a:lnTo>
                    <a:pt x="14280" y="2540"/>
                  </a:lnTo>
                  <a:lnTo>
                    <a:pt x="14527" y="2437"/>
                  </a:lnTo>
                  <a:lnTo>
                    <a:pt x="14527" y="2218"/>
                  </a:lnTo>
                  <a:lnTo>
                    <a:pt x="14715" y="2051"/>
                  </a:lnTo>
                  <a:lnTo>
                    <a:pt x="14815" y="2115"/>
                  </a:lnTo>
                  <a:lnTo>
                    <a:pt x="14775" y="2138"/>
                  </a:lnTo>
                  <a:lnTo>
                    <a:pt x="14796" y="2218"/>
                  </a:lnTo>
                  <a:lnTo>
                    <a:pt x="14756" y="2195"/>
                  </a:lnTo>
                  <a:lnTo>
                    <a:pt x="14732" y="2218"/>
                  </a:lnTo>
                  <a:lnTo>
                    <a:pt x="14756" y="2237"/>
                  </a:lnTo>
                  <a:lnTo>
                    <a:pt x="14732" y="2275"/>
                  </a:lnTo>
                  <a:lnTo>
                    <a:pt x="14715" y="2275"/>
                  </a:lnTo>
                  <a:lnTo>
                    <a:pt x="14756" y="2341"/>
                  </a:lnTo>
                  <a:lnTo>
                    <a:pt x="14675" y="2519"/>
                  </a:lnTo>
                  <a:lnTo>
                    <a:pt x="14815" y="2622"/>
                  </a:lnTo>
                  <a:lnTo>
                    <a:pt x="14796" y="2904"/>
                  </a:lnTo>
                  <a:lnTo>
                    <a:pt x="14918" y="2904"/>
                  </a:lnTo>
                  <a:lnTo>
                    <a:pt x="14918" y="2867"/>
                  </a:lnTo>
                  <a:lnTo>
                    <a:pt x="15001" y="2888"/>
                  </a:lnTo>
                  <a:lnTo>
                    <a:pt x="15230" y="3074"/>
                  </a:lnTo>
                  <a:lnTo>
                    <a:pt x="15249" y="3050"/>
                  </a:lnTo>
                  <a:lnTo>
                    <a:pt x="15249" y="3114"/>
                  </a:lnTo>
                  <a:lnTo>
                    <a:pt x="15330" y="3114"/>
                  </a:lnTo>
                  <a:lnTo>
                    <a:pt x="15418" y="3114"/>
                  </a:lnTo>
                  <a:lnTo>
                    <a:pt x="15499" y="3196"/>
                  </a:lnTo>
                  <a:lnTo>
                    <a:pt x="15475" y="3252"/>
                  </a:lnTo>
                  <a:lnTo>
                    <a:pt x="15499" y="3295"/>
                  </a:lnTo>
                  <a:lnTo>
                    <a:pt x="15499" y="3276"/>
                  </a:lnTo>
                  <a:lnTo>
                    <a:pt x="15599" y="3276"/>
                  </a:lnTo>
                  <a:lnTo>
                    <a:pt x="15704" y="3374"/>
                  </a:lnTo>
                  <a:lnTo>
                    <a:pt x="15682" y="3414"/>
                  </a:lnTo>
                  <a:lnTo>
                    <a:pt x="15723" y="3478"/>
                  </a:lnTo>
                  <a:lnTo>
                    <a:pt x="15704" y="3497"/>
                  </a:lnTo>
                  <a:lnTo>
                    <a:pt x="15747" y="3534"/>
                  </a:lnTo>
                  <a:lnTo>
                    <a:pt x="15747" y="3518"/>
                  </a:lnTo>
                  <a:lnTo>
                    <a:pt x="15935" y="3478"/>
                  </a:lnTo>
                  <a:lnTo>
                    <a:pt x="15935" y="3518"/>
                  </a:lnTo>
                  <a:lnTo>
                    <a:pt x="15951" y="3518"/>
                  </a:lnTo>
                  <a:lnTo>
                    <a:pt x="15992" y="3414"/>
                  </a:lnTo>
                  <a:lnTo>
                    <a:pt x="16156" y="3414"/>
                  </a:lnTo>
                  <a:lnTo>
                    <a:pt x="16156" y="3374"/>
                  </a:lnTo>
                  <a:lnTo>
                    <a:pt x="16302" y="3436"/>
                  </a:lnTo>
                  <a:lnTo>
                    <a:pt x="16285" y="3454"/>
                  </a:lnTo>
                  <a:lnTo>
                    <a:pt x="16366" y="3518"/>
                  </a:lnTo>
                  <a:lnTo>
                    <a:pt x="16490" y="3518"/>
                  </a:lnTo>
                  <a:lnTo>
                    <a:pt x="16506" y="3600"/>
                  </a:lnTo>
                  <a:lnTo>
                    <a:pt x="16590" y="3624"/>
                  </a:lnTo>
                  <a:lnTo>
                    <a:pt x="16611" y="3581"/>
                  </a:lnTo>
                  <a:lnTo>
                    <a:pt x="16694" y="3600"/>
                  </a:lnTo>
                  <a:lnTo>
                    <a:pt x="16694" y="3560"/>
                  </a:lnTo>
                  <a:lnTo>
                    <a:pt x="16716" y="3560"/>
                  </a:lnTo>
                  <a:lnTo>
                    <a:pt x="16716" y="3518"/>
                  </a:lnTo>
                  <a:lnTo>
                    <a:pt x="16759" y="3497"/>
                  </a:lnTo>
                  <a:lnTo>
                    <a:pt x="16759" y="3478"/>
                  </a:lnTo>
                  <a:lnTo>
                    <a:pt x="16940" y="3478"/>
                  </a:lnTo>
                  <a:lnTo>
                    <a:pt x="17085" y="3560"/>
                  </a:lnTo>
                  <a:lnTo>
                    <a:pt x="17085" y="3534"/>
                  </a:lnTo>
                  <a:lnTo>
                    <a:pt x="17192" y="3518"/>
                  </a:lnTo>
                  <a:lnTo>
                    <a:pt x="17192" y="3534"/>
                  </a:lnTo>
                  <a:lnTo>
                    <a:pt x="17373" y="3640"/>
                  </a:lnTo>
                  <a:lnTo>
                    <a:pt x="17354" y="3663"/>
                  </a:lnTo>
                  <a:lnTo>
                    <a:pt x="17437" y="3783"/>
                  </a:lnTo>
                  <a:lnTo>
                    <a:pt x="17397" y="3783"/>
                  </a:lnTo>
                  <a:lnTo>
                    <a:pt x="17414" y="3826"/>
                  </a:lnTo>
                  <a:lnTo>
                    <a:pt x="17437" y="3826"/>
                  </a:lnTo>
                  <a:lnTo>
                    <a:pt x="17602" y="4028"/>
                  </a:lnTo>
                  <a:lnTo>
                    <a:pt x="17623" y="4091"/>
                  </a:lnTo>
                  <a:lnTo>
                    <a:pt x="17642" y="4091"/>
                  </a:lnTo>
                  <a:lnTo>
                    <a:pt x="17683" y="4211"/>
                  </a:lnTo>
                  <a:lnTo>
                    <a:pt x="17849" y="4211"/>
                  </a:lnTo>
                  <a:lnTo>
                    <a:pt x="17849" y="4171"/>
                  </a:lnTo>
                  <a:lnTo>
                    <a:pt x="17871" y="4171"/>
                  </a:lnTo>
                  <a:lnTo>
                    <a:pt x="17830" y="4091"/>
                  </a:lnTo>
                  <a:lnTo>
                    <a:pt x="17871" y="4065"/>
                  </a:lnTo>
                  <a:lnTo>
                    <a:pt x="17935" y="4091"/>
                  </a:lnTo>
                  <a:lnTo>
                    <a:pt x="17976" y="4065"/>
                  </a:lnTo>
                  <a:lnTo>
                    <a:pt x="18019" y="4091"/>
                  </a:lnTo>
                  <a:lnTo>
                    <a:pt x="18140" y="4131"/>
                  </a:lnTo>
                  <a:lnTo>
                    <a:pt x="18183" y="4293"/>
                  </a:lnTo>
                  <a:lnTo>
                    <a:pt x="18200" y="4293"/>
                  </a:lnTo>
                  <a:lnTo>
                    <a:pt x="18223" y="4211"/>
                  </a:lnTo>
                  <a:lnTo>
                    <a:pt x="18240" y="4211"/>
                  </a:lnTo>
                  <a:lnTo>
                    <a:pt x="18240" y="4230"/>
                  </a:lnTo>
                  <a:lnTo>
                    <a:pt x="18281" y="4230"/>
                  </a:lnTo>
                  <a:lnTo>
                    <a:pt x="18328" y="4270"/>
                  </a:lnTo>
                  <a:lnTo>
                    <a:pt x="18369" y="4253"/>
                  </a:lnTo>
                  <a:lnTo>
                    <a:pt x="18388" y="4270"/>
                  </a:lnTo>
                  <a:lnTo>
                    <a:pt x="18531" y="4253"/>
                  </a:lnTo>
                  <a:lnTo>
                    <a:pt x="18531" y="4270"/>
                  </a:lnTo>
                  <a:lnTo>
                    <a:pt x="18631" y="4211"/>
                  </a:lnTo>
                  <a:lnTo>
                    <a:pt x="18631" y="4131"/>
                  </a:lnTo>
                  <a:lnTo>
                    <a:pt x="18762" y="4108"/>
                  </a:lnTo>
                  <a:lnTo>
                    <a:pt x="18778" y="4148"/>
                  </a:lnTo>
                  <a:lnTo>
                    <a:pt x="18821" y="4131"/>
                  </a:lnTo>
                  <a:lnTo>
                    <a:pt x="18943" y="4333"/>
                  </a:lnTo>
                  <a:lnTo>
                    <a:pt x="19047" y="4333"/>
                  </a:lnTo>
                  <a:lnTo>
                    <a:pt x="19064" y="4392"/>
                  </a:lnTo>
                  <a:lnTo>
                    <a:pt x="19152" y="4392"/>
                  </a:lnTo>
                  <a:lnTo>
                    <a:pt x="19152" y="4373"/>
                  </a:lnTo>
                  <a:lnTo>
                    <a:pt x="19212" y="4373"/>
                  </a:lnTo>
                  <a:lnTo>
                    <a:pt x="19212" y="4392"/>
                  </a:lnTo>
                  <a:lnTo>
                    <a:pt x="19317" y="4333"/>
                  </a:lnTo>
                  <a:lnTo>
                    <a:pt x="19417" y="4392"/>
                  </a:lnTo>
                  <a:lnTo>
                    <a:pt x="19443" y="4373"/>
                  </a:lnTo>
                  <a:lnTo>
                    <a:pt x="19500" y="4373"/>
                  </a:lnTo>
                  <a:lnTo>
                    <a:pt x="19521" y="4352"/>
                  </a:lnTo>
                  <a:lnTo>
                    <a:pt x="19998" y="4512"/>
                  </a:lnTo>
                  <a:lnTo>
                    <a:pt x="19750" y="4939"/>
                  </a:lnTo>
                  <a:lnTo>
                    <a:pt x="19712" y="4939"/>
                  </a:lnTo>
                  <a:lnTo>
                    <a:pt x="19686" y="5003"/>
                  </a:lnTo>
                  <a:lnTo>
                    <a:pt x="19645" y="5003"/>
                  </a:lnTo>
                  <a:lnTo>
                    <a:pt x="19131" y="6512"/>
                  </a:lnTo>
                  <a:lnTo>
                    <a:pt x="19236" y="7750"/>
                  </a:lnTo>
                  <a:lnTo>
                    <a:pt x="19212" y="7750"/>
                  </a:lnTo>
                  <a:lnTo>
                    <a:pt x="19090" y="7870"/>
                  </a:lnTo>
                  <a:lnTo>
                    <a:pt x="19152" y="7853"/>
                  </a:lnTo>
                  <a:lnTo>
                    <a:pt x="19131" y="7891"/>
                  </a:lnTo>
                  <a:lnTo>
                    <a:pt x="19107" y="7891"/>
                  </a:lnTo>
                  <a:lnTo>
                    <a:pt x="19064" y="7973"/>
                  </a:lnTo>
                  <a:lnTo>
                    <a:pt x="19007" y="7950"/>
                  </a:lnTo>
                  <a:lnTo>
                    <a:pt x="18983" y="7973"/>
                  </a:lnTo>
                  <a:lnTo>
                    <a:pt x="19026" y="7997"/>
                  </a:lnTo>
                  <a:lnTo>
                    <a:pt x="18714" y="8135"/>
                  </a:lnTo>
                  <a:lnTo>
                    <a:pt x="18695" y="8093"/>
                  </a:lnTo>
                  <a:lnTo>
                    <a:pt x="18593" y="8093"/>
                  </a:lnTo>
                  <a:lnTo>
                    <a:pt x="18614" y="7997"/>
                  </a:lnTo>
                  <a:lnTo>
                    <a:pt x="18631" y="7973"/>
                  </a:lnTo>
                  <a:lnTo>
                    <a:pt x="18531" y="7950"/>
                  </a:lnTo>
                  <a:lnTo>
                    <a:pt x="18304" y="7997"/>
                  </a:lnTo>
                  <a:lnTo>
                    <a:pt x="18328" y="8093"/>
                  </a:lnTo>
                  <a:lnTo>
                    <a:pt x="18240" y="8135"/>
                  </a:lnTo>
                  <a:lnTo>
                    <a:pt x="18240" y="8199"/>
                  </a:lnTo>
                  <a:lnTo>
                    <a:pt x="18200" y="8199"/>
                  </a:lnTo>
                  <a:lnTo>
                    <a:pt x="18157" y="8319"/>
                  </a:lnTo>
                  <a:lnTo>
                    <a:pt x="18409" y="8281"/>
                  </a:lnTo>
                  <a:lnTo>
                    <a:pt x="18426" y="8337"/>
                  </a:lnTo>
                  <a:lnTo>
                    <a:pt x="18261" y="8457"/>
                  </a:lnTo>
                  <a:lnTo>
                    <a:pt x="18119" y="8749"/>
                  </a:lnTo>
                  <a:lnTo>
                    <a:pt x="18140" y="8765"/>
                  </a:lnTo>
                  <a:lnTo>
                    <a:pt x="17954" y="8948"/>
                  </a:lnTo>
                  <a:lnTo>
                    <a:pt x="17935" y="8927"/>
                  </a:lnTo>
                  <a:lnTo>
                    <a:pt x="17888" y="8988"/>
                  </a:lnTo>
                  <a:lnTo>
                    <a:pt x="17935" y="9031"/>
                  </a:lnTo>
                  <a:lnTo>
                    <a:pt x="17602" y="9233"/>
                  </a:lnTo>
                  <a:lnTo>
                    <a:pt x="17585" y="9233"/>
                  </a:lnTo>
                  <a:lnTo>
                    <a:pt x="17502" y="9336"/>
                  </a:lnTo>
                  <a:lnTo>
                    <a:pt x="17545" y="9644"/>
                  </a:lnTo>
                  <a:lnTo>
                    <a:pt x="17561" y="9644"/>
                  </a:lnTo>
                  <a:lnTo>
                    <a:pt x="17023" y="10152"/>
                  </a:lnTo>
                  <a:lnTo>
                    <a:pt x="17068" y="10192"/>
                  </a:lnTo>
                  <a:lnTo>
                    <a:pt x="17111" y="10231"/>
                  </a:lnTo>
                  <a:lnTo>
                    <a:pt x="16964" y="10539"/>
                  </a:lnTo>
                  <a:lnTo>
                    <a:pt x="17149" y="10619"/>
                  </a:lnTo>
                  <a:lnTo>
                    <a:pt x="17045" y="10941"/>
                  </a:lnTo>
                  <a:lnTo>
                    <a:pt x="16842" y="11007"/>
                  </a:lnTo>
                  <a:lnTo>
                    <a:pt x="16842" y="11023"/>
                  </a:lnTo>
                  <a:lnTo>
                    <a:pt x="16880" y="11087"/>
                  </a:lnTo>
                  <a:lnTo>
                    <a:pt x="16816" y="11186"/>
                  </a:lnTo>
                  <a:lnTo>
                    <a:pt x="16842" y="11209"/>
                  </a:lnTo>
                  <a:lnTo>
                    <a:pt x="16964" y="11169"/>
                  </a:lnTo>
                  <a:lnTo>
                    <a:pt x="16980" y="11127"/>
                  </a:lnTo>
                  <a:lnTo>
                    <a:pt x="17045" y="11127"/>
                  </a:lnTo>
                  <a:lnTo>
                    <a:pt x="17068" y="11146"/>
                  </a:lnTo>
                  <a:lnTo>
                    <a:pt x="17128" y="11146"/>
                  </a:lnTo>
                  <a:lnTo>
                    <a:pt x="17128" y="11127"/>
                  </a:lnTo>
                  <a:lnTo>
                    <a:pt x="17192" y="11087"/>
                  </a:lnTo>
                  <a:lnTo>
                    <a:pt x="17373" y="10878"/>
                  </a:lnTo>
                  <a:lnTo>
                    <a:pt x="17354" y="10861"/>
                  </a:lnTo>
                  <a:lnTo>
                    <a:pt x="17316" y="10904"/>
                  </a:lnTo>
                  <a:lnTo>
                    <a:pt x="17276" y="10821"/>
                  </a:lnTo>
                  <a:lnTo>
                    <a:pt x="17414" y="10619"/>
                  </a:lnTo>
                  <a:lnTo>
                    <a:pt x="17502" y="10676"/>
                  </a:lnTo>
                  <a:lnTo>
                    <a:pt x="18157" y="10539"/>
                  </a:lnTo>
                  <a:lnTo>
                    <a:pt x="18157" y="10556"/>
                  </a:lnTo>
                  <a:lnTo>
                    <a:pt x="18119" y="10619"/>
                  </a:lnTo>
                  <a:lnTo>
                    <a:pt x="18240" y="10758"/>
                  </a:lnTo>
                  <a:lnTo>
                    <a:pt x="18261" y="10741"/>
                  </a:lnTo>
                  <a:lnTo>
                    <a:pt x="18261" y="10838"/>
                  </a:lnTo>
                  <a:lnTo>
                    <a:pt x="18183" y="11106"/>
                  </a:lnTo>
                  <a:lnTo>
                    <a:pt x="18345" y="11127"/>
                  </a:lnTo>
                  <a:lnTo>
                    <a:pt x="18304" y="11289"/>
                  </a:lnTo>
                  <a:lnTo>
                    <a:pt x="18409" y="11268"/>
                  </a:lnTo>
                  <a:lnTo>
                    <a:pt x="18573" y="11451"/>
                  </a:lnTo>
                  <a:lnTo>
                    <a:pt x="18552" y="11451"/>
                  </a:lnTo>
                  <a:lnTo>
                    <a:pt x="18614" y="11571"/>
                  </a:lnTo>
                  <a:lnTo>
                    <a:pt x="18369" y="11757"/>
                  </a:lnTo>
                  <a:lnTo>
                    <a:pt x="18345" y="11757"/>
                  </a:lnTo>
                  <a:lnTo>
                    <a:pt x="18345" y="11799"/>
                  </a:lnTo>
                  <a:lnTo>
                    <a:pt x="18304" y="11775"/>
                  </a:lnTo>
                  <a:lnTo>
                    <a:pt x="18240" y="11839"/>
                  </a:lnTo>
                  <a:lnTo>
                    <a:pt x="18240" y="11855"/>
                  </a:lnTo>
                  <a:lnTo>
                    <a:pt x="18223" y="11919"/>
                  </a:lnTo>
                  <a:lnTo>
                    <a:pt x="18388" y="12144"/>
                  </a:lnTo>
                  <a:lnTo>
                    <a:pt x="18426" y="12144"/>
                  </a:lnTo>
                  <a:lnTo>
                    <a:pt x="18409" y="12163"/>
                  </a:lnTo>
                  <a:lnTo>
                    <a:pt x="18469" y="12201"/>
                  </a:lnTo>
                  <a:lnTo>
                    <a:pt x="18573" y="12227"/>
                  </a:lnTo>
                  <a:lnTo>
                    <a:pt x="18552" y="12346"/>
                  </a:lnTo>
                  <a:lnTo>
                    <a:pt x="18631" y="12548"/>
                  </a:lnTo>
                  <a:lnTo>
                    <a:pt x="18673" y="12548"/>
                  </a:lnTo>
                  <a:lnTo>
                    <a:pt x="18695" y="12574"/>
                  </a:lnTo>
                  <a:lnTo>
                    <a:pt x="18673" y="12591"/>
                  </a:lnTo>
                  <a:lnTo>
                    <a:pt x="18778" y="12612"/>
                  </a:lnTo>
                  <a:lnTo>
                    <a:pt x="18900" y="12734"/>
                  </a:lnTo>
                  <a:lnTo>
                    <a:pt x="18843" y="12920"/>
                  </a:lnTo>
                  <a:lnTo>
                    <a:pt x="18804" y="12920"/>
                  </a:lnTo>
                  <a:lnTo>
                    <a:pt x="18821" y="13098"/>
                  </a:lnTo>
                  <a:lnTo>
                    <a:pt x="18804" y="13098"/>
                  </a:lnTo>
                  <a:lnTo>
                    <a:pt x="18762" y="13178"/>
                  </a:lnTo>
                  <a:lnTo>
                    <a:pt x="18714" y="13162"/>
                  </a:lnTo>
                  <a:lnTo>
                    <a:pt x="18573" y="13221"/>
                  </a:lnTo>
                  <a:lnTo>
                    <a:pt x="18552" y="13284"/>
                  </a:lnTo>
                  <a:lnTo>
                    <a:pt x="18469" y="13300"/>
                  </a:lnTo>
                  <a:lnTo>
                    <a:pt x="18469" y="13364"/>
                  </a:lnTo>
                  <a:lnTo>
                    <a:pt x="18119" y="13387"/>
                  </a:lnTo>
                  <a:lnTo>
                    <a:pt x="18035" y="13444"/>
                  </a:lnTo>
                  <a:lnTo>
                    <a:pt x="18119" y="13646"/>
                  </a:lnTo>
                  <a:lnTo>
                    <a:pt x="18240" y="13669"/>
                  </a:lnTo>
                  <a:lnTo>
                    <a:pt x="18261" y="13709"/>
                  </a:lnTo>
                  <a:lnTo>
                    <a:pt x="18223" y="13709"/>
                  </a:lnTo>
                  <a:lnTo>
                    <a:pt x="18281" y="13768"/>
                  </a:lnTo>
                  <a:lnTo>
                    <a:pt x="18261" y="13914"/>
                  </a:lnTo>
                  <a:lnTo>
                    <a:pt x="18552" y="14034"/>
                  </a:lnTo>
                  <a:lnTo>
                    <a:pt x="18573" y="13994"/>
                  </a:lnTo>
                  <a:lnTo>
                    <a:pt x="18714" y="14074"/>
                  </a:lnTo>
                  <a:lnTo>
                    <a:pt x="18695" y="14156"/>
                  </a:lnTo>
                  <a:lnTo>
                    <a:pt x="18843" y="14403"/>
                  </a:lnTo>
                  <a:lnTo>
                    <a:pt x="18657" y="14421"/>
                  </a:lnTo>
                  <a:lnTo>
                    <a:pt x="18631" y="14464"/>
                  </a:lnTo>
                  <a:lnTo>
                    <a:pt x="18657" y="14544"/>
                  </a:lnTo>
                  <a:lnTo>
                    <a:pt x="18492" y="14809"/>
                  </a:lnTo>
                  <a:lnTo>
                    <a:pt x="18657" y="14995"/>
                  </a:lnTo>
                  <a:lnTo>
                    <a:pt x="18573" y="15011"/>
                  </a:lnTo>
                  <a:lnTo>
                    <a:pt x="18573" y="15131"/>
                  </a:lnTo>
                  <a:lnTo>
                    <a:pt x="18804" y="15422"/>
                  </a:lnTo>
                  <a:lnTo>
                    <a:pt x="18821" y="15422"/>
                  </a:lnTo>
                  <a:lnTo>
                    <a:pt x="18843" y="15439"/>
                  </a:lnTo>
                  <a:lnTo>
                    <a:pt x="19090" y="15479"/>
                  </a:lnTo>
                  <a:lnTo>
                    <a:pt x="19152" y="15542"/>
                  </a:lnTo>
                  <a:lnTo>
                    <a:pt x="19169" y="15542"/>
                  </a:lnTo>
                  <a:lnTo>
                    <a:pt x="19500" y="15641"/>
                  </a:lnTo>
                  <a:lnTo>
                    <a:pt x="19500" y="15624"/>
                  </a:lnTo>
                  <a:lnTo>
                    <a:pt x="19833" y="15519"/>
                  </a:lnTo>
                  <a:lnTo>
                    <a:pt x="19833" y="15479"/>
                  </a:lnTo>
                  <a:lnTo>
                    <a:pt x="19914" y="15479"/>
                  </a:lnTo>
                  <a:lnTo>
                    <a:pt x="19890" y="15624"/>
                  </a:lnTo>
                  <a:lnTo>
                    <a:pt x="19971" y="15784"/>
                  </a:lnTo>
                  <a:lnTo>
                    <a:pt x="19890" y="15824"/>
                  </a:lnTo>
                  <a:lnTo>
                    <a:pt x="19686" y="16358"/>
                  </a:lnTo>
                  <a:lnTo>
                    <a:pt x="19712" y="16395"/>
                  </a:lnTo>
                  <a:lnTo>
                    <a:pt x="19645" y="16477"/>
                  </a:lnTo>
                  <a:lnTo>
                    <a:pt x="19605" y="16454"/>
                  </a:lnTo>
                  <a:lnTo>
                    <a:pt x="19459" y="16557"/>
                  </a:lnTo>
                  <a:lnTo>
                    <a:pt x="19443" y="16557"/>
                  </a:lnTo>
                  <a:lnTo>
                    <a:pt x="19400" y="16600"/>
                  </a:lnTo>
                  <a:lnTo>
                    <a:pt x="19417" y="16640"/>
                  </a:lnTo>
                  <a:lnTo>
                    <a:pt x="19400" y="16656"/>
                  </a:lnTo>
                  <a:lnTo>
                    <a:pt x="19376" y="16600"/>
                  </a:lnTo>
                  <a:lnTo>
                    <a:pt x="19333" y="16640"/>
                  </a:lnTo>
                  <a:lnTo>
                    <a:pt x="19317" y="16618"/>
                  </a:lnTo>
                  <a:lnTo>
                    <a:pt x="19064" y="16905"/>
                  </a:lnTo>
                  <a:lnTo>
                    <a:pt x="19107" y="16964"/>
                  </a:lnTo>
                  <a:lnTo>
                    <a:pt x="19064" y="16987"/>
                  </a:lnTo>
                  <a:lnTo>
                    <a:pt x="19047" y="16922"/>
                  </a:lnTo>
                  <a:lnTo>
                    <a:pt x="18926" y="17004"/>
                  </a:lnTo>
                  <a:lnTo>
                    <a:pt x="18900" y="16987"/>
                  </a:lnTo>
                  <a:lnTo>
                    <a:pt x="18762" y="17067"/>
                  </a:lnTo>
                  <a:lnTo>
                    <a:pt x="18804" y="17084"/>
                  </a:lnTo>
                  <a:lnTo>
                    <a:pt x="18778" y="17150"/>
                  </a:lnTo>
                  <a:lnTo>
                    <a:pt x="18738" y="17150"/>
                  </a:lnTo>
                  <a:lnTo>
                    <a:pt x="18695" y="17269"/>
                  </a:lnTo>
                  <a:lnTo>
                    <a:pt x="18657" y="17269"/>
                  </a:lnTo>
                  <a:lnTo>
                    <a:pt x="18631" y="17269"/>
                  </a:lnTo>
                  <a:lnTo>
                    <a:pt x="18631" y="17312"/>
                  </a:lnTo>
                  <a:lnTo>
                    <a:pt x="18452" y="17312"/>
                  </a:lnTo>
                  <a:lnTo>
                    <a:pt x="18200" y="17655"/>
                  </a:lnTo>
                  <a:lnTo>
                    <a:pt x="18200" y="17674"/>
                  </a:lnTo>
                  <a:lnTo>
                    <a:pt x="18345" y="17655"/>
                  </a:lnTo>
                  <a:lnTo>
                    <a:pt x="18345" y="17634"/>
                  </a:lnTo>
                  <a:lnTo>
                    <a:pt x="18388" y="17655"/>
                  </a:lnTo>
                  <a:lnTo>
                    <a:pt x="18345" y="17779"/>
                  </a:lnTo>
                  <a:lnTo>
                    <a:pt x="18369" y="17796"/>
                  </a:lnTo>
                  <a:lnTo>
                    <a:pt x="18369" y="17817"/>
                  </a:lnTo>
                  <a:lnTo>
                    <a:pt x="18304" y="17843"/>
                  </a:lnTo>
                  <a:lnTo>
                    <a:pt x="18304" y="17883"/>
                  </a:lnTo>
                  <a:lnTo>
                    <a:pt x="18261" y="17899"/>
                  </a:lnTo>
                  <a:lnTo>
                    <a:pt x="18157" y="17859"/>
                  </a:lnTo>
                  <a:lnTo>
                    <a:pt x="17830" y="18003"/>
                  </a:lnTo>
                  <a:lnTo>
                    <a:pt x="17830" y="18101"/>
                  </a:lnTo>
                  <a:lnTo>
                    <a:pt x="17561" y="18045"/>
                  </a:lnTo>
                  <a:lnTo>
                    <a:pt x="17502" y="18223"/>
                  </a:lnTo>
                  <a:lnTo>
                    <a:pt x="17518" y="18223"/>
                  </a:lnTo>
                  <a:lnTo>
                    <a:pt x="17480" y="18247"/>
                  </a:lnTo>
                  <a:lnTo>
                    <a:pt x="17397" y="18247"/>
                  </a:lnTo>
                  <a:lnTo>
                    <a:pt x="17373" y="18223"/>
                  </a:lnTo>
                  <a:lnTo>
                    <a:pt x="17454" y="18207"/>
                  </a:lnTo>
                  <a:lnTo>
                    <a:pt x="17397" y="18125"/>
                  </a:lnTo>
                  <a:lnTo>
                    <a:pt x="17249" y="18125"/>
                  </a:lnTo>
                  <a:lnTo>
                    <a:pt x="17249" y="18101"/>
                  </a:lnTo>
                  <a:lnTo>
                    <a:pt x="17111" y="18082"/>
                  </a:lnTo>
                  <a:lnTo>
                    <a:pt x="17111" y="18061"/>
                  </a:lnTo>
                  <a:lnTo>
                    <a:pt x="17023" y="18061"/>
                  </a:lnTo>
                  <a:lnTo>
                    <a:pt x="17023" y="18082"/>
                  </a:lnTo>
                  <a:lnTo>
                    <a:pt x="17068" y="18101"/>
                  </a:lnTo>
                  <a:lnTo>
                    <a:pt x="17068" y="18144"/>
                  </a:lnTo>
                  <a:lnTo>
                    <a:pt x="17128" y="18125"/>
                  </a:lnTo>
                  <a:lnTo>
                    <a:pt x="17149" y="18165"/>
                  </a:lnTo>
                  <a:lnTo>
                    <a:pt x="17068" y="18181"/>
                  </a:lnTo>
                  <a:lnTo>
                    <a:pt x="17023" y="18165"/>
                  </a:lnTo>
                  <a:lnTo>
                    <a:pt x="16980" y="18223"/>
                  </a:lnTo>
                  <a:lnTo>
                    <a:pt x="16880" y="18181"/>
                  </a:lnTo>
                  <a:lnTo>
                    <a:pt x="16899" y="18082"/>
                  </a:lnTo>
                  <a:lnTo>
                    <a:pt x="16842" y="18061"/>
                  </a:lnTo>
                  <a:lnTo>
                    <a:pt x="16842" y="18045"/>
                  </a:lnTo>
                  <a:lnTo>
                    <a:pt x="16678" y="17981"/>
                  </a:lnTo>
                  <a:lnTo>
                    <a:pt x="16694" y="17963"/>
                  </a:lnTo>
                  <a:lnTo>
                    <a:pt x="16694" y="17941"/>
                  </a:lnTo>
                  <a:lnTo>
                    <a:pt x="16654" y="17941"/>
                  </a:lnTo>
                  <a:lnTo>
                    <a:pt x="16573" y="17941"/>
                  </a:lnTo>
                  <a:lnTo>
                    <a:pt x="16547" y="17981"/>
                  </a:lnTo>
                  <a:lnTo>
                    <a:pt x="16425" y="17883"/>
                  </a:lnTo>
                  <a:lnTo>
                    <a:pt x="16073" y="17899"/>
                  </a:lnTo>
                  <a:lnTo>
                    <a:pt x="16073" y="17883"/>
                  </a:lnTo>
                  <a:lnTo>
                    <a:pt x="16137" y="17753"/>
                  </a:lnTo>
                  <a:lnTo>
                    <a:pt x="16097" y="17714"/>
                  </a:lnTo>
                  <a:lnTo>
                    <a:pt x="16016" y="17551"/>
                  </a:lnTo>
                  <a:lnTo>
                    <a:pt x="15539" y="17594"/>
                  </a:lnTo>
                  <a:lnTo>
                    <a:pt x="15499" y="17514"/>
                  </a:lnTo>
                  <a:lnTo>
                    <a:pt x="15704" y="17453"/>
                  </a:lnTo>
                  <a:lnTo>
                    <a:pt x="15704" y="17472"/>
                  </a:lnTo>
                  <a:lnTo>
                    <a:pt x="15868" y="17286"/>
                  </a:lnTo>
                  <a:lnTo>
                    <a:pt x="15828" y="17269"/>
                  </a:lnTo>
                  <a:lnTo>
                    <a:pt x="15763" y="17333"/>
                  </a:lnTo>
                  <a:lnTo>
                    <a:pt x="15763" y="17352"/>
                  </a:lnTo>
                  <a:lnTo>
                    <a:pt x="15663" y="17187"/>
                  </a:lnTo>
                  <a:lnTo>
                    <a:pt x="15556" y="17187"/>
                  </a:lnTo>
                  <a:lnTo>
                    <a:pt x="15518" y="17124"/>
                  </a:lnTo>
                  <a:lnTo>
                    <a:pt x="15518" y="17312"/>
                  </a:lnTo>
                  <a:lnTo>
                    <a:pt x="15582" y="17312"/>
                  </a:lnTo>
                  <a:lnTo>
                    <a:pt x="15599" y="17472"/>
                  </a:lnTo>
                  <a:lnTo>
                    <a:pt x="15475" y="17495"/>
                  </a:lnTo>
                  <a:lnTo>
                    <a:pt x="15370" y="17415"/>
                  </a:lnTo>
                  <a:lnTo>
                    <a:pt x="15249" y="17535"/>
                  </a:lnTo>
                  <a:lnTo>
                    <a:pt x="15313" y="17577"/>
                  </a:lnTo>
                  <a:lnTo>
                    <a:pt x="15230" y="17655"/>
                  </a:lnTo>
                  <a:lnTo>
                    <a:pt x="14937" y="17617"/>
                  </a:lnTo>
                  <a:lnTo>
                    <a:pt x="14918" y="17495"/>
                  </a:lnTo>
                  <a:lnTo>
                    <a:pt x="14856" y="17495"/>
                  </a:lnTo>
                  <a:lnTo>
                    <a:pt x="14856" y="17617"/>
                  </a:lnTo>
                  <a:lnTo>
                    <a:pt x="14775" y="17577"/>
                  </a:lnTo>
                  <a:lnTo>
                    <a:pt x="14796" y="17432"/>
                  </a:lnTo>
                  <a:lnTo>
                    <a:pt x="14199" y="17389"/>
                  </a:lnTo>
                  <a:close/>
                </a:path>
              </a:pathLst>
            </a:custGeom>
            <a:grpFill/>
            <a:ln w="3175" cap="flat" cmpd="sng">
              <a:solidFill>
                <a:srgbClr val="FFFFFF"/>
              </a:solidFill>
              <a:prstDash val="solid"/>
              <a:round/>
              <a:headEnd type="none" w="med" len="med"/>
              <a:tailEnd type="none" w="med" len="med"/>
            </a:ln>
            <a:effectLst/>
          </p:spPr>
          <p:txBody>
            <a:bodyPr/>
            <a:lstStyle/>
            <a:p>
              <a:pPr>
                <a:buClr>
                  <a:srgbClr val="B40646"/>
                </a:buClr>
                <a:defRPr/>
              </a:pPr>
              <a:endParaRPr lang="en-GB" dirty="0">
                <a:solidFill>
                  <a:srgbClr val="000000"/>
                </a:solidFill>
              </a:endParaRPr>
            </a:p>
          </p:txBody>
        </p:sp>
        <p:sp>
          <p:nvSpPr>
            <p:cNvPr id="73" name="Freeform 47"/>
            <p:cNvSpPr>
              <a:spLocks/>
            </p:cNvSpPr>
            <p:nvPr/>
          </p:nvSpPr>
          <p:spPr bwMode="auto">
            <a:xfrm>
              <a:off x="6758718" y="5378562"/>
              <a:ext cx="346715" cy="814110"/>
            </a:xfrm>
            <a:custGeom>
              <a:avLst/>
              <a:gdLst/>
              <a:ahLst/>
              <a:cxnLst>
                <a:cxn ang="0">
                  <a:pos x="292" y="16"/>
                </a:cxn>
                <a:cxn ang="0">
                  <a:pos x="272" y="46"/>
                </a:cxn>
                <a:cxn ang="0">
                  <a:pos x="286" y="74"/>
                </a:cxn>
                <a:cxn ang="0">
                  <a:pos x="284" y="110"/>
                </a:cxn>
                <a:cxn ang="0">
                  <a:pos x="272" y="154"/>
                </a:cxn>
                <a:cxn ang="0">
                  <a:pos x="258" y="170"/>
                </a:cxn>
                <a:cxn ang="0">
                  <a:pos x="232" y="144"/>
                </a:cxn>
                <a:cxn ang="0">
                  <a:pos x="206" y="152"/>
                </a:cxn>
                <a:cxn ang="0">
                  <a:pos x="186" y="172"/>
                </a:cxn>
                <a:cxn ang="0">
                  <a:pos x="160" y="182"/>
                </a:cxn>
                <a:cxn ang="0">
                  <a:pos x="154" y="174"/>
                </a:cxn>
                <a:cxn ang="0">
                  <a:pos x="96" y="194"/>
                </a:cxn>
                <a:cxn ang="0">
                  <a:pos x="62" y="234"/>
                </a:cxn>
                <a:cxn ang="0">
                  <a:pos x="44" y="298"/>
                </a:cxn>
                <a:cxn ang="0">
                  <a:pos x="20" y="314"/>
                </a:cxn>
                <a:cxn ang="0">
                  <a:pos x="8" y="338"/>
                </a:cxn>
                <a:cxn ang="0">
                  <a:pos x="42" y="374"/>
                </a:cxn>
                <a:cxn ang="0">
                  <a:pos x="20" y="396"/>
                </a:cxn>
                <a:cxn ang="0">
                  <a:pos x="10" y="416"/>
                </a:cxn>
                <a:cxn ang="0">
                  <a:pos x="30" y="458"/>
                </a:cxn>
                <a:cxn ang="0">
                  <a:pos x="64" y="468"/>
                </a:cxn>
                <a:cxn ang="0">
                  <a:pos x="44" y="498"/>
                </a:cxn>
                <a:cxn ang="0">
                  <a:pos x="26" y="536"/>
                </a:cxn>
                <a:cxn ang="0">
                  <a:pos x="50" y="574"/>
                </a:cxn>
                <a:cxn ang="0">
                  <a:pos x="58" y="588"/>
                </a:cxn>
                <a:cxn ang="0">
                  <a:pos x="62" y="636"/>
                </a:cxn>
                <a:cxn ang="0">
                  <a:pos x="56" y="680"/>
                </a:cxn>
                <a:cxn ang="0">
                  <a:pos x="110" y="700"/>
                </a:cxn>
                <a:cxn ang="0">
                  <a:pos x="90" y="728"/>
                </a:cxn>
                <a:cxn ang="0">
                  <a:pos x="98" y="774"/>
                </a:cxn>
                <a:cxn ang="0">
                  <a:pos x="126" y="788"/>
                </a:cxn>
                <a:cxn ang="0">
                  <a:pos x="160" y="808"/>
                </a:cxn>
                <a:cxn ang="0">
                  <a:pos x="222" y="810"/>
                </a:cxn>
                <a:cxn ang="0">
                  <a:pos x="256" y="838"/>
                </a:cxn>
                <a:cxn ang="0">
                  <a:pos x="268" y="770"/>
                </a:cxn>
                <a:cxn ang="0">
                  <a:pos x="294" y="728"/>
                </a:cxn>
                <a:cxn ang="0">
                  <a:pos x="320" y="660"/>
                </a:cxn>
                <a:cxn ang="0">
                  <a:pos x="308" y="530"/>
                </a:cxn>
                <a:cxn ang="0">
                  <a:pos x="332" y="486"/>
                </a:cxn>
                <a:cxn ang="0">
                  <a:pos x="356" y="444"/>
                </a:cxn>
                <a:cxn ang="0">
                  <a:pos x="350" y="224"/>
                </a:cxn>
                <a:cxn ang="0">
                  <a:pos x="324" y="164"/>
                </a:cxn>
                <a:cxn ang="0">
                  <a:pos x="336" y="104"/>
                </a:cxn>
                <a:cxn ang="0">
                  <a:pos x="320" y="30"/>
                </a:cxn>
                <a:cxn ang="0">
                  <a:pos x="302" y="0"/>
                </a:cxn>
              </a:cxnLst>
              <a:rect l="0" t="0" r="r" b="b"/>
              <a:pathLst>
                <a:path w="356" h="838">
                  <a:moveTo>
                    <a:pt x="302" y="0"/>
                  </a:moveTo>
                  <a:lnTo>
                    <a:pt x="292" y="16"/>
                  </a:lnTo>
                  <a:lnTo>
                    <a:pt x="284" y="38"/>
                  </a:lnTo>
                  <a:lnTo>
                    <a:pt x="272" y="46"/>
                  </a:lnTo>
                  <a:lnTo>
                    <a:pt x="274" y="60"/>
                  </a:lnTo>
                  <a:lnTo>
                    <a:pt x="286" y="74"/>
                  </a:lnTo>
                  <a:lnTo>
                    <a:pt x="282" y="86"/>
                  </a:lnTo>
                  <a:lnTo>
                    <a:pt x="284" y="110"/>
                  </a:lnTo>
                  <a:lnTo>
                    <a:pt x="282" y="140"/>
                  </a:lnTo>
                  <a:lnTo>
                    <a:pt x="272" y="154"/>
                  </a:lnTo>
                  <a:lnTo>
                    <a:pt x="274" y="172"/>
                  </a:lnTo>
                  <a:lnTo>
                    <a:pt x="258" y="170"/>
                  </a:lnTo>
                  <a:lnTo>
                    <a:pt x="242" y="154"/>
                  </a:lnTo>
                  <a:lnTo>
                    <a:pt x="232" y="144"/>
                  </a:lnTo>
                  <a:lnTo>
                    <a:pt x="220" y="144"/>
                  </a:lnTo>
                  <a:lnTo>
                    <a:pt x="206" y="152"/>
                  </a:lnTo>
                  <a:lnTo>
                    <a:pt x="194" y="160"/>
                  </a:lnTo>
                  <a:lnTo>
                    <a:pt x="186" y="172"/>
                  </a:lnTo>
                  <a:lnTo>
                    <a:pt x="176" y="180"/>
                  </a:lnTo>
                  <a:lnTo>
                    <a:pt x="160" y="182"/>
                  </a:lnTo>
                  <a:lnTo>
                    <a:pt x="160" y="200"/>
                  </a:lnTo>
                  <a:lnTo>
                    <a:pt x="154" y="174"/>
                  </a:lnTo>
                  <a:lnTo>
                    <a:pt x="132" y="188"/>
                  </a:lnTo>
                  <a:lnTo>
                    <a:pt x="96" y="194"/>
                  </a:lnTo>
                  <a:lnTo>
                    <a:pt x="82" y="220"/>
                  </a:lnTo>
                  <a:lnTo>
                    <a:pt x="62" y="234"/>
                  </a:lnTo>
                  <a:lnTo>
                    <a:pt x="46" y="256"/>
                  </a:lnTo>
                  <a:lnTo>
                    <a:pt x="44" y="298"/>
                  </a:lnTo>
                  <a:lnTo>
                    <a:pt x="44" y="310"/>
                  </a:lnTo>
                  <a:lnTo>
                    <a:pt x="20" y="314"/>
                  </a:lnTo>
                  <a:lnTo>
                    <a:pt x="0" y="322"/>
                  </a:lnTo>
                  <a:lnTo>
                    <a:pt x="8" y="338"/>
                  </a:lnTo>
                  <a:lnTo>
                    <a:pt x="38" y="358"/>
                  </a:lnTo>
                  <a:lnTo>
                    <a:pt x="42" y="374"/>
                  </a:lnTo>
                  <a:lnTo>
                    <a:pt x="38" y="386"/>
                  </a:lnTo>
                  <a:lnTo>
                    <a:pt x="20" y="396"/>
                  </a:lnTo>
                  <a:lnTo>
                    <a:pt x="2" y="400"/>
                  </a:lnTo>
                  <a:lnTo>
                    <a:pt x="10" y="416"/>
                  </a:lnTo>
                  <a:lnTo>
                    <a:pt x="14" y="452"/>
                  </a:lnTo>
                  <a:lnTo>
                    <a:pt x="30" y="458"/>
                  </a:lnTo>
                  <a:lnTo>
                    <a:pt x="52" y="464"/>
                  </a:lnTo>
                  <a:lnTo>
                    <a:pt x="64" y="468"/>
                  </a:lnTo>
                  <a:lnTo>
                    <a:pt x="62" y="490"/>
                  </a:lnTo>
                  <a:lnTo>
                    <a:pt x="44" y="498"/>
                  </a:lnTo>
                  <a:lnTo>
                    <a:pt x="48" y="514"/>
                  </a:lnTo>
                  <a:lnTo>
                    <a:pt x="26" y="536"/>
                  </a:lnTo>
                  <a:lnTo>
                    <a:pt x="26" y="556"/>
                  </a:lnTo>
                  <a:lnTo>
                    <a:pt x="50" y="574"/>
                  </a:lnTo>
                  <a:lnTo>
                    <a:pt x="80" y="560"/>
                  </a:lnTo>
                  <a:lnTo>
                    <a:pt x="58" y="588"/>
                  </a:lnTo>
                  <a:lnTo>
                    <a:pt x="68" y="616"/>
                  </a:lnTo>
                  <a:lnTo>
                    <a:pt x="62" y="636"/>
                  </a:lnTo>
                  <a:lnTo>
                    <a:pt x="60" y="654"/>
                  </a:lnTo>
                  <a:lnTo>
                    <a:pt x="56" y="680"/>
                  </a:lnTo>
                  <a:lnTo>
                    <a:pt x="74" y="696"/>
                  </a:lnTo>
                  <a:lnTo>
                    <a:pt x="110" y="700"/>
                  </a:lnTo>
                  <a:lnTo>
                    <a:pt x="100" y="712"/>
                  </a:lnTo>
                  <a:lnTo>
                    <a:pt x="90" y="728"/>
                  </a:lnTo>
                  <a:lnTo>
                    <a:pt x="90" y="764"/>
                  </a:lnTo>
                  <a:lnTo>
                    <a:pt x="98" y="774"/>
                  </a:lnTo>
                  <a:lnTo>
                    <a:pt x="118" y="776"/>
                  </a:lnTo>
                  <a:lnTo>
                    <a:pt x="126" y="788"/>
                  </a:lnTo>
                  <a:lnTo>
                    <a:pt x="144" y="788"/>
                  </a:lnTo>
                  <a:lnTo>
                    <a:pt x="160" y="808"/>
                  </a:lnTo>
                  <a:lnTo>
                    <a:pt x="202" y="808"/>
                  </a:lnTo>
                  <a:lnTo>
                    <a:pt x="222" y="810"/>
                  </a:lnTo>
                  <a:lnTo>
                    <a:pt x="216" y="834"/>
                  </a:lnTo>
                  <a:lnTo>
                    <a:pt x="256" y="838"/>
                  </a:lnTo>
                  <a:lnTo>
                    <a:pt x="266" y="816"/>
                  </a:lnTo>
                  <a:lnTo>
                    <a:pt x="268" y="770"/>
                  </a:lnTo>
                  <a:lnTo>
                    <a:pt x="286" y="746"/>
                  </a:lnTo>
                  <a:lnTo>
                    <a:pt x="294" y="728"/>
                  </a:lnTo>
                  <a:lnTo>
                    <a:pt x="300" y="698"/>
                  </a:lnTo>
                  <a:lnTo>
                    <a:pt x="320" y="660"/>
                  </a:lnTo>
                  <a:lnTo>
                    <a:pt x="308" y="650"/>
                  </a:lnTo>
                  <a:lnTo>
                    <a:pt x="308" y="530"/>
                  </a:lnTo>
                  <a:lnTo>
                    <a:pt x="322" y="506"/>
                  </a:lnTo>
                  <a:lnTo>
                    <a:pt x="332" y="486"/>
                  </a:lnTo>
                  <a:lnTo>
                    <a:pt x="350" y="466"/>
                  </a:lnTo>
                  <a:lnTo>
                    <a:pt x="356" y="444"/>
                  </a:lnTo>
                  <a:lnTo>
                    <a:pt x="356" y="304"/>
                  </a:lnTo>
                  <a:lnTo>
                    <a:pt x="350" y="224"/>
                  </a:lnTo>
                  <a:lnTo>
                    <a:pt x="328" y="200"/>
                  </a:lnTo>
                  <a:lnTo>
                    <a:pt x="324" y="164"/>
                  </a:lnTo>
                  <a:lnTo>
                    <a:pt x="330" y="120"/>
                  </a:lnTo>
                  <a:lnTo>
                    <a:pt x="336" y="104"/>
                  </a:lnTo>
                  <a:lnTo>
                    <a:pt x="334" y="38"/>
                  </a:lnTo>
                  <a:lnTo>
                    <a:pt x="320" y="30"/>
                  </a:lnTo>
                  <a:lnTo>
                    <a:pt x="316" y="14"/>
                  </a:lnTo>
                  <a:lnTo>
                    <a:pt x="302"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grpSp>
      <p:sp>
        <p:nvSpPr>
          <p:cNvPr id="3" name="Titre 2">
            <a:extLst>
              <a:ext uri="{FF2B5EF4-FFF2-40B4-BE49-F238E27FC236}">
                <a16:creationId xmlns:a16="http://schemas.microsoft.com/office/drawing/2014/main" id="{FE96380F-4071-4920-B8E0-12D5AB2C7AAE}"/>
              </a:ext>
            </a:extLst>
          </p:cNvPr>
          <p:cNvSpPr>
            <a:spLocks noGrp="1"/>
          </p:cNvSpPr>
          <p:nvPr>
            <p:ph type="title"/>
          </p:nvPr>
        </p:nvSpPr>
        <p:spPr/>
        <p:txBody>
          <a:bodyPr/>
          <a:lstStyle/>
          <a:p>
            <a:endParaRPr lang="en-GB" dirty="0"/>
          </a:p>
        </p:txBody>
      </p:sp>
    </p:spTree>
    <p:extLst>
      <p:ext uri="{BB962C8B-B14F-4D97-AF65-F5344CB8AC3E}">
        <p14:creationId xmlns:p14="http://schemas.microsoft.com/office/powerpoint/2010/main" val="24887613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89EFA64A-A888-492D-BA89-ACB2A3C882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7" name="Objet 6" hidden="1">
                        <a:extLst>
                          <a:ext uri="{FF2B5EF4-FFF2-40B4-BE49-F238E27FC236}">
                            <a16:creationId xmlns:a16="http://schemas.microsoft.com/office/drawing/2014/main" id="{89EFA64A-A888-492D-BA89-ACB2A3C882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0" name="Group 18"/>
          <p:cNvGrpSpPr>
            <a:grpSpLocks noChangeAspect="1"/>
          </p:cNvGrpSpPr>
          <p:nvPr/>
        </p:nvGrpSpPr>
        <p:grpSpPr bwMode="auto">
          <a:xfrm>
            <a:off x="3907206" y="1252254"/>
            <a:ext cx="4377589" cy="4955762"/>
            <a:chOff x="1200" y="528"/>
            <a:chExt cx="3092" cy="3501"/>
          </a:xfrm>
          <a:solidFill>
            <a:schemeClr val="accent3"/>
          </a:solidFill>
        </p:grpSpPr>
        <p:sp>
          <p:nvSpPr>
            <p:cNvPr id="41" name="Freeform 19"/>
            <p:cNvSpPr>
              <a:spLocks/>
            </p:cNvSpPr>
            <p:nvPr/>
          </p:nvSpPr>
          <p:spPr bwMode="auto">
            <a:xfrm>
              <a:off x="3830" y="3468"/>
              <a:ext cx="61" cy="28"/>
            </a:xfrm>
            <a:custGeom>
              <a:avLst/>
              <a:gdLst/>
              <a:ahLst/>
              <a:cxnLst>
                <a:cxn ang="0">
                  <a:pos x="0" y="18"/>
                </a:cxn>
                <a:cxn ang="0">
                  <a:pos x="40" y="18"/>
                </a:cxn>
                <a:cxn ang="0">
                  <a:pos x="56" y="0"/>
                </a:cxn>
                <a:cxn ang="0">
                  <a:pos x="76" y="2"/>
                </a:cxn>
                <a:cxn ang="0">
                  <a:pos x="82" y="12"/>
                </a:cxn>
                <a:cxn ang="0">
                  <a:pos x="68" y="26"/>
                </a:cxn>
                <a:cxn ang="0">
                  <a:pos x="48" y="26"/>
                </a:cxn>
                <a:cxn ang="0">
                  <a:pos x="38" y="38"/>
                </a:cxn>
                <a:cxn ang="0">
                  <a:pos x="8" y="38"/>
                </a:cxn>
                <a:cxn ang="0">
                  <a:pos x="0" y="18"/>
                </a:cxn>
              </a:cxnLst>
              <a:rect l="0" t="0" r="r" b="b"/>
              <a:pathLst>
                <a:path w="82" h="38">
                  <a:moveTo>
                    <a:pt x="0" y="18"/>
                  </a:moveTo>
                  <a:lnTo>
                    <a:pt x="40" y="18"/>
                  </a:lnTo>
                  <a:lnTo>
                    <a:pt x="56" y="0"/>
                  </a:lnTo>
                  <a:lnTo>
                    <a:pt x="76" y="2"/>
                  </a:lnTo>
                  <a:lnTo>
                    <a:pt x="82" y="12"/>
                  </a:lnTo>
                  <a:lnTo>
                    <a:pt x="68" y="26"/>
                  </a:lnTo>
                  <a:lnTo>
                    <a:pt x="48" y="26"/>
                  </a:lnTo>
                  <a:lnTo>
                    <a:pt x="38" y="38"/>
                  </a:lnTo>
                  <a:lnTo>
                    <a:pt x="8" y="38"/>
                  </a:lnTo>
                  <a:lnTo>
                    <a:pt x="0" y="18"/>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grpSp>
          <p:nvGrpSpPr>
            <p:cNvPr id="42" name="Group 20"/>
            <p:cNvGrpSpPr>
              <a:grpSpLocks/>
            </p:cNvGrpSpPr>
            <p:nvPr/>
          </p:nvGrpSpPr>
          <p:grpSpPr bwMode="auto">
            <a:xfrm>
              <a:off x="1200" y="528"/>
              <a:ext cx="3092" cy="3501"/>
              <a:chOff x="1200" y="528"/>
              <a:chExt cx="3092" cy="3501"/>
            </a:xfrm>
            <a:grpFill/>
          </p:grpSpPr>
          <p:grpSp>
            <p:nvGrpSpPr>
              <p:cNvPr id="43" name="Group 21"/>
              <p:cNvGrpSpPr>
                <a:grpSpLocks/>
              </p:cNvGrpSpPr>
              <p:nvPr/>
            </p:nvGrpSpPr>
            <p:grpSpPr bwMode="auto">
              <a:xfrm>
                <a:off x="1200" y="528"/>
                <a:ext cx="3092" cy="3501"/>
                <a:chOff x="1200" y="528"/>
                <a:chExt cx="3092" cy="3501"/>
              </a:xfrm>
              <a:grpFill/>
            </p:grpSpPr>
            <p:grpSp>
              <p:nvGrpSpPr>
                <p:cNvPr id="46" name="Group 22"/>
                <p:cNvGrpSpPr>
                  <a:grpSpLocks/>
                </p:cNvGrpSpPr>
                <p:nvPr/>
              </p:nvGrpSpPr>
              <p:grpSpPr bwMode="auto">
                <a:xfrm>
                  <a:off x="1200" y="528"/>
                  <a:ext cx="3092" cy="3501"/>
                  <a:chOff x="1200" y="528"/>
                  <a:chExt cx="3092" cy="3501"/>
                </a:xfrm>
                <a:grpFill/>
              </p:grpSpPr>
              <p:sp>
                <p:nvSpPr>
                  <p:cNvPr id="48" name="Freeform 23"/>
                  <p:cNvSpPr>
                    <a:spLocks/>
                  </p:cNvSpPr>
                  <p:nvPr/>
                </p:nvSpPr>
                <p:spPr bwMode="auto">
                  <a:xfrm>
                    <a:off x="2743" y="528"/>
                    <a:ext cx="595" cy="422"/>
                  </a:xfrm>
                  <a:custGeom>
                    <a:avLst/>
                    <a:gdLst/>
                    <a:ahLst/>
                    <a:cxnLst>
                      <a:cxn ang="0">
                        <a:pos x="336" y="48"/>
                      </a:cxn>
                      <a:cxn ang="0">
                        <a:pos x="348" y="84"/>
                      </a:cxn>
                      <a:cxn ang="0">
                        <a:pos x="345" y="123"/>
                      </a:cxn>
                      <a:cxn ang="0">
                        <a:pos x="387" y="174"/>
                      </a:cxn>
                      <a:cxn ang="0">
                        <a:pos x="447" y="183"/>
                      </a:cxn>
                      <a:cxn ang="0">
                        <a:pos x="486" y="147"/>
                      </a:cxn>
                      <a:cxn ang="0">
                        <a:pos x="528" y="213"/>
                      </a:cxn>
                      <a:cxn ang="0">
                        <a:pos x="519" y="234"/>
                      </a:cxn>
                      <a:cxn ang="0">
                        <a:pos x="531" y="291"/>
                      </a:cxn>
                      <a:cxn ang="0">
                        <a:pos x="594" y="297"/>
                      </a:cxn>
                      <a:cxn ang="0">
                        <a:pos x="642" y="348"/>
                      </a:cxn>
                      <a:cxn ang="0">
                        <a:pos x="678" y="390"/>
                      </a:cxn>
                      <a:cxn ang="0">
                        <a:pos x="768" y="396"/>
                      </a:cxn>
                      <a:cxn ang="0">
                        <a:pos x="786" y="444"/>
                      </a:cxn>
                      <a:cxn ang="0">
                        <a:pos x="798" y="513"/>
                      </a:cxn>
                      <a:cxn ang="0">
                        <a:pos x="789" y="564"/>
                      </a:cxn>
                      <a:cxn ang="0">
                        <a:pos x="744" y="558"/>
                      </a:cxn>
                      <a:cxn ang="0">
                        <a:pos x="672" y="546"/>
                      </a:cxn>
                      <a:cxn ang="0">
                        <a:pos x="546" y="546"/>
                      </a:cxn>
                      <a:cxn ang="0">
                        <a:pos x="486" y="558"/>
                      </a:cxn>
                      <a:cxn ang="0">
                        <a:pos x="405" y="519"/>
                      </a:cxn>
                      <a:cxn ang="0">
                        <a:pos x="378" y="522"/>
                      </a:cxn>
                      <a:cxn ang="0">
                        <a:pos x="336" y="495"/>
                      </a:cxn>
                      <a:cxn ang="0">
                        <a:pos x="267" y="477"/>
                      </a:cxn>
                      <a:cxn ang="0">
                        <a:pos x="225" y="471"/>
                      </a:cxn>
                      <a:cxn ang="0">
                        <a:pos x="264" y="441"/>
                      </a:cxn>
                      <a:cxn ang="0">
                        <a:pos x="183" y="429"/>
                      </a:cxn>
                      <a:cxn ang="0">
                        <a:pos x="144" y="402"/>
                      </a:cxn>
                      <a:cxn ang="0">
                        <a:pos x="87" y="366"/>
                      </a:cxn>
                      <a:cxn ang="0">
                        <a:pos x="36" y="363"/>
                      </a:cxn>
                      <a:cxn ang="0">
                        <a:pos x="3" y="279"/>
                      </a:cxn>
                      <a:cxn ang="0">
                        <a:pos x="12" y="180"/>
                      </a:cxn>
                      <a:cxn ang="0">
                        <a:pos x="18" y="132"/>
                      </a:cxn>
                      <a:cxn ang="0">
                        <a:pos x="42" y="99"/>
                      </a:cxn>
                      <a:cxn ang="0">
                        <a:pos x="96" y="75"/>
                      </a:cxn>
                      <a:cxn ang="0">
                        <a:pos x="165" y="54"/>
                      </a:cxn>
                      <a:cxn ang="0">
                        <a:pos x="237" y="30"/>
                      </a:cxn>
                      <a:cxn ang="0">
                        <a:pos x="297" y="3"/>
                      </a:cxn>
                    </a:cxnLst>
                    <a:rect l="0" t="0" r="r" b="b"/>
                    <a:pathLst>
                      <a:path w="804" h="570">
                        <a:moveTo>
                          <a:pt x="327" y="0"/>
                        </a:moveTo>
                        <a:lnTo>
                          <a:pt x="336" y="48"/>
                        </a:lnTo>
                        <a:lnTo>
                          <a:pt x="354" y="51"/>
                        </a:lnTo>
                        <a:lnTo>
                          <a:pt x="348" y="84"/>
                        </a:lnTo>
                        <a:lnTo>
                          <a:pt x="324" y="96"/>
                        </a:lnTo>
                        <a:lnTo>
                          <a:pt x="345" y="123"/>
                        </a:lnTo>
                        <a:lnTo>
                          <a:pt x="360" y="144"/>
                        </a:lnTo>
                        <a:lnTo>
                          <a:pt x="387" y="174"/>
                        </a:lnTo>
                        <a:lnTo>
                          <a:pt x="420" y="210"/>
                        </a:lnTo>
                        <a:lnTo>
                          <a:pt x="447" y="183"/>
                        </a:lnTo>
                        <a:lnTo>
                          <a:pt x="480" y="168"/>
                        </a:lnTo>
                        <a:lnTo>
                          <a:pt x="486" y="147"/>
                        </a:lnTo>
                        <a:lnTo>
                          <a:pt x="495" y="186"/>
                        </a:lnTo>
                        <a:lnTo>
                          <a:pt x="528" y="213"/>
                        </a:lnTo>
                        <a:lnTo>
                          <a:pt x="507" y="219"/>
                        </a:lnTo>
                        <a:lnTo>
                          <a:pt x="519" y="234"/>
                        </a:lnTo>
                        <a:lnTo>
                          <a:pt x="537" y="261"/>
                        </a:lnTo>
                        <a:lnTo>
                          <a:pt x="531" y="291"/>
                        </a:lnTo>
                        <a:lnTo>
                          <a:pt x="570" y="312"/>
                        </a:lnTo>
                        <a:lnTo>
                          <a:pt x="594" y="297"/>
                        </a:lnTo>
                        <a:lnTo>
                          <a:pt x="642" y="306"/>
                        </a:lnTo>
                        <a:lnTo>
                          <a:pt x="642" y="348"/>
                        </a:lnTo>
                        <a:lnTo>
                          <a:pt x="639" y="396"/>
                        </a:lnTo>
                        <a:lnTo>
                          <a:pt x="678" y="390"/>
                        </a:lnTo>
                        <a:lnTo>
                          <a:pt x="738" y="381"/>
                        </a:lnTo>
                        <a:lnTo>
                          <a:pt x="768" y="396"/>
                        </a:lnTo>
                        <a:lnTo>
                          <a:pt x="804" y="432"/>
                        </a:lnTo>
                        <a:lnTo>
                          <a:pt x="786" y="444"/>
                        </a:lnTo>
                        <a:lnTo>
                          <a:pt x="777" y="474"/>
                        </a:lnTo>
                        <a:lnTo>
                          <a:pt x="798" y="513"/>
                        </a:lnTo>
                        <a:lnTo>
                          <a:pt x="795" y="540"/>
                        </a:lnTo>
                        <a:lnTo>
                          <a:pt x="789" y="564"/>
                        </a:lnTo>
                        <a:lnTo>
                          <a:pt x="771" y="570"/>
                        </a:lnTo>
                        <a:lnTo>
                          <a:pt x="744" y="558"/>
                        </a:lnTo>
                        <a:lnTo>
                          <a:pt x="714" y="546"/>
                        </a:lnTo>
                        <a:lnTo>
                          <a:pt x="672" y="546"/>
                        </a:lnTo>
                        <a:lnTo>
                          <a:pt x="624" y="540"/>
                        </a:lnTo>
                        <a:lnTo>
                          <a:pt x="546" y="546"/>
                        </a:lnTo>
                        <a:lnTo>
                          <a:pt x="513" y="546"/>
                        </a:lnTo>
                        <a:lnTo>
                          <a:pt x="486" y="558"/>
                        </a:lnTo>
                        <a:lnTo>
                          <a:pt x="447" y="525"/>
                        </a:lnTo>
                        <a:lnTo>
                          <a:pt x="405" y="519"/>
                        </a:lnTo>
                        <a:lnTo>
                          <a:pt x="390" y="543"/>
                        </a:lnTo>
                        <a:lnTo>
                          <a:pt x="378" y="522"/>
                        </a:lnTo>
                        <a:lnTo>
                          <a:pt x="354" y="531"/>
                        </a:lnTo>
                        <a:lnTo>
                          <a:pt x="336" y="495"/>
                        </a:lnTo>
                        <a:lnTo>
                          <a:pt x="288" y="483"/>
                        </a:lnTo>
                        <a:lnTo>
                          <a:pt x="267" y="477"/>
                        </a:lnTo>
                        <a:lnTo>
                          <a:pt x="249" y="489"/>
                        </a:lnTo>
                        <a:lnTo>
                          <a:pt x="225" y="471"/>
                        </a:lnTo>
                        <a:lnTo>
                          <a:pt x="237" y="447"/>
                        </a:lnTo>
                        <a:lnTo>
                          <a:pt x="264" y="441"/>
                        </a:lnTo>
                        <a:lnTo>
                          <a:pt x="234" y="429"/>
                        </a:lnTo>
                        <a:lnTo>
                          <a:pt x="183" y="429"/>
                        </a:lnTo>
                        <a:lnTo>
                          <a:pt x="141" y="429"/>
                        </a:lnTo>
                        <a:lnTo>
                          <a:pt x="144" y="402"/>
                        </a:lnTo>
                        <a:lnTo>
                          <a:pt x="120" y="399"/>
                        </a:lnTo>
                        <a:lnTo>
                          <a:pt x="87" y="366"/>
                        </a:lnTo>
                        <a:lnTo>
                          <a:pt x="51" y="342"/>
                        </a:lnTo>
                        <a:lnTo>
                          <a:pt x="36" y="363"/>
                        </a:lnTo>
                        <a:lnTo>
                          <a:pt x="0" y="345"/>
                        </a:lnTo>
                        <a:lnTo>
                          <a:pt x="3" y="279"/>
                        </a:lnTo>
                        <a:lnTo>
                          <a:pt x="12" y="264"/>
                        </a:lnTo>
                        <a:lnTo>
                          <a:pt x="12" y="180"/>
                        </a:lnTo>
                        <a:lnTo>
                          <a:pt x="24" y="150"/>
                        </a:lnTo>
                        <a:lnTo>
                          <a:pt x="18" y="132"/>
                        </a:lnTo>
                        <a:lnTo>
                          <a:pt x="18" y="114"/>
                        </a:lnTo>
                        <a:lnTo>
                          <a:pt x="42" y="99"/>
                        </a:lnTo>
                        <a:lnTo>
                          <a:pt x="75" y="75"/>
                        </a:lnTo>
                        <a:lnTo>
                          <a:pt x="96" y="75"/>
                        </a:lnTo>
                        <a:lnTo>
                          <a:pt x="129" y="60"/>
                        </a:lnTo>
                        <a:lnTo>
                          <a:pt x="165" y="54"/>
                        </a:lnTo>
                        <a:lnTo>
                          <a:pt x="195" y="39"/>
                        </a:lnTo>
                        <a:lnTo>
                          <a:pt x="237" y="30"/>
                        </a:lnTo>
                        <a:lnTo>
                          <a:pt x="282" y="15"/>
                        </a:lnTo>
                        <a:lnTo>
                          <a:pt x="297" y="3"/>
                        </a:lnTo>
                        <a:lnTo>
                          <a:pt x="327"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49" name="Freeform 24"/>
                  <p:cNvSpPr>
                    <a:spLocks/>
                  </p:cNvSpPr>
                  <p:nvPr/>
                </p:nvSpPr>
                <p:spPr bwMode="auto">
                  <a:xfrm>
                    <a:off x="2683" y="774"/>
                    <a:ext cx="676" cy="575"/>
                  </a:xfrm>
                  <a:custGeom>
                    <a:avLst/>
                    <a:gdLst/>
                    <a:ahLst/>
                    <a:cxnLst>
                      <a:cxn ang="0">
                        <a:pos x="69" y="30"/>
                      </a:cxn>
                      <a:cxn ang="0">
                        <a:pos x="99" y="99"/>
                      </a:cxn>
                      <a:cxn ang="0">
                        <a:pos x="78" y="108"/>
                      </a:cxn>
                      <a:cxn ang="0">
                        <a:pos x="33" y="135"/>
                      </a:cxn>
                      <a:cxn ang="0">
                        <a:pos x="16" y="175"/>
                      </a:cxn>
                      <a:cxn ang="0">
                        <a:pos x="105" y="255"/>
                      </a:cxn>
                      <a:cxn ang="0">
                        <a:pos x="114" y="306"/>
                      </a:cxn>
                      <a:cxn ang="0">
                        <a:pos x="105" y="357"/>
                      </a:cxn>
                      <a:cxn ang="0">
                        <a:pos x="99" y="435"/>
                      </a:cxn>
                      <a:cxn ang="0">
                        <a:pos x="105" y="537"/>
                      </a:cxn>
                      <a:cxn ang="0">
                        <a:pos x="96" y="591"/>
                      </a:cxn>
                      <a:cxn ang="0">
                        <a:pos x="174" y="612"/>
                      </a:cxn>
                      <a:cxn ang="0">
                        <a:pos x="243" y="603"/>
                      </a:cxn>
                      <a:cxn ang="0">
                        <a:pos x="273" y="612"/>
                      </a:cxn>
                      <a:cxn ang="0">
                        <a:pos x="354" y="651"/>
                      </a:cxn>
                      <a:cxn ang="0">
                        <a:pos x="384" y="666"/>
                      </a:cxn>
                      <a:cxn ang="0">
                        <a:pos x="444" y="660"/>
                      </a:cxn>
                      <a:cxn ang="0">
                        <a:pos x="546" y="657"/>
                      </a:cxn>
                      <a:cxn ang="0">
                        <a:pos x="537" y="711"/>
                      </a:cxn>
                      <a:cxn ang="0">
                        <a:pos x="576" y="738"/>
                      </a:cxn>
                      <a:cxn ang="0">
                        <a:pos x="636" y="777"/>
                      </a:cxn>
                      <a:cxn ang="0">
                        <a:pos x="690" y="708"/>
                      </a:cxn>
                      <a:cxn ang="0">
                        <a:pos x="681" y="627"/>
                      </a:cxn>
                      <a:cxn ang="0">
                        <a:pos x="714" y="612"/>
                      </a:cxn>
                      <a:cxn ang="0">
                        <a:pos x="696" y="561"/>
                      </a:cxn>
                      <a:cxn ang="0">
                        <a:pos x="741" y="546"/>
                      </a:cxn>
                      <a:cxn ang="0">
                        <a:pos x="786" y="513"/>
                      </a:cxn>
                      <a:cxn ang="0">
                        <a:pos x="828" y="549"/>
                      </a:cxn>
                      <a:cxn ang="0">
                        <a:pos x="840" y="465"/>
                      </a:cxn>
                      <a:cxn ang="0">
                        <a:pos x="836" y="409"/>
                      </a:cxn>
                      <a:cxn ang="0">
                        <a:pos x="904" y="313"/>
                      </a:cxn>
                      <a:cxn ang="0">
                        <a:pos x="891" y="255"/>
                      </a:cxn>
                      <a:cxn ang="0">
                        <a:pos x="843" y="231"/>
                      </a:cxn>
                      <a:cxn ang="0">
                        <a:pos x="652" y="199"/>
                      </a:cxn>
                      <a:cxn ang="0">
                        <a:pos x="576" y="222"/>
                      </a:cxn>
                      <a:cxn ang="0">
                        <a:pos x="482" y="175"/>
                      </a:cxn>
                      <a:cxn ang="0">
                        <a:pos x="462" y="183"/>
                      </a:cxn>
                      <a:cxn ang="0">
                        <a:pos x="414" y="159"/>
                      </a:cxn>
                      <a:cxn ang="0">
                        <a:pos x="324" y="150"/>
                      </a:cxn>
                      <a:cxn ang="0">
                        <a:pos x="321" y="111"/>
                      </a:cxn>
                      <a:cxn ang="0">
                        <a:pos x="315" y="90"/>
                      </a:cxn>
                      <a:cxn ang="0">
                        <a:pos x="225" y="69"/>
                      </a:cxn>
                      <a:cxn ang="0">
                        <a:pos x="165" y="21"/>
                      </a:cxn>
                      <a:cxn ang="0">
                        <a:pos x="117" y="24"/>
                      </a:cxn>
                    </a:cxnLst>
                    <a:rect l="0" t="0" r="r" b="b"/>
                    <a:pathLst>
                      <a:path w="913" h="777">
                        <a:moveTo>
                          <a:pt x="84" y="12"/>
                        </a:moveTo>
                        <a:lnTo>
                          <a:pt x="69" y="30"/>
                        </a:lnTo>
                        <a:lnTo>
                          <a:pt x="69" y="72"/>
                        </a:lnTo>
                        <a:lnTo>
                          <a:pt x="99" y="99"/>
                        </a:lnTo>
                        <a:lnTo>
                          <a:pt x="108" y="123"/>
                        </a:lnTo>
                        <a:lnTo>
                          <a:pt x="78" y="108"/>
                        </a:lnTo>
                        <a:lnTo>
                          <a:pt x="42" y="108"/>
                        </a:lnTo>
                        <a:lnTo>
                          <a:pt x="33" y="135"/>
                        </a:lnTo>
                        <a:lnTo>
                          <a:pt x="0" y="147"/>
                        </a:lnTo>
                        <a:lnTo>
                          <a:pt x="16" y="175"/>
                        </a:lnTo>
                        <a:lnTo>
                          <a:pt x="63" y="186"/>
                        </a:lnTo>
                        <a:lnTo>
                          <a:pt x="105" y="255"/>
                        </a:lnTo>
                        <a:lnTo>
                          <a:pt x="117" y="273"/>
                        </a:lnTo>
                        <a:lnTo>
                          <a:pt x="114" y="306"/>
                        </a:lnTo>
                        <a:lnTo>
                          <a:pt x="90" y="339"/>
                        </a:lnTo>
                        <a:lnTo>
                          <a:pt x="105" y="357"/>
                        </a:lnTo>
                        <a:lnTo>
                          <a:pt x="93" y="408"/>
                        </a:lnTo>
                        <a:lnTo>
                          <a:pt x="99" y="435"/>
                        </a:lnTo>
                        <a:lnTo>
                          <a:pt x="76" y="463"/>
                        </a:lnTo>
                        <a:lnTo>
                          <a:pt x="105" y="537"/>
                        </a:lnTo>
                        <a:lnTo>
                          <a:pt x="81" y="564"/>
                        </a:lnTo>
                        <a:lnTo>
                          <a:pt x="96" y="591"/>
                        </a:lnTo>
                        <a:lnTo>
                          <a:pt x="144" y="615"/>
                        </a:lnTo>
                        <a:lnTo>
                          <a:pt x="174" y="612"/>
                        </a:lnTo>
                        <a:lnTo>
                          <a:pt x="198" y="588"/>
                        </a:lnTo>
                        <a:lnTo>
                          <a:pt x="243" y="603"/>
                        </a:lnTo>
                        <a:lnTo>
                          <a:pt x="243" y="627"/>
                        </a:lnTo>
                        <a:lnTo>
                          <a:pt x="273" y="612"/>
                        </a:lnTo>
                        <a:lnTo>
                          <a:pt x="324" y="633"/>
                        </a:lnTo>
                        <a:lnTo>
                          <a:pt x="354" y="651"/>
                        </a:lnTo>
                        <a:lnTo>
                          <a:pt x="390" y="645"/>
                        </a:lnTo>
                        <a:lnTo>
                          <a:pt x="384" y="666"/>
                        </a:lnTo>
                        <a:lnTo>
                          <a:pt x="414" y="669"/>
                        </a:lnTo>
                        <a:lnTo>
                          <a:pt x="444" y="660"/>
                        </a:lnTo>
                        <a:lnTo>
                          <a:pt x="474" y="669"/>
                        </a:lnTo>
                        <a:lnTo>
                          <a:pt x="546" y="657"/>
                        </a:lnTo>
                        <a:lnTo>
                          <a:pt x="549" y="678"/>
                        </a:lnTo>
                        <a:lnTo>
                          <a:pt x="537" y="711"/>
                        </a:lnTo>
                        <a:lnTo>
                          <a:pt x="561" y="711"/>
                        </a:lnTo>
                        <a:lnTo>
                          <a:pt x="576" y="738"/>
                        </a:lnTo>
                        <a:lnTo>
                          <a:pt x="594" y="756"/>
                        </a:lnTo>
                        <a:lnTo>
                          <a:pt x="636" y="777"/>
                        </a:lnTo>
                        <a:lnTo>
                          <a:pt x="678" y="741"/>
                        </a:lnTo>
                        <a:lnTo>
                          <a:pt x="690" y="708"/>
                        </a:lnTo>
                        <a:lnTo>
                          <a:pt x="675" y="693"/>
                        </a:lnTo>
                        <a:lnTo>
                          <a:pt x="681" y="627"/>
                        </a:lnTo>
                        <a:lnTo>
                          <a:pt x="711" y="636"/>
                        </a:lnTo>
                        <a:lnTo>
                          <a:pt x="714" y="612"/>
                        </a:lnTo>
                        <a:lnTo>
                          <a:pt x="702" y="585"/>
                        </a:lnTo>
                        <a:lnTo>
                          <a:pt x="696" y="561"/>
                        </a:lnTo>
                        <a:lnTo>
                          <a:pt x="723" y="552"/>
                        </a:lnTo>
                        <a:lnTo>
                          <a:pt x="741" y="546"/>
                        </a:lnTo>
                        <a:lnTo>
                          <a:pt x="759" y="558"/>
                        </a:lnTo>
                        <a:lnTo>
                          <a:pt x="786" y="513"/>
                        </a:lnTo>
                        <a:lnTo>
                          <a:pt x="813" y="534"/>
                        </a:lnTo>
                        <a:lnTo>
                          <a:pt x="828" y="549"/>
                        </a:lnTo>
                        <a:lnTo>
                          <a:pt x="837" y="510"/>
                        </a:lnTo>
                        <a:lnTo>
                          <a:pt x="840" y="465"/>
                        </a:lnTo>
                        <a:lnTo>
                          <a:pt x="825" y="441"/>
                        </a:lnTo>
                        <a:lnTo>
                          <a:pt x="836" y="409"/>
                        </a:lnTo>
                        <a:cubicBezTo>
                          <a:pt x="862" y="389"/>
                          <a:pt x="887" y="370"/>
                          <a:pt x="903" y="342"/>
                        </a:cubicBezTo>
                        <a:cubicBezTo>
                          <a:pt x="913" y="326"/>
                          <a:pt x="904" y="321"/>
                          <a:pt x="904" y="313"/>
                        </a:cubicBezTo>
                        <a:lnTo>
                          <a:pt x="903" y="294"/>
                        </a:lnTo>
                        <a:lnTo>
                          <a:pt x="891" y="255"/>
                        </a:lnTo>
                        <a:lnTo>
                          <a:pt x="873" y="222"/>
                        </a:lnTo>
                        <a:lnTo>
                          <a:pt x="843" y="231"/>
                        </a:lnTo>
                        <a:lnTo>
                          <a:pt x="798" y="207"/>
                        </a:lnTo>
                        <a:lnTo>
                          <a:pt x="652" y="199"/>
                        </a:lnTo>
                        <a:lnTo>
                          <a:pt x="588" y="207"/>
                        </a:lnTo>
                        <a:lnTo>
                          <a:pt x="576" y="222"/>
                        </a:lnTo>
                        <a:lnTo>
                          <a:pt x="522" y="186"/>
                        </a:lnTo>
                        <a:lnTo>
                          <a:pt x="482" y="175"/>
                        </a:lnTo>
                        <a:lnTo>
                          <a:pt x="472" y="201"/>
                        </a:lnTo>
                        <a:lnTo>
                          <a:pt x="462" y="183"/>
                        </a:lnTo>
                        <a:lnTo>
                          <a:pt x="441" y="189"/>
                        </a:lnTo>
                        <a:lnTo>
                          <a:pt x="414" y="159"/>
                        </a:lnTo>
                        <a:lnTo>
                          <a:pt x="348" y="138"/>
                        </a:lnTo>
                        <a:lnTo>
                          <a:pt x="324" y="150"/>
                        </a:lnTo>
                        <a:lnTo>
                          <a:pt x="309" y="138"/>
                        </a:lnTo>
                        <a:lnTo>
                          <a:pt x="321" y="111"/>
                        </a:lnTo>
                        <a:lnTo>
                          <a:pt x="348" y="108"/>
                        </a:lnTo>
                        <a:lnTo>
                          <a:pt x="315" y="90"/>
                        </a:lnTo>
                        <a:lnTo>
                          <a:pt x="225" y="93"/>
                        </a:lnTo>
                        <a:lnTo>
                          <a:pt x="225" y="69"/>
                        </a:lnTo>
                        <a:lnTo>
                          <a:pt x="204" y="66"/>
                        </a:lnTo>
                        <a:lnTo>
                          <a:pt x="165" y="21"/>
                        </a:lnTo>
                        <a:lnTo>
                          <a:pt x="129" y="0"/>
                        </a:lnTo>
                        <a:lnTo>
                          <a:pt x="117" y="24"/>
                        </a:lnTo>
                        <a:lnTo>
                          <a:pt x="84" y="12"/>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0" name="Freeform 25"/>
                  <p:cNvSpPr>
                    <a:spLocks/>
                  </p:cNvSpPr>
                  <p:nvPr/>
                </p:nvSpPr>
                <p:spPr bwMode="auto">
                  <a:xfrm>
                    <a:off x="2388" y="881"/>
                    <a:ext cx="382" cy="505"/>
                  </a:xfrm>
                  <a:custGeom>
                    <a:avLst/>
                    <a:gdLst/>
                    <a:ahLst/>
                    <a:cxnLst>
                      <a:cxn ang="0">
                        <a:pos x="336" y="64"/>
                      </a:cxn>
                      <a:cxn ang="0">
                        <a:pos x="294" y="76"/>
                      </a:cxn>
                      <a:cxn ang="0">
                        <a:pos x="202" y="98"/>
                      </a:cxn>
                      <a:cxn ang="0">
                        <a:pos x="138" y="114"/>
                      </a:cxn>
                      <a:cxn ang="0">
                        <a:pos x="70" y="164"/>
                      </a:cxn>
                      <a:cxn ang="0">
                        <a:pos x="14" y="204"/>
                      </a:cxn>
                      <a:cxn ang="0">
                        <a:pos x="0" y="256"/>
                      </a:cxn>
                      <a:cxn ang="0">
                        <a:pos x="30" y="278"/>
                      </a:cxn>
                      <a:cxn ang="0">
                        <a:pos x="64" y="344"/>
                      </a:cxn>
                      <a:cxn ang="0">
                        <a:pos x="68" y="390"/>
                      </a:cxn>
                      <a:cxn ang="0">
                        <a:pos x="74" y="488"/>
                      </a:cxn>
                      <a:cxn ang="0">
                        <a:pos x="68" y="518"/>
                      </a:cxn>
                      <a:cxn ang="0">
                        <a:pos x="72" y="566"/>
                      </a:cxn>
                      <a:cxn ang="0">
                        <a:pos x="134" y="574"/>
                      </a:cxn>
                      <a:cxn ang="0">
                        <a:pos x="192" y="650"/>
                      </a:cxn>
                      <a:cxn ang="0">
                        <a:pos x="174" y="682"/>
                      </a:cxn>
                      <a:cxn ang="0">
                        <a:pos x="218" y="662"/>
                      </a:cxn>
                      <a:cxn ang="0">
                        <a:pos x="260" y="646"/>
                      </a:cxn>
                      <a:cxn ang="0">
                        <a:pos x="340" y="660"/>
                      </a:cxn>
                      <a:cxn ang="0">
                        <a:pos x="372" y="618"/>
                      </a:cxn>
                      <a:cxn ang="0">
                        <a:pos x="388" y="604"/>
                      </a:cxn>
                      <a:cxn ang="0">
                        <a:pos x="394" y="574"/>
                      </a:cxn>
                      <a:cxn ang="0">
                        <a:pos x="404" y="538"/>
                      </a:cxn>
                      <a:cxn ang="0">
                        <a:pos x="432" y="502"/>
                      </a:cxn>
                      <a:cxn ang="0">
                        <a:pos x="466" y="494"/>
                      </a:cxn>
                      <a:cxn ang="0">
                        <a:pos x="488" y="446"/>
                      </a:cxn>
                      <a:cxn ang="0">
                        <a:pos x="478" y="418"/>
                      </a:cxn>
                      <a:cxn ang="0">
                        <a:pos x="476" y="320"/>
                      </a:cxn>
                      <a:cxn ang="0">
                        <a:pos x="492" y="256"/>
                      </a:cxn>
                      <a:cxn ang="0">
                        <a:pos x="492" y="194"/>
                      </a:cxn>
                      <a:cxn ang="0">
                        <a:pos x="516" y="140"/>
                      </a:cxn>
                      <a:cxn ang="0">
                        <a:pos x="458" y="34"/>
                      </a:cxn>
                      <a:cxn ang="0">
                        <a:pos x="402" y="0"/>
                      </a:cxn>
                    </a:cxnLst>
                    <a:rect l="0" t="0" r="r" b="b"/>
                    <a:pathLst>
                      <a:path w="516" h="682">
                        <a:moveTo>
                          <a:pt x="402" y="0"/>
                        </a:moveTo>
                        <a:lnTo>
                          <a:pt x="336" y="64"/>
                        </a:lnTo>
                        <a:lnTo>
                          <a:pt x="306" y="88"/>
                        </a:lnTo>
                        <a:lnTo>
                          <a:pt x="294" y="76"/>
                        </a:lnTo>
                        <a:lnTo>
                          <a:pt x="274" y="78"/>
                        </a:lnTo>
                        <a:lnTo>
                          <a:pt x="202" y="98"/>
                        </a:lnTo>
                        <a:lnTo>
                          <a:pt x="182" y="96"/>
                        </a:lnTo>
                        <a:lnTo>
                          <a:pt x="138" y="114"/>
                        </a:lnTo>
                        <a:lnTo>
                          <a:pt x="88" y="134"/>
                        </a:lnTo>
                        <a:lnTo>
                          <a:pt x="70" y="164"/>
                        </a:lnTo>
                        <a:lnTo>
                          <a:pt x="30" y="182"/>
                        </a:lnTo>
                        <a:lnTo>
                          <a:pt x="14" y="204"/>
                        </a:lnTo>
                        <a:lnTo>
                          <a:pt x="8" y="236"/>
                        </a:lnTo>
                        <a:lnTo>
                          <a:pt x="0" y="256"/>
                        </a:lnTo>
                        <a:lnTo>
                          <a:pt x="2" y="288"/>
                        </a:lnTo>
                        <a:lnTo>
                          <a:pt x="30" y="278"/>
                        </a:lnTo>
                        <a:lnTo>
                          <a:pt x="64" y="304"/>
                        </a:lnTo>
                        <a:lnTo>
                          <a:pt x="64" y="344"/>
                        </a:lnTo>
                        <a:lnTo>
                          <a:pt x="78" y="374"/>
                        </a:lnTo>
                        <a:lnTo>
                          <a:pt x="68" y="390"/>
                        </a:lnTo>
                        <a:lnTo>
                          <a:pt x="74" y="414"/>
                        </a:lnTo>
                        <a:lnTo>
                          <a:pt x="74" y="488"/>
                        </a:lnTo>
                        <a:lnTo>
                          <a:pt x="84" y="502"/>
                        </a:lnTo>
                        <a:lnTo>
                          <a:pt x="68" y="518"/>
                        </a:lnTo>
                        <a:lnTo>
                          <a:pt x="62" y="538"/>
                        </a:lnTo>
                        <a:lnTo>
                          <a:pt x="72" y="566"/>
                        </a:lnTo>
                        <a:lnTo>
                          <a:pt x="88" y="576"/>
                        </a:lnTo>
                        <a:lnTo>
                          <a:pt x="134" y="574"/>
                        </a:lnTo>
                        <a:lnTo>
                          <a:pt x="136" y="596"/>
                        </a:lnTo>
                        <a:lnTo>
                          <a:pt x="192" y="650"/>
                        </a:lnTo>
                        <a:lnTo>
                          <a:pt x="172" y="670"/>
                        </a:lnTo>
                        <a:lnTo>
                          <a:pt x="174" y="682"/>
                        </a:lnTo>
                        <a:lnTo>
                          <a:pt x="188" y="674"/>
                        </a:lnTo>
                        <a:lnTo>
                          <a:pt x="218" y="662"/>
                        </a:lnTo>
                        <a:lnTo>
                          <a:pt x="252" y="668"/>
                        </a:lnTo>
                        <a:lnTo>
                          <a:pt x="260" y="646"/>
                        </a:lnTo>
                        <a:lnTo>
                          <a:pt x="328" y="648"/>
                        </a:lnTo>
                        <a:lnTo>
                          <a:pt x="340" y="660"/>
                        </a:lnTo>
                        <a:lnTo>
                          <a:pt x="348" y="644"/>
                        </a:lnTo>
                        <a:lnTo>
                          <a:pt x="372" y="618"/>
                        </a:lnTo>
                        <a:lnTo>
                          <a:pt x="364" y="600"/>
                        </a:lnTo>
                        <a:lnTo>
                          <a:pt x="388" y="604"/>
                        </a:lnTo>
                        <a:lnTo>
                          <a:pt x="400" y="590"/>
                        </a:lnTo>
                        <a:lnTo>
                          <a:pt x="394" y="574"/>
                        </a:lnTo>
                        <a:lnTo>
                          <a:pt x="416" y="558"/>
                        </a:lnTo>
                        <a:lnTo>
                          <a:pt x="404" y="538"/>
                        </a:lnTo>
                        <a:lnTo>
                          <a:pt x="412" y="508"/>
                        </a:lnTo>
                        <a:lnTo>
                          <a:pt x="432" y="502"/>
                        </a:lnTo>
                        <a:lnTo>
                          <a:pt x="442" y="492"/>
                        </a:lnTo>
                        <a:lnTo>
                          <a:pt x="466" y="494"/>
                        </a:lnTo>
                        <a:lnTo>
                          <a:pt x="472" y="474"/>
                        </a:lnTo>
                        <a:lnTo>
                          <a:pt x="488" y="446"/>
                        </a:lnTo>
                        <a:lnTo>
                          <a:pt x="486" y="434"/>
                        </a:lnTo>
                        <a:lnTo>
                          <a:pt x="478" y="418"/>
                        </a:lnTo>
                        <a:lnTo>
                          <a:pt x="504" y="388"/>
                        </a:lnTo>
                        <a:lnTo>
                          <a:pt x="476" y="320"/>
                        </a:lnTo>
                        <a:lnTo>
                          <a:pt x="500" y="288"/>
                        </a:lnTo>
                        <a:lnTo>
                          <a:pt x="492" y="256"/>
                        </a:lnTo>
                        <a:lnTo>
                          <a:pt x="504" y="210"/>
                        </a:lnTo>
                        <a:lnTo>
                          <a:pt x="492" y="194"/>
                        </a:lnTo>
                        <a:lnTo>
                          <a:pt x="516" y="154"/>
                        </a:lnTo>
                        <a:lnTo>
                          <a:pt x="516" y="140"/>
                        </a:lnTo>
                        <a:lnTo>
                          <a:pt x="516" y="126"/>
                        </a:lnTo>
                        <a:lnTo>
                          <a:pt x="458" y="34"/>
                        </a:lnTo>
                        <a:lnTo>
                          <a:pt x="420" y="20"/>
                        </a:lnTo>
                        <a:lnTo>
                          <a:pt x="402"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1" name="Freeform 26"/>
                  <p:cNvSpPr>
                    <a:spLocks/>
                  </p:cNvSpPr>
                  <p:nvPr/>
                </p:nvSpPr>
                <p:spPr bwMode="auto">
                  <a:xfrm>
                    <a:off x="2686" y="1208"/>
                    <a:ext cx="478" cy="397"/>
                  </a:xfrm>
                  <a:custGeom>
                    <a:avLst/>
                    <a:gdLst/>
                    <a:ahLst/>
                    <a:cxnLst>
                      <a:cxn ang="0">
                        <a:pos x="28" y="126"/>
                      </a:cxn>
                      <a:cxn ang="0">
                        <a:pos x="36" y="206"/>
                      </a:cxn>
                      <a:cxn ang="0">
                        <a:pos x="54" y="274"/>
                      </a:cxn>
                      <a:cxn ang="0">
                        <a:pos x="88" y="332"/>
                      </a:cxn>
                      <a:cxn ang="0">
                        <a:pos x="132" y="364"/>
                      </a:cxn>
                      <a:cxn ang="0">
                        <a:pos x="146" y="450"/>
                      </a:cxn>
                      <a:cxn ang="0">
                        <a:pos x="216" y="406"/>
                      </a:cxn>
                      <a:cxn ang="0">
                        <a:pos x="272" y="438"/>
                      </a:cxn>
                      <a:cxn ang="0">
                        <a:pos x="298" y="466"/>
                      </a:cxn>
                      <a:cxn ang="0">
                        <a:pos x="320" y="504"/>
                      </a:cxn>
                      <a:cxn ang="0">
                        <a:pos x="362" y="536"/>
                      </a:cxn>
                      <a:cxn ang="0">
                        <a:pos x="422" y="522"/>
                      </a:cxn>
                      <a:cxn ang="0">
                        <a:pos x="456" y="490"/>
                      </a:cxn>
                      <a:cxn ang="0">
                        <a:pos x="496" y="446"/>
                      </a:cxn>
                      <a:cxn ang="0">
                        <a:pos x="584" y="432"/>
                      </a:cxn>
                      <a:cxn ang="0">
                        <a:pos x="612" y="346"/>
                      </a:cxn>
                      <a:cxn ang="0">
                        <a:pos x="646" y="306"/>
                      </a:cxn>
                      <a:cxn ang="0">
                        <a:pos x="628" y="268"/>
                      </a:cxn>
                      <a:cxn ang="0">
                        <a:pos x="630" y="232"/>
                      </a:cxn>
                      <a:cxn ang="0">
                        <a:pos x="634" y="186"/>
                      </a:cxn>
                      <a:cxn ang="0">
                        <a:pos x="556" y="124"/>
                      </a:cxn>
                      <a:cxn ang="0">
                        <a:pos x="548" y="80"/>
                      </a:cxn>
                      <a:cxn ang="0">
                        <a:pos x="468" y="80"/>
                      </a:cxn>
                      <a:cxn ang="0">
                        <a:pos x="408" y="80"/>
                      </a:cxn>
                      <a:cxn ang="0">
                        <a:pos x="388" y="60"/>
                      </a:cxn>
                      <a:cxn ang="0">
                        <a:pos x="356" y="64"/>
                      </a:cxn>
                      <a:cxn ang="0">
                        <a:pos x="244" y="36"/>
                      </a:cxn>
                      <a:cxn ang="0">
                        <a:pos x="196" y="0"/>
                      </a:cxn>
                      <a:cxn ang="0">
                        <a:pos x="150" y="24"/>
                      </a:cxn>
                      <a:cxn ang="0">
                        <a:pos x="82" y="0"/>
                      </a:cxn>
                      <a:cxn ang="0">
                        <a:pos x="66" y="50"/>
                      </a:cxn>
                      <a:cxn ang="0">
                        <a:pos x="30" y="60"/>
                      </a:cxn>
                      <a:cxn ang="0">
                        <a:pos x="0" y="94"/>
                      </a:cxn>
                    </a:cxnLst>
                    <a:rect l="0" t="0" r="r" b="b"/>
                    <a:pathLst>
                      <a:path w="646" h="536">
                        <a:moveTo>
                          <a:pt x="8" y="116"/>
                        </a:moveTo>
                        <a:lnTo>
                          <a:pt x="28" y="126"/>
                        </a:lnTo>
                        <a:lnTo>
                          <a:pt x="36" y="152"/>
                        </a:lnTo>
                        <a:lnTo>
                          <a:pt x="36" y="206"/>
                        </a:lnTo>
                        <a:lnTo>
                          <a:pt x="38" y="236"/>
                        </a:lnTo>
                        <a:lnTo>
                          <a:pt x="54" y="274"/>
                        </a:lnTo>
                        <a:lnTo>
                          <a:pt x="88" y="316"/>
                        </a:lnTo>
                        <a:lnTo>
                          <a:pt x="88" y="332"/>
                        </a:lnTo>
                        <a:lnTo>
                          <a:pt x="110" y="358"/>
                        </a:lnTo>
                        <a:lnTo>
                          <a:pt x="132" y="364"/>
                        </a:lnTo>
                        <a:lnTo>
                          <a:pt x="142" y="414"/>
                        </a:lnTo>
                        <a:lnTo>
                          <a:pt x="146" y="450"/>
                        </a:lnTo>
                        <a:lnTo>
                          <a:pt x="162" y="452"/>
                        </a:lnTo>
                        <a:lnTo>
                          <a:pt x="216" y="406"/>
                        </a:lnTo>
                        <a:lnTo>
                          <a:pt x="228" y="436"/>
                        </a:lnTo>
                        <a:lnTo>
                          <a:pt x="272" y="438"/>
                        </a:lnTo>
                        <a:lnTo>
                          <a:pt x="286" y="450"/>
                        </a:lnTo>
                        <a:lnTo>
                          <a:pt x="298" y="466"/>
                        </a:lnTo>
                        <a:lnTo>
                          <a:pt x="306" y="478"/>
                        </a:lnTo>
                        <a:lnTo>
                          <a:pt x="320" y="504"/>
                        </a:lnTo>
                        <a:lnTo>
                          <a:pt x="298" y="524"/>
                        </a:lnTo>
                        <a:lnTo>
                          <a:pt x="362" y="536"/>
                        </a:lnTo>
                        <a:lnTo>
                          <a:pt x="394" y="528"/>
                        </a:lnTo>
                        <a:lnTo>
                          <a:pt x="422" y="522"/>
                        </a:lnTo>
                        <a:lnTo>
                          <a:pt x="456" y="506"/>
                        </a:lnTo>
                        <a:lnTo>
                          <a:pt x="456" y="490"/>
                        </a:lnTo>
                        <a:lnTo>
                          <a:pt x="496" y="460"/>
                        </a:lnTo>
                        <a:lnTo>
                          <a:pt x="496" y="446"/>
                        </a:lnTo>
                        <a:lnTo>
                          <a:pt x="572" y="440"/>
                        </a:lnTo>
                        <a:lnTo>
                          <a:pt x="584" y="432"/>
                        </a:lnTo>
                        <a:lnTo>
                          <a:pt x="606" y="430"/>
                        </a:lnTo>
                        <a:lnTo>
                          <a:pt x="612" y="346"/>
                        </a:lnTo>
                        <a:lnTo>
                          <a:pt x="646" y="326"/>
                        </a:lnTo>
                        <a:lnTo>
                          <a:pt x="646" y="306"/>
                        </a:lnTo>
                        <a:lnTo>
                          <a:pt x="626" y="284"/>
                        </a:lnTo>
                        <a:lnTo>
                          <a:pt x="628" y="268"/>
                        </a:lnTo>
                        <a:lnTo>
                          <a:pt x="638" y="252"/>
                        </a:lnTo>
                        <a:lnTo>
                          <a:pt x="630" y="232"/>
                        </a:lnTo>
                        <a:lnTo>
                          <a:pt x="640" y="204"/>
                        </a:lnTo>
                        <a:lnTo>
                          <a:pt x="634" y="186"/>
                        </a:lnTo>
                        <a:lnTo>
                          <a:pt x="584" y="162"/>
                        </a:lnTo>
                        <a:lnTo>
                          <a:pt x="556" y="124"/>
                        </a:lnTo>
                        <a:lnTo>
                          <a:pt x="538" y="124"/>
                        </a:lnTo>
                        <a:lnTo>
                          <a:pt x="548" y="80"/>
                        </a:lnTo>
                        <a:lnTo>
                          <a:pt x="548" y="68"/>
                        </a:lnTo>
                        <a:lnTo>
                          <a:pt x="468" y="80"/>
                        </a:lnTo>
                        <a:lnTo>
                          <a:pt x="440" y="68"/>
                        </a:lnTo>
                        <a:lnTo>
                          <a:pt x="408" y="80"/>
                        </a:lnTo>
                        <a:lnTo>
                          <a:pt x="386" y="76"/>
                        </a:lnTo>
                        <a:lnTo>
                          <a:pt x="388" y="60"/>
                        </a:lnTo>
                        <a:lnTo>
                          <a:pt x="372" y="56"/>
                        </a:lnTo>
                        <a:lnTo>
                          <a:pt x="356" y="64"/>
                        </a:lnTo>
                        <a:lnTo>
                          <a:pt x="266" y="22"/>
                        </a:lnTo>
                        <a:lnTo>
                          <a:pt x="244" y="36"/>
                        </a:lnTo>
                        <a:lnTo>
                          <a:pt x="240" y="18"/>
                        </a:lnTo>
                        <a:lnTo>
                          <a:pt x="196" y="0"/>
                        </a:lnTo>
                        <a:lnTo>
                          <a:pt x="164" y="22"/>
                        </a:lnTo>
                        <a:lnTo>
                          <a:pt x="150" y="24"/>
                        </a:lnTo>
                        <a:lnTo>
                          <a:pt x="138" y="26"/>
                        </a:lnTo>
                        <a:lnTo>
                          <a:pt x="82" y="0"/>
                        </a:lnTo>
                        <a:lnTo>
                          <a:pt x="66" y="38"/>
                        </a:lnTo>
                        <a:lnTo>
                          <a:pt x="66" y="50"/>
                        </a:lnTo>
                        <a:lnTo>
                          <a:pt x="38" y="48"/>
                        </a:lnTo>
                        <a:lnTo>
                          <a:pt x="30" y="60"/>
                        </a:lnTo>
                        <a:lnTo>
                          <a:pt x="8" y="64"/>
                        </a:lnTo>
                        <a:lnTo>
                          <a:pt x="0" y="94"/>
                        </a:lnTo>
                        <a:lnTo>
                          <a:pt x="8" y="116"/>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2" name="Freeform 27"/>
                  <p:cNvSpPr>
                    <a:spLocks/>
                  </p:cNvSpPr>
                  <p:nvPr/>
                </p:nvSpPr>
                <p:spPr bwMode="auto">
                  <a:xfrm>
                    <a:off x="3131" y="874"/>
                    <a:ext cx="603" cy="935"/>
                  </a:xfrm>
                  <a:custGeom>
                    <a:avLst/>
                    <a:gdLst/>
                    <a:ahLst/>
                    <a:cxnLst>
                      <a:cxn ang="0">
                        <a:pos x="54" y="902"/>
                      </a:cxn>
                      <a:cxn ang="0">
                        <a:pos x="72" y="964"/>
                      </a:cxn>
                      <a:cxn ang="0">
                        <a:pos x="106" y="994"/>
                      </a:cxn>
                      <a:cxn ang="0">
                        <a:pos x="138" y="1080"/>
                      </a:cxn>
                      <a:cxn ang="0">
                        <a:pos x="244" y="1080"/>
                      </a:cxn>
                      <a:cxn ang="0">
                        <a:pos x="358" y="1082"/>
                      </a:cxn>
                      <a:cxn ang="0">
                        <a:pos x="442" y="1082"/>
                      </a:cxn>
                      <a:cxn ang="0">
                        <a:pos x="472" y="1122"/>
                      </a:cxn>
                      <a:cxn ang="0">
                        <a:pos x="506" y="1202"/>
                      </a:cxn>
                      <a:cxn ang="0">
                        <a:pos x="564" y="1260"/>
                      </a:cxn>
                      <a:cxn ang="0">
                        <a:pos x="652" y="1262"/>
                      </a:cxn>
                      <a:cxn ang="0">
                        <a:pos x="696" y="1246"/>
                      </a:cxn>
                      <a:cxn ang="0">
                        <a:pos x="750" y="1174"/>
                      </a:cxn>
                      <a:cxn ang="0">
                        <a:pos x="804" y="1134"/>
                      </a:cxn>
                      <a:cxn ang="0">
                        <a:pos x="770" y="1060"/>
                      </a:cxn>
                      <a:cxn ang="0">
                        <a:pos x="752" y="958"/>
                      </a:cxn>
                      <a:cxn ang="0">
                        <a:pos x="704" y="912"/>
                      </a:cxn>
                      <a:cxn ang="0">
                        <a:pos x="676" y="866"/>
                      </a:cxn>
                      <a:cxn ang="0">
                        <a:pos x="574" y="766"/>
                      </a:cxn>
                      <a:cxn ang="0">
                        <a:pos x="500" y="648"/>
                      </a:cxn>
                      <a:cxn ang="0">
                        <a:pos x="544" y="602"/>
                      </a:cxn>
                      <a:cxn ang="0">
                        <a:pos x="536" y="554"/>
                      </a:cxn>
                      <a:cxn ang="0">
                        <a:pos x="552" y="462"/>
                      </a:cxn>
                      <a:cxn ang="0">
                        <a:pos x="564" y="398"/>
                      </a:cxn>
                      <a:cxn ang="0">
                        <a:pos x="552" y="342"/>
                      </a:cxn>
                      <a:cxn ang="0">
                        <a:pos x="604" y="326"/>
                      </a:cxn>
                      <a:cxn ang="0">
                        <a:pos x="640" y="322"/>
                      </a:cxn>
                      <a:cxn ang="0">
                        <a:pos x="646" y="266"/>
                      </a:cxn>
                      <a:cxn ang="0">
                        <a:pos x="570" y="224"/>
                      </a:cxn>
                      <a:cxn ang="0">
                        <a:pos x="508" y="190"/>
                      </a:cxn>
                      <a:cxn ang="0">
                        <a:pos x="512" y="130"/>
                      </a:cxn>
                      <a:cxn ang="0">
                        <a:pos x="504" y="60"/>
                      </a:cxn>
                      <a:cxn ang="0">
                        <a:pos x="462" y="26"/>
                      </a:cxn>
                      <a:cxn ang="0">
                        <a:pos x="436" y="86"/>
                      </a:cxn>
                      <a:cxn ang="0">
                        <a:pos x="382" y="108"/>
                      </a:cxn>
                      <a:cxn ang="0">
                        <a:pos x="298" y="104"/>
                      </a:cxn>
                      <a:cxn ang="0">
                        <a:pos x="294" y="202"/>
                      </a:cxn>
                      <a:cxn ang="0">
                        <a:pos x="216" y="304"/>
                      </a:cxn>
                      <a:cxn ang="0">
                        <a:pos x="180" y="376"/>
                      </a:cxn>
                      <a:cxn ang="0">
                        <a:pos x="90" y="424"/>
                      </a:cxn>
                      <a:cxn ang="0">
                        <a:pos x="108" y="490"/>
                      </a:cxn>
                      <a:cxn ang="0">
                        <a:pos x="68" y="562"/>
                      </a:cxn>
                      <a:cxn ang="0">
                        <a:pos x="32" y="638"/>
                      </a:cxn>
                      <a:cxn ang="0">
                        <a:pos x="26" y="686"/>
                      </a:cxn>
                      <a:cxn ang="0">
                        <a:pos x="24" y="734"/>
                      </a:cxn>
                      <a:cxn ang="0">
                        <a:pos x="42" y="768"/>
                      </a:cxn>
                      <a:cxn ang="0">
                        <a:pos x="0" y="882"/>
                      </a:cxn>
                    </a:cxnLst>
                    <a:rect l="0" t="0" r="r" b="b"/>
                    <a:pathLst>
                      <a:path w="814" h="1264">
                        <a:moveTo>
                          <a:pt x="0" y="882"/>
                        </a:moveTo>
                        <a:lnTo>
                          <a:pt x="30" y="884"/>
                        </a:lnTo>
                        <a:lnTo>
                          <a:pt x="54" y="902"/>
                        </a:lnTo>
                        <a:lnTo>
                          <a:pt x="60" y="922"/>
                        </a:lnTo>
                        <a:lnTo>
                          <a:pt x="72" y="944"/>
                        </a:lnTo>
                        <a:lnTo>
                          <a:pt x="72" y="964"/>
                        </a:lnTo>
                        <a:lnTo>
                          <a:pt x="58" y="980"/>
                        </a:lnTo>
                        <a:lnTo>
                          <a:pt x="70" y="998"/>
                        </a:lnTo>
                        <a:lnTo>
                          <a:pt x="106" y="994"/>
                        </a:lnTo>
                        <a:lnTo>
                          <a:pt x="130" y="1016"/>
                        </a:lnTo>
                        <a:lnTo>
                          <a:pt x="130" y="1044"/>
                        </a:lnTo>
                        <a:lnTo>
                          <a:pt x="138" y="1080"/>
                        </a:lnTo>
                        <a:lnTo>
                          <a:pt x="178" y="1108"/>
                        </a:lnTo>
                        <a:lnTo>
                          <a:pt x="226" y="1108"/>
                        </a:lnTo>
                        <a:lnTo>
                          <a:pt x="244" y="1080"/>
                        </a:lnTo>
                        <a:lnTo>
                          <a:pt x="270" y="1106"/>
                        </a:lnTo>
                        <a:lnTo>
                          <a:pt x="304" y="1084"/>
                        </a:lnTo>
                        <a:lnTo>
                          <a:pt x="358" y="1082"/>
                        </a:lnTo>
                        <a:lnTo>
                          <a:pt x="368" y="1096"/>
                        </a:lnTo>
                        <a:lnTo>
                          <a:pt x="402" y="1076"/>
                        </a:lnTo>
                        <a:lnTo>
                          <a:pt x="442" y="1082"/>
                        </a:lnTo>
                        <a:lnTo>
                          <a:pt x="454" y="1092"/>
                        </a:lnTo>
                        <a:lnTo>
                          <a:pt x="470" y="1096"/>
                        </a:lnTo>
                        <a:lnTo>
                          <a:pt x="472" y="1122"/>
                        </a:lnTo>
                        <a:lnTo>
                          <a:pt x="494" y="1130"/>
                        </a:lnTo>
                        <a:lnTo>
                          <a:pt x="498" y="1156"/>
                        </a:lnTo>
                        <a:lnTo>
                          <a:pt x="506" y="1202"/>
                        </a:lnTo>
                        <a:lnTo>
                          <a:pt x="514" y="1222"/>
                        </a:lnTo>
                        <a:lnTo>
                          <a:pt x="542" y="1228"/>
                        </a:lnTo>
                        <a:lnTo>
                          <a:pt x="564" y="1260"/>
                        </a:lnTo>
                        <a:lnTo>
                          <a:pt x="592" y="1248"/>
                        </a:lnTo>
                        <a:lnTo>
                          <a:pt x="616" y="1264"/>
                        </a:lnTo>
                        <a:lnTo>
                          <a:pt x="652" y="1262"/>
                        </a:lnTo>
                        <a:lnTo>
                          <a:pt x="666" y="1236"/>
                        </a:lnTo>
                        <a:lnTo>
                          <a:pt x="684" y="1226"/>
                        </a:lnTo>
                        <a:lnTo>
                          <a:pt x="696" y="1246"/>
                        </a:lnTo>
                        <a:lnTo>
                          <a:pt x="734" y="1232"/>
                        </a:lnTo>
                        <a:lnTo>
                          <a:pt x="764" y="1210"/>
                        </a:lnTo>
                        <a:lnTo>
                          <a:pt x="750" y="1174"/>
                        </a:lnTo>
                        <a:lnTo>
                          <a:pt x="756" y="1156"/>
                        </a:lnTo>
                        <a:lnTo>
                          <a:pt x="790" y="1140"/>
                        </a:lnTo>
                        <a:lnTo>
                          <a:pt x="804" y="1134"/>
                        </a:lnTo>
                        <a:lnTo>
                          <a:pt x="814" y="1106"/>
                        </a:lnTo>
                        <a:lnTo>
                          <a:pt x="780" y="1080"/>
                        </a:lnTo>
                        <a:lnTo>
                          <a:pt x="770" y="1060"/>
                        </a:lnTo>
                        <a:lnTo>
                          <a:pt x="734" y="1036"/>
                        </a:lnTo>
                        <a:lnTo>
                          <a:pt x="742" y="996"/>
                        </a:lnTo>
                        <a:lnTo>
                          <a:pt x="752" y="958"/>
                        </a:lnTo>
                        <a:lnTo>
                          <a:pt x="742" y="936"/>
                        </a:lnTo>
                        <a:lnTo>
                          <a:pt x="718" y="934"/>
                        </a:lnTo>
                        <a:lnTo>
                          <a:pt x="704" y="912"/>
                        </a:lnTo>
                        <a:lnTo>
                          <a:pt x="670" y="910"/>
                        </a:lnTo>
                        <a:lnTo>
                          <a:pt x="666" y="886"/>
                        </a:lnTo>
                        <a:lnTo>
                          <a:pt x="676" y="866"/>
                        </a:lnTo>
                        <a:lnTo>
                          <a:pt x="650" y="848"/>
                        </a:lnTo>
                        <a:lnTo>
                          <a:pt x="616" y="828"/>
                        </a:lnTo>
                        <a:lnTo>
                          <a:pt x="574" y="766"/>
                        </a:lnTo>
                        <a:lnTo>
                          <a:pt x="572" y="738"/>
                        </a:lnTo>
                        <a:lnTo>
                          <a:pt x="504" y="684"/>
                        </a:lnTo>
                        <a:lnTo>
                          <a:pt x="500" y="648"/>
                        </a:lnTo>
                        <a:lnTo>
                          <a:pt x="534" y="626"/>
                        </a:lnTo>
                        <a:lnTo>
                          <a:pt x="532" y="614"/>
                        </a:lnTo>
                        <a:lnTo>
                          <a:pt x="544" y="602"/>
                        </a:lnTo>
                        <a:lnTo>
                          <a:pt x="542" y="582"/>
                        </a:lnTo>
                        <a:lnTo>
                          <a:pt x="518" y="570"/>
                        </a:lnTo>
                        <a:lnTo>
                          <a:pt x="536" y="554"/>
                        </a:lnTo>
                        <a:lnTo>
                          <a:pt x="528" y="522"/>
                        </a:lnTo>
                        <a:lnTo>
                          <a:pt x="514" y="498"/>
                        </a:lnTo>
                        <a:lnTo>
                          <a:pt x="552" y="462"/>
                        </a:lnTo>
                        <a:lnTo>
                          <a:pt x="552" y="434"/>
                        </a:lnTo>
                        <a:lnTo>
                          <a:pt x="544" y="422"/>
                        </a:lnTo>
                        <a:lnTo>
                          <a:pt x="564" y="398"/>
                        </a:lnTo>
                        <a:lnTo>
                          <a:pt x="564" y="368"/>
                        </a:lnTo>
                        <a:lnTo>
                          <a:pt x="558" y="354"/>
                        </a:lnTo>
                        <a:lnTo>
                          <a:pt x="552" y="342"/>
                        </a:lnTo>
                        <a:lnTo>
                          <a:pt x="562" y="320"/>
                        </a:lnTo>
                        <a:lnTo>
                          <a:pt x="574" y="308"/>
                        </a:lnTo>
                        <a:lnTo>
                          <a:pt x="604" y="326"/>
                        </a:lnTo>
                        <a:lnTo>
                          <a:pt x="620" y="330"/>
                        </a:lnTo>
                        <a:lnTo>
                          <a:pt x="642" y="338"/>
                        </a:lnTo>
                        <a:lnTo>
                          <a:pt x="640" y="322"/>
                        </a:lnTo>
                        <a:lnTo>
                          <a:pt x="648" y="308"/>
                        </a:lnTo>
                        <a:lnTo>
                          <a:pt x="654" y="288"/>
                        </a:lnTo>
                        <a:lnTo>
                          <a:pt x="646" y="266"/>
                        </a:lnTo>
                        <a:lnTo>
                          <a:pt x="620" y="248"/>
                        </a:lnTo>
                        <a:lnTo>
                          <a:pt x="596" y="238"/>
                        </a:lnTo>
                        <a:lnTo>
                          <a:pt x="570" y="224"/>
                        </a:lnTo>
                        <a:lnTo>
                          <a:pt x="566" y="208"/>
                        </a:lnTo>
                        <a:lnTo>
                          <a:pt x="524" y="198"/>
                        </a:lnTo>
                        <a:lnTo>
                          <a:pt x="508" y="190"/>
                        </a:lnTo>
                        <a:lnTo>
                          <a:pt x="494" y="174"/>
                        </a:lnTo>
                        <a:lnTo>
                          <a:pt x="498" y="140"/>
                        </a:lnTo>
                        <a:lnTo>
                          <a:pt x="512" y="130"/>
                        </a:lnTo>
                        <a:lnTo>
                          <a:pt x="492" y="114"/>
                        </a:lnTo>
                        <a:lnTo>
                          <a:pt x="486" y="82"/>
                        </a:lnTo>
                        <a:lnTo>
                          <a:pt x="504" y="60"/>
                        </a:lnTo>
                        <a:lnTo>
                          <a:pt x="504" y="14"/>
                        </a:lnTo>
                        <a:lnTo>
                          <a:pt x="484" y="0"/>
                        </a:lnTo>
                        <a:lnTo>
                          <a:pt x="462" y="26"/>
                        </a:lnTo>
                        <a:lnTo>
                          <a:pt x="458" y="46"/>
                        </a:lnTo>
                        <a:lnTo>
                          <a:pt x="448" y="64"/>
                        </a:lnTo>
                        <a:lnTo>
                          <a:pt x="436" y="86"/>
                        </a:lnTo>
                        <a:lnTo>
                          <a:pt x="408" y="90"/>
                        </a:lnTo>
                        <a:lnTo>
                          <a:pt x="392" y="98"/>
                        </a:lnTo>
                        <a:lnTo>
                          <a:pt x="382" y="108"/>
                        </a:lnTo>
                        <a:lnTo>
                          <a:pt x="342" y="110"/>
                        </a:lnTo>
                        <a:lnTo>
                          <a:pt x="322" y="100"/>
                        </a:lnTo>
                        <a:lnTo>
                          <a:pt x="298" y="104"/>
                        </a:lnTo>
                        <a:lnTo>
                          <a:pt x="274" y="102"/>
                        </a:lnTo>
                        <a:lnTo>
                          <a:pt x="296" y="164"/>
                        </a:lnTo>
                        <a:lnTo>
                          <a:pt x="294" y="202"/>
                        </a:lnTo>
                        <a:lnTo>
                          <a:pt x="274" y="232"/>
                        </a:lnTo>
                        <a:lnTo>
                          <a:pt x="230" y="272"/>
                        </a:lnTo>
                        <a:lnTo>
                          <a:pt x="216" y="304"/>
                        </a:lnTo>
                        <a:lnTo>
                          <a:pt x="230" y="340"/>
                        </a:lnTo>
                        <a:lnTo>
                          <a:pt x="218" y="408"/>
                        </a:lnTo>
                        <a:lnTo>
                          <a:pt x="180" y="376"/>
                        </a:lnTo>
                        <a:lnTo>
                          <a:pt x="150" y="422"/>
                        </a:lnTo>
                        <a:lnTo>
                          <a:pt x="136" y="408"/>
                        </a:lnTo>
                        <a:lnTo>
                          <a:pt x="90" y="424"/>
                        </a:lnTo>
                        <a:lnTo>
                          <a:pt x="94" y="454"/>
                        </a:lnTo>
                        <a:lnTo>
                          <a:pt x="106" y="476"/>
                        </a:lnTo>
                        <a:lnTo>
                          <a:pt x="108" y="490"/>
                        </a:lnTo>
                        <a:lnTo>
                          <a:pt x="72" y="490"/>
                        </a:lnTo>
                        <a:lnTo>
                          <a:pt x="66" y="550"/>
                        </a:lnTo>
                        <a:lnTo>
                          <a:pt x="68" y="562"/>
                        </a:lnTo>
                        <a:lnTo>
                          <a:pt x="82" y="572"/>
                        </a:lnTo>
                        <a:lnTo>
                          <a:pt x="66" y="608"/>
                        </a:lnTo>
                        <a:lnTo>
                          <a:pt x="32" y="638"/>
                        </a:lnTo>
                        <a:lnTo>
                          <a:pt x="32" y="658"/>
                        </a:lnTo>
                        <a:lnTo>
                          <a:pt x="26" y="674"/>
                        </a:lnTo>
                        <a:lnTo>
                          <a:pt x="26" y="686"/>
                        </a:lnTo>
                        <a:lnTo>
                          <a:pt x="34" y="698"/>
                        </a:lnTo>
                        <a:lnTo>
                          <a:pt x="22" y="718"/>
                        </a:lnTo>
                        <a:lnTo>
                          <a:pt x="24" y="734"/>
                        </a:lnTo>
                        <a:lnTo>
                          <a:pt x="24" y="746"/>
                        </a:lnTo>
                        <a:lnTo>
                          <a:pt x="36" y="758"/>
                        </a:lnTo>
                        <a:lnTo>
                          <a:pt x="42" y="768"/>
                        </a:lnTo>
                        <a:lnTo>
                          <a:pt x="40" y="780"/>
                        </a:lnTo>
                        <a:lnTo>
                          <a:pt x="6" y="796"/>
                        </a:lnTo>
                        <a:lnTo>
                          <a:pt x="0" y="882"/>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3" name="Freeform 28"/>
                  <p:cNvSpPr>
                    <a:spLocks/>
                  </p:cNvSpPr>
                  <p:nvPr/>
                </p:nvSpPr>
                <p:spPr bwMode="auto">
                  <a:xfrm>
                    <a:off x="2317" y="1291"/>
                    <a:ext cx="739" cy="955"/>
                  </a:xfrm>
                  <a:custGeom>
                    <a:avLst/>
                    <a:gdLst/>
                    <a:ahLst/>
                    <a:cxnLst>
                      <a:cxn ang="0">
                        <a:pos x="296" y="156"/>
                      </a:cxn>
                      <a:cxn ang="0">
                        <a:pos x="326" y="204"/>
                      </a:cxn>
                      <a:cxn ang="0">
                        <a:pos x="318" y="268"/>
                      </a:cxn>
                      <a:cxn ang="0">
                        <a:pos x="258" y="284"/>
                      </a:cxn>
                      <a:cxn ang="0">
                        <a:pos x="280" y="332"/>
                      </a:cxn>
                      <a:cxn ang="0">
                        <a:pos x="272" y="350"/>
                      </a:cxn>
                      <a:cxn ang="0">
                        <a:pos x="272" y="420"/>
                      </a:cxn>
                      <a:cxn ang="0">
                        <a:pos x="258" y="528"/>
                      </a:cxn>
                      <a:cxn ang="0">
                        <a:pos x="208" y="594"/>
                      </a:cxn>
                      <a:cxn ang="0">
                        <a:pos x="122" y="630"/>
                      </a:cxn>
                      <a:cxn ang="0">
                        <a:pos x="82" y="656"/>
                      </a:cxn>
                      <a:cxn ang="0">
                        <a:pos x="58" y="666"/>
                      </a:cxn>
                      <a:cxn ang="0">
                        <a:pos x="40" y="720"/>
                      </a:cxn>
                      <a:cxn ang="0">
                        <a:pos x="0" y="786"/>
                      </a:cxn>
                      <a:cxn ang="0">
                        <a:pos x="28" y="876"/>
                      </a:cxn>
                      <a:cxn ang="0">
                        <a:pos x="74" y="920"/>
                      </a:cxn>
                      <a:cxn ang="0">
                        <a:pos x="86" y="970"/>
                      </a:cxn>
                      <a:cxn ang="0">
                        <a:pos x="122" y="964"/>
                      </a:cxn>
                      <a:cxn ang="0">
                        <a:pos x="164" y="940"/>
                      </a:cxn>
                      <a:cxn ang="0">
                        <a:pos x="220" y="1014"/>
                      </a:cxn>
                      <a:cxn ang="0">
                        <a:pos x="246" y="1080"/>
                      </a:cxn>
                      <a:cxn ang="0">
                        <a:pos x="240" y="1124"/>
                      </a:cxn>
                      <a:cxn ang="0">
                        <a:pos x="302" y="1178"/>
                      </a:cxn>
                      <a:cxn ang="0">
                        <a:pos x="318" y="1240"/>
                      </a:cxn>
                      <a:cxn ang="0">
                        <a:pos x="352" y="1266"/>
                      </a:cxn>
                      <a:cxn ang="0">
                        <a:pos x="432" y="1290"/>
                      </a:cxn>
                      <a:cxn ang="0">
                        <a:pos x="496" y="1274"/>
                      </a:cxn>
                      <a:cxn ang="0">
                        <a:pos x="534" y="1250"/>
                      </a:cxn>
                      <a:cxn ang="0">
                        <a:pos x="626" y="1268"/>
                      </a:cxn>
                      <a:cxn ang="0">
                        <a:pos x="700" y="1256"/>
                      </a:cxn>
                      <a:cxn ang="0">
                        <a:pos x="754" y="1214"/>
                      </a:cxn>
                      <a:cxn ang="0">
                        <a:pos x="812" y="1194"/>
                      </a:cxn>
                      <a:cxn ang="0">
                        <a:pos x="820" y="1136"/>
                      </a:cxn>
                      <a:cxn ang="0">
                        <a:pos x="896" y="1124"/>
                      </a:cxn>
                      <a:cxn ang="0">
                        <a:pos x="968" y="1094"/>
                      </a:cxn>
                      <a:cxn ang="0">
                        <a:pos x="986" y="990"/>
                      </a:cxn>
                      <a:cxn ang="0">
                        <a:pos x="988" y="952"/>
                      </a:cxn>
                      <a:cxn ang="0">
                        <a:pos x="972" y="890"/>
                      </a:cxn>
                      <a:cxn ang="0">
                        <a:pos x="946" y="846"/>
                      </a:cxn>
                      <a:cxn ang="0">
                        <a:pos x="948" y="746"/>
                      </a:cxn>
                      <a:cxn ang="0">
                        <a:pos x="934" y="698"/>
                      </a:cxn>
                      <a:cxn ang="0">
                        <a:pos x="914" y="636"/>
                      </a:cxn>
                      <a:cxn ang="0">
                        <a:pos x="928" y="608"/>
                      </a:cxn>
                      <a:cxn ang="0">
                        <a:pos x="974" y="592"/>
                      </a:cxn>
                      <a:cxn ang="0">
                        <a:pos x="972" y="532"/>
                      </a:cxn>
                      <a:cxn ang="0">
                        <a:pos x="992" y="482"/>
                      </a:cxn>
                      <a:cxn ang="0">
                        <a:pos x="968" y="436"/>
                      </a:cxn>
                      <a:cxn ang="0">
                        <a:pos x="950" y="394"/>
                      </a:cxn>
                      <a:cxn ang="0">
                        <a:pos x="856" y="422"/>
                      </a:cxn>
                      <a:cxn ang="0">
                        <a:pos x="820" y="390"/>
                      </a:cxn>
                      <a:cxn ang="0">
                        <a:pos x="772" y="322"/>
                      </a:cxn>
                      <a:cxn ang="0">
                        <a:pos x="716" y="290"/>
                      </a:cxn>
                      <a:cxn ang="0">
                        <a:pos x="632" y="250"/>
                      </a:cxn>
                      <a:cxn ang="0">
                        <a:pos x="584" y="218"/>
                      </a:cxn>
                      <a:cxn ang="0">
                        <a:pos x="548" y="148"/>
                      </a:cxn>
                      <a:cxn ang="0">
                        <a:pos x="542" y="24"/>
                      </a:cxn>
                      <a:cxn ang="0">
                        <a:pos x="506" y="6"/>
                      </a:cxn>
                      <a:cxn ang="0">
                        <a:pos x="496" y="32"/>
                      </a:cxn>
                      <a:cxn ang="0">
                        <a:pos x="470" y="42"/>
                      </a:cxn>
                      <a:cxn ang="0">
                        <a:pos x="468" y="64"/>
                      </a:cxn>
                      <a:cxn ang="0">
                        <a:pos x="422" y="90"/>
                      </a:cxn>
                      <a:cxn ang="0">
                        <a:pos x="344" y="108"/>
                      </a:cxn>
                      <a:cxn ang="0">
                        <a:pos x="284" y="118"/>
                      </a:cxn>
                    </a:cxnLst>
                    <a:rect l="0" t="0" r="r" b="b"/>
                    <a:pathLst>
                      <a:path w="998" h="1290">
                        <a:moveTo>
                          <a:pt x="284" y="118"/>
                        </a:moveTo>
                        <a:lnTo>
                          <a:pt x="296" y="156"/>
                        </a:lnTo>
                        <a:lnTo>
                          <a:pt x="318" y="182"/>
                        </a:lnTo>
                        <a:lnTo>
                          <a:pt x="326" y="204"/>
                        </a:lnTo>
                        <a:lnTo>
                          <a:pt x="330" y="244"/>
                        </a:lnTo>
                        <a:lnTo>
                          <a:pt x="318" y="268"/>
                        </a:lnTo>
                        <a:lnTo>
                          <a:pt x="296" y="288"/>
                        </a:lnTo>
                        <a:lnTo>
                          <a:pt x="258" y="284"/>
                        </a:lnTo>
                        <a:lnTo>
                          <a:pt x="270" y="314"/>
                        </a:lnTo>
                        <a:cubicBezTo>
                          <a:pt x="289" y="320"/>
                          <a:pt x="293" y="319"/>
                          <a:pt x="280" y="332"/>
                        </a:cubicBezTo>
                        <a:cubicBezTo>
                          <a:pt x="279" y="334"/>
                          <a:pt x="278" y="338"/>
                          <a:pt x="278" y="338"/>
                        </a:cubicBezTo>
                        <a:lnTo>
                          <a:pt x="272" y="350"/>
                        </a:lnTo>
                        <a:lnTo>
                          <a:pt x="278" y="390"/>
                        </a:lnTo>
                        <a:lnTo>
                          <a:pt x="272" y="420"/>
                        </a:lnTo>
                        <a:lnTo>
                          <a:pt x="278" y="464"/>
                        </a:lnTo>
                        <a:lnTo>
                          <a:pt x="258" y="528"/>
                        </a:lnTo>
                        <a:lnTo>
                          <a:pt x="220" y="568"/>
                        </a:lnTo>
                        <a:lnTo>
                          <a:pt x="208" y="594"/>
                        </a:lnTo>
                        <a:lnTo>
                          <a:pt x="138" y="636"/>
                        </a:lnTo>
                        <a:lnTo>
                          <a:pt x="122" y="630"/>
                        </a:lnTo>
                        <a:lnTo>
                          <a:pt x="108" y="670"/>
                        </a:lnTo>
                        <a:lnTo>
                          <a:pt x="82" y="656"/>
                        </a:lnTo>
                        <a:lnTo>
                          <a:pt x="48" y="654"/>
                        </a:lnTo>
                        <a:lnTo>
                          <a:pt x="58" y="666"/>
                        </a:lnTo>
                        <a:lnTo>
                          <a:pt x="68" y="676"/>
                        </a:lnTo>
                        <a:lnTo>
                          <a:pt x="40" y="720"/>
                        </a:lnTo>
                        <a:lnTo>
                          <a:pt x="40" y="754"/>
                        </a:lnTo>
                        <a:lnTo>
                          <a:pt x="0" y="786"/>
                        </a:lnTo>
                        <a:lnTo>
                          <a:pt x="2" y="856"/>
                        </a:lnTo>
                        <a:lnTo>
                          <a:pt x="28" y="876"/>
                        </a:lnTo>
                        <a:lnTo>
                          <a:pt x="38" y="906"/>
                        </a:lnTo>
                        <a:lnTo>
                          <a:pt x="74" y="920"/>
                        </a:lnTo>
                        <a:lnTo>
                          <a:pt x="82" y="948"/>
                        </a:lnTo>
                        <a:lnTo>
                          <a:pt x="86" y="970"/>
                        </a:lnTo>
                        <a:lnTo>
                          <a:pt x="106" y="978"/>
                        </a:lnTo>
                        <a:lnTo>
                          <a:pt x="122" y="964"/>
                        </a:lnTo>
                        <a:lnTo>
                          <a:pt x="150" y="962"/>
                        </a:lnTo>
                        <a:lnTo>
                          <a:pt x="164" y="940"/>
                        </a:lnTo>
                        <a:lnTo>
                          <a:pt x="196" y="984"/>
                        </a:lnTo>
                        <a:lnTo>
                          <a:pt x="220" y="1014"/>
                        </a:lnTo>
                        <a:lnTo>
                          <a:pt x="242" y="1050"/>
                        </a:lnTo>
                        <a:lnTo>
                          <a:pt x="246" y="1080"/>
                        </a:lnTo>
                        <a:lnTo>
                          <a:pt x="246" y="1104"/>
                        </a:lnTo>
                        <a:lnTo>
                          <a:pt x="240" y="1124"/>
                        </a:lnTo>
                        <a:lnTo>
                          <a:pt x="276" y="1170"/>
                        </a:lnTo>
                        <a:lnTo>
                          <a:pt x="302" y="1178"/>
                        </a:lnTo>
                        <a:lnTo>
                          <a:pt x="314" y="1192"/>
                        </a:lnTo>
                        <a:lnTo>
                          <a:pt x="318" y="1240"/>
                        </a:lnTo>
                        <a:lnTo>
                          <a:pt x="340" y="1248"/>
                        </a:lnTo>
                        <a:lnTo>
                          <a:pt x="352" y="1266"/>
                        </a:lnTo>
                        <a:lnTo>
                          <a:pt x="398" y="1266"/>
                        </a:lnTo>
                        <a:lnTo>
                          <a:pt x="432" y="1290"/>
                        </a:lnTo>
                        <a:lnTo>
                          <a:pt x="468" y="1254"/>
                        </a:lnTo>
                        <a:lnTo>
                          <a:pt x="496" y="1274"/>
                        </a:lnTo>
                        <a:lnTo>
                          <a:pt x="528" y="1278"/>
                        </a:lnTo>
                        <a:lnTo>
                          <a:pt x="534" y="1250"/>
                        </a:lnTo>
                        <a:lnTo>
                          <a:pt x="610" y="1250"/>
                        </a:lnTo>
                        <a:lnTo>
                          <a:pt x="626" y="1268"/>
                        </a:lnTo>
                        <a:lnTo>
                          <a:pt x="656" y="1264"/>
                        </a:lnTo>
                        <a:lnTo>
                          <a:pt x="700" y="1256"/>
                        </a:lnTo>
                        <a:lnTo>
                          <a:pt x="710" y="1230"/>
                        </a:lnTo>
                        <a:lnTo>
                          <a:pt x="754" y="1214"/>
                        </a:lnTo>
                        <a:lnTo>
                          <a:pt x="794" y="1188"/>
                        </a:lnTo>
                        <a:lnTo>
                          <a:pt x="812" y="1194"/>
                        </a:lnTo>
                        <a:lnTo>
                          <a:pt x="828" y="1172"/>
                        </a:lnTo>
                        <a:lnTo>
                          <a:pt x="820" y="1136"/>
                        </a:lnTo>
                        <a:lnTo>
                          <a:pt x="852" y="1118"/>
                        </a:lnTo>
                        <a:lnTo>
                          <a:pt x="896" y="1124"/>
                        </a:lnTo>
                        <a:lnTo>
                          <a:pt x="930" y="1094"/>
                        </a:lnTo>
                        <a:lnTo>
                          <a:pt x="968" y="1094"/>
                        </a:lnTo>
                        <a:lnTo>
                          <a:pt x="972" y="1026"/>
                        </a:lnTo>
                        <a:lnTo>
                          <a:pt x="986" y="990"/>
                        </a:lnTo>
                        <a:lnTo>
                          <a:pt x="994" y="968"/>
                        </a:lnTo>
                        <a:lnTo>
                          <a:pt x="988" y="952"/>
                        </a:lnTo>
                        <a:lnTo>
                          <a:pt x="974" y="934"/>
                        </a:lnTo>
                        <a:lnTo>
                          <a:pt x="972" y="890"/>
                        </a:lnTo>
                        <a:lnTo>
                          <a:pt x="962" y="864"/>
                        </a:lnTo>
                        <a:lnTo>
                          <a:pt x="946" y="846"/>
                        </a:lnTo>
                        <a:lnTo>
                          <a:pt x="946" y="792"/>
                        </a:lnTo>
                        <a:lnTo>
                          <a:pt x="948" y="746"/>
                        </a:lnTo>
                        <a:lnTo>
                          <a:pt x="936" y="720"/>
                        </a:lnTo>
                        <a:lnTo>
                          <a:pt x="934" y="698"/>
                        </a:lnTo>
                        <a:lnTo>
                          <a:pt x="930" y="652"/>
                        </a:lnTo>
                        <a:lnTo>
                          <a:pt x="914" y="636"/>
                        </a:lnTo>
                        <a:lnTo>
                          <a:pt x="916" y="620"/>
                        </a:lnTo>
                        <a:lnTo>
                          <a:pt x="928" y="608"/>
                        </a:lnTo>
                        <a:lnTo>
                          <a:pt x="970" y="620"/>
                        </a:lnTo>
                        <a:lnTo>
                          <a:pt x="974" y="592"/>
                        </a:lnTo>
                        <a:lnTo>
                          <a:pt x="984" y="564"/>
                        </a:lnTo>
                        <a:lnTo>
                          <a:pt x="972" y="532"/>
                        </a:lnTo>
                        <a:lnTo>
                          <a:pt x="998" y="502"/>
                        </a:lnTo>
                        <a:lnTo>
                          <a:pt x="992" y="482"/>
                        </a:lnTo>
                        <a:lnTo>
                          <a:pt x="974" y="460"/>
                        </a:lnTo>
                        <a:lnTo>
                          <a:pt x="968" y="436"/>
                        </a:lnTo>
                        <a:lnTo>
                          <a:pt x="960" y="420"/>
                        </a:lnTo>
                        <a:lnTo>
                          <a:pt x="950" y="394"/>
                        </a:lnTo>
                        <a:lnTo>
                          <a:pt x="914" y="410"/>
                        </a:lnTo>
                        <a:lnTo>
                          <a:pt x="856" y="422"/>
                        </a:lnTo>
                        <a:lnTo>
                          <a:pt x="802" y="410"/>
                        </a:lnTo>
                        <a:lnTo>
                          <a:pt x="820" y="390"/>
                        </a:lnTo>
                        <a:lnTo>
                          <a:pt x="788" y="342"/>
                        </a:lnTo>
                        <a:lnTo>
                          <a:pt x="772" y="322"/>
                        </a:lnTo>
                        <a:lnTo>
                          <a:pt x="728" y="324"/>
                        </a:lnTo>
                        <a:lnTo>
                          <a:pt x="716" y="290"/>
                        </a:lnTo>
                        <a:lnTo>
                          <a:pt x="656" y="340"/>
                        </a:lnTo>
                        <a:lnTo>
                          <a:pt x="632" y="250"/>
                        </a:lnTo>
                        <a:lnTo>
                          <a:pt x="612" y="246"/>
                        </a:lnTo>
                        <a:lnTo>
                          <a:pt x="584" y="218"/>
                        </a:lnTo>
                        <a:lnTo>
                          <a:pt x="588" y="204"/>
                        </a:lnTo>
                        <a:lnTo>
                          <a:pt x="548" y="148"/>
                        </a:lnTo>
                        <a:lnTo>
                          <a:pt x="540" y="114"/>
                        </a:lnTo>
                        <a:lnTo>
                          <a:pt x="542" y="24"/>
                        </a:lnTo>
                        <a:lnTo>
                          <a:pt x="530" y="0"/>
                        </a:lnTo>
                        <a:lnTo>
                          <a:pt x="506" y="6"/>
                        </a:lnTo>
                        <a:lnTo>
                          <a:pt x="486" y="20"/>
                        </a:lnTo>
                        <a:lnTo>
                          <a:pt x="496" y="32"/>
                        </a:lnTo>
                        <a:lnTo>
                          <a:pt x="484" y="48"/>
                        </a:lnTo>
                        <a:lnTo>
                          <a:pt x="470" y="42"/>
                        </a:lnTo>
                        <a:lnTo>
                          <a:pt x="456" y="44"/>
                        </a:lnTo>
                        <a:lnTo>
                          <a:pt x="468" y="64"/>
                        </a:lnTo>
                        <a:lnTo>
                          <a:pt x="438" y="88"/>
                        </a:lnTo>
                        <a:lnTo>
                          <a:pt x="422" y="90"/>
                        </a:lnTo>
                        <a:lnTo>
                          <a:pt x="354" y="92"/>
                        </a:lnTo>
                        <a:lnTo>
                          <a:pt x="344" y="108"/>
                        </a:lnTo>
                        <a:lnTo>
                          <a:pt x="312" y="106"/>
                        </a:lnTo>
                        <a:lnTo>
                          <a:pt x="284" y="118"/>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4" name="Freeform 29"/>
                  <p:cNvSpPr>
                    <a:spLocks/>
                  </p:cNvSpPr>
                  <p:nvPr/>
                </p:nvSpPr>
                <p:spPr bwMode="auto">
                  <a:xfrm>
                    <a:off x="2992" y="1526"/>
                    <a:ext cx="657" cy="819"/>
                  </a:xfrm>
                  <a:custGeom>
                    <a:avLst/>
                    <a:gdLst/>
                    <a:ahLst/>
                    <a:cxnLst>
                      <a:cxn ang="0">
                        <a:pos x="296" y="108"/>
                      </a:cxn>
                      <a:cxn ang="0">
                        <a:pos x="334" y="198"/>
                      </a:cxn>
                      <a:cxn ang="0">
                        <a:pos x="428" y="196"/>
                      </a:cxn>
                      <a:cxn ang="0">
                        <a:pos x="548" y="196"/>
                      </a:cxn>
                      <a:cxn ang="0">
                        <a:pos x="606" y="192"/>
                      </a:cxn>
                      <a:cxn ang="0">
                        <a:pos x="664" y="236"/>
                      </a:cxn>
                      <a:cxn ang="0">
                        <a:pos x="736" y="344"/>
                      </a:cxn>
                      <a:cxn ang="0">
                        <a:pos x="808" y="380"/>
                      </a:cxn>
                      <a:cxn ang="0">
                        <a:pos x="884" y="418"/>
                      </a:cxn>
                      <a:cxn ang="0">
                        <a:pos x="858" y="458"/>
                      </a:cxn>
                      <a:cxn ang="0">
                        <a:pos x="886" y="540"/>
                      </a:cxn>
                      <a:cxn ang="0">
                        <a:pos x="864" y="590"/>
                      </a:cxn>
                      <a:cxn ang="0">
                        <a:pos x="806" y="658"/>
                      </a:cxn>
                      <a:cxn ang="0">
                        <a:pos x="810" y="752"/>
                      </a:cxn>
                      <a:cxn ang="0">
                        <a:pos x="852" y="784"/>
                      </a:cxn>
                      <a:cxn ang="0">
                        <a:pos x="838" y="836"/>
                      </a:cxn>
                      <a:cxn ang="0">
                        <a:pos x="840" y="932"/>
                      </a:cxn>
                      <a:cxn ang="0">
                        <a:pos x="808" y="936"/>
                      </a:cxn>
                      <a:cxn ang="0">
                        <a:pos x="706" y="896"/>
                      </a:cxn>
                      <a:cxn ang="0">
                        <a:pos x="686" y="980"/>
                      </a:cxn>
                      <a:cxn ang="0">
                        <a:pos x="660" y="1058"/>
                      </a:cxn>
                      <a:cxn ang="0">
                        <a:pos x="614" y="1048"/>
                      </a:cxn>
                      <a:cxn ang="0">
                        <a:pos x="564" y="1020"/>
                      </a:cxn>
                      <a:cxn ang="0">
                        <a:pos x="488" y="1040"/>
                      </a:cxn>
                      <a:cxn ang="0">
                        <a:pos x="464" y="1056"/>
                      </a:cxn>
                      <a:cxn ang="0">
                        <a:pos x="396" y="1068"/>
                      </a:cxn>
                      <a:cxn ang="0">
                        <a:pos x="366" y="1036"/>
                      </a:cxn>
                      <a:cxn ang="0">
                        <a:pos x="356" y="924"/>
                      </a:cxn>
                      <a:cxn ang="0">
                        <a:pos x="284" y="842"/>
                      </a:cxn>
                      <a:cxn ang="0">
                        <a:pos x="204" y="832"/>
                      </a:cxn>
                      <a:cxn ang="0">
                        <a:pos x="136" y="830"/>
                      </a:cxn>
                      <a:cxn ang="0">
                        <a:pos x="86" y="822"/>
                      </a:cxn>
                      <a:cxn ang="0">
                        <a:pos x="60" y="700"/>
                      </a:cxn>
                      <a:cxn ang="0">
                        <a:pos x="58" y="580"/>
                      </a:cxn>
                      <a:cxn ang="0">
                        <a:pos x="34" y="530"/>
                      </a:cxn>
                      <a:cxn ang="0">
                        <a:pos x="18" y="398"/>
                      </a:cxn>
                      <a:cxn ang="0">
                        <a:pos x="0" y="316"/>
                      </a:cxn>
                      <a:cxn ang="0">
                        <a:pos x="46" y="290"/>
                      </a:cxn>
                      <a:cxn ang="0">
                        <a:pos x="82" y="178"/>
                      </a:cxn>
                      <a:cxn ang="0">
                        <a:pos x="34" y="76"/>
                      </a:cxn>
                      <a:cxn ang="0">
                        <a:pos x="82" y="14"/>
                      </a:cxn>
                      <a:cxn ang="0">
                        <a:pos x="168" y="0"/>
                      </a:cxn>
                      <a:cxn ang="0">
                        <a:pos x="264" y="64"/>
                      </a:cxn>
                    </a:cxnLst>
                    <a:rect l="0" t="0" r="r" b="b"/>
                    <a:pathLst>
                      <a:path w="888" h="1106">
                        <a:moveTo>
                          <a:pt x="260" y="116"/>
                        </a:moveTo>
                        <a:lnTo>
                          <a:pt x="286" y="114"/>
                        </a:lnTo>
                        <a:lnTo>
                          <a:pt x="296" y="108"/>
                        </a:lnTo>
                        <a:lnTo>
                          <a:pt x="322" y="136"/>
                        </a:lnTo>
                        <a:lnTo>
                          <a:pt x="322" y="182"/>
                        </a:lnTo>
                        <a:lnTo>
                          <a:pt x="334" y="198"/>
                        </a:lnTo>
                        <a:lnTo>
                          <a:pt x="370" y="226"/>
                        </a:lnTo>
                        <a:lnTo>
                          <a:pt x="406" y="224"/>
                        </a:lnTo>
                        <a:lnTo>
                          <a:pt x="428" y="196"/>
                        </a:lnTo>
                        <a:lnTo>
                          <a:pt x="458" y="224"/>
                        </a:lnTo>
                        <a:lnTo>
                          <a:pt x="490" y="200"/>
                        </a:lnTo>
                        <a:lnTo>
                          <a:pt x="548" y="196"/>
                        </a:lnTo>
                        <a:lnTo>
                          <a:pt x="560" y="212"/>
                        </a:lnTo>
                        <a:lnTo>
                          <a:pt x="588" y="192"/>
                        </a:lnTo>
                        <a:lnTo>
                          <a:pt x="606" y="192"/>
                        </a:lnTo>
                        <a:lnTo>
                          <a:pt x="638" y="200"/>
                        </a:lnTo>
                        <a:lnTo>
                          <a:pt x="654" y="216"/>
                        </a:lnTo>
                        <a:lnTo>
                          <a:pt x="664" y="236"/>
                        </a:lnTo>
                        <a:lnTo>
                          <a:pt x="684" y="246"/>
                        </a:lnTo>
                        <a:lnTo>
                          <a:pt x="704" y="338"/>
                        </a:lnTo>
                        <a:lnTo>
                          <a:pt x="736" y="344"/>
                        </a:lnTo>
                        <a:lnTo>
                          <a:pt x="756" y="378"/>
                        </a:lnTo>
                        <a:lnTo>
                          <a:pt x="782" y="362"/>
                        </a:lnTo>
                        <a:lnTo>
                          <a:pt x="808" y="380"/>
                        </a:lnTo>
                        <a:lnTo>
                          <a:pt x="842" y="380"/>
                        </a:lnTo>
                        <a:lnTo>
                          <a:pt x="874" y="384"/>
                        </a:lnTo>
                        <a:lnTo>
                          <a:pt x="884" y="418"/>
                        </a:lnTo>
                        <a:lnTo>
                          <a:pt x="878" y="432"/>
                        </a:lnTo>
                        <a:lnTo>
                          <a:pt x="864" y="446"/>
                        </a:lnTo>
                        <a:lnTo>
                          <a:pt x="858" y="458"/>
                        </a:lnTo>
                        <a:lnTo>
                          <a:pt x="846" y="476"/>
                        </a:lnTo>
                        <a:cubicBezTo>
                          <a:pt x="855" y="490"/>
                          <a:pt x="860" y="505"/>
                          <a:pt x="860" y="522"/>
                        </a:cubicBezTo>
                        <a:lnTo>
                          <a:pt x="886" y="540"/>
                        </a:lnTo>
                        <a:lnTo>
                          <a:pt x="888" y="556"/>
                        </a:lnTo>
                        <a:lnTo>
                          <a:pt x="878" y="574"/>
                        </a:lnTo>
                        <a:lnTo>
                          <a:pt x="864" y="590"/>
                        </a:lnTo>
                        <a:lnTo>
                          <a:pt x="866" y="614"/>
                        </a:lnTo>
                        <a:lnTo>
                          <a:pt x="826" y="650"/>
                        </a:lnTo>
                        <a:lnTo>
                          <a:pt x="806" y="658"/>
                        </a:lnTo>
                        <a:lnTo>
                          <a:pt x="802" y="682"/>
                        </a:lnTo>
                        <a:lnTo>
                          <a:pt x="794" y="718"/>
                        </a:lnTo>
                        <a:lnTo>
                          <a:pt x="810" y="752"/>
                        </a:lnTo>
                        <a:lnTo>
                          <a:pt x="826" y="764"/>
                        </a:lnTo>
                        <a:lnTo>
                          <a:pt x="852" y="764"/>
                        </a:lnTo>
                        <a:lnTo>
                          <a:pt x="852" y="784"/>
                        </a:lnTo>
                        <a:lnTo>
                          <a:pt x="818" y="796"/>
                        </a:lnTo>
                        <a:lnTo>
                          <a:pt x="824" y="818"/>
                        </a:lnTo>
                        <a:lnTo>
                          <a:pt x="838" y="836"/>
                        </a:lnTo>
                        <a:lnTo>
                          <a:pt x="830" y="858"/>
                        </a:lnTo>
                        <a:lnTo>
                          <a:pt x="848" y="878"/>
                        </a:lnTo>
                        <a:lnTo>
                          <a:pt x="840" y="932"/>
                        </a:lnTo>
                        <a:lnTo>
                          <a:pt x="852" y="928"/>
                        </a:lnTo>
                        <a:lnTo>
                          <a:pt x="824" y="922"/>
                        </a:lnTo>
                        <a:lnTo>
                          <a:pt x="808" y="936"/>
                        </a:lnTo>
                        <a:lnTo>
                          <a:pt x="792" y="922"/>
                        </a:lnTo>
                        <a:lnTo>
                          <a:pt x="780" y="896"/>
                        </a:lnTo>
                        <a:lnTo>
                          <a:pt x="706" y="896"/>
                        </a:lnTo>
                        <a:lnTo>
                          <a:pt x="704" y="934"/>
                        </a:lnTo>
                        <a:lnTo>
                          <a:pt x="688" y="960"/>
                        </a:lnTo>
                        <a:lnTo>
                          <a:pt x="686" y="980"/>
                        </a:lnTo>
                        <a:lnTo>
                          <a:pt x="674" y="1004"/>
                        </a:lnTo>
                        <a:lnTo>
                          <a:pt x="660" y="1026"/>
                        </a:lnTo>
                        <a:lnTo>
                          <a:pt x="660" y="1058"/>
                        </a:lnTo>
                        <a:lnTo>
                          <a:pt x="652" y="1106"/>
                        </a:lnTo>
                        <a:lnTo>
                          <a:pt x="616" y="1068"/>
                        </a:lnTo>
                        <a:lnTo>
                          <a:pt x="614" y="1048"/>
                        </a:lnTo>
                        <a:lnTo>
                          <a:pt x="596" y="1036"/>
                        </a:lnTo>
                        <a:lnTo>
                          <a:pt x="576" y="1036"/>
                        </a:lnTo>
                        <a:lnTo>
                          <a:pt x="564" y="1020"/>
                        </a:lnTo>
                        <a:lnTo>
                          <a:pt x="530" y="1020"/>
                        </a:lnTo>
                        <a:lnTo>
                          <a:pt x="518" y="1012"/>
                        </a:lnTo>
                        <a:lnTo>
                          <a:pt x="488" y="1040"/>
                        </a:lnTo>
                        <a:lnTo>
                          <a:pt x="474" y="1032"/>
                        </a:lnTo>
                        <a:lnTo>
                          <a:pt x="464" y="1042"/>
                        </a:lnTo>
                        <a:lnTo>
                          <a:pt x="464" y="1056"/>
                        </a:lnTo>
                        <a:lnTo>
                          <a:pt x="448" y="1078"/>
                        </a:lnTo>
                        <a:lnTo>
                          <a:pt x="420" y="1058"/>
                        </a:lnTo>
                        <a:lnTo>
                          <a:pt x="396" y="1068"/>
                        </a:lnTo>
                        <a:lnTo>
                          <a:pt x="386" y="1074"/>
                        </a:lnTo>
                        <a:lnTo>
                          <a:pt x="372" y="1060"/>
                        </a:lnTo>
                        <a:lnTo>
                          <a:pt x="366" y="1036"/>
                        </a:lnTo>
                        <a:lnTo>
                          <a:pt x="368" y="976"/>
                        </a:lnTo>
                        <a:lnTo>
                          <a:pt x="354" y="964"/>
                        </a:lnTo>
                        <a:lnTo>
                          <a:pt x="356" y="924"/>
                        </a:lnTo>
                        <a:lnTo>
                          <a:pt x="326" y="920"/>
                        </a:lnTo>
                        <a:lnTo>
                          <a:pt x="280" y="882"/>
                        </a:lnTo>
                        <a:lnTo>
                          <a:pt x="284" y="842"/>
                        </a:lnTo>
                        <a:lnTo>
                          <a:pt x="250" y="802"/>
                        </a:lnTo>
                        <a:lnTo>
                          <a:pt x="218" y="820"/>
                        </a:lnTo>
                        <a:lnTo>
                          <a:pt x="204" y="832"/>
                        </a:lnTo>
                        <a:lnTo>
                          <a:pt x="178" y="836"/>
                        </a:lnTo>
                        <a:lnTo>
                          <a:pt x="166" y="826"/>
                        </a:lnTo>
                        <a:lnTo>
                          <a:pt x="136" y="830"/>
                        </a:lnTo>
                        <a:lnTo>
                          <a:pt x="126" y="806"/>
                        </a:lnTo>
                        <a:lnTo>
                          <a:pt x="110" y="802"/>
                        </a:lnTo>
                        <a:lnTo>
                          <a:pt x="86" y="822"/>
                        </a:lnTo>
                        <a:lnTo>
                          <a:pt x="48" y="794"/>
                        </a:lnTo>
                        <a:lnTo>
                          <a:pt x="52" y="774"/>
                        </a:lnTo>
                        <a:lnTo>
                          <a:pt x="60" y="700"/>
                        </a:lnTo>
                        <a:lnTo>
                          <a:pt x="80" y="646"/>
                        </a:lnTo>
                        <a:lnTo>
                          <a:pt x="58" y="614"/>
                        </a:lnTo>
                        <a:lnTo>
                          <a:pt x="58" y="580"/>
                        </a:lnTo>
                        <a:lnTo>
                          <a:pt x="50" y="554"/>
                        </a:lnTo>
                        <a:lnTo>
                          <a:pt x="40" y="540"/>
                        </a:lnTo>
                        <a:lnTo>
                          <a:pt x="34" y="530"/>
                        </a:lnTo>
                        <a:lnTo>
                          <a:pt x="34" y="450"/>
                        </a:lnTo>
                        <a:lnTo>
                          <a:pt x="34" y="428"/>
                        </a:lnTo>
                        <a:lnTo>
                          <a:pt x="18" y="398"/>
                        </a:lnTo>
                        <a:lnTo>
                          <a:pt x="16" y="358"/>
                        </a:lnTo>
                        <a:lnTo>
                          <a:pt x="10" y="336"/>
                        </a:lnTo>
                        <a:lnTo>
                          <a:pt x="0" y="316"/>
                        </a:lnTo>
                        <a:lnTo>
                          <a:pt x="4" y="300"/>
                        </a:lnTo>
                        <a:lnTo>
                          <a:pt x="16" y="294"/>
                        </a:lnTo>
                        <a:lnTo>
                          <a:pt x="46" y="290"/>
                        </a:lnTo>
                        <a:lnTo>
                          <a:pt x="68" y="250"/>
                        </a:lnTo>
                        <a:lnTo>
                          <a:pt x="58" y="212"/>
                        </a:lnTo>
                        <a:lnTo>
                          <a:pt x="82" y="178"/>
                        </a:lnTo>
                        <a:lnTo>
                          <a:pt x="68" y="152"/>
                        </a:lnTo>
                        <a:lnTo>
                          <a:pt x="58" y="136"/>
                        </a:lnTo>
                        <a:lnTo>
                          <a:pt x="34" y="76"/>
                        </a:lnTo>
                        <a:lnTo>
                          <a:pt x="38" y="60"/>
                        </a:lnTo>
                        <a:lnTo>
                          <a:pt x="82" y="30"/>
                        </a:lnTo>
                        <a:lnTo>
                          <a:pt x="82" y="14"/>
                        </a:lnTo>
                        <a:lnTo>
                          <a:pt x="94" y="10"/>
                        </a:lnTo>
                        <a:lnTo>
                          <a:pt x="158" y="8"/>
                        </a:lnTo>
                        <a:lnTo>
                          <a:pt x="168" y="0"/>
                        </a:lnTo>
                        <a:lnTo>
                          <a:pt x="224" y="0"/>
                        </a:lnTo>
                        <a:lnTo>
                          <a:pt x="246" y="22"/>
                        </a:lnTo>
                        <a:lnTo>
                          <a:pt x="264" y="64"/>
                        </a:lnTo>
                        <a:lnTo>
                          <a:pt x="256" y="114"/>
                        </a:lnTo>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5" name="Freeform 30"/>
                  <p:cNvSpPr>
                    <a:spLocks/>
                  </p:cNvSpPr>
                  <p:nvPr/>
                </p:nvSpPr>
                <p:spPr bwMode="auto">
                  <a:xfrm>
                    <a:off x="2742" y="2098"/>
                    <a:ext cx="632" cy="784"/>
                  </a:xfrm>
                  <a:custGeom>
                    <a:avLst/>
                    <a:gdLst/>
                    <a:ahLst/>
                    <a:cxnLst>
                      <a:cxn ang="0">
                        <a:pos x="144" y="216"/>
                      </a:cxn>
                      <a:cxn ang="0">
                        <a:pos x="188" y="252"/>
                      </a:cxn>
                      <a:cxn ang="0">
                        <a:pos x="212" y="324"/>
                      </a:cxn>
                      <a:cxn ang="0">
                        <a:pos x="200" y="428"/>
                      </a:cxn>
                      <a:cxn ang="0">
                        <a:pos x="150" y="464"/>
                      </a:cxn>
                      <a:cxn ang="0">
                        <a:pos x="176" y="534"/>
                      </a:cxn>
                      <a:cxn ang="0">
                        <a:pos x="180" y="610"/>
                      </a:cxn>
                      <a:cxn ang="0">
                        <a:pos x="152" y="676"/>
                      </a:cxn>
                      <a:cxn ang="0">
                        <a:pos x="78" y="732"/>
                      </a:cxn>
                      <a:cxn ang="0">
                        <a:pos x="52" y="818"/>
                      </a:cxn>
                      <a:cxn ang="0">
                        <a:pos x="14" y="866"/>
                      </a:cxn>
                      <a:cxn ang="0">
                        <a:pos x="10" y="926"/>
                      </a:cxn>
                      <a:cxn ang="0">
                        <a:pos x="8" y="994"/>
                      </a:cxn>
                      <a:cxn ang="0">
                        <a:pos x="46" y="1060"/>
                      </a:cxn>
                      <a:cxn ang="0">
                        <a:pos x="184" y="992"/>
                      </a:cxn>
                      <a:cxn ang="0">
                        <a:pos x="240" y="926"/>
                      </a:cxn>
                      <a:cxn ang="0">
                        <a:pos x="300" y="994"/>
                      </a:cxn>
                      <a:cxn ang="0">
                        <a:pos x="338" y="1010"/>
                      </a:cxn>
                      <a:cxn ang="0">
                        <a:pos x="396" y="936"/>
                      </a:cxn>
                      <a:cxn ang="0">
                        <a:pos x="456" y="910"/>
                      </a:cxn>
                      <a:cxn ang="0">
                        <a:pos x="506" y="976"/>
                      </a:cxn>
                      <a:cxn ang="0">
                        <a:pos x="594" y="976"/>
                      </a:cxn>
                      <a:cxn ang="0">
                        <a:pos x="676" y="966"/>
                      </a:cxn>
                      <a:cxn ang="0">
                        <a:pos x="760" y="938"/>
                      </a:cxn>
                      <a:cxn ang="0">
                        <a:pos x="780" y="832"/>
                      </a:cxn>
                      <a:cxn ang="0">
                        <a:pos x="838" y="800"/>
                      </a:cxn>
                      <a:cxn ang="0">
                        <a:pos x="846" y="748"/>
                      </a:cxn>
                      <a:cxn ang="0">
                        <a:pos x="794" y="772"/>
                      </a:cxn>
                      <a:cxn ang="0">
                        <a:pos x="768" y="706"/>
                      </a:cxn>
                      <a:cxn ang="0">
                        <a:pos x="712" y="728"/>
                      </a:cxn>
                      <a:cxn ang="0">
                        <a:pos x="672" y="714"/>
                      </a:cxn>
                      <a:cxn ang="0">
                        <a:pos x="648" y="698"/>
                      </a:cxn>
                      <a:cxn ang="0">
                        <a:pos x="664" y="650"/>
                      </a:cxn>
                      <a:cxn ang="0">
                        <a:pos x="612" y="568"/>
                      </a:cxn>
                      <a:cxn ang="0">
                        <a:pos x="586" y="460"/>
                      </a:cxn>
                      <a:cxn ang="0">
                        <a:pos x="608" y="412"/>
                      </a:cxn>
                      <a:cxn ang="0">
                        <a:pos x="614" y="370"/>
                      </a:cxn>
                      <a:cxn ang="0">
                        <a:pos x="646" y="268"/>
                      </a:cxn>
                      <a:cxn ang="0">
                        <a:pos x="688" y="312"/>
                      </a:cxn>
                      <a:cxn ang="0">
                        <a:pos x="708" y="284"/>
                      </a:cxn>
                      <a:cxn ang="0">
                        <a:pos x="710" y="208"/>
                      </a:cxn>
                      <a:cxn ang="0">
                        <a:pos x="672" y="146"/>
                      </a:cxn>
                      <a:cxn ang="0">
                        <a:pos x="614" y="54"/>
                      </a:cxn>
                      <a:cxn ang="0">
                        <a:pos x="544" y="60"/>
                      </a:cxn>
                      <a:cxn ang="0">
                        <a:pos x="474" y="52"/>
                      </a:cxn>
                      <a:cxn ang="0">
                        <a:pos x="422" y="48"/>
                      </a:cxn>
                      <a:cxn ang="0">
                        <a:pos x="354" y="0"/>
                      </a:cxn>
                      <a:cxn ang="0">
                        <a:pos x="272" y="26"/>
                      </a:cxn>
                      <a:cxn ang="0">
                        <a:pos x="252" y="86"/>
                      </a:cxn>
                      <a:cxn ang="0">
                        <a:pos x="180" y="122"/>
                      </a:cxn>
                    </a:cxnLst>
                    <a:rect l="0" t="0" r="r" b="b"/>
                    <a:pathLst>
                      <a:path w="854" h="1060">
                        <a:moveTo>
                          <a:pt x="122" y="166"/>
                        </a:moveTo>
                        <a:lnTo>
                          <a:pt x="136" y="184"/>
                        </a:lnTo>
                        <a:lnTo>
                          <a:pt x="144" y="216"/>
                        </a:lnTo>
                        <a:lnTo>
                          <a:pt x="158" y="230"/>
                        </a:lnTo>
                        <a:lnTo>
                          <a:pt x="168" y="244"/>
                        </a:lnTo>
                        <a:lnTo>
                          <a:pt x="188" y="252"/>
                        </a:lnTo>
                        <a:lnTo>
                          <a:pt x="190" y="290"/>
                        </a:lnTo>
                        <a:lnTo>
                          <a:pt x="204" y="314"/>
                        </a:lnTo>
                        <a:lnTo>
                          <a:pt x="212" y="324"/>
                        </a:lnTo>
                        <a:lnTo>
                          <a:pt x="226" y="364"/>
                        </a:lnTo>
                        <a:lnTo>
                          <a:pt x="218" y="410"/>
                        </a:lnTo>
                        <a:lnTo>
                          <a:pt x="200" y="428"/>
                        </a:lnTo>
                        <a:lnTo>
                          <a:pt x="176" y="460"/>
                        </a:lnTo>
                        <a:lnTo>
                          <a:pt x="160" y="452"/>
                        </a:lnTo>
                        <a:lnTo>
                          <a:pt x="150" y="464"/>
                        </a:lnTo>
                        <a:lnTo>
                          <a:pt x="154" y="488"/>
                        </a:lnTo>
                        <a:lnTo>
                          <a:pt x="162" y="514"/>
                        </a:lnTo>
                        <a:lnTo>
                          <a:pt x="176" y="534"/>
                        </a:lnTo>
                        <a:lnTo>
                          <a:pt x="180" y="566"/>
                        </a:lnTo>
                        <a:lnTo>
                          <a:pt x="170" y="590"/>
                        </a:lnTo>
                        <a:lnTo>
                          <a:pt x="180" y="610"/>
                        </a:lnTo>
                        <a:cubicBezTo>
                          <a:pt x="167" y="629"/>
                          <a:pt x="164" y="628"/>
                          <a:pt x="164" y="650"/>
                        </a:cubicBezTo>
                        <a:lnTo>
                          <a:pt x="166" y="664"/>
                        </a:lnTo>
                        <a:lnTo>
                          <a:pt x="152" y="676"/>
                        </a:lnTo>
                        <a:lnTo>
                          <a:pt x="130" y="674"/>
                        </a:lnTo>
                        <a:lnTo>
                          <a:pt x="96" y="716"/>
                        </a:lnTo>
                        <a:lnTo>
                          <a:pt x="78" y="732"/>
                        </a:lnTo>
                        <a:lnTo>
                          <a:pt x="20" y="776"/>
                        </a:lnTo>
                        <a:lnTo>
                          <a:pt x="54" y="806"/>
                        </a:lnTo>
                        <a:lnTo>
                          <a:pt x="52" y="818"/>
                        </a:lnTo>
                        <a:lnTo>
                          <a:pt x="32" y="820"/>
                        </a:lnTo>
                        <a:lnTo>
                          <a:pt x="8" y="846"/>
                        </a:lnTo>
                        <a:lnTo>
                          <a:pt x="14" y="866"/>
                        </a:lnTo>
                        <a:lnTo>
                          <a:pt x="0" y="884"/>
                        </a:lnTo>
                        <a:lnTo>
                          <a:pt x="12" y="902"/>
                        </a:lnTo>
                        <a:lnTo>
                          <a:pt x="10" y="926"/>
                        </a:lnTo>
                        <a:lnTo>
                          <a:pt x="34" y="948"/>
                        </a:lnTo>
                        <a:lnTo>
                          <a:pt x="34" y="976"/>
                        </a:lnTo>
                        <a:lnTo>
                          <a:pt x="8" y="994"/>
                        </a:lnTo>
                        <a:lnTo>
                          <a:pt x="16" y="1028"/>
                        </a:lnTo>
                        <a:lnTo>
                          <a:pt x="34" y="1060"/>
                        </a:lnTo>
                        <a:lnTo>
                          <a:pt x="46" y="1060"/>
                        </a:lnTo>
                        <a:lnTo>
                          <a:pt x="58" y="1040"/>
                        </a:lnTo>
                        <a:lnTo>
                          <a:pt x="130" y="1048"/>
                        </a:lnTo>
                        <a:lnTo>
                          <a:pt x="184" y="992"/>
                        </a:lnTo>
                        <a:lnTo>
                          <a:pt x="190" y="962"/>
                        </a:lnTo>
                        <a:lnTo>
                          <a:pt x="212" y="930"/>
                        </a:lnTo>
                        <a:lnTo>
                          <a:pt x="240" y="926"/>
                        </a:lnTo>
                        <a:lnTo>
                          <a:pt x="266" y="944"/>
                        </a:lnTo>
                        <a:lnTo>
                          <a:pt x="272" y="966"/>
                        </a:lnTo>
                        <a:lnTo>
                          <a:pt x="300" y="994"/>
                        </a:lnTo>
                        <a:lnTo>
                          <a:pt x="302" y="1010"/>
                        </a:lnTo>
                        <a:lnTo>
                          <a:pt x="316" y="1028"/>
                        </a:lnTo>
                        <a:lnTo>
                          <a:pt x="338" y="1010"/>
                        </a:lnTo>
                        <a:lnTo>
                          <a:pt x="344" y="990"/>
                        </a:lnTo>
                        <a:lnTo>
                          <a:pt x="370" y="948"/>
                        </a:lnTo>
                        <a:lnTo>
                          <a:pt x="396" y="936"/>
                        </a:lnTo>
                        <a:lnTo>
                          <a:pt x="410" y="940"/>
                        </a:lnTo>
                        <a:lnTo>
                          <a:pt x="422" y="916"/>
                        </a:lnTo>
                        <a:lnTo>
                          <a:pt x="456" y="910"/>
                        </a:lnTo>
                        <a:lnTo>
                          <a:pt x="476" y="926"/>
                        </a:lnTo>
                        <a:lnTo>
                          <a:pt x="474" y="944"/>
                        </a:lnTo>
                        <a:lnTo>
                          <a:pt x="506" y="976"/>
                        </a:lnTo>
                        <a:lnTo>
                          <a:pt x="538" y="978"/>
                        </a:lnTo>
                        <a:lnTo>
                          <a:pt x="552" y="952"/>
                        </a:lnTo>
                        <a:lnTo>
                          <a:pt x="594" y="976"/>
                        </a:lnTo>
                        <a:lnTo>
                          <a:pt x="618" y="1002"/>
                        </a:lnTo>
                        <a:lnTo>
                          <a:pt x="626" y="1012"/>
                        </a:lnTo>
                        <a:lnTo>
                          <a:pt x="676" y="966"/>
                        </a:lnTo>
                        <a:lnTo>
                          <a:pt x="720" y="968"/>
                        </a:lnTo>
                        <a:lnTo>
                          <a:pt x="742" y="944"/>
                        </a:lnTo>
                        <a:lnTo>
                          <a:pt x="760" y="938"/>
                        </a:lnTo>
                        <a:lnTo>
                          <a:pt x="764" y="916"/>
                        </a:lnTo>
                        <a:lnTo>
                          <a:pt x="784" y="890"/>
                        </a:lnTo>
                        <a:lnTo>
                          <a:pt x="780" y="832"/>
                        </a:lnTo>
                        <a:lnTo>
                          <a:pt x="796" y="826"/>
                        </a:lnTo>
                        <a:lnTo>
                          <a:pt x="828" y="828"/>
                        </a:lnTo>
                        <a:lnTo>
                          <a:pt x="838" y="800"/>
                        </a:lnTo>
                        <a:lnTo>
                          <a:pt x="844" y="782"/>
                        </a:lnTo>
                        <a:lnTo>
                          <a:pt x="854" y="770"/>
                        </a:lnTo>
                        <a:lnTo>
                          <a:pt x="846" y="748"/>
                        </a:lnTo>
                        <a:lnTo>
                          <a:pt x="820" y="752"/>
                        </a:lnTo>
                        <a:lnTo>
                          <a:pt x="806" y="772"/>
                        </a:lnTo>
                        <a:lnTo>
                          <a:pt x="794" y="772"/>
                        </a:lnTo>
                        <a:lnTo>
                          <a:pt x="772" y="748"/>
                        </a:lnTo>
                        <a:lnTo>
                          <a:pt x="774" y="722"/>
                        </a:lnTo>
                        <a:lnTo>
                          <a:pt x="768" y="706"/>
                        </a:lnTo>
                        <a:lnTo>
                          <a:pt x="746" y="698"/>
                        </a:lnTo>
                        <a:lnTo>
                          <a:pt x="734" y="706"/>
                        </a:lnTo>
                        <a:lnTo>
                          <a:pt x="712" y="728"/>
                        </a:lnTo>
                        <a:lnTo>
                          <a:pt x="700" y="734"/>
                        </a:lnTo>
                        <a:lnTo>
                          <a:pt x="680" y="726"/>
                        </a:lnTo>
                        <a:lnTo>
                          <a:pt x="672" y="714"/>
                        </a:lnTo>
                        <a:lnTo>
                          <a:pt x="672" y="696"/>
                        </a:lnTo>
                        <a:lnTo>
                          <a:pt x="656" y="718"/>
                        </a:lnTo>
                        <a:lnTo>
                          <a:pt x="648" y="698"/>
                        </a:lnTo>
                        <a:lnTo>
                          <a:pt x="650" y="676"/>
                        </a:lnTo>
                        <a:lnTo>
                          <a:pt x="676" y="662"/>
                        </a:lnTo>
                        <a:lnTo>
                          <a:pt x="664" y="650"/>
                        </a:lnTo>
                        <a:lnTo>
                          <a:pt x="666" y="634"/>
                        </a:lnTo>
                        <a:lnTo>
                          <a:pt x="638" y="588"/>
                        </a:lnTo>
                        <a:lnTo>
                          <a:pt x="612" y="568"/>
                        </a:lnTo>
                        <a:lnTo>
                          <a:pt x="590" y="522"/>
                        </a:lnTo>
                        <a:lnTo>
                          <a:pt x="584" y="500"/>
                        </a:lnTo>
                        <a:lnTo>
                          <a:pt x="586" y="460"/>
                        </a:lnTo>
                        <a:lnTo>
                          <a:pt x="596" y="454"/>
                        </a:lnTo>
                        <a:lnTo>
                          <a:pt x="576" y="426"/>
                        </a:lnTo>
                        <a:lnTo>
                          <a:pt x="608" y="412"/>
                        </a:lnTo>
                        <a:lnTo>
                          <a:pt x="626" y="410"/>
                        </a:lnTo>
                        <a:lnTo>
                          <a:pt x="630" y="388"/>
                        </a:lnTo>
                        <a:lnTo>
                          <a:pt x="614" y="370"/>
                        </a:lnTo>
                        <a:lnTo>
                          <a:pt x="614" y="324"/>
                        </a:lnTo>
                        <a:lnTo>
                          <a:pt x="618" y="282"/>
                        </a:lnTo>
                        <a:lnTo>
                          <a:pt x="646" y="268"/>
                        </a:lnTo>
                        <a:lnTo>
                          <a:pt x="656" y="262"/>
                        </a:lnTo>
                        <a:lnTo>
                          <a:pt x="684" y="286"/>
                        </a:lnTo>
                        <a:lnTo>
                          <a:pt x="688" y="312"/>
                        </a:lnTo>
                        <a:lnTo>
                          <a:pt x="714" y="308"/>
                        </a:lnTo>
                        <a:lnTo>
                          <a:pt x="726" y="298"/>
                        </a:lnTo>
                        <a:lnTo>
                          <a:pt x="708" y="284"/>
                        </a:lnTo>
                        <a:lnTo>
                          <a:pt x="708" y="260"/>
                        </a:lnTo>
                        <a:lnTo>
                          <a:pt x="710" y="226"/>
                        </a:lnTo>
                        <a:lnTo>
                          <a:pt x="710" y="208"/>
                        </a:lnTo>
                        <a:lnTo>
                          <a:pt x="696" y="192"/>
                        </a:lnTo>
                        <a:lnTo>
                          <a:pt x="694" y="150"/>
                        </a:lnTo>
                        <a:lnTo>
                          <a:pt x="672" y="146"/>
                        </a:lnTo>
                        <a:lnTo>
                          <a:pt x="622" y="110"/>
                        </a:lnTo>
                        <a:lnTo>
                          <a:pt x="624" y="68"/>
                        </a:lnTo>
                        <a:lnTo>
                          <a:pt x="614" y="54"/>
                        </a:lnTo>
                        <a:lnTo>
                          <a:pt x="592" y="28"/>
                        </a:lnTo>
                        <a:lnTo>
                          <a:pt x="552" y="44"/>
                        </a:lnTo>
                        <a:lnTo>
                          <a:pt x="544" y="60"/>
                        </a:lnTo>
                        <a:lnTo>
                          <a:pt x="516" y="58"/>
                        </a:lnTo>
                        <a:lnTo>
                          <a:pt x="506" y="52"/>
                        </a:lnTo>
                        <a:lnTo>
                          <a:pt x="474" y="52"/>
                        </a:lnTo>
                        <a:lnTo>
                          <a:pt x="466" y="32"/>
                        </a:lnTo>
                        <a:lnTo>
                          <a:pt x="446" y="32"/>
                        </a:lnTo>
                        <a:lnTo>
                          <a:pt x="422" y="48"/>
                        </a:lnTo>
                        <a:lnTo>
                          <a:pt x="390" y="22"/>
                        </a:lnTo>
                        <a:lnTo>
                          <a:pt x="390" y="2"/>
                        </a:lnTo>
                        <a:lnTo>
                          <a:pt x="354" y="0"/>
                        </a:lnTo>
                        <a:lnTo>
                          <a:pt x="320" y="32"/>
                        </a:lnTo>
                        <a:lnTo>
                          <a:pt x="288" y="28"/>
                        </a:lnTo>
                        <a:lnTo>
                          <a:pt x="272" y="26"/>
                        </a:lnTo>
                        <a:lnTo>
                          <a:pt x="244" y="46"/>
                        </a:lnTo>
                        <a:lnTo>
                          <a:pt x="250" y="66"/>
                        </a:lnTo>
                        <a:lnTo>
                          <a:pt x="252" y="86"/>
                        </a:lnTo>
                        <a:lnTo>
                          <a:pt x="238" y="98"/>
                        </a:lnTo>
                        <a:lnTo>
                          <a:pt x="218" y="96"/>
                        </a:lnTo>
                        <a:lnTo>
                          <a:pt x="180" y="122"/>
                        </a:lnTo>
                        <a:lnTo>
                          <a:pt x="138" y="136"/>
                        </a:lnTo>
                        <a:lnTo>
                          <a:pt x="122" y="166"/>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6" name="Freeform 31"/>
                  <p:cNvSpPr>
                    <a:spLocks/>
                  </p:cNvSpPr>
                  <p:nvPr/>
                </p:nvSpPr>
                <p:spPr bwMode="auto">
                  <a:xfrm>
                    <a:off x="2397" y="2209"/>
                    <a:ext cx="514" cy="547"/>
                  </a:xfrm>
                  <a:custGeom>
                    <a:avLst/>
                    <a:gdLst/>
                    <a:ahLst/>
                    <a:cxnLst>
                      <a:cxn ang="0">
                        <a:pos x="208" y="14"/>
                      </a:cxn>
                      <a:cxn ang="0">
                        <a:pos x="160" y="36"/>
                      </a:cxn>
                      <a:cxn ang="0">
                        <a:pos x="114" y="60"/>
                      </a:cxn>
                      <a:cxn ang="0">
                        <a:pos x="90" y="78"/>
                      </a:cxn>
                      <a:cxn ang="0">
                        <a:pos x="82" y="136"/>
                      </a:cxn>
                      <a:cxn ang="0">
                        <a:pos x="90" y="172"/>
                      </a:cxn>
                      <a:cxn ang="0">
                        <a:pos x="118" y="196"/>
                      </a:cxn>
                      <a:cxn ang="0">
                        <a:pos x="86" y="218"/>
                      </a:cxn>
                      <a:cxn ang="0">
                        <a:pos x="58" y="256"/>
                      </a:cxn>
                      <a:cxn ang="0">
                        <a:pos x="50" y="272"/>
                      </a:cxn>
                      <a:cxn ang="0">
                        <a:pos x="0" y="320"/>
                      </a:cxn>
                      <a:cxn ang="0">
                        <a:pos x="38" y="340"/>
                      </a:cxn>
                      <a:cxn ang="0">
                        <a:pos x="56" y="368"/>
                      </a:cxn>
                      <a:cxn ang="0">
                        <a:pos x="112" y="368"/>
                      </a:cxn>
                      <a:cxn ang="0">
                        <a:pos x="126" y="414"/>
                      </a:cxn>
                      <a:cxn ang="0">
                        <a:pos x="160" y="424"/>
                      </a:cxn>
                      <a:cxn ang="0">
                        <a:pos x="188" y="464"/>
                      </a:cxn>
                      <a:cxn ang="0">
                        <a:pos x="212" y="510"/>
                      </a:cxn>
                      <a:cxn ang="0">
                        <a:pos x="194" y="548"/>
                      </a:cxn>
                      <a:cxn ang="0">
                        <a:pos x="200" y="640"/>
                      </a:cxn>
                      <a:cxn ang="0">
                        <a:pos x="262" y="688"/>
                      </a:cxn>
                      <a:cxn ang="0">
                        <a:pos x="364" y="726"/>
                      </a:cxn>
                      <a:cxn ang="0">
                        <a:pos x="390" y="722"/>
                      </a:cxn>
                      <a:cxn ang="0">
                        <a:pos x="444" y="738"/>
                      </a:cxn>
                      <a:cxn ang="0">
                        <a:pos x="482" y="718"/>
                      </a:cxn>
                      <a:cxn ang="0">
                        <a:pos x="502" y="672"/>
                      </a:cxn>
                      <a:cxn ang="0">
                        <a:pos x="520" y="654"/>
                      </a:cxn>
                      <a:cxn ang="0">
                        <a:pos x="522" y="608"/>
                      </a:cxn>
                      <a:cxn ang="0">
                        <a:pos x="560" y="572"/>
                      </a:cxn>
                      <a:cxn ang="0">
                        <a:pos x="594" y="528"/>
                      </a:cxn>
                      <a:cxn ang="0">
                        <a:pos x="632" y="518"/>
                      </a:cxn>
                      <a:cxn ang="0">
                        <a:pos x="646" y="476"/>
                      </a:cxn>
                      <a:cxn ang="0">
                        <a:pos x="638" y="442"/>
                      </a:cxn>
                      <a:cxn ang="0">
                        <a:pos x="644" y="380"/>
                      </a:cxn>
                      <a:cxn ang="0">
                        <a:pos x="620" y="324"/>
                      </a:cxn>
                      <a:cxn ang="0">
                        <a:pos x="638" y="306"/>
                      </a:cxn>
                      <a:cxn ang="0">
                        <a:pos x="684" y="258"/>
                      </a:cxn>
                      <a:cxn ang="0">
                        <a:pos x="676" y="164"/>
                      </a:cxn>
                      <a:cxn ang="0">
                        <a:pos x="666" y="88"/>
                      </a:cxn>
                      <a:cxn ang="0">
                        <a:pos x="622" y="52"/>
                      </a:cxn>
                      <a:cxn ang="0">
                        <a:pos x="594" y="12"/>
                      </a:cxn>
                      <a:cxn ang="0">
                        <a:pos x="500" y="8"/>
                      </a:cxn>
                      <a:cxn ang="0">
                        <a:pos x="422" y="32"/>
                      </a:cxn>
                      <a:cxn ang="0">
                        <a:pos x="394" y="34"/>
                      </a:cxn>
                      <a:cxn ang="0">
                        <a:pos x="320" y="48"/>
                      </a:cxn>
                      <a:cxn ang="0">
                        <a:pos x="242" y="24"/>
                      </a:cxn>
                      <a:cxn ang="0">
                        <a:pos x="216" y="0"/>
                      </a:cxn>
                    </a:cxnLst>
                    <a:rect l="0" t="0" r="r" b="b"/>
                    <a:pathLst>
                      <a:path w="694" h="740">
                        <a:moveTo>
                          <a:pt x="216" y="0"/>
                        </a:moveTo>
                        <a:lnTo>
                          <a:pt x="208" y="14"/>
                        </a:lnTo>
                        <a:lnTo>
                          <a:pt x="180" y="22"/>
                        </a:lnTo>
                        <a:lnTo>
                          <a:pt x="160" y="36"/>
                        </a:lnTo>
                        <a:lnTo>
                          <a:pt x="132" y="58"/>
                        </a:lnTo>
                        <a:lnTo>
                          <a:pt x="114" y="60"/>
                        </a:lnTo>
                        <a:lnTo>
                          <a:pt x="100" y="62"/>
                        </a:lnTo>
                        <a:lnTo>
                          <a:pt x="90" y="78"/>
                        </a:lnTo>
                        <a:lnTo>
                          <a:pt x="92" y="126"/>
                        </a:lnTo>
                        <a:lnTo>
                          <a:pt x="82" y="136"/>
                        </a:lnTo>
                        <a:lnTo>
                          <a:pt x="88" y="156"/>
                        </a:lnTo>
                        <a:lnTo>
                          <a:pt x="90" y="172"/>
                        </a:lnTo>
                        <a:lnTo>
                          <a:pt x="112" y="182"/>
                        </a:lnTo>
                        <a:lnTo>
                          <a:pt x="118" y="196"/>
                        </a:lnTo>
                        <a:lnTo>
                          <a:pt x="108" y="216"/>
                        </a:lnTo>
                        <a:lnTo>
                          <a:pt x="86" y="218"/>
                        </a:lnTo>
                        <a:lnTo>
                          <a:pt x="68" y="208"/>
                        </a:lnTo>
                        <a:lnTo>
                          <a:pt x="58" y="256"/>
                        </a:lnTo>
                        <a:lnTo>
                          <a:pt x="62" y="268"/>
                        </a:lnTo>
                        <a:lnTo>
                          <a:pt x="50" y="272"/>
                        </a:lnTo>
                        <a:lnTo>
                          <a:pt x="34" y="288"/>
                        </a:lnTo>
                        <a:lnTo>
                          <a:pt x="0" y="320"/>
                        </a:lnTo>
                        <a:lnTo>
                          <a:pt x="18" y="336"/>
                        </a:lnTo>
                        <a:lnTo>
                          <a:pt x="38" y="340"/>
                        </a:lnTo>
                        <a:lnTo>
                          <a:pt x="48" y="354"/>
                        </a:lnTo>
                        <a:lnTo>
                          <a:pt x="56" y="368"/>
                        </a:lnTo>
                        <a:lnTo>
                          <a:pt x="98" y="374"/>
                        </a:lnTo>
                        <a:lnTo>
                          <a:pt x="112" y="368"/>
                        </a:lnTo>
                        <a:lnTo>
                          <a:pt x="124" y="394"/>
                        </a:lnTo>
                        <a:lnTo>
                          <a:pt x="126" y="414"/>
                        </a:lnTo>
                        <a:lnTo>
                          <a:pt x="132" y="430"/>
                        </a:lnTo>
                        <a:lnTo>
                          <a:pt x="160" y="424"/>
                        </a:lnTo>
                        <a:lnTo>
                          <a:pt x="162" y="460"/>
                        </a:lnTo>
                        <a:lnTo>
                          <a:pt x="188" y="464"/>
                        </a:lnTo>
                        <a:lnTo>
                          <a:pt x="220" y="500"/>
                        </a:lnTo>
                        <a:lnTo>
                          <a:pt x="212" y="510"/>
                        </a:lnTo>
                        <a:lnTo>
                          <a:pt x="202" y="526"/>
                        </a:lnTo>
                        <a:lnTo>
                          <a:pt x="194" y="548"/>
                        </a:lnTo>
                        <a:lnTo>
                          <a:pt x="180" y="574"/>
                        </a:lnTo>
                        <a:lnTo>
                          <a:pt x="200" y="640"/>
                        </a:lnTo>
                        <a:lnTo>
                          <a:pt x="250" y="670"/>
                        </a:lnTo>
                        <a:lnTo>
                          <a:pt x="262" y="688"/>
                        </a:lnTo>
                        <a:lnTo>
                          <a:pt x="338" y="688"/>
                        </a:lnTo>
                        <a:lnTo>
                          <a:pt x="364" y="726"/>
                        </a:lnTo>
                        <a:lnTo>
                          <a:pt x="372" y="740"/>
                        </a:lnTo>
                        <a:lnTo>
                          <a:pt x="390" y="722"/>
                        </a:lnTo>
                        <a:lnTo>
                          <a:pt x="402" y="732"/>
                        </a:lnTo>
                        <a:lnTo>
                          <a:pt x="444" y="738"/>
                        </a:lnTo>
                        <a:lnTo>
                          <a:pt x="472" y="736"/>
                        </a:lnTo>
                        <a:lnTo>
                          <a:pt x="482" y="718"/>
                        </a:lnTo>
                        <a:lnTo>
                          <a:pt x="476" y="698"/>
                        </a:lnTo>
                        <a:lnTo>
                          <a:pt x="502" y="672"/>
                        </a:lnTo>
                        <a:lnTo>
                          <a:pt x="520" y="666"/>
                        </a:lnTo>
                        <a:lnTo>
                          <a:pt x="520" y="654"/>
                        </a:lnTo>
                        <a:lnTo>
                          <a:pt x="506" y="636"/>
                        </a:lnTo>
                        <a:lnTo>
                          <a:pt x="522" y="608"/>
                        </a:lnTo>
                        <a:lnTo>
                          <a:pt x="540" y="588"/>
                        </a:lnTo>
                        <a:lnTo>
                          <a:pt x="560" y="572"/>
                        </a:lnTo>
                        <a:lnTo>
                          <a:pt x="582" y="536"/>
                        </a:lnTo>
                        <a:lnTo>
                          <a:pt x="594" y="528"/>
                        </a:lnTo>
                        <a:lnTo>
                          <a:pt x="618" y="526"/>
                        </a:lnTo>
                        <a:lnTo>
                          <a:pt x="632" y="518"/>
                        </a:lnTo>
                        <a:lnTo>
                          <a:pt x="632" y="500"/>
                        </a:lnTo>
                        <a:lnTo>
                          <a:pt x="646" y="476"/>
                        </a:lnTo>
                        <a:lnTo>
                          <a:pt x="650" y="462"/>
                        </a:lnTo>
                        <a:lnTo>
                          <a:pt x="638" y="442"/>
                        </a:lnTo>
                        <a:lnTo>
                          <a:pt x="650" y="404"/>
                        </a:lnTo>
                        <a:lnTo>
                          <a:pt x="644" y="380"/>
                        </a:lnTo>
                        <a:lnTo>
                          <a:pt x="630" y="360"/>
                        </a:lnTo>
                        <a:lnTo>
                          <a:pt x="620" y="324"/>
                        </a:lnTo>
                        <a:lnTo>
                          <a:pt x="626" y="308"/>
                        </a:lnTo>
                        <a:lnTo>
                          <a:pt x="638" y="306"/>
                        </a:lnTo>
                        <a:lnTo>
                          <a:pt x="652" y="308"/>
                        </a:lnTo>
                        <a:lnTo>
                          <a:pt x="684" y="258"/>
                        </a:lnTo>
                        <a:lnTo>
                          <a:pt x="694" y="206"/>
                        </a:lnTo>
                        <a:lnTo>
                          <a:pt x="676" y="164"/>
                        </a:lnTo>
                        <a:lnTo>
                          <a:pt x="656" y="134"/>
                        </a:lnTo>
                        <a:lnTo>
                          <a:pt x="666" y="88"/>
                        </a:lnTo>
                        <a:lnTo>
                          <a:pt x="642" y="84"/>
                        </a:lnTo>
                        <a:lnTo>
                          <a:pt x="622" y="52"/>
                        </a:lnTo>
                        <a:lnTo>
                          <a:pt x="614" y="28"/>
                        </a:lnTo>
                        <a:lnTo>
                          <a:pt x="594" y="12"/>
                        </a:lnTo>
                        <a:lnTo>
                          <a:pt x="518" y="26"/>
                        </a:lnTo>
                        <a:lnTo>
                          <a:pt x="500" y="8"/>
                        </a:lnTo>
                        <a:lnTo>
                          <a:pt x="424" y="6"/>
                        </a:lnTo>
                        <a:lnTo>
                          <a:pt x="422" y="32"/>
                        </a:lnTo>
                        <a:lnTo>
                          <a:pt x="408" y="36"/>
                        </a:lnTo>
                        <a:lnTo>
                          <a:pt x="394" y="34"/>
                        </a:lnTo>
                        <a:lnTo>
                          <a:pt x="360" y="12"/>
                        </a:lnTo>
                        <a:lnTo>
                          <a:pt x="320" y="48"/>
                        </a:lnTo>
                        <a:lnTo>
                          <a:pt x="288" y="24"/>
                        </a:lnTo>
                        <a:lnTo>
                          <a:pt x="242" y="24"/>
                        </a:lnTo>
                        <a:lnTo>
                          <a:pt x="230" y="8"/>
                        </a:lnTo>
                        <a:lnTo>
                          <a:pt x="216"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7" name="Freeform 32"/>
                  <p:cNvSpPr>
                    <a:spLocks/>
                  </p:cNvSpPr>
                  <p:nvPr/>
                </p:nvSpPr>
                <p:spPr bwMode="auto">
                  <a:xfrm>
                    <a:off x="1934" y="1907"/>
                    <a:ext cx="623" cy="751"/>
                  </a:xfrm>
                  <a:custGeom>
                    <a:avLst/>
                    <a:gdLst/>
                    <a:ahLst/>
                    <a:cxnLst>
                      <a:cxn ang="0">
                        <a:pos x="562" y="76"/>
                      </a:cxn>
                      <a:cxn ang="0">
                        <a:pos x="622" y="144"/>
                      </a:cxn>
                      <a:cxn ang="0">
                        <a:pos x="684" y="108"/>
                      </a:cxn>
                      <a:cxn ang="0">
                        <a:pos x="764" y="242"/>
                      </a:cxn>
                      <a:cxn ang="0">
                        <a:pos x="760" y="292"/>
                      </a:cxn>
                      <a:cxn ang="0">
                        <a:pos x="834" y="360"/>
                      </a:cxn>
                      <a:cxn ang="0">
                        <a:pos x="832" y="426"/>
                      </a:cxn>
                      <a:cxn ang="0">
                        <a:pos x="742" y="470"/>
                      </a:cxn>
                      <a:cxn ang="0">
                        <a:pos x="720" y="520"/>
                      </a:cxn>
                      <a:cxn ang="0">
                        <a:pos x="730" y="584"/>
                      </a:cxn>
                      <a:cxn ang="0">
                        <a:pos x="730" y="626"/>
                      </a:cxn>
                      <a:cxn ang="0">
                        <a:pos x="688" y="678"/>
                      </a:cxn>
                      <a:cxn ang="0">
                        <a:pos x="608" y="734"/>
                      </a:cxn>
                      <a:cxn ang="0">
                        <a:pos x="570" y="758"/>
                      </a:cxn>
                      <a:cxn ang="0">
                        <a:pos x="508" y="858"/>
                      </a:cxn>
                      <a:cxn ang="0">
                        <a:pos x="482" y="912"/>
                      </a:cxn>
                      <a:cxn ang="0">
                        <a:pos x="444" y="948"/>
                      </a:cxn>
                      <a:cxn ang="0">
                        <a:pos x="414" y="944"/>
                      </a:cxn>
                      <a:cxn ang="0">
                        <a:pos x="382" y="970"/>
                      </a:cxn>
                      <a:cxn ang="0">
                        <a:pos x="356" y="1004"/>
                      </a:cxn>
                      <a:cxn ang="0">
                        <a:pos x="316" y="1002"/>
                      </a:cxn>
                      <a:cxn ang="0">
                        <a:pos x="258" y="956"/>
                      </a:cxn>
                      <a:cxn ang="0">
                        <a:pos x="272" y="910"/>
                      </a:cxn>
                      <a:cxn ang="0">
                        <a:pos x="200" y="862"/>
                      </a:cxn>
                      <a:cxn ang="0">
                        <a:pos x="156" y="822"/>
                      </a:cxn>
                      <a:cxn ang="0">
                        <a:pos x="94" y="742"/>
                      </a:cxn>
                      <a:cxn ang="0">
                        <a:pos x="0" y="700"/>
                      </a:cxn>
                      <a:cxn ang="0">
                        <a:pos x="16" y="654"/>
                      </a:cxn>
                      <a:cxn ang="0">
                        <a:pos x="50" y="670"/>
                      </a:cxn>
                      <a:cxn ang="0">
                        <a:pos x="70" y="674"/>
                      </a:cxn>
                      <a:cxn ang="0">
                        <a:pos x="68" y="614"/>
                      </a:cxn>
                      <a:cxn ang="0">
                        <a:pos x="90" y="520"/>
                      </a:cxn>
                      <a:cxn ang="0">
                        <a:pos x="62" y="476"/>
                      </a:cxn>
                      <a:cxn ang="0">
                        <a:pos x="66" y="438"/>
                      </a:cxn>
                      <a:cxn ang="0">
                        <a:pos x="92" y="406"/>
                      </a:cxn>
                      <a:cxn ang="0">
                        <a:pos x="116" y="356"/>
                      </a:cxn>
                      <a:cxn ang="0">
                        <a:pos x="138" y="384"/>
                      </a:cxn>
                      <a:cxn ang="0">
                        <a:pos x="236" y="390"/>
                      </a:cxn>
                      <a:cxn ang="0">
                        <a:pos x="262" y="360"/>
                      </a:cxn>
                      <a:cxn ang="0">
                        <a:pos x="260" y="304"/>
                      </a:cxn>
                      <a:cxn ang="0">
                        <a:pos x="278" y="242"/>
                      </a:cxn>
                      <a:cxn ang="0">
                        <a:pos x="236" y="152"/>
                      </a:cxn>
                      <a:cxn ang="0">
                        <a:pos x="198" y="98"/>
                      </a:cxn>
                      <a:cxn ang="0">
                        <a:pos x="160" y="58"/>
                      </a:cxn>
                      <a:cxn ang="0">
                        <a:pos x="256" y="64"/>
                      </a:cxn>
                      <a:cxn ang="0">
                        <a:pos x="320" y="68"/>
                      </a:cxn>
                      <a:cxn ang="0">
                        <a:pos x="398" y="28"/>
                      </a:cxn>
                      <a:cxn ang="0">
                        <a:pos x="438" y="62"/>
                      </a:cxn>
                      <a:cxn ang="0">
                        <a:pos x="492" y="18"/>
                      </a:cxn>
                    </a:cxnLst>
                    <a:rect l="0" t="0" r="r" b="b"/>
                    <a:pathLst>
                      <a:path w="842" h="1016">
                        <a:moveTo>
                          <a:pt x="522" y="24"/>
                        </a:moveTo>
                        <a:lnTo>
                          <a:pt x="552" y="44"/>
                        </a:lnTo>
                        <a:lnTo>
                          <a:pt x="562" y="76"/>
                        </a:lnTo>
                        <a:lnTo>
                          <a:pt x="596" y="90"/>
                        </a:lnTo>
                        <a:lnTo>
                          <a:pt x="608" y="142"/>
                        </a:lnTo>
                        <a:lnTo>
                          <a:pt x="622" y="144"/>
                        </a:lnTo>
                        <a:lnTo>
                          <a:pt x="638" y="124"/>
                        </a:lnTo>
                        <a:lnTo>
                          <a:pt x="664" y="128"/>
                        </a:lnTo>
                        <a:lnTo>
                          <a:pt x="684" y="108"/>
                        </a:lnTo>
                        <a:lnTo>
                          <a:pt x="744" y="190"/>
                        </a:lnTo>
                        <a:lnTo>
                          <a:pt x="760" y="218"/>
                        </a:lnTo>
                        <a:lnTo>
                          <a:pt x="764" y="242"/>
                        </a:lnTo>
                        <a:lnTo>
                          <a:pt x="766" y="254"/>
                        </a:lnTo>
                        <a:lnTo>
                          <a:pt x="764" y="270"/>
                        </a:lnTo>
                        <a:lnTo>
                          <a:pt x="760" y="292"/>
                        </a:lnTo>
                        <a:lnTo>
                          <a:pt x="798" y="340"/>
                        </a:lnTo>
                        <a:lnTo>
                          <a:pt x="814" y="342"/>
                        </a:lnTo>
                        <a:lnTo>
                          <a:pt x="834" y="360"/>
                        </a:lnTo>
                        <a:lnTo>
                          <a:pt x="836" y="400"/>
                        </a:lnTo>
                        <a:lnTo>
                          <a:pt x="842" y="420"/>
                        </a:lnTo>
                        <a:lnTo>
                          <a:pt x="832" y="426"/>
                        </a:lnTo>
                        <a:lnTo>
                          <a:pt x="802" y="432"/>
                        </a:lnTo>
                        <a:lnTo>
                          <a:pt x="760" y="470"/>
                        </a:lnTo>
                        <a:lnTo>
                          <a:pt x="742" y="470"/>
                        </a:lnTo>
                        <a:lnTo>
                          <a:pt x="728" y="472"/>
                        </a:lnTo>
                        <a:lnTo>
                          <a:pt x="720" y="488"/>
                        </a:lnTo>
                        <a:lnTo>
                          <a:pt x="720" y="520"/>
                        </a:lnTo>
                        <a:lnTo>
                          <a:pt x="718" y="544"/>
                        </a:lnTo>
                        <a:lnTo>
                          <a:pt x="716" y="578"/>
                        </a:lnTo>
                        <a:lnTo>
                          <a:pt x="730" y="584"/>
                        </a:lnTo>
                        <a:lnTo>
                          <a:pt x="740" y="592"/>
                        </a:lnTo>
                        <a:lnTo>
                          <a:pt x="744" y="614"/>
                        </a:lnTo>
                        <a:lnTo>
                          <a:pt x="730" y="626"/>
                        </a:lnTo>
                        <a:lnTo>
                          <a:pt x="710" y="624"/>
                        </a:lnTo>
                        <a:lnTo>
                          <a:pt x="694" y="612"/>
                        </a:lnTo>
                        <a:lnTo>
                          <a:pt x="688" y="678"/>
                        </a:lnTo>
                        <a:lnTo>
                          <a:pt x="634" y="722"/>
                        </a:lnTo>
                        <a:lnTo>
                          <a:pt x="618" y="722"/>
                        </a:lnTo>
                        <a:lnTo>
                          <a:pt x="608" y="734"/>
                        </a:lnTo>
                        <a:lnTo>
                          <a:pt x="596" y="746"/>
                        </a:lnTo>
                        <a:lnTo>
                          <a:pt x="590" y="762"/>
                        </a:lnTo>
                        <a:lnTo>
                          <a:pt x="570" y="758"/>
                        </a:lnTo>
                        <a:lnTo>
                          <a:pt x="574" y="806"/>
                        </a:lnTo>
                        <a:lnTo>
                          <a:pt x="554" y="828"/>
                        </a:lnTo>
                        <a:lnTo>
                          <a:pt x="508" y="858"/>
                        </a:lnTo>
                        <a:lnTo>
                          <a:pt x="496" y="854"/>
                        </a:lnTo>
                        <a:lnTo>
                          <a:pt x="482" y="870"/>
                        </a:lnTo>
                        <a:lnTo>
                          <a:pt x="482" y="912"/>
                        </a:lnTo>
                        <a:lnTo>
                          <a:pt x="474" y="922"/>
                        </a:lnTo>
                        <a:lnTo>
                          <a:pt x="460" y="926"/>
                        </a:lnTo>
                        <a:lnTo>
                          <a:pt x="444" y="948"/>
                        </a:lnTo>
                        <a:lnTo>
                          <a:pt x="436" y="966"/>
                        </a:lnTo>
                        <a:lnTo>
                          <a:pt x="424" y="958"/>
                        </a:lnTo>
                        <a:lnTo>
                          <a:pt x="414" y="944"/>
                        </a:lnTo>
                        <a:lnTo>
                          <a:pt x="400" y="942"/>
                        </a:lnTo>
                        <a:lnTo>
                          <a:pt x="384" y="956"/>
                        </a:lnTo>
                        <a:lnTo>
                          <a:pt x="382" y="970"/>
                        </a:lnTo>
                        <a:lnTo>
                          <a:pt x="382" y="982"/>
                        </a:lnTo>
                        <a:lnTo>
                          <a:pt x="368" y="996"/>
                        </a:lnTo>
                        <a:lnTo>
                          <a:pt x="356" y="1004"/>
                        </a:lnTo>
                        <a:lnTo>
                          <a:pt x="338" y="1016"/>
                        </a:lnTo>
                        <a:lnTo>
                          <a:pt x="322" y="1012"/>
                        </a:lnTo>
                        <a:lnTo>
                          <a:pt x="316" y="1002"/>
                        </a:lnTo>
                        <a:lnTo>
                          <a:pt x="300" y="994"/>
                        </a:lnTo>
                        <a:lnTo>
                          <a:pt x="276" y="970"/>
                        </a:lnTo>
                        <a:lnTo>
                          <a:pt x="258" y="956"/>
                        </a:lnTo>
                        <a:lnTo>
                          <a:pt x="256" y="940"/>
                        </a:lnTo>
                        <a:lnTo>
                          <a:pt x="266" y="922"/>
                        </a:lnTo>
                        <a:lnTo>
                          <a:pt x="272" y="910"/>
                        </a:lnTo>
                        <a:lnTo>
                          <a:pt x="240" y="904"/>
                        </a:lnTo>
                        <a:lnTo>
                          <a:pt x="216" y="872"/>
                        </a:lnTo>
                        <a:lnTo>
                          <a:pt x="200" y="862"/>
                        </a:lnTo>
                        <a:lnTo>
                          <a:pt x="182" y="860"/>
                        </a:lnTo>
                        <a:lnTo>
                          <a:pt x="166" y="842"/>
                        </a:lnTo>
                        <a:lnTo>
                          <a:pt x="156" y="822"/>
                        </a:lnTo>
                        <a:lnTo>
                          <a:pt x="104" y="768"/>
                        </a:lnTo>
                        <a:lnTo>
                          <a:pt x="96" y="756"/>
                        </a:lnTo>
                        <a:lnTo>
                          <a:pt x="94" y="742"/>
                        </a:lnTo>
                        <a:lnTo>
                          <a:pt x="52" y="728"/>
                        </a:lnTo>
                        <a:lnTo>
                          <a:pt x="38" y="700"/>
                        </a:lnTo>
                        <a:lnTo>
                          <a:pt x="0" y="700"/>
                        </a:lnTo>
                        <a:lnTo>
                          <a:pt x="0" y="682"/>
                        </a:lnTo>
                        <a:lnTo>
                          <a:pt x="12" y="678"/>
                        </a:lnTo>
                        <a:lnTo>
                          <a:pt x="16" y="654"/>
                        </a:lnTo>
                        <a:lnTo>
                          <a:pt x="26" y="648"/>
                        </a:lnTo>
                        <a:lnTo>
                          <a:pt x="46" y="656"/>
                        </a:lnTo>
                        <a:lnTo>
                          <a:pt x="50" y="670"/>
                        </a:lnTo>
                        <a:lnTo>
                          <a:pt x="66" y="684"/>
                        </a:lnTo>
                        <a:lnTo>
                          <a:pt x="70" y="696"/>
                        </a:lnTo>
                        <a:lnTo>
                          <a:pt x="70" y="674"/>
                        </a:lnTo>
                        <a:lnTo>
                          <a:pt x="68" y="650"/>
                        </a:lnTo>
                        <a:lnTo>
                          <a:pt x="54" y="628"/>
                        </a:lnTo>
                        <a:lnTo>
                          <a:pt x="68" y="614"/>
                        </a:lnTo>
                        <a:lnTo>
                          <a:pt x="74" y="568"/>
                        </a:lnTo>
                        <a:lnTo>
                          <a:pt x="88" y="554"/>
                        </a:lnTo>
                        <a:lnTo>
                          <a:pt x="90" y="520"/>
                        </a:lnTo>
                        <a:lnTo>
                          <a:pt x="72" y="514"/>
                        </a:lnTo>
                        <a:lnTo>
                          <a:pt x="74" y="498"/>
                        </a:lnTo>
                        <a:lnTo>
                          <a:pt x="62" y="476"/>
                        </a:lnTo>
                        <a:lnTo>
                          <a:pt x="50" y="464"/>
                        </a:lnTo>
                        <a:lnTo>
                          <a:pt x="52" y="446"/>
                        </a:lnTo>
                        <a:lnTo>
                          <a:pt x="66" y="438"/>
                        </a:lnTo>
                        <a:lnTo>
                          <a:pt x="90" y="436"/>
                        </a:lnTo>
                        <a:lnTo>
                          <a:pt x="98" y="418"/>
                        </a:lnTo>
                        <a:lnTo>
                          <a:pt x="92" y="406"/>
                        </a:lnTo>
                        <a:lnTo>
                          <a:pt x="84" y="380"/>
                        </a:lnTo>
                        <a:lnTo>
                          <a:pt x="96" y="372"/>
                        </a:lnTo>
                        <a:lnTo>
                          <a:pt x="116" y="356"/>
                        </a:lnTo>
                        <a:lnTo>
                          <a:pt x="156" y="356"/>
                        </a:lnTo>
                        <a:lnTo>
                          <a:pt x="152" y="382"/>
                        </a:lnTo>
                        <a:lnTo>
                          <a:pt x="138" y="384"/>
                        </a:lnTo>
                        <a:lnTo>
                          <a:pt x="132" y="394"/>
                        </a:lnTo>
                        <a:lnTo>
                          <a:pt x="230" y="402"/>
                        </a:lnTo>
                        <a:lnTo>
                          <a:pt x="236" y="390"/>
                        </a:lnTo>
                        <a:lnTo>
                          <a:pt x="274" y="388"/>
                        </a:lnTo>
                        <a:lnTo>
                          <a:pt x="286" y="378"/>
                        </a:lnTo>
                        <a:lnTo>
                          <a:pt x="262" y="360"/>
                        </a:lnTo>
                        <a:lnTo>
                          <a:pt x="248" y="332"/>
                        </a:lnTo>
                        <a:lnTo>
                          <a:pt x="260" y="338"/>
                        </a:lnTo>
                        <a:lnTo>
                          <a:pt x="260" y="304"/>
                        </a:lnTo>
                        <a:lnTo>
                          <a:pt x="272" y="274"/>
                        </a:lnTo>
                        <a:lnTo>
                          <a:pt x="256" y="260"/>
                        </a:lnTo>
                        <a:lnTo>
                          <a:pt x="278" y="242"/>
                        </a:lnTo>
                        <a:lnTo>
                          <a:pt x="246" y="208"/>
                        </a:lnTo>
                        <a:lnTo>
                          <a:pt x="238" y="190"/>
                        </a:lnTo>
                        <a:lnTo>
                          <a:pt x="236" y="152"/>
                        </a:lnTo>
                        <a:lnTo>
                          <a:pt x="204" y="156"/>
                        </a:lnTo>
                        <a:lnTo>
                          <a:pt x="196" y="132"/>
                        </a:lnTo>
                        <a:lnTo>
                          <a:pt x="198" y="98"/>
                        </a:lnTo>
                        <a:lnTo>
                          <a:pt x="172" y="92"/>
                        </a:lnTo>
                        <a:lnTo>
                          <a:pt x="170" y="64"/>
                        </a:lnTo>
                        <a:lnTo>
                          <a:pt x="160" y="58"/>
                        </a:lnTo>
                        <a:lnTo>
                          <a:pt x="168" y="42"/>
                        </a:lnTo>
                        <a:lnTo>
                          <a:pt x="206" y="48"/>
                        </a:lnTo>
                        <a:lnTo>
                          <a:pt x="256" y="64"/>
                        </a:lnTo>
                        <a:lnTo>
                          <a:pt x="270" y="94"/>
                        </a:lnTo>
                        <a:lnTo>
                          <a:pt x="286" y="82"/>
                        </a:lnTo>
                        <a:lnTo>
                          <a:pt x="320" y="68"/>
                        </a:lnTo>
                        <a:lnTo>
                          <a:pt x="314" y="46"/>
                        </a:lnTo>
                        <a:lnTo>
                          <a:pt x="360" y="52"/>
                        </a:lnTo>
                        <a:lnTo>
                          <a:pt x="398" y="28"/>
                        </a:lnTo>
                        <a:lnTo>
                          <a:pt x="428" y="32"/>
                        </a:lnTo>
                        <a:lnTo>
                          <a:pt x="444" y="44"/>
                        </a:lnTo>
                        <a:lnTo>
                          <a:pt x="438" y="62"/>
                        </a:lnTo>
                        <a:lnTo>
                          <a:pt x="458" y="40"/>
                        </a:lnTo>
                        <a:lnTo>
                          <a:pt x="472" y="46"/>
                        </a:lnTo>
                        <a:lnTo>
                          <a:pt x="492" y="18"/>
                        </a:lnTo>
                        <a:lnTo>
                          <a:pt x="494" y="0"/>
                        </a:lnTo>
                        <a:lnTo>
                          <a:pt x="522" y="24"/>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8" name="Freeform 33"/>
                  <p:cNvSpPr>
                    <a:spLocks/>
                  </p:cNvSpPr>
                  <p:nvPr/>
                </p:nvSpPr>
                <p:spPr bwMode="auto">
                  <a:xfrm>
                    <a:off x="1731" y="2441"/>
                    <a:ext cx="860" cy="1061"/>
                  </a:xfrm>
                  <a:custGeom>
                    <a:avLst/>
                    <a:gdLst/>
                    <a:ahLst/>
                    <a:cxnLst>
                      <a:cxn ang="0">
                        <a:pos x="940" y="24"/>
                      </a:cxn>
                      <a:cxn ang="0">
                        <a:pos x="994" y="56"/>
                      </a:cxn>
                      <a:cxn ang="0">
                        <a:pos x="1028" y="96"/>
                      </a:cxn>
                      <a:cxn ang="0">
                        <a:pos x="1066" y="146"/>
                      </a:cxn>
                      <a:cxn ang="0">
                        <a:pos x="1104" y="220"/>
                      </a:cxn>
                      <a:cxn ang="0">
                        <a:pos x="1154" y="356"/>
                      </a:cxn>
                      <a:cxn ang="0">
                        <a:pos x="1144" y="408"/>
                      </a:cxn>
                      <a:cxn ang="0">
                        <a:pos x="1122" y="478"/>
                      </a:cxn>
                      <a:cxn ang="0">
                        <a:pos x="1050" y="546"/>
                      </a:cxn>
                      <a:cxn ang="0">
                        <a:pos x="1002" y="632"/>
                      </a:cxn>
                      <a:cxn ang="0">
                        <a:pos x="1002" y="708"/>
                      </a:cxn>
                      <a:cxn ang="0">
                        <a:pos x="934" y="766"/>
                      </a:cxn>
                      <a:cxn ang="0">
                        <a:pos x="852" y="852"/>
                      </a:cxn>
                      <a:cxn ang="0">
                        <a:pos x="770" y="846"/>
                      </a:cxn>
                      <a:cxn ang="0">
                        <a:pos x="716" y="866"/>
                      </a:cxn>
                      <a:cxn ang="0">
                        <a:pos x="646" y="868"/>
                      </a:cxn>
                      <a:cxn ang="0">
                        <a:pos x="602" y="888"/>
                      </a:cxn>
                      <a:cxn ang="0">
                        <a:pos x="554" y="920"/>
                      </a:cxn>
                      <a:cxn ang="0">
                        <a:pos x="556" y="982"/>
                      </a:cxn>
                      <a:cxn ang="0">
                        <a:pos x="552" y="1046"/>
                      </a:cxn>
                      <a:cxn ang="0">
                        <a:pos x="596" y="1090"/>
                      </a:cxn>
                      <a:cxn ang="0">
                        <a:pos x="626" y="1160"/>
                      </a:cxn>
                      <a:cxn ang="0">
                        <a:pos x="602" y="1202"/>
                      </a:cxn>
                      <a:cxn ang="0">
                        <a:pos x="560" y="1272"/>
                      </a:cxn>
                      <a:cxn ang="0">
                        <a:pos x="502" y="1320"/>
                      </a:cxn>
                      <a:cxn ang="0">
                        <a:pos x="484" y="1406"/>
                      </a:cxn>
                      <a:cxn ang="0">
                        <a:pos x="402" y="1434"/>
                      </a:cxn>
                      <a:cxn ang="0">
                        <a:pos x="282" y="1336"/>
                      </a:cxn>
                      <a:cxn ang="0">
                        <a:pos x="226" y="1282"/>
                      </a:cxn>
                      <a:cxn ang="0">
                        <a:pos x="154" y="1232"/>
                      </a:cxn>
                      <a:cxn ang="0">
                        <a:pos x="100" y="1272"/>
                      </a:cxn>
                      <a:cxn ang="0">
                        <a:pos x="126" y="1188"/>
                      </a:cxn>
                      <a:cxn ang="0">
                        <a:pos x="80" y="1152"/>
                      </a:cxn>
                      <a:cxn ang="0">
                        <a:pos x="8" y="1132"/>
                      </a:cxn>
                      <a:cxn ang="0">
                        <a:pos x="32" y="1102"/>
                      </a:cxn>
                      <a:cxn ang="0">
                        <a:pos x="138" y="936"/>
                      </a:cxn>
                      <a:cxn ang="0">
                        <a:pos x="222" y="506"/>
                      </a:cxn>
                      <a:cxn ang="0">
                        <a:pos x="304" y="478"/>
                      </a:cxn>
                      <a:cxn ang="0">
                        <a:pos x="252" y="452"/>
                      </a:cxn>
                      <a:cxn ang="0">
                        <a:pos x="234" y="458"/>
                      </a:cxn>
                      <a:cxn ang="0">
                        <a:pos x="260" y="342"/>
                      </a:cxn>
                      <a:cxn ang="0">
                        <a:pos x="286" y="270"/>
                      </a:cxn>
                      <a:cxn ang="0">
                        <a:pos x="296" y="74"/>
                      </a:cxn>
                      <a:cxn ang="0">
                        <a:pos x="340" y="58"/>
                      </a:cxn>
                      <a:cxn ang="0">
                        <a:pos x="378" y="122"/>
                      </a:cxn>
                      <a:cxn ang="0">
                        <a:pos x="420" y="242"/>
                      </a:cxn>
                      <a:cxn ang="0">
                        <a:pos x="472" y="286"/>
                      </a:cxn>
                      <a:cxn ang="0">
                        <a:pos x="442" y="160"/>
                      </a:cxn>
                      <a:cxn ang="0">
                        <a:pos x="522" y="186"/>
                      </a:cxn>
                      <a:cxn ang="0">
                        <a:pos x="542" y="230"/>
                      </a:cxn>
                      <a:cxn ang="0">
                        <a:pos x="616" y="288"/>
                      </a:cxn>
                      <a:cxn ang="0">
                        <a:pos x="670" y="218"/>
                      </a:cxn>
                      <a:cxn ang="0">
                        <a:pos x="732" y="200"/>
                      </a:cxn>
                      <a:cxn ang="0">
                        <a:pos x="756" y="146"/>
                      </a:cxn>
                      <a:cxn ang="0">
                        <a:pos x="846" y="84"/>
                      </a:cxn>
                      <a:cxn ang="0">
                        <a:pos x="884" y="4"/>
                      </a:cxn>
                    </a:cxnLst>
                    <a:rect l="0" t="0" r="r" b="b"/>
                    <a:pathLst>
                      <a:path w="1162" h="1434">
                        <a:moveTo>
                          <a:pt x="906" y="0"/>
                        </a:moveTo>
                        <a:lnTo>
                          <a:pt x="926" y="26"/>
                        </a:lnTo>
                        <a:lnTo>
                          <a:pt x="940" y="24"/>
                        </a:lnTo>
                        <a:lnTo>
                          <a:pt x="962" y="56"/>
                        </a:lnTo>
                        <a:lnTo>
                          <a:pt x="982" y="54"/>
                        </a:lnTo>
                        <a:lnTo>
                          <a:pt x="994" y="56"/>
                        </a:lnTo>
                        <a:lnTo>
                          <a:pt x="1014" y="50"/>
                        </a:lnTo>
                        <a:lnTo>
                          <a:pt x="1028" y="82"/>
                        </a:lnTo>
                        <a:lnTo>
                          <a:pt x="1028" y="96"/>
                        </a:lnTo>
                        <a:lnTo>
                          <a:pt x="1036" y="116"/>
                        </a:lnTo>
                        <a:lnTo>
                          <a:pt x="1060" y="108"/>
                        </a:lnTo>
                        <a:lnTo>
                          <a:pt x="1066" y="146"/>
                        </a:lnTo>
                        <a:lnTo>
                          <a:pt x="1086" y="148"/>
                        </a:lnTo>
                        <a:lnTo>
                          <a:pt x="1124" y="188"/>
                        </a:lnTo>
                        <a:lnTo>
                          <a:pt x="1104" y="220"/>
                        </a:lnTo>
                        <a:lnTo>
                          <a:pt x="1082" y="260"/>
                        </a:lnTo>
                        <a:lnTo>
                          <a:pt x="1110" y="326"/>
                        </a:lnTo>
                        <a:lnTo>
                          <a:pt x="1154" y="356"/>
                        </a:lnTo>
                        <a:lnTo>
                          <a:pt x="1162" y="374"/>
                        </a:lnTo>
                        <a:lnTo>
                          <a:pt x="1154" y="396"/>
                        </a:lnTo>
                        <a:lnTo>
                          <a:pt x="1144" y="408"/>
                        </a:lnTo>
                        <a:lnTo>
                          <a:pt x="1160" y="420"/>
                        </a:lnTo>
                        <a:lnTo>
                          <a:pt x="1160" y="444"/>
                        </a:lnTo>
                        <a:lnTo>
                          <a:pt x="1122" y="478"/>
                        </a:lnTo>
                        <a:lnTo>
                          <a:pt x="1118" y="504"/>
                        </a:lnTo>
                        <a:lnTo>
                          <a:pt x="1090" y="544"/>
                        </a:lnTo>
                        <a:lnTo>
                          <a:pt x="1050" y="546"/>
                        </a:lnTo>
                        <a:lnTo>
                          <a:pt x="1038" y="570"/>
                        </a:lnTo>
                        <a:lnTo>
                          <a:pt x="1000" y="602"/>
                        </a:lnTo>
                        <a:lnTo>
                          <a:pt x="1002" y="632"/>
                        </a:lnTo>
                        <a:lnTo>
                          <a:pt x="1012" y="666"/>
                        </a:lnTo>
                        <a:lnTo>
                          <a:pt x="1024" y="688"/>
                        </a:lnTo>
                        <a:lnTo>
                          <a:pt x="1002" y="708"/>
                        </a:lnTo>
                        <a:lnTo>
                          <a:pt x="958" y="706"/>
                        </a:lnTo>
                        <a:lnTo>
                          <a:pt x="954" y="754"/>
                        </a:lnTo>
                        <a:lnTo>
                          <a:pt x="934" y="766"/>
                        </a:lnTo>
                        <a:lnTo>
                          <a:pt x="932" y="798"/>
                        </a:lnTo>
                        <a:lnTo>
                          <a:pt x="912" y="808"/>
                        </a:lnTo>
                        <a:lnTo>
                          <a:pt x="852" y="852"/>
                        </a:lnTo>
                        <a:lnTo>
                          <a:pt x="830" y="820"/>
                        </a:lnTo>
                        <a:lnTo>
                          <a:pt x="808" y="832"/>
                        </a:lnTo>
                        <a:lnTo>
                          <a:pt x="770" y="846"/>
                        </a:lnTo>
                        <a:lnTo>
                          <a:pt x="764" y="860"/>
                        </a:lnTo>
                        <a:lnTo>
                          <a:pt x="730" y="852"/>
                        </a:lnTo>
                        <a:lnTo>
                          <a:pt x="716" y="866"/>
                        </a:lnTo>
                        <a:lnTo>
                          <a:pt x="682" y="860"/>
                        </a:lnTo>
                        <a:lnTo>
                          <a:pt x="664" y="844"/>
                        </a:lnTo>
                        <a:lnTo>
                          <a:pt x="646" y="868"/>
                        </a:lnTo>
                        <a:lnTo>
                          <a:pt x="652" y="910"/>
                        </a:lnTo>
                        <a:lnTo>
                          <a:pt x="618" y="876"/>
                        </a:lnTo>
                        <a:lnTo>
                          <a:pt x="602" y="888"/>
                        </a:lnTo>
                        <a:lnTo>
                          <a:pt x="578" y="886"/>
                        </a:lnTo>
                        <a:lnTo>
                          <a:pt x="558" y="870"/>
                        </a:lnTo>
                        <a:lnTo>
                          <a:pt x="554" y="920"/>
                        </a:lnTo>
                        <a:lnTo>
                          <a:pt x="568" y="928"/>
                        </a:lnTo>
                        <a:lnTo>
                          <a:pt x="560" y="942"/>
                        </a:lnTo>
                        <a:lnTo>
                          <a:pt x="556" y="982"/>
                        </a:lnTo>
                        <a:lnTo>
                          <a:pt x="532" y="990"/>
                        </a:lnTo>
                        <a:lnTo>
                          <a:pt x="524" y="1018"/>
                        </a:lnTo>
                        <a:lnTo>
                          <a:pt x="552" y="1046"/>
                        </a:lnTo>
                        <a:lnTo>
                          <a:pt x="576" y="1048"/>
                        </a:lnTo>
                        <a:lnTo>
                          <a:pt x="588" y="1070"/>
                        </a:lnTo>
                        <a:lnTo>
                          <a:pt x="596" y="1090"/>
                        </a:lnTo>
                        <a:lnTo>
                          <a:pt x="598" y="1116"/>
                        </a:lnTo>
                        <a:lnTo>
                          <a:pt x="616" y="1132"/>
                        </a:lnTo>
                        <a:lnTo>
                          <a:pt x="626" y="1160"/>
                        </a:lnTo>
                        <a:lnTo>
                          <a:pt x="606" y="1176"/>
                        </a:lnTo>
                        <a:lnTo>
                          <a:pt x="594" y="1184"/>
                        </a:lnTo>
                        <a:lnTo>
                          <a:pt x="602" y="1202"/>
                        </a:lnTo>
                        <a:lnTo>
                          <a:pt x="582" y="1218"/>
                        </a:lnTo>
                        <a:lnTo>
                          <a:pt x="560" y="1256"/>
                        </a:lnTo>
                        <a:lnTo>
                          <a:pt x="560" y="1272"/>
                        </a:lnTo>
                        <a:lnTo>
                          <a:pt x="544" y="1288"/>
                        </a:lnTo>
                        <a:lnTo>
                          <a:pt x="536" y="1318"/>
                        </a:lnTo>
                        <a:lnTo>
                          <a:pt x="502" y="1320"/>
                        </a:lnTo>
                        <a:lnTo>
                          <a:pt x="506" y="1348"/>
                        </a:lnTo>
                        <a:lnTo>
                          <a:pt x="484" y="1378"/>
                        </a:lnTo>
                        <a:lnTo>
                          <a:pt x="484" y="1406"/>
                        </a:lnTo>
                        <a:lnTo>
                          <a:pt x="464" y="1420"/>
                        </a:lnTo>
                        <a:lnTo>
                          <a:pt x="416" y="1416"/>
                        </a:lnTo>
                        <a:lnTo>
                          <a:pt x="402" y="1434"/>
                        </a:lnTo>
                        <a:lnTo>
                          <a:pt x="338" y="1366"/>
                        </a:lnTo>
                        <a:lnTo>
                          <a:pt x="350" y="1348"/>
                        </a:lnTo>
                        <a:lnTo>
                          <a:pt x="282" y="1336"/>
                        </a:lnTo>
                        <a:lnTo>
                          <a:pt x="256" y="1322"/>
                        </a:lnTo>
                        <a:lnTo>
                          <a:pt x="232" y="1310"/>
                        </a:lnTo>
                        <a:lnTo>
                          <a:pt x="226" y="1282"/>
                        </a:lnTo>
                        <a:lnTo>
                          <a:pt x="184" y="1278"/>
                        </a:lnTo>
                        <a:lnTo>
                          <a:pt x="172" y="1260"/>
                        </a:lnTo>
                        <a:lnTo>
                          <a:pt x="154" y="1232"/>
                        </a:lnTo>
                        <a:lnTo>
                          <a:pt x="140" y="1244"/>
                        </a:lnTo>
                        <a:lnTo>
                          <a:pt x="134" y="1276"/>
                        </a:lnTo>
                        <a:lnTo>
                          <a:pt x="100" y="1272"/>
                        </a:lnTo>
                        <a:lnTo>
                          <a:pt x="106" y="1234"/>
                        </a:lnTo>
                        <a:lnTo>
                          <a:pt x="126" y="1202"/>
                        </a:lnTo>
                        <a:lnTo>
                          <a:pt x="126" y="1188"/>
                        </a:lnTo>
                        <a:lnTo>
                          <a:pt x="110" y="1164"/>
                        </a:lnTo>
                        <a:lnTo>
                          <a:pt x="94" y="1162"/>
                        </a:lnTo>
                        <a:lnTo>
                          <a:pt x="80" y="1152"/>
                        </a:lnTo>
                        <a:lnTo>
                          <a:pt x="60" y="1158"/>
                        </a:lnTo>
                        <a:lnTo>
                          <a:pt x="36" y="1134"/>
                        </a:lnTo>
                        <a:lnTo>
                          <a:pt x="8" y="1132"/>
                        </a:lnTo>
                        <a:lnTo>
                          <a:pt x="0" y="1122"/>
                        </a:lnTo>
                        <a:lnTo>
                          <a:pt x="10" y="1104"/>
                        </a:lnTo>
                        <a:lnTo>
                          <a:pt x="32" y="1102"/>
                        </a:lnTo>
                        <a:lnTo>
                          <a:pt x="70" y="1058"/>
                        </a:lnTo>
                        <a:lnTo>
                          <a:pt x="100" y="1016"/>
                        </a:lnTo>
                        <a:lnTo>
                          <a:pt x="138" y="936"/>
                        </a:lnTo>
                        <a:lnTo>
                          <a:pt x="150" y="866"/>
                        </a:lnTo>
                        <a:lnTo>
                          <a:pt x="194" y="740"/>
                        </a:lnTo>
                        <a:lnTo>
                          <a:pt x="222" y="506"/>
                        </a:lnTo>
                        <a:lnTo>
                          <a:pt x="258" y="486"/>
                        </a:lnTo>
                        <a:lnTo>
                          <a:pt x="288" y="496"/>
                        </a:lnTo>
                        <a:lnTo>
                          <a:pt x="304" y="478"/>
                        </a:lnTo>
                        <a:lnTo>
                          <a:pt x="286" y="450"/>
                        </a:lnTo>
                        <a:lnTo>
                          <a:pt x="264" y="438"/>
                        </a:lnTo>
                        <a:lnTo>
                          <a:pt x="252" y="452"/>
                        </a:lnTo>
                        <a:lnTo>
                          <a:pt x="246" y="464"/>
                        </a:lnTo>
                        <a:lnTo>
                          <a:pt x="242" y="476"/>
                        </a:lnTo>
                        <a:lnTo>
                          <a:pt x="234" y="458"/>
                        </a:lnTo>
                        <a:lnTo>
                          <a:pt x="244" y="424"/>
                        </a:lnTo>
                        <a:lnTo>
                          <a:pt x="256" y="384"/>
                        </a:lnTo>
                        <a:lnTo>
                          <a:pt x="260" y="342"/>
                        </a:lnTo>
                        <a:lnTo>
                          <a:pt x="262" y="314"/>
                        </a:lnTo>
                        <a:lnTo>
                          <a:pt x="266" y="276"/>
                        </a:lnTo>
                        <a:lnTo>
                          <a:pt x="286" y="270"/>
                        </a:lnTo>
                        <a:lnTo>
                          <a:pt x="292" y="150"/>
                        </a:lnTo>
                        <a:lnTo>
                          <a:pt x="294" y="96"/>
                        </a:lnTo>
                        <a:lnTo>
                          <a:pt x="296" y="74"/>
                        </a:lnTo>
                        <a:lnTo>
                          <a:pt x="318" y="46"/>
                        </a:lnTo>
                        <a:lnTo>
                          <a:pt x="330" y="42"/>
                        </a:lnTo>
                        <a:lnTo>
                          <a:pt x="340" y="58"/>
                        </a:lnTo>
                        <a:lnTo>
                          <a:pt x="326" y="68"/>
                        </a:lnTo>
                        <a:lnTo>
                          <a:pt x="358" y="110"/>
                        </a:lnTo>
                        <a:lnTo>
                          <a:pt x="378" y="122"/>
                        </a:lnTo>
                        <a:lnTo>
                          <a:pt x="388" y="150"/>
                        </a:lnTo>
                        <a:lnTo>
                          <a:pt x="414" y="172"/>
                        </a:lnTo>
                        <a:lnTo>
                          <a:pt x="420" y="242"/>
                        </a:lnTo>
                        <a:lnTo>
                          <a:pt x="452" y="310"/>
                        </a:lnTo>
                        <a:lnTo>
                          <a:pt x="478" y="360"/>
                        </a:lnTo>
                        <a:lnTo>
                          <a:pt x="472" y="286"/>
                        </a:lnTo>
                        <a:lnTo>
                          <a:pt x="454" y="242"/>
                        </a:lnTo>
                        <a:lnTo>
                          <a:pt x="448" y="204"/>
                        </a:lnTo>
                        <a:lnTo>
                          <a:pt x="442" y="160"/>
                        </a:lnTo>
                        <a:lnTo>
                          <a:pt x="458" y="134"/>
                        </a:lnTo>
                        <a:lnTo>
                          <a:pt x="486" y="144"/>
                        </a:lnTo>
                        <a:lnTo>
                          <a:pt x="522" y="186"/>
                        </a:lnTo>
                        <a:lnTo>
                          <a:pt x="548" y="188"/>
                        </a:lnTo>
                        <a:lnTo>
                          <a:pt x="534" y="216"/>
                        </a:lnTo>
                        <a:lnTo>
                          <a:pt x="542" y="230"/>
                        </a:lnTo>
                        <a:lnTo>
                          <a:pt x="592" y="282"/>
                        </a:lnTo>
                        <a:lnTo>
                          <a:pt x="598" y="288"/>
                        </a:lnTo>
                        <a:lnTo>
                          <a:pt x="616" y="288"/>
                        </a:lnTo>
                        <a:lnTo>
                          <a:pt x="654" y="262"/>
                        </a:lnTo>
                        <a:lnTo>
                          <a:pt x="656" y="228"/>
                        </a:lnTo>
                        <a:lnTo>
                          <a:pt x="670" y="218"/>
                        </a:lnTo>
                        <a:lnTo>
                          <a:pt x="686" y="218"/>
                        </a:lnTo>
                        <a:lnTo>
                          <a:pt x="708" y="240"/>
                        </a:lnTo>
                        <a:lnTo>
                          <a:pt x="732" y="200"/>
                        </a:lnTo>
                        <a:lnTo>
                          <a:pt x="750" y="200"/>
                        </a:lnTo>
                        <a:lnTo>
                          <a:pt x="756" y="190"/>
                        </a:lnTo>
                        <a:lnTo>
                          <a:pt x="756" y="146"/>
                        </a:lnTo>
                        <a:lnTo>
                          <a:pt x="764" y="130"/>
                        </a:lnTo>
                        <a:lnTo>
                          <a:pt x="788" y="132"/>
                        </a:lnTo>
                        <a:lnTo>
                          <a:pt x="846" y="84"/>
                        </a:lnTo>
                        <a:lnTo>
                          <a:pt x="842" y="34"/>
                        </a:lnTo>
                        <a:lnTo>
                          <a:pt x="862" y="38"/>
                        </a:lnTo>
                        <a:lnTo>
                          <a:pt x="884" y="4"/>
                        </a:lnTo>
                        <a:lnTo>
                          <a:pt x="906"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59" name="Freeform 34"/>
                  <p:cNvSpPr>
                    <a:spLocks/>
                  </p:cNvSpPr>
                  <p:nvPr/>
                </p:nvSpPr>
                <p:spPr bwMode="auto">
                  <a:xfrm>
                    <a:off x="2088" y="2715"/>
                    <a:ext cx="1001" cy="901"/>
                  </a:xfrm>
                  <a:custGeom>
                    <a:avLst/>
                    <a:gdLst/>
                    <a:ahLst/>
                    <a:cxnLst>
                      <a:cxn ang="0">
                        <a:pos x="1224" y="244"/>
                      </a:cxn>
                      <a:cxn ang="0">
                        <a:pos x="1240" y="276"/>
                      </a:cxn>
                      <a:cxn ang="0">
                        <a:pos x="1274" y="384"/>
                      </a:cxn>
                      <a:cxn ang="0">
                        <a:pos x="1298" y="444"/>
                      </a:cxn>
                      <a:cxn ang="0">
                        <a:pos x="1310" y="500"/>
                      </a:cxn>
                      <a:cxn ang="0">
                        <a:pos x="1308" y="592"/>
                      </a:cxn>
                      <a:cxn ang="0">
                        <a:pos x="1264" y="636"/>
                      </a:cxn>
                      <a:cxn ang="0">
                        <a:pos x="1212" y="690"/>
                      </a:cxn>
                      <a:cxn ang="0">
                        <a:pos x="1112" y="724"/>
                      </a:cxn>
                      <a:cxn ang="0">
                        <a:pos x="1064" y="760"/>
                      </a:cxn>
                      <a:cxn ang="0">
                        <a:pos x="958" y="822"/>
                      </a:cxn>
                      <a:cxn ang="0">
                        <a:pos x="902" y="832"/>
                      </a:cxn>
                      <a:cxn ang="0">
                        <a:pos x="842" y="830"/>
                      </a:cxn>
                      <a:cxn ang="0">
                        <a:pos x="790" y="800"/>
                      </a:cxn>
                      <a:cxn ang="0">
                        <a:pos x="746" y="826"/>
                      </a:cxn>
                      <a:cxn ang="0">
                        <a:pos x="720" y="886"/>
                      </a:cxn>
                      <a:cxn ang="0">
                        <a:pos x="780" y="932"/>
                      </a:cxn>
                      <a:cxn ang="0">
                        <a:pos x="826" y="988"/>
                      </a:cxn>
                      <a:cxn ang="0">
                        <a:pos x="808" y="1020"/>
                      </a:cxn>
                      <a:cxn ang="0">
                        <a:pos x="820" y="1072"/>
                      </a:cxn>
                      <a:cxn ang="0">
                        <a:pos x="794" y="1104"/>
                      </a:cxn>
                      <a:cxn ang="0">
                        <a:pos x="852" y="1114"/>
                      </a:cxn>
                      <a:cxn ang="0">
                        <a:pos x="816" y="1192"/>
                      </a:cxn>
                      <a:cxn ang="0">
                        <a:pos x="724" y="1214"/>
                      </a:cxn>
                      <a:cxn ang="0">
                        <a:pos x="618" y="1172"/>
                      </a:cxn>
                      <a:cxn ang="0">
                        <a:pos x="576" y="1124"/>
                      </a:cxn>
                      <a:cxn ang="0">
                        <a:pos x="492" y="1096"/>
                      </a:cxn>
                      <a:cxn ang="0">
                        <a:pos x="400" y="1070"/>
                      </a:cxn>
                      <a:cxn ang="0">
                        <a:pos x="352" y="1058"/>
                      </a:cxn>
                      <a:cxn ang="0">
                        <a:pos x="350" y="1120"/>
                      </a:cxn>
                      <a:cxn ang="0">
                        <a:pos x="200" y="1112"/>
                      </a:cxn>
                      <a:cxn ang="0">
                        <a:pos x="66" y="1082"/>
                      </a:cxn>
                      <a:cxn ang="0">
                        <a:pos x="18" y="1032"/>
                      </a:cxn>
                      <a:cxn ang="0">
                        <a:pos x="22" y="974"/>
                      </a:cxn>
                      <a:cxn ang="0">
                        <a:pos x="58" y="914"/>
                      </a:cxn>
                      <a:cxn ang="0">
                        <a:pos x="102" y="836"/>
                      </a:cxn>
                      <a:cxn ang="0">
                        <a:pos x="140" y="794"/>
                      </a:cxn>
                      <a:cxn ang="0">
                        <a:pos x="108" y="720"/>
                      </a:cxn>
                      <a:cxn ang="0">
                        <a:pos x="40" y="650"/>
                      </a:cxn>
                      <a:cxn ang="0">
                        <a:pos x="72" y="590"/>
                      </a:cxn>
                      <a:cxn ang="0">
                        <a:pos x="70" y="548"/>
                      </a:cxn>
                      <a:cxn ang="0">
                        <a:pos x="120" y="516"/>
                      </a:cxn>
                      <a:cxn ang="0">
                        <a:pos x="162" y="492"/>
                      </a:cxn>
                      <a:cxn ang="0">
                        <a:pos x="228" y="492"/>
                      </a:cxn>
                      <a:cxn ang="0">
                        <a:pos x="284" y="456"/>
                      </a:cxn>
                      <a:cxn ang="0">
                        <a:pos x="424" y="436"/>
                      </a:cxn>
                      <a:cxn ang="0">
                        <a:pos x="466" y="380"/>
                      </a:cxn>
                      <a:cxn ang="0">
                        <a:pos x="526" y="334"/>
                      </a:cxn>
                      <a:cxn ang="0">
                        <a:pos x="514" y="232"/>
                      </a:cxn>
                      <a:cxn ang="0">
                        <a:pos x="610" y="174"/>
                      </a:cxn>
                      <a:cxn ang="0">
                        <a:pos x="674" y="48"/>
                      </a:cxn>
                      <a:cxn ang="0">
                        <a:pos x="762" y="2"/>
                      </a:cxn>
                      <a:cxn ang="0">
                        <a:pos x="822" y="46"/>
                      </a:cxn>
                      <a:cxn ang="0">
                        <a:pos x="920" y="112"/>
                      </a:cxn>
                      <a:cxn ang="0">
                        <a:pos x="906" y="206"/>
                      </a:cxn>
                      <a:cxn ang="0">
                        <a:pos x="1012" y="210"/>
                      </a:cxn>
                      <a:cxn ang="0">
                        <a:pos x="1098" y="92"/>
                      </a:cxn>
                      <a:cxn ang="0">
                        <a:pos x="1158" y="134"/>
                      </a:cxn>
                    </a:cxnLst>
                    <a:rect l="0" t="0" r="r" b="b"/>
                    <a:pathLst>
                      <a:path w="1352" h="1218">
                        <a:moveTo>
                          <a:pt x="1198" y="190"/>
                        </a:moveTo>
                        <a:lnTo>
                          <a:pt x="1204" y="220"/>
                        </a:lnTo>
                        <a:lnTo>
                          <a:pt x="1224" y="244"/>
                        </a:lnTo>
                        <a:lnTo>
                          <a:pt x="1236" y="246"/>
                        </a:lnTo>
                        <a:lnTo>
                          <a:pt x="1254" y="258"/>
                        </a:lnTo>
                        <a:lnTo>
                          <a:pt x="1240" y="276"/>
                        </a:lnTo>
                        <a:lnTo>
                          <a:pt x="1248" y="304"/>
                        </a:lnTo>
                        <a:lnTo>
                          <a:pt x="1270" y="318"/>
                        </a:lnTo>
                        <a:lnTo>
                          <a:pt x="1274" y="384"/>
                        </a:lnTo>
                        <a:lnTo>
                          <a:pt x="1268" y="406"/>
                        </a:lnTo>
                        <a:lnTo>
                          <a:pt x="1278" y="436"/>
                        </a:lnTo>
                        <a:lnTo>
                          <a:pt x="1298" y="444"/>
                        </a:lnTo>
                        <a:lnTo>
                          <a:pt x="1316" y="456"/>
                        </a:lnTo>
                        <a:lnTo>
                          <a:pt x="1322" y="472"/>
                        </a:lnTo>
                        <a:lnTo>
                          <a:pt x="1310" y="500"/>
                        </a:lnTo>
                        <a:lnTo>
                          <a:pt x="1346" y="530"/>
                        </a:lnTo>
                        <a:lnTo>
                          <a:pt x="1352" y="564"/>
                        </a:lnTo>
                        <a:lnTo>
                          <a:pt x="1308" y="592"/>
                        </a:lnTo>
                        <a:lnTo>
                          <a:pt x="1292" y="610"/>
                        </a:lnTo>
                        <a:lnTo>
                          <a:pt x="1278" y="616"/>
                        </a:lnTo>
                        <a:lnTo>
                          <a:pt x="1264" y="636"/>
                        </a:lnTo>
                        <a:lnTo>
                          <a:pt x="1224" y="642"/>
                        </a:lnTo>
                        <a:lnTo>
                          <a:pt x="1220" y="658"/>
                        </a:lnTo>
                        <a:lnTo>
                          <a:pt x="1212" y="690"/>
                        </a:lnTo>
                        <a:lnTo>
                          <a:pt x="1188" y="698"/>
                        </a:lnTo>
                        <a:lnTo>
                          <a:pt x="1144" y="704"/>
                        </a:lnTo>
                        <a:lnTo>
                          <a:pt x="1112" y="724"/>
                        </a:lnTo>
                        <a:lnTo>
                          <a:pt x="1064" y="720"/>
                        </a:lnTo>
                        <a:lnTo>
                          <a:pt x="1054" y="746"/>
                        </a:lnTo>
                        <a:lnTo>
                          <a:pt x="1064" y="760"/>
                        </a:lnTo>
                        <a:lnTo>
                          <a:pt x="1054" y="788"/>
                        </a:lnTo>
                        <a:lnTo>
                          <a:pt x="1020" y="820"/>
                        </a:lnTo>
                        <a:lnTo>
                          <a:pt x="958" y="822"/>
                        </a:lnTo>
                        <a:lnTo>
                          <a:pt x="944" y="802"/>
                        </a:lnTo>
                        <a:lnTo>
                          <a:pt x="922" y="804"/>
                        </a:lnTo>
                        <a:lnTo>
                          <a:pt x="902" y="832"/>
                        </a:lnTo>
                        <a:lnTo>
                          <a:pt x="876" y="814"/>
                        </a:lnTo>
                        <a:lnTo>
                          <a:pt x="858" y="816"/>
                        </a:lnTo>
                        <a:lnTo>
                          <a:pt x="842" y="830"/>
                        </a:lnTo>
                        <a:lnTo>
                          <a:pt x="814" y="814"/>
                        </a:lnTo>
                        <a:lnTo>
                          <a:pt x="804" y="790"/>
                        </a:lnTo>
                        <a:lnTo>
                          <a:pt x="790" y="800"/>
                        </a:lnTo>
                        <a:lnTo>
                          <a:pt x="778" y="810"/>
                        </a:lnTo>
                        <a:lnTo>
                          <a:pt x="770" y="836"/>
                        </a:lnTo>
                        <a:lnTo>
                          <a:pt x="746" y="826"/>
                        </a:lnTo>
                        <a:lnTo>
                          <a:pt x="722" y="844"/>
                        </a:lnTo>
                        <a:lnTo>
                          <a:pt x="720" y="866"/>
                        </a:lnTo>
                        <a:lnTo>
                          <a:pt x="720" y="886"/>
                        </a:lnTo>
                        <a:lnTo>
                          <a:pt x="732" y="904"/>
                        </a:lnTo>
                        <a:lnTo>
                          <a:pt x="736" y="928"/>
                        </a:lnTo>
                        <a:lnTo>
                          <a:pt x="780" y="932"/>
                        </a:lnTo>
                        <a:lnTo>
                          <a:pt x="818" y="948"/>
                        </a:lnTo>
                        <a:lnTo>
                          <a:pt x="818" y="976"/>
                        </a:lnTo>
                        <a:lnTo>
                          <a:pt x="826" y="988"/>
                        </a:lnTo>
                        <a:lnTo>
                          <a:pt x="836" y="1000"/>
                        </a:lnTo>
                        <a:lnTo>
                          <a:pt x="828" y="1012"/>
                        </a:lnTo>
                        <a:lnTo>
                          <a:pt x="808" y="1020"/>
                        </a:lnTo>
                        <a:lnTo>
                          <a:pt x="820" y="1032"/>
                        </a:lnTo>
                        <a:lnTo>
                          <a:pt x="826" y="1052"/>
                        </a:lnTo>
                        <a:lnTo>
                          <a:pt x="820" y="1072"/>
                        </a:lnTo>
                        <a:lnTo>
                          <a:pt x="798" y="1072"/>
                        </a:lnTo>
                        <a:lnTo>
                          <a:pt x="800" y="1084"/>
                        </a:lnTo>
                        <a:lnTo>
                          <a:pt x="794" y="1104"/>
                        </a:lnTo>
                        <a:lnTo>
                          <a:pt x="790" y="1118"/>
                        </a:lnTo>
                        <a:lnTo>
                          <a:pt x="806" y="1124"/>
                        </a:lnTo>
                        <a:lnTo>
                          <a:pt x="852" y="1114"/>
                        </a:lnTo>
                        <a:lnTo>
                          <a:pt x="894" y="1164"/>
                        </a:lnTo>
                        <a:lnTo>
                          <a:pt x="868" y="1176"/>
                        </a:lnTo>
                        <a:lnTo>
                          <a:pt x="816" y="1192"/>
                        </a:lnTo>
                        <a:lnTo>
                          <a:pt x="794" y="1198"/>
                        </a:lnTo>
                        <a:lnTo>
                          <a:pt x="788" y="1218"/>
                        </a:lnTo>
                        <a:lnTo>
                          <a:pt x="724" y="1214"/>
                        </a:lnTo>
                        <a:lnTo>
                          <a:pt x="716" y="1188"/>
                        </a:lnTo>
                        <a:lnTo>
                          <a:pt x="688" y="1184"/>
                        </a:lnTo>
                        <a:lnTo>
                          <a:pt x="618" y="1172"/>
                        </a:lnTo>
                        <a:lnTo>
                          <a:pt x="602" y="1146"/>
                        </a:lnTo>
                        <a:lnTo>
                          <a:pt x="590" y="1138"/>
                        </a:lnTo>
                        <a:lnTo>
                          <a:pt x="576" y="1124"/>
                        </a:lnTo>
                        <a:lnTo>
                          <a:pt x="512" y="1124"/>
                        </a:lnTo>
                        <a:lnTo>
                          <a:pt x="508" y="1106"/>
                        </a:lnTo>
                        <a:lnTo>
                          <a:pt x="492" y="1096"/>
                        </a:lnTo>
                        <a:lnTo>
                          <a:pt x="478" y="1082"/>
                        </a:lnTo>
                        <a:lnTo>
                          <a:pt x="428" y="1082"/>
                        </a:lnTo>
                        <a:lnTo>
                          <a:pt x="400" y="1070"/>
                        </a:lnTo>
                        <a:lnTo>
                          <a:pt x="388" y="1060"/>
                        </a:lnTo>
                        <a:lnTo>
                          <a:pt x="362" y="1050"/>
                        </a:lnTo>
                        <a:lnTo>
                          <a:pt x="352" y="1058"/>
                        </a:lnTo>
                        <a:lnTo>
                          <a:pt x="344" y="1078"/>
                        </a:lnTo>
                        <a:lnTo>
                          <a:pt x="356" y="1098"/>
                        </a:lnTo>
                        <a:lnTo>
                          <a:pt x="350" y="1120"/>
                        </a:lnTo>
                        <a:lnTo>
                          <a:pt x="232" y="1120"/>
                        </a:lnTo>
                        <a:lnTo>
                          <a:pt x="214" y="1132"/>
                        </a:lnTo>
                        <a:lnTo>
                          <a:pt x="200" y="1112"/>
                        </a:lnTo>
                        <a:lnTo>
                          <a:pt x="178" y="1092"/>
                        </a:lnTo>
                        <a:lnTo>
                          <a:pt x="78" y="1094"/>
                        </a:lnTo>
                        <a:lnTo>
                          <a:pt x="66" y="1082"/>
                        </a:lnTo>
                        <a:lnTo>
                          <a:pt x="56" y="1066"/>
                        </a:lnTo>
                        <a:lnTo>
                          <a:pt x="20" y="1062"/>
                        </a:lnTo>
                        <a:lnTo>
                          <a:pt x="18" y="1032"/>
                        </a:lnTo>
                        <a:lnTo>
                          <a:pt x="0" y="1032"/>
                        </a:lnTo>
                        <a:lnTo>
                          <a:pt x="2" y="1006"/>
                        </a:lnTo>
                        <a:lnTo>
                          <a:pt x="22" y="974"/>
                        </a:lnTo>
                        <a:lnTo>
                          <a:pt x="18" y="946"/>
                        </a:lnTo>
                        <a:lnTo>
                          <a:pt x="56" y="948"/>
                        </a:lnTo>
                        <a:lnTo>
                          <a:pt x="58" y="914"/>
                        </a:lnTo>
                        <a:lnTo>
                          <a:pt x="76" y="898"/>
                        </a:lnTo>
                        <a:lnTo>
                          <a:pt x="74" y="880"/>
                        </a:lnTo>
                        <a:lnTo>
                          <a:pt x="102" y="836"/>
                        </a:lnTo>
                        <a:lnTo>
                          <a:pt x="114" y="830"/>
                        </a:lnTo>
                        <a:lnTo>
                          <a:pt x="110" y="814"/>
                        </a:lnTo>
                        <a:lnTo>
                          <a:pt x="140" y="794"/>
                        </a:lnTo>
                        <a:lnTo>
                          <a:pt x="126" y="758"/>
                        </a:lnTo>
                        <a:lnTo>
                          <a:pt x="110" y="744"/>
                        </a:lnTo>
                        <a:lnTo>
                          <a:pt x="108" y="720"/>
                        </a:lnTo>
                        <a:lnTo>
                          <a:pt x="90" y="682"/>
                        </a:lnTo>
                        <a:lnTo>
                          <a:pt x="74" y="680"/>
                        </a:lnTo>
                        <a:lnTo>
                          <a:pt x="40" y="650"/>
                        </a:lnTo>
                        <a:lnTo>
                          <a:pt x="50" y="616"/>
                        </a:lnTo>
                        <a:lnTo>
                          <a:pt x="70" y="610"/>
                        </a:lnTo>
                        <a:lnTo>
                          <a:pt x="72" y="590"/>
                        </a:lnTo>
                        <a:lnTo>
                          <a:pt x="74" y="576"/>
                        </a:lnTo>
                        <a:lnTo>
                          <a:pt x="82" y="560"/>
                        </a:lnTo>
                        <a:lnTo>
                          <a:pt x="70" y="548"/>
                        </a:lnTo>
                        <a:lnTo>
                          <a:pt x="74" y="496"/>
                        </a:lnTo>
                        <a:lnTo>
                          <a:pt x="104" y="514"/>
                        </a:lnTo>
                        <a:lnTo>
                          <a:pt x="120" y="516"/>
                        </a:lnTo>
                        <a:lnTo>
                          <a:pt x="134" y="502"/>
                        </a:lnTo>
                        <a:lnTo>
                          <a:pt x="168" y="536"/>
                        </a:lnTo>
                        <a:lnTo>
                          <a:pt x="162" y="492"/>
                        </a:lnTo>
                        <a:lnTo>
                          <a:pt x="178" y="470"/>
                        </a:lnTo>
                        <a:lnTo>
                          <a:pt x="206" y="490"/>
                        </a:lnTo>
                        <a:lnTo>
                          <a:pt x="228" y="492"/>
                        </a:lnTo>
                        <a:lnTo>
                          <a:pt x="248" y="478"/>
                        </a:lnTo>
                        <a:lnTo>
                          <a:pt x="288" y="488"/>
                        </a:lnTo>
                        <a:lnTo>
                          <a:pt x="284" y="456"/>
                        </a:lnTo>
                        <a:lnTo>
                          <a:pt x="346" y="448"/>
                        </a:lnTo>
                        <a:lnTo>
                          <a:pt x="370" y="482"/>
                        </a:lnTo>
                        <a:lnTo>
                          <a:pt x="424" y="436"/>
                        </a:lnTo>
                        <a:lnTo>
                          <a:pt x="450" y="422"/>
                        </a:lnTo>
                        <a:lnTo>
                          <a:pt x="450" y="394"/>
                        </a:lnTo>
                        <a:lnTo>
                          <a:pt x="466" y="380"/>
                        </a:lnTo>
                        <a:lnTo>
                          <a:pt x="474" y="334"/>
                        </a:lnTo>
                        <a:lnTo>
                          <a:pt x="508" y="334"/>
                        </a:lnTo>
                        <a:lnTo>
                          <a:pt x="526" y="334"/>
                        </a:lnTo>
                        <a:lnTo>
                          <a:pt x="530" y="300"/>
                        </a:lnTo>
                        <a:lnTo>
                          <a:pt x="522" y="270"/>
                        </a:lnTo>
                        <a:lnTo>
                          <a:pt x="514" y="232"/>
                        </a:lnTo>
                        <a:lnTo>
                          <a:pt x="558" y="192"/>
                        </a:lnTo>
                        <a:lnTo>
                          <a:pt x="568" y="174"/>
                        </a:lnTo>
                        <a:lnTo>
                          <a:pt x="610" y="174"/>
                        </a:lnTo>
                        <a:lnTo>
                          <a:pt x="632" y="108"/>
                        </a:lnTo>
                        <a:lnTo>
                          <a:pt x="672" y="78"/>
                        </a:lnTo>
                        <a:lnTo>
                          <a:pt x="674" y="48"/>
                        </a:lnTo>
                        <a:lnTo>
                          <a:pt x="660" y="34"/>
                        </a:lnTo>
                        <a:lnTo>
                          <a:pt x="680" y="0"/>
                        </a:lnTo>
                        <a:lnTo>
                          <a:pt x="762" y="2"/>
                        </a:lnTo>
                        <a:lnTo>
                          <a:pt x="790" y="50"/>
                        </a:lnTo>
                        <a:lnTo>
                          <a:pt x="808" y="36"/>
                        </a:lnTo>
                        <a:lnTo>
                          <a:pt x="822" y="46"/>
                        </a:lnTo>
                        <a:lnTo>
                          <a:pt x="894" y="56"/>
                        </a:lnTo>
                        <a:lnTo>
                          <a:pt x="900" y="86"/>
                        </a:lnTo>
                        <a:lnTo>
                          <a:pt x="920" y="112"/>
                        </a:lnTo>
                        <a:lnTo>
                          <a:pt x="920" y="142"/>
                        </a:lnTo>
                        <a:lnTo>
                          <a:pt x="900" y="164"/>
                        </a:lnTo>
                        <a:lnTo>
                          <a:pt x="906" y="206"/>
                        </a:lnTo>
                        <a:lnTo>
                          <a:pt x="926" y="224"/>
                        </a:lnTo>
                        <a:lnTo>
                          <a:pt x="940" y="204"/>
                        </a:lnTo>
                        <a:lnTo>
                          <a:pt x="1012" y="210"/>
                        </a:lnTo>
                        <a:lnTo>
                          <a:pt x="1070" y="154"/>
                        </a:lnTo>
                        <a:lnTo>
                          <a:pt x="1070" y="128"/>
                        </a:lnTo>
                        <a:lnTo>
                          <a:pt x="1098" y="92"/>
                        </a:lnTo>
                        <a:lnTo>
                          <a:pt x="1130" y="92"/>
                        </a:lnTo>
                        <a:lnTo>
                          <a:pt x="1152" y="112"/>
                        </a:lnTo>
                        <a:lnTo>
                          <a:pt x="1158" y="134"/>
                        </a:lnTo>
                        <a:lnTo>
                          <a:pt x="1190" y="162"/>
                        </a:lnTo>
                        <a:lnTo>
                          <a:pt x="1198" y="19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0" name="Freeform 35"/>
                  <p:cNvSpPr>
                    <a:spLocks/>
                  </p:cNvSpPr>
                  <p:nvPr/>
                </p:nvSpPr>
                <p:spPr bwMode="auto">
                  <a:xfrm>
                    <a:off x="2618" y="2769"/>
                    <a:ext cx="845" cy="951"/>
                  </a:xfrm>
                  <a:custGeom>
                    <a:avLst/>
                    <a:gdLst/>
                    <a:ahLst/>
                    <a:cxnLst>
                      <a:cxn ang="0">
                        <a:pos x="36" y="1190"/>
                      </a:cxn>
                      <a:cxn ang="0">
                        <a:pos x="94" y="1244"/>
                      </a:cxn>
                      <a:cxn ang="0">
                        <a:pos x="186" y="1220"/>
                      </a:cxn>
                      <a:cxn ang="0">
                        <a:pos x="242" y="1232"/>
                      </a:cxn>
                      <a:cxn ang="0">
                        <a:pos x="290" y="1278"/>
                      </a:cxn>
                      <a:cxn ang="0">
                        <a:pos x="350" y="1284"/>
                      </a:cxn>
                      <a:cxn ang="0">
                        <a:pos x="408" y="1200"/>
                      </a:cxn>
                      <a:cxn ang="0">
                        <a:pos x="492" y="1230"/>
                      </a:cxn>
                      <a:cxn ang="0">
                        <a:pos x="524" y="1226"/>
                      </a:cxn>
                      <a:cxn ang="0">
                        <a:pos x="478" y="1148"/>
                      </a:cxn>
                      <a:cxn ang="0">
                        <a:pos x="538" y="866"/>
                      </a:cxn>
                      <a:cxn ang="0">
                        <a:pos x="674" y="810"/>
                      </a:cxn>
                      <a:cxn ang="0">
                        <a:pos x="792" y="720"/>
                      </a:cxn>
                      <a:cxn ang="0">
                        <a:pos x="902" y="732"/>
                      </a:cxn>
                      <a:cxn ang="0">
                        <a:pos x="1008" y="666"/>
                      </a:cxn>
                      <a:cxn ang="0">
                        <a:pos x="1088" y="596"/>
                      </a:cxn>
                      <a:cxn ang="0">
                        <a:pos x="1138" y="494"/>
                      </a:cxn>
                      <a:cxn ang="0">
                        <a:pos x="1108" y="390"/>
                      </a:cxn>
                      <a:cxn ang="0">
                        <a:pos x="1054" y="340"/>
                      </a:cxn>
                      <a:cxn ang="0">
                        <a:pos x="976" y="322"/>
                      </a:cxn>
                      <a:cxn ang="0">
                        <a:pos x="894" y="324"/>
                      </a:cxn>
                      <a:cxn ang="0">
                        <a:pos x="824" y="266"/>
                      </a:cxn>
                      <a:cxn ang="0">
                        <a:pos x="790" y="171"/>
                      </a:cxn>
                      <a:cxn ang="0">
                        <a:pos x="744" y="54"/>
                      </a:cxn>
                      <a:cxn ang="0">
                        <a:pos x="678" y="66"/>
                      </a:cxn>
                      <a:cxn ang="0">
                        <a:pos x="624" y="0"/>
                      </a:cxn>
                      <a:cxn ang="0">
                        <a:pos x="574" y="30"/>
                      </a:cxn>
                      <a:cxn ang="0">
                        <a:pos x="510" y="88"/>
                      </a:cxn>
                      <a:cxn ang="0">
                        <a:pos x="484" y="144"/>
                      </a:cxn>
                      <a:cxn ang="0">
                        <a:pos x="520" y="201"/>
                      </a:cxn>
                      <a:cxn ang="0">
                        <a:pos x="552" y="306"/>
                      </a:cxn>
                      <a:cxn ang="0">
                        <a:pos x="600" y="384"/>
                      </a:cxn>
                      <a:cxn ang="0">
                        <a:pos x="632" y="460"/>
                      </a:cxn>
                      <a:cxn ang="0">
                        <a:pos x="562" y="540"/>
                      </a:cxn>
                      <a:cxn ang="0">
                        <a:pos x="492" y="614"/>
                      </a:cxn>
                      <a:cxn ang="0">
                        <a:pos x="392" y="642"/>
                      </a:cxn>
                      <a:cxn ang="0">
                        <a:pos x="342" y="684"/>
                      </a:cxn>
                      <a:cxn ang="0">
                        <a:pos x="304" y="748"/>
                      </a:cxn>
                      <a:cxn ang="0">
                        <a:pos x="206" y="726"/>
                      </a:cxn>
                      <a:cxn ang="0">
                        <a:pos x="136" y="740"/>
                      </a:cxn>
                      <a:cxn ang="0">
                        <a:pos x="88" y="712"/>
                      </a:cxn>
                      <a:cxn ang="0">
                        <a:pos x="30" y="746"/>
                      </a:cxn>
                      <a:cxn ang="0">
                        <a:pos x="6" y="816"/>
                      </a:cxn>
                      <a:cxn ang="0">
                        <a:pos x="96" y="878"/>
                      </a:cxn>
                      <a:cxn ang="0">
                        <a:pos x="114" y="938"/>
                      </a:cxn>
                      <a:cxn ang="0">
                        <a:pos x="110" y="964"/>
                      </a:cxn>
                      <a:cxn ang="0">
                        <a:pos x="80" y="1014"/>
                      </a:cxn>
                      <a:cxn ang="0">
                        <a:pos x="134" y="1040"/>
                      </a:cxn>
                      <a:cxn ang="0">
                        <a:pos x="74" y="1122"/>
                      </a:cxn>
                    </a:cxnLst>
                    <a:rect l="0" t="0" r="r" b="b"/>
                    <a:pathLst>
                      <a:path w="1142" h="1284">
                        <a:moveTo>
                          <a:pt x="18" y="1140"/>
                        </a:moveTo>
                        <a:lnTo>
                          <a:pt x="18" y="1184"/>
                        </a:lnTo>
                        <a:lnTo>
                          <a:pt x="36" y="1190"/>
                        </a:lnTo>
                        <a:lnTo>
                          <a:pt x="62" y="1190"/>
                        </a:lnTo>
                        <a:lnTo>
                          <a:pt x="94" y="1226"/>
                        </a:lnTo>
                        <a:lnTo>
                          <a:pt x="94" y="1244"/>
                        </a:lnTo>
                        <a:lnTo>
                          <a:pt x="142" y="1244"/>
                        </a:lnTo>
                        <a:lnTo>
                          <a:pt x="158" y="1226"/>
                        </a:lnTo>
                        <a:lnTo>
                          <a:pt x="186" y="1220"/>
                        </a:lnTo>
                        <a:lnTo>
                          <a:pt x="212" y="1198"/>
                        </a:lnTo>
                        <a:lnTo>
                          <a:pt x="222" y="1220"/>
                        </a:lnTo>
                        <a:lnTo>
                          <a:pt x="242" y="1232"/>
                        </a:lnTo>
                        <a:lnTo>
                          <a:pt x="254" y="1246"/>
                        </a:lnTo>
                        <a:lnTo>
                          <a:pt x="268" y="1250"/>
                        </a:lnTo>
                        <a:lnTo>
                          <a:pt x="290" y="1278"/>
                        </a:lnTo>
                        <a:lnTo>
                          <a:pt x="310" y="1254"/>
                        </a:lnTo>
                        <a:lnTo>
                          <a:pt x="334" y="1250"/>
                        </a:lnTo>
                        <a:lnTo>
                          <a:pt x="350" y="1284"/>
                        </a:lnTo>
                        <a:lnTo>
                          <a:pt x="358" y="1232"/>
                        </a:lnTo>
                        <a:lnTo>
                          <a:pt x="380" y="1224"/>
                        </a:lnTo>
                        <a:lnTo>
                          <a:pt x="408" y="1200"/>
                        </a:lnTo>
                        <a:lnTo>
                          <a:pt x="450" y="1202"/>
                        </a:lnTo>
                        <a:lnTo>
                          <a:pt x="470" y="1212"/>
                        </a:lnTo>
                        <a:lnTo>
                          <a:pt x="492" y="1230"/>
                        </a:lnTo>
                        <a:lnTo>
                          <a:pt x="500" y="1254"/>
                        </a:lnTo>
                        <a:lnTo>
                          <a:pt x="512" y="1232"/>
                        </a:lnTo>
                        <a:lnTo>
                          <a:pt x="524" y="1226"/>
                        </a:lnTo>
                        <a:lnTo>
                          <a:pt x="512" y="1210"/>
                        </a:lnTo>
                        <a:lnTo>
                          <a:pt x="496" y="1170"/>
                        </a:lnTo>
                        <a:lnTo>
                          <a:pt x="478" y="1148"/>
                        </a:lnTo>
                        <a:lnTo>
                          <a:pt x="478" y="1014"/>
                        </a:lnTo>
                        <a:lnTo>
                          <a:pt x="490" y="962"/>
                        </a:lnTo>
                        <a:lnTo>
                          <a:pt x="538" y="866"/>
                        </a:lnTo>
                        <a:lnTo>
                          <a:pt x="606" y="820"/>
                        </a:lnTo>
                        <a:lnTo>
                          <a:pt x="646" y="804"/>
                        </a:lnTo>
                        <a:lnTo>
                          <a:pt x="674" y="810"/>
                        </a:lnTo>
                        <a:lnTo>
                          <a:pt x="706" y="772"/>
                        </a:lnTo>
                        <a:lnTo>
                          <a:pt x="734" y="772"/>
                        </a:lnTo>
                        <a:lnTo>
                          <a:pt x="792" y="720"/>
                        </a:lnTo>
                        <a:lnTo>
                          <a:pt x="838" y="706"/>
                        </a:lnTo>
                        <a:lnTo>
                          <a:pt x="876" y="702"/>
                        </a:lnTo>
                        <a:lnTo>
                          <a:pt x="902" y="732"/>
                        </a:lnTo>
                        <a:lnTo>
                          <a:pt x="968" y="730"/>
                        </a:lnTo>
                        <a:lnTo>
                          <a:pt x="1022" y="678"/>
                        </a:lnTo>
                        <a:lnTo>
                          <a:pt x="1008" y="666"/>
                        </a:lnTo>
                        <a:lnTo>
                          <a:pt x="1032" y="630"/>
                        </a:lnTo>
                        <a:lnTo>
                          <a:pt x="1074" y="626"/>
                        </a:lnTo>
                        <a:lnTo>
                          <a:pt x="1088" y="596"/>
                        </a:lnTo>
                        <a:lnTo>
                          <a:pt x="1090" y="578"/>
                        </a:lnTo>
                        <a:lnTo>
                          <a:pt x="1088" y="548"/>
                        </a:lnTo>
                        <a:lnTo>
                          <a:pt x="1138" y="494"/>
                        </a:lnTo>
                        <a:lnTo>
                          <a:pt x="1142" y="452"/>
                        </a:lnTo>
                        <a:lnTo>
                          <a:pt x="1114" y="426"/>
                        </a:lnTo>
                        <a:lnTo>
                          <a:pt x="1108" y="390"/>
                        </a:lnTo>
                        <a:lnTo>
                          <a:pt x="1096" y="372"/>
                        </a:lnTo>
                        <a:lnTo>
                          <a:pt x="1094" y="332"/>
                        </a:lnTo>
                        <a:lnTo>
                          <a:pt x="1054" y="340"/>
                        </a:lnTo>
                        <a:lnTo>
                          <a:pt x="1030" y="316"/>
                        </a:lnTo>
                        <a:lnTo>
                          <a:pt x="1008" y="320"/>
                        </a:lnTo>
                        <a:lnTo>
                          <a:pt x="976" y="322"/>
                        </a:lnTo>
                        <a:lnTo>
                          <a:pt x="930" y="342"/>
                        </a:lnTo>
                        <a:lnTo>
                          <a:pt x="898" y="338"/>
                        </a:lnTo>
                        <a:lnTo>
                          <a:pt x="894" y="324"/>
                        </a:lnTo>
                        <a:lnTo>
                          <a:pt x="854" y="324"/>
                        </a:lnTo>
                        <a:lnTo>
                          <a:pt x="854" y="300"/>
                        </a:lnTo>
                        <a:lnTo>
                          <a:pt x="824" y="266"/>
                        </a:lnTo>
                        <a:lnTo>
                          <a:pt x="830" y="240"/>
                        </a:lnTo>
                        <a:lnTo>
                          <a:pt x="792" y="202"/>
                        </a:lnTo>
                        <a:lnTo>
                          <a:pt x="790" y="171"/>
                        </a:lnTo>
                        <a:lnTo>
                          <a:pt x="796" y="100"/>
                        </a:lnTo>
                        <a:lnTo>
                          <a:pt x="770" y="72"/>
                        </a:lnTo>
                        <a:lnTo>
                          <a:pt x="744" y="54"/>
                        </a:lnTo>
                        <a:lnTo>
                          <a:pt x="716" y="44"/>
                        </a:lnTo>
                        <a:lnTo>
                          <a:pt x="708" y="66"/>
                        </a:lnTo>
                        <a:lnTo>
                          <a:pt x="678" y="66"/>
                        </a:lnTo>
                        <a:lnTo>
                          <a:pt x="652" y="27"/>
                        </a:lnTo>
                        <a:lnTo>
                          <a:pt x="646" y="6"/>
                        </a:lnTo>
                        <a:lnTo>
                          <a:pt x="624" y="0"/>
                        </a:lnTo>
                        <a:lnTo>
                          <a:pt x="602" y="4"/>
                        </a:lnTo>
                        <a:lnTo>
                          <a:pt x="588" y="8"/>
                        </a:lnTo>
                        <a:lnTo>
                          <a:pt x="574" y="30"/>
                        </a:lnTo>
                        <a:lnTo>
                          <a:pt x="558" y="28"/>
                        </a:lnTo>
                        <a:lnTo>
                          <a:pt x="526" y="42"/>
                        </a:lnTo>
                        <a:lnTo>
                          <a:pt x="510" y="88"/>
                        </a:lnTo>
                        <a:lnTo>
                          <a:pt x="504" y="102"/>
                        </a:lnTo>
                        <a:lnTo>
                          <a:pt x="482" y="124"/>
                        </a:lnTo>
                        <a:lnTo>
                          <a:pt x="484" y="144"/>
                        </a:lnTo>
                        <a:lnTo>
                          <a:pt x="511" y="177"/>
                        </a:lnTo>
                        <a:lnTo>
                          <a:pt x="536" y="186"/>
                        </a:lnTo>
                        <a:lnTo>
                          <a:pt x="520" y="201"/>
                        </a:lnTo>
                        <a:lnTo>
                          <a:pt x="532" y="231"/>
                        </a:lnTo>
                        <a:lnTo>
                          <a:pt x="548" y="254"/>
                        </a:lnTo>
                        <a:lnTo>
                          <a:pt x="552" y="306"/>
                        </a:lnTo>
                        <a:lnTo>
                          <a:pt x="546" y="338"/>
                        </a:lnTo>
                        <a:lnTo>
                          <a:pt x="560" y="364"/>
                        </a:lnTo>
                        <a:lnTo>
                          <a:pt x="600" y="384"/>
                        </a:lnTo>
                        <a:lnTo>
                          <a:pt x="600" y="404"/>
                        </a:lnTo>
                        <a:lnTo>
                          <a:pt x="592" y="428"/>
                        </a:lnTo>
                        <a:lnTo>
                          <a:pt x="632" y="460"/>
                        </a:lnTo>
                        <a:lnTo>
                          <a:pt x="630" y="488"/>
                        </a:lnTo>
                        <a:lnTo>
                          <a:pt x="576" y="528"/>
                        </a:lnTo>
                        <a:lnTo>
                          <a:pt x="562" y="540"/>
                        </a:lnTo>
                        <a:lnTo>
                          <a:pt x="548" y="554"/>
                        </a:lnTo>
                        <a:lnTo>
                          <a:pt x="504" y="568"/>
                        </a:lnTo>
                        <a:lnTo>
                          <a:pt x="492" y="614"/>
                        </a:lnTo>
                        <a:lnTo>
                          <a:pt x="464" y="626"/>
                        </a:lnTo>
                        <a:lnTo>
                          <a:pt x="430" y="624"/>
                        </a:lnTo>
                        <a:lnTo>
                          <a:pt x="392" y="642"/>
                        </a:lnTo>
                        <a:lnTo>
                          <a:pt x="350" y="646"/>
                        </a:lnTo>
                        <a:lnTo>
                          <a:pt x="338" y="672"/>
                        </a:lnTo>
                        <a:lnTo>
                          <a:pt x="342" y="684"/>
                        </a:lnTo>
                        <a:lnTo>
                          <a:pt x="344" y="696"/>
                        </a:lnTo>
                        <a:lnTo>
                          <a:pt x="328" y="718"/>
                        </a:lnTo>
                        <a:lnTo>
                          <a:pt x="304" y="748"/>
                        </a:lnTo>
                        <a:lnTo>
                          <a:pt x="238" y="744"/>
                        </a:lnTo>
                        <a:lnTo>
                          <a:pt x="232" y="722"/>
                        </a:lnTo>
                        <a:lnTo>
                          <a:pt x="206" y="726"/>
                        </a:lnTo>
                        <a:lnTo>
                          <a:pt x="186" y="756"/>
                        </a:lnTo>
                        <a:lnTo>
                          <a:pt x="156" y="736"/>
                        </a:lnTo>
                        <a:lnTo>
                          <a:pt x="136" y="740"/>
                        </a:lnTo>
                        <a:lnTo>
                          <a:pt x="126" y="754"/>
                        </a:lnTo>
                        <a:lnTo>
                          <a:pt x="98" y="738"/>
                        </a:lnTo>
                        <a:lnTo>
                          <a:pt x="88" y="712"/>
                        </a:lnTo>
                        <a:lnTo>
                          <a:pt x="62" y="732"/>
                        </a:lnTo>
                        <a:lnTo>
                          <a:pt x="54" y="762"/>
                        </a:lnTo>
                        <a:lnTo>
                          <a:pt x="30" y="746"/>
                        </a:lnTo>
                        <a:lnTo>
                          <a:pt x="4" y="768"/>
                        </a:lnTo>
                        <a:lnTo>
                          <a:pt x="0" y="806"/>
                        </a:lnTo>
                        <a:lnTo>
                          <a:pt x="6" y="816"/>
                        </a:lnTo>
                        <a:lnTo>
                          <a:pt x="20" y="854"/>
                        </a:lnTo>
                        <a:lnTo>
                          <a:pt x="64" y="862"/>
                        </a:lnTo>
                        <a:lnTo>
                          <a:pt x="96" y="878"/>
                        </a:lnTo>
                        <a:lnTo>
                          <a:pt x="100" y="910"/>
                        </a:lnTo>
                        <a:lnTo>
                          <a:pt x="118" y="926"/>
                        </a:lnTo>
                        <a:lnTo>
                          <a:pt x="114" y="938"/>
                        </a:lnTo>
                        <a:lnTo>
                          <a:pt x="88" y="946"/>
                        </a:lnTo>
                        <a:lnTo>
                          <a:pt x="92" y="960"/>
                        </a:lnTo>
                        <a:lnTo>
                          <a:pt x="110" y="964"/>
                        </a:lnTo>
                        <a:lnTo>
                          <a:pt x="110" y="990"/>
                        </a:lnTo>
                        <a:lnTo>
                          <a:pt x="78" y="994"/>
                        </a:lnTo>
                        <a:lnTo>
                          <a:pt x="80" y="1014"/>
                        </a:lnTo>
                        <a:lnTo>
                          <a:pt x="72" y="1038"/>
                        </a:lnTo>
                        <a:lnTo>
                          <a:pt x="84" y="1056"/>
                        </a:lnTo>
                        <a:lnTo>
                          <a:pt x="134" y="1040"/>
                        </a:lnTo>
                        <a:lnTo>
                          <a:pt x="164" y="1090"/>
                        </a:lnTo>
                        <a:lnTo>
                          <a:pt x="106" y="1116"/>
                        </a:lnTo>
                        <a:lnTo>
                          <a:pt x="74" y="1122"/>
                        </a:lnTo>
                        <a:lnTo>
                          <a:pt x="70" y="1144"/>
                        </a:lnTo>
                        <a:lnTo>
                          <a:pt x="18" y="114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1" name="Freeform 36"/>
                  <p:cNvSpPr>
                    <a:spLocks/>
                  </p:cNvSpPr>
                  <p:nvPr/>
                </p:nvSpPr>
                <p:spPr bwMode="auto">
                  <a:xfrm>
                    <a:off x="3284" y="2719"/>
                    <a:ext cx="909" cy="782"/>
                  </a:xfrm>
                  <a:custGeom>
                    <a:avLst/>
                    <a:gdLst/>
                    <a:ahLst/>
                    <a:cxnLst>
                      <a:cxn ang="0">
                        <a:pos x="54" y="830"/>
                      </a:cxn>
                      <a:cxn ang="0">
                        <a:pos x="108" y="812"/>
                      </a:cxn>
                      <a:cxn ang="0">
                        <a:pos x="132" y="870"/>
                      </a:cxn>
                      <a:cxn ang="0">
                        <a:pos x="196" y="872"/>
                      </a:cxn>
                      <a:cxn ang="0">
                        <a:pos x="218" y="828"/>
                      </a:cxn>
                      <a:cxn ang="0">
                        <a:pos x="252" y="858"/>
                      </a:cxn>
                      <a:cxn ang="0">
                        <a:pos x="370" y="854"/>
                      </a:cxn>
                      <a:cxn ang="0">
                        <a:pos x="458" y="936"/>
                      </a:cxn>
                      <a:cxn ang="0">
                        <a:pos x="536" y="980"/>
                      </a:cxn>
                      <a:cxn ang="0">
                        <a:pos x="588" y="1018"/>
                      </a:cxn>
                      <a:cxn ang="0">
                        <a:pos x="644" y="982"/>
                      </a:cxn>
                      <a:cxn ang="0">
                        <a:pos x="674" y="1022"/>
                      </a:cxn>
                      <a:cxn ang="0">
                        <a:pos x="716" y="1056"/>
                      </a:cxn>
                      <a:cxn ang="0">
                        <a:pos x="690" y="1010"/>
                      </a:cxn>
                      <a:cxn ang="0">
                        <a:pos x="788" y="978"/>
                      </a:cxn>
                      <a:cxn ang="0">
                        <a:pos x="854" y="966"/>
                      </a:cxn>
                      <a:cxn ang="0">
                        <a:pos x="910" y="850"/>
                      </a:cxn>
                      <a:cxn ang="0">
                        <a:pos x="992" y="780"/>
                      </a:cxn>
                      <a:cxn ang="0">
                        <a:pos x="1040" y="738"/>
                      </a:cxn>
                      <a:cxn ang="0">
                        <a:pos x="1106" y="714"/>
                      </a:cxn>
                      <a:cxn ang="0">
                        <a:pos x="1180" y="682"/>
                      </a:cxn>
                      <a:cxn ang="0">
                        <a:pos x="1162" y="584"/>
                      </a:cxn>
                      <a:cxn ang="0">
                        <a:pos x="1228" y="514"/>
                      </a:cxn>
                      <a:cxn ang="0">
                        <a:pos x="1150" y="480"/>
                      </a:cxn>
                      <a:cxn ang="0">
                        <a:pos x="1040" y="472"/>
                      </a:cxn>
                      <a:cxn ang="0">
                        <a:pos x="980" y="436"/>
                      </a:cxn>
                      <a:cxn ang="0">
                        <a:pos x="946" y="342"/>
                      </a:cxn>
                      <a:cxn ang="0">
                        <a:pos x="934" y="320"/>
                      </a:cxn>
                      <a:cxn ang="0">
                        <a:pos x="940" y="276"/>
                      </a:cxn>
                      <a:cxn ang="0">
                        <a:pos x="986" y="212"/>
                      </a:cxn>
                      <a:cxn ang="0">
                        <a:pos x="972" y="124"/>
                      </a:cxn>
                      <a:cxn ang="0">
                        <a:pos x="902" y="120"/>
                      </a:cxn>
                      <a:cxn ang="0">
                        <a:pos x="890" y="56"/>
                      </a:cxn>
                      <a:cxn ang="0">
                        <a:pos x="856" y="4"/>
                      </a:cxn>
                      <a:cxn ang="0">
                        <a:pos x="770" y="16"/>
                      </a:cxn>
                      <a:cxn ang="0">
                        <a:pos x="710" y="30"/>
                      </a:cxn>
                      <a:cxn ang="0">
                        <a:pos x="756" y="86"/>
                      </a:cxn>
                      <a:cxn ang="0">
                        <a:pos x="700" y="136"/>
                      </a:cxn>
                      <a:cxn ang="0">
                        <a:pos x="618" y="156"/>
                      </a:cxn>
                      <a:cxn ang="0">
                        <a:pos x="560" y="188"/>
                      </a:cxn>
                      <a:cxn ang="0">
                        <a:pos x="536" y="234"/>
                      </a:cxn>
                      <a:cxn ang="0">
                        <a:pos x="504" y="284"/>
                      </a:cxn>
                      <a:cxn ang="0">
                        <a:pos x="510" y="324"/>
                      </a:cxn>
                      <a:cxn ang="0">
                        <a:pos x="446" y="320"/>
                      </a:cxn>
                      <a:cxn ang="0">
                        <a:pos x="454" y="378"/>
                      </a:cxn>
                      <a:cxn ang="0">
                        <a:pos x="512" y="384"/>
                      </a:cxn>
                      <a:cxn ang="0">
                        <a:pos x="534" y="440"/>
                      </a:cxn>
                      <a:cxn ang="0">
                        <a:pos x="496" y="462"/>
                      </a:cxn>
                      <a:cxn ang="0">
                        <a:pos x="438" y="484"/>
                      </a:cxn>
                      <a:cxn ang="0">
                        <a:pos x="372" y="438"/>
                      </a:cxn>
                      <a:cxn ang="0">
                        <a:pos x="294" y="396"/>
                      </a:cxn>
                      <a:cxn ang="0">
                        <a:pos x="234" y="424"/>
                      </a:cxn>
                      <a:cxn ang="0">
                        <a:pos x="182" y="432"/>
                      </a:cxn>
                      <a:cxn ang="0">
                        <a:pos x="202" y="492"/>
                      </a:cxn>
                      <a:cxn ang="0">
                        <a:pos x="172" y="614"/>
                      </a:cxn>
                      <a:cxn ang="0">
                        <a:pos x="156" y="690"/>
                      </a:cxn>
                      <a:cxn ang="0">
                        <a:pos x="92" y="730"/>
                      </a:cxn>
                      <a:cxn ang="0">
                        <a:pos x="56" y="788"/>
                      </a:cxn>
                    </a:cxnLst>
                    <a:rect l="0" t="0" r="r" b="b"/>
                    <a:pathLst>
                      <a:path w="1228" h="1056">
                        <a:moveTo>
                          <a:pt x="0" y="794"/>
                        </a:moveTo>
                        <a:lnTo>
                          <a:pt x="32" y="814"/>
                        </a:lnTo>
                        <a:lnTo>
                          <a:pt x="54" y="830"/>
                        </a:lnTo>
                        <a:lnTo>
                          <a:pt x="74" y="826"/>
                        </a:lnTo>
                        <a:lnTo>
                          <a:pt x="80" y="806"/>
                        </a:lnTo>
                        <a:lnTo>
                          <a:pt x="108" y="812"/>
                        </a:lnTo>
                        <a:lnTo>
                          <a:pt x="102" y="838"/>
                        </a:lnTo>
                        <a:lnTo>
                          <a:pt x="102" y="856"/>
                        </a:lnTo>
                        <a:lnTo>
                          <a:pt x="132" y="870"/>
                        </a:lnTo>
                        <a:lnTo>
                          <a:pt x="144" y="842"/>
                        </a:lnTo>
                        <a:lnTo>
                          <a:pt x="154" y="876"/>
                        </a:lnTo>
                        <a:lnTo>
                          <a:pt x="196" y="872"/>
                        </a:lnTo>
                        <a:lnTo>
                          <a:pt x="210" y="858"/>
                        </a:lnTo>
                        <a:lnTo>
                          <a:pt x="208" y="834"/>
                        </a:lnTo>
                        <a:lnTo>
                          <a:pt x="218" y="828"/>
                        </a:lnTo>
                        <a:lnTo>
                          <a:pt x="236" y="826"/>
                        </a:lnTo>
                        <a:lnTo>
                          <a:pt x="242" y="816"/>
                        </a:lnTo>
                        <a:lnTo>
                          <a:pt x="252" y="858"/>
                        </a:lnTo>
                        <a:lnTo>
                          <a:pt x="268" y="872"/>
                        </a:lnTo>
                        <a:lnTo>
                          <a:pt x="352" y="872"/>
                        </a:lnTo>
                        <a:lnTo>
                          <a:pt x="370" y="854"/>
                        </a:lnTo>
                        <a:lnTo>
                          <a:pt x="382" y="862"/>
                        </a:lnTo>
                        <a:lnTo>
                          <a:pt x="390" y="936"/>
                        </a:lnTo>
                        <a:lnTo>
                          <a:pt x="458" y="936"/>
                        </a:lnTo>
                        <a:lnTo>
                          <a:pt x="462" y="948"/>
                        </a:lnTo>
                        <a:lnTo>
                          <a:pt x="506" y="948"/>
                        </a:lnTo>
                        <a:lnTo>
                          <a:pt x="536" y="980"/>
                        </a:lnTo>
                        <a:lnTo>
                          <a:pt x="566" y="990"/>
                        </a:lnTo>
                        <a:lnTo>
                          <a:pt x="564" y="1016"/>
                        </a:lnTo>
                        <a:lnTo>
                          <a:pt x="588" y="1018"/>
                        </a:lnTo>
                        <a:lnTo>
                          <a:pt x="606" y="998"/>
                        </a:lnTo>
                        <a:lnTo>
                          <a:pt x="610" y="982"/>
                        </a:lnTo>
                        <a:lnTo>
                          <a:pt x="644" y="982"/>
                        </a:lnTo>
                        <a:lnTo>
                          <a:pt x="652" y="994"/>
                        </a:lnTo>
                        <a:lnTo>
                          <a:pt x="666" y="994"/>
                        </a:lnTo>
                        <a:lnTo>
                          <a:pt x="674" y="1022"/>
                        </a:lnTo>
                        <a:lnTo>
                          <a:pt x="688" y="1030"/>
                        </a:lnTo>
                        <a:lnTo>
                          <a:pt x="682" y="1048"/>
                        </a:lnTo>
                        <a:lnTo>
                          <a:pt x="716" y="1056"/>
                        </a:lnTo>
                        <a:lnTo>
                          <a:pt x="712" y="1032"/>
                        </a:lnTo>
                        <a:lnTo>
                          <a:pt x="700" y="1024"/>
                        </a:lnTo>
                        <a:lnTo>
                          <a:pt x="690" y="1010"/>
                        </a:lnTo>
                        <a:lnTo>
                          <a:pt x="694" y="996"/>
                        </a:lnTo>
                        <a:lnTo>
                          <a:pt x="760" y="996"/>
                        </a:lnTo>
                        <a:lnTo>
                          <a:pt x="788" y="978"/>
                        </a:lnTo>
                        <a:lnTo>
                          <a:pt x="792" y="964"/>
                        </a:lnTo>
                        <a:lnTo>
                          <a:pt x="826" y="968"/>
                        </a:lnTo>
                        <a:lnTo>
                          <a:pt x="854" y="966"/>
                        </a:lnTo>
                        <a:lnTo>
                          <a:pt x="876" y="944"/>
                        </a:lnTo>
                        <a:lnTo>
                          <a:pt x="876" y="882"/>
                        </a:lnTo>
                        <a:lnTo>
                          <a:pt x="910" y="850"/>
                        </a:lnTo>
                        <a:lnTo>
                          <a:pt x="930" y="828"/>
                        </a:lnTo>
                        <a:lnTo>
                          <a:pt x="942" y="830"/>
                        </a:lnTo>
                        <a:lnTo>
                          <a:pt x="992" y="780"/>
                        </a:lnTo>
                        <a:lnTo>
                          <a:pt x="1020" y="784"/>
                        </a:lnTo>
                        <a:lnTo>
                          <a:pt x="1040" y="776"/>
                        </a:lnTo>
                        <a:lnTo>
                          <a:pt x="1040" y="738"/>
                        </a:lnTo>
                        <a:lnTo>
                          <a:pt x="1072" y="720"/>
                        </a:lnTo>
                        <a:lnTo>
                          <a:pt x="1094" y="714"/>
                        </a:lnTo>
                        <a:lnTo>
                          <a:pt x="1106" y="714"/>
                        </a:lnTo>
                        <a:lnTo>
                          <a:pt x="1122" y="714"/>
                        </a:lnTo>
                        <a:lnTo>
                          <a:pt x="1124" y="682"/>
                        </a:lnTo>
                        <a:lnTo>
                          <a:pt x="1180" y="682"/>
                        </a:lnTo>
                        <a:lnTo>
                          <a:pt x="1178" y="650"/>
                        </a:lnTo>
                        <a:lnTo>
                          <a:pt x="1162" y="638"/>
                        </a:lnTo>
                        <a:lnTo>
                          <a:pt x="1162" y="584"/>
                        </a:lnTo>
                        <a:lnTo>
                          <a:pt x="1218" y="540"/>
                        </a:lnTo>
                        <a:lnTo>
                          <a:pt x="1218" y="526"/>
                        </a:lnTo>
                        <a:lnTo>
                          <a:pt x="1228" y="514"/>
                        </a:lnTo>
                        <a:lnTo>
                          <a:pt x="1210" y="460"/>
                        </a:lnTo>
                        <a:lnTo>
                          <a:pt x="1188" y="466"/>
                        </a:lnTo>
                        <a:lnTo>
                          <a:pt x="1150" y="480"/>
                        </a:lnTo>
                        <a:lnTo>
                          <a:pt x="1120" y="490"/>
                        </a:lnTo>
                        <a:lnTo>
                          <a:pt x="1094" y="480"/>
                        </a:lnTo>
                        <a:lnTo>
                          <a:pt x="1040" y="472"/>
                        </a:lnTo>
                        <a:lnTo>
                          <a:pt x="1026" y="452"/>
                        </a:lnTo>
                        <a:lnTo>
                          <a:pt x="1002" y="450"/>
                        </a:lnTo>
                        <a:lnTo>
                          <a:pt x="980" y="436"/>
                        </a:lnTo>
                        <a:lnTo>
                          <a:pt x="956" y="410"/>
                        </a:lnTo>
                        <a:lnTo>
                          <a:pt x="944" y="382"/>
                        </a:lnTo>
                        <a:lnTo>
                          <a:pt x="946" y="342"/>
                        </a:lnTo>
                        <a:lnTo>
                          <a:pt x="982" y="344"/>
                        </a:lnTo>
                        <a:lnTo>
                          <a:pt x="958" y="326"/>
                        </a:lnTo>
                        <a:lnTo>
                          <a:pt x="934" y="320"/>
                        </a:lnTo>
                        <a:lnTo>
                          <a:pt x="920" y="306"/>
                        </a:lnTo>
                        <a:lnTo>
                          <a:pt x="924" y="290"/>
                        </a:lnTo>
                        <a:lnTo>
                          <a:pt x="940" y="276"/>
                        </a:lnTo>
                        <a:lnTo>
                          <a:pt x="968" y="246"/>
                        </a:lnTo>
                        <a:lnTo>
                          <a:pt x="968" y="216"/>
                        </a:lnTo>
                        <a:lnTo>
                          <a:pt x="986" y="212"/>
                        </a:lnTo>
                        <a:lnTo>
                          <a:pt x="1002" y="206"/>
                        </a:lnTo>
                        <a:lnTo>
                          <a:pt x="976" y="186"/>
                        </a:lnTo>
                        <a:lnTo>
                          <a:pt x="972" y="124"/>
                        </a:lnTo>
                        <a:lnTo>
                          <a:pt x="944" y="120"/>
                        </a:lnTo>
                        <a:lnTo>
                          <a:pt x="924" y="132"/>
                        </a:lnTo>
                        <a:lnTo>
                          <a:pt x="902" y="120"/>
                        </a:lnTo>
                        <a:lnTo>
                          <a:pt x="880" y="104"/>
                        </a:lnTo>
                        <a:lnTo>
                          <a:pt x="884" y="68"/>
                        </a:lnTo>
                        <a:lnTo>
                          <a:pt x="890" y="56"/>
                        </a:lnTo>
                        <a:lnTo>
                          <a:pt x="872" y="50"/>
                        </a:lnTo>
                        <a:lnTo>
                          <a:pt x="860" y="32"/>
                        </a:lnTo>
                        <a:lnTo>
                          <a:pt x="856" y="4"/>
                        </a:lnTo>
                        <a:lnTo>
                          <a:pt x="808" y="4"/>
                        </a:lnTo>
                        <a:lnTo>
                          <a:pt x="800" y="26"/>
                        </a:lnTo>
                        <a:lnTo>
                          <a:pt x="770" y="16"/>
                        </a:lnTo>
                        <a:lnTo>
                          <a:pt x="740" y="0"/>
                        </a:lnTo>
                        <a:lnTo>
                          <a:pt x="712" y="14"/>
                        </a:lnTo>
                        <a:lnTo>
                          <a:pt x="710" y="30"/>
                        </a:lnTo>
                        <a:lnTo>
                          <a:pt x="712" y="42"/>
                        </a:lnTo>
                        <a:lnTo>
                          <a:pt x="730" y="62"/>
                        </a:lnTo>
                        <a:lnTo>
                          <a:pt x="756" y="86"/>
                        </a:lnTo>
                        <a:lnTo>
                          <a:pt x="752" y="112"/>
                        </a:lnTo>
                        <a:lnTo>
                          <a:pt x="728" y="110"/>
                        </a:lnTo>
                        <a:lnTo>
                          <a:pt x="700" y="136"/>
                        </a:lnTo>
                        <a:lnTo>
                          <a:pt x="660" y="132"/>
                        </a:lnTo>
                        <a:lnTo>
                          <a:pt x="648" y="150"/>
                        </a:lnTo>
                        <a:lnTo>
                          <a:pt x="618" y="156"/>
                        </a:lnTo>
                        <a:lnTo>
                          <a:pt x="608" y="172"/>
                        </a:lnTo>
                        <a:lnTo>
                          <a:pt x="570" y="172"/>
                        </a:lnTo>
                        <a:lnTo>
                          <a:pt x="560" y="188"/>
                        </a:lnTo>
                        <a:lnTo>
                          <a:pt x="566" y="204"/>
                        </a:lnTo>
                        <a:lnTo>
                          <a:pt x="554" y="216"/>
                        </a:lnTo>
                        <a:lnTo>
                          <a:pt x="536" y="234"/>
                        </a:lnTo>
                        <a:lnTo>
                          <a:pt x="514" y="232"/>
                        </a:lnTo>
                        <a:lnTo>
                          <a:pt x="514" y="260"/>
                        </a:lnTo>
                        <a:lnTo>
                          <a:pt x="504" y="284"/>
                        </a:lnTo>
                        <a:lnTo>
                          <a:pt x="514" y="298"/>
                        </a:lnTo>
                        <a:lnTo>
                          <a:pt x="522" y="314"/>
                        </a:lnTo>
                        <a:lnTo>
                          <a:pt x="510" y="324"/>
                        </a:lnTo>
                        <a:lnTo>
                          <a:pt x="468" y="322"/>
                        </a:lnTo>
                        <a:lnTo>
                          <a:pt x="460" y="308"/>
                        </a:lnTo>
                        <a:lnTo>
                          <a:pt x="446" y="320"/>
                        </a:lnTo>
                        <a:lnTo>
                          <a:pt x="456" y="338"/>
                        </a:lnTo>
                        <a:lnTo>
                          <a:pt x="438" y="348"/>
                        </a:lnTo>
                        <a:lnTo>
                          <a:pt x="454" y="378"/>
                        </a:lnTo>
                        <a:lnTo>
                          <a:pt x="462" y="388"/>
                        </a:lnTo>
                        <a:lnTo>
                          <a:pt x="492" y="398"/>
                        </a:lnTo>
                        <a:lnTo>
                          <a:pt x="512" y="384"/>
                        </a:lnTo>
                        <a:cubicBezTo>
                          <a:pt x="528" y="403"/>
                          <a:pt x="522" y="393"/>
                          <a:pt x="522" y="410"/>
                        </a:cubicBezTo>
                        <a:lnTo>
                          <a:pt x="524" y="434"/>
                        </a:lnTo>
                        <a:lnTo>
                          <a:pt x="534" y="440"/>
                        </a:lnTo>
                        <a:lnTo>
                          <a:pt x="518" y="450"/>
                        </a:lnTo>
                        <a:lnTo>
                          <a:pt x="508" y="478"/>
                        </a:lnTo>
                        <a:lnTo>
                          <a:pt x="496" y="462"/>
                        </a:lnTo>
                        <a:lnTo>
                          <a:pt x="480" y="472"/>
                        </a:lnTo>
                        <a:lnTo>
                          <a:pt x="462" y="486"/>
                        </a:lnTo>
                        <a:lnTo>
                          <a:pt x="438" y="484"/>
                        </a:lnTo>
                        <a:lnTo>
                          <a:pt x="428" y="470"/>
                        </a:lnTo>
                        <a:lnTo>
                          <a:pt x="410" y="440"/>
                        </a:lnTo>
                        <a:lnTo>
                          <a:pt x="372" y="438"/>
                        </a:lnTo>
                        <a:lnTo>
                          <a:pt x="352" y="438"/>
                        </a:lnTo>
                        <a:lnTo>
                          <a:pt x="334" y="402"/>
                        </a:lnTo>
                        <a:lnTo>
                          <a:pt x="294" y="396"/>
                        </a:lnTo>
                        <a:lnTo>
                          <a:pt x="284" y="406"/>
                        </a:lnTo>
                        <a:lnTo>
                          <a:pt x="272" y="424"/>
                        </a:lnTo>
                        <a:lnTo>
                          <a:pt x="234" y="424"/>
                        </a:lnTo>
                        <a:lnTo>
                          <a:pt x="224" y="398"/>
                        </a:lnTo>
                        <a:lnTo>
                          <a:pt x="182" y="400"/>
                        </a:lnTo>
                        <a:lnTo>
                          <a:pt x="182" y="432"/>
                        </a:lnTo>
                        <a:lnTo>
                          <a:pt x="192" y="450"/>
                        </a:lnTo>
                        <a:lnTo>
                          <a:pt x="200" y="476"/>
                        </a:lnTo>
                        <a:lnTo>
                          <a:pt x="202" y="492"/>
                        </a:lnTo>
                        <a:lnTo>
                          <a:pt x="228" y="516"/>
                        </a:lnTo>
                        <a:lnTo>
                          <a:pt x="224" y="562"/>
                        </a:lnTo>
                        <a:lnTo>
                          <a:pt x="172" y="614"/>
                        </a:lnTo>
                        <a:lnTo>
                          <a:pt x="174" y="638"/>
                        </a:lnTo>
                        <a:lnTo>
                          <a:pt x="172" y="664"/>
                        </a:lnTo>
                        <a:lnTo>
                          <a:pt x="156" y="690"/>
                        </a:lnTo>
                        <a:lnTo>
                          <a:pt x="140" y="690"/>
                        </a:lnTo>
                        <a:lnTo>
                          <a:pt x="124" y="690"/>
                        </a:lnTo>
                        <a:lnTo>
                          <a:pt x="92" y="730"/>
                        </a:lnTo>
                        <a:lnTo>
                          <a:pt x="104" y="740"/>
                        </a:lnTo>
                        <a:lnTo>
                          <a:pt x="72" y="776"/>
                        </a:lnTo>
                        <a:lnTo>
                          <a:pt x="56" y="788"/>
                        </a:lnTo>
                        <a:lnTo>
                          <a:pt x="0" y="794"/>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2" name="Freeform 37"/>
                  <p:cNvSpPr>
                    <a:spLocks/>
                  </p:cNvSpPr>
                  <p:nvPr/>
                </p:nvSpPr>
                <p:spPr bwMode="auto">
                  <a:xfrm>
                    <a:off x="3167" y="2179"/>
                    <a:ext cx="885" cy="901"/>
                  </a:xfrm>
                  <a:custGeom>
                    <a:avLst/>
                    <a:gdLst/>
                    <a:ahLst/>
                    <a:cxnLst>
                      <a:cxn ang="0">
                        <a:pos x="620" y="98"/>
                      </a:cxn>
                      <a:cxn ang="0">
                        <a:pos x="704" y="124"/>
                      </a:cxn>
                      <a:cxn ang="0">
                        <a:pos x="812" y="96"/>
                      </a:cxn>
                      <a:cxn ang="0">
                        <a:pos x="860" y="136"/>
                      </a:cxn>
                      <a:cxn ang="0">
                        <a:pos x="842" y="194"/>
                      </a:cxn>
                      <a:cxn ang="0">
                        <a:pos x="870" y="226"/>
                      </a:cxn>
                      <a:cxn ang="0">
                        <a:pos x="886" y="178"/>
                      </a:cxn>
                      <a:cxn ang="0">
                        <a:pos x="988" y="62"/>
                      </a:cxn>
                      <a:cxn ang="0">
                        <a:pos x="1062" y="116"/>
                      </a:cxn>
                      <a:cxn ang="0">
                        <a:pos x="1080" y="190"/>
                      </a:cxn>
                      <a:cxn ang="0">
                        <a:pos x="1104" y="242"/>
                      </a:cxn>
                      <a:cxn ang="0">
                        <a:pos x="1144" y="292"/>
                      </a:cxn>
                      <a:cxn ang="0">
                        <a:pos x="1076" y="376"/>
                      </a:cxn>
                      <a:cxn ang="0">
                        <a:pos x="1132" y="460"/>
                      </a:cxn>
                      <a:cxn ang="0">
                        <a:pos x="1196" y="612"/>
                      </a:cxn>
                      <a:cxn ang="0">
                        <a:pos x="1156" y="682"/>
                      </a:cxn>
                      <a:cxn ang="0">
                        <a:pos x="1048" y="712"/>
                      </a:cxn>
                      <a:cxn ang="0">
                        <a:pos x="940" y="750"/>
                      </a:cxn>
                      <a:cxn ang="0">
                        <a:pos x="930" y="822"/>
                      </a:cxn>
                      <a:cxn ang="0">
                        <a:pos x="824" y="870"/>
                      </a:cxn>
                      <a:cxn ang="0">
                        <a:pos x="744" y="904"/>
                      </a:cxn>
                      <a:cxn ang="0">
                        <a:pos x="684" y="968"/>
                      </a:cxn>
                      <a:cxn ang="0">
                        <a:pos x="684" y="1056"/>
                      </a:cxn>
                      <a:cxn ang="0">
                        <a:pos x="614" y="1084"/>
                      </a:cxn>
                      <a:cxn ang="0">
                        <a:pos x="696" y="1134"/>
                      </a:cxn>
                      <a:cxn ang="0">
                        <a:pos x="688" y="1188"/>
                      </a:cxn>
                      <a:cxn ang="0">
                        <a:pos x="597" y="1215"/>
                      </a:cxn>
                      <a:cxn ang="0">
                        <a:pos x="464" y="1130"/>
                      </a:cxn>
                      <a:cxn ang="0">
                        <a:pos x="336" y="1136"/>
                      </a:cxn>
                      <a:cxn ang="0">
                        <a:pos x="234" y="1124"/>
                      </a:cxn>
                      <a:cxn ang="0">
                        <a:pos x="112" y="1124"/>
                      </a:cxn>
                      <a:cxn ang="0">
                        <a:pos x="40" y="996"/>
                      </a:cxn>
                      <a:cxn ang="0">
                        <a:pos x="150" y="856"/>
                      </a:cxn>
                      <a:cxn ang="0">
                        <a:pos x="208" y="778"/>
                      </a:cxn>
                      <a:cxn ang="0">
                        <a:pos x="256" y="718"/>
                      </a:cxn>
                      <a:cxn ang="0">
                        <a:pos x="250" y="644"/>
                      </a:cxn>
                      <a:cxn ang="0">
                        <a:pos x="198" y="606"/>
                      </a:cxn>
                      <a:cxn ang="0">
                        <a:pos x="134" y="624"/>
                      </a:cxn>
                      <a:cxn ang="0">
                        <a:pos x="68" y="572"/>
                      </a:cxn>
                      <a:cxn ang="0">
                        <a:pos x="90" y="520"/>
                      </a:cxn>
                      <a:cxn ang="0">
                        <a:pos x="4" y="368"/>
                      </a:cxn>
                      <a:cxn ang="0">
                        <a:pos x="54" y="300"/>
                      </a:cxn>
                      <a:cxn ang="0">
                        <a:pos x="84" y="144"/>
                      </a:cxn>
                      <a:cxn ang="0">
                        <a:pos x="180" y="174"/>
                      </a:cxn>
                      <a:cxn ang="0">
                        <a:pos x="236" y="148"/>
                      </a:cxn>
                      <a:cxn ang="0">
                        <a:pos x="326" y="134"/>
                      </a:cxn>
                      <a:cxn ang="0">
                        <a:pos x="388" y="192"/>
                      </a:cxn>
                      <a:cxn ang="0">
                        <a:pos x="450" y="98"/>
                      </a:cxn>
                      <a:cxn ang="0">
                        <a:pos x="542" y="10"/>
                      </a:cxn>
                      <a:cxn ang="0">
                        <a:pos x="586" y="36"/>
                      </a:cxn>
                    </a:cxnLst>
                    <a:rect l="0" t="0" r="r" b="b"/>
                    <a:pathLst>
                      <a:path w="1196" h="1218">
                        <a:moveTo>
                          <a:pt x="606" y="40"/>
                        </a:moveTo>
                        <a:lnTo>
                          <a:pt x="616" y="50"/>
                        </a:lnTo>
                        <a:lnTo>
                          <a:pt x="616" y="72"/>
                        </a:lnTo>
                        <a:lnTo>
                          <a:pt x="620" y="98"/>
                        </a:lnTo>
                        <a:lnTo>
                          <a:pt x="640" y="104"/>
                        </a:lnTo>
                        <a:lnTo>
                          <a:pt x="656" y="134"/>
                        </a:lnTo>
                        <a:lnTo>
                          <a:pt x="670" y="118"/>
                        </a:lnTo>
                        <a:lnTo>
                          <a:pt x="704" y="124"/>
                        </a:lnTo>
                        <a:lnTo>
                          <a:pt x="714" y="140"/>
                        </a:lnTo>
                        <a:lnTo>
                          <a:pt x="760" y="148"/>
                        </a:lnTo>
                        <a:lnTo>
                          <a:pt x="774" y="128"/>
                        </a:lnTo>
                        <a:lnTo>
                          <a:pt x="812" y="96"/>
                        </a:lnTo>
                        <a:lnTo>
                          <a:pt x="842" y="86"/>
                        </a:lnTo>
                        <a:lnTo>
                          <a:pt x="844" y="114"/>
                        </a:lnTo>
                        <a:lnTo>
                          <a:pt x="864" y="116"/>
                        </a:lnTo>
                        <a:lnTo>
                          <a:pt x="860" y="136"/>
                        </a:lnTo>
                        <a:lnTo>
                          <a:pt x="852" y="148"/>
                        </a:lnTo>
                        <a:lnTo>
                          <a:pt x="852" y="164"/>
                        </a:lnTo>
                        <a:lnTo>
                          <a:pt x="842" y="172"/>
                        </a:lnTo>
                        <a:lnTo>
                          <a:pt x="842" y="194"/>
                        </a:lnTo>
                        <a:lnTo>
                          <a:pt x="826" y="200"/>
                        </a:lnTo>
                        <a:lnTo>
                          <a:pt x="814" y="214"/>
                        </a:lnTo>
                        <a:lnTo>
                          <a:pt x="832" y="226"/>
                        </a:lnTo>
                        <a:lnTo>
                          <a:pt x="870" y="226"/>
                        </a:lnTo>
                        <a:lnTo>
                          <a:pt x="870" y="204"/>
                        </a:lnTo>
                        <a:lnTo>
                          <a:pt x="894" y="200"/>
                        </a:lnTo>
                        <a:lnTo>
                          <a:pt x="910" y="176"/>
                        </a:lnTo>
                        <a:lnTo>
                          <a:pt x="886" y="178"/>
                        </a:lnTo>
                        <a:lnTo>
                          <a:pt x="886" y="132"/>
                        </a:lnTo>
                        <a:lnTo>
                          <a:pt x="910" y="106"/>
                        </a:lnTo>
                        <a:lnTo>
                          <a:pt x="960" y="76"/>
                        </a:lnTo>
                        <a:lnTo>
                          <a:pt x="988" y="62"/>
                        </a:lnTo>
                        <a:lnTo>
                          <a:pt x="1088" y="62"/>
                        </a:lnTo>
                        <a:lnTo>
                          <a:pt x="1082" y="92"/>
                        </a:lnTo>
                        <a:lnTo>
                          <a:pt x="1068" y="106"/>
                        </a:lnTo>
                        <a:lnTo>
                          <a:pt x="1062" y="116"/>
                        </a:lnTo>
                        <a:lnTo>
                          <a:pt x="1064" y="134"/>
                        </a:lnTo>
                        <a:lnTo>
                          <a:pt x="1072" y="146"/>
                        </a:lnTo>
                        <a:lnTo>
                          <a:pt x="1084" y="158"/>
                        </a:lnTo>
                        <a:lnTo>
                          <a:pt x="1080" y="190"/>
                        </a:lnTo>
                        <a:lnTo>
                          <a:pt x="1072" y="200"/>
                        </a:lnTo>
                        <a:lnTo>
                          <a:pt x="1076" y="230"/>
                        </a:lnTo>
                        <a:lnTo>
                          <a:pt x="1106" y="228"/>
                        </a:lnTo>
                        <a:lnTo>
                          <a:pt x="1104" y="242"/>
                        </a:lnTo>
                        <a:lnTo>
                          <a:pt x="1092" y="250"/>
                        </a:lnTo>
                        <a:lnTo>
                          <a:pt x="1100" y="268"/>
                        </a:lnTo>
                        <a:lnTo>
                          <a:pt x="1120" y="268"/>
                        </a:lnTo>
                        <a:lnTo>
                          <a:pt x="1144" y="292"/>
                        </a:lnTo>
                        <a:lnTo>
                          <a:pt x="1144" y="356"/>
                        </a:lnTo>
                        <a:lnTo>
                          <a:pt x="1128" y="366"/>
                        </a:lnTo>
                        <a:cubicBezTo>
                          <a:pt x="1096" y="363"/>
                          <a:pt x="1115" y="365"/>
                          <a:pt x="1100" y="380"/>
                        </a:cubicBezTo>
                        <a:lnTo>
                          <a:pt x="1076" y="376"/>
                        </a:lnTo>
                        <a:lnTo>
                          <a:pt x="1074" y="434"/>
                        </a:lnTo>
                        <a:lnTo>
                          <a:pt x="1094" y="454"/>
                        </a:lnTo>
                        <a:lnTo>
                          <a:pt x="1108" y="464"/>
                        </a:lnTo>
                        <a:lnTo>
                          <a:pt x="1132" y="460"/>
                        </a:lnTo>
                        <a:lnTo>
                          <a:pt x="1132" y="508"/>
                        </a:lnTo>
                        <a:lnTo>
                          <a:pt x="1170" y="544"/>
                        </a:lnTo>
                        <a:lnTo>
                          <a:pt x="1196" y="562"/>
                        </a:lnTo>
                        <a:lnTo>
                          <a:pt x="1196" y="612"/>
                        </a:lnTo>
                        <a:lnTo>
                          <a:pt x="1182" y="630"/>
                        </a:lnTo>
                        <a:lnTo>
                          <a:pt x="1182" y="650"/>
                        </a:lnTo>
                        <a:lnTo>
                          <a:pt x="1168" y="664"/>
                        </a:lnTo>
                        <a:lnTo>
                          <a:pt x="1156" y="682"/>
                        </a:lnTo>
                        <a:lnTo>
                          <a:pt x="1128" y="692"/>
                        </a:lnTo>
                        <a:lnTo>
                          <a:pt x="1086" y="722"/>
                        </a:lnTo>
                        <a:lnTo>
                          <a:pt x="1056" y="726"/>
                        </a:lnTo>
                        <a:lnTo>
                          <a:pt x="1048" y="712"/>
                        </a:lnTo>
                        <a:lnTo>
                          <a:pt x="1026" y="740"/>
                        </a:lnTo>
                        <a:lnTo>
                          <a:pt x="980" y="738"/>
                        </a:lnTo>
                        <a:lnTo>
                          <a:pt x="970" y="760"/>
                        </a:lnTo>
                        <a:lnTo>
                          <a:pt x="940" y="750"/>
                        </a:lnTo>
                        <a:lnTo>
                          <a:pt x="918" y="742"/>
                        </a:lnTo>
                        <a:lnTo>
                          <a:pt x="882" y="752"/>
                        </a:lnTo>
                        <a:lnTo>
                          <a:pt x="888" y="770"/>
                        </a:lnTo>
                        <a:lnTo>
                          <a:pt x="930" y="822"/>
                        </a:lnTo>
                        <a:lnTo>
                          <a:pt x="928" y="848"/>
                        </a:lnTo>
                        <a:lnTo>
                          <a:pt x="896" y="848"/>
                        </a:lnTo>
                        <a:lnTo>
                          <a:pt x="872" y="872"/>
                        </a:lnTo>
                        <a:lnTo>
                          <a:pt x="824" y="870"/>
                        </a:lnTo>
                        <a:lnTo>
                          <a:pt x="820" y="886"/>
                        </a:lnTo>
                        <a:lnTo>
                          <a:pt x="804" y="888"/>
                        </a:lnTo>
                        <a:lnTo>
                          <a:pt x="780" y="908"/>
                        </a:lnTo>
                        <a:lnTo>
                          <a:pt x="744" y="904"/>
                        </a:lnTo>
                        <a:lnTo>
                          <a:pt x="734" y="920"/>
                        </a:lnTo>
                        <a:lnTo>
                          <a:pt x="742" y="938"/>
                        </a:lnTo>
                        <a:lnTo>
                          <a:pt x="710" y="968"/>
                        </a:lnTo>
                        <a:lnTo>
                          <a:pt x="684" y="968"/>
                        </a:lnTo>
                        <a:lnTo>
                          <a:pt x="686" y="996"/>
                        </a:lnTo>
                        <a:lnTo>
                          <a:pt x="676" y="1018"/>
                        </a:lnTo>
                        <a:lnTo>
                          <a:pt x="694" y="1048"/>
                        </a:lnTo>
                        <a:lnTo>
                          <a:pt x="684" y="1056"/>
                        </a:lnTo>
                        <a:lnTo>
                          <a:pt x="642" y="1056"/>
                        </a:lnTo>
                        <a:lnTo>
                          <a:pt x="632" y="1046"/>
                        </a:lnTo>
                        <a:lnTo>
                          <a:pt x="628" y="1068"/>
                        </a:lnTo>
                        <a:lnTo>
                          <a:pt x="614" y="1084"/>
                        </a:lnTo>
                        <a:lnTo>
                          <a:pt x="628" y="1118"/>
                        </a:lnTo>
                        <a:lnTo>
                          <a:pt x="660" y="1107"/>
                        </a:lnTo>
                        <a:lnTo>
                          <a:pt x="681" y="1113"/>
                        </a:lnTo>
                        <a:lnTo>
                          <a:pt x="696" y="1134"/>
                        </a:lnTo>
                        <a:lnTo>
                          <a:pt x="696" y="1150"/>
                        </a:lnTo>
                        <a:lnTo>
                          <a:pt x="696" y="1172"/>
                        </a:lnTo>
                        <a:lnTo>
                          <a:pt x="708" y="1178"/>
                        </a:lnTo>
                        <a:lnTo>
                          <a:pt x="688" y="1188"/>
                        </a:lnTo>
                        <a:lnTo>
                          <a:pt x="674" y="1216"/>
                        </a:lnTo>
                        <a:lnTo>
                          <a:pt x="662" y="1204"/>
                        </a:lnTo>
                        <a:lnTo>
                          <a:pt x="634" y="1218"/>
                        </a:lnTo>
                        <a:lnTo>
                          <a:pt x="597" y="1215"/>
                        </a:lnTo>
                        <a:lnTo>
                          <a:pt x="567" y="1182"/>
                        </a:lnTo>
                        <a:lnTo>
                          <a:pt x="520" y="1170"/>
                        </a:lnTo>
                        <a:lnTo>
                          <a:pt x="489" y="1137"/>
                        </a:lnTo>
                        <a:lnTo>
                          <a:pt x="464" y="1130"/>
                        </a:lnTo>
                        <a:lnTo>
                          <a:pt x="442" y="1160"/>
                        </a:lnTo>
                        <a:lnTo>
                          <a:pt x="396" y="1160"/>
                        </a:lnTo>
                        <a:lnTo>
                          <a:pt x="388" y="1136"/>
                        </a:lnTo>
                        <a:lnTo>
                          <a:pt x="336" y="1136"/>
                        </a:lnTo>
                        <a:lnTo>
                          <a:pt x="312" y="1140"/>
                        </a:lnTo>
                        <a:lnTo>
                          <a:pt x="282" y="1112"/>
                        </a:lnTo>
                        <a:lnTo>
                          <a:pt x="266" y="1120"/>
                        </a:lnTo>
                        <a:lnTo>
                          <a:pt x="234" y="1124"/>
                        </a:lnTo>
                        <a:lnTo>
                          <a:pt x="188" y="1144"/>
                        </a:lnTo>
                        <a:lnTo>
                          <a:pt x="154" y="1142"/>
                        </a:lnTo>
                        <a:lnTo>
                          <a:pt x="144" y="1124"/>
                        </a:lnTo>
                        <a:lnTo>
                          <a:pt x="112" y="1124"/>
                        </a:lnTo>
                        <a:lnTo>
                          <a:pt x="108" y="1106"/>
                        </a:lnTo>
                        <a:lnTo>
                          <a:pt x="78" y="1058"/>
                        </a:lnTo>
                        <a:lnTo>
                          <a:pt x="76" y="1036"/>
                        </a:lnTo>
                        <a:lnTo>
                          <a:pt x="40" y="996"/>
                        </a:lnTo>
                        <a:lnTo>
                          <a:pt x="50" y="944"/>
                        </a:lnTo>
                        <a:lnTo>
                          <a:pt x="50" y="898"/>
                        </a:lnTo>
                        <a:lnTo>
                          <a:pt x="102" y="856"/>
                        </a:lnTo>
                        <a:lnTo>
                          <a:pt x="150" y="856"/>
                        </a:lnTo>
                        <a:lnTo>
                          <a:pt x="166" y="830"/>
                        </a:lnTo>
                        <a:lnTo>
                          <a:pt x="188" y="828"/>
                        </a:lnTo>
                        <a:lnTo>
                          <a:pt x="186" y="806"/>
                        </a:lnTo>
                        <a:lnTo>
                          <a:pt x="208" y="778"/>
                        </a:lnTo>
                        <a:lnTo>
                          <a:pt x="202" y="722"/>
                        </a:lnTo>
                        <a:lnTo>
                          <a:pt x="212" y="716"/>
                        </a:lnTo>
                        <a:lnTo>
                          <a:pt x="240" y="716"/>
                        </a:lnTo>
                        <a:lnTo>
                          <a:pt x="256" y="718"/>
                        </a:lnTo>
                        <a:lnTo>
                          <a:pt x="268" y="670"/>
                        </a:lnTo>
                        <a:lnTo>
                          <a:pt x="274" y="658"/>
                        </a:lnTo>
                        <a:lnTo>
                          <a:pt x="270" y="644"/>
                        </a:lnTo>
                        <a:lnTo>
                          <a:pt x="250" y="644"/>
                        </a:lnTo>
                        <a:lnTo>
                          <a:pt x="236" y="656"/>
                        </a:lnTo>
                        <a:lnTo>
                          <a:pt x="220" y="662"/>
                        </a:lnTo>
                        <a:lnTo>
                          <a:pt x="192" y="638"/>
                        </a:lnTo>
                        <a:lnTo>
                          <a:pt x="198" y="606"/>
                        </a:lnTo>
                        <a:lnTo>
                          <a:pt x="182" y="594"/>
                        </a:lnTo>
                        <a:lnTo>
                          <a:pt x="166" y="594"/>
                        </a:lnTo>
                        <a:lnTo>
                          <a:pt x="154" y="604"/>
                        </a:lnTo>
                        <a:lnTo>
                          <a:pt x="134" y="624"/>
                        </a:lnTo>
                        <a:lnTo>
                          <a:pt x="100" y="620"/>
                        </a:lnTo>
                        <a:lnTo>
                          <a:pt x="96" y="588"/>
                        </a:lnTo>
                        <a:lnTo>
                          <a:pt x="82" y="604"/>
                        </a:lnTo>
                        <a:lnTo>
                          <a:pt x="68" y="572"/>
                        </a:lnTo>
                        <a:lnTo>
                          <a:pt x="90" y="556"/>
                        </a:lnTo>
                        <a:lnTo>
                          <a:pt x="102" y="552"/>
                        </a:lnTo>
                        <a:lnTo>
                          <a:pt x="86" y="538"/>
                        </a:lnTo>
                        <a:lnTo>
                          <a:pt x="90" y="520"/>
                        </a:lnTo>
                        <a:lnTo>
                          <a:pt x="58" y="472"/>
                        </a:lnTo>
                        <a:lnTo>
                          <a:pt x="36" y="460"/>
                        </a:lnTo>
                        <a:lnTo>
                          <a:pt x="10" y="406"/>
                        </a:lnTo>
                        <a:lnTo>
                          <a:pt x="4" y="368"/>
                        </a:lnTo>
                        <a:lnTo>
                          <a:pt x="16" y="350"/>
                        </a:lnTo>
                        <a:lnTo>
                          <a:pt x="0" y="310"/>
                        </a:lnTo>
                        <a:lnTo>
                          <a:pt x="34" y="302"/>
                        </a:lnTo>
                        <a:lnTo>
                          <a:pt x="54" y="300"/>
                        </a:lnTo>
                        <a:lnTo>
                          <a:pt x="56" y="278"/>
                        </a:lnTo>
                        <a:lnTo>
                          <a:pt x="38" y="260"/>
                        </a:lnTo>
                        <a:lnTo>
                          <a:pt x="38" y="170"/>
                        </a:lnTo>
                        <a:lnTo>
                          <a:pt x="84" y="144"/>
                        </a:lnTo>
                        <a:lnTo>
                          <a:pt x="112" y="176"/>
                        </a:lnTo>
                        <a:lnTo>
                          <a:pt x="132" y="186"/>
                        </a:lnTo>
                        <a:lnTo>
                          <a:pt x="136" y="202"/>
                        </a:lnTo>
                        <a:lnTo>
                          <a:pt x="180" y="174"/>
                        </a:lnTo>
                        <a:lnTo>
                          <a:pt x="212" y="188"/>
                        </a:lnTo>
                        <a:lnTo>
                          <a:pt x="226" y="178"/>
                        </a:lnTo>
                        <a:lnTo>
                          <a:pt x="226" y="162"/>
                        </a:lnTo>
                        <a:lnTo>
                          <a:pt x="236" y="148"/>
                        </a:lnTo>
                        <a:lnTo>
                          <a:pt x="252" y="158"/>
                        </a:lnTo>
                        <a:lnTo>
                          <a:pt x="280" y="130"/>
                        </a:lnTo>
                        <a:lnTo>
                          <a:pt x="298" y="136"/>
                        </a:lnTo>
                        <a:lnTo>
                          <a:pt x="326" y="134"/>
                        </a:lnTo>
                        <a:lnTo>
                          <a:pt x="346" y="140"/>
                        </a:lnTo>
                        <a:lnTo>
                          <a:pt x="366" y="152"/>
                        </a:lnTo>
                        <a:lnTo>
                          <a:pt x="380" y="170"/>
                        </a:lnTo>
                        <a:lnTo>
                          <a:pt x="388" y="192"/>
                        </a:lnTo>
                        <a:lnTo>
                          <a:pt x="416" y="220"/>
                        </a:lnTo>
                        <a:lnTo>
                          <a:pt x="424" y="172"/>
                        </a:lnTo>
                        <a:lnTo>
                          <a:pt x="420" y="142"/>
                        </a:lnTo>
                        <a:lnTo>
                          <a:pt x="450" y="98"/>
                        </a:lnTo>
                        <a:lnTo>
                          <a:pt x="448" y="82"/>
                        </a:lnTo>
                        <a:lnTo>
                          <a:pt x="466" y="50"/>
                        </a:lnTo>
                        <a:lnTo>
                          <a:pt x="468" y="0"/>
                        </a:lnTo>
                        <a:lnTo>
                          <a:pt x="542" y="10"/>
                        </a:lnTo>
                        <a:lnTo>
                          <a:pt x="554" y="36"/>
                        </a:lnTo>
                        <a:lnTo>
                          <a:pt x="562" y="48"/>
                        </a:lnTo>
                        <a:lnTo>
                          <a:pt x="576" y="48"/>
                        </a:lnTo>
                        <a:lnTo>
                          <a:pt x="586" y="36"/>
                        </a:lnTo>
                        <a:lnTo>
                          <a:pt x="606" y="4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3" name="Freeform 38"/>
                  <p:cNvSpPr>
                    <a:spLocks/>
                  </p:cNvSpPr>
                  <p:nvPr/>
                </p:nvSpPr>
                <p:spPr bwMode="auto">
                  <a:xfrm>
                    <a:off x="3580" y="1667"/>
                    <a:ext cx="459" cy="624"/>
                  </a:xfrm>
                  <a:custGeom>
                    <a:avLst/>
                    <a:gdLst/>
                    <a:ahLst/>
                    <a:cxnLst>
                      <a:cxn ang="0">
                        <a:pos x="288" y="766"/>
                      </a:cxn>
                      <a:cxn ang="0">
                        <a:pos x="298" y="730"/>
                      </a:cxn>
                      <a:cxn ang="0">
                        <a:pos x="358" y="656"/>
                      </a:cxn>
                      <a:cxn ang="0">
                        <a:pos x="388" y="558"/>
                      </a:cxn>
                      <a:cxn ang="0">
                        <a:pos x="424" y="502"/>
                      </a:cxn>
                      <a:cxn ang="0">
                        <a:pos x="474" y="482"/>
                      </a:cxn>
                      <a:cxn ang="0">
                        <a:pos x="532" y="420"/>
                      </a:cxn>
                      <a:cxn ang="0">
                        <a:pos x="568" y="372"/>
                      </a:cxn>
                      <a:cxn ang="0">
                        <a:pos x="578" y="326"/>
                      </a:cxn>
                      <a:cxn ang="0">
                        <a:pos x="600" y="304"/>
                      </a:cxn>
                      <a:cxn ang="0">
                        <a:pos x="566" y="314"/>
                      </a:cxn>
                      <a:cxn ang="0">
                        <a:pos x="550" y="286"/>
                      </a:cxn>
                      <a:cxn ang="0">
                        <a:pos x="568" y="260"/>
                      </a:cxn>
                      <a:cxn ang="0">
                        <a:pos x="616" y="228"/>
                      </a:cxn>
                      <a:cxn ang="0">
                        <a:pos x="570" y="178"/>
                      </a:cxn>
                      <a:cxn ang="0">
                        <a:pos x="566" y="124"/>
                      </a:cxn>
                      <a:cxn ang="0">
                        <a:pos x="516" y="98"/>
                      </a:cxn>
                      <a:cxn ang="0">
                        <a:pos x="464" y="64"/>
                      </a:cxn>
                      <a:cxn ang="0">
                        <a:pos x="410" y="48"/>
                      </a:cxn>
                      <a:cxn ang="0">
                        <a:pos x="392" y="66"/>
                      </a:cxn>
                      <a:cxn ang="0">
                        <a:pos x="370" y="26"/>
                      </a:cxn>
                      <a:cxn ang="0">
                        <a:pos x="314" y="40"/>
                      </a:cxn>
                      <a:cxn ang="0">
                        <a:pos x="256" y="0"/>
                      </a:cxn>
                      <a:cxn ang="0">
                        <a:pos x="230" y="40"/>
                      </a:cxn>
                      <a:cxn ang="0">
                        <a:pos x="204" y="42"/>
                      </a:cxn>
                      <a:cxn ang="0">
                        <a:pos x="152" y="80"/>
                      </a:cxn>
                      <a:cxn ang="0">
                        <a:pos x="158" y="140"/>
                      </a:cxn>
                      <a:cxn ang="0">
                        <a:pos x="96" y="172"/>
                      </a:cxn>
                      <a:cxn ang="0">
                        <a:pos x="58" y="156"/>
                      </a:cxn>
                      <a:cxn ang="0">
                        <a:pos x="76" y="194"/>
                      </a:cxn>
                      <a:cxn ang="0">
                        <a:pos x="92" y="234"/>
                      </a:cxn>
                      <a:cxn ang="0">
                        <a:pos x="54" y="284"/>
                      </a:cxn>
                      <a:cxn ang="0">
                        <a:pos x="64" y="332"/>
                      </a:cxn>
                      <a:cxn ang="0">
                        <a:pos x="94" y="368"/>
                      </a:cxn>
                      <a:cxn ang="0">
                        <a:pos x="62" y="432"/>
                      </a:cxn>
                      <a:cxn ang="0">
                        <a:pos x="12" y="474"/>
                      </a:cxn>
                      <a:cxn ang="0">
                        <a:pos x="20" y="572"/>
                      </a:cxn>
                      <a:cxn ang="0">
                        <a:pos x="58" y="578"/>
                      </a:cxn>
                      <a:cxn ang="0">
                        <a:pos x="22" y="606"/>
                      </a:cxn>
                      <a:cxn ang="0">
                        <a:pos x="40" y="646"/>
                      </a:cxn>
                      <a:cxn ang="0">
                        <a:pos x="50" y="692"/>
                      </a:cxn>
                      <a:cxn ang="0">
                        <a:pos x="54" y="740"/>
                      </a:cxn>
                      <a:cxn ang="0">
                        <a:pos x="58" y="790"/>
                      </a:cxn>
                      <a:cxn ang="0">
                        <a:pos x="98" y="832"/>
                      </a:cxn>
                      <a:cxn ang="0">
                        <a:pos x="114" y="812"/>
                      </a:cxn>
                      <a:cxn ang="0">
                        <a:pos x="158" y="836"/>
                      </a:cxn>
                      <a:cxn ang="0">
                        <a:pos x="240" y="798"/>
                      </a:cxn>
                      <a:cxn ang="0">
                        <a:pos x="282" y="782"/>
                      </a:cxn>
                    </a:cxnLst>
                    <a:rect l="0" t="0" r="r" b="b"/>
                    <a:pathLst>
                      <a:path w="620" h="844">
                        <a:moveTo>
                          <a:pt x="282" y="782"/>
                        </a:moveTo>
                        <a:lnTo>
                          <a:pt x="288" y="766"/>
                        </a:lnTo>
                        <a:lnTo>
                          <a:pt x="292" y="750"/>
                        </a:lnTo>
                        <a:lnTo>
                          <a:pt x="298" y="730"/>
                        </a:lnTo>
                        <a:lnTo>
                          <a:pt x="296" y="712"/>
                        </a:lnTo>
                        <a:lnTo>
                          <a:pt x="358" y="656"/>
                        </a:lnTo>
                        <a:lnTo>
                          <a:pt x="384" y="634"/>
                        </a:lnTo>
                        <a:lnTo>
                          <a:pt x="388" y="558"/>
                        </a:lnTo>
                        <a:lnTo>
                          <a:pt x="406" y="518"/>
                        </a:lnTo>
                        <a:lnTo>
                          <a:pt x="424" y="502"/>
                        </a:lnTo>
                        <a:lnTo>
                          <a:pt x="446" y="504"/>
                        </a:lnTo>
                        <a:lnTo>
                          <a:pt x="474" y="482"/>
                        </a:lnTo>
                        <a:lnTo>
                          <a:pt x="520" y="432"/>
                        </a:lnTo>
                        <a:lnTo>
                          <a:pt x="532" y="420"/>
                        </a:lnTo>
                        <a:lnTo>
                          <a:pt x="538" y="392"/>
                        </a:lnTo>
                        <a:lnTo>
                          <a:pt x="568" y="372"/>
                        </a:lnTo>
                        <a:lnTo>
                          <a:pt x="566" y="344"/>
                        </a:lnTo>
                        <a:lnTo>
                          <a:pt x="578" y="326"/>
                        </a:lnTo>
                        <a:lnTo>
                          <a:pt x="600" y="324"/>
                        </a:lnTo>
                        <a:lnTo>
                          <a:pt x="600" y="304"/>
                        </a:lnTo>
                        <a:lnTo>
                          <a:pt x="580" y="300"/>
                        </a:lnTo>
                        <a:lnTo>
                          <a:pt x="566" y="314"/>
                        </a:lnTo>
                        <a:lnTo>
                          <a:pt x="542" y="308"/>
                        </a:lnTo>
                        <a:lnTo>
                          <a:pt x="550" y="286"/>
                        </a:lnTo>
                        <a:lnTo>
                          <a:pt x="572" y="284"/>
                        </a:lnTo>
                        <a:lnTo>
                          <a:pt x="568" y="260"/>
                        </a:lnTo>
                        <a:lnTo>
                          <a:pt x="620" y="250"/>
                        </a:lnTo>
                        <a:lnTo>
                          <a:pt x="616" y="228"/>
                        </a:lnTo>
                        <a:lnTo>
                          <a:pt x="580" y="200"/>
                        </a:lnTo>
                        <a:lnTo>
                          <a:pt x="570" y="178"/>
                        </a:lnTo>
                        <a:lnTo>
                          <a:pt x="584" y="162"/>
                        </a:lnTo>
                        <a:lnTo>
                          <a:pt x="566" y="124"/>
                        </a:lnTo>
                        <a:lnTo>
                          <a:pt x="538" y="116"/>
                        </a:lnTo>
                        <a:lnTo>
                          <a:pt x="516" y="98"/>
                        </a:lnTo>
                        <a:lnTo>
                          <a:pt x="488" y="72"/>
                        </a:lnTo>
                        <a:lnTo>
                          <a:pt x="464" y="64"/>
                        </a:lnTo>
                        <a:lnTo>
                          <a:pt x="438" y="48"/>
                        </a:lnTo>
                        <a:lnTo>
                          <a:pt x="410" y="48"/>
                        </a:lnTo>
                        <a:lnTo>
                          <a:pt x="400" y="54"/>
                        </a:lnTo>
                        <a:lnTo>
                          <a:pt x="392" y="66"/>
                        </a:lnTo>
                        <a:lnTo>
                          <a:pt x="370" y="40"/>
                        </a:lnTo>
                        <a:lnTo>
                          <a:pt x="370" y="26"/>
                        </a:lnTo>
                        <a:lnTo>
                          <a:pt x="332" y="32"/>
                        </a:lnTo>
                        <a:lnTo>
                          <a:pt x="314" y="40"/>
                        </a:lnTo>
                        <a:lnTo>
                          <a:pt x="292" y="2"/>
                        </a:lnTo>
                        <a:lnTo>
                          <a:pt x="256" y="0"/>
                        </a:lnTo>
                        <a:lnTo>
                          <a:pt x="230" y="22"/>
                        </a:lnTo>
                        <a:lnTo>
                          <a:pt x="230" y="40"/>
                        </a:lnTo>
                        <a:lnTo>
                          <a:pt x="216" y="42"/>
                        </a:lnTo>
                        <a:lnTo>
                          <a:pt x="204" y="42"/>
                        </a:lnTo>
                        <a:lnTo>
                          <a:pt x="196" y="64"/>
                        </a:lnTo>
                        <a:lnTo>
                          <a:pt x="152" y="80"/>
                        </a:lnTo>
                        <a:lnTo>
                          <a:pt x="142" y="96"/>
                        </a:lnTo>
                        <a:lnTo>
                          <a:pt x="158" y="140"/>
                        </a:lnTo>
                        <a:lnTo>
                          <a:pt x="128" y="160"/>
                        </a:lnTo>
                        <a:lnTo>
                          <a:pt x="96" y="172"/>
                        </a:lnTo>
                        <a:lnTo>
                          <a:pt x="78" y="152"/>
                        </a:lnTo>
                        <a:lnTo>
                          <a:pt x="58" y="156"/>
                        </a:lnTo>
                        <a:lnTo>
                          <a:pt x="48" y="188"/>
                        </a:lnTo>
                        <a:lnTo>
                          <a:pt x="76" y="194"/>
                        </a:lnTo>
                        <a:lnTo>
                          <a:pt x="80" y="224"/>
                        </a:lnTo>
                        <a:lnTo>
                          <a:pt x="92" y="234"/>
                        </a:lnTo>
                        <a:lnTo>
                          <a:pt x="72" y="258"/>
                        </a:lnTo>
                        <a:lnTo>
                          <a:pt x="54" y="284"/>
                        </a:lnTo>
                        <a:lnTo>
                          <a:pt x="62" y="310"/>
                        </a:lnTo>
                        <a:lnTo>
                          <a:pt x="64" y="332"/>
                        </a:lnTo>
                        <a:lnTo>
                          <a:pt x="90" y="356"/>
                        </a:lnTo>
                        <a:lnTo>
                          <a:pt x="94" y="368"/>
                        </a:lnTo>
                        <a:lnTo>
                          <a:pt x="66" y="396"/>
                        </a:lnTo>
                        <a:lnTo>
                          <a:pt x="62" y="432"/>
                        </a:lnTo>
                        <a:lnTo>
                          <a:pt x="24" y="460"/>
                        </a:lnTo>
                        <a:lnTo>
                          <a:pt x="12" y="474"/>
                        </a:lnTo>
                        <a:lnTo>
                          <a:pt x="0" y="526"/>
                        </a:lnTo>
                        <a:lnTo>
                          <a:pt x="20" y="572"/>
                        </a:lnTo>
                        <a:lnTo>
                          <a:pt x="38" y="574"/>
                        </a:lnTo>
                        <a:lnTo>
                          <a:pt x="58" y="578"/>
                        </a:lnTo>
                        <a:lnTo>
                          <a:pt x="56" y="596"/>
                        </a:lnTo>
                        <a:lnTo>
                          <a:pt x="22" y="606"/>
                        </a:lnTo>
                        <a:lnTo>
                          <a:pt x="24" y="618"/>
                        </a:lnTo>
                        <a:lnTo>
                          <a:pt x="40" y="646"/>
                        </a:lnTo>
                        <a:lnTo>
                          <a:pt x="36" y="664"/>
                        </a:lnTo>
                        <a:lnTo>
                          <a:pt x="50" y="692"/>
                        </a:lnTo>
                        <a:lnTo>
                          <a:pt x="48" y="728"/>
                        </a:lnTo>
                        <a:lnTo>
                          <a:pt x="54" y="740"/>
                        </a:lnTo>
                        <a:lnTo>
                          <a:pt x="54" y="772"/>
                        </a:lnTo>
                        <a:lnTo>
                          <a:pt x="58" y="790"/>
                        </a:lnTo>
                        <a:lnTo>
                          <a:pt x="80" y="794"/>
                        </a:lnTo>
                        <a:lnTo>
                          <a:pt x="98" y="832"/>
                        </a:lnTo>
                        <a:lnTo>
                          <a:pt x="108" y="822"/>
                        </a:lnTo>
                        <a:lnTo>
                          <a:pt x="114" y="812"/>
                        </a:lnTo>
                        <a:lnTo>
                          <a:pt x="148" y="822"/>
                        </a:lnTo>
                        <a:lnTo>
                          <a:pt x="158" y="836"/>
                        </a:lnTo>
                        <a:lnTo>
                          <a:pt x="204" y="844"/>
                        </a:lnTo>
                        <a:lnTo>
                          <a:pt x="240" y="798"/>
                        </a:lnTo>
                        <a:lnTo>
                          <a:pt x="264" y="786"/>
                        </a:lnTo>
                        <a:lnTo>
                          <a:pt x="282" y="782"/>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4" name="Freeform 39"/>
                  <p:cNvSpPr>
                    <a:spLocks/>
                  </p:cNvSpPr>
                  <p:nvPr/>
                </p:nvSpPr>
                <p:spPr bwMode="auto">
                  <a:xfrm>
                    <a:off x="3500" y="1088"/>
                    <a:ext cx="656" cy="662"/>
                  </a:xfrm>
                  <a:custGeom>
                    <a:avLst/>
                    <a:gdLst/>
                    <a:ahLst/>
                    <a:cxnLst>
                      <a:cxn ang="0">
                        <a:pos x="194" y="18"/>
                      </a:cxn>
                      <a:cxn ang="0">
                        <a:pos x="216" y="36"/>
                      </a:cxn>
                      <a:cxn ang="0">
                        <a:pos x="318" y="20"/>
                      </a:cxn>
                      <a:cxn ang="0">
                        <a:pos x="374" y="74"/>
                      </a:cxn>
                      <a:cxn ang="0">
                        <a:pos x="404" y="58"/>
                      </a:cxn>
                      <a:cxn ang="0">
                        <a:pos x="480" y="72"/>
                      </a:cxn>
                      <a:cxn ang="0">
                        <a:pos x="528" y="100"/>
                      </a:cxn>
                      <a:cxn ang="0">
                        <a:pos x="586" y="192"/>
                      </a:cxn>
                      <a:cxn ang="0">
                        <a:pos x="678" y="208"/>
                      </a:cxn>
                      <a:cxn ang="0">
                        <a:pos x="724" y="248"/>
                      </a:cxn>
                      <a:cxn ang="0">
                        <a:pos x="816" y="220"/>
                      </a:cxn>
                      <a:cxn ang="0">
                        <a:pos x="872" y="258"/>
                      </a:cxn>
                      <a:cxn ang="0">
                        <a:pos x="852" y="320"/>
                      </a:cxn>
                      <a:cxn ang="0">
                        <a:pos x="792" y="320"/>
                      </a:cxn>
                      <a:cxn ang="0">
                        <a:pos x="730" y="302"/>
                      </a:cxn>
                      <a:cxn ang="0">
                        <a:pos x="672" y="314"/>
                      </a:cxn>
                      <a:cxn ang="0">
                        <a:pos x="666" y="364"/>
                      </a:cxn>
                      <a:cxn ang="0">
                        <a:pos x="738" y="386"/>
                      </a:cxn>
                      <a:cxn ang="0">
                        <a:pos x="756" y="482"/>
                      </a:cxn>
                      <a:cxn ang="0">
                        <a:pos x="724" y="526"/>
                      </a:cxn>
                      <a:cxn ang="0">
                        <a:pos x="710" y="608"/>
                      </a:cxn>
                      <a:cxn ang="0">
                        <a:pos x="700" y="694"/>
                      </a:cxn>
                      <a:cxn ang="0">
                        <a:pos x="686" y="752"/>
                      </a:cxn>
                      <a:cxn ang="0">
                        <a:pos x="652" y="832"/>
                      </a:cxn>
                      <a:cxn ang="0">
                        <a:pos x="636" y="894"/>
                      </a:cxn>
                      <a:cxn ang="0">
                        <a:pos x="568" y="866"/>
                      </a:cxn>
                      <a:cxn ang="0">
                        <a:pos x="512" y="840"/>
                      </a:cxn>
                      <a:cxn ang="0">
                        <a:pos x="476" y="810"/>
                      </a:cxn>
                      <a:cxn ang="0">
                        <a:pos x="396" y="786"/>
                      </a:cxn>
                      <a:cxn ang="0">
                        <a:pos x="340" y="824"/>
                      </a:cxn>
                      <a:cxn ang="0">
                        <a:pos x="276" y="794"/>
                      </a:cxn>
                      <a:cxn ang="0">
                        <a:pos x="236" y="708"/>
                      </a:cxn>
                      <a:cxn ang="0">
                        <a:pos x="216" y="646"/>
                      </a:cxn>
                      <a:cxn ang="0">
                        <a:pos x="166" y="602"/>
                      </a:cxn>
                      <a:cxn ang="0">
                        <a:pos x="70" y="466"/>
                      </a:cxn>
                      <a:cxn ang="0">
                        <a:pos x="0" y="358"/>
                      </a:cxn>
                      <a:cxn ang="0">
                        <a:pos x="42" y="310"/>
                      </a:cxn>
                      <a:cxn ang="0">
                        <a:pos x="36" y="264"/>
                      </a:cxn>
                      <a:cxn ang="0">
                        <a:pos x="54" y="170"/>
                      </a:cxn>
                      <a:cxn ang="0">
                        <a:pos x="62" y="106"/>
                      </a:cxn>
                      <a:cxn ang="0">
                        <a:pos x="58" y="24"/>
                      </a:cxn>
                      <a:cxn ang="0">
                        <a:pos x="136" y="22"/>
                      </a:cxn>
                    </a:cxnLst>
                    <a:rect l="0" t="0" r="r" b="b"/>
                    <a:pathLst>
                      <a:path w="886" h="894">
                        <a:moveTo>
                          <a:pt x="154" y="2"/>
                        </a:moveTo>
                        <a:lnTo>
                          <a:pt x="186" y="0"/>
                        </a:lnTo>
                        <a:lnTo>
                          <a:pt x="194" y="18"/>
                        </a:lnTo>
                        <a:lnTo>
                          <a:pt x="194" y="52"/>
                        </a:lnTo>
                        <a:lnTo>
                          <a:pt x="210" y="52"/>
                        </a:lnTo>
                        <a:lnTo>
                          <a:pt x="216" y="36"/>
                        </a:lnTo>
                        <a:lnTo>
                          <a:pt x="234" y="38"/>
                        </a:lnTo>
                        <a:lnTo>
                          <a:pt x="244" y="24"/>
                        </a:lnTo>
                        <a:lnTo>
                          <a:pt x="318" y="20"/>
                        </a:lnTo>
                        <a:lnTo>
                          <a:pt x="328" y="44"/>
                        </a:lnTo>
                        <a:lnTo>
                          <a:pt x="344" y="50"/>
                        </a:lnTo>
                        <a:lnTo>
                          <a:pt x="374" y="74"/>
                        </a:lnTo>
                        <a:lnTo>
                          <a:pt x="386" y="84"/>
                        </a:lnTo>
                        <a:lnTo>
                          <a:pt x="396" y="76"/>
                        </a:lnTo>
                        <a:lnTo>
                          <a:pt x="404" y="58"/>
                        </a:lnTo>
                        <a:lnTo>
                          <a:pt x="440" y="50"/>
                        </a:lnTo>
                        <a:lnTo>
                          <a:pt x="454" y="72"/>
                        </a:lnTo>
                        <a:lnTo>
                          <a:pt x="480" y="72"/>
                        </a:lnTo>
                        <a:lnTo>
                          <a:pt x="486" y="62"/>
                        </a:lnTo>
                        <a:lnTo>
                          <a:pt x="516" y="70"/>
                        </a:lnTo>
                        <a:lnTo>
                          <a:pt x="528" y="100"/>
                        </a:lnTo>
                        <a:lnTo>
                          <a:pt x="536" y="110"/>
                        </a:lnTo>
                        <a:lnTo>
                          <a:pt x="536" y="132"/>
                        </a:lnTo>
                        <a:lnTo>
                          <a:pt x="586" y="192"/>
                        </a:lnTo>
                        <a:lnTo>
                          <a:pt x="604" y="228"/>
                        </a:lnTo>
                        <a:lnTo>
                          <a:pt x="620" y="202"/>
                        </a:lnTo>
                        <a:lnTo>
                          <a:pt x="678" y="208"/>
                        </a:lnTo>
                        <a:lnTo>
                          <a:pt x="682" y="220"/>
                        </a:lnTo>
                        <a:lnTo>
                          <a:pt x="718" y="228"/>
                        </a:lnTo>
                        <a:lnTo>
                          <a:pt x="724" y="248"/>
                        </a:lnTo>
                        <a:lnTo>
                          <a:pt x="762" y="244"/>
                        </a:lnTo>
                        <a:lnTo>
                          <a:pt x="782" y="230"/>
                        </a:lnTo>
                        <a:lnTo>
                          <a:pt x="816" y="220"/>
                        </a:lnTo>
                        <a:lnTo>
                          <a:pt x="836" y="242"/>
                        </a:lnTo>
                        <a:lnTo>
                          <a:pt x="856" y="254"/>
                        </a:lnTo>
                        <a:lnTo>
                          <a:pt x="872" y="258"/>
                        </a:lnTo>
                        <a:lnTo>
                          <a:pt x="886" y="270"/>
                        </a:lnTo>
                        <a:lnTo>
                          <a:pt x="852" y="304"/>
                        </a:lnTo>
                        <a:lnTo>
                          <a:pt x="852" y="320"/>
                        </a:lnTo>
                        <a:lnTo>
                          <a:pt x="844" y="330"/>
                        </a:lnTo>
                        <a:lnTo>
                          <a:pt x="824" y="330"/>
                        </a:lnTo>
                        <a:lnTo>
                          <a:pt x="792" y="320"/>
                        </a:lnTo>
                        <a:lnTo>
                          <a:pt x="766" y="310"/>
                        </a:lnTo>
                        <a:lnTo>
                          <a:pt x="742" y="312"/>
                        </a:lnTo>
                        <a:lnTo>
                          <a:pt x="730" y="302"/>
                        </a:lnTo>
                        <a:lnTo>
                          <a:pt x="718" y="302"/>
                        </a:lnTo>
                        <a:lnTo>
                          <a:pt x="698" y="280"/>
                        </a:lnTo>
                        <a:lnTo>
                          <a:pt x="672" y="314"/>
                        </a:lnTo>
                        <a:lnTo>
                          <a:pt x="652" y="316"/>
                        </a:lnTo>
                        <a:lnTo>
                          <a:pt x="652" y="352"/>
                        </a:lnTo>
                        <a:lnTo>
                          <a:pt x="666" y="364"/>
                        </a:lnTo>
                        <a:lnTo>
                          <a:pt x="694" y="382"/>
                        </a:lnTo>
                        <a:lnTo>
                          <a:pt x="696" y="404"/>
                        </a:lnTo>
                        <a:lnTo>
                          <a:pt x="738" y="386"/>
                        </a:lnTo>
                        <a:lnTo>
                          <a:pt x="758" y="410"/>
                        </a:lnTo>
                        <a:lnTo>
                          <a:pt x="756" y="458"/>
                        </a:lnTo>
                        <a:lnTo>
                          <a:pt x="756" y="482"/>
                        </a:lnTo>
                        <a:lnTo>
                          <a:pt x="760" y="506"/>
                        </a:lnTo>
                        <a:lnTo>
                          <a:pt x="748" y="516"/>
                        </a:lnTo>
                        <a:lnTo>
                          <a:pt x="724" y="526"/>
                        </a:lnTo>
                        <a:lnTo>
                          <a:pt x="694" y="538"/>
                        </a:lnTo>
                        <a:lnTo>
                          <a:pt x="698" y="568"/>
                        </a:lnTo>
                        <a:lnTo>
                          <a:pt x="710" y="608"/>
                        </a:lnTo>
                        <a:lnTo>
                          <a:pt x="722" y="648"/>
                        </a:lnTo>
                        <a:lnTo>
                          <a:pt x="718" y="664"/>
                        </a:lnTo>
                        <a:lnTo>
                          <a:pt x="700" y="694"/>
                        </a:lnTo>
                        <a:lnTo>
                          <a:pt x="702" y="724"/>
                        </a:lnTo>
                        <a:lnTo>
                          <a:pt x="700" y="736"/>
                        </a:lnTo>
                        <a:lnTo>
                          <a:pt x="686" y="752"/>
                        </a:lnTo>
                        <a:lnTo>
                          <a:pt x="682" y="778"/>
                        </a:lnTo>
                        <a:lnTo>
                          <a:pt x="666" y="804"/>
                        </a:lnTo>
                        <a:lnTo>
                          <a:pt x="652" y="832"/>
                        </a:lnTo>
                        <a:lnTo>
                          <a:pt x="648" y="856"/>
                        </a:lnTo>
                        <a:lnTo>
                          <a:pt x="646" y="880"/>
                        </a:lnTo>
                        <a:lnTo>
                          <a:pt x="636" y="894"/>
                        </a:lnTo>
                        <a:lnTo>
                          <a:pt x="610" y="872"/>
                        </a:lnTo>
                        <a:lnTo>
                          <a:pt x="590" y="864"/>
                        </a:lnTo>
                        <a:lnTo>
                          <a:pt x="568" y="866"/>
                        </a:lnTo>
                        <a:lnTo>
                          <a:pt x="544" y="832"/>
                        </a:lnTo>
                        <a:lnTo>
                          <a:pt x="522" y="832"/>
                        </a:lnTo>
                        <a:lnTo>
                          <a:pt x="512" y="840"/>
                        </a:lnTo>
                        <a:lnTo>
                          <a:pt x="500" y="848"/>
                        </a:lnTo>
                        <a:lnTo>
                          <a:pt x="476" y="824"/>
                        </a:lnTo>
                        <a:lnTo>
                          <a:pt x="476" y="810"/>
                        </a:lnTo>
                        <a:lnTo>
                          <a:pt x="448" y="812"/>
                        </a:lnTo>
                        <a:lnTo>
                          <a:pt x="422" y="826"/>
                        </a:lnTo>
                        <a:lnTo>
                          <a:pt x="396" y="786"/>
                        </a:lnTo>
                        <a:lnTo>
                          <a:pt x="360" y="788"/>
                        </a:lnTo>
                        <a:lnTo>
                          <a:pt x="340" y="804"/>
                        </a:lnTo>
                        <a:lnTo>
                          <a:pt x="340" y="824"/>
                        </a:lnTo>
                        <a:lnTo>
                          <a:pt x="312" y="824"/>
                        </a:lnTo>
                        <a:lnTo>
                          <a:pt x="290" y="798"/>
                        </a:lnTo>
                        <a:lnTo>
                          <a:pt x="276" y="794"/>
                        </a:lnTo>
                        <a:lnTo>
                          <a:pt x="258" y="760"/>
                        </a:lnTo>
                        <a:lnTo>
                          <a:pt x="236" y="748"/>
                        </a:lnTo>
                        <a:lnTo>
                          <a:pt x="236" y="708"/>
                        </a:lnTo>
                        <a:lnTo>
                          <a:pt x="250" y="670"/>
                        </a:lnTo>
                        <a:lnTo>
                          <a:pt x="240" y="642"/>
                        </a:lnTo>
                        <a:lnTo>
                          <a:pt x="216" y="646"/>
                        </a:lnTo>
                        <a:lnTo>
                          <a:pt x="202" y="622"/>
                        </a:lnTo>
                        <a:lnTo>
                          <a:pt x="168" y="622"/>
                        </a:lnTo>
                        <a:lnTo>
                          <a:pt x="166" y="602"/>
                        </a:lnTo>
                        <a:lnTo>
                          <a:pt x="172" y="580"/>
                        </a:lnTo>
                        <a:lnTo>
                          <a:pt x="108" y="538"/>
                        </a:lnTo>
                        <a:lnTo>
                          <a:pt x="70" y="466"/>
                        </a:lnTo>
                        <a:lnTo>
                          <a:pt x="68" y="442"/>
                        </a:lnTo>
                        <a:lnTo>
                          <a:pt x="4" y="394"/>
                        </a:lnTo>
                        <a:lnTo>
                          <a:pt x="0" y="358"/>
                        </a:lnTo>
                        <a:lnTo>
                          <a:pt x="32" y="334"/>
                        </a:lnTo>
                        <a:lnTo>
                          <a:pt x="32" y="320"/>
                        </a:lnTo>
                        <a:lnTo>
                          <a:pt x="42" y="310"/>
                        </a:lnTo>
                        <a:lnTo>
                          <a:pt x="42" y="292"/>
                        </a:lnTo>
                        <a:lnTo>
                          <a:pt x="22" y="280"/>
                        </a:lnTo>
                        <a:lnTo>
                          <a:pt x="36" y="264"/>
                        </a:lnTo>
                        <a:lnTo>
                          <a:pt x="28" y="230"/>
                        </a:lnTo>
                        <a:lnTo>
                          <a:pt x="12" y="206"/>
                        </a:lnTo>
                        <a:lnTo>
                          <a:pt x="54" y="170"/>
                        </a:lnTo>
                        <a:lnTo>
                          <a:pt x="52" y="148"/>
                        </a:lnTo>
                        <a:lnTo>
                          <a:pt x="44" y="130"/>
                        </a:lnTo>
                        <a:lnTo>
                          <a:pt x="62" y="106"/>
                        </a:lnTo>
                        <a:lnTo>
                          <a:pt x="62" y="82"/>
                        </a:lnTo>
                        <a:lnTo>
                          <a:pt x="50" y="50"/>
                        </a:lnTo>
                        <a:lnTo>
                          <a:pt x="58" y="24"/>
                        </a:lnTo>
                        <a:lnTo>
                          <a:pt x="72" y="16"/>
                        </a:lnTo>
                        <a:lnTo>
                          <a:pt x="116" y="30"/>
                        </a:lnTo>
                        <a:lnTo>
                          <a:pt x="136" y="22"/>
                        </a:lnTo>
                        <a:lnTo>
                          <a:pt x="144" y="28"/>
                        </a:lnTo>
                        <a:lnTo>
                          <a:pt x="154" y="2"/>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5" name="Freeform 40"/>
                  <p:cNvSpPr>
                    <a:spLocks/>
                  </p:cNvSpPr>
                  <p:nvPr/>
                </p:nvSpPr>
                <p:spPr bwMode="auto">
                  <a:xfrm>
                    <a:off x="3975" y="1281"/>
                    <a:ext cx="317" cy="615"/>
                  </a:xfrm>
                  <a:custGeom>
                    <a:avLst/>
                    <a:gdLst/>
                    <a:ahLst/>
                    <a:cxnLst>
                      <a:cxn ang="0">
                        <a:pos x="290" y="14"/>
                      </a:cxn>
                      <a:cxn ang="0">
                        <a:pos x="310" y="26"/>
                      </a:cxn>
                      <a:cxn ang="0">
                        <a:pos x="332" y="10"/>
                      </a:cxn>
                      <a:cxn ang="0">
                        <a:pos x="372" y="34"/>
                      </a:cxn>
                      <a:cxn ang="0">
                        <a:pos x="394" y="32"/>
                      </a:cxn>
                      <a:cxn ang="0">
                        <a:pos x="422" y="54"/>
                      </a:cxn>
                      <a:cxn ang="0">
                        <a:pos x="402" y="120"/>
                      </a:cxn>
                      <a:cxn ang="0">
                        <a:pos x="326" y="194"/>
                      </a:cxn>
                      <a:cxn ang="0">
                        <a:pos x="288" y="270"/>
                      </a:cxn>
                      <a:cxn ang="0">
                        <a:pos x="272" y="356"/>
                      </a:cxn>
                      <a:cxn ang="0">
                        <a:pos x="274" y="390"/>
                      </a:cxn>
                      <a:cxn ang="0">
                        <a:pos x="252" y="448"/>
                      </a:cxn>
                      <a:cxn ang="0">
                        <a:pos x="222" y="486"/>
                      </a:cxn>
                      <a:cxn ang="0">
                        <a:pos x="238" y="530"/>
                      </a:cxn>
                      <a:cxn ang="0">
                        <a:pos x="202" y="588"/>
                      </a:cxn>
                      <a:cxn ang="0">
                        <a:pos x="214" y="688"/>
                      </a:cxn>
                      <a:cxn ang="0">
                        <a:pos x="232" y="710"/>
                      </a:cxn>
                      <a:cxn ang="0">
                        <a:pos x="240" y="736"/>
                      </a:cxn>
                      <a:cxn ang="0">
                        <a:pos x="204" y="774"/>
                      </a:cxn>
                      <a:cxn ang="0">
                        <a:pos x="170" y="792"/>
                      </a:cxn>
                      <a:cxn ang="0">
                        <a:pos x="136" y="832"/>
                      </a:cxn>
                      <a:cxn ang="0">
                        <a:pos x="108" y="794"/>
                      </a:cxn>
                      <a:cxn ang="0">
                        <a:pos x="84" y="766"/>
                      </a:cxn>
                      <a:cxn ang="0">
                        <a:pos x="40" y="718"/>
                      </a:cxn>
                      <a:cxn ang="0">
                        <a:pos x="48" y="684"/>
                      </a:cxn>
                      <a:cxn ang="0">
                        <a:pos x="0" y="640"/>
                      </a:cxn>
                      <a:cxn ang="0">
                        <a:pos x="6" y="582"/>
                      </a:cxn>
                      <a:cxn ang="0">
                        <a:pos x="16" y="560"/>
                      </a:cxn>
                      <a:cxn ang="0">
                        <a:pos x="36" y="488"/>
                      </a:cxn>
                      <a:cxn ang="0">
                        <a:pos x="52" y="434"/>
                      </a:cxn>
                      <a:cxn ang="0">
                        <a:pos x="54" y="324"/>
                      </a:cxn>
                      <a:cxn ang="0">
                        <a:pos x="116" y="246"/>
                      </a:cxn>
                      <a:cxn ang="0">
                        <a:pos x="112" y="150"/>
                      </a:cxn>
                      <a:cxn ang="0">
                        <a:pos x="58" y="152"/>
                      </a:cxn>
                      <a:cxn ang="0">
                        <a:pos x="8" y="92"/>
                      </a:cxn>
                      <a:cxn ang="0">
                        <a:pos x="26" y="56"/>
                      </a:cxn>
                      <a:cxn ang="0">
                        <a:pos x="76" y="40"/>
                      </a:cxn>
                      <a:cxn ang="0">
                        <a:pos x="112" y="52"/>
                      </a:cxn>
                      <a:cxn ang="0">
                        <a:pos x="184" y="70"/>
                      </a:cxn>
                      <a:cxn ang="0">
                        <a:pos x="206" y="42"/>
                      </a:cxn>
                    </a:cxnLst>
                    <a:rect l="0" t="0" r="r" b="b"/>
                    <a:pathLst>
                      <a:path w="428" h="832">
                        <a:moveTo>
                          <a:pt x="242" y="10"/>
                        </a:moveTo>
                        <a:lnTo>
                          <a:pt x="290" y="14"/>
                        </a:lnTo>
                        <a:lnTo>
                          <a:pt x="296" y="30"/>
                        </a:lnTo>
                        <a:lnTo>
                          <a:pt x="310" y="26"/>
                        </a:lnTo>
                        <a:lnTo>
                          <a:pt x="320" y="0"/>
                        </a:lnTo>
                        <a:lnTo>
                          <a:pt x="332" y="10"/>
                        </a:lnTo>
                        <a:lnTo>
                          <a:pt x="362" y="18"/>
                        </a:lnTo>
                        <a:lnTo>
                          <a:pt x="372" y="34"/>
                        </a:lnTo>
                        <a:lnTo>
                          <a:pt x="386" y="44"/>
                        </a:lnTo>
                        <a:lnTo>
                          <a:pt x="394" y="32"/>
                        </a:lnTo>
                        <a:lnTo>
                          <a:pt x="428" y="36"/>
                        </a:lnTo>
                        <a:lnTo>
                          <a:pt x="422" y="54"/>
                        </a:lnTo>
                        <a:lnTo>
                          <a:pt x="400" y="66"/>
                        </a:lnTo>
                        <a:lnTo>
                          <a:pt x="402" y="120"/>
                        </a:lnTo>
                        <a:lnTo>
                          <a:pt x="378" y="146"/>
                        </a:lnTo>
                        <a:lnTo>
                          <a:pt x="326" y="194"/>
                        </a:lnTo>
                        <a:lnTo>
                          <a:pt x="302" y="238"/>
                        </a:lnTo>
                        <a:lnTo>
                          <a:pt x="288" y="270"/>
                        </a:lnTo>
                        <a:lnTo>
                          <a:pt x="272" y="312"/>
                        </a:lnTo>
                        <a:lnTo>
                          <a:pt x="272" y="356"/>
                        </a:lnTo>
                        <a:lnTo>
                          <a:pt x="282" y="366"/>
                        </a:lnTo>
                        <a:lnTo>
                          <a:pt x="274" y="390"/>
                        </a:lnTo>
                        <a:lnTo>
                          <a:pt x="254" y="424"/>
                        </a:lnTo>
                        <a:lnTo>
                          <a:pt x="252" y="448"/>
                        </a:lnTo>
                        <a:lnTo>
                          <a:pt x="224" y="470"/>
                        </a:lnTo>
                        <a:lnTo>
                          <a:pt x="222" y="486"/>
                        </a:lnTo>
                        <a:lnTo>
                          <a:pt x="230" y="496"/>
                        </a:lnTo>
                        <a:lnTo>
                          <a:pt x="238" y="530"/>
                        </a:lnTo>
                        <a:lnTo>
                          <a:pt x="236" y="546"/>
                        </a:lnTo>
                        <a:lnTo>
                          <a:pt x="202" y="588"/>
                        </a:lnTo>
                        <a:lnTo>
                          <a:pt x="200" y="670"/>
                        </a:lnTo>
                        <a:lnTo>
                          <a:pt x="214" y="688"/>
                        </a:lnTo>
                        <a:lnTo>
                          <a:pt x="222" y="700"/>
                        </a:lnTo>
                        <a:lnTo>
                          <a:pt x="232" y="710"/>
                        </a:lnTo>
                        <a:lnTo>
                          <a:pt x="238" y="720"/>
                        </a:lnTo>
                        <a:lnTo>
                          <a:pt x="240" y="736"/>
                        </a:lnTo>
                        <a:lnTo>
                          <a:pt x="212" y="752"/>
                        </a:lnTo>
                        <a:lnTo>
                          <a:pt x="204" y="774"/>
                        </a:lnTo>
                        <a:lnTo>
                          <a:pt x="184" y="774"/>
                        </a:lnTo>
                        <a:lnTo>
                          <a:pt x="170" y="792"/>
                        </a:lnTo>
                        <a:lnTo>
                          <a:pt x="148" y="822"/>
                        </a:lnTo>
                        <a:lnTo>
                          <a:pt x="136" y="832"/>
                        </a:lnTo>
                        <a:lnTo>
                          <a:pt x="112" y="812"/>
                        </a:lnTo>
                        <a:lnTo>
                          <a:pt x="108" y="794"/>
                        </a:lnTo>
                        <a:lnTo>
                          <a:pt x="104" y="774"/>
                        </a:lnTo>
                        <a:lnTo>
                          <a:pt x="84" y="766"/>
                        </a:lnTo>
                        <a:lnTo>
                          <a:pt x="82" y="752"/>
                        </a:lnTo>
                        <a:lnTo>
                          <a:pt x="40" y="718"/>
                        </a:lnTo>
                        <a:lnTo>
                          <a:pt x="38" y="698"/>
                        </a:lnTo>
                        <a:lnTo>
                          <a:pt x="48" y="684"/>
                        </a:lnTo>
                        <a:lnTo>
                          <a:pt x="32" y="642"/>
                        </a:lnTo>
                        <a:lnTo>
                          <a:pt x="0" y="640"/>
                        </a:lnTo>
                        <a:lnTo>
                          <a:pt x="4" y="620"/>
                        </a:lnTo>
                        <a:lnTo>
                          <a:pt x="6" y="582"/>
                        </a:lnTo>
                        <a:lnTo>
                          <a:pt x="8" y="570"/>
                        </a:lnTo>
                        <a:lnTo>
                          <a:pt x="16" y="560"/>
                        </a:lnTo>
                        <a:lnTo>
                          <a:pt x="38" y="506"/>
                        </a:lnTo>
                        <a:lnTo>
                          <a:pt x="36" y="488"/>
                        </a:lnTo>
                        <a:lnTo>
                          <a:pt x="58" y="470"/>
                        </a:lnTo>
                        <a:lnTo>
                          <a:pt x="52" y="434"/>
                        </a:lnTo>
                        <a:lnTo>
                          <a:pt x="78" y="386"/>
                        </a:lnTo>
                        <a:lnTo>
                          <a:pt x="54" y="324"/>
                        </a:lnTo>
                        <a:lnTo>
                          <a:pt x="50" y="278"/>
                        </a:lnTo>
                        <a:lnTo>
                          <a:pt x="116" y="246"/>
                        </a:lnTo>
                        <a:lnTo>
                          <a:pt x="110" y="210"/>
                        </a:lnTo>
                        <a:lnTo>
                          <a:pt x="112" y="150"/>
                        </a:lnTo>
                        <a:lnTo>
                          <a:pt x="94" y="128"/>
                        </a:lnTo>
                        <a:lnTo>
                          <a:pt x="58" y="152"/>
                        </a:lnTo>
                        <a:lnTo>
                          <a:pt x="48" y="126"/>
                        </a:lnTo>
                        <a:lnTo>
                          <a:pt x="8" y="92"/>
                        </a:lnTo>
                        <a:lnTo>
                          <a:pt x="6" y="54"/>
                        </a:lnTo>
                        <a:lnTo>
                          <a:pt x="26" y="56"/>
                        </a:lnTo>
                        <a:lnTo>
                          <a:pt x="56" y="16"/>
                        </a:lnTo>
                        <a:lnTo>
                          <a:pt x="76" y="40"/>
                        </a:lnTo>
                        <a:lnTo>
                          <a:pt x="96" y="44"/>
                        </a:lnTo>
                        <a:lnTo>
                          <a:pt x="112" y="52"/>
                        </a:lnTo>
                        <a:lnTo>
                          <a:pt x="124" y="46"/>
                        </a:lnTo>
                        <a:lnTo>
                          <a:pt x="184" y="70"/>
                        </a:lnTo>
                        <a:lnTo>
                          <a:pt x="198" y="68"/>
                        </a:lnTo>
                        <a:lnTo>
                          <a:pt x="206" y="42"/>
                        </a:lnTo>
                        <a:lnTo>
                          <a:pt x="242" y="1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6" name="Freeform 41"/>
                  <p:cNvSpPr>
                    <a:spLocks/>
                  </p:cNvSpPr>
                  <p:nvPr/>
                </p:nvSpPr>
                <p:spPr bwMode="auto">
                  <a:xfrm>
                    <a:off x="1934" y="948"/>
                    <a:ext cx="631" cy="606"/>
                  </a:xfrm>
                  <a:custGeom>
                    <a:avLst/>
                    <a:gdLst/>
                    <a:ahLst/>
                    <a:cxnLst>
                      <a:cxn ang="0">
                        <a:pos x="50" y="38"/>
                      </a:cxn>
                      <a:cxn ang="0">
                        <a:pos x="108" y="54"/>
                      </a:cxn>
                      <a:cxn ang="0">
                        <a:pos x="188" y="28"/>
                      </a:cxn>
                      <a:cxn ang="0">
                        <a:pos x="212" y="88"/>
                      </a:cxn>
                      <a:cxn ang="0">
                        <a:pos x="178" y="124"/>
                      </a:cxn>
                      <a:cxn ang="0">
                        <a:pos x="202" y="194"/>
                      </a:cxn>
                      <a:cxn ang="0">
                        <a:pos x="244" y="196"/>
                      </a:cxn>
                      <a:cxn ang="0">
                        <a:pos x="306" y="222"/>
                      </a:cxn>
                      <a:cxn ang="0">
                        <a:pos x="388" y="240"/>
                      </a:cxn>
                      <a:cxn ang="0">
                        <a:pos x="494" y="264"/>
                      </a:cxn>
                      <a:cxn ang="0">
                        <a:pos x="556" y="272"/>
                      </a:cxn>
                      <a:cxn ang="0">
                        <a:pos x="652" y="210"/>
                      </a:cxn>
                      <a:cxn ang="0">
                        <a:pos x="680" y="252"/>
                      </a:cxn>
                      <a:cxn ang="0">
                        <a:pos x="690" y="312"/>
                      </a:cxn>
                      <a:cxn ang="0">
                        <a:pos x="692" y="424"/>
                      </a:cxn>
                      <a:cxn ang="0">
                        <a:pos x="690" y="472"/>
                      </a:cxn>
                      <a:cxn ang="0">
                        <a:pos x="736" y="484"/>
                      </a:cxn>
                      <a:cxn ang="0">
                        <a:pos x="808" y="560"/>
                      </a:cxn>
                      <a:cxn ang="0">
                        <a:pos x="802" y="586"/>
                      </a:cxn>
                      <a:cxn ang="0">
                        <a:pos x="852" y="680"/>
                      </a:cxn>
                      <a:cxn ang="0">
                        <a:pos x="822" y="744"/>
                      </a:cxn>
                      <a:cxn ang="0">
                        <a:pos x="786" y="772"/>
                      </a:cxn>
                      <a:cxn ang="0">
                        <a:pos x="792" y="820"/>
                      </a:cxn>
                      <a:cxn ang="0">
                        <a:pos x="748" y="760"/>
                      </a:cxn>
                      <a:cxn ang="0">
                        <a:pos x="700" y="764"/>
                      </a:cxn>
                      <a:cxn ang="0">
                        <a:pos x="662" y="718"/>
                      </a:cxn>
                      <a:cxn ang="0">
                        <a:pos x="600" y="680"/>
                      </a:cxn>
                      <a:cxn ang="0">
                        <a:pos x="534" y="662"/>
                      </a:cxn>
                      <a:cxn ang="0">
                        <a:pos x="486" y="612"/>
                      </a:cxn>
                      <a:cxn ang="0">
                        <a:pos x="464" y="616"/>
                      </a:cxn>
                      <a:cxn ang="0">
                        <a:pos x="432" y="642"/>
                      </a:cxn>
                      <a:cxn ang="0">
                        <a:pos x="384" y="646"/>
                      </a:cxn>
                      <a:cxn ang="0">
                        <a:pos x="294" y="646"/>
                      </a:cxn>
                      <a:cxn ang="0">
                        <a:pos x="220" y="626"/>
                      </a:cxn>
                      <a:cxn ang="0">
                        <a:pos x="128" y="604"/>
                      </a:cxn>
                      <a:cxn ang="0">
                        <a:pos x="86" y="632"/>
                      </a:cxn>
                      <a:cxn ang="0">
                        <a:pos x="66" y="572"/>
                      </a:cxn>
                      <a:cxn ang="0">
                        <a:pos x="112" y="546"/>
                      </a:cxn>
                      <a:cxn ang="0">
                        <a:pos x="78" y="516"/>
                      </a:cxn>
                      <a:cxn ang="0">
                        <a:pos x="62" y="466"/>
                      </a:cxn>
                      <a:cxn ang="0">
                        <a:pos x="86" y="438"/>
                      </a:cxn>
                      <a:cxn ang="0">
                        <a:pos x="74" y="316"/>
                      </a:cxn>
                      <a:cxn ang="0">
                        <a:pos x="90" y="242"/>
                      </a:cxn>
                      <a:cxn ang="0">
                        <a:pos x="52" y="190"/>
                      </a:cxn>
                      <a:cxn ang="0">
                        <a:pos x="16" y="114"/>
                      </a:cxn>
                      <a:cxn ang="0">
                        <a:pos x="24" y="44"/>
                      </a:cxn>
                    </a:cxnLst>
                    <a:rect l="0" t="0" r="r" b="b"/>
                    <a:pathLst>
                      <a:path w="852" h="820">
                        <a:moveTo>
                          <a:pt x="0" y="0"/>
                        </a:moveTo>
                        <a:lnTo>
                          <a:pt x="36" y="16"/>
                        </a:lnTo>
                        <a:lnTo>
                          <a:pt x="50" y="38"/>
                        </a:lnTo>
                        <a:lnTo>
                          <a:pt x="70" y="36"/>
                        </a:lnTo>
                        <a:lnTo>
                          <a:pt x="94" y="60"/>
                        </a:lnTo>
                        <a:lnTo>
                          <a:pt x="108" y="54"/>
                        </a:lnTo>
                        <a:lnTo>
                          <a:pt x="116" y="38"/>
                        </a:lnTo>
                        <a:lnTo>
                          <a:pt x="146" y="38"/>
                        </a:lnTo>
                        <a:lnTo>
                          <a:pt x="188" y="28"/>
                        </a:lnTo>
                        <a:lnTo>
                          <a:pt x="194" y="40"/>
                        </a:lnTo>
                        <a:lnTo>
                          <a:pt x="214" y="48"/>
                        </a:lnTo>
                        <a:lnTo>
                          <a:pt x="212" y="88"/>
                        </a:lnTo>
                        <a:lnTo>
                          <a:pt x="188" y="94"/>
                        </a:lnTo>
                        <a:lnTo>
                          <a:pt x="174" y="106"/>
                        </a:lnTo>
                        <a:lnTo>
                          <a:pt x="178" y="124"/>
                        </a:lnTo>
                        <a:lnTo>
                          <a:pt x="184" y="146"/>
                        </a:lnTo>
                        <a:lnTo>
                          <a:pt x="202" y="158"/>
                        </a:lnTo>
                        <a:lnTo>
                          <a:pt x="202" y="194"/>
                        </a:lnTo>
                        <a:lnTo>
                          <a:pt x="202" y="216"/>
                        </a:lnTo>
                        <a:lnTo>
                          <a:pt x="232" y="218"/>
                        </a:lnTo>
                        <a:lnTo>
                          <a:pt x="244" y="196"/>
                        </a:lnTo>
                        <a:lnTo>
                          <a:pt x="270" y="196"/>
                        </a:lnTo>
                        <a:lnTo>
                          <a:pt x="292" y="210"/>
                        </a:lnTo>
                        <a:lnTo>
                          <a:pt x="306" y="222"/>
                        </a:lnTo>
                        <a:lnTo>
                          <a:pt x="326" y="228"/>
                        </a:lnTo>
                        <a:lnTo>
                          <a:pt x="376" y="230"/>
                        </a:lnTo>
                        <a:lnTo>
                          <a:pt x="388" y="240"/>
                        </a:lnTo>
                        <a:lnTo>
                          <a:pt x="430" y="234"/>
                        </a:lnTo>
                        <a:lnTo>
                          <a:pt x="454" y="248"/>
                        </a:lnTo>
                        <a:lnTo>
                          <a:pt x="494" y="264"/>
                        </a:lnTo>
                        <a:lnTo>
                          <a:pt x="506" y="288"/>
                        </a:lnTo>
                        <a:lnTo>
                          <a:pt x="528" y="276"/>
                        </a:lnTo>
                        <a:lnTo>
                          <a:pt x="556" y="272"/>
                        </a:lnTo>
                        <a:lnTo>
                          <a:pt x="594" y="260"/>
                        </a:lnTo>
                        <a:lnTo>
                          <a:pt x="638" y="226"/>
                        </a:lnTo>
                        <a:lnTo>
                          <a:pt x="652" y="210"/>
                        </a:lnTo>
                        <a:lnTo>
                          <a:pt x="668" y="204"/>
                        </a:lnTo>
                        <a:lnTo>
                          <a:pt x="682" y="218"/>
                        </a:lnTo>
                        <a:lnTo>
                          <a:pt x="680" y="252"/>
                        </a:lnTo>
                        <a:lnTo>
                          <a:pt x="694" y="288"/>
                        </a:lnTo>
                        <a:lnTo>
                          <a:pt x="684" y="296"/>
                        </a:lnTo>
                        <a:lnTo>
                          <a:pt x="690" y="312"/>
                        </a:lnTo>
                        <a:lnTo>
                          <a:pt x="690" y="402"/>
                        </a:lnTo>
                        <a:lnTo>
                          <a:pt x="702" y="414"/>
                        </a:lnTo>
                        <a:lnTo>
                          <a:pt x="692" y="424"/>
                        </a:lnTo>
                        <a:lnTo>
                          <a:pt x="680" y="438"/>
                        </a:lnTo>
                        <a:cubicBezTo>
                          <a:pt x="682" y="453"/>
                          <a:pt x="682" y="447"/>
                          <a:pt x="682" y="454"/>
                        </a:cubicBezTo>
                        <a:lnTo>
                          <a:pt x="690" y="472"/>
                        </a:lnTo>
                        <a:lnTo>
                          <a:pt x="704" y="484"/>
                        </a:lnTo>
                        <a:lnTo>
                          <a:pt x="716" y="486"/>
                        </a:lnTo>
                        <a:lnTo>
                          <a:pt x="736" y="484"/>
                        </a:lnTo>
                        <a:lnTo>
                          <a:pt x="750" y="478"/>
                        </a:lnTo>
                        <a:lnTo>
                          <a:pt x="750" y="504"/>
                        </a:lnTo>
                        <a:lnTo>
                          <a:pt x="808" y="560"/>
                        </a:lnTo>
                        <a:lnTo>
                          <a:pt x="790" y="574"/>
                        </a:lnTo>
                        <a:lnTo>
                          <a:pt x="788" y="586"/>
                        </a:lnTo>
                        <a:lnTo>
                          <a:pt x="802" y="586"/>
                        </a:lnTo>
                        <a:lnTo>
                          <a:pt x="814" y="614"/>
                        </a:lnTo>
                        <a:lnTo>
                          <a:pt x="842" y="654"/>
                        </a:lnTo>
                        <a:lnTo>
                          <a:pt x="852" y="680"/>
                        </a:lnTo>
                        <a:lnTo>
                          <a:pt x="850" y="706"/>
                        </a:lnTo>
                        <a:lnTo>
                          <a:pt x="840" y="730"/>
                        </a:lnTo>
                        <a:lnTo>
                          <a:pt x="822" y="744"/>
                        </a:lnTo>
                        <a:lnTo>
                          <a:pt x="812" y="754"/>
                        </a:lnTo>
                        <a:lnTo>
                          <a:pt x="778" y="750"/>
                        </a:lnTo>
                        <a:lnTo>
                          <a:pt x="786" y="772"/>
                        </a:lnTo>
                        <a:lnTo>
                          <a:pt x="808" y="786"/>
                        </a:lnTo>
                        <a:lnTo>
                          <a:pt x="796" y="800"/>
                        </a:lnTo>
                        <a:lnTo>
                          <a:pt x="792" y="820"/>
                        </a:lnTo>
                        <a:lnTo>
                          <a:pt x="760" y="804"/>
                        </a:lnTo>
                        <a:lnTo>
                          <a:pt x="760" y="778"/>
                        </a:lnTo>
                        <a:lnTo>
                          <a:pt x="748" y="760"/>
                        </a:lnTo>
                        <a:lnTo>
                          <a:pt x="738" y="782"/>
                        </a:lnTo>
                        <a:lnTo>
                          <a:pt x="718" y="784"/>
                        </a:lnTo>
                        <a:lnTo>
                          <a:pt x="700" y="764"/>
                        </a:lnTo>
                        <a:lnTo>
                          <a:pt x="700" y="748"/>
                        </a:lnTo>
                        <a:lnTo>
                          <a:pt x="680" y="744"/>
                        </a:lnTo>
                        <a:lnTo>
                          <a:pt x="662" y="718"/>
                        </a:lnTo>
                        <a:lnTo>
                          <a:pt x="660" y="688"/>
                        </a:lnTo>
                        <a:lnTo>
                          <a:pt x="634" y="668"/>
                        </a:lnTo>
                        <a:lnTo>
                          <a:pt x="600" y="680"/>
                        </a:lnTo>
                        <a:lnTo>
                          <a:pt x="548" y="680"/>
                        </a:lnTo>
                        <a:lnTo>
                          <a:pt x="540" y="706"/>
                        </a:lnTo>
                        <a:lnTo>
                          <a:pt x="534" y="662"/>
                        </a:lnTo>
                        <a:lnTo>
                          <a:pt x="504" y="648"/>
                        </a:lnTo>
                        <a:lnTo>
                          <a:pt x="490" y="632"/>
                        </a:lnTo>
                        <a:lnTo>
                          <a:pt x="486" y="612"/>
                        </a:lnTo>
                        <a:lnTo>
                          <a:pt x="484" y="598"/>
                        </a:lnTo>
                        <a:lnTo>
                          <a:pt x="464" y="600"/>
                        </a:lnTo>
                        <a:lnTo>
                          <a:pt x="464" y="616"/>
                        </a:lnTo>
                        <a:lnTo>
                          <a:pt x="464" y="630"/>
                        </a:lnTo>
                        <a:lnTo>
                          <a:pt x="450" y="640"/>
                        </a:lnTo>
                        <a:lnTo>
                          <a:pt x="432" y="642"/>
                        </a:lnTo>
                        <a:lnTo>
                          <a:pt x="410" y="634"/>
                        </a:lnTo>
                        <a:lnTo>
                          <a:pt x="394" y="634"/>
                        </a:lnTo>
                        <a:lnTo>
                          <a:pt x="384" y="646"/>
                        </a:lnTo>
                        <a:lnTo>
                          <a:pt x="336" y="642"/>
                        </a:lnTo>
                        <a:lnTo>
                          <a:pt x="316" y="652"/>
                        </a:lnTo>
                        <a:lnTo>
                          <a:pt x="294" y="646"/>
                        </a:lnTo>
                        <a:lnTo>
                          <a:pt x="270" y="612"/>
                        </a:lnTo>
                        <a:lnTo>
                          <a:pt x="246" y="614"/>
                        </a:lnTo>
                        <a:lnTo>
                          <a:pt x="220" y="626"/>
                        </a:lnTo>
                        <a:lnTo>
                          <a:pt x="202" y="610"/>
                        </a:lnTo>
                        <a:lnTo>
                          <a:pt x="190" y="602"/>
                        </a:lnTo>
                        <a:lnTo>
                          <a:pt x="128" y="604"/>
                        </a:lnTo>
                        <a:lnTo>
                          <a:pt x="116" y="614"/>
                        </a:lnTo>
                        <a:lnTo>
                          <a:pt x="108" y="624"/>
                        </a:lnTo>
                        <a:lnTo>
                          <a:pt x="86" y="632"/>
                        </a:lnTo>
                        <a:lnTo>
                          <a:pt x="74" y="624"/>
                        </a:lnTo>
                        <a:lnTo>
                          <a:pt x="62" y="608"/>
                        </a:lnTo>
                        <a:lnTo>
                          <a:pt x="66" y="572"/>
                        </a:lnTo>
                        <a:lnTo>
                          <a:pt x="72" y="558"/>
                        </a:lnTo>
                        <a:lnTo>
                          <a:pt x="96" y="554"/>
                        </a:lnTo>
                        <a:lnTo>
                          <a:pt x="112" y="546"/>
                        </a:lnTo>
                        <a:lnTo>
                          <a:pt x="124" y="532"/>
                        </a:lnTo>
                        <a:lnTo>
                          <a:pt x="92" y="522"/>
                        </a:lnTo>
                        <a:lnTo>
                          <a:pt x="78" y="516"/>
                        </a:lnTo>
                        <a:lnTo>
                          <a:pt x="68" y="498"/>
                        </a:lnTo>
                        <a:lnTo>
                          <a:pt x="62" y="488"/>
                        </a:lnTo>
                        <a:lnTo>
                          <a:pt x="62" y="466"/>
                        </a:lnTo>
                        <a:lnTo>
                          <a:pt x="54" y="440"/>
                        </a:lnTo>
                        <a:lnTo>
                          <a:pt x="72" y="444"/>
                        </a:lnTo>
                        <a:lnTo>
                          <a:pt x="86" y="438"/>
                        </a:lnTo>
                        <a:lnTo>
                          <a:pt x="82" y="362"/>
                        </a:lnTo>
                        <a:lnTo>
                          <a:pt x="70" y="354"/>
                        </a:lnTo>
                        <a:lnTo>
                          <a:pt x="74" y="316"/>
                        </a:lnTo>
                        <a:lnTo>
                          <a:pt x="84" y="280"/>
                        </a:lnTo>
                        <a:lnTo>
                          <a:pt x="100" y="260"/>
                        </a:lnTo>
                        <a:lnTo>
                          <a:pt x="90" y="242"/>
                        </a:lnTo>
                        <a:lnTo>
                          <a:pt x="50" y="224"/>
                        </a:lnTo>
                        <a:lnTo>
                          <a:pt x="54" y="208"/>
                        </a:lnTo>
                        <a:lnTo>
                          <a:pt x="52" y="190"/>
                        </a:lnTo>
                        <a:lnTo>
                          <a:pt x="36" y="186"/>
                        </a:lnTo>
                        <a:lnTo>
                          <a:pt x="26" y="166"/>
                        </a:lnTo>
                        <a:lnTo>
                          <a:pt x="16" y="114"/>
                        </a:lnTo>
                        <a:lnTo>
                          <a:pt x="2" y="98"/>
                        </a:lnTo>
                        <a:lnTo>
                          <a:pt x="22" y="82"/>
                        </a:lnTo>
                        <a:lnTo>
                          <a:pt x="24" y="44"/>
                        </a:lnTo>
                        <a:lnTo>
                          <a:pt x="4" y="30"/>
                        </a:lnTo>
                        <a:lnTo>
                          <a:pt x="0"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7" name="Freeform 42"/>
                  <p:cNvSpPr>
                    <a:spLocks/>
                  </p:cNvSpPr>
                  <p:nvPr/>
                </p:nvSpPr>
                <p:spPr bwMode="auto">
                  <a:xfrm>
                    <a:off x="1200" y="1226"/>
                    <a:ext cx="884" cy="525"/>
                  </a:xfrm>
                  <a:custGeom>
                    <a:avLst/>
                    <a:gdLst/>
                    <a:ahLst/>
                    <a:cxnLst>
                      <a:cxn ang="0">
                        <a:pos x="970" y="186"/>
                      </a:cxn>
                      <a:cxn ang="0">
                        <a:pos x="960" y="128"/>
                      </a:cxn>
                      <a:cxn ang="0">
                        <a:pos x="930" y="196"/>
                      </a:cxn>
                      <a:cxn ang="0">
                        <a:pos x="892" y="168"/>
                      </a:cxn>
                      <a:cxn ang="0">
                        <a:pos x="834" y="162"/>
                      </a:cxn>
                      <a:cxn ang="0">
                        <a:pos x="760" y="166"/>
                      </a:cxn>
                      <a:cxn ang="0">
                        <a:pos x="680" y="186"/>
                      </a:cxn>
                      <a:cxn ang="0">
                        <a:pos x="608" y="72"/>
                      </a:cxn>
                      <a:cxn ang="0">
                        <a:pos x="578" y="20"/>
                      </a:cxn>
                      <a:cxn ang="0">
                        <a:pos x="540" y="42"/>
                      </a:cxn>
                      <a:cxn ang="0">
                        <a:pos x="460" y="26"/>
                      </a:cxn>
                      <a:cxn ang="0">
                        <a:pos x="408" y="56"/>
                      </a:cxn>
                      <a:cxn ang="0">
                        <a:pos x="354" y="58"/>
                      </a:cxn>
                      <a:cxn ang="0">
                        <a:pos x="328" y="94"/>
                      </a:cxn>
                      <a:cxn ang="0">
                        <a:pos x="276" y="44"/>
                      </a:cxn>
                      <a:cxn ang="0">
                        <a:pos x="176" y="60"/>
                      </a:cxn>
                      <a:cxn ang="0">
                        <a:pos x="124" y="68"/>
                      </a:cxn>
                      <a:cxn ang="0">
                        <a:pos x="72" y="74"/>
                      </a:cxn>
                      <a:cxn ang="0">
                        <a:pos x="20" y="144"/>
                      </a:cxn>
                      <a:cxn ang="0">
                        <a:pos x="148" y="166"/>
                      </a:cxn>
                      <a:cxn ang="0">
                        <a:pos x="184" y="236"/>
                      </a:cxn>
                      <a:cxn ang="0">
                        <a:pos x="104" y="228"/>
                      </a:cxn>
                      <a:cxn ang="0">
                        <a:pos x="84" y="250"/>
                      </a:cxn>
                      <a:cxn ang="0">
                        <a:pos x="156" y="300"/>
                      </a:cxn>
                      <a:cxn ang="0">
                        <a:pos x="94" y="314"/>
                      </a:cxn>
                      <a:cxn ang="0">
                        <a:pos x="38" y="320"/>
                      </a:cxn>
                      <a:cxn ang="0">
                        <a:pos x="54" y="332"/>
                      </a:cxn>
                      <a:cxn ang="0">
                        <a:pos x="124" y="434"/>
                      </a:cxn>
                      <a:cxn ang="0">
                        <a:pos x="158" y="442"/>
                      </a:cxn>
                      <a:cxn ang="0">
                        <a:pos x="214" y="384"/>
                      </a:cxn>
                      <a:cxn ang="0">
                        <a:pos x="230" y="436"/>
                      </a:cxn>
                      <a:cxn ang="0">
                        <a:pos x="268" y="472"/>
                      </a:cxn>
                      <a:cxn ang="0">
                        <a:pos x="308" y="492"/>
                      </a:cxn>
                      <a:cxn ang="0">
                        <a:pos x="416" y="522"/>
                      </a:cxn>
                      <a:cxn ang="0">
                        <a:pos x="452" y="514"/>
                      </a:cxn>
                      <a:cxn ang="0">
                        <a:pos x="484" y="550"/>
                      </a:cxn>
                      <a:cxn ang="0">
                        <a:pos x="474" y="578"/>
                      </a:cxn>
                      <a:cxn ang="0">
                        <a:pos x="516" y="616"/>
                      </a:cxn>
                      <a:cxn ang="0">
                        <a:pos x="550" y="600"/>
                      </a:cxn>
                      <a:cxn ang="0">
                        <a:pos x="634" y="634"/>
                      </a:cxn>
                      <a:cxn ang="0">
                        <a:pos x="574" y="652"/>
                      </a:cxn>
                      <a:cxn ang="0">
                        <a:pos x="634" y="664"/>
                      </a:cxn>
                      <a:cxn ang="0">
                        <a:pos x="710" y="682"/>
                      </a:cxn>
                      <a:cxn ang="0">
                        <a:pos x="806" y="690"/>
                      </a:cxn>
                      <a:cxn ang="0">
                        <a:pos x="852" y="620"/>
                      </a:cxn>
                      <a:cxn ang="0">
                        <a:pos x="960" y="614"/>
                      </a:cxn>
                      <a:cxn ang="0">
                        <a:pos x="1072" y="586"/>
                      </a:cxn>
                      <a:cxn ang="0">
                        <a:pos x="1108" y="562"/>
                      </a:cxn>
                      <a:cxn ang="0">
                        <a:pos x="1140" y="500"/>
                      </a:cxn>
                      <a:cxn ang="0">
                        <a:pos x="1164" y="420"/>
                      </a:cxn>
                      <a:cxn ang="0">
                        <a:pos x="1176" y="304"/>
                      </a:cxn>
                      <a:cxn ang="0">
                        <a:pos x="1080" y="256"/>
                      </a:cxn>
                      <a:cxn ang="0">
                        <a:pos x="1062" y="184"/>
                      </a:cxn>
                    </a:cxnLst>
                    <a:rect l="0" t="0" r="r" b="b"/>
                    <a:pathLst>
                      <a:path w="1194" h="710">
                        <a:moveTo>
                          <a:pt x="1062" y="184"/>
                        </a:moveTo>
                        <a:lnTo>
                          <a:pt x="1020" y="180"/>
                        </a:lnTo>
                        <a:lnTo>
                          <a:pt x="1008" y="184"/>
                        </a:lnTo>
                        <a:lnTo>
                          <a:pt x="970" y="186"/>
                        </a:lnTo>
                        <a:lnTo>
                          <a:pt x="958" y="158"/>
                        </a:lnTo>
                        <a:lnTo>
                          <a:pt x="962" y="144"/>
                        </a:lnTo>
                        <a:lnTo>
                          <a:pt x="976" y="134"/>
                        </a:lnTo>
                        <a:lnTo>
                          <a:pt x="960" y="128"/>
                        </a:lnTo>
                        <a:lnTo>
                          <a:pt x="944" y="136"/>
                        </a:lnTo>
                        <a:lnTo>
                          <a:pt x="924" y="144"/>
                        </a:lnTo>
                        <a:lnTo>
                          <a:pt x="914" y="160"/>
                        </a:lnTo>
                        <a:lnTo>
                          <a:pt x="930" y="196"/>
                        </a:lnTo>
                        <a:lnTo>
                          <a:pt x="936" y="212"/>
                        </a:lnTo>
                        <a:lnTo>
                          <a:pt x="912" y="218"/>
                        </a:lnTo>
                        <a:lnTo>
                          <a:pt x="904" y="186"/>
                        </a:lnTo>
                        <a:lnTo>
                          <a:pt x="892" y="168"/>
                        </a:lnTo>
                        <a:lnTo>
                          <a:pt x="880" y="156"/>
                        </a:lnTo>
                        <a:lnTo>
                          <a:pt x="852" y="158"/>
                        </a:lnTo>
                        <a:lnTo>
                          <a:pt x="850" y="178"/>
                        </a:lnTo>
                        <a:lnTo>
                          <a:pt x="834" y="162"/>
                        </a:lnTo>
                        <a:lnTo>
                          <a:pt x="820" y="158"/>
                        </a:lnTo>
                        <a:lnTo>
                          <a:pt x="808" y="142"/>
                        </a:lnTo>
                        <a:lnTo>
                          <a:pt x="778" y="150"/>
                        </a:lnTo>
                        <a:lnTo>
                          <a:pt x="760" y="166"/>
                        </a:lnTo>
                        <a:lnTo>
                          <a:pt x="740" y="162"/>
                        </a:lnTo>
                        <a:lnTo>
                          <a:pt x="724" y="178"/>
                        </a:lnTo>
                        <a:lnTo>
                          <a:pt x="696" y="204"/>
                        </a:lnTo>
                        <a:lnTo>
                          <a:pt x="680" y="186"/>
                        </a:lnTo>
                        <a:lnTo>
                          <a:pt x="676" y="170"/>
                        </a:lnTo>
                        <a:lnTo>
                          <a:pt x="650" y="162"/>
                        </a:lnTo>
                        <a:lnTo>
                          <a:pt x="646" y="116"/>
                        </a:lnTo>
                        <a:lnTo>
                          <a:pt x="608" y="72"/>
                        </a:lnTo>
                        <a:lnTo>
                          <a:pt x="614" y="56"/>
                        </a:lnTo>
                        <a:lnTo>
                          <a:pt x="596" y="44"/>
                        </a:lnTo>
                        <a:lnTo>
                          <a:pt x="594" y="28"/>
                        </a:lnTo>
                        <a:lnTo>
                          <a:pt x="578" y="20"/>
                        </a:lnTo>
                        <a:lnTo>
                          <a:pt x="576" y="0"/>
                        </a:lnTo>
                        <a:lnTo>
                          <a:pt x="562" y="8"/>
                        </a:lnTo>
                        <a:lnTo>
                          <a:pt x="544" y="26"/>
                        </a:lnTo>
                        <a:lnTo>
                          <a:pt x="540" y="42"/>
                        </a:lnTo>
                        <a:lnTo>
                          <a:pt x="522" y="8"/>
                        </a:lnTo>
                        <a:lnTo>
                          <a:pt x="484" y="12"/>
                        </a:lnTo>
                        <a:lnTo>
                          <a:pt x="472" y="36"/>
                        </a:lnTo>
                        <a:lnTo>
                          <a:pt x="460" y="26"/>
                        </a:lnTo>
                        <a:lnTo>
                          <a:pt x="454" y="10"/>
                        </a:lnTo>
                        <a:lnTo>
                          <a:pt x="430" y="8"/>
                        </a:lnTo>
                        <a:lnTo>
                          <a:pt x="418" y="36"/>
                        </a:lnTo>
                        <a:lnTo>
                          <a:pt x="408" y="56"/>
                        </a:lnTo>
                        <a:lnTo>
                          <a:pt x="406" y="78"/>
                        </a:lnTo>
                        <a:lnTo>
                          <a:pt x="394" y="72"/>
                        </a:lnTo>
                        <a:lnTo>
                          <a:pt x="388" y="62"/>
                        </a:lnTo>
                        <a:lnTo>
                          <a:pt x="354" y="58"/>
                        </a:lnTo>
                        <a:lnTo>
                          <a:pt x="342" y="40"/>
                        </a:lnTo>
                        <a:lnTo>
                          <a:pt x="330" y="56"/>
                        </a:lnTo>
                        <a:lnTo>
                          <a:pt x="326" y="74"/>
                        </a:lnTo>
                        <a:lnTo>
                          <a:pt x="328" y="94"/>
                        </a:lnTo>
                        <a:lnTo>
                          <a:pt x="312" y="90"/>
                        </a:lnTo>
                        <a:lnTo>
                          <a:pt x="306" y="72"/>
                        </a:lnTo>
                        <a:lnTo>
                          <a:pt x="272" y="72"/>
                        </a:lnTo>
                        <a:lnTo>
                          <a:pt x="276" y="44"/>
                        </a:lnTo>
                        <a:lnTo>
                          <a:pt x="254" y="52"/>
                        </a:lnTo>
                        <a:lnTo>
                          <a:pt x="208" y="34"/>
                        </a:lnTo>
                        <a:lnTo>
                          <a:pt x="204" y="58"/>
                        </a:lnTo>
                        <a:lnTo>
                          <a:pt x="176" y="60"/>
                        </a:lnTo>
                        <a:lnTo>
                          <a:pt x="176" y="42"/>
                        </a:lnTo>
                        <a:lnTo>
                          <a:pt x="154" y="42"/>
                        </a:lnTo>
                        <a:lnTo>
                          <a:pt x="156" y="62"/>
                        </a:lnTo>
                        <a:lnTo>
                          <a:pt x="124" y="68"/>
                        </a:lnTo>
                        <a:lnTo>
                          <a:pt x="114" y="84"/>
                        </a:lnTo>
                        <a:lnTo>
                          <a:pt x="102" y="94"/>
                        </a:lnTo>
                        <a:lnTo>
                          <a:pt x="74" y="94"/>
                        </a:lnTo>
                        <a:lnTo>
                          <a:pt x="72" y="74"/>
                        </a:lnTo>
                        <a:lnTo>
                          <a:pt x="26" y="74"/>
                        </a:lnTo>
                        <a:lnTo>
                          <a:pt x="20" y="100"/>
                        </a:lnTo>
                        <a:lnTo>
                          <a:pt x="26" y="114"/>
                        </a:lnTo>
                        <a:lnTo>
                          <a:pt x="20" y="144"/>
                        </a:lnTo>
                        <a:lnTo>
                          <a:pt x="22" y="156"/>
                        </a:lnTo>
                        <a:lnTo>
                          <a:pt x="18" y="170"/>
                        </a:lnTo>
                        <a:lnTo>
                          <a:pt x="98" y="170"/>
                        </a:lnTo>
                        <a:lnTo>
                          <a:pt x="148" y="166"/>
                        </a:lnTo>
                        <a:lnTo>
                          <a:pt x="148" y="182"/>
                        </a:lnTo>
                        <a:lnTo>
                          <a:pt x="152" y="194"/>
                        </a:lnTo>
                        <a:lnTo>
                          <a:pt x="166" y="214"/>
                        </a:lnTo>
                        <a:lnTo>
                          <a:pt x="184" y="236"/>
                        </a:lnTo>
                        <a:lnTo>
                          <a:pt x="182" y="262"/>
                        </a:lnTo>
                        <a:lnTo>
                          <a:pt x="168" y="248"/>
                        </a:lnTo>
                        <a:lnTo>
                          <a:pt x="138" y="226"/>
                        </a:lnTo>
                        <a:lnTo>
                          <a:pt x="104" y="228"/>
                        </a:lnTo>
                        <a:lnTo>
                          <a:pt x="78" y="224"/>
                        </a:lnTo>
                        <a:lnTo>
                          <a:pt x="72" y="246"/>
                        </a:lnTo>
                        <a:lnTo>
                          <a:pt x="72" y="262"/>
                        </a:lnTo>
                        <a:lnTo>
                          <a:pt x="84" y="250"/>
                        </a:lnTo>
                        <a:lnTo>
                          <a:pt x="100" y="240"/>
                        </a:lnTo>
                        <a:lnTo>
                          <a:pt x="142" y="252"/>
                        </a:lnTo>
                        <a:lnTo>
                          <a:pt x="146" y="282"/>
                        </a:lnTo>
                        <a:lnTo>
                          <a:pt x="156" y="300"/>
                        </a:lnTo>
                        <a:lnTo>
                          <a:pt x="150" y="322"/>
                        </a:lnTo>
                        <a:lnTo>
                          <a:pt x="128" y="322"/>
                        </a:lnTo>
                        <a:lnTo>
                          <a:pt x="116" y="314"/>
                        </a:lnTo>
                        <a:lnTo>
                          <a:pt x="94" y="314"/>
                        </a:lnTo>
                        <a:lnTo>
                          <a:pt x="84" y="304"/>
                        </a:lnTo>
                        <a:lnTo>
                          <a:pt x="66" y="316"/>
                        </a:lnTo>
                        <a:lnTo>
                          <a:pt x="54" y="308"/>
                        </a:lnTo>
                        <a:lnTo>
                          <a:pt x="38" y="320"/>
                        </a:lnTo>
                        <a:lnTo>
                          <a:pt x="0" y="322"/>
                        </a:lnTo>
                        <a:lnTo>
                          <a:pt x="10" y="336"/>
                        </a:lnTo>
                        <a:lnTo>
                          <a:pt x="36" y="336"/>
                        </a:lnTo>
                        <a:lnTo>
                          <a:pt x="54" y="332"/>
                        </a:lnTo>
                        <a:lnTo>
                          <a:pt x="98" y="358"/>
                        </a:lnTo>
                        <a:lnTo>
                          <a:pt x="116" y="396"/>
                        </a:lnTo>
                        <a:lnTo>
                          <a:pt x="124" y="422"/>
                        </a:lnTo>
                        <a:lnTo>
                          <a:pt x="124" y="434"/>
                        </a:lnTo>
                        <a:lnTo>
                          <a:pt x="110" y="442"/>
                        </a:lnTo>
                        <a:lnTo>
                          <a:pt x="110" y="458"/>
                        </a:lnTo>
                        <a:lnTo>
                          <a:pt x="170" y="458"/>
                        </a:lnTo>
                        <a:lnTo>
                          <a:pt x="158" y="442"/>
                        </a:lnTo>
                        <a:lnTo>
                          <a:pt x="166" y="426"/>
                        </a:lnTo>
                        <a:lnTo>
                          <a:pt x="188" y="406"/>
                        </a:lnTo>
                        <a:lnTo>
                          <a:pt x="194" y="374"/>
                        </a:lnTo>
                        <a:lnTo>
                          <a:pt x="214" y="384"/>
                        </a:lnTo>
                        <a:lnTo>
                          <a:pt x="204" y="390"/>
                        </a:lnTo>
                        <a:lnTo>
                          <a:pt x="200" y="406"/>
                        </a:lnTo>
                        <a:lnTo>
                          <a:pt x="204" y="432"/>
                        </a:lnTo>
                        <a:lnTo>
                          <a:pt x="230" y="436"/>
                        </a:lnTo>
                        <a:lnTo>
                          <a:pt x="234" y="420"/>
                        </a:lnTo>
                        <a:lnTo>
                          <a:pt x="248" y="436"/>
                        </a:lnTo>
                        <a:lnTo>
                          <a:pt x="260" y="446"/>
                        </a:lnTo>
                        <a:lnTo>
                          <a:pt x="268" y="472"/>
                        </a:lnTo>
                        <a:lnTo>
                          <a:pt x="290" y="482"/>
                        </a:lnTo>
                        <a:lnTo>
                          <a:pt x="298" y="466"/>
                        </a:lnTo>
                        <a:lnTo>
                          <a:pt x="318" y="466"/>
                        </a:lnTo>
                        <a:lnTo>
                          <a:pt x="308" y="492"/>
                        </a:lnTo>
                        <a:lnTo>
                          <a:pt x="346" y="488"/>
                        </a:lnTo>
                        <a:lnTo>
                          <a:pt x="380" y="528"/>
                        </a:lnTo>
                        <a:lnTo>
                          <a:pt x="396" y="540"/>
                        </a:lnTo>
                        <a:lnTo>
                          <a:pt x="416" y="522"/>
                        </a:lnTo>
                        <a:lnTo>
                          <a:pt x="430" y="518"/>
                        </a:lnTo>
                        <a:lnTo>
                          <a:pt x="442" y="508"/>
                        </a:lnTo>
                        <a:lnTo>
                          <a:pt x="466" y="500"/>
                        </a:lnTo>
                        <a:lnTo>
                          <a:pt x="452" y="514"/>
                        </a:lnTo>
                        <a:lnTo>
                          <a:pt x="442" y="534"/>
                        </a:lnTo>
                        <a:lnTo>
                          <a:pt x="446" y="558"/>
                        </a:lnTo>
                        <a:lnTo>
                          <a:pt x="472" y="560"/>
                        </a:lnTo>
                        <a:lnTo>
                          <a:pt x="484" y="550"/>
                        </a:lnTo>
                        <a:lnTo>
                          <a:pt x="482" y="534"/>
                        </a:lnTo>
                        <a:lnTo>
                          <a:pt x="510" y="530"/>
                        </a:lnTo>
                        <a:lnTo>
                          <a:pt x="498" y="554"/>
                        </a:lnTo>
                        <a:lnTo>
                          <a:pt x="474" y="578"/>
                        </a:lnTo>
                        <a:lnTo>
                          <a:pt x="482" y="608"/>
                        </a:lnTo>
                        <a:lnTo>
                          <a:pt x="486" y="628"/>
                        </a:lnTo>
                        <a:lnTo>
                          <a:pt x="510" y="634"/>
                        </a:lnTo>
                        <a:lnTo>
                          <a:pt x="516" y="616"/>
                        </a:lnTo>
                        <a:lnTo>
                          <a:pt x="524" y="604"/>
                        </a:lnTo>
                        <a:lnTo>
                          <a:pt x="532" y="624"/>
                        </a:lnTo>
                        <a:lnTo>
                          <a:pt x="550" y="630"/>
                        </a:lnTo>
                        <a:lnTo>
                          <a:pt x="550" y="600"/>
                        </a:lnTo>
                        <a:lnTo>
                          <a:pt x="572" y="622"/>
                        </a:lnTo>
                        <a:lnTo>
                          <a:pt x="582" y="614"/>
                        </a:lnTo>
                        <a:lnTo>
                          <a:pt x="636" y="614"/>
                        </a:lnTo>
                        <a:lnTo>
                          <a:pt x="634" y="634"/>
                        </a:lnTo>
                        <a:lnTo>
                          <a:pt x="620" y="644"/>
                        </a:lnTo>
                        <a:lnTo>
                          <a:pt x="618" y="662"/>
                        </a:lnTo>
                        <a:lnTo>
                          <a:pt x="594" y="662"/>
                        </a:lnTo>
                        <a:lnTo>
                          <a:pt x="574" y="652"/>
                        </a:lnTo>
                        <a:lnTo>
                          <a:pt x="572" y="664"/>
                        </a:lnTo>
                        <a:lnTo>
                          <a:pt x="588" y="680"/>
                        </a:lnTo>
                        <a:lnTo>
                          <a:pt x="626" y="678"/>
                        </a:lnTo>
                        <a:lnTo>
                          <a:pt x="634" y="664"/>
                        </a:lnTo>
                        <a:lnTo>
                          <a:pt x="652" y="670"/>
                        </a:lnTo>
                        <a:lnTo>
                          <a:pt x="666" y="658"/>
                        </a:lnTo>
                        <a:lnTo>
                          <a:pt x="666" y="680"/>
                        </a:lnTo>
                        <a:lnTo>
                          <a:pt x="710" y="682"/>
                        </a:lnTo>
                        <a:lnTo>
                          <a:pt x="722" y="680"/>
                        </a:lnTo>
                        <a:lnTo>
                          <a:pt x="746" y="710"/>
                        </a:lnTo>
                        <a:lnTo>
                          <a:pt x="776" y="698"/>
                        </a:lnTo>
                        <a:lnTo>
                          <a:pt x="806" y="690"/>
                        </a:lnTo>
                        <a:lnTo>
                          <a:pt x="810" y="670"/>
                        </a:lnTo>
                        <a:lnTo>
                          <a:pt x="814" y="642"/>
                        </a:lnTo>
                        <a:lnTo>
                          <a:pt x="824" y="620"/>
                        </a:lnTo>
                        <a:lnTo>
                          <a:pt x="852" y="620"/>
                        </a:lnTo>
                        <a:lnTo>
                          <a:pt x="884" y="628"/>
                        </a:lnTo>
                        <a:lnTo>
                          <a:pt x="912" y="604"/>
                        </a:lnTo>
                        <a:lnTo>
                          <a:pt x="956" y="602"/>
                        </a:lnTo>
                        <a:lnTo>
                          <a:pt x="960" y="614"/>
                        </a:lnTo>
                        <a:lnTo>
                          <a:pt x="978" y="580"/>
                        </a:lnTo>
                        <a:lnTo>
                          <a:pt x="1000" y="586"/>
                        </a:lnTo>
                        <a:lnTo>
                          <a:pt x="1038" y="558"/>
                        </a:lnTo>
                        <a:lnTo>
                          <a:pt x="1072" y="586"/>
                        </a:lnTo>
                        <a:lnTo>
                          <a:pt x="1078" y="572"/>
                        </a:lnTo>
                        <a:lnTo>
                          <a:pt x="1090" y="594"/>
                        </a:lnTo>
                        <a:lnTo>
                          <a:pt x="1102" y="590"/>
                        </a:lnTo>
                        <a:lnTo>
                          <a:pt x="1108" y="562"/>
                        </a:lnTo>
                        <a:lnTo>
                          <a:pt x="1128" y="554"/>
                        </a:lnTo>
                        <a:lnTo>
                          <a:pt x="1128" y="526"/>
                        </a:lnTo>
                        <a:lnTo>
                          <a:pt x="1142" y="514"/>
                        </a:lnTo>
                        <a:lnTo>
                          <a:pt x="1140" y="500"/>
                        </a:lnTo>
                        <a:lnTo>
                          <a:pt x="1150" y="490"/>
                        </a:lnTo>
                        <a:lnTo>
                          <a:pt x="1190" y="494"/>
                        </a:lnTo>
                        <a:lnTo>
                          <a:pt x="1182" y="428"/>
                        </a:lnTo>
                        <a:lnTo>
                          <a:pt x="1164" y="420"/>
                        </a:lnTo>
                        <a:lnTo>
                          <a:pt x="1172" y="356"/>
                        </a:lnTo>
                        <a:lnTo>
                          <a:pt x="1182" y="340"/>
                        </a:lnTo>
                        <a:lnTo>
                          <a:pt x="1194" y="326"/>
                        </a:lnTo>
                        <a:lnTo>
                          <a:pt x="1176" y="304"/>
                        </a:lnTo>
                        <a:lnTo>
                          <a:pt x="1188" y="226"/>
                        </a:lnTo>
                        <a:lnTo>
                          <a:pt x="1120" y="224"/>
                        </a:lnTo>
                        <a:lnTo>
                          <a:pt x="1104" y="240"/>
                        </a:lnTo>
                        <a:lnTo>
                          <a:pt x="1080" y="256"/>
                        </a:lnTo>
                        <a:lnTo>
                          <a:pt x="1068" y="246"/>
                        </a:lnTo>
                        <a:lnTo>
                          <a:pt x="1060" y="234"/>
                        </a:lnTo>
                        <a:lnTo>
                          <a:pt x="1058" y="212"/>
                        </a:lnTo>
                        <a:lnTo>
                          <a:pt x="1062" y="184"/>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8" name="Freeform 43"/>
                  <p:cNvSpPr>
                    <a:spLocks/>
                  </p:cNvSpPr>
                  <p:nvPr/>
                </p:nvSpPr>
                <p:spPr bwMode="auto">
                  <a:xfrm>
                    <a:off x="1524" y="1747"/>
                    <a:ext cx="42" cy="46"/>
                  </a:xfrm>
                  <a:custGeom>
                    <a:avLst/>
                    <a:gdLst/>
                    <a:ahLst/>
                    <a:cxnLst>
                      <a:cxn ang="0">
                        <a:pos x="4" y="0"/>
                      </a:cxn>
                      <a:cxn ang="0">
                        <a:pos x="0" y="38"/>
                      </a:cxn>
                      <a:cxn ang="0">
                        <a:pos x="10" y="58"/>
                      </a:cxn>
                      <a:cxn ang="0">
                        <a:pos x="38" y="62"/>
                      </a:cxn>
                      <a:cxn ang="0">
                        <a:pos x="54" y="56"/>
                      </a:cxn>
                      <a:cxn ang="0">
                        <a:pos x="56" y="34"/>
                      </a:cxn>
                      <a:cxn ang="0">
                        <a:pos x="34" y="18"/>
                      </a:cxn>
                      <a:cxn ang="0">
                        <a:pos x="24" y="10"/>
                      </a:cxn>
                      <a:cxn ang="0">
                        <a:pos x="4" y="0"/>
                      </a:cxn>
                    </a:cxnLst>
                    <a:rect l="0" t="0" r="r" b="b"/>
                    <a:pathLst>
                      <a:path w="56" h="62">
                        <a:moveTo>
                          <a:pt x="4" y="0"/>
                        </a:moveTo>
                        <a:lnTo>
                          <a:pt x="0" y="38"/>
                        </a:lnTo>
                        <a:lnTo>
                          <a:pt x="10" y="58"/>
                        </a:lnTo>
                        <a:lnTo>
                          <a:pt x="38" y="62"/>
                        </a:lnTo>
                        <a:lnTo>
                          <a:pt x="54" y="56"/>
                        </a:lnTo>
                        <a:lnTo>
                          <a:pt x="56" y="34"/>
                        </a:lnTo>
                        <a:lnTo>
                          <a:pt x="34" y="18"/>
                        </a:lnTo>
                        <a:lnTo>
                          <a:pt x="24" y="10"/>
                        </a:lnTo>
                        <a:lnTo>
                          <a:pt x="4"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69" name="Freeform 44"/>
                  <p:cNvSpPr>
                    <a:spLocks/>
                  </p:cNvSpPr>
                  <p:nvPr/>
                </p:nvSpPr>
                <p:spPr bwMode="auto">
                  <a:xfrm>
                    <a:off x="1694" y="1389"/>
                    <a:ext cx="832" cy="817"/>
                  </a:xfrm>
                  <a:custGeom>
                    <a:avLst/>
                    <a:gdLst/>
                    <a:ahLst/>
                    <a:cxnLst>
                      <a:cxn ang="0">
                        <a:pos x="572" y="12"/>
                      </a:cxn>
                      <a:cxn ang="0">
                        <a:pos x="634" y="52"/>
                      </a:cxn>
                      <a:cxn ang="0">
                        <a:pos x="718" y="34"/>
                      </a:cxn>
                      <a:cxn ang="0">
                        <a:pos x="784" y="36"/>
                      </a:cxn>
                      <a:cxn ang="0">
                        <a:pos x="810" y="0"/>
                      </a:cxn>
                      <a:cxn ang="0">
                        <a:pos x="866" y="98"/>
                      </a:cxn>
                      <a:cxn ang="0">
                        <a:pos x="958" y="70"/>
                      </a:cxn>
                      <a:cxn ang="0">
                        <a:pos x="1006" y="148"/>
                      </a:cxn>
                      <a:cxn ang="0">
                        <a:pos x="1044" y="184"/>
                      </a:cxn>
                      <a:cxn ang="0">
                        <a:pos x="1088" y="182"/>
                      </a:cxn>
                      <a:cxn ang="0">
                        <a:pos x="1124" y="256"/>
                      </a:cxn>
                      <a:cxn ang="0">
                        <a:pos x="1102" y="402"/>
                      </a:cxn>
                      <a:cxn ang="0">
                        <a:pos x="982" y="508"/>
                      </a:cxn>
                      <a:cxn ang="0">
                        <a:pos x="922" y="524"/>
                      </a:cxn>
                      <a:cxn ang="0">
                        <a:pos x="886" y="590"/>
                      </a:cxn>
                      <a:cxn ang="0">
                        <a:pos x="846" y="722"/>
                      </a:cxn>
                      <a:cxn ang="0">
                        <a:pos x="798" y="748"/>
                      </a:cxn>
                      <a:cxn ang="0">
                        <a:pos x="762" y="742"/>
                      </a:cxn>
                      <a:cxn ang="0">
                        <a:pos x="692" y="754"/>
                      </a:cxn>
                      <a:cxn ang="0">
                        <a:pos x="620" y="784"/>
                      </a:cxn>
                      <a:cxn ang="0">
                        <a:pos x="528" y="748"/>
                      </a:cxn>
                      <a:cxn ang="0">
                        <a:pos x="508" y="796"/>
                      </a:cxn>
                      <a:cxn ang="0">
                        <a:pos x="544" y="852"/>
                      </a:cxn>
                      <a:cxn ang="0">
                        <a:pos x="608" y="944"/>
                      </a:cxn>
                      <a:cxn ang="0">
                        <a:pos x="586" y="1016"/>
                      </a:cxn>
                      <a:cxn ang="0">
                        <a:pos x="614" y="1082"/>
                      </a:cxn>
                      <a:cxn ang="0">
                        <a:pos x="554" y="1104"/>
                      </a:cxn>
                      <a:cxn ang="0">
                        <a:pos x="474" y="1082"/>
                      </a:cxn>
                      <a:cxn ang="0">
                        <a:pos x="430" y="1082"/>
                      </a:cxn>
                      <a:cxn ang="0">
                        <a:pos x="372" y="1098"/>
                      </a:cxn>
                      <a:cxn ang="0">
                        <a:pos x="326" y="1076"/>
                      </a:cxn>
                      <a:cxn ang="0">
                        <a:pos x="270" y="1030"/>
                      </a:cxn>
                      <a:cxn ang="0">
                        <a:pos x="182" y="968"/>
                      </a:cxn>
                      <a:cxn ang="0">
                        <a:pos x="162" y="888"/>
                      </a:cxn>
                      <a:cxn ang="0">
                        <a:pos x="106" y="808"/>
                      </a:cxn>
                      <a:cxn ang="0">
                        <a:pos x="146" y="736"/>
                      </a:cxn>
                      <a:cxn ang="0">
                        <a:pos x="100" y="660"/>
                      </a:cxn>
                      <a:cxn ang="0">
                        <a:pos x="188" y="600"/>
                      </a:cxn>
                      <a:cxn ang="0">
                        <a:pos x="288" y="654"/>
                      </a:cxn>
                      <a:cxn ang="0">
                        <a:pos x="194" y="602"/>
                      </a:cxn>
                      <a:cxn ang="0">
                        <a:pos x="106" y="570"/>
                      </a:cxn>
                      <a:cxn ang="0">
                        <a:pos x="62" y="604"/>
                      </a:cxn>
                      <a:cxn ang="0">
                        <a:pos x="10" y="552"/>
                      </a:cxn>
                      <a:cxn ang="0">
                        <a:pos x="40" y="510"/>
                      </a:cxn>
                      <a:cxn ang="0">
                        <a:pos x="54" y="464"/>
                      </a:cxn>
                      <a:cxn ang="0">
                        <a:pos x="136" y="468"/>
                      </a:cxn>
                      <a:cxn ang="0">
                        <a:pos x="194" y="398"/>
                      </a:cxn>
                      <a:cxn ang="0">
                        <a:pos x="290" y="378"/>
                      </a:cxn>
                      <a:cxn ang="0">
                        <a:pos x="374" y="336"/>
                      </a:cxn>
                      <a:cxn ang="0">
                        <a:pos x="416" y="370"/>
                      </a:cxn>
                      <a:cxn ang="0">
                        <a:pos x="460" y="332"/>
                      </a:cxn>
                      <a:cxn ang="0">
                        <a:pos x="468" y="276"/>
                      </a:cxn>
                      <a:cxn ang="0">
                        <a:pos x="512" y="216"/>
                      </a:cxn>
                      <a:cxn ang="0">
                        <a:pos x="518" y="108"/>
                      </a:cxn>
                    </a:cxnLst>
                    <a:rect l="0" t="0" r="r" b="b"/>
                    <a:pathLst>
                      <a:path w="1124" h="1104">
                        <a:moveTo>
                          <a:pt x="518" y="4"/>
                        </a:moveTo>
                        <a:lnTo>
                          <a:pt x="556" y="24"/>
                        </a:lnTo>
                        <a:lnTo>
                          <a:pt x="572" y="12"/>
                        </a:lnTo>
                        <a:lnTo>
                          <a:pt x="598" y="18"/>
                        </a:lnTo>
                        <a:lnTo>
                          <a:pt x="622" y="50"/>
                        </a:lnTo>
                        <a:lnTo>
                          <a:pt x="634" y="52"/>
                        </a:lnTo>
                        <a:lnTo>
                          <a:pt x="658" y="42"/>
                        </a:lnTo>
                        <a:lnTo>
                          <a:pt x="700" y="46"/>
                        </a:lnTo>
                        <a:lnTo>
                          <a:pt x="718" y="34"/>
                        </a:lnTo>
                        <a:lnTo>
                          <a:pt x="744" y="38"/>
                        </a:lnTo>
                        <a:lnTo>
                          <a:pt x="758" y="44"/>
                        </a:lnTo>
                        <a:lnTo>
                          <a:pt x="784" y="36"/>
                        </a:lnTo>
                        <a:lnTo>
                          <a:pt x="784" y="24"/>
                        </a:lnTo>
                        <a:lnTo>
                          <a:pt x="784" y="0"/>
                        </a:lnTo>
                        <a:lnTo>
                          <a:pt x="810" y="0"/>
                        </a:lnTo>
                        <a:lnTo>
                          <a:pt x="818" y="42"/>
                        </a:lnTo>
                        <a:lnTo>
                          <a:pt x="860" y="66"/>
                        </a:lnTo>
                        <a:lnTo>
                          <a:pt x="866" y="98"/>
                        </a:lnTo>
                        <a:lnTo>
                          <a:pt x="874" y="82"/>
                        </a:lnTo>
                        <a:lnTo>
                          <a:pt x="928" y="82"/>
                        </a:lnTo>
                        <a:lnTo>
                          <a:pt x="958" y="70"/>
                        </a:lnTo>
                        <a:lnTo>
                          <a:pt x="986" y="92"/>
                        </a:lnTo>
                        <a:lnTo>
                          <a:pt x="990" y="126"/>
                        </a:lnTo>
                        <a:lnTo>
                          <a:pt x="1006" y="148"/>
                        </a:lnTo>
                        <a:lnTo>
                          <a:pt x="1022" y="150"/>
                        </a:lnTo>
                        <a:lnTo>
                          <a:pt x="1028" y="170"/>
                        </a:lnTo>
                        <a:lnTo>
                          <a:pt x="1044" y="184"/>
                        </a:lnTo>
                        <a:lnTo>
                          <a:pt x="1056" y="182"/>
                        </a:lnTo>
                        <a:lnTo>
                          <a:pt x="1068" y="164"/>
                        </a:lnTo>
                        <a:lnTo>
                          <a:pt x="1088" y="182"/>
                        </a:lnTo>
                        <a:lnTo>
                          <a:pt x="1088" y="206"/>
                        </a:lnTo>
                        <a:lnTo>
                          <a:pt x="1118" y="228"/>
                        </a:lnTo>
                        <a:lnTo>
                          <a:pt x="1124" y="256"/>
                        </a:lnTo>
                        <a:lnTo>
                          <a:pt x="1118" y="288"/>
                        </a:lnTo>
                        <a:lnTo>
                          <a:pt x="1122" y="334"/>
                        </a:lnTo>
                        <a:lnTo>
                          <a:pt x="1102" y="402"/>
                        </a:lnTo>
                        <a:lnTo>
                          <a:pt x="1064" y="434"/>
                        </a:lnTo>
                        <a:lnTo>
                          <a:pt x="1052" y="464"/>
                        </a:lnTo>
                        <a:lnTo>
                          <a:pt x="982" y="508"/>
                        </a:lnTo>
                        <a:lnTo>
                          <a:pt x="970" y="504"/>
                        </a:lnTo>
                        <a:lnTo>
                          <a:pt x="954" y="536"/>
                        </a:lnTo>
                        <a:lnTo>
                          <a:pt x="922" y="524"/>
                        </a:lnTo>
                        <a:lnTo>
                          <a:pt x="894" y="524"/>
                        </a:lnTo>
                        <a:lnTo>
                          <a:pt x="914" y="544"/>
                        </a:lnTo>
                        <a:lnTo>
                          <a:pt x="886" y="590"/>
                        </a:lnTo>
                        <a:lnTo>
                          <a:pt x="886" y="618"/>
                        </a:lnTo>
                        <a:lnTo>
                          <a:pt x="846" y="654"/>
                        </a:lnTo>
                        <a:lnTo>
                          <a:pt x="846" y="722"/>
                        </a:lnTo>
                        <a:lnTo>
                          <a:pt x="818" y="702"/>
                        </a:lnTo>
                        <a:lnTo>
                          <a:pt x="816" y="718"/>
                        </a:lnTo>
                        <a:lnTo>
                          <a:pt x="798" y="748"/>
                        </a:lnTo>
                        <a:lnTo>
                          <a:pt x="786" y="742"/>
                        </a:lnTo>
                        <a:lnTo>
                          <a:pt x="766" y="762"/>
                        </a:lnTo>
                        <a:lnTo>
                          <a:pt x="762" y="742"/>
                        </a:lnTo>
                        <a:lnTo>
                          <a:pt x="742" y="730"/>
                        </a:lnTo>
                        <a:lnTo>
                          <a:pt x="724" y="730"/>
                        </a:lnTo>
                        <a:lnTo>
                          <a:pt x="692" y="754"/>
                        </a:lnTo>
                        <a:lnTo>
                          <a:pt x="642" y="750"/>
                        </a:lnTo>
                        <a:lnTo>
                          <a:pt x="648" y="768"/>
                        </a:lnTo>
                        <a:lnTo>
                          <a:pt x="620" y="784"/>
                        </a:lnTo>
                        <a:lnTo>
                          <a:pt x="594" y="796"/>
                        </a:lnTo>
                        <a:lnTo>
                          <a:pt x="562" y="766"/>
                        </a:lnTo>
                        <a:lnTo>
                          <a:pt x="528" y="748"/>
                        </a:lnTo>
                        <a:lnTo>
                          <a:pt x="488" y="744"/>
                        </a:lnTo>
                        <a:lnTo>
                          <a:pt x="496" y="782"/>
                        </a:lnTo>
                        <a:lnTo>
                          <a:pt x="508" y="796"/>
                        </a:lnTo>
                        <a:lnTo>
                          <a:pt x="520" y="796"/>
                        </a:lnTo>
                        <a:lnTo>
                          <a:pt x="526" y="848"/>
                        </a:lnTo>
                        <a:lnTo>
                          <a:pt x="544" y="852"/>
                        </a:lnTo>
                        <a:lnTo>
                          <a:pt x="562" y="852"/>
                        </a:lnTo>
                        <a:lnTo>
                          <a:pt x="568" y="898"/>
                        </a:lnTo>
                        <a:lnTo>
                          <a:pt x="608" y="944"/>
                        </a:lnTo>
                        <a:lnTo>
                          <a:pt x="582" y="956"/>
                        </a:lnTo>
                        <a:lnTo>
                          <a:pt x="598" y="974"/>
                        </a:lnTo>
                        <a:lnTo>
                          <a:pt x="586" y="1016"/>
                        </a:lnTo>
                        <a:lnTo>
                          <a:pt x="588" y="1034"/>
                        </a:lnTo>
                        <a:lnTo>
                          <a:pt x="574" y="1050"/>
                        </a:lnTo>
                        <a:lnTo>
                          <a:pt x="614" y="1082"/>
                        </a:lnTo>
                        <a:lnTo>
                          <a:pt x="606" y="1092"/>
                        </a:lnTo>
                        <a:lnTo>
                          <a:pt x="560" y="1094"/>
                        </a:lnTo>
                        <a:lnTo>
                          <a:pt x="554" y="1104"/>
                        </a:lnTo>
                        <a:lnTo>
                          <a:pt x="450" y="1096"/>
                        </a:lnTo>
                        <a:lnTo>
                          <a:pt x="460" y="1080"/>
                        </a:lnTo>
                        <a:lnTo>
                          <a:pt x="474" y="1082"/>
                        </a:lnTo>
                        <a:lnTo>
                          <a:pt x="474" y="1066"/>
                        </a:lnTo>
                        <a:lnTo>
                          <a:pt x="434" y="1066"/>
                        </a:lnTo>
                        <a:lnTo>
                          <a:pt x="430" y="1082"/>
                        </a:lnTo>
                        <a:lnTo>
                          <a:pt x="406" y="1076"/>
                        </a:lnTo>
                        <a:lnTo>
                          <a:pt x="382" y="1074"/>
                        </a:lnTo>
                        <a:lnTo>
                          <a:pt x="372" y="1098"/>
                        </a:lnTo>
                        <a:lnTo>
                          <a:pt x="360" y="1096"/>
                        </a:lnTo>
                        <a:lnTo>
                          <a:pt x="356" y="1076"/>
                        </a:lnTo>
                        <a:lnTo>
                          <a:pt x="326" y="1076"/>
                        </a:lnTo>
                        <a:lnTo>
                          <a:pt x="312" y="1070"/>
                        </a:lnTo>
                        <a:lnTo>
                          <a:pt x="284" y="1066"/>
                        </a:lnTo>
                        <a:lnTo>
                          <a:pt x="270" y="1030"/>
                        </a:lnTo>
                        <a:lnTo>
                          <a:pt x="246" y="1032"/>
                        </a:lnTo>
                        <a:lnTo>
                          <a:pt x="206" y="990"/>
                        </a:lnTo>
                        <a:lnTo>
                          <a:pt x="182" y="968"/>
                        </a:lnTo>
                        <a:lnTo>
                          <a:pt x="182" y="940"/>
                        </a:lnTo>
                        <a:lnTo>
                          <a:pt x="162" y="902"/>
                        </a:lnTo>
                        <a:lnTo>
                          <a:pt x="162" y="888"/>
                        </a:lnTo>
                        <a:lnTo>
                          <a:pt x="124" y="850"/>
                        </a:lnTo>
                        <a:lnTo>
                          <a:pt x="116" y="826"/>
                        </a:lnTo>
                        <a:lnTo>
                          <a:pt x="106" y="808"/>
                        </a:lnTo>
                        <a:lnTo>
                          <a:pt x="106" y="772"/>
                        </a:lnTo>
                        <a:lnTo>
                          <a:pt x="132" y="764"/>
                        </a:lnTo>
                        <a:lnTo>
                          <a:pt x="146" y="736"/>
                        </a:lnTo>
                        <a:lnTo>
                          <a:pt x="162" y="714"/>
                        </a:lnTo>
                        <a:lnTo>
                          <a:pt x="130" y="672"/>
                        </a:lnTo>
                        <a:lnTo>
                          <a:pt x="100" y="660"/>
                        </a:lnTo>
                        <a:lnTo>
                          <a:pt x="114" y="620"/>
                        </a:lnTo>
                        <a:lnTo>
                          <a:pt x="130" y="600"/>
                        </a:lnTo>
                        <a:lnTo>
                          <a:pt x="188" y="600"/>
                        </a:lnTo>
                        <a:lnTo>
                          <a:pt x="232" y="634"/>
                        </a:lnTo>
                        <a:lnTo>
                          <a:pt x="254" y="654"/>
                        </a:lnTo>
                        <a:lnTo>
                          <a:pt x="288" y="654"/>
                        </a:lnTo>
                        <a:lnTo>
                          <a:pt x="248" y="650"/>
                        </a:lnTo>
                        <a:lnTo>
                          <a:pt x="218" y="620"/>
                        </a:lnTo>
                        <a:lnTo>
                          <a:pt x="194" y="602"/>
                        </a:lnTo>
                        <a:lnTo>
                          <a:pt x="194" y="586"/>
                        </a:lnTo>
                        <a:lnTo>
                          <a:pt x="184" y="566"/>
                        </a:lnTo>
                        <a:lnTo>
                          <a:pt x="106" y="570"/>
                        </a:lnTo>
                        <a:lnTo>
                          <a:pt x="94" y="598"/>
                        </a:lnTo>
                        <a:lnTo>
                          <a:pt x="76" y="616"/>
                        </a:lnTo>
                        <a:lnTo>
                          <a:pt x="62" y="604"/>
                        </a:lnTo>
                        <a:lnTo>
                          <a:pt x="48" y="588"/>
                        </a:lnTo>
                        <a:lnTo>
                          <a:pt x="8" y="584"/>
                        </a:lnTo>
                        <a:lnTo>
                          <a:pt x="10" y="552"/>
                        </a:lnTo>
                        <a:lnTo>
                          <a:pt x="0" y="528"/>
                        </a:lnTo>
                        <a:lnTo>
                          <a:pt x="28" y="522"/>
                        </a:lnTo>
                        <a:lnTo>
                          <a:pt x="40" y="510"/>
                        </a:lnTo>
                        <a:lnTo>
                          <a:pt x="28" y="484"/>
                        </a:lnTo>
                        <a:lnTo>
                          <a:pt x="40" y="468"/>
                        </a:lnTo>
                        <a:lnTo>
                          <a:pt x="54" y="464"/>
                        </a:lnTo>
                        <a:lnTo>
                          <a:pt x="76" y="492"/>
                        </a:lnTo>
                        <a:lnTo>
                          <a:pt x="106" y="476"/>
                        </a:lnTo>
                        <a:lnTo>
                          <a:pt x="136" y="468"/>
                        </a:lnTo>
                        <a:lnTo>
                          <a:pt x="142" y="424"/>
                        </a:lnTo>
                        <a:lnTo>
                          <a:pt x="154" y="396"/>
                        </a:lnTo>
                        <a:lnTo>
                          <a:pt x="194" y="398"/>
                        </a:lnTo>
                        <a:lnTo>
                          <a:pt x="216" y="404"/>
                        </a:lnTo>
                        <a:lnTo>
                          <a:pt x="242" y="382"/>
                        </a:lnTo>
                        <a:lnTo>
                          <a:pt x="290" y="378"/>
                        </a:lnTo>
                        <a:lnTo>
                          <a:pt x="304" y="358"/>
                        </a:lnTo>
                        <a:lnTo>
                          <a:pt x="338" y="364"/>
                        </a:lnTo>
                        <a:lnTo>
                          <a:pt x="374" y="336"/>
                        </a:lnTo>
                        <a:lnTo>
                          <a:pt x="404" y="356"/>
                        </a:lnTo>
                        <a:lnTo>
                          <a:pt x="412" y="354"/>
                        </a:lnTo>
                        <a:lnTo>
                          <a:pt x="416" y="370"/>
                        </a:lnTo>
                        <a:lnTo>
                          <a:pt x="430" y="374"/>
                        </a:lnTo>
                        <a:lnTo>
                          <a:pt x="440" y="338"/>
                        </a:lnTo>
                        <a:lnTo>
                          <a:pt x="460" y="332"/>
                        </a:lnTo>
                        <a:lnTo>
                          <a:pt x="458" y="294"/>
                        </a:lnTo>
                        <a:lnTo>
                          <a:pt x="470" y="290"/>
                        </a:lnTo>
                        <a:lnTo>
                          <a:pt x="468" y="276"/>
                        </a:lnTo>
                        <a:lnTo>
                          <a:pt x="478" y="264"/>
                        </a:lnTo>
                        <a:lnTo>
                          <a:pt x="518" y="272"/>
                        </a:lnTo>
                        <a:lnTo>
                          <a:pt x="512" y="216"/>
                        </a:lnTo>
                        <a:lnTo>
                          <a:pt x="492" y="204"/>
                        </a:lnTo>
                        <a:lnTo>
                          <a:pt x="502" y="130"/>
                        </a:lnTo>
                        <a:lnTo>
                          <a:pt x="518" y="108"/>
                        </a:lnTo>
                        <a:lnTo>
                          <a:pt x="506" y="78"/>
                        </a:lnTo>
                        <a:lnTo>
                          <a:pt x="518" y="4"/>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70" name="Freeform 45"/>
                  <p:cNvSpPr>
                    <a:spLocks/>
                  </p:cNvSpPr>
                  <p:nvPr/>
                </p:nvSpPr>
                <p:spPr bwMode="auto">
                  <a:xfrm>
                    <a:off x="1907" y="2277"/>
                    <a:ext cx="51" cy="85"/>
                  </a:xfrm>
                  <a:custGeom>
                    <a:avLst/>
                    <a:gdLst/>
                    <a:ahLst/>
                    <a:cxnLst>
                      <a:cxn ang="0">
                        <a:pos x="68" y="116"/>
                      </a:cxn>
                      <a:cxn ang="0">
                        <a:pos x="64" y="86"/>
                      </a:cxn>
                      <a:cxn ang="0">
                        <a:pos x="39" y="18"/>
                      </a:cxn>
                      <a:cxn ang="0">
                        <a:pos x="4" y="0"/>
                      </a:cxn>
                      <a:cxn ang="0">
                        <a:pos x="2" y="20"/>
                      </a:cxn>
                      <a:cxn ang="0">
                        <a:pos x="0" y="38"/>
                      </a:cxn>
                      <a:cxn ang="0">
                        <a:pos x="18" y="52"/>
                      </a:cxn>
                      <a:cxn ang="0">
                        <a:pos x="38" y="66"/>
                      </a:cxn>
                      <a:cxn ang="0">
                        <a:pos x="68" y="116"/>
                      </a:cxn>
                    </a:cxnLst>
                    <a:rect l="0" t="0" r="r" b="b"/>
                    <a:pathLst>
                      <a:path w="68" h="116">
                        <a:moveTo>
                          <a:pt x="68" y="116"/>
                        </a:moveTo>
                        <a:lnTo>
                          <a:pt x="64" y="86"/>
                        </a:lnTo>
                        <a:lnTo>
                          <a:pt x="39" y="18"/>
                        </a:lnTo>
                        <a:lnTo>
                          <a:pt x="4" y="0"/>
                        </a:lnTo>
                        <a:lnTo>
                          <a:pt x="2" y="20"/>
                        </a:lnTo>
                        <a:lnTo>
                          <a:pt x="0" y="38"/>
                        </a:lnTo>
                        <a:lnTo>
                          <a:pt x="18" y="52"/>
                        </a:lnTo>
                        <a:lnTo>
                          <a:pt x="38" y="66"/>
                        </a:lnTo>
                        <a:lnTo>
                          <a:pt x="68" y="116"/>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71" name="Freeform 46"/>
                  <p:cNvSpPr>
                    <a:spLocks/>
                  </p:cNvSpPr>
                  <p:nvPr/>
                </p:nvSpPr>
                <p:spPr bwMode="auto">
                  <a:xfrm>
                    <a:off x="1879" y="2198"/>
                    <a:ext cx="62" cy="57"/>
                  </a:xfrm>
                  <a:custGeom>
                    <a:avLst/>
                    <a:gdLst/>
                    <a:ahLst/>
                    <a:cxnLst>
                      <a:cxn ang="0">
                        <a:pos x="0" y="0"/>
                      </a:cxn>
                      <a:cxn ang="0">
                        <a:pos x="10" y="28"/>
                      </a:cxn>
                      <a:cxn ang="0">
                        <a:pos x="26" y="32"/>
                      </a:cxn>
                      <a:cxn ang="0">
                        <a:pos x="60" y="70"/>
                      </a:cxn>
                      <a:cxn ang="0">
                        <a:pos x="81" y="77"/>
                      </a:cxn>
                      <a:cxn ang="0">
                        <a:pos x="84" y="54"/>
                      </a:cxn>
                      <a:cxn ang="0">
                        <a:pos x="82" y="30"/>
                      </a:cxn>
                      <a:cxn ang="0">
                        <a:pos x="42" y="20"/>
                      </a:cxn>
                      <a:cxn ang="0">
                        <a:pos x="0" y="0"/>
                      </a:cxn>
                    </a:cxnLst>
                    <a:rect l="0" t="0" r="r" b="b"/>
                    <a:pathLst>
                      <a:path w="84" h="77">
                        <a:moveTo>
                          <a:pt x="0" y="0"/>
                        </a:moveTo>
                        <a:lnTo>
                          <a:pt x="10" y="28"/>
                        </a:lnTo>
                        <a:lnTo>
                          <a:pt x="26" y="32"/>
                        </a:lnTo>
                        <a:lnTo>
                          <a:pt x="60" y="70"/>
                        </a:lnTo>
                        <a:lnTo>
                          <a:pt x="81" y="77"/>
                        </a:lnTo>
                        <a:lnTo>
                          <a:pt x="84" y="54"/>
                        </a:lnTo>
                        <a:lnTo>
                          <a:pt x="82" y="30"/>
                        </a:lnTo>
                        <a:lnTo>
                          <a:pt x="42" y="20"/>
                        </a:lnTo>
                        <a:lnTo>
                          <a:pt x="0"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72" name="Freeform 47"/>
                  <p:cNvSpPr>
                    <a:spLocks/>
                  </p:cNvSpPr>
                  <p:nvPr/>
                </p:nvSpPr>
                <p:spPr bwMode="auto">
                  <a:xfrm>
                    <a:off x="3948" y="3409"/>
                    <a:ext cx="264" cy="620"/>
                  </a:xfrm>
                  <a:custGeom>
                    <a:avLst/>
                    <a:gdLst/>
                    <a:ahLst/>
                    <a:cxnLst>
                      <a:cxn ang="0">
                        <a:pos x="292" y="16"/>
                      </a:cxn>
                      <a:cxn ang="0">
                        <a:pos x="272" y="46"/>
                      </a:cxn>
                      <a:cxn ang="0">
                        <a:pos x="286" y="74"/>
                      </a:cxn>
                      <a:cxn ang="0">
                        <a:pos x="284" y="110"/>
                      </a:cxn>
                      <a:cxn ang="0">
                        <a:pos x="272" y="154"/>
                      </a:cxn>
                      <a:cxn ang="0">
                        <a:pos x="258" y="170"/>
                      </a:cxn>
                      <a:cxn ang="0">
                        <a:pos x="232" y="144"/>
                      </a:cxn>
                      <a:cxn ang="0">
                        <a:pos x="206" y="152"/>
                      </a:cxn>
                      <a:cxn ang="0">
                        <a:pos x="186" y="172"/>
                      </a:cxn>
                      <a:cxn ang="0">
                        <a:pos x="160" y="182"/>
                      </a:cxn>
                      <a:cxn ang="0">
                        <a:pos x="154" y="174"/>
                      </a:cxn>
                      <a:cxn ang="0">
                        <a:pos x="96" y="194"/>
                      </a:cxn>
                      <a:cxn ang="0">
                        <a:pos x="62" y="234"/>
                      </a:cxn>
                      <a:cxn ang="0">
                        <a:pos x="44" y="298"/>
                      </a:cxn>
                      <a:cxn ang="0">
                        <a:pos x="20" y="314"/>
                      </a:cxn>
                      <a:cxn ang="0">
                        <a:pos x="8" y="338"/>
                      </a:cxn>
                      <a:cxn ang="0">
                        <a:pos x="42" y="374"/>
                      </a:cxn>
                      <a:cxn ang="0">
                        <a:pos x="20" y="396"/>
                      </a:cxn>
                      <a:cxn ang="0">
                        <a:pos x="10" y="416"/>
                      </a:cxn>
                      <a:cxn ang="0">
                        <a:pos x="30" y="458"/>
                      </a:cxn>
                      <a:cxn ang="0">
                        <a:pos x="64" y="468"/>
                      </a:cxn>
                      <a:cxn ang="0">
                        <a:pos x="44" y="498"/>
                      </a:cxn>
                      <a:cxn ang="0">
                        <a:pos x="26" y="536"/>
                      </a:cxn>
                      <a:cxn ang="0">
                        <a:pos x="50" y="574"/>
                      </a:cxn>
                      <a:cxn ang="0">
                        <a:pos x="58" y="588"/>
                      </a:cxn>
                      <a:cxn ang="0">
                        <a:pos x="62" y="636"/>
                      </a:cxn>
                      <a:cxn ang="0">
                        <a:pos x="56" y="680"/>
                      </a:cxn>
                      <a:cxn ang="0">
                        <a:pos x="110" y="700"/>
                      </a:cxn>
                      <a:cxn ang="0">
                        <a:pos x="90" y="728"/>
                      </a:cxn>
                      <a:cxn ang="0">
                        <a:pos x="98" y="774"/>
                      </a:cxn>
                      <a:cxn ang="0">
                        <a:pos x="126" y="788"/>
                      </a:cxn>
                      <a:cxn ang="0">
                        <a:pos x="160" y="808"/>
                      </a:cxn>
                      <a:cxn ang="0">
                        <a:pos x="222" y="810"/>
                      </a:cxn>
                      <a:cxn ang="0">
                        <a:pos x="256" y="838"/>
                      </a:cxn>
                      <a:cxn ang="0">
                        <a:pos x="268" y="770"/>
                      </a:cxn>
                      <a:cxn ang="0">
                        <a:pos x="294" y="728"/>
                      </a:cxn>
                      <a:cxn ang="0">
                        <a:pos x="320" y="660"/>
                      </a:cxn>
                      <a:cxn ang="0">
                        <a:pos x="308" y="530"/>
                      </a:cxn>
                      <a:cxn ang="0">
                        <a:pos x="332" y="486"/>
                      </a:cxn>
                      <a:cxn ang="0">
                        <a:pos x="356" y="444"/>
                      </a:cxn>
                      <a:cxn ang="0">
                        <a:pos x="350" y="224"/>
                      </a:cxn>
                      <a:cxn ang="0">
                        <a:pos x="324" y="164"/>
                      </a:cxn>
                      <a:cxn ang="0">
                        <a:pos x="336" y="104"/>
                      </a:cxn>
                      <a:cxn ang="0">
                        <a:pos x="320" y="30"/>
                      </a:cxn>
                      <a:cxn ang="0">
                        <a:pos x="302" y="0"/>
                      </a:cxn>
                    </a:cxnLst>
                    <a:rect l="0" t="0" r="r" b="b"/>
                    <a:pathLst>
                      <a:path w="356" h="838">
                        <a:moveTo>
                          <a:pt x="302" y="0"/>
                        </a:moveTo>
                        <a:lnTo>
                          <a:pt x="292" y="16"/>
                        </a:lnTo>
                        <a:lnTo>
                          <a:pt x="284" y="38"/>
                        </a:lnTo>
                        <a:lnTo>
                          <a:pt x="272" y="46"/>
                        </a:lnTo>
                        <a:lnTo>
                          <a:pt x="274" y="60"/>
                        </a:lnTo>
                        <a:lnTo>
                          <a:pt x="286" y="74"/>
                        </a:lnTo>
                        <a:lnTo>
                          <a:pt x="282" y="86"/>
                        </a:lnTo>
                        <a:lnTo>
                          <a:pt x="284" y="110"/>
                        </a:lnTo>
                        <a:lnTo>
                          <a:pt x="282" y="140"/>
                        </a:lnTo>
                        <a:lnTo>
                          <a:pt x="272" y="154"/>
                        </a:lnTo>
                        <a:lnTo>
                          <a:pt x="274" y="172"/>
                        </a:lnTo>
                        <a:lnTo>
                          <a:pt x="258" y="170"/>
                        </a:lnTo>
                        <a:lnTo>
                          <a:pt x="242" y="154"/>
                        </a:lnTo>
                        <a:lnTo>
                          <a:pt x="232" y="144"/>
                        </a:lnTo>
                        <a:lnTo>
                          <a:pt x="220" y="144"/>
                        </a:lnTo>
                        <a:lnTo>
                          <a:pt x="206" y="152"/>
                        </a:lnTo>
                        <a:lnTo>
                          <a:pt x="194" y="160"/>
                        </a:lnTo>
                        <a:lnTo>
                          <a:pt x="186" y="172"/>
                        </a:lnTo>
                        <a:lnTo>
                          <a:pt x="176" y="180"/>
                        </a:lnTo>
                        <a:lnTo>
                          <a:pt x="160" y="182"/>
                        </a:lnTo>
                        <a:lnTo>
                          <a:pt x="160" y="200"/>
                        </a:lnTo>
                        <a:lnTo>
                          <a:pt x="154" y="174"/>
                        </a:lnTo>
                        <a:lnTo>
                          <a:pt x="132" y="188"/>
                        </a:lnTo>
                        <a:lnTo>
                          <a:pt x="96" y="194"/>
                        </a:lnTo>
                        <a:lnTo>
                          <a:pt x="82" y="220"/>
                        </a:lnTo>
                        <a:lnTo>
                          <a:pt x="62" y="234"/>
                        </a:lnTo>
                        <a:lnTo>
                          <a:pt x="46" y="256"/>
                        </a:lnTo>
                        <a:lnTo>
                          <a:pt x="44" y="298"/>
                        </a:lnTo>
                        <a:lnTo>
                          <a:pt x="44" y="310"/>
                        </a:lnTo>
                        <a:lnTo>
                          <a:pt x="20" y="314"/>
                        </a:lnTo>
                        <a:lnTo>
                          <a:pt x="0" y="322"/>
                        </a:lnTo>
                        <a:lnTo>
                          <a:pt x="8" y="338"/>
                        </a:lnTo>
                        <a:lnTo>
                          <a:pt x="38" y="358"/>
                        </a:lnTo>
                        <a:lnTo>
                          <a:pt x="42" y="374"/>
                        </a:lnTo>
                        <a:lnTo>
                          <a:pt x="38" y="386"/>
                        </a:lnTo>
                        <a:lnTo>
                          <a:pt x="20" y="396"/>
                        </a:lnTo>
                        <a:lnTo>
                          <a:pt x="2" y="400"/>
                        </a:lnTo>
                        <a:lnTo>
                          <a:pt x="10" y="416"/>
                        </a:lnTo>
                        <a:lnTo>
                          <a:pt x="14" y="452"/>
                        </a:lnTo>
                        <a:lnTo>
                          <a:pt x="30" y="458"/>
                        </a:lnTo>
                        <a:lnTo>
                          <a:pt x="52" y="464"/>
                        </a:lnTo>
                        <a:lnTo>
                          <a:pt x="64" y="468"/>
                        </a:lnTo>
                        <a:lnTo>
                          <a:pt x="62" y="490"/>
                        </a:lnTo>
                        <a:lnTo>
                          <a:pt x="44" y="498"/>
                        </a:lnTo>
                        <a:lnTo>
                          <a:pt x="48" y="514"/>
                        </a:lnTo>
                        <a:lnTo>
                          <a:pt x="26" y="536"/>
                        </a:lnTo>
                        <a:lnTo>
                          <a:pt x="26" y="556"/>
                        </a:lnTo>
                        <a:lnTo>
                          <a:pt x="50" y="574"/>
                        </a:lnTo>
                        <a:lnTo>
                          <a:pt x="80" y="560"/>
                        </a:lnTo>
                        <a:lnTo>
                          <a:pt x="58" y="588"/>
                        </a:lnTo>
                        <a:lnTo>
                          <a:pt x="68" y="616"/>
                        </a:lnTo>
                        <a:lnTo>
                          <a:pt x="62" y="636"/>
                        </a:lnTo>
                        <a:lnTo>
                          <a:pt x="60" y="654"/>
                        </a:lnTo>
                        <a:lnTo>
                          <a:pt x="56" y="680"/>
                        </a:lnTo>
                        <a:lnTo>
                          <a:pt x="74" y="696"/>
                        </a:lnTo>
                        <a:lnTo>
                          <a:pt x="110" y="700"/>
                        </a:lnTo>
                        <a:lnTo>
                          <a:pt x="100" y="712"/>
                        </a:lnTo>
                        <a:lnTo>
                          <a:pt x="90" y="728"/>
                        </a:lnTo>
                        <a:lnTo>
                          <a:pt x="90" y="764"/>
                        </a:lnTo>
                        <a:lnTo>
                          <a:pt x="98" y="774"/>
                        </a:lnTo>
                        <a:lnTo>
                          <a:pt x="118" y="776"/>
                        </a:lnTo>
                        <a:lnTo>
                          <a:pt x="126" y="788"/>
                        </a:lnTo>
                        <a:lnTo>
                          <a:pt x="144" y="788"/>
                        </a:lnTo>
                        <a:lnTo>
                          <a:pt x="160" y="808"/>
                        </a:lnTo>
                        <a:lnTo>
                          <a:pt x="202" y="808"/>
                        </a:lnTo>
                        <a:lnTo>
                          <a:pt x="222" y="810"/>
                        </a:lnTo>
                        <a:lnTo>
                          <a:pt x="216" y="834"/>
                        </a:lnTo>
                        <a:lnTo>
                          <a:pt x="256" y="838"/>
                        </a:lnTo>
                        <a:lnTo>
                          <a:pt x="266" y="816"/>
                        </a:lnTo>
                        <a:lnTo>
                          <a:pt x="268" y="770"/>
                        </a:lnTo>
                        <a:lnTo>
                          <a:pt x="286" y="746"/>
                        </a:lnTo>
                        <a:lnTo>
                          <a:pt x="294" y="728"/>
                        </a:lnTo>
                        <a:lnTo>
                          <a:pt x="300" y="698"/>
                        </a:lnTo>
                        <a:lnTo>
                          <a:pt x="320" y="660"/>
                        </a:lnTo>
                        <a:lnTo>
                          <a:pt x="308" y="650"/>
                        </a:lnTo>
                        <a:lnTo>
                          <a:pt x="308" y="530"/>
                        </a:lnTo>
                        <a:lnTo>
                          <a:pt x="322" y="506"/>
                        </a:lnTo>
                        <a:lnTo>
                          <a:pt x="332" y="486"/>
                        </a:lnTo>
                        <a:lnTo>
                          <a:pt x="350" y="466"/>
                        </a:lnTo>
                        <a:lnTo>
                          <a:pt x="356" y="444"/>
                        </a:lnTo>
                        <a:lnTo>
                          <a:pt x="356" y="304"/>
                        </a:lnTo>
                        <a:lnTo>
                          <a:pt x="350" y="224"/>
                        </a:lnTo>
                        <a:lnTo>
                          <a:pt x="328" y="200"/>
                        </a:lnTo>
                        <a:lnTo>
                          <a:pt x="324" y="164"/>
                        </a:lnTo>
                        <a:lnTo>
                          <a:pt x="330" y="120"/>
                        </a:lnTo>
                        <a:lnTo>
                          <a:pt x="336" y="104"/>
                        </a:lnTo>
                        <a:lnTo>
                          <a:pt x="334" y="38"/>
                        </a:lnTo>
                        <a:lnTo>
                          <a:pt x="320" y="30"/>
                        </a:lnTo>
                        <a:lnTo>
                          <a:pt x="316" y="14"/>
                        </a:lnTo>
                        <a:lnTo>
                          <a:pt x="302"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grpSp>
            <p:sp>
              <p:nvSpPr>
                <p:cNvPr id="47" name="Freeform 48"/>
                <p:cNvSpPr>
                  <a:spLocks/>
                </p:cNvSpPr>
                <p:nvPr/>
              </p:nvSpPr>
              <p:spPr bwMode="auto">
                <a:xfrm>
                  <a:off x="2545" y="3584"/>
                  <a:ext cx="96" cy="98"/>
                </a:xfrm>
                <a:custGeom>
                  <a:avLst/>
                  <a:gdLst/>
                  <a:ahLst/>
                  <a:cxnLst>
                    <a:cxn ang="0">
                      <a:pos x="18" y="0"/>
                    </a:cxn>
                    <a:cxn ang="0">
                      <a:pos x="6" y="24"/>
                    </a:cxn>
                    <a:cxn ang="0">
                      <a:pos x="18" y="54"/>
                    </a:cxn>
                    <a:cxn ang="0">
                      <a:pos x="21" y="75"/>
                    </a:cxn>
                    <a:cxn ang="0">
                      <a:pos x="0" y="102"/>
                    </a:cxn>
                    <a:cxn ang="0">
                      <a:pos x="21" y="132"/>
                    </a:cxn>
                    <a:cxn ang="0">
                      <a:pos x="48" y="102"/>
                    </a:cxn>
                    <a:cxn ang="0">
                      <a:pos x="129" y="96"/>
                    </a:cxn>
                    <a:cxn ang="0">
                      <a:pos x="114" y="81"/>
                    </a:cxn>
                    <a:cxn ang="0">
                      <a:pos x="114" y="39"/>
                    </a:cxn>
                    <a:cxn ang="0">
                      <a:pos x="99" y="15"/>
                    </a:cxn>
                    <a:cxn ang="0">
                      <a:pos x="72" y="9"/>
                    </a:cxn>
                    <a:cxn ang="0">
                      <a:pos x="18" y="0"/>
                    </a:cxn>
                  </a:cxnLst>
                  <a:rect l="0" t="0" r="r" b="b"/>
                  <a:pathLst>
                    <a:path w="129" h="132">
                      <a:moveTo>
                        <a:pt x="18" y="0"/>
                      </a:moveTo>
                      <a:lnTo>
                        <a:pt x="6" y="24"/>
                      </a:lnTo>
                      <a:lnTo>
                        <a:pt x="18" y="54"/>
                      </a:lnTo>
                      <a:lnTo>
                        <a:pt x="21" y="75"/>
                      </a:lnTo>
                      <a:lnTo>
                        <a:pt x="0" y="102"/>
                      </a:lnTo>
                      <a:lnTo>
                        <a:pt x="21" y="132"/>
                      </a:lnTo>
                      <a:lnTo>
                        <a:pt x="48" y="102"/>
                      </a:lnTo>
                      <a:lnTo>
                        <a:pt x="129" y="96"/>
                      </a:lnTo>
                      <a:lnTo>
                        <a:pt x="114" y="81"/>
                      </a:lnTo>
                      <a:lnTo>
                        <a:pt x="114" y="39"/>
                      </a:lnTo>
                      <a:lnTo>
                        <a:pt x="99" y="15"/>
                      </a:lnTo>
                      <a:lnTo>
                        <a:pt x="72" y="9"/>
                      </a:lnTo>
                      <a:lnTo>
                        <a:pt x="18"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grpSp>
          <p:sp>
            <p:nvSpPr>
              <p:cNvPr id="44" name="Freeform 49"/>
              <p:cNvSpPr>
                <a:spLocks/>
              </p:cNvSpPr>
              <p:nvPr/>
            </p:nvSpPr>
            <p:spPr bwMode="auto">
              <a:xfrm rot="10800000">
                <a:off x="1693" y="2013"/>
                <a:ext cx="35" cy="39"/>
              </a:xfrm>
              <a:custGeom>
                <a:avLst/>
                <a:gdLst/>
                <a:ahLst/>
                <a:cxnLst>
                  <a:cxn ang="0">
                    <a:pos x="4" y="0"/>
                  </a:cxn>
                  <a:cxn ang="0">
                    <a:pos x="0" y="38"/>
                  </a:cxn>
                  <a:cxn ang="0">
                    <a:pos x="10" y="58"/>
                  </a:cxn>
                  <a:cxn ang="0">
                    <a:pos x="38" y="62"/>
                  </a:cxn>
                  <a:cxn ang="0">
                    <a:pos x="54" y="56"/>
                  </a:cxn>
                  <a:cxn ang="0">
                    <a:pos x="56" y="34"/>
                  </a:cxn>
                  <a:cxn ang="0">
                    <a:pos x="34" y="18"/>
                  </a:cxn>
                  <a:cxn ang="0">
                    <a:pos x="24" y="10"/>
                  </a:cxn>
                  <a:cxn ang="0">
                    <a:pos x="4" y="0"/>
                  </a:cxn>
                </a:cxnLst>
                <a:rect l="0" t="0" r="r" b="b"/>
                <a:pathLst>
                  <a:path w="56" h="62">
                    <a:moveTo>
                      <a:pt x="4" y="0"/>
                    </a:moveTo>
                    <a:lnTo>
                      <a:pt x="0" y="38"/>
                    </a:lnTo>
                    <a:lnTo>
                      <a:pt x="10" y="58"/>
                    </a:lnTo>
                    <a:lnTo>
                      <a:pt x="38" y="62"/>
                    </a:lnTo>
                    <a:lnTo>
                      <a:pt x="54" y="56"/>
                    </a:lnTo>
                    <a:lnTo>
                      <a:pt x="56" y="34"/>
                    </a:lnTo>
                    <a:lnTo>
                      <a:pt x="34" y="18"/>
                    </a:lnTo>
                    <a:lnTo>
                      <a:pt x="24" y="10"/>
                    </a:lnTo>
                    <a:lnTo>
                      <a:pt x="4" y="0"/>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sp>
            <p:nvSpPr>
              <p:cNvPr id="45" name="Freeform 50"/>
              <p:cNvSpPr>
                <a:spLocks/>
              </p:cNvSpPr>
              <p:nvPr/>
            </p:nvSpPr>
            <p:spPr bwMode="auto">
              <a:xfrm>
                <a:off x="1727" y="1915"/>
                <a:ext cx="35" cy="38"/>
              </a:xfrm>
              <a:custGeom>
                <a:avLst/>
                <a:gdLst/>
                <a:ahLst/>
                <a:cxnLst>
                  <a:cxn ang="0">
                    <a:pos x="44" y="52"/>
                  </a:cxn>
                  <a:cxn ang="0">
                    <a:pos x="47" y="20"/>
                  </a:cxn>
                  <a:cxn ang="0">
                    <a:pos x="39" y="3"/>
                  </a:cxn>
                  <a:cxn ang="0">
                    <a:pos x="15" y="0"/>
                  </a:cxn>
                  <a:cxn ang="0">
                    <a:pos x="2" y="5"/>
                  </a:cxn>
                  <a:cxn ang="0">
                    <a:pos x="0" y="23"/>
                  </a:cxn>
                  <a:cxn ang="0">
                    <a:pos x="24" y="23"/>
                  </a:cxn>
                  <a:cxn ang="0">
                    <a:pos x="36" y="35"/>
                  </a:cxn>
                  <a:cxn ang="0">
                    <a:pos x="44" y="52"/>
                  </a:cxn>
                </a:cxnLst>
                <a:rect l="0" t="0" r="r" b="b"/>
                <a:pathLst>
                  <a:path w="47" h="52">
                    <a:moveTo>
                      <a:pt x="44" y="52"/>
                    </a:moveTo>
                    <a:lnTo>
                      <a:pt x="47" y="20"/>
                    </a:lnTo>
                    <a:lnTo>
                      <a:pt x="39" y="3"/>
                    </a:lnTo>
                    <a:lnTo>
                      <a:pt x="15" y="0"/>
                    </a:lnTo>
                    <a:lnTo>
                      <a:pt x="2" y="5"/>
                    </a:lnTo>
                    <a:lnTo>
                      <a:pt x="0" y="23"/>
                    </a:lnTo>
                    <a:lnTo>
                      <a:pt x="24" y="23"/>
                    </a:lnTo>
                    <a:lnTo>
                      <a:pt x="36" y="35"/>
                    </a:lnTo>
                    <a:lnTo>
                      <a:pt x="44" y="52"/>
                    </a:lnTo>
                    <a:close/>
                  </a:path>
                </a:pathLst>
              </a:custGeom>
              <a:grpFill/>
              <a:ln w="3175" cap="flat" cmpd="sng">
                <a:solidFill>
                  <a:srgbClr val="FFFFFF"/>
                </a:solidFill>
                <a:prstDash val="solid"/>
                <a:round/>
                <a:headEnd type="none" w="med" len="med"/>
                <a:tailEnd type="none" w="med" len="med"/>
              </a:ln>
              <a:effectLst/>
            </p:spPr>
            <p:txBody>
              <a:bodyPr wrap="none" anchor="ctr"/>
              <a:lstStyle/>
              <a:p>
                <a:pPr>
                  <a:buClr>
                    <a:prstClr val="white"/>
                  </a:buClr>
                  <a:defRPr/>
                </a:pPr>
                <a:endParaRPr lang="en-GB" dirty="0">
                  <a:solidFill>
                    <a:srgbClr val="000000"/>
                  </a:solidFill>
                </a:endParaRPr>
              </a:p>
            </p:txBody>
          </p:sp>
        </p:grpSp>
      </p:grpSp>
      <p:sp>
        <p:nvSpPr>
          <p:cNvPr id="2" name="Titre 1">
            <a:extLst>
              <a:ext uri="{FF2B5EF4-FFF2-40B4-BE49-F238E27FC236}">
                <a16:creationId xmlns:a16="http://schemas.microsoft.com/office/drawing/2014/main" id="{1A489631-4FBD-4AD8-9264-B94AB6A32455}"/>
              </a:ext>
            </a:extLst>
          </p:cNvPr>
          <p:cNvSpPr>
            <a:spLocks noGrp="1"/>
          </p:cNvSpPr>
          <p:nvPr>
            <p:ph type="title"/>
          </p:nvPr>
        </p:nvSpPr>
        <p:spPr/>
        <p:txBody>
          <a:bodyPr/>
          <a:lstStyle/>
          <a:p>
            <a:endParaRPr lang="en-GB" dirty="0"/>
          </a:p>
        </p:txBody>
      </p:sp>
    </p:spTree>
    <p:extLst>
      <p:ext uri="{BB962C8B-B14F-4D97-AF65-F5344CB8AC3E}">
        <p14:creationId xmlns:p14="http://schemas.microsoft.com/office/powerpoint/2010/main" val="844977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F27B4743-9740-4132-8D39-F2937499F7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4" name="Objet 3" hidden="1">
                        <a:extLst>
                          <a:ext uri="{FF2B5EF4-FFF2-40B4-BE49-F238E27FC236}">
                            <a16:creationId xmlns:a16="http://schemas.microsoft.com/office/drawing/2014/main" id="{F27B4743-9740-4132-8D39-F2937499F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D1779CD5-0C57-4F16-9297-CB4983011F68}"/>
              </a:ext>
            </a:extLst>
          </p:cNvPr>
          <p:cNvSpPr>
            <a:spLocks noGrp="1"/>
          </p:cNvSpPr>
          <p:nvPr>
            <p:ph type="title"/>
          </p:nvPr>
        </p:nvSpPr>
        <p:spPr/>
        <p:txBody>
          <a:bodyPr/>
          <a:lstStyle/>
          <a:p>
            <a:endParaRPr lang="en-GB" dirty="0"/>
          </a:p>
        </p:txBody>
      </p:sp>
      <p:grpSp>
        <p:nvGrpSpPr>
          <p:cNvPr id="10" name="Groupe 9">
            <a:extLst>
              <a:ext uri="{FF2B5EF4-FFF2-40B4-BE49-F238E27FC236}">
                <a16:creationId xmlns:a16="http://schemas.microsoft.com/office/drawing/2014/main" id="{C92D54E2-C2B4-44AF-8752-747A140E4857}"/>
              </a:ext>
            </a:extLst>
          </p:cNvPr>
          <p:cNvGrpSpPr/>
          <p:nvPr/>
        </p:nvGrpSpPr>
        <p:grpSpPr>
          <a:xfrm>
            <a:off x="3747624" y="1256484"/>
            <a:ext cx="4696753" cy="4648114"/>
            <a:chOff x="5958103" y="867933"/>
            <a:chExt cx="4696753" cy="4648114"/>
          </a:xfrm>
        </p:grpSpPr>
        <p:sp>
          <p:nvSpPr>
            <p:cNvPr id="11" name="Freeform 161">
              <a:extLst>
                <a:ext uri="{FF2B5EF4-FFF2-40B4-BE49-F238E27FC236}">
                  <a16:creationId xmlns:a16="http://schemas.microsoft.com/office/drawing/2014/main" id="{A4B576E4-0DDA-4C1A-8F9A-DBEB0CC8E408}"/>
                </a:ext>
              </a:extLst>
            </p:cNvPr>
            <p:cNvSpPr>
              <a:spLocks/>
            </p:cNvSpPr>
            <p:nvPr/>
          </p:nvSpPr>
          <p:spPr bwMode="auto">
            <a:xfrm>
              <a:off x="10268873" y="4975343"/>
              <a:ext cx="330314" cy="540704"/>
            </a:xfrm>
            <a:custGeom>
              <a:avLst/>
              <a:gdLst>
                <a:gd name="T0" fmla="*/ 50 w 178"/>
                <a:gd name="T1" fmla="*/ 228 h 280"/>
                <a:gd name="T2" fmla="*/ 50 w 178"/>
                <a:gd name="T3" fmla="*/ 209 h 280"/>
                <a:gd name="T4" fmla="*/ 75 w 178"/>
                <a:gd name="T5" fmla="*/ 192 h 280"/>
                <a:gd name="T6" fmla="*/ 27 w 178"/>
                <a:gd name="T7" fmla="*/ 177 h 280"/>
                <a:gd name="T8" fmla="*/ 50 w 178"/>
                <a:gd name="T9" fmla="*/ 145 h 280"/>
                <a:gd name="T10" fmla="*/ 50 w 178"/>
                <a:gd name="T11" fmla="*/ 126 h 280"/>
                <a:gd name="T12" fmla="*/ 16 w 178"/>
                <a:gd name="T13" fmla="*/ 131 h 280"/>
                <a:gd name="T14" fmla="*/ 11 w 178"/>
                <a:gd name="T15" fmla="*/ 116 h 280"/>
                <a:gd name="T16" fmla="*/ 40 w 178"/>
                <a:gd name="T17" fmla="*/ 91 h 280"/>
                <a:gd name="T18" fmla="*/ 32 w 178"/>
                <a:gd name="T19" fmla="*/ 78 h 280"/>
                <a:gd name="T20" fmla="*/ 8 w 178"/>
                <a:gd name="T21" fmla="*/ 65 h 280"/>
                <a:gd name="T22" fmla="*/ 3 w 178"/>
                <a:gd name="T23" fmla="*/ 38 h 280"/>
                <a:gd name="T24" fmla="*/ 31 w 178"/>
                <a:gd name="T25" fmla="*/ 32 h 280"/>
                <a:gd name="T26" fmla="*/ 0 w 178"/>
                <a:gd name="T27" fmla="*/ 5 h 280"/>
                <a:gd name="T28" fmla="*/ 8 w 178"/>
                <a:gd name="T29" fmla="*/ 0 h 280"/>
                <a:gd name="T30" fmla="*/ 59 w 178"/>
                <a:gd name="T31" fmla="*/ 19 h 280"/>
                <a:gd name="T32" fmla="*/ 103 w 178"/>
                <a:gd name="T33" fmla="*/ 54 h 280"/>
                <a:gd name="T34" fmla="*/ 127 w 178"/>
                <a:gd name="T35" fmla="*/ 97 h 280"/>
                <a:gd name="T36" fmla="*/ 138 w 178"/>
                <a:gd name="T37" fmla="*/ 97 h 280"/>
                <a:gd name="T38" fmla="*/ 143 w 178"/>
                <a:gd name="T39" fmla="*/ 150 h 280"/>
                <a:gd name="T40" fmla="*/ 178 w 178"/>
                <a:gd name="T41" fmla="*/ 144 h 280"/>
                <a:gd name="T42" fmla="*/ 178 w 178"/>
                <a:gd name="T43" fmla="*/ 187 h 280"/>
                <a:gd name="T44" fmla="*/ 138 w 178"/>
                <a:gd name="T45" fmla="*/ 280 h 280"/>
                <a:gd name="T46" fmla="*/ 112 w 178"/>
                <a:gd name="T47" fmla="*/ 270 h 280"/>
                <a:gd name="T48" fmla="*/ 117 w 178"/>
                <a:gd name="T49" fmla="*/ 259 h 280"/>
                <a:gd name="T50" fmla="*/ 50 w 178"/>
                <a:gd name="T51" fmla="*/ 228 h 280"/>
                <a:gd name="T52" fmla="*/ 50 w 178"/>
                <a:gd name="T53" fmla="*/ 228 h 280"/>
                <a:gd name="T54" fmla="*/ 50 w 178"/>
                <a:gd name="T55" fmla="*/ 22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80">
                  <a:moveTo>
                    <a:pt x="50" y="228"/>
                  </a:moveTo>
                  <a:lnTo>
                    <a:pt x="50" y="209"/>
                  </a:lnTo>
                  <a:lnTo>
                    <a:pt x="75" y="192"/>
                  </a:lnTo>
                  <a:lnTo>
                    <a:pt x="27" y="177"/>
                  </a:lnTo>
                  <a:lnTo>
                    <a:pt x="50" y="145"/>
                  </a:lnTo>
                  <a:lnTo>
                    <a:pt x="50" y="126"/>
                  </a:lnTo>
                  <a:lnTo>
                    <a:pt x="16" y="131"/>
                  </a:lnTo>
                  <a:lnTo>
                    <a:pt x="11" y="116"/>
                  </a:lnTo>
                  <a:lnTo>
                    <a:pt x="40" y="91"/>
                  </a:lnTo>
                  <a:lnTo>
                    <a:pt x="32" y="78"/>
                  </a:lnTo>
                  <a:lnTo>
                    <a:pt x="8" y="65"/>
                  </a:lnTo>
                  <a:lnTo>
                    <a:pt x="3" y="38"/>
                  </a:lnTo>
                  <a:lnTo>
                    <a:pt x="31" y="32"/>
                  </a:lnTo>
                  <a:lnTo>
                    <a:pt x="0" y="5"/>
                  </a:lnTo>
                  <a:lnTo>
                    <a:pt x="8" y="0"/>
                  </a:lnTo>
                  <a:lnTo>
                    <a:pt x="59" y="19"/>
                  </a:lnTo>
                  <a:lnTo>
                    <a:pt x="103" y="54"/>
                  </a:lnTo>
                  <a:lnTo>
                    <a:pt x="127" y="97"/>
                  </a:lnTo>
                  <a:lnTo>
                    <a:pt x="138" y="97"/>
                  </a:lnTo>
                  <a:lnTo>
                    <a:pt x="143" y="150"/>
                  </a:lnTo>
                  <a:lnTo>
                    <a:pt x="178" y="144"/>
                  </a:lnTo>
                  <a:lnTo>
                    <a:pt x="178" y="187"/>
                  </a:lnTo>
                  <a:lnTo>
                    <a:pt x="138" y="280"/>
                  </a:lnTo>
                  <a:lnTo>
                    <a:pt x="112" y="270"/>
                  </a:lnTo>
                  <a:lnTo>
                    <a:pt x="117" y="259"/>
                  </a:lnTo>
                  <a:lnTo>
                    <a:pt x="50" y="228"/>
                  </a:lnTo>
                  <a:lnTo>
                    <a:pt x="50" y="228"/>
                  </a:lnTo>
                  <a:lnTo>
                    <a:pt x="50" y="228"/>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Freeform 162">
              <a:extLst>
                <a:ext uri="{FF2B5EF4-FFF2-40B4-BE49-F238E27FC236}">
                  <a16:creationId xmlns:a16="http://schemas.microsoft.com/office/drawing/2014/main" id="{A2BB29F2-562F-48EE-BA4C-BB33010A924C}"/>
                </a:ext>
              </a:extLst>
            </p:cNvPr>
            <p:cNvSpPr>
              <a:spLocks/>
            </p:cNvSpPr>
            <p:nvPr/>
          </p:nvSpPr>
          <p:spPr bwMode="auto">
            <a:xfrm>
              <a:off x="10283719" y="4645130"/>
              <a:ext cx="371137" cy="619879"/>
            </a:xfrm>
            <a:custGeom>
              <a:avLst/>
              <a:gdLst>
                <a:gd name="T0" fmla="*/ 195 w 200"/>
                <a:gd name="T1" fmla="*/ 121 h 321"/>
                <a:gd name="T2" fmla="*/ 176 w 200"/>
                <a:gd name="T3" fmla="*/ 92 h 321"/>
                <a:gd name="T4" fmla="*/ 184 w 200"/>
                <a:gd name="T5" fmla="*/ 54 h 321"/>
                <a:gd name="T6" fmla="*/ 178 w 200"/>
                <a:gd name="T7" fmla="*/ 0 h 321"/>
                <a:gd name="T8" fmla="*/ 157 w 200"/>
                <a:gd name="T9" fmla="*/ 1 h 321"/>
                <a:gd name="T10" fmla="*/ 157 w 200"/>
                <a:gd name="T11" fmla="*/ 20 h 321"/>
                <a:gd name="T12" fmla="*/ 150 w 200"/>
                <a:gd name="T13" fmla="*/ 46 h 321"/>
                <a:gd name="T14" fmla="*/ 155 w 200"/>
                <a:gd name="T15" fmla="*/ 72 h 321"/>
                <a:gd name="T16" fmla="*/ 146 w 200"/>
                <a:gd name="T17" fmla="*/ 91 h 321"/>
                <a:gd name="T18" fmla="*/ 135 w 200"/>
                <a:gd name="T19" fmla="*/ 76 h 321"/>
                <a:gd name="T20" fmla="*/ 114 w 200"/>
                <a:gd name="T21" fmla="*/ 73 h 321"/>
                <a:gd name="T22" fmla="*/ 96 w 200"/>
                <a:gd name="T23" fmla="*/ 86 h 321"/>
                <a:gd name="T24" fmla="*/ 98 w 200"/>
                <a:gd name="T25" fmla="*/ 94 h 321"/>
                <a:gd name="T26" fmla="*/ 29 w 200"/>
                <a:gd name="T27" fmla="*/ 121 h 321"/>
                <a:gd name="T28" fmla="*/ 13 w 200"/>
                <a:gd name="T29" fmla="*/ 160 h 321"/>
                <a:gd name="T30" fmla="*/ 0 w 200"/>
                <a:gd name="T31" fmla="*/ 171 h 321"/>
                <a:gd name="T32" fmla="*/ 51 w 200"/>
                <a:gd name="T33" fmla="*/ 190 h 321"/>
                <a:gd name="T34" fmla="*/ 95 w 200"/>
                <a:gd name="T35" fmla="*/ 225 h 321"/>
                <a:gd name="T36" fmla="*/ 119 w 200"/>
                <a:gd name="T37" fmla="*/ 268 h 321"/>
                <a:gd name="T38" fmla="*/ 130 w 200"/>
                <a:gd name="T39" fmla="*/ 268 h 321"/>
                <a:gd name="T40" fmla="*/ 135 w 200"/>
                <a:gd name="T41" fmla="*/ 321 h 321"/>
                <a:gd name="T42" fmla="*/ 170 w 200"/>
                <a:gd name="T43" fmla="*/ 315 h 321"/>
                <a:gd name="T44" fmla="*/ 171 w 200"/>
                <a:gd name="T45" fmla="*/ 287 h 321"/>
                <a:gd name="T46" fmla="*/ 200 w 200"/>
                <a:gd name="T47" fmla="*/ 244 h 321"/>
                <a:gd name="T48" fmla="*/ 195 w 200"/>
                <a:gd name="T49" fmla="*/ 121 h 321"/>
                <a:gd name="T50" fmla="*/ 195 w 200"/>
                <a:gd name="T51" fmla="*/ 121 h 321"/>
                <a:gd name="T52" fmla="*/ 195 w 200"/>
                <a:gd name="T53" fmla="*/ 1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321">
                  <a:moveTo>
                    <a:pt x="195" y="121"/>
                  </a:moveTo>
                  <a:lnTo>
                    <a:pt x="176" y="92"/>
                  </a:lnTo>
                  <a:lnTo>
                    <a:pt x="184" y="54"/>
                  </a:lnTo>
                  <a:lnTo>
                    <a:pt x="178" y="0"/>
                  </a:lnTo>
                  <a:lnTo>
                    <a:pt x="157" y="1"/>
                  </a:lnTo>
                  <a:lnTo>
                    <a:pt x="157" y="20"/>
                  </a:lnTo>
                  <a:lnTo>
                    <a:pt x="150" y="46"/>
                  </a:lnTo>
                  <a:lnTo>
                    <a:pt x="155" y="72"/>
                  </a:lnTo>
                  <a:lnTo>
                    <a:pt x="146" y="91"/>
                  </a:lnTo>
                  <a:lnTo>
                    <a:pt x="135" y="76"/>
                  </a:lnTo>
                  <a:lnTo>
                    <a:pt x="114" y="73"/>
                  </a:lnTo>
                  <a:lnTo>
                    <a:pt x="96" y="86"/>
                  </a:lnTo>
                  <a:lnTo>
                    <a:pt x="98" y="94"/>
                  </a:lnTo>
                  <a:lnTo>
                    <a:pt x="29" y="121"/>
                  </a:lnTo>
                  <a:lnTo>
                    <a:pt x="13" y="160"/>
                  </a:lnTo>
                  <a:lnTo>
                    <a:pt x="0" y="171"/>
                  </a:lnTo>
                  <a:lnTo>
                    <a:pt x="51" y="190"/>
                  </a:lnTo>
                  <a:lnTo>
                    <a:pt x="95" y="225"/>
                  </a:lnTo>
                  <a:lnTo>
                    <a:pt x="119" y="268"/>
                  </a:lnTo>
                  <a:lnTo>
                    <a:pt x="130" y="268"/>
                  </a:lnTo>
                  <a:lnTo>
                    <a:pt x="135" y="321"/>
                  </a:lnTo>
                  <a:lnTo>
                    <a:pt x="170" y="315"/>
                  </a:lnTo>
                  <a:lnTo>
                    <a:pt x="171" y="287"/>
                  </a:lnTo>
                  <a:lnTo>
                    <a:pt x="200" y="244"/>
                  </a:lnTo>
                  <a:lnTo>
                    <a:pt x="195" y="121"/>
                  </a:lnTo>
                  <a:lnTo>
                    <a:pt x="195" y="121"/>
                  </a:lnTo>
                  <a:lnTo>
                    <a:pt x="195" y="121"/>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163">
              <a:extLst>
                <a:ext uri="{FF2B5EF4-FFF2-40B4-BE49-F238E27FC236}">
                  <a16:creationId xmlns:a16="http://schemas.microsoft.com/office/drawing/2014/main" id="{048CCEC6-2359-48E4-9874-A3BC8CADD56E}"/>
                </a:ext>
              </a:extLst>
            </p:cNvPr>
            <p:cNvSpPr>
              <a:spLocks/>
            </p:cNvSpPr>
            <p:nvPr/>
          </p:nvSpPr>
          <p:spPr bwMode="auto">
            <a:xfrm>
              <a:off x="9220408" y="4388297"/>
              <a:ext cx="419387" cy="397802"/>
            </a:xfrm>
            <a:custGeom>
              <a:avLst/>
              <a:gdLst>
                <a:gd name="T0" fmla="*/ 197 w 226"/>
                <a:gd name="T1" fmla="*/ 206 h 206"/>
                <a:gd name="T2" fmla="*/ 173 w 226"/>
                <a:gd name="T3" fmla="*/ 206 h 206"/>
                <a:gd name="T4" fmla="*/ 127 w 226"/>
                <a:gd name="T5" fmla="*/ 184 h 206"/>
                <a:gd name="T6" fmla="*/ 112 w 226"/>
                <a:gd name="T7" fmla="*/ 189 h 206"/>
                <a:gd name="T8" fmla="*/ 85 w 226"/>
                <a:gd name="T9" fmla="*/ 174 h 206"/>
                <a:gd name="T10" fmla="*/ 82 w 226"/>
                <a:gd name="T11" fmla="*/ 165 h 206"/>
                <a:gd name="T12" fmla="*/ 53 w 226"/>
                <a:gd name="T13" fmla="*/ 144 h 206"/>
                <a:gd name="T14" fmla="*/ 23 w 226"/>
                <a:gd name="T15" fmla="*/ 141 h 206"/>
                <a:gd name="T16" fmla="*/ 44 w 226"/>
                <a:gd name="T17" fmla="*/ 118 h 206"/>
                <a:gd name="T18" fmla="*/ 15 w 226"/>
                <a:gd name="T19" fmla="*/ 88 h 206"/>
                <a:gd name="T20" fmla="*/ 16 w 226"/>
                <a:gd name="T21" fmla="*/ 70 h 206"/>
                <a:gd name="T22" fmla="*/ 2 w 226"/>
                <a:gd name="T23" fmla="*/ 46 h 206"/>
                <a:gd name="T24" fmla="*/ 0 w 226"/>
                <a:gd name="T25" fmla="*/ 29 h 206"/>
                <a:gd name="T26" fmla="*/ 31 w 226"/>
                <a:gd name="T27" fmla="*/ 32 h 206"/>
                <a:gd name="T28" fmla="*/ 34 w 226"/>
                <a:gd name="T29" fmla="*/ 54 h 206"/>
                <a:gd name="T30" fmla="*/ 66 w 226"/>
                <a:gd name="T31" fmla="*/ 38 h 206"/>
                <a:gd name="T32" fmla="*/ 44 w 226"/>
                <a:gd name="T33" fmla="*/ 22 h 206"/>
                <a:gd name="T34" fmla="*/ 61 w 226"/>
                <a:gd name="T35" fmla="*/ 0 h 206"/>
                <a:gd name="T36" fmla="*/ 82 w 226"/>
                <a:gd name="T37" fmla="*/ 13 h 206"/>
                <a:gd name="T38" fmla="*/ 66 w 226"/>
                <a:gd name="T39" fmla="*/ 38 h 206"/>
                <a:gd name="T40" fmla="*/ 101 w 226"/>
                <a:gd name="T41" fmla="*/ 35 h 206"/>
                <a:gd name="T42" fmla="*/ 103 w 226"/>
                <a:gd name="T43" fmla="*/ 54 h 206"/>
                <a:gd name="T44" fmla="*/ 140 w 226"/>
                <a:gd name="T45" fmla="*/ 57 h 206"/>
                <a:gd name="T46" fmla="*/ 170 w 226"/>
                <a:gd name="T47" fmla="*/ 85 h 206"/>
                <a:gd name="T48" fmla="*/ 180 w 226"/>
                <a:gd name="T49" fmla="*/ 101 h 206"/>
                <a:gd name="T50" fmla="*/ 176 w 226"/>
                <a:gd name="T51" fmla="*/ 126 h 206"/>
                <a:gd name="T52" fmla="*/ 192 w 226"/>
                <a:gd name="T53" fmla="*/ 136 h 206"/>
                <a:gd name="T54" fmla="*/ 184 w 226"/>
                <a:gd name="T55" fmla="*/ 160 h 206"/>
                <a:gd name="T56" fmla="*/ 204 w 226"/>
                <a:gd name="T57" fmla="*/ 160 h 206"/>
                <a:gd name="T58" fmla="*/ 226 w 226"/>
                <a:gd name="T59" fmla="*/ 185 h 206"/>
                <a:gd name="T60" fmla="*/ 197 w 226"/>
                <a:gd name="T61" fmla="*/ 206 h 206"/>
                <a:gd name="T62" fmla="*/ 197 w 226"/>
                <a:gd name="T63" fmla="*/ 206 h 206"/>
                <a:gd name="T64" fmla="*/ 197 w 226"/>
                <a:gd name="T6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6" h="206">
                  <a:moveTo>
                    <a:pt x="197" y="206"/>
                  </a:moveTo>
                  <a:lnTo>
                    <a:pt x="173" y="206"/>
                  </a:lnTo>
                  <a:lnTo>
                    <a:pt x="127" y="184"/>
                  </a:lnTo>
                  <a:lnTo>
                    <a:pt x="112" y="189"/>
                  </a:lnTo>
                  <a:lnTo>
                    <a:pt x="85" y="174"/>
                  </a:lnTo>
                  <a:lnTo>
                    <a:pt x="82" y="165"/>
                  </a:lnTo>
                  <a:lnTo>
                    <a:pt x="53" y="144"/>
                  </a:lnTo>
                  <a:lnTo>
                    <a:pt x="23" y="141"/>
                  </a:lnTo>
                  <a:lnTo>
                    <a:pt x="44" y="118"/>
                  </a:lnTo>
                  <a:lnTo>
                    <a:pt x="15" y="88"/>
                  </a:lnTo>
                  <a:lnTo>
                    <a:pt x="16" y="70"/>
                  </a:lnTo>
                  <a:lnTo>
                    <a:pt x="2" y="46"/>
                  </a:lnTo>
                  <a:lnTo>
                    <a:pt x="0" y="29"/>
                  </a:lnTo>
                  <a:lnTo>
                    <a:pt x="31" y="32"/>
                  </a:lnTo>
                  <a:lnTo>
                    <a:pt x="34" y="54"/>
                  </a:lnTo>
                  <a:lnTo>
                    <a:pt x="66" y="38"/>
                  </a:lnTo>
                  <a:lnTo>
                    <a:pt x="44" y="22"/>
                  </a:lnTo>
                  <a:lnTo>
                    <a:pt x="61" y="0"/>
                  </a:lnTo>
                  <a:lnTo>
                    <a:pt x="82" y="13"/>
                  </a:lnTo>
                  <a:lnTo>
                    <a:pt x="66" y="38"/>
                  </a:lnTo>
                  <a:lnTo>
                    <a:pt x="101" y="35"/>
                  </a:lnTo>
                  <a:lnTo>
                    <a:pt x="103" y="54"/>
                  </a:lnTo>
                  <a:lnTo>
                    <a:pt x="140" y="57"/>
                  </a:lnTo>
                  <a:lnTo>
                    <a:pt x="170" y="85"/>
                  </a:lnTo>
                  <a:lnTo>
                    <a:pt x="180" y="101"/>
                  </a:lnTo>
                  <a:lnTo>
                    <a:pt x="176" y="126"/>
                  </a:lnTo>
                  <a:lnTo>
                    <a:pt x="192" y="136"/>
                  </a:lnTo>
                  <a:lnTo>
                    <a:pt x="184" y="160"/>
                  </a:lnTo>
                  <a:lnTo>
                    <a:pt x="204" y="160"/>
                  </a:lnTo>
                  <a:lnTo>
                    <a:pt x="226" y="185"/>
                  </a:lnTo>
                  <a:lnTo>
                    <a:pt x="197" y="206"/>
                  </a:lnTo>
                  <a:lnTo>
                    <a:pt x="197" y="206"/>
                  </a:lnTo>
                  <a:lnTo>
                    <a:pt x="197" y="20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4" name="Freeform 164">
              <a:extLst>
                <a:ext uri="{FF2B5EF4-FFF2-40B4-BE49-F238E27FC236}">
                  <a16:creationId xmlns:a16="http://schemas.microsoft.com/office/drawing/2014/main" id="{4DF4BFDA-D42C-4F97-95AC-2C11B9B2915F}"/>
                </a:ext>
              </a:extLst>
            </p:cNvPr>
            <p:cNvSpPr>
              <a:spLocks/>
            </p:cNvSpPr>
            <p:nvPr/>
          </p:nvSpPr>
          <p:spPr bwMode="auto">
            <a:xfrm>
              <a:off x="9079375" y="4660576"/>
              <a:ext cx="580833" cy="388146"/>
            </a:xfrm>
            <a:custGeom>
              <a:avLst/>
              <a:gdLst>
                <a:gd name="T0" fmla="*/ 273 w 313"/>
                <a:gd name="T1" fmla="*/ 65 h 201"/>
                <a:gd name="T2" fmla="*/ 313 w 313"/>
                <a:gd name="T3" fmla="*/ 57 h 201"/>
                <a:gd name="T4" fmla="*/ 299 w 313"/>
                <a:gd name="T5" fmla="*/ 116 h 201"/>
                <a:gd name="T6" fmla="*/ 292 w 313"/>
                <a:gd name="T7" fmla="*/ 136 h 201"/>
                <a:gd name="T8" fmla="*/ 310 w 313"/>
                <a:gd name="T9" fmla="*/ 171 h 201"/>
                <a:gd name="T10" fmla="*/ 292 w 313"/>
                <a:gd name="T11" fmla="*/ 196 h 201"/>
                <a:gd name="T12" fmla="*/ 278 w 313"/>
                <a:gd name="T13" fmla="*/ 201 h 201"/>
                <a:gd name="T14" fmla="*/ 225 w 313"/>
                <a:gd name="T15" fmla="*/ 190 h 201"/>
                <a:gd name="T16" fmla="*/ 224 w 313"/>
                <a:gd name="T17" fmla="*/ 155 h 201"/>
                <a:gd name="T18" fmla="*/ 201 w 313"/>
                <a:gd name="T19" fmla="*/ 158 h 201"/>
                <a:gd name="T20" fmla="*/ 152 w 313"/>
                <a:gd name="T21" fmla="*/ 142 h 201"/>
                <a:gd name="T22" fmla="*/ 184 w 313"/>
                <a:gd name="T23" fmla="*/ 140 h 201"/>
                <a:gd name="T24" fmla="*/ 196 w 313"/>
                <a:gd name="T25" fmla="*/ 113 h 201"/>
                <a:gd name="T26" fmla="*/ 176 w 313"/>
                <a:gd name="T27" fmla="*/ 105 h 201"/>
                <a:gd name="T28" fmla="*/ 155 w 313"/>
                <a:gd name="T29" fmla="*/ 121 h 201"/>
                <a:gd name="T30" fmla="*/ 168 w 313"/>
                <a:gd name="T31" fmla="*/ 140 h 201"/>
                <a:gd name="T32" fmla="*/ 148 w 313"/>
                <a:gd name="T33" fmla="*/ 134 h 201"/>
                <a:gd name="T34" fmla="*/ 123 w 313"/>
                <a:gd name="T35" fmla="*/ 147 h 201"/>
                <a:gd name="T36" fmla="*/ 124 w 313"/>
                <a:gd name="T37" fmla="*/ 163 h 201"/>
                <a:gd name="T38" fmla="*/ 88 w 313"/>
                <a:gd name="T39" fmla="*/ 158 h 201"/>
                <a:gd name="T40" fmla="*/ 67 w 313"/>
                <a:gd name="T41" fmla="*/ 150 h 201"/>
                <a:gd name="T42" fmla="*/ 70 w 313"/>
                <a:gd name="T43" fmla="*/ 134 h 201"/>
                <a:gd name="T44" fmla="*/ 0 w 313"/>
                <a:gd name="T45" fmla="*/ 129 h 201"/>
                <a:gd name="T46" fmla="*/ 48 w 313"/>
                <a:gd name="T47" fmla="*/ 91 h 201"/>
                <a:gd name="T48" fmla="*/ 49 w 313"/>
                <a:gd name="T49" fmla="*/ 64 h 201"/>
                <a:gd name="T50" fmla="*/ 78 w 313"/>
                <a:gd name="T51" fmla="*/ 65 h 201"/>
                <a:gd name="T52" fmla="*/ 83 w 313"/>
                <a:gd name="T53" fmla="*/ 35 h 201"/>
                <a:gd name="T54" fmla="*/ 99 w 313"/>
                <a:gd name="T55" fmla="*/ 0 h 201"/>
                <a:gd name="T56" fmla="*/ 158 w 313"/>
                <a:gd name="T57" fmla="*/ 24 h 201"/>
                <a:gd name="T58" fmla="*/ 188 w 313"/>
                <a:gd name="T59" fmla="*/ 48 h 201"/>
                <a:gd name="T60" fmla="*/ 249 w 313"/>
                <a:gd name="T61" fmla="*/ 65 h 201"/>
                <a:gd name="T62" fmla="*/ 249 w 313"/>
                <a:gd name="T63" fmla="*/ 6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3" h="201">
                  <a:moveTo>
                    <a:pt x="249" y="65"/>
                  </a:moveTo>
                  <a:lnTo>
                    <a:pt x="273" y="65"/>
                  </a:lnTo>
                  <a:lnTo>
                    <a:pt x="302" y="44"/>
                  </a:lnTo>
                  <a:lnTo>
                    <a:pt x="313" y="57"/>
                  </a:lnTo>
                  <a:lnTo>
                    <a:pt x="289" y="73"/>
                  </a:lnTo>
                  <a:lnTo>
                    <a:pt x="299" y="116"/>
                  </a:lnTo>
                  <a:lnTo>
                    <a:pt x="312" y="132"/>
                  </a:lnTo>
                  <a:lnTo>
                    <a:pt x="292" y="136"/>
                  </a:lnTo>
                  <a:lnTo>
                    <a:pt x="296" y="156"/>
                  </a:lnTo>
                  <a:lnTo>
                    <a:pt x="310" y="171"/>
                  </a:lnTo>
                  <a:lnTo>
                    <a:pt x="294" y="180"/>
                  </a:lnTo>
                  <a:lnTo>
                    <a:pt x="292" y="196"/>
                  </a:lnTo>
                  <a:lnTo>
                    <a:pt x="283" y="195"/>
                  </a:lnTo>
                  <a:lnTo>
                    <a:pt x="278" y="201"/>
                  </a:lnTo>
                  <a:lnTo>
                    <a:pt x="265" y="193"/>
                  </a:lnTo>
                  <a:lnTo>
                    <a:pt x="225" y="190"/>
                  </a:lnTo>
                  <a:lnTo>
                    <a:pt x="230" y="179"/>
                  </a:lnTo>
                  <a:lnTo>
                    <a:pt x="224" y="155"/>
                  </a:lnTo>
                  <a:lnTo>
                    <a:pt x="216" y="150"/>
                  </a:lnTo>
                  <a:lnTo>
                    <a:pt x="201" y="158"/>
                  </a:lnTo>
                  <a:lnTo>
                    <a:pt x="161" y="160"/>
                  </a:lnTo>
                  <a:lnTo>
                    <a:pt x="152" y="142"/>
                  </a:lnTo>
                  <a:lnTo>
                    <a:pt x="168" y="140"/>
                  </a:lnTo>
                  <a:lnTo>
                    <a:pt x="184" y="140"/>
                  </a:lnTo>
                  <a:lnTo>
                    <a:pt x="201" y="123"/>
                  </a:lnTo>
                  <a:lnTo>
                    <a:pt x="196" y="113"/>
                  </a:lnTo>
                  <a:lnTo>
                    <a:pt x="184" y="124"/>
                  </a:lnTo>
                  <a:lnTo>
                    <a:pt x="176" y="105"/>
                  </a:lnTo>
                  <a:lnTo>
                    <a:pt x="155" y="105"/>
                  </a:lnTo>
                  <a:lnTo>
                    <a:pt x="155" y="121"/>
                  </a:lnTo>
                  <a:lnTo>
                    <a:pt x="164" y="123"/>
                  </a:lnTo>
                  <a:lnTo>
                    <a:pt x="168" y="140"/>
                  </a:lnTo>
                  <a:lnTo>
                    <a:pt x="152" y="142"/>
                  </a:lnTo>
                  <a:lnTo>
                    <a:pt x="148" y="134"/>
                  </a:lnTo>
                  <a:lnTo>
                    <a:pt x="137" y="132"/>
                  </a:lnTo>
                  <a:lnTo>
                    <a:pt x="123" y="147"/>
                  </a:lnTo>
                  <a:lnTo>
                    <a:pt x="132" y="155"/>
                  </a:lnTo>
                  <a:lnTo>
                    <a:pt x="124" y="163"/>
                  </a:lnTo>
                  <a:lnTo>
                    <a:pt x="110" y="156"/>
                  </a:lnTo>
                  <a:lnTo>
                    <a:pt x="88" y="158"/>
                  </a:lnTo>
                  <a:lnTo>
                    <a:pt x="72" y="155"/>
                  </a:lnTo>
                  <a:lnTo>
                    <a:pt x="67" y="150"/>
                  </a:lnTo>
                  <a:lnTo>
                    <a:pt x="73" y="142"/>
                  </a:lnTo>
                  <a:lnTo>
                    <a:pt x="70" y="134"/>
                  </a:lnTo>
                  <a:lnTo>
                    <a:pt x="60" y="129"/>
                  </a:lnTo>
                  <a:lnTo>
                    <a:pt x="0" y="129"/>
                  </a:lnTo>
                  <a:lnTo>
                    <a:pt x="1" y="120"/>
                  </a:lnTo>
                  <a:lnTo>
                    <a:pt x="48" y="91"/>
                  </a:lnTo>
                  <a:lnTo>
                    <a:pt x="38" y="83"/>
                  </a:lnTo>
                  <a:lnTo>
                    <a:pt x="49" y="64"/>
                  </a:lnTo>
                  <a:lnTo>
                    <a:pt x="57" y="60"/>
                  </a:lnTo>
                  <a:lnTo>
                    <a:pt x="78" y="65"/>
                  </a:lnTo>
                  <a:lnTo>
                    <a:pt x="73" y="54"/>
                  </a:lnTo>
                  <a:lnTo>
                    <a:pt x="83" y="35"/>
                  </a:lnTo>
                  <a:lnTo>
                    <a:pt x="81" y="14"/>
                  </a:lnTo>
                  <a:lnTo>
                    <a:pt x="99" y="0"/>
                  </a:lnTo>
                  <a:lnTo>
                    <a:pt x="129" y="3"/>
                  </a:lnTo>
                  <a:lnTo>
                    <a:pt x="158" y="24"/>
                  </a:lnTo>
                  <a:lnTo>
                    <a:pt x="161" y="33"/>
                  </a:lnTo>
                  <a:lnTo>
                    <a:pt x="188" y="48"/>
                  </a:lnTo>
                  <a:lnTo>
                    <a:pt x="203" y="43"/>
                  </a:lnTo>
                  <a:lnTo>
                    <a:pt x="249" y="65"/>
                  </a:lnTo>
                  <a:lnTo>
                    <a:pt x="249" y="65"/>
                  </a:lnTo>
                  <a:lnTo>
                    <a:pt x="249" y="6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5" name="Freeform 165">
              <a:extLst>
                <a:ext uri="{FF2B5EF4-FFF2-40B4-BE49-F238E27FC236}">
                  <a16:creationId xmlns:a16="http://schemas.microsoft.com/office/drawing/2014/main" id="{D61EE506-1E8D-4EE3-AB24-78911A6FE188}"/>
                </a:ext>
              </a:extLst>
            </p:cNvPr>
            <p:cNvSpPr>
              <a:spLocks/>
            </p:cNvSpPr>
            <p:nvPr/>
          </p:nvSpPr>
          <p:spPr bwMode="auto">
            <a:xfrm>
              <a:off x="9220408" y="3903594"/>
              <a:ext cx="415677" cy="648839"/>
            </a:xfrm>
            <a:custGeom>
              <a:avLst/>
              <a:gdLst>
                <a:gd name="T0" fmla="*/ 26 w 224"/>
                <a:gd name="T1" fmla="*/ 62 h 336"/>
                <a:gd name="T2" fmla="*/ 40 w 224"/>
                <a:gd name="T3" fmla="*/ 115 h 336"/>
                <a:gd name="T4" fmla="*/ 20 w 224"/>
                <a:gd name="T5" fmla="*/ 160 h 336"/>
                <a:gd name="T6" fmla="*/ 24 w 224"/>
                <a:gd name="T7" fmla="*/ 189 h 336"/>
                <a:gd name="T8" fmla="*/ 8 w 224"/>
                <a:gd name="T9" fmla="*/ 217 h 336"/>
                <a:gd name="T10" fmla="*/ 0 w 224"/>
                <a:gd name="T11" fmla="*/ 280 h 336"/>
                <a:gd name="T12" fmla="*/ 31 w 224"/>
                <a:gd name="T13" fmla="*/ 283 h 336"/>
                <a:gd name="T14" fmla="*/ 34 w 224"/>
                <a:gd name="T15" fmla="*/ 305 h 336"/>
                <a:gd name="T16" fmla="*/ 66 w 224"/>
                <a:gd name="T17" fmla="*/ 289 h 336"/>
                <a:gd name="T18" fmla="*/ 44 w 224"/>
                <a:gd name="T19" fmla="*/ 273 h 336"/>
                <a:gd name="T20" fmla="*/ 61 w 224"/>
                <a:gd name="T21" fmla="*/ 251 h 336"/>
                <a:gd name="T22" fmla="*/ 82 w 224"/>
                <a:gd name="T23" fmla="*/ 264 h 336"/>
                <a:gd name="T24" fmla="*/ 66 w 224"/>
                <a:gd name="T25" fmla="*/ 289 h 336"/>
                <a:gd name="T26" fmla="*/ 101 w 224"/>
                <a:gd name="T27" fmla="*/ 286 h 336"/>
                <a:gd name="T28" fmla="*/ 103 w 224"/>
                <a:gd name="T29" fmla="*/ 305 h 336"/>
                <a:gd name="T30" fmla="*/ 140 w 224"/>
                <a:gd name="T31" fmla="*/ 308 h 336"/>
                <a:gd name="T32" fmla="*/ 170 w 224"/>
                <a:gd name="T33" fmla="*/ 336 h 336"/>
                <a:gd name="T34" fmla="*/ 189 w 224"/>
                <a:gd name="T35" fmla="*/ 313 h 336"/>
                <a:gd name="T36" fmla="*/ 208 w 224"/>
                <a:gd name="T37" fmla="*/ 310 h 336"/>
                <a:gd name="T38" fmla="*/ 194 w 224"/>
                <a:gd name="T39" fmla="*/ 276 h 336"/>
                <a:gd name="T40" fmla="*/ 154 w 224"/>
                <a:gd name="T41" fmla="*/ 264 h 336"/>
                <a:gd name="T42" fmla="*/ 162 w 224"/>
                <a:gd name="T43" fmla="*/ 229 h 336"/>
                <a:gd name="T44" fmla="*/ 189 w 224"/>
                <a:gd name="T45" fmla="*/ 235 h 336"/>
                <a:gd name="T46" fmla="*/ 197 w 224"/>
                <a:gd name="T47" fmla="*/ 224 h 336"/>
                <a:gd name="T48" fmla="*/ 186 w 224"/>
                <a:gd name="T49" fmla="*/ 214 h 336"/>
                <a:gd name="T50" fmla="*/ 196 w 224"/>
                <a:gd name="T51" fmla="*/ 185 h 336"/>
                <a:gd name="T52" fmla="*/ 212 w 224"/>
                <a:gd name="T53" fmla="*/ 187 h 336"/>
                <a:gd name="T54" fmla="*/ 224 w 224"/>
                <a:gd name="T55" fmla="*/ 171 h 336"/>
                <a:gd name="T56" fmla="*/ 157 w 224"/>
                <a:gd name="T57" fmla="*/ 147 h 336"/>
                <a:gd name="T58" fmla="*/ 156 w 224"/>
                <a:gd name="T59" fmla="*/ 65 h 336"/>
                <a:gd name="T60" fmla="*/ 140 w 224"/>
                <a:gd name="T61" fmla="*/ 80 h 336"/>
                <a:gd name="T62" fmla="*/ 96 w 224"/>
                <a:gd name="T63" fmla="*/ 70 h 336"/>
                <a:gd name="T64" fmla="*/ 96 w 224"/>
                <a:gd name="T65" fmla="*/ 29 h 336"/>
                <a:gd name="T66" fmla="*/ 61 w 224"/>
                <a:gd name="T67" fmla="*/ 0 h 336"/>
                <a:gd name="T68" fmla="*/ 23 w 224"/>
                <a:gd name="T69" fmla="*/ 14 h 336"/>
                <a:gd name="T70" fmla="*/ 23 w 224"/>
                <a:gd name="T71" fmla="*/ 14 h 336"/>
                <a:gd name="T72" fmla="*/ 26 w 224"/>
                <a:gd name="T73" fmla="*/ 62 h 336"/>
                <a:gd name="T74" fmla="*/ 26 w 224"/>
                <a:gd name="T75" fmla="*/ 62 h 336"/>
                <a:gd name="T76" fmla="*/ 26 w 224"/>
                <a:gd name="T77" fmla="*/ 6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4" h="336">
                  <a:moveTo>
                    <a:pt x="26" y="62"/>
                  </a:moveTo>
                  <a:lnTo>
                    <a:pt x="40" y="115"/>
                  </a:lnTo>
                  <a:lnTo>
                    <a:pt x="20" y="160"/>
                  </a:lnTo>
                  <a:lnTo>
                    <a:pt x="24" y="189"/>
                  </a:lnTo>
                  <a:lnTo>
                    <a:pt x="8" y="217"/>
                  </a:lnTo>
                  <a:lnTo>
                    <a:pt x="0" y="280"/>
                  </a:lnTo>
                  <a:lnTo>
                    <a:pt x="31" y="283"/>
                  </a:lnTo>
                  <a:lnTo>
                    <a:pt x="34" y="305"/>
                  </a:lnTo>
                  <a:lnTo>
                    <a:pt x="66" y="289"/>
                  </a:lnTo>
                  <a:lnTo>
                    <a:pt x="44" y="273"/>
                  </a:lnTo>
                  <a:lnTo>
                    <a:pt x="61" y="251"/>
                  </a:lnTo>
                  <a:lnTo>
                    <a:pt x="82" y="264"/>
                  </a:lnTo>
                  <a:lnTo>
                    <a:pt x="66" y="289"/>
                  </a:lnTo>
                  <a:lnTo>
                    <a:pt x="101" y="286"/>
                  </a:lnTo>
                  <a:lnTo>
                    <a:pt x="103" y="305"/>
                  </a:lnTo>
                  <a:lnTo>
                    <a:pt x="140" y="308"/>
                  </a:lnTo>
                  <a:lnTo>
                    <a:pt x="170" y="336"/>
                  </a:lnTo>
                  <a:lnTo>
                    <a:pt x="189" y="313"/>
                  </a:lnTo>
                  <a:lnTo>
                    <a:pt x="208" y="310"/>
                  </a:lnTo>
                  <a:lnTo>
                    <a:pt x="194" y="276"/>
                  </a:lnTo>
                  <a:lnTo>
                    <a:pt x="154" y="264"/>
                  </a:lnTo>
                  <a:lnTo>
                    <a:pt x="162" y="229"/>
                  </a:lnTo>
                  <a:lnTo>
                    <a:pt x="189" y="235"/>
                  </a:lnTo>
                  <a:lnTo>
                    <a:pt x="197" y="224"/>
                  </a:lnTo>
                  <a:lnTo>
                    <a:pt x="186" y="214"/>
                  </a:lnTo>
                  <a:lnTo>
                    <a:pt x="196" y="185"/>
                  </a:lnTo>
                  <a:lnTo>
                    <a:pt x="212" y="187"/>
                  </a:lnTo>
                  <a:lnTo>
                    <a:pt x="224" y="171"/>
                  </a:lnTo>
                  <a:lnTo>
                    <a:pt x="157" y="147"/>
                  </a:lnTo>
                  <a:lnTo>
                    <a:pt x="156" y="65"/>
                  </a:lnTo>
                  <a:lnTo>
                    <a:pt x="140" y="80"/>
                  </a:lnTo>
                  <a:lnTo>
                    <a:pt x="96" y="70"/>
                  </a:lnTo>
                  <a:lnTo>
                    <a:pt x="96" y="29"/>
                  </a:lnTo>
                  <a:lnTo>
                    <a:pt x="61" y="0"/>
                  </a:lnTo>
                  <a:lnTo>
                    <a:pt x="23" y="14"/>
                  </a:lnTo>
                  <a:lnTo>
                    <a:pt x="23" y="14"/>
                  </a:lnTo>
                  <a:lnTo>
                    <a:pt x="26" y="62"/>
                  </a:lnTo>
                  <a:lnTo>
                    <a:pt x="26" y="62"/>
                  </a:lnTo>
                  <a:lnTo>
                    <a:pt x="26" y="6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16" name="Freeform 166">
              <a:extLst>
                <a:ext uri="{FF2B5EF4-FFF2-40B4-BE49-F238E27FC236}">
                  <a16:creationId xmlns:a16="http://schemas.microsoft.com/office/drawing/2014/main" id="{EF5BA413-E707-4F9A-AD66-BA9A4113F27E}"/>
                </a:ext>
              </a:extLst>
            </p:cNvPr>
            <p:cNvSpPr>
              <a:spLocks/>
            </p:cNvSpPr>
            <p:nvPr/>
          </p:nvSpPr>
          <p:spPr bwMode="auto">
            <a:xfrm>
              <a:off x="8849271" y="3413099"/>
              <a:ext cx="395262" cy="554221"/>
            </a:xfrm>
            <a:custGeom>
              <a:avLst/>
              <a:gdLst>
                <a:gd name="T0" fmla="*/ 138 w 213"/>
                <a:gd name="T1" fmla="*/ 275 h 287"/>
                <a:gd name="T2" fmla="*/ 135 w 213"/>
                <a:gd name="T3" fmla="*/ 254 h 287"/>
                <a:gd name="T4" fmla="*/ 104 w 213"/>
                <a:gd name="T5" fmla="*/ 246 h 287"/>
                <a:gd name="T6" fmla="*/ 76 w 213"/>
                <a:gd name="T7" fmla="*/ 257 h 287"/>
                <a:gd name="T8" fmla="*/ 44 w 213"/>
                <a:gd name="T9" fmla="*/ 252 h 287"/>
                <a:gd name="T10" fmla="*/ 63 w 213"/>
                <a:gd name="T11" fmla="*/ 215 h 287"/>
                <a:gd name="T12" fmla="*/ 7 w 213"/>
                <a:gd name="T13" fmla="*/ 139 h 287"/>
                <a:gd name="T14" fmla="*/ 15 w 213"/>
                <a:gd name="T15" fmla="*/ 108 h 287"/>
                <a:gd name="T16" fmla="*/ 0 w 213"/>
                <a:gd name="T17" fmla="*/ 91 h 287"/>
                <a:gd name="T18" fmla="*/ 28 w 213"/>
                <a:gd name="T19" fmla="*/ 84 h 287"/>
                <a:gd name="T20" fmla="*/ 21 w 213"/>
                <a:gd name="T21" fmla="*/ 11 h 287"/>
                <a:gd name="T22" fmla="*/ 42 w 213"/>
                <a:gd name="T23" fmla="*/ 0 h 287"/>
                <a:gd name="T24" fmla="*/ 45 w 213"/>
                <a:gd name="T25" fmla="*/ 27 h 287"/>
                <a:gd name="T26" fmla="*/ 136 w 213"/>
                <a:gd name="T27" fmla="*/ 25 h 287"/>
                <a:gd name="T28" fmla="*/ 114 w 213"/>
                <a:gd name="T29" fmla="*/ 68 h 287"/>
                <a:gd name="T30" fmla="*/ 136 w 213"/>
                <a:gd name="T31" fmla="*/ 119 h 287"/>
                <a:gd name="T32" fmla="*/ 136 w 213"/>
                <a:gd name="T33" fmla="*/ 167 h 287"/>
                <a:gd name="T34" fmla="*/ 159 w 213"/>
                <a:gd name="T35" fmla="*/ 190 h 287"/>
                <a:gd name="T36" fmla="*/ 192 w 213"/>
                <a:gd name="T37" fmla="*/ 195 h 287"/>
                <a:gd name="T38" fmla="*/ 192 w 213"/>
                <a:gd name="T39" fmla="*/ 214 h 287"/>
                <a:gd name="T40" fmla="*/ 213 w 213"/>
                <a:gd name="T41" fmla="*/ 222 h 287"/>
                <a:gd name="T42" fmla="*/ 213 w 213"/>
                <a:gd name="T43" fmla="*/ 249 h 287"/>
                <a:gd name="T44" fmla="*/ 189 w 213"/>
                <a:gd name="T45" fmla="*/ 260 h 287"/>
                <a:gd name="T46" fmla="*/ 183 w 213"/>
                <a:gd name="T47" fmla="*/ 279 h 287"/>
                <a:gd name="T48" fmla="*/ 167 w 213"/>
                <a:gd name="T49" fmla="*/ 287 h 287"/>
                <a:gd name="T50" fmla="*/ 138 w 213"/>
                <a:gd name="T51" fmla="*/ 275 h 287"/>
                <a:gd name="T52" fmla="*/ 138 w 213"/>
                <a:gd name="T53" fmla="*/ 275 h 287"/>
                <a:gd name="T54" fmla="*/ 138 w 213"/>
                <a:gd name="T55"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3" h="287">
                  <a:moveTo>
                    <a:pt x="138" y="275"/>
                  </a:moveTo>
                  <a:lnTo>
                    <a:pt x="135" y="254"/>
                  </a:lnTo>
                  <a:lnTo>
                    <a:pt x="104" y="246"/>
                  </a:lnTo>
                  <a:lnTo>
                    <a:pt x="76" y="257"/>
                  </a:lnTo>
                  <a:lnTo>
                    <a:pt x="44" y="252"/>
                  </a:lnTo>
                  <a:lnTo>
                    <a:pt x="63" y="215"/>
                  </a:lnTo>
                  <a:lnTo>
                    <a:pt x="7" y="139"/>
                  </a:lnTo>
                  <a:lnTo>
                    <a:pt x="15" y="108"/>
                  </a:lnTo>
                  <a:lnTo>
                    <a:pt x="0" y="91"/>
                  </a:lnTo>
                  <a:lnTo>
                    <a:pt x="28" y="84"/>
                  </a:lnTo>
                  <a:lnTo>
                    <a:pt x="21" y="11"/>
                  </a:lnTo>
                  <a:lnTo>
                    <a:pt x="42" y="0"/>
                  </a:lnTo>
                  <a:lnTo>
                    <a:pt x="45" y="27"/>
                  </a:lnTo>
                  <a:lnTo>
                    <a:pt x="136" y="25"/>
                  </a:lnTo>
                  <a:lnTo>
                    <a:pt x="114" y="68"/>
                  </a:lnTo>
                  <a:lnTo>
                    <a:pt x="136" y="119"/>
                  </a:lnTo>
                  <a:lnTo>
                    <a:pt x="136" y="167"/>
                  </a:lnTo>
                  <a:lnTo>
                    <a:pt x="159" y="190"/>
                  </a:lnTo>
                  <a:lnTo>
                    <a:pt x="192" y="195"/>
                  </a:lnTo>
                  <a:lnTo>
                    <a:pt x="192" y="214"/>
                  </a:lnTo>
                  <a:lnTo>
                    <a:pt x="213" y="222"/>
                  </a:lnTo>
                  <a:lnTo>
                    <a:pt x="213" y="249"/>
                  </a:lnTo>
                  <a:lnTo>
                    <a:pt x="189" y="260"/>
                  </a:lnTo>
                  <a:lnTo>
                    <a:pt x="183" y="279"/>
                  </a:lnTo>
                  <a:lnTo>
                    <a:pt x="167" y="287"/>
                  </a:lnTo>
                  <a:lnTo>
                    <a:pt x="138" y="275"/>
                  </a:lnTo>
                  <a:lnTo>
                    <a:pt x="138" y="275"/>
                  </a:lnTo>
                  <a:lnTo>
                    <a:pt x="138" y="27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7" name="Freeform 167">
              <a:extLst>
                <a:ext uri="{FF2B5EF4-FFF2-40B4-BE49-F238E27FC236}">
                  <a16:creationId xmlns:a16="http://schemas.microsoft.com/office/drawing/2014/main" id="{C7E9B3A7-1501-416E-BE8B-748AD0A48345}"/>
                </a:ext>
              </a:extLst>
            </p:cNvPr>
            <p:cNvSpPr>
              <a:spLocks/>
            </p:cNvSpPr>
            <p:nvPr/>
          </p:nvSpPr>
          <p:spPr bwMode="auto">
            <a:xfrm>
              <a:off x="8298130" y="867933"/>
              <a:ext cx="697741" cy="583189"/>
            </a:xfrm>
            <a:custGeom>
              <a:avLst/>
              <a:gdLst>
                <a:gd name="T0" fmla="*/ 118 w 376"/>
                <a:gd name="T1" fmla="*/ 115 h 302"/>
                <a:gd name="T2" fmla="*/ 113 w 376"/>
                <a:gd name="T3" fmla="*/ 128 h 302"/>
                <a:gd name="T4" fmla="*/ 64 w 376"/>
                <a:gd name="T5" fmla="*/ 124 h 302"/>
                <a:gd name="T6" fmla="*/ 40 w 376"/>
                <a:gd name="T7" fmla="*/ 97 h 302"/>
                <a:gd name="T8" fmla="*/ 54 w 376"/>
                <a:gd name="T9" fmla="*/ 86 h 302"/>
                <a:gd name="T10" fmla="*/ 24 w 376"/>
                <a:gd name="T11" fmla="*/ 80 h 302"/>
                <a:gd name="T12" fmla="*/ 0 w 376"/>
                <a:gd name="T13" fmla="*/ 19 h 302"/>
                <a:gd name="T14" fmla="*/ 78 w 376"/>
                <a:gd name="T15" fmla="*/ 0 h 302"/>
                <a:gd name="T16" fmla="*/ 88 w 376"/>
                <a:gd name="T17" fmla="*/ 35 h 302"/>
                <a:gd name="T18" fmla="*/ 91 w 376"/>
                <a:gd name="T19" fmla="*/ 73 h 302"/>
                <a:gd name="T20" fmla="*/ 109 w 376"/>
                <a:gd name="T21" fmla="*/ 75 h 302"/>
                <a:gd name="T22" fmla="*/ 120 w 376"/>
                <a:gd name="T23" fmla="*/ 97 h 302"/>
                <a:gd name="T24" fmla="*/ 141 w 376"/>
                <a:gd name="T25" fmla="*/ 105 h 302"/>
                <a:gd name="T26" fmla="*/ 149 w 376"/>
                <a:gd name="T27" fmla="*/ 92 h 302"/>
                <a:gd name="T28" fmla="*/ 182 w 376"/>
                <a:gd name="T29" fmla="*/ 78 h 302"/>
                <a:gd name="T30" fmla="*/ 201 w 376"/>
                <a:gd name="T31" fmla="*/ 108 h 302"/>
                <a:gd name="T32" fmla="*/ 208 w 376"/>
                <a:gd name="T33" fmla="*/ 153 h 302"/>
                <a:gd name="T34" fmla="*/ 224 w 376"/>
                <a:gd name="T35" fmla="*/ 161 h 302"/>
                <a:gd name="T36" fmla="*/ 243 w 376"/>
                <a:gd name="T37" fmla="*/ 153 h 302"/>
                <a:gd name="T38" fmla="*/ 273 w 376"/>
                <a:gd name="T39" fmla="*/ 168 h 302"/>
                <a:gd name="T40" fmla="*/ 278 w 376"/>
                <a:gd name="T41" fmla="*/ 204 h 302"/>
                <a:gd name="T42" fmla="*/ 336 w 376"/>
                <a:gd name="T43" fmla="*/ 198 h 302"/>
                <a:gd name="T44" fmla="*/ 373 w 376"/>
                <a:gd name="T45" fmla="*/ 225 h 302"/>
                <a:gd name="T46" fmla="*/ 361 w 376"/>
                <a:gd name="T47" fmla="*/ 252 h 302"/>
                <a:gd name="T48" fmla="*/ 376 w 376"/>
                <a:gd name="T49" fmla="*/ 275 h 302"/>
                <a:gd name="T50" fmla="*/ 365 w 376"/>
                <a:gd name="T51" fmla="*/ 288 h 302"/>
                <a:gd name="T52" fmla="*/ 361 w 376"/>
                <a:gd name="T53" fmla="*/ 302 h 302"/>
                <a:gd name="T54" fmla="*/ 289 w 376"/>
                <a:gd name="T55" fmla="*/ 281 h 302"/>
                <a:gd name="T56" fmla="*/ 192 w 376"/>
                <a:gd name="T57" fmla="*/ 294 h 302"/>
                <a:gd name="T58" fmla="*/ 176 w 376"/>
                <a:gd name="T59" fmla="*/ 286 h 302"/>
                <a:gd name="T60" fmla="*/ 184 w 376"/>
                <a:gd name="T61" fmla="*/ 233 h 302"/>
                <a:gd name="T62" fmla="*/ 155 w 376"/>
                <a:gd name="T63" fmla="*/ 190 h 302"/>
                <a:gd name="T64" fmla="*/ 169 w 376"/>
                <a:gd name="T65" fmla="*/ 179 h 302"/>
                <a:gd name="T66" fmla="*/ 157 w 376"/>
                <a:gd name="T67" fmla="*/ 160 h 302"/>
                <a:gd name="T68" fmla="*/ 120 w 376"/>
                <a:gd name="T69" fmla="*/ 150 h 302"/>
                <a:gd name="T70" fmla="*/ 134 w 376"/>
                <a:gd name="T71" fmla="*/ 120 h 302"/>
                <a:gd name="T72" fmla="*/ 118 w 376"/>
                <a:gd name="T73" fmla="*/ 115 h 302"/>
                <a:gd name="T74" fmla="*/ 118 w 376"/>
                <a:gd name="T75" fmla="*/ 115 h 302"/>
                <a:gd name="T76" fmla="*/ 118 w 376"/>
                <a:gd name="T77" fmla="*/ 11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6" h="302">
                  <a:moveTo>
                    <a:pt x="118" y="115"/>
                  </a:moveTo>
                  <a:lnTo>
                    <a:pt x="113" y="128"/>
                  </a:lnTo>
                  <a:lnTo>
                    <a:pt x="64" y="124"/>
                  </a:lnTo>
                  <a:lnTo>
                    <a:pt x="40" y="97"/>
                  </a:lnTo>
                  <a:lnTo>
                    <a:pt x="54" y="86"/>
                  </a:lnTo>
                  <a:lnTo>
                    <a:pt x="24" y="80"/>
                  </a:lnTo>
                  <a:lnTo>
                    <a:pt x="0" y="19"/>
                  </a:lnTo>
                  <a:lnTo>
                    <a:pt x="78" y="0"/>
                  </a:lnTo>
                  <a:lnTo>
                    <a:pt x="88" y="35"/>
                  </a:lnTo>
                  <a:lnTo>
                    <a:pt x="91" y="73"/>
                  </a:lnTo>
                  <a:lnTo>
                    <a:pt x="109" y="75"/>
                  </a:lnTo>
                  <a:lnTo>
                    <a:pt x="120" y="97"/>
                  </a:lnTo>
                  <a:lnTo>
                    <a:pt x="141" y="105"/>
                  </a:lnTo>
                  <a:lnTo>
                    <a:pt x="149" y="92"/>
                  </a:lnTo>
                  <a:lnTo>
                    <a:pt x="182" y="78"/>
                  </a:lnTo>
                  <a:lnTo>
                    <a:pt x="201" y="108"/>
                  </a:lnTo>
                  <a:lnTo>
                    <a:pt x="208" y="153"/>
                  </a:lnTo>
                  <a:lnTo>
                    <a:pt x="224" y="161"/>
                  </a:lnTo>
                  <a:lnTo>
                    <a:pt x="243" y="153"/>
                  </a:lnTo>
                  <a:lnTo>
                    <a:pt x="273" y="168"/>
                  </a:lnTo>
                  <a:lnTo>
                    <a:pt x="278" y="204"/>
                  </a:lnTo>
                  <a:lnTo>
                    <a:pt x="336" y="198"/>
                  </a:lnTo>
                  <a:lnTo>
                    <a:pt x="373" y="225"/>
                  </a:lnTo>
                  <a:lnTo>
                    <a:pt x="361" y="252"/>
                  </a:lnTo>
                  <a:lnTo>
                    <a:pt x="376" y="275"/>
                  </a:lnTo>
                  <a:lnTo>
                    <a:pt x="365" y="288"/>
                  </a:lnTo>
                  <a:lnTo>
                    <a:pt x="361" y="302"/>
                  </a:lnTo>
                  <a:lnTo>
                    <a:pt x="289" y="281"/>
                  </a:lnTo>
                  <a:lnTo>
                    <a:pt x="192" y="294"/>
                  </a:lnTo>
                  <a:lnTo>
                    <a:pt x="176" y="286"/>
                  </a:lnTo>
                  <a:lnTo>
                    <a:pt x="184" y="233"/>
                  </a:lnTo>
                  <a:lnTo>
                    <a:pt x="155" y="190"/>
                  </a:lnTo>
                  <a:lnTo>
                    <a:pt x="169" y="179"/>
                  </a:lnTo>
                  <a:lnTo>
                    <a:pt x="157" y="160"/>
                  </a:lnTo>
                  <a:lnTo>
                    <a:pt x="120" y="150"/>
                  </a:lnTo>
                  <a:lnTo>
                    <a:pt x="134" y="120"/>
                  </a:lnTo>
                  <a:lnTo>
                    <a:pt x="118" y="115"/>
                  </a:lnTo>
                  <a:lnTo>
                    <a:pt x="118" y="115"/>
                  </a:lnTo>
                  <a:lnTo>
                    <a:pt x="118" y="11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8" name="Freeform 168">
              <a:extLst>
                <a:ext uri="{FF2B5EF4-FFF2-40B4-BE49-F238E27FC236}">
                  <a16:creationId xmlns:a16="http://schemas.microsoft.com/office/drawing/2014/main" id="{C45D9502-1DD8-4E5C-8B0E-A67A598BA9A2}"/>
                </a:ext>
              </a:extLst>
            </p:cNvPr>
            <p:cNvSpPr>
              <a:spLocks/>
            </p:cNvSpPr>
            <p:nvPr/>
          </p:nvSpPr>
          <p:spPr bwMode="auto">
            <a:xfrm>
              <a:off x="7193994" y="1740781"/>
              <a:ext cx="545574" cy="339871"/>
            </a:xfrm>
            <a:custGeom>
              <a:avLst/>
              <a:gdLst>
                <a:gd name="T0" fmla="*/ 219 w 294"/>
                <a:gd name="T1" fmla="*/ 26 h 176"/>
                <a:gd name="T2" fmla="*/ 185 w 294"/>
                <a:gd name="T3" fmla="*/ 37 h 176"/>
                <a:gd name="T4" fmla="*/ 165 w 294"/>
                <a:gd name="T5" fmla="*/ 34 h 176"/>
                <a:gd name="T6" fmla="*/ 145 w 294"/>
                <a:gd name="T7" fmla="*/ 23 h 176"/>
                <a:gd name="T8" fmla="*/ 65 w 294"/>
                <a:gd name="T9" fmla="*/ 13 h 176"/>
                <a:gd name="T10" fmla="*/ 48 w 294"/>
                <a:gd name="T11" fmla="*/ 0 h 176"/>
                <a:gd name="T12" fmla="*/ 22 w 294"/>
                <a:gd name="T13" fmla="*/ 2 h 176"/>
                <a:gd name="T14" fmla="*/ 16 w 294"/>
                <a:gd name="T15" fmla="*/ 12 h 176"/>
                <a:gd name="T16" fmla="*/ 9 w 294"/>
                <a:gd name="T17" fmla="*/ 32 h 176"/>
                <a:gd name="T18" fmla="*/ 53 w 294"/>
                <a:gd name="T19" fmla="*/ 66 h 176"/>
                <a:gd name="T20" fmla="*/ 54 w 294"/>
                <a:gd name="T21" fmla="*/ 103 h 176"/>
                <a:gd name="T22" fmla="*/ 0 w 294"/>
                <a:gd name="T23" fmla="*/ 155 h 176"/>
                <a:gd name="T24" fmla="*/ 16 w 294"/>
                <a:gd name="T25" fmla="*/ 168 h 176"/>
                <a:gd name="T26" fmla="*/ 53 w 294"/>
                <a:gd name="T27" fmla="*/ 176 h 176"/>
                <a:gd name="T28" fmla="*/ 128 w 294"/>
                <a:gd name="T29" fmla="*/ 149 h 176"/>
                <a:gd name="T30" fmla="*/ 190 w 294"/>
                <a:gd name="T31" fmla="*/ 163 h 176"/>
                <a:gd name="T32" fmla="*/ 232 w 294"/>
                <a:gd name="T33" fmla="*/ 133 h 176"/>
                <a:gd name="T34" fmla="*/ 289 w 294"/>
                <a:gd name="T35" fmla="*/ 130 h 176"/>
                <a:gd name="T36" fmla="*/ 294 w 294"/>
                <a:gd name="T37" fmla="*/ 112 h 176"/>
                <a:gd name="T38" fmla="*/ 281 w 294"/>
                <a:gd name="T39" fmla="*/ 107 h 176"/>
                <a:gd name="T40" fmla="*/ 288 w 294"/>
                <a:gd name="T41" fmla="*/ 87 h 176"/>
                <a:gd name="T42" fmla="*/ 268 w 294"/>
                <a:gd name="T43" fmla="*/ 0 h 176"/>
                <a:gd name="T44" fmla="*/ 257 w 294"/>
                <a:gd name="T45" fmla="*/ 0 h 176"/>
                <a:gd name="T46" fmla="*/ 240 w 294"/>
                <a:gd name="T47" fmla="*/ 5 h 176"/>
                <a:gd name="T48" fmla="*/ 219 w 294"/>
                <a:gd name="T49" fmla="*/ 26 h 176"/>
                <a:gd name="T50" fmla="*/ 219 w 294"/>
                <a:gd name="T51" fmla="*/ 26 h 176"/>
                <a:gd name="T52" fmla="*/ 219 w 294"/>
                <a:gd name="T53" fmla="*/ 2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176">
                  <a:moveTo>
                    <a:pt x="219" y="26"/>
                  </a:moveTo>
                  <a:lnTo>
                    <a:pt x="185" y="37"/>
                  </a:lnTo>
                  <a:lnTo>
                    <a:pt x="165" y="34"/>
                  </a:lnTo>
                  <a:lnTo>
                    <a:pt x="145" y="23"/>
                  </a:lnTo>
                  <a:lnTo>
                    <a:pt x="65" y="13"/>
                  </a:lnTo>
                  <a:lnTo>
                    <a:pt x="48" y="0"/>
                  </a:lnTo>
                  <a:lnTo>
                    <a:pt x="22" y="2"/>
                  </a:lnTo>
                  <a:lnTo>
                    <a:pt x="16" y="12"/>
                  </a:lnTo>
                  <a:lnTo>
                    <a:pt x="9" y="32"/>
                  </a:lnTo>
                  <a:lnTo>
                    <a:pt x="53" y="66"/>
                  </a:lnTo>
                  <a:lnTo>
                    <a:pt x="54" y="103"/>
                  </a:lnTo>
                  <a:lnTo>
                    <a:pt x="0" y="155"/>
                  </a:lnTo>
                  <a:lnTo>
                    <a:pt x="16" y="168"/>
                  </a:lnTo>
                  <a:lnTo>
                    <a:pt x="53" y="176"/>
                  </a:lnTo>
                  <a:lnTo>
                    <a:pt x="128" y="149"/>
                  </a:lnTo>
                  <a:lnTo>
                    <a:pt x="190" y="163"/>
                  </a:lnTo>
                  <a:lnTo>
                    <a:pt x="232" y="133"/>
                  </a:lnTo>
                  <a:lnTo>
                    <a:pt x="289" y="130"/>
                  </a:lnTo>
                  <a:lnTo>
                    <a:pt x="294" y="112"/>
                  </a:lnTo>
                  <a:lnTo>
                    <a:pt x="281" y="107"/>
                  </a:lnTo>
                  <a:lnTo>
                    <a:pt x="288" y="87"/>
                  </a:lnTo>
                  <a:lnTo>
                    <a:pt x="268" y="0"/>
                  </a:lnTo>
                  <a:lnTo>
                    <a:pt x="257" y="0"/>
                  </a:lnTo>
                  <a:lnTo>
                    <a:pt x="240" y="5"/>
                  </a:lnTo>
                  <a:lnTo>
                    <a:pt x="219" y="26"/>
                  </a:lnTo>
                  <a:lnTo>
                    <a:pt x="219" y="26"/>
                  </a:lnTo>
                  <a:lnTo>
                    <a:pt x="219" y="2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9" name="Freeform 169">
              <a:extLst>
                <a:ext uri="{FF2B5EF4-FFF2-40B4-BE49-F238E27FC236}">
                  <a16:creationId xmlns:a16="http://schemas.microsoft.com/office/drawing/2014/main" id="{0B7FF478-AF46-43DE-8F69-8C9B11ED18B5}"/>
                </a:ext>
              </a:extLst>
            </p:cNvPr>
            <p:cNvSpPr>
              <a:spLocks/>
            </p:cNvSpPr>
            <p:nvPr/>
          </p:nvSpPr>
          <p:spPr bwMode="auto">
            <a:xfrm>
              <a:off x="8140397" y="5207076"/>
              <a:ext cx="552996" cy="301249"/>
            </a:xfrm>
            <a:custGeom>
              <a:avLst/>
              <a:gdLst>
                <a:gd name="T0" fmla="*/ 269 w 298"/>
                <a:gd name="T1" fmla="*/ 19 h 156"/>
                <a:gd name="T2" fmla="*/ 272 w 298"/>
                <a:gd name="T3" fmla="*/ 102 h 156"/>
                <a:gd name="T4" fmla="*/ 286 w 298"/>
                <a:gd name="T5" fmla="*/ 108 h 156"/>
                <a:gd name="T6" fmla="*/ 298 w 298"/>
                <a:gd name="T7" fmla="*/ 131 h 156"/>
                <a:gd name="T8" fmla="*/ 277 w 298"/>
                <a:gd name="T9" fmla="*/ 134 h 156"/>
                <a:gd name="T10" fmla="*/ 266 w 298"/>
                <a:gd name="T11" fmla="*/ 120 h 156"/>
                <a:gd name="T12" fmla="*/ 192 w 298"/>
                <a:gd name="T13" fmla="*/ 142 h 156"/>
                <a:gd name="T14" fmla="*/ 194 w 298"/>
                <a:gd name="T15" fmla="*/ 156 h 156"/>
                <a:gd name="T16" fmla="*/ 165 w 298"/>
                <a:gd name="T17" fmla="*/ 156 h 156"/>
                <a:gd name="T18" fmla="*/ 109 w 298"/>
                <a:gd name="T19" fmla="*/ 132 h 156"/>
                <a:gd name="T20" fmla="*/ 58 w 298"/>
                <a:gd name="T21" fmla="*/ 156 h 156"/>
                <a:gd name="T22" fmla="*/ 43 w 298"/>
                <a:gd name="T23" fmla="*/ 131 h 156"/>
                <a:gd name="T24" fmla="*/ 0 w 298"/>
                <a:gd name="T25" fmla="*/ 113 h 156"/>
                <a:gd name="T26" fmla="*/ 10 w 298"/>
                <a:gd name="T27" fmla="*/ 94 h 156"/>
                <a:gd name="T28" fmla="*/ 93 w 298"/>
                <a:gd name="T29" fmla="*/ 67 h 156"/>
                <a:gd name="T30" fmla="*/ 130 w 298"/>
                <a:gd name="T31" fmla="*/ 52 h 156"/>
                <a:gd name="T32" fmla="*/ 125 w 298"/>
                <a:gd name="T33" fmla="*/ 20 h 156"/>
                <a:gd name="T34" fmla="*/ 205 w 298"/>
                <a:gd name="T35" fmla="*/ 22 h 156"/>
                <a:gd name="T36" fmla="*/ 227 w 298"/>
                <a:gd name="T37" fmla="*/ 0 h 156"/>
                <a:gd name="T38" fmla="*/ 269 w 298"/>
                <a:gd name="T39" fmla="*/ 19 h 156"/>
                <a:gd name="T40" fmla="*/ 269 w 298"/>
                <a:gd name="T41" fmla="*/ 19 h 156"/>
                <a:gd name="T42" fmla="*/ 269 w 298"/>
                <a:gd name="T43" fmla="*/ 1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156">
                  <a:moveTo>
                    <a:pt x="269" y="19"/>
                  </a:moveTo>
                  <a:lnTo>
                    <a:pt x="272" y="102"/>
                  </a:lnTo>
                  <a:lnTo>
                    <a:pt x="286" y="108"/>
                  </a:lnTo>
                  <a:lnTo>
                    <a:pt x="298" y="131"/>
                  </a:lnTo>
                  <a:lnTo>
                    <a:pt x="277" y="134"/>
                  </a:lnTo>
                  <a:lnTo>
                    <a:pt x="266" y="120"/>
                  </a:lnTo>
                  <a:lnTo>
                    <a:pt x="192" y="142"/>
                  </a:lnTo>
                  <a:lnTo>
                    <a:pt x="194" y="156"/>
                  </a:lnTo>
                  <a:lnTo>
                    <a:pt x="165" y="156"/>
                  </a:lnTo>
                  <a:lnTo>
                    <a:pt x="109" y="132"/>
                  </a:lnTo>
                  <a:lnTo>
                    <a:pt x="58" y="156"/>
                  </a:lnTo>
                  <a:lnTo>
                    <a:pt x="43" y="131"/>
                  </a:lnTo>
                  <a:lnTo>
                    <a:pt x="0" y="113"/>
                  </a:lnTo>
                  <a:lnTo>
                    <a:pt x="10" y="94"/>
                  </a:lnTo>
                  <a:lnTo>
                    <a:pt x="93" y="67"/>
                  </a:lnTo>
                  <a:lnTo>
                    <a:pt x="130" y="52"/>
                  </a:lnTo>
                  <a:lnTo>
                    <a:pt x="125" y="20"/>
                  </a:lnTo>
                  <a:lnTo>
                    <a:pt x="205" y="22"/>
                  </a:lnTo>
                  <a:lnTo>
                    <a:pt x="227" y="0"/>
                  </a:lnTo>
                  <a:lnTo>
                    <a:pt x="269" y="19"/>
                  </a:lnTo>
                  <a:lnTo>
                    <a:pt x="269" y="19"/>
                  </a:lnTo>
                  <a:lnTo>
                    <a:pt x="269" y="1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0" name="Freeform 170">
              <a:extLst>
                <a:ext uri="{FF2B5EF4-FFF2-40B4-BE49-F238E27FC236}">
                  <a16:creationId xmlns:a16="http://schemas.microsoft.com/office/drawing/2014/main" id="{CAF0EB16-0713-4E57-B1BB-18C7DEC27BAB}"/>
                </a:ext>
              </a:extLst>
            </p:cNvPr>
            <p:cNvSpPr>
              <a:spLocks/>
            </p:cNvSpPr>
            <p:nvPr/>
          </p:nvSpPr>
          <p:spPr bwMode="auto">
            <a:xfrm>
              <a:off x="7808228" y="4990791"/>
              <a:ext cx="504748" cy="397802"/>
            </a:xfrm>
            <a:custGeom>
              <a:avLst/>
              <a:gdLst>
                <a:gd name="T0" fmla="*/ 86 w 272"/>
                <a:gd name="T1" fmla="*/ 64 h 206"/>
                <a:gd name="T2" fmla="*/ 94 w 272"/>
                <a:gd name="T3" fmla="*/ 53 h 206"/>
                <a:gd name="T4" fmla="*/ 80 w 272"/>
                <a:gd name="T5" fmla="*/ 40 h 206"/>
                <a:gd name="T6" fmla="*/ 115 w 272"/>
                <a:gd name="T7" fmla="*/ 27 h 206"/>
                <a:gd name="T8" fmla="*/ 93 w 272"/>
                <a:gd name="T9" fmla="*/ 11 h 206"/>
                <a:gd name="T10" fmla="*/ 107 w 272"/>
                <a:gd name="T11" fmla="*/ 0 h 206"/>
                <a:gd name="T12" fmla="*/ 131 w 272"/>
                <a:gd name="T13" fmla="*/ 32 h 206"/>
                <a:gd name="T14" fmla="*/ 137 w 272"/>
                <a:gd name="T15" fmla="*/ 13 h 206"/>
                <a:gd name="T16" fmla="*/ 176 w 272"/>
                <a:gd name="T17" fmla="*/ 16 h 206"/>
                <a:gd name="T18" fmla="*/ 182 w 272"/>
                <a:gd name="T19" fmla="*/ 38 h 206"/>
                <a:gd name="T20" fmla="*/ 227 w 272"/>
                <a:gd name="T21" fmla="*/ 57 h 206"/>
                <a:gd name="T22" fmla="*/ 235 w 272"/>
                <a:gd name="T23" fmla="*/ 124 h 206"/>
                <a:gd name="T24" fmla="*/ 208 w 272"/>
                <a:gd name="T25" fmla="*/ 132 h 206"/>
                <a:gd name="T26" fmla="*/ 229 w 272"/>
                <a:gd name="T27" fmla="*/ 163 h 206"/>
                <a:gd name="T28" fmla="*/ 254 w 272"/>
                <a:gd name="T29" fmla="*/ 156 h 206"/>
                <a:gd name="T30" fmla="*/ 272 w 272"/>
                <a:gd name="T31" fmla="*/ 179 h 206"/>
                <a:gd name="T32" fmla="*/ 189 w 272"/>
                <a:gd name="T33" fmla="*/ 206 h 206"/>
                <a:gd name="T34" fmla="*/ 141 w 272"/>
                <a:gd name="T35" fmla="*/ 184 h 206"/>
                <a:gd name="T36" fmla="*/ 125 w 272"/>
                <a:gd name="T37" fmla="*/ 196 h 206"/>
                <a:gd name="T38" fmla="*/ 104 w 272"/>
                <a:gd name="T39" fmla="*/ 166 h 206"/>
                <a:gd name="T40" fmla="*/ 65 w 272"/>
                <a:gd name="T41" fmla="*/ 166 h 206"/>
                <a:gd name="T42" fmla="*/ 54 w 272"/>
                <a:gd name="T43" fmla="*/ 148 h 206"/>
                <a:gd name="T44" fmla="*/ 6 w 272"/>
                <a:gd name="T45" fmla="*/ 136 h 206"/>
                <a:gd name="T46" fmla="*/ 0 w 272"/>
                <a:gd name="T47" fmla="*/ 108 h 206"/>
                <a:gd name="T48" fmla="*/ 37 w 272"/>
                <a:gd name="T49" fmla="*/ 88 h 206"/>
                <a:gd name="T50" fmla="*/ 32 w 272"/>
                <a:gd name="T51" fmla="*/ 62 h 206"/>
                <a:gd name="T52" fmla="*/ 61 w 272"/>
                <a:gd name="T53" fmla="*/ 45 h 206"/>
                <a:gd name="T54" fmla="*/ 86 w 272"/>
                <a:gd name="T55" fmla="*/ 64 h 206"/>
                <a:gd name="T56" fmla="*/ 86 w 272"/>
                <a:gd name="T57" fmla="*/ 64 h 206"/>
                <a:gd name="T58" fmla="*/ 86 w 272"/>
                <a:gd name="T59" fmla="*/ 6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2" h="206">
                  <a:moveTo>
                    <a:pt x="86" y="64"/>
                  </a:moveTo>
                  <a:lnTo>
                    <a:pt x="94" y="53"/>
                  </a:lnTo>
                  <a:lnTo>
                    <a:pt x="80" y="40"/>
                  </a:lnTo>
                  <a:lnTo>
                    <a:pt x="115" y="27"/>
                  </a:lnTo>
                  <a:lnTo>
                    <a:pt x="93" y="11"/>
                  </a:lnTo>
                  <a:lnTo>
                    <a:pt x="107" y="0"/>
                  </a:lnTo>
                  <a:lnTo>
                    <a:pt x="131" y="32"/>
                  </a:lnTo>
                  <a:lnTo>
                    <a:pt x="137" y="13"/>
                  </a:lnTo>
                  <a:lnTo>
                    <a:pt x="176" y="16"/>
                  </a:lnTo>
                  <a:lnTo>
                    <a:pt x="182" y="38"/>
                  </a:lnTo>
                  <a:lnTo>
                    <a:pt x="227" y="57"/>
                  </a:lnTo>
                  <a:lnTo>
                    <a:pt x="235" y="124"/>
                  </a:lnTo>
                  <a:lnTo>
                    <a:pt x="208" y="132"/>
                  </a:lnTo>
                  <a:lnTo>
                    <a:pt x="229" y="163"/>
                  </a:lnTo>
                  <a:lnTo>
                    <a:pt x="254" y="156"/>
                  </a:lnTo>
                  <a:lnTo>
                    <a:pt x="272" y="179"/>
                  </a:lnTo>
                  <a:lnTo>
                    <a:pt x="189" y="206"/>
                  </a:lnTo>
                  <a:lnTo>
                    <a:pt x="141" y="184"/>
                  </a:lnTo>
                  <a:lnTo>
                    <a:pt x="125" y="196"/>
                  </a:lnTo>
                  <a:lnTo>
                    <a:pt x="104" y="166"/>
                  </a:lnTo>
                  <a:lnTo>
                    <a:pt x="65" y="166"/>
                  </a:lnTo>
                  <a:lnTo>
                    <a:pt x="54" y="148"/>
                  </a:lnTo>
                  <a:lnTo>
                    <a:pt x="6" y="136"/>
                  </a:lnTo>
                  <a:lnTo>
                    <a:pt x="0" y="108"/>
                  </a:lnTo>
                  <a:lnTo>
                    <a:pt x="37" y="88"/>
                  </a:lnTo>
                  <a:lnTo>
                    <a:pt x="32" y="62"/>
                  </a:lnTo>
                  <a:lnTo>
                    <a:pt x="61" y="45"/>
                  </a:lnTo>
                  <a:lnTo>
                    <a:pt x="86" y="64"/>
                  </a:lnTo>
                  <a:lnTo>
                    <a:pt x="86" y="64"/>
                  </a:lnTo>
                  <a:lnTo>
                    <a:pt x="86" y="64"/>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1" name="Freeform 171">
              <a:extLst>
                <a:ext uri="{FF2B5EF4-FFF2-40B4-BE49-F238E27FC236}">
                  <a16:creationId xmlns:a16="http://schemas.microsoft.com/office/drawing/2014/main" id="{1F515BB9-2F4A-4C6B-8C73-4EA6D072C6A3}"/>
                </a:ext>
              </a:extLst>
            </p:cNvPr>
            <p:cNvSpPr>
              <a:spLocks/>
            </p:cNvSpPr>
            <p:nvPr/>
          </p:nvSpPr>
          <p:spPr bwMode="auto">
            <a:xfrm>
              <a:off x="7381414" y="4822789"/>
              <a:ext cx="363713" cy="492425"/>
            </a:xfrm>
            <a:custGeom>
              <a:avLst/>
              <a:gdLst>
                <a:gd name="T0" fmla="*/ 49 w 196"/>
                <a:gd name="T1" fmla="*/ 7 h 255"/>
                <a:gd name="T2" fmla="*/ 59 w 196"/>
                <a:gd name="T3" fmla="*/ 0 h 255"/>
                <a:gd name="T4" fmla="*/ 92 w 196"/>
                <a:gd name="T5" fmla="*/ 34 h 255"/>
                <a:gd name="T6" fmla="*/ 102 w 196"/>
                <a:gd name="T7" fmla="*/ 64 h 255"/>
                <a:gd name="T8" fmla="*/ 196 w 196"/>
                <a:gd name="T9" fmla="*/ 87 h 255"/>
                <a:gd name="T10" fmla="*/ 155 w 196"/>
                <a:gd name="T11" fmla="*/ 135 h 255"/>
                <a:gd name="T12" fmla="*/ 191 w 196"/>
                <a:gd name="T13" fmla="*/ 180 h 255"/>
                <a:gd name="T14" fmla="*/ 175 w 196"/>
                <a:gd name="T15" fmla="*/ 210 h 255"/>
                <a:gd name="T16" fmla="*/ 156 w 196"/>
                <a:gd name="T17" fmla="*/ 205 h 255"/>
                <a:gd name="T18" fmla="*/ 155 w 196"/>
                <a:gd name="T19" fmla="*/ 255 h 255"/>
                <a:gd name="T20" fmla="*/ 92 w 196"/>
                <a:gd name="T21" fmla="*/ 247 h 255"/>
                <a:gd name="T22" fmla="*/ 54 w 196"/>
                <a:gd name="T23" fmla="*/ 255 h 255"/>
                <a:gd name="T24" fmla="*/ 0 w 196"/>
                <a:gd name="T25" fmla="*/ 210 h 255"/>
                <a:gd name="T26" fmla="*/ 4 w 196"/>
                <a:gd name="T27" fmla="*/ 170 h 255"/>
                <a:gd name="T28" fmla="*/ 49 w 196"/>
                <a:gd name="T29" fmla="*/ 116 h 255"/>
                <a:gd name="T30" fmla="*/ 65 w 196"/>
                <a:gd name="T31" fmla="*/ 68 h 255"/>
                <a:gd name="T32" fmla="*/ 49 w 196"/>
                <a:gd name="T33" fmla="*/ 7 h 255"/>
                <a:gd name="T34" fmla="*/ 49 w 196"/>
                <a:gd name="T35" fmla="*/ 7 h 255"/>
                <a:gd name="T36" fmla="*/ 49 w 196"/>
                <a:gd name="T3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255">
                  <a:moveTo>
                    <a:pt x="49" y="7"/>
                  </a:moveTo>
                  <a:lnTo>
                    <a:pt x="59" y="0"/>
                  </a:lnTo>
                  <a:lnTo>
                    <a:pt x="92" y="34"/>
                  </a:lnTo>
                  <a:lnTo>
                    <a:pt x="102" y="64"/>
                  </a:lnTo>
                  <a:lnTo>
                    <a:pt x="196" y="87"/>
                  </a:lnTo>
                  <a:lnTo>
                    <a:pt x="155" y="135"/>
                  </a:lnTo>
                  <a:lnTo>
                    <a:pt x="191" y="180"/>
                  </a:lnTo>
                  <a:lnTo>
                    <a:pt x="175" y="210"/>
                  </a:lnTo>
                  <a:lnTo>
                    <a:pt x="156" y="205"/>
                  </a:lnTo>
                  <a:lnTo>
                    <a:pt x="155" y="255"/>
                  </a:lnTo>
                  <a:lnTo>
                    <a:pt x="92" y="247"/>
                  </a:lnTo>
                  <a:lnTo>
                    <a:pt x="54" y="255"/>
                  </a:lnTo>
                  <a:lnTo>
                    <a:pt x="0" y="210"/>
                  </a:lnTo>
                  <a:lnTo>
                    <a:pt x="4" y="170"/>
                  </a:lnTo>
                  <a:lnTo>
                    <a:pt x="49" y="116"/>
                  </a:lnTo>
                  <a:lnTo>
                    <a:pt x="65" y="68"/>
                  </a:lnTo>
                  <a:lnTo>
                    <a:pt x="49" y="7"/>
                  </a:lnTo>
                  <a:lnTo>
                    <a:pt x="49" y="7"/>
                  </a:lnTo>
                  <a:lnTo>
                    <a:pt x="49" y="7"/>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2" name="Freeform 172">
              <a:extLst>
                <a:ext uri="{FF2B5EF4-FFF2-40B4-BE49-F238E27FC236}">
                  <a16:creationId xmlns:a16="http://schemas.microsoft.com/office/drawing/2014/main" id="{B234371F-6DA0-4D33-B388-526AF3BE38AE}"/>
                </a:ext>
              </a:extLst>
            </p:cNvPr>
            <p:cNvSpPr>
              <a:spLocks/>
            </p:cNvSpPr>
            <p:nvPr/>
          </p:nvSpPr>
          <p:spPr bwMode="auto">
            <a:xfrm>
              <a:off x="6837700" y="4832442"/>
              <a:ext cx="664339" cy="422906"/>
            </a:xfrm>
            <a:custGeom>
              <a:avLst/>
              <a:gdLst>
                <a:gd name="T0" fmla="*/ 35 w 358"/>
                <a:gd name="T1" fmla="*/ 35 h 219"/>
                <a:gd name="T2" fmla="*/ 57 w 358"/>
                <a:gd name="T3" fmla="*/ 5 h 219"/>
                <a:gd name="T4" fmla="*/ 85 w 358"/>
                <a:gd name="T5" fmla="*/ 18 h 219"/>
                <a:gd name="T6" fmla="*/ 126 w 358"/>
                <a:gd name="T7" fmla="*/ 7 h 219"/>
                <a:gd name="T8" fmla="*/ 139 w 358"/>
                <a:gd name="T9" fmla="*/ 16 h 219"/>
                <a:gd name="T10" fmla="*/ 205 w 358"/>
                <a:gd name="T11" fmla="*/ 3 h 219"/>
                <a:gd name="T12" fmla="*/ 296 w 358"/>
                <a:gd name="T13" fmla="*/ 8 h 219"/>
                <a:gd name="T14" fmla="*/ 309 w 358"/>
                <a:gd name="T15" fmla="*/ 0 h 219"/>
                <a:gd name="T16" fmla="*/ 342 w 358"/>
                <a:gd name="T17" fmla="*/ 2 h 219"/>
                <a:gd name="T18" fmla="*/ 358 w 358"/>
                <a:gd name="T19" fmla="*/ 63 h 219"/>
                <a:gd name="T20" fmla="*/ 342 w 358"/>
                <a:gd name="T21" fmla="*/ 111 h 219"/>
                <a:gd name="T22" fmla="*/ 297 w 358"/>
                <a:gd name="T23" fmla="*/ 165 h 219"/>
                <a:gd name="T24" fmla="*/ 293 w 358"/>
                <a:gd name="T25" fmla="*/ 205 h 219"/>
                <a:gd name="T26" fmla="*/ 241 w 358"/>
                <a:gd name="T27" fmla="*/ 219 h 219"/>
                <a:gd name="T28" fmla="*/ 203 w 358"/>
                <a:gd name="T29" fmla="*/ 178 h 219"/>
                <a:gd name="T30" fmla="*/ 88 w 358"/>
                <a:gd name="T31" fmla="*/ 133 h 219"/>
                <a:gd name="T32" fmla="*/ 83 w 358"/>
                <a:gd name="T33" fmla="*/ 147 h 219"/>
                <a:gd name="T34" fmla="*/ 61 w 358"/>
                <a:gd name="T35" fmla="*/ 135 h 219"/>
                <a:gd name="T36" fmla="*/ 81 w 358"/>
                <a:gd name="T37" fmla="*/ 87 h 219"/>
                <a:gd name="T38" fmla="*/ 49 w 358"/>
                <a:gd name="T39" fmla="*/ 69 h 219"/>
                <a:gd name="T40" fmla="*/ 40 w 358"/>
                <a:gd name="T41" fmla="*/ 82 h 219"/>
                <a:gd name="T42" fmla="*/ 0 w 358"/>
                <a:gd name="T43" fmla="*/ 48 h 219"/>
                <a:gd name="T44" fmla="*/ 35 w 358"/>
                <a:gd name="T45" fmla="*/ 35 h 219"/>
                <a:gd name="T46" fmla="*/ 35 w 358"/>
                <a:gd name="T47" fmla="*/ 35 h 219"/>
                <a:gd name="T48" fmla="*/ 35 w 358"/>
                <a:gd name="T49" fmla="*/ 3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 h="219">
                  <a:moveTo>
                    <a:pt x="35" y="35"/>
                  </a:moveTo>
                  <a:lnTo>
                    <a:pt x="57" y="5"/>
                  </a:lnTo>
                  <a:lnTo>
                    <a:pt x="85" y="18"/>
                  </a:lnTo>
                  <a:lnTo>
                    <a:pt x="126" y="7"/>
                  </a:lnTo>
                  <a:lnTo>
                    <a:pt x="139" y="16"/>
                  </a:lnTo>
                  <a:lnTo>
                    <a:pt x="205" y="3"/>
                  </a:lnTo>
                  <a:lnTo>
                    <a:pt x="296" y="8"/>
                  </a:lnTo>
                  <a:lnTo>
                    <a:pt x="309" y="0"/>
                  </a:lnTo>
                  <a:lnTo>
                    <a:pt x="342" y="2"/>
                  </a:lnTo>
                  <a:lnTo>
                    <a:pt x="358" y="63"/>
                  </a:lnTo>
                  <a:lnTo>
                    <a:pt x="342" y="111"/>
                  </a:lnTo>
                  <a:lnTo>
                    <a:pt x="297" y="165"/>
                  </a:lnTo>
                  <a:lnTo>
                    <a:pt x="293" y="205"/>
                  </a:lnTo>
                  <a:lnTo>
                    <a:pt x="241" y="219"/>
                  </a:lnTo>
                  <a:lnTo>
                    <a:pt x="203" y="178"/>
                  </a:lnTo>
                  <a:lnTo>
                    <a:pt x="88" y="133"/>
                  </a:lnTo>
                  <a:lnTo>
                    <a:pt x="83" y="147"/>
                  </a:lnTo>
                  <a:lnTo>
                    <a:pt x="61" y="135"/>
                  </a:lnTo>
                  <a:lnTo>
                    <a:pt x="81" y="87"/>
                  </a:lnTo>
                  <a:lnTo>
                    <a:pt x="49" y="69"/>
                  </a:lnTo>
                  <a:lnTo>
                    <a:pt x="40" y="82"/>
                  </a:lnTo>
                  <a:lnTo>
                    <a:pt x="0" y="48"/>
                  </a:lnTo>
                  <a:lnTo>
                    <a:pt x="35" y="35"/>
                  </a:lnTo>
                  <a:lnTo>
                    <a:pt x="35" y="35"/>
                  </a:lnTo>
                  <a:lnTo>
                    <a:pt x="35" y="3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3" name="Freeform 173">
              <a:extLst>
                <a:ext uri="{FF2B5EF4-FFF2-40B4-BE49-F238E27FC236}">
                  <a16:creationId xmlns:a16="http://schemas.microsoft.com/office/drawing/2014/main" id="{D154AB00-DADB-47FE-8021-D07F206F260D}"/>
                </a:ext>
              </a:extLst>
            </p:cNvPr>
            <p:cNvSpPr>
              <a:spLocks/>
            </p:cNvSpPr>
            <p:nvPr/>
          </p:nvSpPr>
          <p:spPr bwMode="auto">
            <a:xfrm>
              <a:off x="8134827" y="4925138"/>
              <a:ext cx="575266" cy="411318"/>
            </a:xfrm>
            <a:custGeom>
              <a:avLst/>
              <a:gdLst>
                <a:gd name="T0" fmla="*/ 275 w 310"/>
                <a:gd name="T1" fmla="*/ 123 h 213"/>
                <a:gd name="T2" fmla="*/ 289 w 310"/>
                <a:gd name="T3" fmla="*/ 91 h 213"/>
                <a:gd name="T4" fmla="*/ 310 w 310"/>
                <a:gd name="T5" fmla="*/ 63 h 213"/>
                <a:gd name="T6" fmla="*/ 233 w 310"/>
                <a:gd name="T7" fmla="*/ 27 h 213"/>
                <a:gd name="T8" fmla="*/ 216 w 310"/>
                <a:gd name="T9" fmla="*/ 51 h 213"/>
                <a:gd name="T10" fmla="*/ 169 w 310"/>
                <a:gd name="T11" fmla="*/ 31 h 213"/>
                <a:gd name="T12" fmla="*/ 177 w 310"/>
                <a:gd name="T13" fmla="*/ 8 h 213"/>
                <a:gd name="T14" fmla="*/ 109 w 310"/>
                <a:gd name="T15" fmla="*/ 0 h 213"/>
                <a:gd name="T16" fmla="*/ 105 w 310"/>
                <a:gd name="T17" fmla="*/ 15 h 213"/>
                <a:gd name="T18" fmla="*/ 67 w 310"/>
                <a:gd name="T19" fmla="*/ 8 h 213"/>
                <a:gd name="T20" fmla="*/ 32 w 310"/>
                <a:gd name="T21" fmla="*/ 5 h 213"/>
                <a:gd name="T22" fmla="*/ 0 w 310"/>
                <a:gd name="T23" fmla="*/ 50 h 213"/>
                <a:gd name="T24" fmla="*/ 6 w 310"/>
                <a:gd name="T25" fmla="*/ 72 h 213"/>
                <a:gd name="T26" fmla="*/ 51 w 310"/>
                <a:gd name="T27" fmla="*/ 91 h 213"/>
                <a:gd name="T28" fmla="*/ 59 w 310"/>
                <a:gd name="T29" fmla="*/ 158 h 213"/>
                <a:gd name="T30" fmla="*/ 32 w 310"/>
                <a:gd name="T31" fmla="*/ 166 h 213"/>
                <a:gd name="T32" fmla="*/ 53 w 310"/>
                <a:gd name="T33" fmla="*/ 197 h 213"/>
                <a:gd name="T34" fmla="*/ 78 w 310"/>
                <a:gd name="T35" fmla="*/ 190 h 213"/>
                <a:gd name="T36" fmla="*/ 96 w 310"/>
                <a:gd name="T37" fmla="*/ 213 h 213"/>
                <a:gd name="T38" fmla="*/ 133 w 310"/>
                <a:gd name="T39" fmla="*/ 198 h 213"/>
                <a:gd name="T40" fmla="*/ 128 w 310"/>
                <a:gd name="T41" fmla="*/ 166 h 213"/>
                <a:gd name="T42" fmla="*/ 208 w 310"/>
                <a:gd name="T43" fmla="*/ 168 h 213"/>
                <a:gd name="T44" fmla="*/ 230 w 310"/>
                <a:gd name="T45" fmla="*/ 146 h 213"/>
                <a:gd name="T46" fmla="*/ 272 w 310"/>
                <a:gd name="T47" fmla="*/ 165 h 213"/>
                <a:gd name="T48" fmla="*/ 275 w 310"/>
                <a:gd name="T49" fmla="*/ 123 h 213"/>
                <a:gd name="T50" fmla="*/ 275 w 310"/>
                <a:gd name="T51" fmla="*/ 123 h 213"/>
                <a:gd name="T52" fmla="*/ 275 w 310"/>
                <a:gd name="T53" fmla="*/ 12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0" h="213">
                  <a:moveTo>
                    <a:pt x="275" y="123"/>
                  </a:moveTo>
                  <a:lnTo>
                    <a:pt x="289" y="91"/>
                  </a:lnTo>
                  <a:lnTo>
                    <a:pt x="310" y="63"/>
                  </a:lnTo>
                  <a:lnTo>
                    <a:pt x="233" y="27"/>
                  </a:lnTo>
                  <a:lnTo>
                    <a:pt x="216" y="51"/>
                  </a:lnTo>
                  <a:lnTo>
                    <a:pt x="169" y="31"/>
                  </a:lnTo>
                  <a:lnTo>
                    <a:pt x="177" y="8"/>
                  </a:lnTo>
                  <a:lnTo>
                    <a:pt x="109" y="0"/>
                  </a:lnTo>
                  <a:lnTo>
                    <a:pt x="105" y="15"/>
                  </a:lnTo>
                  <a:lnTo>
                    <a:pt x="67" y="8"/>
                  </a:lnTo>
                  <a:lnTo>
                    <a:pt x="32" y="5"/>
                  </a:lnTo>
                  <a:lnTo>
                    <a:pt x="0" y="50"/>
                  </a:lnTo>
                  <a:lnTo>
                    <a:pt x="6" y="72"/>
                  </a:lnTo>
                  <a:lnTo>
                    <a:pt x="51" y="91"/>
                  </a:lnTo>
                  <a:lnTo>
                    <a:pt x="59" y="158"/>
                  </a:lnTo>
                  <a:lnTo>
                    <a:pt x="32" y="166"/>
                  </a:lnTo>
                  <a:lnTo>
                    <a:pt x="53" y="197"/>
                  </a:lnTo>
                  <a:lnTo>
                    <a:pt x="78" y="190"/>
                  </a:lnTo>
                  <a:lnTo>
                    <a:pt x="96" y="213"/>
                  </a:lnTo>
                  <a:lnTo>
                    <a:pt x="133" y="198"/>
                  </a:lnTo>
                  <a:lnTo>
                    <a:pt x="128" y="166"/>
                  </a:lnTo>
                  <a:lnTo>
                    <a:pt x="208" y="168"/>
                  </a:lnTo>
                  <a:lnTo>
                    <a:pt x="230" y="146"/>
                  </a:lnTo>
                  <a:lnTo>
                    <a:pt x="272" y="165"/>
                  </a:lnTo>
                  <a:lnTo>
                    <a:pt x="275" y="123"/>
                  </a:lnTo>
                  <a:lnTo>
                    <a:pt x="275" y="123"/>
                  </a:lnTo>
                  <a:lnTo>
                    <a:pt x="275" y="12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4" name="Freeform 174">
              <a:extLst>
                <a:ext uri="{FF2B5EF4-FFF2-40B4-BE49-F238E27FC236}">
                  <a16:creationId xmlns:a16="http://schemas.microsoft.com/office/drawing/2014/main" id="{9ABFE073-B439-4DD4-A0EC-3C14E34EE358}"/>
                </a:ext>
              </a:extLst>
            </p:cNvPr>
            <p:cNvSpPr>
              <a:spLocks/>
            </p:cNvSpPr>
            <p:nvPr/>
          </p:nvSpPr>
          <p:spPr bwMode="auto">
            <a:xfrm>
              <a:off x="6943474" y="4326501"/>
              <a:ext cx="616089" cy="540704"/>
            </a:xfrm>
            <a:custGeom>
              <a:avLst/>
              <a:gdLst>
                <a:gd name="T0" fmla="*/ 13 w 332"/>
                <a:gd name="T1" fmla="*/ 238 h 280"/>
                <a:gd name="T2" fmla="*/ 47 w 332"/>
                <a:gd name="T3" fmla="*/ 113 h 280"/>
                <a:gd name="T4" fmla="*/ 64 w 332"/>
                <a:gd name="T5" fmla="*/ 14 h 280"/>
                <a:gd name="T6" fmla="*/ 116 w 332"/>
                <a:gd name="T7" fmla="*/ 0 h 280"/>
                <a:gd name="T8" fmla="*/ 112 w 332"/>
                <a:gd name="T9" fmla="*/ 27 h 280"/>
                <a:gd name="T10" fmla="*/ 180 w 332"/>
                <a:gd name="T11" fmla="*/ 25 h 280"/>
                <a:gd name="T12" fmla="*/ 234 w 332"/>
                <a:gd name="T13" fmla="*/ 72 h 280"/>
                <a:gd name="T14" fmla="*/ 231 w 332"/>
                <a:gd name="T15" fmla="*/ 91 h 280"/>
                <a:gd name="T16" fmla="*/ 263 w 332"/>
                <a:gd name="T17" fmla="*/ 96 h 280"/>
                <a:gd name="T18" fmla="*/ 266 w 332"/>
                <a:gd name="T19" fmla="*/ 75 h 280"/>
                <a:gd name="T20" fmla="*/ 284 w 332"/>
                <a:gd name="T21" fmla="*/ 89 h 280"/>
                <a:gd name="T22" fmla="*/ 284 w 332"/>
                <a:gd name="T23" fmla="*/ 107 h 280"/>
                <a:gd name="T24" fmla="*/ 332 w 332"/>
                <a:gd name="T25" fmla="*/ 118 h 280"/>
                <a:gd name="T26" fmla="*/ 320 w 332"/>
                <a:gd name="T27" fmla="*/ 157 h 280"/>
                <a:gd name="T28" fmla="*/ 319 w 332"/>
                <a:gd name="T29" fmla="*/ 181 h 280"/>
                <a:gd name="T30" fmla="*/ 298 w 332"/>
                <a:gd name="T31" fmla="*/ 160 h 280"/>
                <a:gd name="T32" fmla="*/ 268 w 332"/>
                <a:gd name="T33" fmla="*/ 169 h 280"/>
                <a:gd name="T34" fmla="*/ 252 w 332"/>
                <a:gd name="T35" fmla="*/ 262 h 280"/>
                <a:gd name="T36" fmla="*/ 239 w 332"/>
                <a:gd name="T37" fmla="*/ 270 h 280"/>
                <a:gd name="T38" fmla="*/ 148 w 332"/>
                <a:gd name="T39" fmla="*/ 265 h 280"/>
                <a:gd name="T40" fmla="*/ 82 w 332"/>
                <a:gd name="T41" fmla="*/ 278 h 280"/>
                <a:gd name="T42" fmla="*/ 69 w 332"/>
                <a:gd name="T43" fmla="*/ 269 h 280"/>
                <a:gd name="T44" fmla="*/ 28 w 332"/>
                <a:gd name="T45" fmla="*/ 280 h 280"/>
                <a:gd name="T46" fmla="*/ 0 w 332"/>
                <a:gd name="T47" fmla="*/ 267 h 280"/>
                <a:gd name="T48" fmla="*/ 13 w 332"/>
                <a:gd name="T49" fmla="*/ 238 h 280"/>
                <a:gd name="T50" fmla="*/ 13 w 332"/>
                <a:gd name="T51" fmla="*/ 238 h 280"/>
                <a:gd name="T52" fmla="*/ 13 w 332"/>
                <a:gd name="T53" fmla="*/ 2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2" h="280">
                  <a:moveTo>
                    <a:pt x="13" y="238"/>
                  </a:moveTo>
                  <a:lnTo>
                    <a:pt x="47" y="113"/>
                  </a:lnTo>
                  <a:lnTo>
                    <a:pt x="64" y="14"/>
                  </a:lnTo>
                  <a:lnTo>
                    <a:pt x="116" y="0"/>
                  </a:lnTo>
                  <a:lnTo>
                    <a:pt x="112" y="27"/>
                  </a:lnTo>
                  <a:lnTo>
                    <a:pt x="180" y="25"/>
                  </a:lnTo>
                  <a:lnTo>
                    <a:pt x="234" y="72"/>
                  </a:lnTo>
                  <a:lnTo>
                    <a:pt x="231" y="91"/>
                  </a:lnTo>
                  <a:lnTo>
                    <a:pt x="263" y="96"/>
                  </a:lnTo>
                  <a:lnTo>
                    <a:pt x="266" y="75"/>
                  </a:lnTo>
                  <a:lnTo>
                    <a:pt x="284" y="89"/>
                  </a:lnTo>
                  <a:lnTo>
                    <a:pt x="284" y="107"/>
                  </a:lnTo>
                  <a:lnTo>
                    <a:pt x="332" y="118"/>
                  </a:lnTo>
                  <a:lnTo>
                    <a:pt x="320" y="157"/>
                  </a:lnTo>
                  <a:lnTo>
                    <a:pt x="319" y="181"/>
                  </a:lnTo>
                  <a:lnTo>
                    <a:pt x="298" y="160"/>
                  </a:lnTo>
                  <a:lnTo>
                    <a:pt x="268" y="169"/>
                  </a:lnTo>
                  <a:lnTo>
                    <a:pt x="252" y="262"/>
                  </a:lnTo>
                  <a:lnTo>
                    <a:pt x="239" y="270"/>
                  </a:lnTo>
                  <a:lnTo>
                    <a:pt x="148" y="265"/>
                  </a:lnTo>
                  <a:lnTo>
                    <a:pt x="82" y="278"/>
                  </a:lnTo>
                  <a:lnTo>
                    <a:pt x="69" y="269"/>
                  </a:lnTo>
                  <a:lnTo>
                    <a:pt x="28" y="280"/>
                  </a:lnTo>
                  <a:lnTo>
                    <a:pt x="0" y="267"/>
                  </a:lnTo>
                  <a:lnTo>
                    <a:pt x="13" y="238"/>
                  </a:lnTo>
                  <a:lnTo>
                    <a:pt x="13" y="238"/>
                  </a:lnTo>
                  <a:lnTo>
                    <a:pt x="13" y="23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25" name="Freeform 175">
              <a:extLst>
                <a:ext uri="{FF2B5EF4-FFF2-40B4-BE49-F238E27FC236}">
                  <a16:creationId xmlns:a16="http://schemas.microsoft.com/office/drawing/2014/main" id="{D4F93C86-984A-4028-99A3-75CFCD4EAF08}"/>
                </a:ext>
              </a:extLst>
            </p:cNvPr>
            <p:cNvSpPr>
              <a:spLocks/>
            </p:cNvSpPr>
            <p:nvPr/>
          </p:nvSpPr>
          <p:spPr bwMode="auto">
            <a:xfrm>
              <a:off x="8448440" y="4637403"/>
              <a:ext cx="616089" cy="409389"/>
            </a:xfrm>
            <a:custGeom>
              <a:avLst/>
              <a:gdLst>
                <a:gd name="T0" fmla="*/ 293 w 332"/>
                <a:gd name="T1" fmla="*/ 116 h 212"/>
                <a:gd name="T2" fmla="*/ 266 w 332"/>
                <a:gd name="T3" fmla="*/ 132 h 212"/>
                <a:gd name="T4" fmla="*/ 252 w 332"/>
                <a:gd name="T5" fmla="*/ 149 h 212"/>
                <a:gd name="T6" fmla="*/ 220 w 332"/>
                <a:gd name="T7" fmla="*/ 167 h 212"/>
                <a:gd name="T8" fmla="*/ 196 w 332"/>
                <a:gd name="T9" fmla="*/ 196 h 212"/>
                <a:gd name="T10" fmla="*/ 173 w 332"/>
                <a:gd name="T11" fmla="*/ 191 h 212"/>
                <a:gd name="T12" fmla="*/ 141 w 332"/>
                <a:gd name="T13" fmla="*/ 212 h 212"/>
                <a:gd name="T14" fmla="*/ 64 w 332"/>
                <a:gd name="T15" fmla="*/ 176 h 212"/>
                <a:gd name="T16" fmla="*/ 47 w 332"/>
                <a:gd name="T17" fmla="*/ 200 h 212"/>
                <a:gd name="T18" fmla="*/ 0 w 332"/>
                <a:gd name="T19" fmla="*/ 180 h 212"/>
                <a:gd name="T20" fmla="*/ 8 w 332"/>
                <a:gd name="T21" fmla="*/ 157 h 212"/>
                <a:gd name="T22" fmla="*/ 24 w 332"/>
                <a:gd name="T23" fmla="*/ 143 h 212"/>
                <a:gd name="T24" fmla="*/ 18 w 332"/>
                <a:gd name="T25" fmla="*/ 93 h 212"/>
                <a:gd name="T26" fmla="*/ 52 w 332"/>
                <a:gd name="T27" fmla="*/ 101 h 212"/>
                <a:gd name="T28" fmla="*/ 80 w 332"/>
                <a:gd name="T29" fmla="*/ 84 h 212"/>
                <a:gd name="T30" fmla="*/ 104 w 332"/>
                <a:gd name="T31" fmla="*/ 77 h 212"/>
                <a:gd name="T32" fmla="*/ 104 w 332"/>
                <a:gd name="T33" fmla="*/ 44 h 212"/>
                <a:gd name="T34" fmla="*/ 133 w 332"/>
                <a:gd name="T35" fmla="*/ 47 h 212"/>
                <a:gd name="T36" fmla="*/ 159 w 332"/>
                <a:gd name="T37" fmla="*/ 16 h 212"/>
                <a:gd name="T38" fmla="*/ 202 w 332"/>
                <a:gd name="T39" fmla="*/ 34 h 212"/>
                <a:gd name="T40" fmla="*/ 240 w 332"/>
                <a:gd name="T41" fmla="*/ 0 h 212"/>
                <a:gd name="T42" fmla="*/ 258 w 332"/>
                <a:gd name="T43" fmla="*/ 12 h 212"/>
                <a:gd name="T44" fmla="*/ 250 w 332"/>
                <a:gd name="T45" fmla="*/ 28 h 212"/>
                <a:gd name="T46" fmla="*/ 274 w 332"/>
                <a:gd name="T47" fmla="*/ 28 h 212"/>
                <a:gd name="T48" fmla="*/ 322 w 332"/>
                <a:gd name="T49" fmla="*/ 69 h 212"/>
                <a:gd name="T50" fmla="*/ 332 w 332"/>
                <a:gd name="T51" fmla="*/ 92 h 212"/>
                <a:gd name="T52" fmla="*/ 311 w 332"/>
                <a:gd name="T53" fmla="*/ 116 h 212"/>
                <a:gd name="T54" fmla="*/ 293 w 332"/>
                <a:gd name="T55" fmla="*/ 116 h 212"/>
                <a:gd name="T56" fmla="*/ 293 w 332"/>
                <a:gd name="T57" fmla="*/ 116 h 212"/>
                <a:gd name="T58" fmla="*/ 293 w 332"/>
                <a:gd name="T59" fmla="*/ 11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2" h="212">
                  <a:moveTo>
                    <a:pt x="293" y="116"/>
                  </a:moveTo>
                  <a:lnTo>
                    <a:pt x="266" y="132"/>
                  </a:lnTo>
                  <a:lnTo>
                    <a:pt x="252" y="149"/>
                  </a:lnTo>
                  <a:lnTo>
                    <a:pt x="220" y="167"/>
                  </a:lnTo>
                  <a:lnTo>
                    <a:pt x="196" y="196"/>
                  </a:lnTo>
                  <a:lnTo>
                    <a:pt x="173" y="191"/>
                  </a:lnTo>
                  <a:lnTo>
                    <a:pt x="141" y="212"/>
                  </a:lnTo>
                  <a:lnTo>
                    <a:pt x="64" y="176"/>
                  </a:lnTo>
                  <a:lnTo>
                    <a:pt x="47" y="200"/>
                  </a:lnTo>
                  <a:lnTo>
                    <a:pt x="0" y="180"/>
                  </a:lnTo>
                  <a:lnTo>
                    <a:pt x="8" y="157"/>
                  </a:lnTo>
                  <a:lnTo>
                    <a:pt x="24" y="143"/>
                  </a:lnTo>
                  <a:lnTo>
                    <a:pt x="18" y="93"/>
                  </a:lnTo>
                  <a:lnTo>
                    <a:pt x="52" y="101"/>
                  </a:lnTo>
                  <a:lnTo>
                    <a:pt x="80" y="84"/>
                  </a:lnTo>
                  <a:lnTo>
                    <a:pt x="104" y="77"/>
                  </a:lnTo>
                  <a:lnTo>
                    <a:pt x="104" y="44"/>
                  </a:lnTo>
                  <a:lnTo>
                    <a:pt x="133" y="47"/>
                  </a:lnTo>
                  <a:lnTo>
                    <a:pt x="159" y="16"/>
                  </a:lnTo>
                  <a:lnTo>
                    <a:pt x="202" y="34"/>
                  </a:lnTo>
                  <a:lnTo>
                    <a:pt x="240" y="0"/>
                  </a:lnTo>
                  <a:lnTo>
                    <a:pt x="258" y="12"/>
                  </a:lnTo>
                  <a:lnTo>
                    <a:pt x="250" y="28"/>
                  </a:lnTo>
                  <a:lnTo>
                    <a:pt x="274" y="28"/>
                  </a:lnTo>
                  <a:lnTo>
                    <a:pt x="322" y="69"/>
                  </a:lnTo>
                  <a:lnTo>
                    <a:pt x="332" y="92"/>
                  </a:lnTo>
                  <a:lnTo>
                    <a:pt x="311" y="116"/>
                  </a:lnTo>
                  <a:lnTo>
                    <a:pt x="293" y="116"/>
                  </a:lnTo>
                  <a:lnTo>
                    <a:pt x="293" y="116"/>
                  </a:lnTo>
                  <a:lnTo>
                    <a:pt x="293" y="11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6" name="Freeform 176">
              <a:extLst>
                <a:ext uri="{FF2B5EF4-FFF2-40B4-BE49-F238E27FC236}">
                  <a16:creationId xmlns:a16="http://schemas.microsoft.com/office/drawing/2014/main" id="{1A9E05E1-F8C2-4EB2-9719-85C6DE22CC7F}"/>
                </a:ext>
              </a:extLst>
            </p:cNvPr>
            <p:cNvSpPr>
              <a:spLocks/>
            </p:cNvSpPr>
            <p:nvPr/>
          </p:nvSpPr>
          <p:spPr bwMode="auto">
            <a:xfrm>
              <a:off x="8606174" y="4110221"/>
              <a:ext cx="380416" cy="453803"/>
            </a:xfrm>
            <a:custGeom>
              <a:avLst/>
              <a:gdLst>
                <a:gd name="T0" fmla="*/ 40 w 205"/>
                <a:gd name="T1" fmla="*/ 32 h 235"/>
                <a:gd name="T2" fmla="*/ 75 w 205"/>
                <a:gd name="T3" fmla="*/ 0 h 235"/>
                <a:gd name="T4" fmla="*/ 99 w 205"/>
                <a:gd name="T5" fmla="*/ 46 h 235"/>
                <a:gd name="T6" fmla="*/ 131 w 205"/>
                <a:gd name="T7" fmla="*/ 26 h 235"/>
                <a:gd name="T8" fmla="*/ 173 w 205"/>
                <a:gd name="T9" fmla="*/ 64 h 235"/>
                <a:gd name="T10" fmla="*/ 205 w 205"/>
                <a:gd name="T11" fmla="*/ 141 h 235"/>
                <a:gd name="T12" fmla="*/ 184 w 205"/>
                <a:gd name="T13" fmla="*/ 160 h 235"/>
                <a:gd name="T14" fmla="*/ 195 w 205"/>
                <a:gd name="T15" fmla="*/ 203 h 235"/>
                <a:gd name="T16" fmla="*/ 179 w 205"/>
                <a:gd name="T17" fmla="*/ 233 h 235"/>
                <a:gd name="T18" fmla="*/ 135 w 205"/>
                <a:gd name="T19" fmla="*/ 217 h 235"/>
                <a:gd name="T20" fmla="*/ 130 w 205"/>
                <a:gd name="T21" fmla="*/ 235 h 235"/>
                <a:gd name="T22" fmla="*/ 98 w 205"/>
                <a:gd name="T23" fmla="*/ 232 h 235"/>
                <a:gd name="T24" fmla="*/ 79 w 205"/>
                <a:gd name="T25" fmla="*/ 219 h 235"/>
                <a:gd name="T26" fmla="*/ 35 w 205"/>
                <a:gd name="T27" fmla="*/ 200 h 235"/>
                <a:gd name="T28" fmla="*/ 29 w 205"/>
                <a:gd name="T29" fmla="*/ 129 h 235"/>
                <a:gd name="T30" fmla="*/ 0 w 205"/>
                <a:gd name="T31" fmla="*/ 93 h 235"/>
                <a:gd name="T32" fmla="*/ 29 w 205"/>
                <a:gd name="T33" fmla="*/ 19 h 235"/>
                <a:gd name="T34" fmla="*/ 40 w 205"/>
                <a:gd name="T35" fmla="*/ 32 h 235"/>
                <a:gd name="T36" fmla="*/ 40 w 205"/>
                <a:gd name="T37" fmla="*/ 32 h 235"/>
                <a:gd name="T38" fmla="*/ 40 w 205"/>
                <a:gd name="T39" fmla="*/ 3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35">
                  <a:moveTo>
                    <a:pt x="40" y="32"/>
                  </a:moveTo>
                  <a:lnTo>
                    <a:pt x="75" y="0"/>
                  </a:lnTo>
                  <a:lnTo>
                    <a:pt x="99" y="46"/>
                  </a:lnTo>
                  <a:lnTo>
                    <a:pt x="131" y="26"/>
                  </a:lnTo>
                  <a:lnTo>
                    <a:pt x="173" y="64"/>
                  </a:lnTo>
                  <a:lnTo>
                    <a:pt x="205" y="141"/>
                  </a:lnTo>
                  <a:lnTo>
                    <a:pt x="184" y="160"/>
                  </a:lnTo>
                  <a:lnTo>
                    <a:pt x="195" y="203"/>
                  </a:lnTo>
                  <a:lnTo>
                    <a:pt x="179" y="233"/>
                  </a:lnTo>
                  <a:lnTo>
                    <a:pt x="135" y="217"/>
                  </a:lnTo>
                  <a:lnTo>
                    <a:pt x="130" y="235"/>
                  </a:lnTo>
                  <a:lnTo>
                    <a:pt x="98" y="232"/>
                  </a:lnTo>
                  <a:lnTo>
                    <a:pt x="79" y="219"/>
                  </a:lnTo>
                  <a:lnTo>
                    <a:pt x="35" y="200"/>
                  </a:lnTo>
                  <a:lnTo>
                    <a:pt x="29" y="129"/>
                  </a:lnTo>
                  <a:lnTo>
                    <a:pt x="0" y="93"/>
                  </a:lnTo>
                  <a:lnTo>
                    <a:pt x="29" y="19"/>
                  </a:lnTo>
                  <a:lnTo>
                    <a:pt x="40" y="32"/>
                  </a:lnTo>
                  <a:lnTo>
                    <a:pt x="40" y="32"/>
                  </a:lnTo>
                  <a:lnTo>
                    <a:pt x="40" y="32"/>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7" name="Freeform 177">
              <a:extLst>
                <a:ext uri="{FF2B5EF4-FFF2-40B4-BE49-F238E27FC236}">
                  <a16:creationId xmlns:a16="http://schemas.microsoft.com/office/drawing/2014/main" id="{039C1588-3E88-4BA7-A1C5-F8BB27D9282E}"/>
                </a:ext>
              </a:extLst>
            </p:cNvPr>
            <p:cNvSpPr>
              <a:spLocks/>
            </p:cNvSpPr>
            <p:nvPr/>
          </p:nvSpPr>
          <p:spPr bwMode="auto">
            <a:xfrm>
              <a:off x="7516881" y="3718209"/>
              <a:ext cx="530728" cy="598635"/>
            </a:xfrm>
            <a:custGeom>
              <a:avLst/>
              <a:gdLst>
                <a:gd name="T0" fmla="*/ 160 w 286"/>
                <a:gd name="T1" fmla="*/ 9 h 310"/>
                <a:gd name="T2" fmla="*/ 160 w 286"/>
                <a:gd name="T3" fmla="*/ 33 h 310"/>
                <a:gd name="T4" fmla="*/ 202 w 286"/>
                <a:gd name="T5" fmla="*/ 27 h 310"/>
                <a:gd name="T6" fmla="*/ 251 w 286"/>
                <a:gd name="T7" fmla="*/ 73 h 310"/>
                <a:gd name="T8" fmla="*/ 262 w 286"/>
                <a:gd name="T9" fmla="*/ 94 h 310"/>
                <a:gd name="T10" fmla="*/ 248 w 286"/>
                <a:gd name="T11" fmla="*/ 115 h 310"/>
                <a:gd name="T12" fmla="*/ 251 w 286"/>
                <a:gd name="T13" fmla="*/ 152 h 310"/>
                <a:gd name="T14" fmla="*/ 275 w 286"/>
                <a:gd name="T15" fmla="*/ 161 h 310"/>
                <a:gd name="T16" fmla="*/ 283 w 286"/>
                <a:gd name="T17" fmla="*/ 190 h 310"/>
                <a:gd name="T18" fmla="*/ 286 w 286"/>
                <a:gd name="T19" fmla="*/ 229 h 310"/>
                <a:gd name="T20" fmla="*/ 219 w 286"/>
                <a:gd name="T21" fmla="*/ 310 h 310"/>
                <a:gd name="T22" fmla="*/ 195 w 286"/>
                <a:gd name="T23" fmla="*/ 294 h 310"/>
                <a:gd name="T24" fmla="*/ 168 w 286"/>
                <a:gd name="T25" fmla="*/ 305 h 310"/>
                <a:gd name="T26" fmla="*/ 165 w 286"/>
                <a:gd name="T27" fmla="*/ 280 h 310"/>
                <a:gd name="T28" fmla="*/ 78 w 286"/>
                <a:gd name="T29" fmla="*/ 288 h 310"/>
                <a:gd name="T30" fmla="*/ 62 w 286"/>
                <a:gd name="T31" fmla="*/ 257 h 310"/>
                <a:gd name="T32" fmla="*/ 59 w 286"/>
                <a:gd name="T33" fmla="*/ 225 h 310"/>
                <a:gd name="T34" fmla="*/ 40 w 286"/>
                <a:gd name="T35" fmla="*/ 241 h 310"/>
                <a:gd name="T36" fmla="*/ 3 w 286"/>
                <a:gd name="T37" fmla="*/ 235 h 310"/>
                <a:gd name="T38" fmla="*/ 21 w 286"/>
                <a:gd name="T39" fmla="*/ 163 h 310"/>
                <a:gd name="T40" fmla="*/ 0 w 286"/>
                <a:gd name="T41" fmla="*/ 158 h 310"/>
                <a:gd name="T42" fmla="*/ 11 w 286"/>
                <a:gd name="T43" fmla="*/ 133 h 310"/>
                <a:gd name="T44" fmla="*/ 34 w 286"/>
                <a:gd name="T45" fmla="*/ 133 h 310"/>
                <a:gd name="T46" fmla="*/ 59 w 286"/>
                <a:gd name="T47" fmla="*/ 109 h 310"/>
                <a:gd name="T48" fmla="*/ 58 w 286"/>
                <a:gd name="T49" fmla="*/ 81 h 310"/>
                <a:gd name="T50" fmla="*/ 98 w 286"/>
                <a:gd name="T51" fmla="*/ 51 h 310"/>
                <a:gd name="T52" fmla="*/ 133 w 286"/>
                <a:gd name="T53" fmla="*/ 0 h 310"/>
                <a:gd name="T54" fmla="*/ 160 w 286"/>
                <a:gd name="T55" fmla="*/ 9 h 310"/>
                <a:gd name="T56" fmla="*/ 160 w 286"/>
                <a:gd name="T57" fmla="*/ 9 h 310"/>
                <a:gd name="T58" fmla="*/ 160 w 286"/>
                <a:gd name="T59" fmla="*/ 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6" h="310">
                  <a:moveTo>
                    <a:pt x="160" y="9"/>
                  </a:moveTo>
                  <a:lnTo>
                    <a:pt x="160" y="33"/>
                  </a:lnTo>
                  <a:lnTo>
                    <a:pt x="202" y="27"/>
                  </a:lnTo>
                  <a:lnTo>
                    <a:pt x="251" y="73"/>
                  </a:lnTo>
                  <a:lnTo>
                    <a:pt x="262" y="94"/>
                  </a:lnTo>
                  <a:lnTo>
                    <a:pt x="248" y="115"/>
                  </a:lnTo>
                  <a:lnTo>
                    <a:pt x="251" y="152"/>
                  </a:lnTo>
                  <a:lnTo>
                    <a:pt x="275" y="161"/>
                  </a:lnTo>
                  <a:lnTo>
                    <a:pt x="283" y="190"/>
                  </a:lnTo>
                  <a:lnTo>
                    <a:pt x="286" y="229"/>
                  </a:lnTo>
                  <a:lnTo>
                    <a:pt x="219" y="310"/>
                  </a:lnTo>
                  <a:lnTo>
                    <a:pt x="195" y="294"/>
                  </a:lnTo>
                  <a:lnTo>
                    <a:pt x="168" y="305"/>
                  </a:lnTo>
                  <a:lnTo>
                    <a:pt x="165" y="280"/>
                  </a:lnTo>
                  <a:lnTo>
                    <a:pt x="78" y="288"/>
                  </a:lnTo>
                  <a:lnTo>
                    <a:pt x="62" y="257"/>
                  </a:lnTo>
                  <a:lnTo>
                    <a:pt x="59" y="225"/>
                  </a:lnTo>
                  <a:lnTo>
                    <a:pt x="40" y="241"/>
                  </a:lnTo>
                  <a:lnTo>
                    <a:pt x="3" y="235"/>
                  </a:lnTo>
                  <a:lnTo>
                    <a:pt x="21" y="163"/>
                  </a:lnTo>
                  <a:lnTo>
                    <a:pt x="0" y="158"/>
                  </a:lnTo>
                  <a:lnTo>
                    <a:pt x="11" y="133"/>
                  </a:lnTo>
                  <a:lnTo>
                    <a:pt x="34" y="133"/>
                  </a:lnTo>
                  <a:lnTo>
                    <a:pt x="59" y="109"/>
                  </a:lnTo>
                  <a:lnTo>
                    <a:pt x="58" y="81"/>
                  </a:lnTo>
                  <a:lnTo>
                    <a:pt x="98" y="51"/>
                  </a:lnTo>
                  <a:lnTo>
                    <a:pt x="133" y="0"/>
                  </a:lnTo>
                  <a:lnTo>
                    <a:pt x="160" y="9"/>
                  </a:lnTo>
                  <a:lnTo>
                    <a:pt x="160" y="9"/>
                  </a:lnTo>
                  <a:lnTo>
                    <a:pt x="160" y="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28" name="Freeform 178">
              <a:extLst>
                <a:ext uri="{FF2B5EF4-FFF2-40B4-BE49-F238E27FC236}">
                  <a16:creationId xmlns:a16="http://schemas.microsoft.com/office/drawing/2014/main" id="{5C72EA63-B52D-44F2-900E-79BA133DAD6B}"/>
                </a:ext>
              </a:extLst>
            </p:cNvPr>
            <p:cNvSpPr>
              <a:spLocks/>
            </p:cNvSpPr>
            <p:nvPr/>
          </p:nvSpPr>
          <p:spPr bwMode="auto">
            <a:xfrm>
              <a:off x="8274005" y="3851456"/>
              <a:ext cx="471347" cy="438357"/>
            </a:xfrm>
            <a:custGeom>
              <a:avLst/>
              <a:gdLst>
                <a:gd name="T0" fmla="*/ 26 w 254"/>
                <a:gd name="T1" fmla="*/ 72 h 227"/>
                <a:gd name="T2" fmla="*/ 32 w 254"/>
                <a:gd name="T3" fmla="*/ 84 h 227"/>
                <a:gd name="T4" fmla="*/ 8 w 254"/>
                <a:gd name="T5" fmla="*/ 116 h 227"/>
                <a:gd name="T6" fmla="*/ 18 w 254"/>
                <a:gd name="T7" fmla="*/ 132 h 227"/>
                <a:gd name="T8" fmla="*/ 0 w 254"/>
                <a:gd name="T9" fmla="*/ 134 h 227"/>
                <a:gd name="T10" fmla="*/ 19 w 254"/>
                <a:gd name="T11" fmla="*/ 188 h 227"/>
                <a:gd name="T12" fmla="*/ 16 w 254"/>
                <a:gd name="T13" fmla="*/ 209 h 227"/>
                <a:gd name="T14" fmla="*/ 24 w 254"/>
                <a:gd name="T15" fmla="*/ 225 h 227"/>
                <a:gd name="T16" fmla="*/ 82 w 254"/>
                <a:gd name="T17" fmla="*/ 225 h 227"/>
                <a:gd name="T18" fmla="*/ 110 w 254"/>
                <a:gd name="T19" fmla="*/ 168 h 227"/>
                <a:gd name="T20" fmla="*/ 134 w 254"/>
                <a:gd name="T21" fmla="*/ 144 h 227"/>
                <a:gd name="T22" fmla="*/ 141 w 254"/>
                <a:gd name="T23" fmla="*/ 166 h 227"/>
                <a:gd name="T24" fmla="*/ 155 w 254"/>
                <a:gd name="T25" fmla="*/ 164 h 227"/>
                <a:gd name="T26" fmla="*/ 179 w 254"/>
                <a:gd name="T27" fmla="*/ 227 h 227"/>
                <a:gd name="T28" fmla="*/ 208 w 254"/>
                <a:gd name="T29" fmla="*/ 153 h 227"/>
                <a:gd name="T30" fmla="*/ 219 w 254"/>
                <a:gd name="T31" fmla="*/ 166 h 227"/>
                <a:gd name="T32" fmla="*/ 254 w 254"/>
                <a:gd name="T33" fmla="*/ 134 h 227"/>
                <a:gd name="T34" fmla="*/ 224 w 254"/>
                <a:gd name="T35" fmla="*/ 52 h 227"/>
                <a:gd name="T36" fmla="*/ 197 w 254"/>
                <a:gd name="T37" fmla="*/ 48 h 227"/>
                <a:gd name="T38" fmla="*/ 171 w 254"/>
                <a:gd name="T39" fmla="*/ 44 h 227"/>
                <a:gd name="T40" fmla="*/ 166 w 254"/>
                <a:gd name="T41" fmla="*/ 28 h 227"/>
                <a:gd name="T42" fmla="*/ 86 w 254"/>
                <a:gd name="T43" fmla="*/ 0 h 227"/>
                <a:gd name="T44" fmla="*/ 86 w 254"/>
                <a:gd name="T45" fmla="*/ 25 h 227"/>
                <a:gd name="T46" fmla="*/ 64 w 254"/>
                <a:gd name="T47" fmla="*/ 20 h 227"/>
                <a:gd name="T48" fmla="*/ 26 w 254"/>
                <a:gd name="T49" fmla="*/ 72 h 227"/>
                <a:gd name="T50" fmla="*/ 26 w 254"/>
                <a:gd name="T51" fmla="*/ 72 h 227"/>
                <a:gd name="T52" fmla="*/ 26 w 254"/>
                <a:gd name="T53" fmla="*/ 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4" h="227">
                  <a:moveTo>
                    <a:pt x="26" y="72"/>
                  </a:moveTo>
                  <a:lnTo>
                    <a:pt x="32" y="84"/>
                  </a:lnTo>
                  <a:lnTo>
                    <a:pt x="8" y="116"/>
                  </a:lnTo>
                  <a:lnTo>
                    <a:pt x="18" y="132"/>
                  </a:lnTo>
                  <a:lnTo>
                    <a:pt x="0" y="134"/>
                  </a:lnTo>
                  <a:lnTo>
                    <a:pt x="19" y="188"/>
                  </a:lnTo>
                  <a:lnTo>
                    <a:pt x="16" y="209"/>
                  </a:lnTo>
                  <a:lnTo>
                    <a:pt x="24" y="225"/>
                  </a:lnTo>
                  <a:lnTo>
                    <a:pt x="82" y="225"/>
                  </a:lnTo>
                  <a:lnTo>
                    <a:pt x="110" y="168"/>
                  </a:lnTo>
                  <a:lnTo>
                    <a:pt x="134" y="144"/>
                  </a:lnTo>
                  <a:lnTo>
                    <a:pt x="141" y="166"/>
                  </a:lnTo>
                  <a:lnTo>
                    <a:pt x="155" y="164"/>
                  </a:lnTo>
                  <a:lnTo>
                    <a:pt x="179" y="227"/>
                  </a:lnTo>
                  <a:lnTo>
                    <a:pt x="208" y="153"/>
                  </a:lnTo>
                  <a:lnTo>
                    <a:pt x="219" y="166"/>
                  </a:lnTo>
                  <a:lnTo>
                    <a:pt x="254" y="134"/>
                  </a:lnTo>
                  <a:lnTo>
                    <a:pt x="224" y="52"/>
                  </a:lnTo>
                  <a:lnTo>
                    <a:pt x="197" y="48"/>
                  </a:lnTo>
                  <a:lnTo>
                    <a:pt x="171" y="44"/>
                  </a:lnTo>
                  <a:lnTo>
                    <a:pt x="166" y="28"/>
                  </a:lnTo>
                  <a:lnTo>
                    <a:pt x="86" y="0"/>
                  </a:lnTo>
                  <a:lnTo>
                    <a:pt x="86" y="25"/>
                  </a:lnTo>
                  <a:lnTo>
                    <a:pt x="64" y="20"/>
                  </a:lnTo>
                  <a:lnTo>
                    <a:pt x="26" y="72"/>
                  </a:lnTo>
                  <a:lnTo>
                    <a:pt x="26" y="72"/>
                  </a:lnTo>
                  <a:lnTo>
                    <a:pt x="26" y="72"/>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9" name="Freeform 179">
              <a:extLst>
                <a:ext uri="{FF2B5EF4-FFF2-40B4-BE49-F238E27FC236}">
                  <a16:creationId xmlns:a16="http://schemas.microsoft.com/office/drawing/2014/main" id="{13EBDA63-75A0-4C94-B8B7-5BA194438A7F}"/>
                </a:ext>
              </a:extLst>
            </p:cNvPr>
            <p:cNvSpPr>
              <a:spLocks/>
            </p:cNvSpPr>
            <p:nvPr/>
          </p:nvSpPr>
          <p:spPr bwMode="auto">
            <a:xfrm>
              <a:off x="7763688" y="3359029"/>
              <a:ext cx="447222" cy="500151"/>
            </a:xfrm>
            <a:custGeom>
              <a:avLst/>
              <a:gdLst>
                <a:gd name="T0" fmla="*/ 241 w 241"/>
                <a:gd name="T1" fmla="*/ 194 h 259"/>
                <a:gd name="T2" fmla="*/ 118 w 241"/>
                <a:gd name="T3" fmla="*/ 259 h 259"/>
                <a:gd name="T4" fmla="*/ 69 w 241"/>
                <a:gd name="T5" fmla="*/ 213 h 259"/>
                <a:gd name="T6" fmla="*/ 27 w 241"/>
                <a:gd name="T7" fmla="*/ 219 h 259"/>
                <a:gd name="T8" fmla="*/ 27 w 241"/>
                <a:gd name="T9" fmla="*/ 195 h 259"/>
                <a:gd name="T10" fmla="*/ 0 w 241"/>
                <a:gd name="T11" fmla="*/ 186 h 259"/>
                <a:gd name="T12" fmla="*/ 35 w 241"/>
                <a:gd name="T13" fmla="*/ 149 h 259"/>
                <a:gd name="T14" fmla="*/ 38 w 241"/>
                <a:gd name="T15" fmla="*/ 127 h 259"/>
                <a:gd name="T16" fmla="*/ 54 w 241"/>
                <a:gd name="T17" fmla="*/ 127 h 259"/>
                <a:gd name="T18" fmla="*/ 62 w 241"/>
                <a:gd name="T19" fmla="*/ 109 h 259"/>
                <a:gd name="T20" fmla="*/ 40 w 241"/>
                <a:gd name="T21" fmla="*/ 93 h 259"/>
                <a:gd name="T22" fmla="*/ 41 w 241"/>
                <a:gd name="T23" fmla="*/ 64 h 259"/>
                <a:gd name="T24" fmla="*/ 35 w 241"/>
                <a:gd name="T25" fmla="*/ 45 h 259"/>
                <a:gd name="T26" fmla="*/ 109 w 241"/>
                <a:gd name="T27" fmla="*/ 2 h 259"/>
                <a:gd name="T28" fmla="*/ 144 w 241"/>
                <a:gd name="T29" fmla="*/ 0 h 259"/>
                <a:gd name="T30" fmla="*/ 158 w 241"/>
                <a:gd name="T31" fmla="*/ 13 h 259"/>
                <a:gd name="T32" fmla="*/ 149 w 241"/>
                <a:gd name="T33" fmla="*/ 53 h 259"/>
                <a:gd name="T34" fmla="*/ 168 w 241"/>
                <a:gd name="T35" fmla="*/ 72 h 259"/>
                <a:gd name="T36" fmla="*/ 189 w 241"/>
                <a:gd name="T37" fmla="*/ 147 h 259"/>
                <a:gd name="T38" fmla="*/ 241 w 241"/>
                <a:gd name="T39" fmla="*/ 162 h 259"/>
                <a:gd name="T40" fmla="*/ 241 w 241"/>
                <a:gd name="T41" fmla="*/ 194 h 259"/>
                <a:gd name="T42" fmla="*/ 241 w 241"/>
                <a:gd name="T43" fmla="*/ 194 h 259"/>
                <a:gd name="T44" fmla="*/ 241 w 241"/>
                <a:gd name="T45" fmla="*/ 19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1" h="259">
                  <a:moveTo>
                    <a:pt x="241" y="194"/>
                  </a:moveTo>
                  <a:lnTo>
                    <a:pt x="118" y="259"/>
                  </a:lnTo>
                  <a:lnTo>
                    <a:pt x="69" y="213"/>
                  </a:lnTo>
                  <a:lnTo>
                    <a:pt x="27" y="219"/>
                  </a:lnTo>
                  <a:lnTo>
                    <a:pt x="27" y="195"/>
                  </a:lnTo>
                  <a:lnTo>
                    <a:pt x="0" y="186"/>
                  </a:lnTo>
                  <a:lnTo>
                    <a:pt x="35" y="149"/>
                  </a:lnTo>
                  <a:lnTo>
                    <a:pt x="38" y="127"/>
                  </a:lnTo>
                  <a:lnTo>
                    <a:pt x="54" y="127"/>
                  </a:lnTo>
                  <a:lnTo>
                    <a:pt x="62" y="109"/>
                  </a:lnTo>
                  <a:lnTo>
                    <a:pt x="40" y="93"/>
                  </a:lnTo>
                  <a:lnTo>
                    <a:pt x="41" y="64"/>
                  </a:lnTo>
                  <a:lnTo>
                    <a:pt x="35" y="45"/>
                  </a:lnTo>
                  <a:lnTo>
                    <a:pt x="109" y="2"/>
                  </a:lnTo>
                  <a:lnTo>
                    <a:pt x="144" y="0"/>
                  </a:lnTo>
                  <a:lnTo>
                    <a:pt x="158" y="13"/>
                  </a:lnTo>
                  <a:lnTo>
                    <a:pt x="149" y="53"/>
                  </a:lnTo>
                  <a:lnTo>
                    <a:pt x="168" y="72"/>
                  </a:lnTo>
                  <a:lnTo>
                    <a:pt x="189" y="147"/>
                  </a:lnTo>
                  <a:lnTo>
                    <a:pt x="241" y="162"/>
                  </a:lnTo>
                  <a:lnTo>
                    <a:pt x="241" y="194"/>
                  </a:lnTo>
                  <a:lnTo>
                    <a:pt x="241" y="194"/>
                  </a:lnTo>
                  <a:lnTo>
                    <a:pt x="241" y="19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0" name="Freeform 180">
              <a:extLst>
                <a:ext uri="{FF2B5EF4-FFF2-40B4-BE49-F238E27FC236}">
                  <a16:creationId xmlns:a16="http://schemas.microsoft.com/office/drawing/2014/main" id="{B9E8C5E1-80F1-4285-A1BA-48BD82C4766C}"/>
                </a:ext>
              </a:extLst>
            </p:cNvPr>
            <p:cNvSpPr>
              <a:spLocks/>
            </p:cNvSpPr>
            <p:nvPr/>
          </p:nvSpPr>
          <p:spPr bwMode="auto">
            <a:xfrm>
              <a:off x="7520593" y="2936120"/>
              <a:ext cx="445367" cy="598635"/>
            </a:xfrm>
            <a:custGeom>
              <a:avLst/>
              <a:gdLst>
                <a:gd name="T0" fmla="*/ 0 w 240"/>
                <a:gd name="T1" fmla="*/ 27 h 310"/>
                <a:gd name="T2" fmla="*/ 30 w 240"/>
                <a:gd name="T3" fmla="*/ 0 h 310"/>
                <a:gd name="T4" fmla="*/ 78 w 240"/>
                <a:gd name="T5" fmla="*/ 40 h 310"/>
                <a:gd name="T6" fmla="*/ 80 w 240"/>
                <a:gd name="T7" fmla="*/ 66 h 310"/>
                <a:gd name="T8" fmla="*/ 144 w 240"/>
                <a:gd name="T9" fmla="*/ 56 h 310"/>
                <a:gd name="T10" fmla="*/ 187 w 240"/>
                <a:gd name="T11" fmla="*/ 123 h 310"/>
                <a:gd name="T12" fmla="*/ 188 w 240"/>
                <a:gd name="T13" fmla="*/ 160 h 310"/>
                <a:gd name="T14" fmla="*/ 233 w 240"/>
                <a:gd name="T15" fmla="*/ 187 h 310"/>
                <a:gd name="T16" fmla="*/ 240 w 240"/>
                <a:gd name="T17" fmla="*/ 221 h 310"/>
                <a:gd name="T18" fmla="*/ 166 w 240"/>
                <a:gd name="T19" fmla="*/ 264 h 310"/>
                <a:gd name="T20" fmla="*/ 172 w 240"/>
                <a:gd name="T21" fmla="*/ 283 h 310"/>
                <a:gd name="T22" fmla="*/ 126 w 240"/>
                <a:gd name="T23" fmla="*/ 302 h 310"/>
                <a:gd name="T24" fmla="*/ 105 w 240"/>
                <a:gd name="T25" fmla="*/ 287 h 310"/>
                <a:gd name="T26" fmla="*/ 99 w 240"/>
                <a:gd name="T27" fmla="*/ 310 h 310"/>
                <a:gd name="T28" fmla="*/ 49 w 240"/>
                <a:gd name="T29" fmla="*/ 299 h 310"/>
                <a:gd name="T30" fmla="*/ 54 w 240"/>
                <a:gd name="T31" fmla="*/ 283 h 310"/>
                <a:gd name="T32" fmla="*/ 35 w 240"/>
                <a:gd name="T33" fmla="*/ 271 h 310"/>
                <a:gd name="T34" fmla="*/ 48 w 240"/>
                <a:gd name="T35" fmla="*/ 227 h 310"/>
                <a:gd name="T36" fmla="*/ 24 w 240"/>
                <a:gd name="T37" fmla="*/ 235 h 310"/>
                <a:gd name="T38" fmla="*/ 9 w 240"/>
                <a:gd name="T39" fmla="*/ 189 h 310"/>
                <a:gd name="T40" fmla="*/ 21 w 240"/>
                <a:gd name="T41" fmla="*/ 157 h 310"/>
                <a:gd name="T42" fmla="*/ 8 w 240"/>
                <a:gd name="T43" fmla="*/ 146 h 310"/>
                <a:gd name="T44" fmla="*/ 19 w 240"/>
                <a:gd name="T45" fmla="*/ 125 h 310"/>
                <a:gd name="T46" fmla="*/ 16 w 240"/>
                <a:gd name="T47" fmla="*/ 67 h 310"/>
                <a:gd name="T48" fmla="*/ 0 w 240"/>
                <a:gd name="T49" fmla="*/ 27 h 310"/>
                <a:gd name="T50" fmla="*/ 0 w 240"/>
                <a:gd name="T51" fmla="*/ 27 h 310"/>
                <a:gd name="T52" fmla="*/ 0 w 240"/>
                <a:gd name="T53" fmla="*/ 27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 h="310">
                  <a:moveTo>
                    <a:pt x="0" y="27"/>
                  </a:moveTo>
                  <a:lnTo>
                    <a:pt x="30" y="0"/>
                  </a:lnTo>
                  <a:lnTo>
                    <a:pt x="78" y="40"/>
                  </a:lnTo>
                  <a:lnTo>
                    <a:pt x="80" y="66"/>
                  </a:lnTo>
                  <a:lnTo>
                    <a:pt x="144" y="56"/>
                  </a:lnTo>
                  <a:lnTo>
                    <a:pt x="187" y="123"/>
                  </a:lnTo>
                  <a:lnTo>
                    <a:pt x="188" y="160"/>
                  </a:lnTo>
                  <a:lnTo>
                    <a:pt x="233" y="187"/>
                  </a:lnTo>
                  <a:lnTo>
                    <a:pt x="240" y="221"/>
                  </a:lnTo>
                  <a:lnTo>
                    <a:pt x="166" y="264"/>
                  </a:lnTo>
                  <a:lnTo>
                    <a:pt x="172" y="283"/>
                  </a:lnTo>
                  <a:lnTo>
                    <a:pt x="126" y="302"/>
                  </a:lnTo>
                  <a:lnTo>
                    <a:pt x="105" y="287"/>
                  </a:lnTo>
                  <a:lnTo>
                    <a:pt x="99" y="310"/>
                  </a:lnTo>
                  <a:lnTo>
                    <a:pt x="49" y="299"/>
                  </a:lnTo>
                  <a:lnTo>
                    <a:pt x="54" y="283"/>
                  </a:lnTo>
                  <a:lnTo>
                    <a:pt x="35" y="271"/>
                  </a:lnTo>
                  <a:lnTo>
                    <a:pt x="48" y="227"/>
                  </a:lnTo>
                  <a:lnTo>
                    <a:pt x="24" y="235"/>
                  </a:lnTo>
                  <a:lnTo>
                    <a:pt x="9" y="189"/>
                  </a:lnTo>
                  <a:lnTo>
                    <a:pt x="21" y="157"/>
                  </a:lnTo>
                  <a:lnTo>
                    <a:pt x="8" y="146"/>
                  </a:lnTo>
                  <a:lnTo>
                    <a:pt x="19" y="125"/>
                  </a:lnTo>
                  <a:lnTo>
                    <a:pt x="16" y="67"/>
                  </a:lnTo>
                  <a:lnTo>
                    <a:pt x="0" y="27"/>
                  </a:lnTo>
                  <a:lnTo>
                    <a:pt x="0" y="27"/>
                  </a:lnTo>
                  <a:lnTo>
                    <a:pt x="0" y="2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1" name="Freeform 181">
              <a:extLst>
                <a:ext uri="{FF2B5EF4-FFF2-40B4-BE49-F238E27FC236}">
                  <a16:creationId xmlns:a16="http://schemas.microsoft.com/office/drawing/2014/main" id="{DB9F7656-26BC-4519-B94F-41AB516A22FF}"/>
                </a:ext>
              </a:extLst>
            </p:cNvPr>
            <p:cNvSpPr>
              <a:spLocks/>
            </p:cNvSpPr>
            <p:nvPr/>
          </p:nvSpPr>
          <p:spPr bwMode="auto">
            <a:xfrm>
              <a:off x="8819579" y="2949637"/>
              <a:ext cx="645779" cy="515600"/>
            </a:xfrm>
            <a:custGeom>
              <a:avLst/>
              <a:gdLst>
                <a:gd name="T0" fmla="*/ 24 w 348"/>
                <a:gd name="T1" fmla="*/ 152 h 267"/>
                <a:gd name="T2" fmla="*/ 0 w 348"/>
                <a:gd name="T3" fmla="*/ 113 h 267"/>
                <a:gd name="T4" fmla="*/ 28 w 348"/>
                <a:gd name="T5" fmla="*/ 113 h 267"/>
                <a:gd name="T6" fmla="*/ 39 w 348"/>
                <a:gd name="T7" fmla="*/ 124 h 267"/>
                <a:gd name="T8" fmla="*/ 87 w 348"/>
                <a:gd name="T9" fmla="*/ 99 h 267"/>
                <a:gd name="T10" fmla="*/ 82 w 348"/>
                <a:gd name="T11" fmla="*/ 11 h 267"/>
                <a:gd name="T12" fmla="*/ 114 w 348"/>
                <a:gd name="T13" fmla="*/ 0 h 267"/>
                <a:gd name="T14" fmla="*/ 207 w 348"/>
                <a:gd name="T15" fmla="*/ 64 h 267"/>
                <a:gd name="T16" fmla="*/ 247 w 348"/>
                <a:gd name="T17" fmla="*/ 49 h 267"/>
                <a:gd name="T18" fmla="*/ 306 w 348"/>
                <a:gd name="T19" fmla="*/ 44 h 267"/>
                <a:gd name="T20" fmla="*/ 348 w 348"/>
                <a:gd name="T21" fmla="*/ 81 h 267"/>
                <a:gd name="T22" fmla="*/ 325 w 348"/>
                <a:gd name="T23" fmla="*/ 84 h 267"/>
                <a:gd name="T24" fmla="*/ 346 w 348"/>
                <a:gd name="T25" fmla="*/ 136 h 267"/>
                <a:gd name="T26" fmla="*/ 330 w 348"/>
                <a:gd name="T27" fmla="*/ 164 h 267"/>
                <a:gd name="T28" fmla="*/ 348 w 348"/>
                <a:gd name="T29" fmla="*/ 177 h 267"/>
                <a:gd name="T30" fmla="*/ 319 w 348"/>
                <a:gd name="T31" fmla="*/ 188 h 267"/>
                <a:gd name="T32" fmla="*/ 298 w 348"/>
                <a:gd name="T33" fmla="*/ 171 h 267"/>
                <a:gd name="T34" fmla="*/ 277 w 348"/>
                <a:gd name="T35" fmla="*/ 177 h 267"/>
                <a:gd name="T36" fmla="*/ 253 w 348"/>
                <a:gd name="T37" fmla="*/ 171 h 267"/>
                <a:gd name="T38" fmla="*/ 226 w 348"/>
                <a:gd name="T39" fmla="*/ 267 h 267"/>
                <a:gd name="T40" fmla="*/ 216 w 348"/>
                <a:gd name="T41" fmla="*/ 265 h 267"/>
                <a:gd name="T42" fmla="*/ 210 w 348"/>
                <a:gd name="T43" fmla="*/ 235 h 267"/>
                <a:gd name="T44" fmla="*/ 154 w 348"/>
                <a:gd name="T45" fmla="*/ 238 h 267"/>
                <a:gd name="T46" fmla="*/ 152 w 348"/>
                <a:gd name="T47" fmla="*/ 265 h 267"/>
                <a:gd name="T48" fmla="*/ 61 w 348"/>
                <a:gd name="T49" fmla="*/ 267 h 267"/>
                <a:gd name="T50" fmla="*/ 58 w 348"/>
                <a:gd name="T51" fmla="*/ 240 h 267"/>
                <a:gd name="T52" fmla="*/ 74 w 348"/>
                <a:gd name="T53" fmla="*/ 230 h 267"/>
                <a:gd name="T54" fmla="*/ 74 w 348"/>
                <a:gd name="T55" fmla="*/ 188 h 267"/>
                <a:gd name="T56" fmla="*/ 26 w 348"/>
                <a:gd name="T57" fmla="*/ 169 h 267"/>
                <a:gd name="T58" fmla="*/ 24 w 348"/>
                <a:gd name="T59" fmla="*/ 152 h 267"/>
                <a:gd name="T60" fmla="*/ 24 w 348"/>
                <a:gd name="T61" fmla="*/ 152 h 267"/>
                <a:gd name="T62" fmla="*/ 24 w 348"/>
                <a:gd name="T63" fmla="*/ 15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8" h="267">
                  <a:moveTo>
                    <a:pt x="24" y="152"/>
                  </a:moveTo>
                  <a:lnTo>
                    <a:pt x="0" y="113"/>
                  </a:lnTo>
                  <a:lnTo>
                    <a:pt x="28" y="113"/>
                  </a:lnTo>
                  <a:lnTo>
                    <a:pt x="39" y="124"/>
                  </a:lnTo>
                  <a:lnTo>
                    <a:pt x="87" y="99"/>
                  </a:lnTo>
                  <a:lnTo>
                    <a:pt x="82" y="11"/>
                  </a:lnTo>
                  <a:lnTo>
                    <a:pt x="114" y="0"/>
                  </a:lnTo>
                  <a:lnTo>
                    <a:pt x="207" y="64"/>
                  </a:lnTo>
                  <a:lnTo>
                    <a:pt x="247" y="49"/>
                  </a:lnTo>
                  <a:lnTo>
                    <a:pt x="306" y="44"/>
                  </a:lnTo>
                  <a:lnTo>
                    <a:pt x="348" y="81"/>
                  </a:lnTo>
                  <a:lnTo>
                    <a:pt x="325" y="84"/>
                  </a:lnTo>
                  <a:lnTo>
                    <a:pt x="346" y="136"/>
                  </a:lnTo>
                  <a:lnTo>
                    <a:pt x="330" y="164"/>
                  </a:lnTo>
                  <a:lnTo>
                    <a:pt x="348" y="177"/>
                  </a:lnTo>
                  <a:lnTo>
                    <a:pt x="319" y="188"/>
                  </a:lnTo>
                  <a:lnTo>
                    <a:pt x="298" y="171"/>
                  </a:lnTo>
                  <a:lnTo>
                    <a:pt x="277" y="177"/>
                  </a:lnTo>
                  <a:lnTo>
                    <a:pt x="253" y="171"/>
                  </a:lnTo>
                  <a:lnTo>
                    <a:pt x="226" y="267"/>
                  </a:lnTo>
                  <a:lnTo>
                    <a:pt x="216" y="265"/>
                  </a:lnTo>
                  <a:lnTo>
                    <a:pt x="210" y="235"/>
                  </a:lnTo>
                  <a:lnTo>
                    <a:pt x="154" y="238"/>
                  </a:lnTo>
                  <a:lnTo>
                    <a:pt x="152" y="265"/>
                  </a:lnTo>
                  <a:lnTo>
                    <a:pt x="61" y="267"/>
                  </a:lnTo>
                  <a:lnTo>
                    <a:pt x="58" y="240"/>
                  </a:lnTo>
                  <a:lnTo>
                    <a:pt x="74" y="230"/>
                  </a:lnTo>
                  <a:lnTo>
                    <a:pt x="74" y="188"/>
                  </a:lnTo>
                  <a:lnTo>
                    <a:pt x="26" y="169"/>
                  </a:lnTo>
                  <a:lnTo>
                    <a:pt x="24" y="152"/>
                  </a:lnTo>
                  <a:lnTo>
                    <a:pt x="24" y="152"/>
                  </a:lnTo>
                  <a:lnTo>
                    <a:pt x="24" y="15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32" name="Freeform 182">
              <a:extLst>
                <a:ext uri="{FF2B5EF4-FFF2-40B4-BE49-F238E27FC236}">
                  <a16:creationId xmlns:a16="http://schemas.microsoft.com/office/drawing/2014/main" id="{5719361F-73A3-4463-B5A7-588B7EEB5860}"/>
                </a:ext>
              </a:extLst>
            </p:cNvPr>
            <p:cNvSpPr>
              <a:spLocks/>
            </p:cNvSpPr>
            <p:nvPr/>
          </p:nvSpPr>
          <p:spPr bwMode="auto">
            <a:xfrm>
              <a:off x="9387421" y="2862744"/>
              <a:ext cx="341447" cy="546495"/>
            </a:xfrm>
            <a:custGeom>
              <a:avLst/>
              <a:gdLst>
                <a:gd name="T0" fmla="*/ 0 w 184"/>
                <a:gd name="T1" fmla="*/ 89 h 283"/>
                <a:gd name="T2" fmla="*/ 37 w 184"/>
                <a:gd name="T3" fmla="*/ 38 h 283"/>
                <a:gd name="T4" fmla="*/ 46 w 184"/>
                <a:gd name="T5" fmla="*/ 0 h 283"/>
                <a:gd name="T6" fmla="*/ 83 w 184"/>
                <a:gd name="T7" fmla="*/ 8 h 283"/>
                <a:gd name="T8" fmla="*/ 106 w 184"/>
                <a:gd name="T9" fmla="*/ 35 h 283"/>
                <a:gd name="T10" fmla="*/ 96 w 184"/>
                <a:gd name="T11" fmla="*/ 69 h 283"/>
                <a:gd name="T12" fmla="*/ 138 w 184"/>
                <a:gd name="T13" fmla="*/ 81 h 283"/>
                <a:gd name="T14" fmla="*/ 144 w 184"/>
                <a:gd name="T15" fmla="*/ 107 h 283"/>
                <a:gd name="T16" fmla="*/ 184 w 184"/>
                <a:gd name="T17" fmla="*/ 133 h 283"/>
                <a:gd name="T18" fmla="*/ 157 w 184"/>
                <a:gd name="T19" fmla="*/ 182 h 283"/>
                <a:gd name="T20" fmla="*/ 168 w 184"/>
                <a:gd name="T21" fmla="*/ 190 h 283"/>
                <a:gd name="T22" fmla="*/ 178 w 184"/>
                <a:gd name="T23" fmla="*/ 198 h 283"/>
                <a:gd name="T24" fmla="*/ 163 w 184"/>
                <a:gd name="T25" fmla="*/ 233 h 283"/>
                <a:gd name="T26" fmla="*/ 126 w 184"/>
                <a:gd name="T27" fmla="*/ 280 h 283"/>
                <a:gd name="T28" fmla="*/ 102 w 184"/>
                <a:gd name="T29" fmla="*/ 278 h 283"/>
                <a:gd name="T30" fmla="*/ 85 w 184"/>
                <a:gd name="T31" fmla="*/ 261 h 283"/>
                <a:gd name="T32" fmla="*/ 56 w 184"/>
                <a:gd name="T33" fmla="*/ 283 h 283"/>
                <a:gd name="T34" fmla="*/ 13 w 184"/>
                <a:gd name="T35" fmla="*/ 233 h 283"/>
                <a:gd name="T36" fmla="*/ 42 w 184"/>
                <a:gd name="T37" fmla="*/ 222 h 283"/>
                <a:gd name="T38" fmla="*/ 24 w 184"/>
                <a:gd name="T39" fmla="*/ 209 h 283"/>
                <a:gd name="T40" fmla="*/ 40 w 184"/>
                <a:gd name="T41" fmla="*/ 181 h 283"/>
                <a:gd name="T42" fmla="*/ 19 w 184"/>
                <a:gd name="T43" fmla="*/ 129 h 283"/>
                <a:gd name="T44" fmla="*/ 42 w 184"/>
                <a:gd name="T45" fmla="*/ 126 h 283"/>
                <a:gd name="T46" fmla="*/ 0 w 184"/>
                <a:gd name="T47" fmla="*/ 89 h 283"/>
                <a:gd name="T48" fmla="*/ 0 w 184"/>
                <a:gd name="T49" fmla="*/ 89 h 283"/>
                <a:gd name="T50" fmla="*/ 0 w 184"/>
                <a:gd name="T51" fmla="*/ 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4" h="283">
                  <a:moveTo>
                    <a:pt x="0" y="89"/>
                  </a:moveTo>
                  <a:lnTo>
                    <a:pt x="37" y="38"/>
                  </a:lnTo>
                  <a:lnTo>
                    <a:pt x="46" y="0"/>
                  </a:lnTo>
                  <a:lnTo>
                    <a:pt x="83" y="8"/>
                  </a:lnTo>
                  <a:lnTo>
                    <a:pt x="106" y="35"/>
                  </a:lnTo>
                  <a:lnTo>
                    <a:pt x="96" y="69"/>
                  </a:lnTo>
                  <a:lnTo>
                    <a:pt x="138" y="81"/>
                  </a:lnTo>
                  <a:lnTo>
                    <a:pt x="144" y="107"/>
                  </a:lnTo>
                  <a:lnTo>
                    <a:pt x="184" y="133"/>
                  </a:lnTo>
                  <a:lnTo>
                    <a:pt x="157" y="182"/>
                  </a:lnTo>
                  <a:lnTo>
                    <a:pt x="168" y="190"/>
                  </a:lnTo>
                  <a:lnTo>
                    <a:pt x="178" y="198"/>
                  </a:lnTo>
                  <a:lnTo>
                    <a:pt x="163" y="233"/>
                  </a:lnTo>
                  <a:lnTo>
                    <a:pt x="126" y="280"/>
                  </a:lnTo>
                  <a:lnTo>
                    <a:pt x="102" y="278"/>
                  </a:lnTo>
                  <a:lnTo>
                    <a:pt x="85" y="261"/>
                  </a:lnTo>
                  <a:lnTo>
                    <a:pt x="56" y="283"/>
                  </a:lnTo>
                  <a:lnTo>
                    <a:pt x="13" y="233"/>
                  </a:lnTo>
                  <a:lnTo>
                    <a:pt x="42" y="222"/>
                  </a:lnTo>
                  <a:lnTo>
                    <a:pt x="24" y="209"/>
                  </a:lnTo>
                  <a:lnTo>
                    <a:pt x="40" y="181"/>
                  </a:lnTo>
                  <a:lnTo>
                    <a:pt x="19" y="129"/>
                  </a:lnTo>
                  <a:lnTo>
                    <a:pt x="42" y="126"/>
                  </a:lnTo>
                  <a:lnTo>
                    <a:pt x="0" y="89"/>
                  </a:lnTo>
                  <a:lnTo>
                    <a:pt x="0" y="89"/>
                  </a:lnTo>
                  <a:lnTo>
                    <a:pt x="0" y="89"/>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3" name="Freeform 183">
              <a:extLst>
                <a:ext uri="{FF2B5EF4-FFF2-40B4-BE49-F238E27FC236}">
                  <a16:creationId xmlns:a16="http://schemas.microsoft.com/office/drawing/2014/main" id="{7EF09749-B3AE-4F7B-8319-82D7593C04FC}"/>
                </a:ext>
              </a:extLst>
            </p:cNvPr>
            <p:cNvSpPr>
              <a:spLocks/>
            </p:cNvSpPr>
            <p:nvPr/>
          </p:nvSpPr>
          <p:spPr bwMode="auto">
            <a:xfrm>
              <a:off x="7867607" y="2887843"/>
              <a:ext cx="450931" cy="496288"/>
            </a:xfrm>
            <a:custGeom>
              <a:avLst/>
              <a:gdLst>
                <a:gd name="T0" fmla="*/ 229 w 243"/>
                <a:gd name="T1" fmla="*/ 80 h 257"/>
                <a:gd name="T2" fmla="*/ 222 w 243"/>
                <a:gd name="T3" fmla="*/ 97 h 257"/>
                <a:gd name="T4" fmla="*/ 238 w 243"/>
                <a:gd name="T5" fmla="*/ 104 h 257"/>
                <a:gd name="T6" fmla="*/ 221 w 243"/>
                <a:gd name="T7" fmla="*/ 126 h 257"/>
                <a:gd name="T8" fmla="*/ 232 w 243"/>
                <a:gd name="T9" fmla="*/ 139 h 257"/>
                <a:gd name="T10" fmla="*/ 224 w 243"/>
                <a:gd name="T11" fmla="*/ 150 h 257"/>
                <a:gd name="T12" fmla="*/ 243 w 243"/>
                <a:gd name="T13" fmla="*/ 177 h 257"/>
                <a:gd name="T14" fmla="*/ 241 w 243"/>
                <a:gd name="T15" fmla="*/ 236 h 257"/>
                <a:gd name="T16" fmla="*/ 163 w 243"/>
                <a:gd name="T17" fmla="*/ 230 h 257"/>
                <a:gd name="T18" fmla="*/ 160 w 243"/>
                <a:gd name="T19" fmla="*/ 244 h 257"/>
                <a:gd name="T20" fmla="*/ 115 w 243"/>
                <a:gd name="T21" fmla="*/ 240 h 257"/>
                <a:gd name="T22" fmla="*/ 102 w 243"/>
                <a:gd name="T23" fmla="*/ 257 h 257"/>
                <a:gd name="T24" fmla="*/ 88 w 243"/>
                <a:gd name="T25" fmla="*/ 244 h 257"/>
                <a:gd name="T26" fmla="*/ 53 w 243"/>
                <a:gd name="T27" fmla="*/ 246 h 257"/>
                <a:gd name="T28" fmla="*/ 46 w 243"/>
                <a:gd name="T29" fmla="*/ 212 h 257"/>
                <a:gd name="T30" fmla="*/ 1 w 243"/>
                <a:gd name="T31" fmla="*/ 185 h 257"/>
                <a:gd name="T32" fmla="*/ 0 w 243"/>
                <a:gd name="T33" fmla="*/ 148 h 257"/>
                <a:gd name="T34" fmla="*/ 17 w 243"/>
                <a:gd name="T35" fmla="*/ 142 h 257"/>
                <a:gd name="T36" fmla="*/ 37 w 243"/>
                <a:gd name="T37" fmla="*/ 70 h 257"/>
                <a:gd name="T38" fmla="*/ 70 w 243"/>
                <a:gd name="T39" fmla="*/ 68 h 257"/>
                <a:gd name="T40" fmla="*/ 91 w 243"/>
                <a:gd name="T41" fmla="*/ 41 h 257"/>
                <a:gd name="T42" fmla="*/ 85 w 243"/>
                <a:gd name="T43" fmla="*/ 25 h 257"/>
                <a:gd name="T44" fmla="*/ 142 w 243"/>
                <a:gd name="T45" fmla="*/ 0 h 257"/>
                <a:gd name="T46" fmla="*/ 184 w 243"/>
                <a:gd name="T47" fmla="*/ 20 h 257"/>
                <a:gd name="T48" fmla="*/ 169 w 243"/>
                <a:gd name="T49" fmla="*/ 43 h 257"/>
                <a:gd name="T50" fmla="*/ 190 w 243"/>
                <a:gd name="T51" fmla="*/ 51 h 257"/>
                <a:gd name="T52" fmla="*/ 208 w 243"/>
                <a:gd name="T53" fmla="*/ 43 h 257"/>
                <a:gd name="T54" fmla="*/ 229 w 243"/>
                <a:gd name="T55" fmla="*/ 80 h 257"/>
                <a:gd name="T56" fmla="*/ 229 w 243"/>
                <a:gd name="T57" fmla="*/ 80 h 257"/>
                <a:gd name="T58" fmla="*/ 229 w 243"/>
                <a:gd name="T59" fmla="*/ 8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3" h="257">
                  <a:moveTo>
                    <a:pt x="229" y="80"/>
                  </a:moveTo>
                  <a:lnTo>
                    <a:pt x="222" y="97"/>
                  </a:lnTo>
                  <a:lnTo>
                    <a:pt x="238" y="104"/>
                  </a:lnTo>
                  <a:lnTo>
                    <a:pt x="221" y="126"/>
                  </a:lnTo>
                  <a:lnTo>
                    <a:pt x="232" y="139"/>
                  </a:lnTo>
                  <a:lnTo>
                    <a:pt x="224" y="150"/>
                  </a:lnTo>
                  <a:lnTo>
                    <a:pt x="243" y="177"/>
                  </a:lnTo>
                  <a:lnTo>
                    <a:pt x="241" y="236"/>
                  </a:lnTo>
                  <a:lnTo>
                    <a:pt x="163" y="230"/>
                  </a:lnTo>
                  <a:lnTo>
                    <a:pt x="160" y="244"/>
                  </a:lnTo>
                  <a:lnTo>
                    <a:pt x="115" y="240"/>
                  </a:lnTo>
                  <a:lnTo>
                    <a:pt x="102" y="257"/>
                  </a:lnTo>
                  <a:lnTo>
                    <a:pt x="88" y="244"/>
                  </a:lnTo>
                  <a:lnTo>
                    <a:pt x="53" y="246"/>
                  </a:lnTo>
                  <a:lnTo>
                    <a:pt x="46" y="212"/>
                  </a:lnTo>
                  <a:lnTo>
                    <a:pt x="1" y="185"/>
                  </a:lnTo>
                  <a:lnTo>
                    <a:pt x="0" y="148"/>
                  </a:lnTo>
                  <a:lnTo>
                    <a:pt x="17" y="142"/>
                  </a:lnTo>
                  <a:lnTo>
                    <a:pt x="37" y="70"/>
                  </a:lnTo>
                  <a:lnTo>
                    <a:pt x="70" y="68"/>
                  </a:lnTo>
                  <a:lnTo>
                    <a:pt x="91" y="41"/>
                  </a:lnTo>
                  <a:lnTo>
                    <a:pt x="85" y="25"/>
                  </a:lnTo>
                  <a:lnTo>
                    <a:pt x="142" y="0"/>
                  </a:lnTo>
                  <a:lnTo>
                    <a:pt x="184" y="20"/>
                  </a:lnTo>
                  <a:lnTo>
                    <a:pt x="169" y="43"/>
                  </a:lnTo>
                  <a:lnTo>
                    <a:pt x="190" y="51"/>
                  </a:lnTo>
                  <a:lnTo>
                    <a:pt x="208" y="43"/>
                  </a:lnTo>
                  <a:lnTo>
                    <a:pt x="229" y="80"/>
                  </a:lnTo>
                  <a:lnTo>
                    <a:pt x="229" y="80"/>
                  </a:lnTo>
                  <a:lnTo>
                    <a:pt x="229" y="80"/>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4" name="Freeform 184">
              <a:extLst>
                <a:ext uri="{FF2B5EF4-FFF2-40B4-BE49-F238E27FC236}">
                  <a16:creationId xmlns:a16="http://schemas.microsoft.com/office/drawing/2014/main" id="{3537EC48-4311-4294-8655-C09AF0C49DF7}"/>
                </a:ext>
              </a:extLst>
            </p:cNvPr>
            <p:cNvSpPr>
              <a:spLocks/>
            </p:cNvSpPr>
            <p:nvPr/>
          </p:nvSpPr>
          <p:spPr bwMode="auto">
            <a:xfrm>
              <a:off x="8975456" y="2482317"/>
              <a:ext cx="497326" cy="590909"/>
            </a:xfrm>
            <a:custGeom>
              <a:avLst/>
              <a:gdLst>
                <a:gd name="T0" fmla="*/ 259 w 268"/>
                <a:gd name="T1" fmla="*/ 107 h 306"/>
                <a:gd name="T2" fmla="*/ 264 w 268"/>
                <a:gd name="T3" fmla="*/ 130 h 306"/>
                <a:gd name="T4" fmla="*/ 248 w 268"/>
                <a:gd name="T5" fmla="*/ 146 h 306"/>
                <a:gd name="T6" fmla="*/ 268 w 268"/>
                <a:gd name="T7" fmla="*/ 197 h 306"/>
                <a:gd name="T8" fmla="*/ 259 w 268"/>
                <a:gd name="T9" fmla="*/ 235 h 306"/>
                <a:gd name="T10" fmla="*/ 222 w 268"/>
                <a:gd name="T11" fmla="*/ 286 h 306"/>
                <a:gd name="T12" fmla="*/ 163 w 268"/>
                <a:gd name="T13" fmla="*/ 291 h 306"/>
                <a:gd name="T14" fmla="*/ 123 w 268"/>
                <a:gd name="T15" fmla="*/ 306 h 306"/>
                <a:gd name="T16" fmla="*/ 30 w 268"/>
                <a:gd name="T17" fmla="*/ 242 h 306"/>
                <a:gd name="T18" fmla="*/ 8 w 268"/>
                <a:gd name="T19" fmla="*/ 192 h 306"/>
                <a:gd name="T20" fmla="*/ 0 w 268"/>
                <a:gd name="T21" fmla="*/ 171 h 306"/>
                <a:gd name="T22" fmla="*/ 44 w 268"/>
                <a:gd name="T23" fmla="*/ 67 h 306"/>
                <a:gd name="T24" fmla="*/ 33 w 268"/>
                <a:gd name="T25" fmla="*/ 24 h 306"/>
                <a:gd name="T26" fmla="*/ 84 w 268"/>
                <a:gd name="T27" fmla="*/ 15 h 306"/>
                <a:gd name="T28" fmla="*/ 84 w 268"/>
                <a:gd name="T29" fmla="*/ 0 h 306"/>
                <a:gd name="T30" fmla="*/ 113 w 268"/>
                <a:gd name="T31" fmla="*/ 2 h 306"/>
                <a:gd name="T32" fmla="*/ 128 w 268"/>
                <a:gd name="T33" fmla="*/ 8 h 306"/>
                <a:gd name="T34" fmla="*/ 169 w 268"/>
                <a:gd name="T35" fmla="*/ 56 h 306"/>
                <a:gd name="T36" fmla="*/ 158 w 268"/>
                <a:gd name="T37" fmla="*/ 67 h 306"/>
                <a:gd name="T38" fmla="*/ 166 w 268"/>
                <a:gd name="T39" fmla="*/ 87 h 306"/>
                <a:gd name="T40" fmla="*/ 222 w 268"/>
                <a:gd name="T41" fmla="*/ 112 h 306"/>
                <a:gd name="T42" fmla="*/ 241 w 268"/>
                <a:gd name="T43" fmla="*/ 112 h 306"/>
                <a:gd name="T44" fmla="*/ 259 w 268"/>
                <a:gd name="T45" fmla="*/ 107 h 306"/>
                <a:gd name="T46" fmla="*/ 259 w 268"/>
                <a:gd name="T47" fmla="*/ 107 h 306"/>
                <a:gd name="T48" fmla="*/ 259 w 268"/>
                <a:gd name="T49" fmla="*/ 10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8" h="306">
                  <a:moveTo>
                    <a:pt x="259" y="107"/>
                  </a:moveTo>
                  <a:lnTo>
                    <a:pt x="264" y="130"/>
                  </a:lnTo>
                  <a:lnTo>
                    <a:pt x="248" y="146"/>
                  </a:lnTo>
                  <a:lnTo>
                    <a:pt x="268" y="197"/>
                  </a:lnTo>
                  <a:lnTo>
                    <a:pt x="259" y="235"/>
                  </a:lnTo>
                  <a:lnTo>
                    <a:pt x="222" y="286"/>
                  </a:lnTo>
                  <a:lnTo>
                    <a:pt x="163" y="291"/>
                  </a:lnTo>
                  <a:lnTo>
                    <a:pt x="123" y="306"/>
                  </a:lnTo>
                  <a:lnTo>
                    <a:pt x="30" y="242"/>
                  </a:lnTo>
                  <a:lnTo>
                    <a:pt x="8" y="192"/>
                  </a:lnTo>
                  <a:lnTo>
                    <a:pt x="0" y="171"/>
                  </a:lnTo>
                  <a:lnTo>
                    <a:pt x="44" y="67"/>
                  </a:lnTo>
                  <a:lnTo>
                    <a:pt x="33" y="24"/>
                  </a:lnTo>
                  <a:lnTo>
                    <a:pt x="84" y="15"/>
                  </a:lnTo>
                  <a:lnTo>
                    <a:pt x="84" y="0"/>
                  </a:lnTo>
                  <a:lnTo>
                    <a:pt x="113" y="2"/>
                  </a:lnTo>
                  <a:lnTo>
                    <a:pt x="128" y="8"/>
                  </a:lnTo>
                  <a:lnTo>
                    <a:pt x="169" y="56"/>
                  </a:lnTo>
                  <a:lnTo>
                    <a:pt x="158" y="67"/>
                  </a:lnTo>
                  <a:lnTo>
                    <a:pt x="166" y="87"/>
                  </a:lnTo>
                  <a:lnTo>
                    <a:pt x="222" y="112"/>
                  </a:lnTo>
                  <a:lnTo>
                    <a:pt x="241" y="112"/>
                  </a:lnTo>
                  <a:lnTo>
                    <a:pt x="259" y="107"/>
                  </a:lnTo>
                  <a:lnTo>
                    <a:pt x="259" y="107"/>
                  </a:lnTo>
                  <a:lnTo>
                    <a:pt x="259" y="10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5" name="Freeform 185">
              <a:extLst>
                <a:ext uri="{FF2B5EF4-FFF2-40B4-BE49-F238E27FC236}">
                  <a16:creationId xmlns:a16="http://schemas.microsoft.com/office/drawing/2014/main" id="{076031A7-2544-4CD5-B87B-2B9E711E1239}"/>
                </a:ext>
              </a:extLst>
            </p:cNvPr>
            <p:cNvSpPr>
              <a:spLocks/>
            </p:cNvSpPr>
            <p:nvPr/>
          </p:nvSpPr>
          <p:spPr bwMode="auto">
            <a:xfrm>
              <a:off x="8550502" y="2300795"/>
              <a:ext cx="506603" cy="563877"/>
            </a:xfrm>
            <a:custGeom>
              <a:avLst/>
              <a:gdLst>
                <a:gd name="T0" fmla="*/ 33 w 273"/>
                <a:gd name="T1" fmla="*/ 38 h 292"/>
                <a:gd name="T2" fmla="*/ 33 w 273"/>
                <a:gd name="T3" fmla="*/ 9 h 292"/>
                <a:gd name="T4" fmla="*/ 102 w 273"/>
                <a:gd name="T5" fmla="*/ 0 h 292"/>
                <a:gd name="T6" fmla="*/ 126 w 273"/>
                <a:gd name="T7" fmla="*/ 11 h 292"/>
                <a:gd name="T8" fmla="*/ 150 w 273"/>
                <a:gd name="T9" fmla="*/ 67 h 292"/>
                <a:gd name="T10" fmla="*/ 163 w 273"/>
                <a:gd name="T11" fmla="*/ 57 h 292"/>
                <a:gd name="T12" fmla="*/ 197 w 273"/>
                <a:gd name="T13" fmla="*/ 121 h 292"/>
                <a:gd name="T14" fmla="*/ 262 w 273"/>
                <a:gd name="T15" fmla="*/ 118 h 292"/>
                <a:gd name="T16" fmla="*/ 273 w 273"/>
                <a:gd name="T17" fmla="*/ 161 h 292"/>
                <a:gd name="T18" fmla="*/ 229 w 273"/>
                <a:gd name="T19" fmla="*/ 265 h 292"/>
                <a:gd name="T20" fmla="*/ 237 w 273"/>
                <a:gd name="T21" fmla="*/ 286 h 292"/>
                <a:gd name="T22" fmla="*/ 214 w 273"/>
                <a:gd name="T23" fmla="*/ 292 h 292"/>
                <a:gd name="T24" fmla="*/ 208 w 273"/>
                <a:gd name="T25" fmla="*/ 273 h 292"/>
                <a:gd name="T26" fmla="*/ 166 w 273"/>
                <a:gd name="T27" fmla="*/ 270 h 292"/>
                <a:gd name="T28" fmla="*/ 125 w 273"/>
                <a:gd name="T29" fmla="*/ 236 h 292"/>
                <a:gd name="T30" fmla="*/ 86 w 273"/>
                <a:gd name="T31" fmla="*/ 251 h 292"/>
                <a:gd name="T32" fmla="*/ 45 w 273"/>
                <a:gd name="T33" fmla="*/ 224 h 292"/>
                <a:gd name="T34" fmla="*/ 24 w 273"/>
                <a:gd name="T35" fmla="*/ 225 h 292"/>
                <a:gd name="T36" fmla="*/ 0 w 273"/>
                <a:gd name="T37" fmla="*/ 174 h 292"/>
                <a:gd name="T38" fmla="*/ 32 w 273"/>
                <a:gd name="T39" fmla="*/ 166 h 292"/>
                <a:gd name="T40" fmla="*/ 30 w 273"/>
                <a:gd name="T41" fmla="*/ 134 h 292"/>
                <a:gd name="T42" fmla="*/ 53 w 273"/>
                <a:gd name="T43" fmla="*/ 113 h 292"/>
                <a:gd name="T44" fmla="*/ 30 w 273"/>
                <a:gd name="T45" fmla="*/ 69 h 292"/>
                <a:gd name="T46" fmla="*/ 14 w 273"/>
                <a:gd name="T47" fmla="*/ 62 h 292"/>
                <a:gd name="T48" fmla="*/ 33 w 273"/>
                <a:gd name="T49" fmla="*/ 38 h 292"/>
                <a:gd name="T50" fmla="*/ 33 w 273"/>
                <a:gd name="T51" fmla="*/ 38 h 292"/>
                <a:gd name="T52" fmla="*/ 33 w 273"/>
                <a:gd name="T53" fmla="*/ 3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3" h="292">
                  <a:moveTo>
                    <a:pt x="33" y="38"/>
                  </a:moveTo>
                  <a:lnTo>
                    <a:pt x="33" y="9"/>
                  </a:lnTo>
                  <a:lnTo>
                    <a:pt x="102" y="0"/>
                  </a:lnTo>
                  <a:lnTo>
                    <a:pt x="126" y="11"/>
                  </a:lnTo>
                  <a:lnTo>
                    <a:pt x="150" y="67"/>
                  </a:lnTo>
                  <a:lnTo>
                    <a:pt x="163" y="57"/>
                  </a:lnTo>
                  <a:lnTo>
                    <a:pt x="197" y="121"/>
                  </a:lnTo>
                  <a:lnTo>
                    <a:pt x="262" y="118"/>
                  </a:lnTo>
                  <a:lnTo>
                    <a:pt x="273" y="161"/>
                  </a:lnTo>
                  <a:lnTo>
                    <a:pt x="229" y="265"/>
                  </a:lnTo>
                  <a:lnTo>
                    <a:pt x="237" y="286"/>
                  </a:lnTo>
                  <a:lnTo>
                    <a:pt x="214" y="292"/>
                  </a:lnTo>
                  <a:lnTo>
                    <a:pt x="208" y="273"/>
                  </a:lnTo>
                  <a:lnTo>
                    <a:pt x="166" y="270"/>
                  </a:lnTo>
                  <a:lnTo>
                    <a:pt x="125" y="236"/>
                  </a:lnTo>
                  <a:lnTo>
                    <a:pt x="86" y="251"/>
                  </a:lnTo>
                  <a:lnTo>
                    <a:pt x="45" y="224"/>
                  </a:lnTo>
                  <a:lnTo>
                    <a:pt x="24" y="225"/>
                  </a:lnTo>
                  <a:lnTo>
                    <a:pt x="0" y="174"/>
                  </a:lnTo>
                  <a:lnTo>
                    <a:pt x="32" y="166"/>
                  </a:lnTo>
                  <a:lnTo>
                    <a:pt x="30" y="134"/>
                  </a:lnTo>
                  <a:lnTo>
                    <a:pt x="53" y="113"/>
                  </a:lnTo>
                  <a:lnTo>
                    <a:pt x="30" y="69"/>
                  </a:lnTo>
                  <a:lnTo>
                    <a:pt x="14" y="62"/>
                  </a:lnTo>
                  <a:lnTo>
                    <a:pt x="33" y="38"/>
                  </a:lnTo>
                  <a:lnTo>
                    <a:pt x="33" y="38"/>
                  </a:lnTo>
                  <a:lnTo>
                    <a:pt x="33" y="3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6" name="Freeform 186">
              <a:extLst>
                <a:ext uri="{FF2B5EF4-FFF2-40B4-BE49-F238E27FC236}">
                  <a16:creationId xmlns:a16="http://schemas.microsoft.com/office/drawing/2014/main" id="{D9F4CA20-E375-498F-AB5C-E02FA187AB29}"/>
                </a:ext>
              </a:extLst>
            </p:cNvPr>
            <p:cNvSpPr>
              <a:spLocks/>
            </p:cNvSpPr>
            <p:nvPr/>
          </p:nvSpPr>
          <p:spPr bwMode="auto">
            <a:xfrm>
              <a:off x="7576264" y="2661910"/>
              <a:ext cx="460210" cy="511734"/>
            </a:xfrm>
            <a:custGeom>
              <a:avLst/>
              <a:gdLst>
                <a:gd name="T0" fmla="*/ 42 w 248"/>
                <a:gd name="T1" fmla="*/ 22 h 265"/>
                <a:gd name="T2" fmla="*/ 59 w 248"/>
                <a:gd name="T3" fmla="*/ 29 h 265"/>
                <a:gd name="T4" fmla="*/ 109 w 248"/>
                <a:gd name="T5" fmla="*/ 0 h 265"/>
                <a:gd name="T6" fmla="*/ 157 w 248"/>
                <a:gd name="T7" fmla="*/ 6 h 265"/>
                <a:gd name="T8" fmla="*/ 155 w 248"/>
                <a:gd name="T9" fmla="*/ 21 h 265"/>
                <a:gd name="T10" fmla="*/ 192 w 248"/>
                <a:gd name="T11" fmla="*/ 29 h 265"/>
                <a:gd name="T12" fmla="*/ 205 w 248"/>
                <a:gd name="T13" fmla="*/ 115 h 265"/>
                <a:gd name="T14" fmla="*/ 224 w 248"/>
                <a:gd name="T15" fmla="*/ 115 h 265"/>
                <a:gd name="T16" fmla="*/ 242 w 248"/>
                <a:gd name="T17" fmla="*/ 142 h 265"/>
                <a:gd name="T18" fmla="*/ 248 w 248"/>
                <a:gd name="T19" fmla="*/ 158 h 265"/>
                <a:gd name="T20" fmla="*/ 227 w 248"/>
                <a:gd name="T21" fmla="*/ 185 h 265"/>
                <a:gd name="T22" fmla="*/ 194 w 248"/>
                <a:gd name="T23" fmla="*/ 187 h 265"/>
                <a:gd name="T24" fmla="*/ 174 w 248"/>
                <a:gd name="T25" fmla="*/ 259 h 265"/>
                <a:gd name="T26" fmla="*/ 157 w 248"/>
                <a:gd name="T27" fmla="*/ 265 h 265"/>
                <a:gd name="T28" fmla="*/ 114 w 248"/>
                <a:gd name="T29" fmla="*/ 198 h 265"/>
                <a:gd name="T30" fmla="*/ 50 w 248"/>
                <a:gd name="T31" fmla="*/ 208 h 265"/>
                <a:gd name="T32" fmla="*/ 48 w 248"/>
                <a:gd name="T33" fmla="*/ 182 h 265"/>
                <a:gd name="T34" fmla="*/ 0 w 248"/>
                <a:gd name="T35" fmla="*/ 142 h 265"/>
                <a:gd name="T36" fmla="*/ 42 w 248"/>
                <a:gd name="T37" fmla="*/ 22 h 265"/>
                <a:gd name="T38" fmla="*/ 42 w 248"/>
                <a:gd name="T39" fmla="*/ 22 h 265"/>
                <a:gd name="T40" fmla="*/ 42 w 248"/>
                <a:gd name="T41" fmla="*/ 2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65">
                  <a:moveTo>
                    <a:pt x="42" y="22"/>
                  </a:moveTo>
                  <a:lnTo>
                    <a:pt x="59" y="29"/>
                  </a:lnTo>
                  <a:lnTo>
                    <a:pt x="109" y="0"/>
                  </a:lnTo>
                  <a:lnTo>
                    <a:pt x="157" y="6"/>
                  </a:lnTo>
                  <a:lnTo>
                    <a:pt x="155" y="21"/>
                  </a:lnTo>
                  <a:lnTo>
                    <a:pt x="192" y="29"/>
                  </a:lnTo>
                  <a:lnTo>
                    <a:pt x="205" y="115"/>
                  </a:lnTo>
                  <a:lnTo>
                    <a:pt x="224" y="115"/>
                  </a:lnTo>
                  <a:lnTo>
                    <a:pt x="242" y="142"/>
                  </a:lnTo>
                  <a:lnTo>
                    <a:pt x="248" y="158"/>
                  </a:lnTo>
                  <a:lnTo>
                    <a:pt x="227" y="185"/>
                  </a:lnTo>
                  <a:lnTo>
                    <a:pt x="194" y="187"/>
                  </a:lnTo>
                  <a:lnTo>
                    <a:pt x="174" y="259"/>
                  </a:lnTo>
                  <a:lnTo>
                    <a:pt x="157" y="265"/>
                  </a:lnTo>
                  <a:lnTo>
                    <a:pt x="114" y="198"/>
                  </a:lnTo>
                  <a:lnTo>
                    <a:pt x="50" y="208"/>
                  </a:lnTo>
                  <a:lnTo>
                    <a:pt x="48" y="182"/>
                  </a:lnTo>
                  <a:lnTo>
                    <a:pt x="0" y="142"/>
                  </a:lnTo>
                  <a:lnTo>
                    <a:pt x="42" y="22"/>
                  </a:lnTo>
                  <a:lnTo>
                    <a:pt x="42" y="22"/>
                  </a:lnTo>
                  <a:lnTo>
                    <a:pt x="42" y="2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37" name="Freeform 187">
              <a:extLst>
                <a:ext uri="{FF2B5EF4-FFF2-40B4-BE49-F238E27FC236}">
                  <a16:creationId xmlns:a16="http://schemas.microsoft.com/office/drawing/2014/main" id="{BE7347E7-E16D-4BB7-A4D7-6CE4DCB054C5}"/>
                </a:ext>
              </a:extLst>
            </p:cNvPr>
            <p:cNvSpPr>
              <a:spLocks/>
            </p:cNvSpPr>
            <p:nvPr/>
          </p:nvSpPr>
          <p:spPr bwMode="auto">
            <a:xfrm>
              <a:off x="9422677" y="2461076"/>
              <a:ext cx="495472" cy="417114"/>
            </a:xfrm>
            <a:custGeom>
              <a:avLst/>
              <a:gdLst>
                <a:gd name="T0" fmla="*/ 243 w 267"/>
                <a:gd name="T1" fmla="*/ 123 h 216"/>
                <a:gd name="T2" fmla="*/ 267 w 267"/>
                <a:gd name="T3" fmla="*/ 126 h 216"/>
                <a:gd name="T4" fmla="*/ 253 w 267"/>
                <a:gd name="T5" fmla="*/ 70 h 216"/>
                <a:gd name="T6" fmla="*/ 267 w 267"/>
                <a:gd name="T7" fmla="*/ 51 h 216"/>
                <a:gd name="T8" fmla="*/ 223 w 267"/>
                <a:gd name="T9" fmla="*/ 21 h 216"/>
                <a:gd name="T10" fmla="*/ 203 w 267"/>
                <a:gd name="T11" fmla="*/ 34 h 216"/>
                <a:gd name="T12" fmla="*/ 181 w 267"/>
                <a:gd name="T13" fmla="*/ 16 h 216"/>
                <a:gd name="T14" fmla="*/ 149 w 267"/>
                <a:gd name="T15" fmla="*/ 24 h 216"/>
                <a:gd name="T16" fmla="*/ 135 w 267"/>
                <a:gd name="T17" fmla="*/ 0 h 216"/>
                <a:gd name="T18" fmla="*/ 91 w 267"/>
                <a:gd name="T19" fmla="*/ 30 h 216"/>
                <a:gd name="T20" fmla="*/ 56 w 267"/>
                <a:gd name="T21" fmla="*/ 67 h 216"/>
                <a:gd name="T22" fmla="*/ 56 w 267"/>
                <a:gd name="T23" fmla="*/ 98 h 216"/>
                <a:gd name="T24" fmla="*/ 7 w 267"/>
                <a:gd name="T25" fmla="*/ 102 h 216"/>
                <a:gd name="T26" fmla="*/ 0 w 267"/>
                <a:gd name="T27" fmla="*/ 123 h 216"/>
                <a:gd name="T28" fmla="*/ 18 w 267"/>
                <a:gd name="T29" fmla="*/ 118 h 216"/>
                <a:gd name="T30" fmla="*/ 23 w 267"/>
                <a:gd name="T31" fmla="*/ 141 h 216"/>
                <a:gd name="T32" fmla="*/ 7 w 267"/>
                <a:gd name="T33" fmla="*/ 157 h 216"/>
                <a:gd name="T34" fmla="*/ 27 w 267"/>
                <a:gd name="T35" fmla="*/ 208 h 216"/>
                <a:gd name="T36" fmla="*/ 64 w 267"/>
                <a:gd name="T37" fmla="*/ 216 h 216"/>
                <a:gd name="T38" fmla="*/ 163 w 267"/>
                <a:gd name="T39" fmla="*/ 166 h 216"/>
                <a:gd name="T40" fmla="*/ 184 w 267"/>
                <a:gd name="T41" fmla="*/ 137 h 216"/>
                <a:gd name="T42" fmla="*/ 219 w 267"/>
                <a:gd name="T43" fmla="*/ 141 h 216"/>
                <a:gd name="T44" fmla="*/ 243 w 267"/>
                <a:gd name="T45" fmla="*/ 123 h 216"/>
                <a:gd name="T46" fmla="*/ 243 w 267"/>
                <a:gd name="T47" fmla="*/ 123 h 216"/>
                <a:gd name="T48" fmla="*/ 243 w 267"/>
                <a:gd name="T49" fmla="*/ 1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7" h="216">
                  <a:moveTo>
                    <a:pt x="243" y="123"/>
                  </a:moveTo>
                  <a:lnTo>
                    <a:pt x="267" y="126"/>
                  </a:lnTo>
                  <a:lnTo>
                    <a:pt x="253" y="70"/>
                  </a:lnTo>
                  <a:lnTo>
                    <a:pt x="267" y="51"/>
                  </a:lnTo>
                  <a:lnTo>
                    <a:pt x="223" y="21"/>
                  </a:lnTo>
                  <a:lnTo>
                    <a:pt x="203" y="34"/>
                  </a:lnTo>
                  <a:lnTo>
                    <a:pt x="181" y="16"/>
                  </a:lnTo>
                  <a:lnTo>
                    <a:pt x="149" y="24"/>
                  </a:lnTo>
                  <a:lnTo>
                    <a:pt x="135" y="0"/>
                  </a:lnTo>
                  <a:lnTo>
                    <a:pt x="91" y="30"/>
                  </a:lnTo>
                  <a:lnTo>
                    <a:pt x="56" y="67"/>
                  </a:lnTo>
                  <a:lnTo>
                    <a:pt x="56" y="98"/>
                  </a:lnTo>
                  <a:lnTo>
                    <a:pt x="7" y="102"/>
                  </a:lnTo>
                  <a:lnTo>
                    <a:pt x="0" y="123"/>
                  </a:lnTo>
                  <a:lnTo>
                    <a:pt x="18" y="118"/>
                  </a:lnTo>
                  <a:lnTo>
                    <a:pt x="23" y="141"/>
                  </a:lnTo>
                  <a:lnTo>
                    <a:pt x="7" y="157"/>
                  </a:lnTo>
                  <a:lnTo>
                    <a:pt x="27" y="208"/>
                  </a:lnTo>
                  <a:lnTo>
                    <a:pt x="64" y="216"/>
                  </a:lnTo>
                  <a:lnTo>
                    <a:pt x="163" y="166"/>
                  </a:lnTo>
                  <a:lnTo>
                    <a:pt x="184" y="137"/>
                  </a:lnTo>
                  <a:lnTo>
                    <a:pt x="219" y="141"/>
                  </a:lnTo>
                  <a:lnTo>
                    <a:pt x="243" y="123"/>
                  </a:lnTo>
                  <a:lnTo>
                    <a:pt x="243" y="123"/>
                  </a:lnTo>
                  <a:lnTo>
                    <a:pt x="243" y="123"/>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8" name="Freeform 188">
              <a:extLst>
                <a:ext uri="{FF2B5EF4-FFF2-40B4-BE49-F238E27FC236}">
                  <a16:creationId xmlns:a16="http://schemas.microsoft.com/office/drawing/2014/main" id="{A589B056-3B0B-4AB7-A0FD-A10D1E8A2A61}"/>
                </a:ext>
              </a:extLst>
            </p:cNvPr>
            <p:cNvSpPr>
              <a:spLocks/>
            </p:cNvSpPr>
            <p:nvPr/>
          </p:nvSpPr>
          <p:spPr bwMode="auto">
            <a:xfrm>
              <a:off x="8092146" y="2337488"/>
              <a:ext cx="556705" cy="442218"/>
            </a:xfrm>
            <a:custGeom>
              <a:avLst/>
              <a:gdLst>
                <a:gd name="T0" fmla="*/ 90 w 300"/>
                <a:gd name="T1" fmla="*/ 8 h 229"/>
                <a:gd name="T2" fmla="*/ 162 w 300"/>
                <a:gd name="T3" fmla="*/ 0 h 229"/>
                <a:gd name="T4" fmla="*/ 186 w 300"/>
                <a:gd name="T5" fmla="*/ 32 h 229"/>
                <a:gd name="T6" fmla="*/ 175 w 300"/>
                <a:gd name="T7" fmla="*/ 54 h 229"/>
                <a:gd name="T8" fmla="*/ 261 w 300"/>
                <a:gd name="T9" fmla="*/ 43 h 229"/>
                <a:gd name="T10" fmla="*/ 277 w 300"/>
                <a:gd name="T11" fmla="*/ 50 h 229"/>
                <a:gd name="T12" fmla="*/ 300 w 300"/>
                <a:gd name="T13" fmla="*/ 94 h 229"/>
                <a:gd name="T14" fmla="*/ 277 w 300"/>
                <a:gd name="T15" fmla="*/ 115 h 229"/>
                <a:gd name="T16" fmla="*/ 279 w 300"/>
                <a:gd name="T17" fmla="*/ 147 h 229"/>
                <a:gd name="T18" fmla="*/ 247 w 300"/>
                <a:gd name="T19" fmla="*/ 155 h 229"/>
                <a:gd name="T20" fmla="*/ 271 w 300"/>
                <a:gd name="T21" fmla="*/ 206 h 229"/>
                <a:gd name="T22" fmla="*/ 250 w 300"/>
                <a:gd name="T23" fmla="*/ 217 h 229"/>
                <a:gd name="T24" fmla="*/ 218 w 300"/>
                <a:gd name="T25" fmla="*/ 229 h 229"/>
                <a:gd name="T26" fmla="*/ 192 w 300"/>
                <a:gd name="T27" fmla="*/ 206 h 229"/>
                <a:gd name="T28" fmla="*/ 136 w 300"/>
                <a:gd name="T29" fmla="*/ 190 h 229"/>
                <a:gd name="T30" fmla="*/ 128 w 300"/>
                <a:gd name="T31" fmla="*/ 177 h 229"/>
                <a:gd name="T32" fmla="*/ 40 w 300"/>
                <a:gd name="T33" fmla="*/ 181 h 229"/>
                <a:gd name="T34" fmla="*/ 37 w 300"/>
                <a:gd name="T35" fmla="*/ 162 h 229"/>
                <a:gd name="T36" fmla="*/ 10 w 300"/>
                <a:gd name="T37" fmla="*/ 155 h 229"/>
                <a:gd name="T38" fmla="*/ 4 w 300"/>
                <a:gd name="T39" fmla="*/ 134 h 229"/>
                <a:gd name="T40" fmla="*/ 13 w 300"/>
                <a:gd name="T41" fmla="*/ 122 h 229"/>
                <a:gd name="T42" fmla="*/ 2 w 300"/>
                <a:gd name="T43" fmla="*/ 90 h 229"/>
                <a:gd name="T44" fmla="*/ 0 w 300"/>
                <a:gd name="T45" fmla="*/ 78 h 229"/>
                <a:gd name="T46" fmla="*/ 69 w 300"/>
                <a:gd name="T47" fmla="*/ 59 h 229"/>
                <a:gd name="T48" fmla="*/ 90 w 300"/>
                <a:gd name="T49" fmla="*/ 8 h 229"/>
                <a:gd name="T50" fmla="*/ 90 w 300"/>
                <a:gd name="T51" fmla="*/ 8 h 229"/>
                <a:gd name="T52" fmla="*/ 90 w 300"/>
                <a:gd name="T53"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0" h="229">
                  <a:moveTo>
                    <a:pt x="90" y="8"/>
                  </a:moveTo>
                  <a:lnTo>
                    <a:pt x="162" y="0"/>
                  </a:lnTo>
                  <a:lnTo>
                    <a:pt x="186" y="32"/>
                  </a:lnTo>
                  <a:lnTo>
                    <a:pt x="175" y="54"/>
                  </a:lnTo>
                  <a:lnTo>
                    <a:pt x="261" y="43"/>
                  </a:lnTo>
                  <a:lnTo>
                    <a:pt x="277" y="50"/>
                  </a:lnTo>
                  <a:lnTo>
                    <a:pt x="300" y="94"/>
                  </a:lnTo>
                  <a:lnTo>
                    <a:pt x="277" y="115"/>
                  </a:lnTo>
                  <a:lnTo>
                    <a:pt x="279" y="147"/>
                  </a:lnTo>
                  <a:lnTo>
                    <a:pt x="247" y="155"/>
                  </a:lnTo>
                  <a:lnTo>
                    <a:pt x="271" y="206"/>
                  </a:lnTo>
                  <a:lnTo>
                    <a:pt x="250" y="217"/>
                  </a:lnTo>
                  <a:lnTo>
                    <a:pt x="218" y="229"/>
                  </a:lnTo>
                  <a:lnTo>
                    <a:pt x="192" y="206"/>
                  </a:lnTo>
                  <a:lnTo>
                    <a:pt x="136" y="190"/>
                  </a:lnTo>
                  <a:lnTo>
                    <a:pt x="128" y="177"/>
                  </a:lnTo>
                  <a:lnTo>
                    <a:pt x="40" y="181"/>
                  </a:lnTo>
                  <a:lnTo>
                    <a:pt x="37" y="162"/>
                  </a:lnTo>
                  <a:lnTo>
                    <a:pt x="10" y="155"/>
                  </a:lnTo>
                  <a:lnTo>
                    <a:pt x="4" y="134"/>
                  </a:lnTo>
                  <a:lnTo>
                    <a:pt x="13" y="122"/>
                  </a:lnTo>
                  <a:lnTo>
                    <a:pt x="2" y="90"/>
                  </a:lnTo>
                  <a:lnTo>
                    <a:pt x="0" y="78"/>
                  </a:lnTo>
                  <a:lnTo>
                    <a:pt x="69" y="59"/>
                  </a:lnTo>
                  <a:lnTo>
                    <a:pt x="90" y="8"/>
                  </a:lnTo>
                  <a:lnTo>
                    <a:pt x="90" y="8"/>
                  </a:lnTo>
                  <a:lnTo>
                    <a:pt x="90" y="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39" name="Freeform 189">
              <a:extLst>
                <a:ext uri="{FF2B5EF4-FFF2-40B4-BE49-F238E27FC236}">
                  <a16:creationId xmlns:a16="http://schemas.microsoft.com/office/drawing/2014/main" id="{023E0599-3133-46FB-84B6-2AE35982F195}"/>
                </a:ext>
              </a:extLst>
            </p:cNvPr>
            <p:cNvSpPr>
              <a:spLocks/>
            </p:cNvSpPr>
            <p:nvPr/>
          </p:nvSpPr>
          <p:spPr bwMode="auto">
            <a:xfrm>
              <a:off x="7839772" y="2007270"/>
              <a:ext cx="419387" cy="521393"/>
            </a:xfrm>
            <a:custGeom>
              <a:avLst/>
              <a:gdLst>
                <a:gd name="T0" fmla="*/ 5 w 226"/>
                <a:gd name="T1" fmla="*/ 73 h 270"/>
                <a:gd name="T2" fmla="*/ 69 w 226"/>
                <a:gd name="T3" fmla="*/ 46 h 270"/>
                <a:gd name="T4" fmla="*/ 111 w 226"/>
                <a:gd name="T5" fmla="*/ 48 h 270"/>
                <a:gd name="T6" fmla="*/ 111 w 226"/>
                <a:gd name="T7" fmla="*/ 32 h 270"/>
                <a:gd name="T8" fmla="*/ 136 w 226"/>
                <a:gd name="T9" fmla="*/ 0 h 270"/>
                <a:gd name="T10" fmla="*/ 149 w 226"/>
                <a:gd name="T11" fmla="*/ 21 h 270"/>
                <a:gd name="T12" fmla="*/ 154 w 226"/>
                <a:gd name="T13" fmla="*/ 72 h 270"/>
                <a:gd name="T14" fmla="*/ 197 w 226"/>
                <a:gd name="T15" fmla="*/ 137 h 270"/>
                <a:gd name="T16" fmla="*/ 213 w 226"/>
                <a:gd name="T17" fmla="*/ 139 h 270"/>
                <a:gd name="T18" fmla="*/ 226 w 226"/>
                <a:gd name="T19" fmla="*/ 179 h 270"/>
                <a:gd name="T20" fmla="*/ 205 w 226"/>
                <a:gd name="T21" fmla="*/ 230 h 270"/>
                <a:gd name="T22" fmla="*/ 136 w 226"/>
                <a:gd name="T23" fmla="*/ 249 h 270"/>
                <a:gd name="T24" fmla="*/ 138 w 226"/>
                <a:gd name="T25" fmla="*/ 261 h 270"/>
                <a:gd name="T26" fmla="*/ 88 w 226"/>
                <a:gd name="T27" fmla="*/ 270 h 270"/>
                <a:gd name="T28" fmla="*/ 50 w 226"/>
                <a:gd name="T29" fmla="*/ 230 h 270"/>
                <a:gd name="T30" fmla="*/ 20 w 226"/>
                <a:gd name="T31" fmla="*/ 227 h 270"/>
                <a:gd name="T32" fmla="*/ 8 w 226"/>
                <a:gd name="T33" fmla="*/ 201 h 270"/>
                <a:gd name="T34" fmla="*/ 0 w 226"/>
                <a:gd name="T35" fmla="*/ 168 h 270"/>
                <a:gd name="T36" fmla="*/ 32 w 226"/>
                <a:gd name="T37" fmla="*/ 152 h 270"/>
                <a:gd name="T38" fmla="*/ 36 w 226"/>
                <a:gd name="T39" fmla="*/ 113 h 270"/>
                <a:gd name="T40" fmla="*/ 5 w 226"/>
                <a:gd name="T41" fmla="*/ 73 h 270"/>
                <a:gd name="T42" fmla="*/ 5 w 226"/>
                <a:gd name="T43" fmla="*/ 73 h 270"/>
                <a:gd name="T44" fmla="*/ 5 w 226"/>
                <a:gd name="T45" fmla="*/ 7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6" h="270">
                  <a:moveTo>
                    <a:pt x="5" y="73"/>
                  </a:moveTo>
                  <a:lnTo>
                    <a:pt x="69" y="46"/>
                  </a:lnTo>
                  <a:lnTo>
                    <a:pt x="111" y="48"/>
                  </a:lnTo>
                  <a:lnTo>
                    <a:pt x="111" y="32"/>
                  </a:lnTo>
                  <a:lnTo>
                    <a:pt x="136" y="0"/>
                  </a:lnTo>
                  <a:lnTo>
                    <a:pt x="149" y="21"/>
                  </a:lnTo>
                  <a:lnTo>
                    <a:pt x="154" y="72"/>
                  </a:lnTo>
                  <a:lnTo>
                    <a:pt x="197" y="137"/>
                  </a:lnTo>
                  <a:lnTo>
                    <a:pt x="213" y="139"/>
                  </a:lnTo>
                  <a:lnTo>
                    <a:pt x="226" y="179"/>
                  </a:lnTo>
                  <a:lnTo>
                    <a:pt x="205" y="230"/>
                  </a:lnTo>
                  <a:lnTo>
                    <a:pt x="136" y="249"/>
                  </a:lnTo>
                  <a:lnTo>
                    <a:pt x="138" y="261"/>
                  </a:lnTo>
                  <a:lnTo>
                    <a:pt x="88" y="270"/>
                  </a:lnTo>
                  <a:lnTo>
                    <a:pt x="50" y="230"/>
                  </a:lnTo>
                  <a:lnTo>
                    <a:pt x="20" y="227"/>
                  </a:lnTo>
                  <a:lnTo>
                    <a:pt x="8" y="201"/>
                  </a:lnTo>
                  <a:lnTo>
                    <a:pt x="0" y="168"/>
                  </a:lnTo>
                  <a:lnTo>
                    <a:pt x="32" y="152"/>
                  </a:lnTo>
                  <a:lnTo>
                    <a:pt x="36" y="113"/>
                  </a:lnTo>
                  <a:lnTo>
                    <a:pt x="5" y="73"/>
                  </a:lnTo>
                  <a:lnTo>
                    <a:pt x="5" y="73"/>
                  </a:lnTo>
                  <a:lnTo>
                    <a:pt x="5" y="73"/>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0" name="Freeform 190">
              <a:extLst>
                <a:ext uri="{FF2B5EF4-FFF2-40B4-BE49-F238E27FC236}">
                  <a16:creationId xmlns:a16="http://schemas.microsoft.com/office/drawing/2014/main" id="{4CB7DA3E-2743-4E75-9A21-2657B43591BD}"/>
                </a:ext>
              </a:extLst>
            </p:cNvPr>
            <p:cNvSpPr>
              <a:spLocks/>
            </p:cNvSpPr>
            <p:nvPr/>
          </p:nvSpPr>
          <p:spPr bwMode="auto">
            <a:xfrm>
              <a:off x="8589475" y="1410569"/>
              <a:ext cx="411963" cy="648839"/>
            </a:xfrm>
            <a:custGeom>
              <a:avLst/>
              <a:gdLst>
                <a:gd name="T0" fmla="*/ 204 w 222"/>
                <a:gd name="T1" fmla="*/ 21 h 336"/>
                <a:gd name="T2" fmla="*/ 220 w 222"/>
                <a:gd name="T3" fmla="*/ 26 h 336"/>
                <a:gd name="T4" fmla="*/ 222 w 222"/>
                <a:gd name="T5" fmla="*/ 85 h 336"/>
                <a:gd name="T6" fmla="*/ 192 w 222"/>
                <a:gd name="T7" fmla="*/ 123 h 336"/>
                <a:gd name="T8" fmla="*/ 190 w 222"/>
                <a:gd name="T9" fmla="*/ 179 h 336"/>
                <a:gd name="T10" fmla="*/ 190 w 222"/>
                <a:gd name="T11" fmla="*/ 192 h 336"/>
                <a:gd name="T12" fmla="*/ 169 w 222"/>
                <a:gd name="T13" fmla="*/ 181 h 336"/>
                <a:gd name="T14" fmla="*/ 116 w 222"/>
                <a:gd name="T15" fmla="*/ 207 h 336"/>
                <a:gd name="T16" fmla="*/ 137 w 222"/>
                <a:gd name="T17" fmla="*/ 248 h 336"/>
                <a:gd name="T18" fmla="*/ 116 w 222"/>
                <a:gd name="T19" fmla="*/ 251 h 336"/>
                <a:gd name="T20" fmla="*/ 110 w 222"/>
                <a:gd name="T21" fmla="*/ 280 h 336"/>
                <a:gd name="T22" fmla="*/ 128 w 222"/>
                <a:gd name="T23" fmla="*/ 283 h 336"/>
                <a:gd name="T24" fmla="*/ 91 w 222"/>
                <a:gd name="T25" fmla="*/ 336 h 336"/>
                <a:gd name="T26" fmla="*/ 41 w 222"/>
                <a:gd name="T27" fmla="*/ 293 h 336"/>
                <a:gd name="T28" fmla="*/ 28 w 222"/>
                <a:gd name="T29" fmla="*/ 262 h 336"/>
                <a:gd name="T30" fmla="*/ 0 w 222"/>
                <a:gd name="T31" fmla="*/ 203 h 336"/>
                <a:gd name="T32" fmla="*/ 20 w 222"/>
                <a:gd name="T33" fmla="*/ 192 h 336"/>
                <a:gd name="T34" fmla="*/ 24 w 222"/>
                <a:gd name="T35" fmla="*/ 99 h 336"/>
                <a:gd name="T36" fmla="*/ 16 w 222"/>
                <a:gd name="T37" fmla="*/ 66 h 336"/>
                <a:gd name="T38" fmla="*/ 35 w 222"/>
                <a:gd name="T39" fmla="*/ 13 h 336"/>
                <a:gd name="T40" fmla="*/ 132 w 222"/>
                <a:gd name="T41" fmla="*/ 0 h 336"/>
                <a:gd name="T42" fmla="*/ 204 w 222"/>
                <a:gd name="T43" fmla="*/ 21 h 336"/>
                <a:gd name="T44" fmla="*/ 204 w 222"/>
                <a:gd name="T45" fmla="*/ 21 h 336"/>
                <a:gd name="T46" fmla="*/ 204 w 222"/>
                <a:gd name="T47" fmla="*/ 2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336">
                  <a:moveTo>
                    <a:pt x="204" y="21"/>
                  </a:moveTo>
                  <a:lnTo>
                    <a:pt x="220" y="26"/>
                  </a:lnTo>
                  <a:lnTo>
                    <a:pt x="222" y="85"/>
                  </a:lnTo>
                  <a:lnTo>
                    <a:pt x="192" y="123"/>
                  </a:lnTo>
                  <a:lnTo>
                    <a:pt x="190" y="179"/>
                  </a:lnTo>
                  <a:lnTo>
                    <a:pt x="190" y="192"/>
                  </a:lnTo>
                  <a:lnTo>
                    <a:pt x="169" y="181"/>
                  </a:lnTo>
                  <a:lnTo>
                    <a:pt x="116" y="207"/>
                  </a:lnTo>
                  <a:lnTo>
                    <a:pt x="137" y="248"/>
                  </a:lnTo>
                  <a:lnTo>
                    <a:pt x="116" y="251"/>
                  </a:lnTo>
                  <a:lnTo>
                    <a:pt x="110" y="280"/>
                  </a:lnTo>
                  <a:lnTo>
                    <a:pt x="128" y="283"/>
                  </a:lnTo>
                  <a:lnTo>
                    <a:pt x="91" y="336"/>
                  </a:lnTo>
                  <a:lnTo>
                    <a:pt x="41" y="293"/>
                  </a:lnTo>
                  <a:lnTo>
                    <a:pt x="28" y="262"/>
                  </a:lnTo>
                  <a:lnTo>
                    <a:pt x="0" y="203"/>
                  </a:lnTo>
                  <a:lnTo>
                    <a:pt x="20" y="192"/>
                  </a:lnTo>
                  <a:lnTo>
                    <a:pt x="24" y="99"/>
                  </a:lnTo>
                  <a:lnTo>
                    <a:pt x="16" y="66"/>
                  </a:lnTo>
                  <a:lnTo>
                    <a:pt x="35" y="13"/>
                  </a:lnTo>
                  <a:lnTo>
                    <a:pt x="132" y="0"/>
                  </a:lnTo>
                  <a:lnTo>
                    <a:pt x="204" y="21"/>
                  </a:lnTo>
                  <a:lnTo>
                    <a:pt x="204" y="21"/>
                  </a:lnTo>
                  <a:lnTo>
                    <a:pt x="204" y="21"/>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1" name="Freeform 191">
              <a:extLst>
                <a:ext uri="{FF2B5EF4-FFF2-40B4-BE49-F238E27FC236}">
                  <a16:creationId xmlns:a16="http://schemas.microsoft.com/office/drawing/2014/main" id="{C8A981AF-6AB0-4216-9B2E-1E3E7AE65125}"/>
                </a:ext>
              </a:extLst>
            </p:cNvPr>
            <p:cNvSpPr>
              <a:spLocks/>
            </p:cNvSpPr>
            <p:nvPr/>
          </p:nvSpPr>
          <p:spPr bwMode="auto">
            <a:xfrm>
              <a:off x="7691318" y="1709884"/>
              <a:ext cx="499184" cy="438357"/>
            </a:xfrm>
            <a:custGeom>
              <a:avLst/>
              <a:gdLst>
                <a:gd name="T0" fmla="*/ 128 w 269"/>
                <a:gd name="T1" fmla="*/ 66 h 227"/>
                <a:gd name="T2" fmla="*/ 106 w 269"/>
                <a:gd name="T3" fmla="*/ 47 h 227"/>
                <a:gd name="T4" fmla="*/ 116 w 269"/>
                <a:gd name="T5" fmla="*/ 34 h 227"/>
                <a:gd name="T6" fmla="*/ 90 w 269"/>
                <a:gd name="T7" fmla="*/ 21 h 227"/>
                <a:gd name="T8" fmla="*/ 63 w 269"/>
                <a:gd name="T9" fmla="*/ 23 h 227"/>
                <a:gd name="T10" fmla="*/ 40 w 269"/>
                <a:gd name="T11" fmla="*/ 0 h 227"/>
                <a:gd name="T12" fmla="*/ 16 w 269"/>
                <a:gd name="T13" fmla="*/ 13 h 227"/>
                <a:gd name="T14" fmla="*/ 0 w 269"/>
                <a:gd name="T15" fmla="*/ 16 h 227"/>
                <a:gd name="T16" fmla="*/ 20 w 269"/>
                <a:gd name="T17" fmla="*/ 103 h 227"/>
                <a:gd name="T18" fmla="*/ 13 w 269"/>
                <a:gd name="T19" fmla="*/ 123 h 227"/>
                <a:gd name="T20" fmla="*/ 26 w 269"/>
                <a:gd name="T21" fmla="*/ 128 h 227"/>
                <a:gd name="T22" fmla="*/ 21 w 269"/>
                <a:gd name="T23" fmla="*/ 146 h 227"/>
                <a:gd name="T24" fmla="*/ 13 w 269"/>
                <a:gd name="T25" fmla="*/ 160 h 227"/>
                <a:gd name="T26" fmla="*/ 53 w 269"/>
                <a:gd name="T27" fmla="*/ 173 h 227"/>
                <a:gd name="T28" fmla="*/ 77 w 269"/>
                <a:gd name="T29" fmla="*/ 202 h 227"/>
                <a:gd name="T30" fmla="*/ 85 w 269"/>
                <a:gd name="T31" fmla="*/ 227 h 227"/>
                <a:gd name="T32" fmla="*/ 149 w 269"/>
                <a:gd name="T33" fmla="*/ 200 h 227"/>
                <a:gd name="T34" fmla="*/ 191 w 269"/>
                <a:gd name="T35" fmla="*/ 202 h 227"/>
                <a:gd name="T36" fmla="*/ 191 w 269"/>
                <a:gd name="T37" fmla="*/ 186 h 227"/>
                <a:gd name="T38" fmla="*/ 216 w 269"/>
                <a:gd name="T39" fmla="*/ 154 h 227"/>
                <a:gd name="T40" fmla="*/ 208 w 269"/>
                <a:gd name="T41" fmla="*/ 122 h 227"/>
                <a:gd name="T42" fmla="*/ 240 w 269"/>
                <a:gd name="T43" fmla="*/ 112 h 227"/>
                <a:gd name="T44" fmla="*/ 255 w 269"/>
                <a:gd name="T45" fmla="*/ 69 h 227"/>
                <a:gd name="T46" fmla="*/ 269 w 269"/>
                <a:gd name="T47" fmla="*/ 64 h 227"/>
                <a:gd name="T48" fmla="*/ 258 w 269"/>
                <a:gd name="T49" fmla="*/ 28 h 227"/>
                <a:gd name="T50" fmla="*/ 200 w 269"/>
                <a:gd name="T51" fmla="*/ 12 h 227"/>
                <a:gd name="T52" fmla="*/ 128 w 269"/>
                <a:gd name="T53" fmla="*/ 66 h 227"/>
                <a:gd name="T54" fmla="*/ 128 w 269"/>
                <a:gd name="T55" fmla="*/ 66 h 227"/>
                <a:gd name="T56" fmla="*/ 128 w 269"/>
                <a:gd name="T57" fmla="*/ 6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9" h="227">
                  <a:moveTo>
                    <a:pt x="128" y="66"/>
                  </a:moveTo>
                  <a:lnTo>
                    <a:pt x="106" y="47"/>
                  </a:lnTo>
                  <a:lnTo>
                    <a:pt x="116" y="34"/>
                  </a:lnTo>
                  <a:lnTo>
                    <a:pt x="90" y="21"/>
                  </a:lnTo>
                  <a:lnTo>
                    <a:pt x="63" y="23"/>
                  </a:lnTo>
                  <a:lnTo>
                    <a:pt x="40" y="0"/>
                  </a:lnTo>
                  <a:lnTo>
                    <a:pt x="16" y="13"/>
                  </a:lnTo>
                  <a:lnTo>
                    <a:pt x="0" y="16"/>
                  </a:lnTo>
                  <a:lnTo>
                    <a:pt x="20" y="103"/>
                  </a:lnTo>
                  <a:lnTo>
                    <a:pt x="13" y="123"/>
                  </a:lnTo>
                  <a:lnTo>
                    <a:pt x="26" y="128"/>
                  </a:lnTo>
                  <a:lnTo>
                    <a:pt x="21" y="146"/>
                  </a:lnTo>
                  <a:lnTo>
                    <a:pt x="13" y="160"/>
                  </a:lnTo>
                  <a:lnTo>
                    <a:pt x="53" y="173"/>
                  </a:lnTo>
                  <a:lnTo>
                    <a:pt x="77" y="202"/>
                  </a:lnTo>
                  <a:lnTo>
                    <a:pt x="85" y="227"/>
                  </a:lnTo>
                  <a:lnTo>
                    <a:pt x="149" y="200"/>
                  </a:lnTo>
                  <a:lnTo>
                    <a:pt x="191" y="202"/>
                  </a:lnTo>
                  <a:lnTo>
                    <a:pt x="191" y="186"/>
                  </a:lnTo>
                  <a:lnTo>
                    <a:pt x="216" y="154"/>
                  </a:lnTo>
                  <a:lnTo>
                    <a:pt x="208" y="122"/>
                  </a:lnTo>
                  <a:lnTo>
                    <a:pt x="240" y="112"/>
                  </a:lnTo>
                  <a:lnTo>
                    <a:pt x="255" y="69"/>
                  </a:lnTo>
                  <a:lnTo>
                    <a:pt x="269" y="64"/>
                  </a:lnTo>
                  <a:lnTo>
                    <a:pt x="258" y="28"/>
                  </a:lnTo>
                  <a:lnTo>
                    <a:pt x="200" y="12"/>
                  </a:lnTo>
                  <a:lnTo>
                    <a:pt x="128" y="66"/>
                  </a:lnTo>
                  <a:lnTo>
                    <a:pt x="128" y="66"/>
                  </a:lnTo>
                  <a:lnTo>
                    <a:pt x="128" y="6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42" name="Freeform 192">
              <a:extLst>
                <a:ext uri="{FF2B5EF4-FFF2-40B4-BE49-F238E27FC236}">
                  <a16:creationId xmlns:a16="http://schemas.microsoft.com/office/drawing/2014/main" id="{94E62758-83AC-4E53-8E44-3A5F1D55CA3D}"/>
                </a:ext>
              </a:extLst>
            </p:cNvPr>
            <p:cNvSpPr>
              <a:spLocks/>
            </p:cNvSpPr>
            <p:nvPr/>
          </p:nvSpPr>
          <p:spPr bwMode="auto">
            <a:xfrm>
              <a:off x="8164519" y="1563123"/>
              <a:ext cx="476914" cy="376560"/>
            </a:xfrm>
            <a:custGeom>
              <a:avLst/>
              <a:gdLst>
                <a:gd name="T0" fmla="*/ 253 w 257"/>
                <a:gd name="T1" fmla="*/ 20 h 195"/>
                <a:gd name="T2" fmla="*/ 249 w 257"/>
                <a:gd name="T3" fmla="*/ 113 h 195"/>
                <a:gd name="T4" fmla="*/ 229 w 257"/>
                <a:gd name="T5" fmla="*/ 124 h 195"/>
                <a:gd name="T6" fmla="*/ 257 w 257"/>
                <a:gd name="T7" fmla="*/ 183 h 195"/>
                <a:gd name="T8" fmla="*/ 190 w 257"/>
                <a:gd name="T9" fmla="*/ 195 h 195"/>
                <a:gd name="T10" fmla="*/ 160 w 257"/>
                <a:gd name="T11" fmla="*/ 187 h 195"/>
                <a:gd name="T12" fmla="*/ 110 w 257"/>
                <a:gd name="T13" fmla="*/ 167 h 195"/>
                <a:gd name="T14" fmla="*/ 64 w 257"/>
                <a:gd name="T15" fmla="*/ 159 h 195"/>
                <a:gd name="T16" fmla="*/ 35 w 257"/>
                <a:gd name="T17" fmla="*/ 167 h 195"/>
                <a:gd name="T18" fmla="*/ 6 w 257"/>
                <a:gd name="T19" fmla="*/ 163 h 195"/>
                <a:gd name="T20" fmla="*/ 0 w 257"/>
                <a:gd name="T21" fmla="*/ 145 h 195"/>
                <a:gd name="T22" fmla="*/ 14 w 257"/>
                <a:gd name="T23" fmla="*/ 140 h 195"/>
                <a:gd name="T24" fmla="*/ 3 w 257"/>
                <a:gd name="T25" fmla="*/ 104 h 195"/>
                <a:gd name="T26" fmla="*/ 8 w 257"/>
                <a:gd name="T27" fmla="*/ 81 h 195"/>
                <a:gd name="T28" fmla="*/ 0 w 257"/>
                <a:gd name="T29" fmla="*/ 22 h 195"/>
                <a:gd name="T30" fmla="*/ 11 w 257"/>
                <a:gd name="T31" fmla="*/ 0 h 195"/>
                <a:gd name="T32" fmla="*/ 27 w 257"/>
                <a:gd name="T33" fmla="*/ 19 h 195"/>
                <a:gd name="T34" fmla="*/ 99 w 257"/>
                <a:gd name="T35" fmla="*/ 24 h 195"/>
                <a:gd name="T36" fmla="*/ 171 w 257"/>
                <a:gd name="T37" fmla="*/ 52 h 195"/>
                <a:gd name="T38" fmla="*/ 214 w 257"/>
                <a:gd name="T39" fmla="*/ 24 h 195"/>
                <a:gd name="T40" fmla="*/ 253 w 257"/>
                <a:gd name="T41" fmla="*/ 20 h 195"/>
                <a:gd name="T42" fmla="*/ 253 w 257"/>
                <a:gd name="T43" fmla="*/ 20 h 195"/>
                <a:gd name="T44" fmla="*/ 253 w 257"/>
                <a:gd name="T45" fmla="*/ 2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195">
                  <a:moveTo>
                    <a:pt x="253" y="20"/>
                  </a:moveTo>
                  <a:lnTo>
                    <a:pt x="249" y="113"/>
                  </a:lnTo>
                  <a:lnTo>
                    <a:pt x="229" y="124"/>
                  </a:lnTo>
                  <a:lnTo>
                    <a:pt x="257" y="183"/>
                  </a:lnTo>
                  <a:lnTo>
                    <a:pt x="190" y="195"/>
                  </a:lnTo>
                  <a:lnTo>
                    <a:pt x="160" y="187"/>
                  </a:lnTo>
                  <a:lnTo>
                    <a:pt x="110" y="167"/>
                  </a:lnTo>
                  <a:lnTo>
                    <a:pt x="64" y="159"/>
                  </a:lnTo>
                  <a:lnTo>
                    <a:pt x="35" y="167"/>
                  </a:lnTo>
                  <a:lnTo>
                    <a:pt x="6" y="163"/>
                  </a:lnTo>
                  <a:lnTo>
                    <a:pt x="0" y="145"/>
                  </a:lnTo>
                  <a:lnTo>
                    <a:pt x="14" y="140"/>
                  </a:lnTo>
                  <a:lnTo>
                    <a:pt x="3" y="104"/>
                  </a:lnTo>
                  <a:lnTo>
                    <a:pt x="8" y="81"/>
                  </a:lnTo>
                  <a:lnTo>
                    <a:pt x="0" y="22"/>
                  </a:lnTo>
                  <a:lnTo>
                    <a:pt x="11" y="0"/>
                  </a:lnTo>
                  <a:lnTo>
                    <a:pt x="27" y="19"/>
                  </a:lnTo>
                  <a:lnTo>
                    <a:pt x="99" y="24"/>
                  </a:lnTo>
                  <a:lnTo>
                    <a:pt x="171" y="52"/>
                  </a:lnTo>
                  <a:lnTo>
                    <a:pt x="214" y="24"/>
                  </a:lnTo>
                  <a:lnTo>
                    <a:pt x="253" y="20"/>
                  </a:lnTo>
                  <a:lnTo>
                    <a:pt x="253" y="20"/>
                  </a:lnTo>
                  <a:lnTo>
                    <a:pt x="253" y="2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43" name="Freeform 193">
              <a:extLst>
                <a:ext uri="{FF2B5EF4-FFF2-40B4-BE49-F238E27FC236}">
                  <a16:creationId xmlns:a16="http://schemas.microsoft.com/office/drawing/2014/main" id="{EFB98598-343C-4D9F-828C-6CF6530214D6}"/>
                </a:ext>
              </a:extLst>
            </p:cNvPr>
            <p:cNvSpPr>
              <a:spLocks/>
            </p:cNvSpPr>
            <p:nvPr/>
          </p:nvSpPr>
          <p:spPr bwMode="auto">
            <a:xfrm>
              <a:off x="8719370" y="4382500"/>
              <a:ext cx="582688" cy="527185"/>
            </a:xfrm>
            <a:custGeom>
              <a:avLst/>
              <a:gdLst>
                <a:gd name="T0" fmla="*/ 251 w 314"/>
                <a:gd name="T1" fmla="*/ 204 h 273"/>
                <a:gd name="T2" fmla="*/ 243 w 314"/>
                <a:gd name="T3" fmla="*/ 208 h 273"/>
                <a:gd name="T4" fmla="*/ 232 w 314"/>
                <a:gd name="T5" fmla="*/ 227 h 273"/>
                <a:gd name="T6" fmla="*/ 242 w 314"/>
                <a:gd name="T7" fmla="*/ 235 h 273"/>
                <a:gd name="T8" fmla="*/ 195 w 314"/>
                <a:gd name="T9" fmla="*/ 264 h 273"/>
                <a:gd name="T10" fmla="*/ 194 w 314"/>
                <a:gd name="T11" fmla="*/ 273 h 273"/>
                <a:gd name="T12" fmla="*/ 176 w 314"/>
                <a:gd name="T13" fmla="*/ 268 h 273"/>
                <a:gd name="T14" fmla="*/ 171 w 314"/>
                <a:gd name="T15" fmla="*/ 262 h 273"/>
                <a:gd name="T16" fmla="*/ 174 w 314"/>
                <a:gd name="T17" fmla="*/ 256 h 273"/>
                <a:gd name="T18" fmla="*/ 173 w 314"/>
                <a:gd name="T19" fmla="*/ 251 h 273"/>
                <a:gd name="T20" fmla="*/ 165 w 314"/>
                <a:gd name="T21" fmla="*/ 248 h 273"/>
                <a:gd name="T22" fmla="*/ 186 w 314"/>
                <a:gd name="T23" fmla="*/ 224 h 273"/>
                <a:gd name="T24" fmla="*/ 176 w 314"/>
                <a:gd name="T25" fmla="*/ 201 h 273"/>
                <a:gd name="T26" fmla="*/ 128 w 314"/>
                <a:gd name="T27" fmla="*/ 160 h 273"/>
                <a:gd name="T28" fmla="*/ 104 w 314"/>
                <a:gd name="T29" fmla="*/ 160 h 273"/>
                <a:gd name="T30" fmla="*/ 112 w 314"/>
                <a:gd name="T31" fmla="*/ 144 h 273"/>
                <a:gd name="T32" fmla="*/ 94 w 314"/>
                <a:gd name="T33" fmla="*/ 132 h 273"/>
                <a:gd name="T34" fmla="*/ 56 w 314"/>
                <a:gd name="T35" fmla="*/ 166 h 273"/>
                <a:gd name="T36" fmla="*/ 13 w 314"/>
                <a:gd name="T37" fmla="*/ 148 h 273"/>
                <a:gd name="T38" fmla="*/ 37 w 314"/>
                <a:gd name="T39" fmla="*/ 121 h 273"/>
                <a:gd name="T40" fmla="*/ 0 w 314"/>
                <a:gd name="T41" fmla="*/ 105 h 273"/>
                <a:gd name="T42" fmla="*/ 18 w 314"/>
                <a:gd name="T43" fmla="*/ 78 h 273"/>
                <a:gd name="T44" fmla="*/ 37 w 314"/>
                <a:gd name="T45" fmla="*/ 91 h 273"/>
                <a:gd name="T46" fmla="*/ 69 w 314"/>
                <a:gd name="T47" fmla="*/ 94 h 273"/>
                <a:gd name="T48" fmla="*/ 74 w 314"/>
                <a:gd name="T49" fmla="*/ 76 h 273"/>
                <a:gd name="T50" fmla="*/ 118 w 314"/>
                <a:gd name="T51" fmla="*/ 92 h 273"/>
                <a:gd name="T52" fmla="*/ 134 w 314"/>
                <a:gd name="T53" fmla="*/ 62 h 273"/>
                <a:gd name="T54" fmla="*/ 123 w 314"/>
                <a:gd name="T55" fmla="*/ 19 h 273"/>
                <a:gd name="T56" fmla="*/ 144 w 314"/>
                <a:gd name="T57" fmla="*/ 0 h 273"/>
                <a:gd name="T58" fmla="*/ 157 w 314"/>
                <a:gd name="T59" fmla="*/ 30 h 273"/>
                <a:gd name="T60" fmla="*/ 195 w 314"/>
                <a:gd name="T61" fmla="*/ 51 h 273"/>
                <a:gd name="T62" fmla="*/ 206 w 314"/>
                <a:gd name="T63" fmla="*/ 33 h 273"/>
                <a:gd name="T64" fmla="*/ 245 w 314"/>
                <a:gd name="T65" fmla="*/ 33 h 273"/>
                <a:gd name="T66" fmla="*/ 272 w 314"/>
                <a:gd name="T67" fmla="*/ 49 h 273"/>
                <a:gd name="T68" fmla="*/ 286 w 314"/>
                <a:gd name="T69" fmla="*/ 73 h 273"/>
                <a:gd name="T70" fmla="*/ 285 w 314"/>
                <a:gd name="T71" fmla="*/ 91 h 273"/>
                <a:gd name="T72" fmla="*/ 314 w 314"/>
                <a:gd name="T73" fmla="*/ 121 h 273"/>
                <a:gd name="T74" fmla="*/ 293 w 314"/>
                <a:gd name="T75" fmla="*/ 144 h 273"/>
                <a:gd name="T76" fmla="*/ 275 w 314"/>
                <a:gd name="T77" fmla="*/ 158 h 273"/>
                <a:gd name="T78" fmla="*/ 277 w 314"/>
                <a:gd name="T79" fmla="*/ 179 h 273"/>
                <a:gd name="T80" fmla="*/ 267 w 314"/>
                <a:gd name="T81" fmla="*/ 198 h 273"/>
                <a:gd name="T82" fmla="*/ 272 w 314"/>
                <a:gd name="T83" fmla="*/ 209 h 273"/>
                <a:gd name="T84" fmla="*/ 251 w 314"/>
                <a:gd name="T85" fmla="*/ 204 h 273"/>
                <a:gd name="T86" fmla="*/ 251 w 314"/>
                <a:gd name="T87" fmla="*/ 204 h 273"/>
                <a:gd name="T88" fmla="*/ 251 w 314"/>
                <a:gd name="T89" fmla="*/ 20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4" h="273">
                  <a:moveTo>
                    <a:pt x="251" y="204"/>
                  </a:moveTo>
                  <a:lnTo>
                    <a:pt x="243" y="208"/>
                  </a:lnTo>
                  <a:lnTo>
                    <a:pt x="232" y="227"/>
                  </a:lnTo>
                  <a:lnTo>
                    <a:pt x="242" y="235"/>
                  </a:lnTo>
                  <a:lnTo>
                    <a:pt x="195" y="264"/>
                  </a:lnTo>
                  <a:lnTo>
                    <a:pt x="194" y="273"/>
                  </a:lnTo>
                  <a:lnTo>
                    <a:pt x="176" y="268"/>
                  </a:lnTo>
                  <a:lnTo>
                    <a:pt x="171" y="262"/>
                  </a:lnTo>
                  <a:lnTo>
                    <a:pt x="174" y="256"/>
                  </a:lnTo>
                  <a:lnTo>
                    <a:pt x="173" y="251"/>
                  </a:lnTo>
                  <a:lnTo>
                    <a:pt x="165" y="248"/>
                  </a:lnTo>
                  <a:lnTo>
                    <a:pt x="186" y="224"/>
                  </a:lnTo>
                  <a:lnTo>
                    <a:pt x="176" y="201"/>
                  </a:lnTo>
                  <a:lnTo>
                    <a:pt x="128" y="160"/>
                  </a:lnTo>
                  <a:lnTo>
                    <a:pt x="104" y="160"/>
                  </a:lnTo>
                  <a:lnTo>
                    <a:pt x="112" y="144"/>
                  </a:lnTo>
                  <a:lnTo>
                    <a:pt x="94" y="132"/>
                  </a:lnTo>
                  <a:lnTo>
                    <a:pt x="56" y="166"/>
                  </a:lnTo>
                  <a:lnTo>
                    <a:pt x="13" y="148"/>
                  </a:lnTo>
                  <a:lnTo>
                    <a:pt x="37" y="121"/>
                  </a:lnTo>
                  <a:lnTo>
                    <a:pt x="0" y="105"/>
                  </a:lnTo>
                  <a:lnTo>
                    <a:pt x="18" y="78"/>
                  </a:lnTo>
                  <a:lnTo>
                    <a:pt x="37" y="91"/>
                  </a:lnTo>
                  <a:lnTo>
                    <a:pt x="69" y="94"/>
                  </a:lnTo>
                  <a:lnTo>
                    <a:pt x="74" y="76"/>
                  </a:lnTo>
                  <a:lnTo>
                    <a:pt x="118" y="92"/>
                  </a:lnTo>
                  <a:lnTo>
                    <a:pt x="134" y="62"/>
                  </a:lnTo>
                  <a:lnTo>
                    <a:pt x="123" y="19"/>
                  </a:lnTo>
                  <a:lnTo>
                    <a:pt x="144" y="0"/>
                  </a:lnTo>
                  <a:lnTo>
                    <a:pt x="157" y="30"/>
                  </a:lnTo>
                  <a:lnTo>
                    <a:pt x="195" y="51"/>
                  </a:lnTo>
                  <a:lnTo>
                    <a:pt x="206" y="33"/>
                  </a:lnTo>
                  <a:lnTo>
                    <a:pt x="245" y="33"/>
                  </a:lnTo>
                  <a:lnTo>
                    <a:pt x="272" y="49"/>
                  </a:lnTo>
                  <a:lnTo>
                    <a:pt x="286" y="73"/>
                  </a:lnTo>
                  <a:lnTo>
                    <a:pt x="285" y="91"/>
                  </a:lnTo>
                  <a:lnTo>
                    <a:pt x="314" y="121"/>
                  </a:lnTo>
                  <a:lnTo>
                    <a:pt x="293" y="144"/>
                  </a:lnTo>
                  <a:lnTo>
                    <a:pt x="275" y="158"/>
                  </a:lnTo>
                  <a:lnTo>
                    <a:pt x="277" y="179"/>
                  </a:lnTo>
                  <a:lnTo>
                    <a:pt x="267" y="198"/>
                  </a:lnTo>
                  <a:lnTo>
                    <a:pt x="272" y="209"/>
                  </a:lnTo>
                  <a:lnTo>
                    <a:pt x="251" y="204"/>
                  </a:lnTo>
                  <a:lnTo>
                    <a:pt x="251" y="204"/>
                  </a:lnTo>
                  <a:lnTo>
                    <a:pt x="251" y="20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44" name="Freeform 194">
              <a:extLst>
                <a:ext uri="{FF2B5EF4-FFF2-40B4-BE49-F238E27FC236}">
                  <a16:creationId xmlns:a16="http://schemas.microsoft.com/office/drawing/2014/main" id="{946E2CBC-296C-44B4-AF79-F7FB121CEF5B}"/>
                </a:ext>
              </a:extLst>
            </p:cNvPr>
            <p:cNvSpPr>
              <a:spLocks/>
            </p:cNvSpPr>
            <p:nvPr/>
          </p:nvSpPr>
          <p:spPr bwMode="auto">
            <a:xfrm>
              <a:off x="7977096" y="3698897"/>
              <a:ext cx="456498" cy="432562"/>
            </a:xfrm>
            <a:custGeom>
              <a:avLst/>
              <a:gdLst>
                <a:gd name="T0" fmla="*/ 74 w 246"/>
                <a:gd name="T1" fmla="*/ 195 h 224"/>
                <a:gd name="T2" fmla="*/ 35 w 246"/>
                <a:gd name="T3" fmla="*/ 200 h 224"/>
                <a:gd name="T4" fmla="*/ 27 w 246"/>
                <a:gd name="T5" fmla="*/ 171 h 224"/>
                <a:gd name="T6" fmla="*/ 3 w 246"/>
                <a:gd name="T7" fmla="*/ 162 h 224"/>
                <a:gd name="T8" fmla="*/ 0 w 246"/>
                <a:gd name="T9" fmla="*/ 125 h 224"/>
                <a:gd name="T10" fmla="*/ 14 w 246"/>
                <a:gd name="T11" fmla="*/ 104 h 224"/>
                <a:gd name="T12" fmla="*/ 3 w 246"/>
                <a:gd name="T13" fmla="*/ 83 h 224"/>
                <a:gd name="T14" fmla="*/ 126 w 246"/>
                <a:gd name="T15" fmla="*/ 18 h 224"/>
                <a:gd name="T16" fmla="*/ 158 w 246"/>
                <a:gd name="T17" fmla="*/ 0 h 224"/>
                <a:gd name="T18" fmla="*/ 203 w 246"/>
                <a:gd name="T19" fmla="*/ 23 h 224"/>
                <a:gd name="T20" fmla="*/ 245 w 246"/>
                <a:gd name="T21" fmla="*/ 8 h 224"/>
                <a:gd name="T22" fmla="*/ 246 w 246"/>
                <a:gd name="T23" fmla="*/ 79 h 224"/>
                <a:gd name="T24" fmla="*/ 246 w 246"/>
                <a:gd name="T25" fmla="*/ 104 h 224"/>
                <a:gd name="T26" fmla="*/ 224 w 246"/>
                <a:gd name="T27" fmla="*/ 99 h 224"/>
                <a:gd name="T28" fmla="*/ 186 w 246"/>
                <a:gd name="T29" fmla="*/ 151 h 224"/>
                <a:gd name="T30" fmla="*/ 192 w 246"/>
                <a:gd name="T31" fmla="*/ 163 h 224"/>
                <a:gd name="T32" fmla="*/ 168 w 246"/>
                <a:gd name="T33" fmla="*/ 195 h 224"/>
                <a:gd name="T34" fmla="*/ 178 w 246"/>
                <a:gd name="T35" fmla="*/ 211 h 224"/>
                <a:gd name="T36" fmla="*/ 160 w 246"/>
                <a:gd name="T37" fmla="*/ 213 h 224"/>
                <a:gd name="T38" fmla="*/ 102 w 246"/>
                <a:gd name="T39" fmla="*/ 224 h 224"/>
                <a:gd name="T40" fmla="*/ 74 w 246"/>
                <a:gd name="T41" fmla="*/ 195 h 224"/>
                <a:gd name="T42" fmla="*/ 74 w 246"/>
                <a:gd name="T43" fmla="*/ 195 h 224"/>
                <a:gd name="T44" fmla="*/ 74 w 246"/>
                <a:gd name="T45" fmla="*/ 19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24">
                  <a:moveTo>
                    <a:pt x="74" y="195"/>
                  </a:moveTo>
                  <a:lnTo>
                    <a:pt x="35" y="200"/>
                  </a:lnTo>
                  <a:lnTo>
                    <a:pt x="27" y="171"/>
                  </a:lnTo>
                  <a:lnTo>
                    <a:pt x="3" y="162"/>
                  </a:lnTo>
                  <a:lnTo>
                    <a:pt x="0" y="125"/>
                  </a:lnTo>
                  <a:lnTo>
                    <a:pt x="14" y="104"/>
                  </a:lnTo>
                  <a:lnTo>
                    <a:pt x="3" y="83"/>
                  </a:lnTo>
                  <a:lnTo>
                    <a:pt x="126" y="18"/>
                  </a:lnTo>
                  <a:lnTo>
                    <a:pt x="158" y="0"/>
                  </a:lnTo>
                  <a:lnTo>
                    <a:pt x="203" y="23"/>
                  </a:lnTo>
                  <a:lnTo>
                    <a:pt x="245" y="8"/>
                  </a:lnTo>
                  <a:lnTo>
                    <a:pt x="246" y="79"/>
                  </a:lnTo>
                  <a:lnTo>
                    <a:pt x="246" y="104"/>
                  </a:lnTo>
                  <a:lnTo>
                    <a:pt x="224" y="99"/>
                  </a:lnTo>
                  <a:lnTo>
                    <a:pt x="186" y="151"/>
                  </a:lnTo>
                  <a:lnTo>
                    <a:pt x="192" y="163"/>
                  </a:lnTo>
                  <a:lnTo>
                    <a:pt x="168" y="195"/>
                  </a:lnTo>
                  <a:lnTo>
                    <a:pt x="178" y="211"/>
                  </a:lnTo>
                  <a:lnTo>
                    <a:pt x="160" y="213"/>
                  </a:lnTo>
                  <a:lnTo>
                    <a:pt x="102" y="224"/>
                  </a:lnTo>
                  <a:lnTo>
                    <a:pt x="74" y="195"/>
                  </a:lnTo>
                  <a:lnTo>
                    <a:pt x="74" y="195"/>
                  </a:lnTo>
                  <a:lnTo>
                    <a:pt x="74" y="195"/>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5" name="Freeform 195">
              <a:extLst>
                <a:ext uri="{FF2B5EF4-FFF2-40B4-BE49-F238E27FC236}">
                  <a16:creationId xmlns:a16="http://schemas.microsoft.com/office/drawing/2014/main" id="{0A8AE4A6-E860-4978-8A80-D5E958112305}"/>
                </a:ext>
              </a:extLst>
            </p:cNvPr>
            <p:cNvSpPr>
              <a:spLocks/>
            </p:cNvSpPr>
            <p:nvPr/>
          </p:nvSpPr>
          <p:spPr bwMode="auto">
            <a:xfrm>
              <a:off x="7062237" y="3766487"/>
              <a:ext cx="569697" cy="745397"/>
            </a:xfrm>
            <a:custGeom>
              <a:avLst/>
              <a:gdLst>
                <a:gd name="T0" fmla="*/ 119 w 307"/>
                <a:gd name="T1" fmla="*/ 136 h 386"/>
                <a:gd name="T2" fmla="*/ 100 w 307"/>
                <a:gd name="T3" fmla="*/ 66 h 386"/>
                <a:gd name="T4" fmla="*/ 53 w 307"/>
                <a:gd name="T5" fmla="*/ 20 h 386"/>
                <a:gd name="T6" fmla="*/ 50 w 307"/>
                <a:gd name="T7" fmla="*/ 0 h 386"/>
                <a:gd name="T8" fmla="*/ 32 w 307"/>
                <a:gd name="T9" fmla="*/ 24 h 386"/>
                <a:gd name="T10" fmla="*/ 28 w 307"/>
                <a:gd name="T11" fmla="*/ 85 h 386"/>
                <a:gd name="T12" fmla="*/ 2 w 307"/>
                <a:gd name="T13" fmla="*/ 252 h 386"/>
                <a:gd name="T14" fmla="*/ 23 w 307"/>
                <a:gd name="T15" fmla="*/ 220 h 386"/>
                <a:gd name="T16" fmla="*/ 42 w 307"/>
                <a:gd name="T17" fmla="*/ 239 h 386"/>
                <a:gd name="T18" fmla="*/ 52 w 307"/>
                <a:gd name="T19" fmla="*/ 256 h 386"/>
                <a:gd name="T20" fmla="*/ 15 w 307"/>
                <a:gd name="T21" fmla="*/ 252 h 386"/>
                <a:gd name="T22" fmla="*/ 0 w 307"/>
                <a:gd name="T23" fmla="*/ 284 h 386"/>
                <a:gd name="T24" fmla="*/ 0 w 307"/>
                <a:gd name="T25" fmla="*/ 304 h 386"/>
                <a:gd name="T26" fmla="*/ 52 w 307"/>
                <a:gd name="T27" fmla="*/ 290 h 386"/>
                <a:gd name="T28" fmla="*/ 48 w 307"/>
                <a:gd name="T29" fmla="*/ 317 h 386"/>
                <a:gd name="T30" fmla="*/ 116 w 307"/>
                <a:gd name="T31" fmla="*/ 315 h 386"/>
                <a:gd name="T32" fmla="*/ 170 w 307"/>
                <a:gd name="T33" fmla="*/ 362 h 386"/>
                <a:gd name="T34" fmla="*/ 167 w 307"/>
                <a:gd name="T35" fmla="*/ 381 h 386"/>
                <a:gd name="T36" fmla="*/ 199 w 307"/>
                <a:gd name="T37" fmla="*/ 386 h 386"/>
                <a:gd name="T38" fmla="*/ 202 w 307"/>
                <a:gd name="T39" fmla="*/ 365 h 386"/>
                <a:gd name="T40" fmla="*/ 220 w 307"/>
                <a:gd name="T41" fmla="*/ 379 h 386"/>
                <a:gd name="T42" fmla="*/ 239 w 307"/>
                <a:gd name="T43" fmla="*/ 365 h 386"/>
                <a:gd name="T44" fmla="*/ 229 w 307"/>
                <a:gd name="T45" fmla="*/ 344 h 386"/>
                <a:gd name="T46" fmla="*/ 247 w 307"/>
                <a:gd name="T47" fmla="*/ 339 h 386"/>
                <a:gd name="T48" fmla="*/ 244 w 307"/>
                <a:gd name="T49" fmla="*/ 303 h 386"/>
                <a:gd name="T50" fmla="*/ 285 w 307"/>
                <a:gd name="T51" fmla="*/ 264 h 386"/>
                <a:gd name="T52" fmla="*/ 268 w 307"/>
                <a:gd name="T53" fmla="*/ 248 h 386"/>
                <a:gd name="T54" fmla="*/ 307 w 307"/>
                <a:gd name="T55" fmla="*/ 232 h 386"/>
                <a:gd name="T56" fmla="*/ 304 w 307"/>
                <a:gd name="T57" fmla="*/ 200 h 386"/>
                <a:gd name="T58" fmla="*/ 285 w 307"/>
                <a:gd name="T59" fmla="*/ 216 h 386"/>
                <a:gd name="T60" fmla="*/ 248 w 307"/>
                <a:gd name="T61" fmla="*/ 210 h 386"/>
                <a:gd name="T62" fmla="*/ 266 w 307"/>
                <a:gd name="T63" fmla="*/ 138 h 386"/>
                <a:gd name="T64" fmla="*/ 245 w 307"/>
                <a:gd name="T65" fmla="*/ 133 h 386"/>
                <a:gd name="T66" fmla="*/ 220 w 307"/>
                <a:gd name="T67" fmla="*/ 140 h 386"/>
                <a:gd name="T68" fmla="*/ 176 w 307"/>
                <a:gd name="T69" fmla="*/ 116 h 386"/>
                <a:gd name="T70" fmla="*/ 172 w 307"/>
                <a:gd name="T71" fmla="*/ 87 h 386"/>
                <a:gd name="T72" fmla="*/ 116 w 307"/>
                <a:gd name="T73" fmla="*/ 69 h 386"/>
                <a:gd name="T74" fmla="*/ 127 w 307"/>
                <a:gd name="T75" fmla="*/ 148 h 386"/>
                <a:gd name="T76" fmla="*/ 119 w 307"/>
                <a:gd name="T77" fmla="*/ 136 h 386"/>
                <a:gd name="T78" fmla="*/ 119 w 307"/>
                <a:gd name="T79" fmla="*/ 136 h 386"/>
                <a:gd name="T80" fmla="*/ 119 w 307"/>
                <a:gd name="T81" fmla="*/ 13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7" h="386">
                  <a:moveTo>
                    <a:pt x="119" y="136"/>
                  </a:moveTo>
                  <a:lnTo>
                    <a:pt x="100" y="66"/>
                  </a:lnTo>
                  <a:lnTo>
                    <a:pt x="53" y="20"/>
                  </a:lnTo>
                  <a:lnTo>
                    <a:pt x="50" y="0"/>
                  </a:lnTo>
                  <a:lnTo>
                    <a:pt x="32" y="24"/>
                  </a:lnTo>
                  <a:lnTo>
                    <a:pt x="28" y="85"/>
                  </a:lnTo>
                  <a:lnTo>
                    <a:pt x="2" y="252"/>
                  </a:lnTo>
                  <a:lnTo>
                    <a:pt x="23" y="220"/>
                  </a:lnTo>
                  <a:lnTo>
                    <a:pt x="42" y="239"/>
                  </a:lnTo>
                  <a:lnTo>
                    <a:pt x="52" y="256"/>
                  </a:lnTo>
                  <a:lnTo>
                    <a:pt x="15" y="252"/>
                  </a:lnTo>
                  <a:lnTo>
                    <a:pt x="0" y="284"/>
                  </a:lnTo>
                  <a:lnTo>
                    <a:pt x="0" y="304"/>
                  </a:lnTo>
                  <a:lnTo>
                    <a:pt x="52" y="290"/>
                  </a:lnTo>
                  <a:lnTo>
                    <a:pt x="48" y="317"/>
                  </a:lnTo>
                  <a:lnTo>
                    <a:pt x="116" y="315"/>
                  </a:lnTo>
                  <a:lnTo>
                    <a:pt x="170" y="362"/>
                  </a:lnTo>
                  <a:lnTo>
                    <a:pt x="167" y="381"/>
                  </a:lnTo>
                  <a:lnTo>
                    <a:pt x="199" y="386"/>
                  </a:lnTo>
                  <a:lnTo>
                    <a:pt x="202" y="365"/>
                  </a:lnTo>
                  <a:lnTo>
                    <a:pt x="220" y="379"/>
                  </a:lnTo>
                  <a:lnTo>
                    <a:pt x="239" y="365"/>
                  </a:lnTo>
                  <a:lnTo>
                    <a:pt x="229" y="344"/>
                  </a:lnTo>
                  <a:lnTo>
                    <a:pt x="247" y="339"/>
                  </a:lnTo>
                  <a:lnTo>
                    <a:pt x="244" y="303"/>
                  </a:lnTo>
                  <a:lnTo>
                    <a:pt x="285" y="264"/>
                  </a:lnTo>
                  <a:lnTo>
                    <a:pt x="268" y="248"/>
                  </a:lnTo>
                  <a:lnTo>
                    <a:pt x="307" y="232"/>
                  </a:lnTo>
                  <a:lnTo>
                    <a:pt x="304" y="200"/>
                  </a:lnTo>
                  <a:lnTo>
                    <a:pt x="285" y="216"/>
                  </a:lnTo>
                  <a:lnTo>
                    <a:pt x="248" y="210"/>
                  </a:lnTo>
                  <a:lnTo>
                    <a:pt x="266" y="138"/>
                  </a:lnTo>
                  <a:lnTo>
                    <a:pt x="245" y="133"/>
                  </a:lnTo>
                  <a:lnTo>
                    <a:pt x="220" y="140"/>
                  </a:lnTo>
                  <a:lnTo>
                    <a:pt x="176" y="116"/>
                  </a:lnTo>
                  <a:lnTo>
                    <a:pt x="172" y="87"/>
                  </a:lnTo>
                  <a:lnTo>
                    <a:pt x="116" y="69"/>
                  </a:lnTo>
                  <a:lnTo>
                    <a:pt x="127" y="148"/>
                  </a:lnTo>
                  <a:lnTo>
                    <a:pt x="119" y="136"/>
                  </a:lnTo>
                  <a:lnTo>
                    <a:pt x="119" y="136"/>
                  </a:lnTo>
                  <a:lnTo>
                    <a:pt x="119" y="13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46" name="Freeform 196">
              <a:extLst>
                <a:ext uri="{FF2B5EF4-FFF2-40B4-BE49-F238E27FC236}">
                  <a16:creationId xmlns:a16="http://schemas.microsoft.com/office/drawing/2014/main" id="{25B6D876-62FC-4019-8F40-EB8F8736AC29}"/>
                </a:ext>
              </a:extLst>
            </p:cNvPr>
            <p:cNvSpPr>
              <a:spLocks/>
            </p:cNvSpPr>
            <p:nvPr/>
          </p:nvSpPr>
          <p:spPr bwMode="auto">
            <a:xfrm>
              <a:off x="7386986" y="3482618"/>
              <a:ext cx="491760" cy="492425"/>
            </a:xfrm>
            <a:custGeom>
              <a:avLst/>
              <a:gdLst>
                <a:gd name="T0" fmla="*/ 32 w 265"/>
                <a:gd name="T1" fmla="*/ 171 h 255"/>
                <a:gd name="T2" fmla="*/ 5 w 265"/>
                <a:gd name="T3" fmla="*/ 136 h 255"/>
                <a:gd name="T4" fmla="*/ 0 w 265"/>
                <a:gd name="T5" fmla="*/ 99 h 255"/>
                <a:gd name="T6" fmla="*/ 29 w 265"/>
                <a:gd name="T7" fmla="*/ 90 h 255"/>
                <a:gd name="T8" fmla="*/ 54 w 265"/>
                <a:gd name="T9" fmla="*/ 95 h 255"/>
                <a:gd name="T10" fmla="*/ 65 w 265"/>
                <a:gd name="T11" fmla="*/ 47 h 255"/>
                <a:gd name="T12" fmla="*/ 100 w 265"/>
                <a:gd name="T13" fmla="*/ 12 h 255"/>
                <a:gd name="T14" fmla="*/ 121 w 265"/>
                <a:gd name="T15" fmla="*/ 16 h 255"/>
                <a:gd name="T16" fmla="*/ 171 w 265"/>
                <a:gd name="T17" fmla="*/ 27 h 255"/>
                <a:gd name="T18" fmla="*/ 177 w 265"/>
                <a:gd name="T19" fmla="*/ 4 h 255"/>
                <a:gd name="T20" fmla="*/ 198 w 265"/>
                <a:gd name="T21" fmla="*/ 19 h 255"/>
                <a:gd name="T22" fmla="*/ 244 w 265"/>
                <a:gd name="T23" fmla="*/ 0 h 255"/>
                <a:gd name="T24" fmla="*/ 243 w 265"/>
                <a:gd name="T25" fmla="*/ 29 h 255"/>
                <a:gd name="T26" fmla="*/ 265 w 265"/>
                <a:gd name="T27" fmla="*/ 45 h 255"/>
                <a:gd name="T28" fmla="*/ 257 w 265"/>
                <a:gd name="T29" fmla="*/ 63 h 255"/>
                <a:gd name="T30" fmla="*/ 241 w 265"/>
                <a:gd name="T31" fmla="*/ 63 h 255"/>
                <a:gd name="T32" fmla="*/ 238 w 265"/>
                <a:gd name="T33" fmla="*/ 85 h 255"/>
                <a:gd name="T34" fmla="*/ 203 w 265"/>
                <a:gd name="T35" fmla="*/ 122 h 255"/>
                <a:gd name="T36" fmla="*/ 168 w 265"/>
                <a:gd name="T37" fmla="*/ 173 h 255"/>
                <a:gd name="T38" fmla="*/ 128 w 265"/>
                <a:gd name="T39" fmla="*/ 203 h 255"/>
                <a:gd name="T40" fmla="*/ 129 w 265"/>
                <a:gd name="T41" fmla="*/ 231 h 255"/>
                <a:gd name="T42" fmla="*/ 104 w 265"/>
                <a:gd name="T43" fmla="*/ 255 h 255"/>
                <a:gd name="T44" fmla="*/ 81 w 265"/>
                <a:gd name="T45" fmla="*/ 255 h 255"/>
                <a:gd name="T46" fmla="*/ 27 w 265"/>
                <a:gd name="T47" fmla="*/ 219 h 255"/>
                <a:gd name="T48" fmla="*/ 32 w 265"/>
                <a:gd name="T49" fmla="*/ 171 h 255"/>
                <a:gd name="T50" fmla="*/ 32 w 265"/>
                <a:gd name="T51" fmla="*/ 171 h 255"/>
                <a:gd name="T52" fmla="*/ 32 w 265"/>
                <a:gd name="T53" fmla="*/ 17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5" h="255">
                  <a:moveTo>
                    <a:pt x="32" y="171"/>
                  </a:moveTo>
                  <a:lnTo>
                    <a:pt x="5" y="136"/>
                  </a:lnTo>
                  <a:lnTo>
                    <a:pt x="0" y="99"/>
                  </a:lnTo>
                  <a:lnTo>
                    <a:pt x="29" y="90"/>
                  </a:lnTo>
                  <a:lnTo>
                    <a:pt x="54" y="95"/>
                  </a:lnTo>
                  <a:lnTo>
                    <a:pt x="65" y="47"/>
                  </a:lnTo>
                  <a:lnTo>
                    <a:pt x="100" y="12"/>
                  </a:lnTo>
                  <a:lnTo>
                    <a:pt x="121" y="16"/>
                  </a:lnTo>
                  <a:lnTo>
                    <a:pt x="171" y="27"/>
                  </a:lnTo>
                  <a:lnTo>
                    <a:pt x="177" y="4"/>
                  </a:lnTo>
                  <a:lnTo>
                    <a:pt x="198" y="19"/>
                  </a:lnTo>
                  <a:lnTo>
                    <a:pt x="244" y="0"/>
                  </a:lnTo>
                  <a:lnTo>
                    <a:pt x="243" y="29"/>
                  </a:lnTo>
                  <a:lnTo>
                    <a:pt x="265" y="45"/>
                  </a:lnTo>
                  <a:lnTo>
                    <a:pt x="257" y="63"/>
                  </a:lnTo>
                  <a:lnTo>
                    <a:pt x="241" y="63"/>
                  </a:lnTo>
                  <a:lnTo>
                    <a:pt x="238" y="85"/>
                  </a:lnTo>
                  <a:lnTo>
                    <a:pt x="203" y="122"/>
                  </a:lnTo>
                  <a:lnTo>
                    <a:pt x="168" y="173"/>
                  </a:lnTo>
                  <a:lnTo>
                    <a:pt x="128" y="203"/>
                  </a:lnTo>
                  <a:lnTo>
                    <a:pt x="129" y="231"/>
                  </a:lnTo>
                  <a:lnTo>
                    <a:pt x="104" y="255"/>
                  </a:lnTo>
                  <a:lnTo>
                    <a:pt x="81" y="255"/>
                  </a:lnTo>
                  <a:lnTo>
                    <a:pt x="27" y="219"/>
                  </a:lnTo>
                  <a:lnTo>
                    <a:pt x="32" y="171"/>
                  </a:lnTo>
                  <a:lnTo>
                    <a:pt x="32" y="171"/>
                  </a:lnTo>
                  <a:lnTo>
                    <a:pt x="32" y="17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47" name="Freeform 197">
              <a:extLst>
                <a:ext uri="{FF2B5EF4-FFF2-40B4-BE49-F238E27FC236}">
                  <a16:creationId xmlns:a16="http://schemas.microsoft.com/office/drawing/2014/main" id="{B4B36506-6EF5-4ED3-8BBE-14F3D96703F4}"/>
                </a:ext>
              </a:extLst>
            </p:cNvPr>
            <p:cNvSpPr>
              <a:spLocks/>
            </p:cNvSpPr>
            <p:nvPr/>
          </p:nvSpPr>
          <p:spPr bwMode="auto">
            <a:xfrm>
              <a:off x="8737928" y="2121205"/>
              <a:ext cx="491760" cy="413250"/>
            </a:xfrm>
            <a:custGeom>
              <a:avLst/>
              <a:gdLst>
                <a:gd name="T0" fmla="*/ 0 w 265"/>
                <a:gd name="T1" fmla="*/ 67 h 214"/>
                <a:gd name="T2" fmla="*/ 20 w 265"/>
                <a:gd name="T3" fmla="*/ 29 h 214"/>
                <a:gd name="T4" fmla="*/ 44 w 265"/>
                <a:gd name="T5" fmla="*/ 50 h 214"/>
                <a:gd name="T6" fmla="*/ 73 w 265"/>
                <a:gd name="T7" fmla="*/ 54 h 214"/>
                <a:gd name="T8" fmla="*/ 123 w 265"/>
                <a:gd name="T9" fmla="*/ 6 h 214"/>
                <a:gd name="T10" fmla="*/ 164 w 265"/>
                <a:gd name="T11" fmla="*/ 0 h 214"/>
                <a:gd name="T12" fmla="*/ 168 w 265"/>
                <a:gd name="T13" fmla="*/ 29 h 214"/>
                <a:gd name="T14" fmla="*/ 187 w 265"/>
                <a:gd name="T15" fmla="*/ 45 h 214"/>
                <a:gd name="T16" fmla="*/ 232 w 265"/>
                <a:gd name="T17" fmla="*/ 46 h 214"/>
                <a:gd name="T18" fmla="*/ 225 w 265"/>
                <a:gd name="T19" fmla="*/ 67 h 214"/>
                <a:gd name="T20" fmla="*/ 265 w 265"/>
                <a:gd name="T21" fmla="*/ 110 h 214"/>
                <a:gd name="T22" fmla="*/ 265 w 265"/>
                <a:gd name="T23" fmla="*/ 163 h 214"/>
                <a:gd name="T24" fmla="*/ 241 w 265"/>
                <a:gd name="T25" fmla="*/ 163 h 214"/>
                <a:gd name="T26" fmla="*/ 241 w 265"/>
                <a:gd name="T27" fmla="*/ 189 h 214"/>
                <a:gd name="T28" fmla="*/ 212 w 265"/>
                <a:gd name="T29" fmla="*/ 187 h 214"/>
                <a:gd name="T30" fmla="*/ 212 w 265"/>
                <a:gd name="T31" fmla="*/ 202 h 214"/>
                <a:gd name="T32" fmla="*/ 161 w 265"/>
                <a:gd name="T33" fmla="*/ 211 h 214"/>
                <a:gd name="T34" fmla="*/ 96 w 265"/>
                <a:gd name="T35" fmla="*/ 214 h 214"/>
                <a:gd name="T36" fmla="*/ 62 w 265"/>
                <a:gd name="T37" fmla="*/ 150 h 214"/>
                <a:gd name="T38" fmla="*/ 49 w 265"/>
                <a:gd name="T39" fmla="*/ 160 h 214"/>
                <a:gd name="T40" fmla="*/ 25 w 265"/>
                <a:gd name="T41" fmla="*/ 104 h 214"/>
                <a:gd name="T42" fmla="*/ 1 w 265"/>
                <a:gd name="T43" fmla="*/ 93 h 214"/>
                <a:gd name="T44" fmla="*/ 0 w 265"/>
                <a:gd name="T45" fmla="*/ 67 h 214"/>
                <a:gd name="T46" fmla="*/ 0 w 265"/>
                <a:gd name="T47" fmla="*/ 67 h 214"/>
                <a:gd name="T48" fmla="*/ 0 w 265"/>
                <a:gd name="T49" fmla="*/ 6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14">
                  <a:moveTo>
                    <a:pt x="0" y="67"/>
                  </a:moveTo>
                  <a:lnTo>
                    <a:pt x="20" y="29"/>
                  </a:lnTo>
                  <a:lnTo>
                    <a:pt x="44" y="50"/>
                  </a:lnTo>
                  <a:lnTo>
                    <a:pt x="73" y="54"/>
                  </a:lnTo>
                  <a:lnTo>
                    <a:pt x="123" y="6"/>
                  </a:lnTo>
                  <a:lnTo>
                    <a:pt x="164" y="0"/>
                  </a:lnTo>
                  <a:lnTo>
                    <a:pt x="168" y="29"/>
                  </a:lnTo>
                  <a:lnTo>
                    <a:pt x="187" y="45"/>
                  </a:lnTo>
                  <a:lnTo>
                    <a:pt x="232" y="46"/>
                  </a:lnTo>
                  <a:lnTo>
                    <a:pt x="225" y="67"/>
                  </a:lnTo>
                  <a:lnTo>
                    <a:pt x="265" y="110"/>
                  </a:lnTo>
                  <a:lnTo>
                    <a:pt x="265" y="163"/>
                  </a:lnTo>
                  <a:lnTo>
                    <a:pt x="241" y="163"/>
                  </a:lnTo>
                  <a:lnTo>
                    <a:pt x="241" y="189"/>
                  </a:lnTo>
                  <a:lnTo>
                    <a:pt x="212" y="187"/>
                  </a:lnTo>
                  <a:lnTo>
                    <a:pt x="212" y="202"/>
                  </a:lnTo>
                  <a:lnTo>
                    <a:pt x="161" y="211"/>
                  </a:lnTo>
                  <a:lnTo>
                    <a:pt x="96" y="214"/>
                  </a:lnTo>
                  <a:lnTo>
                    <a:pt x="62" y="150"/>
                  </a:lnTo>
                  <a:lnTo>
                    <a:pt x="49" y="160"/>
                  </a:lnTo>
                  <a:lnTo>
                    <a:pt x="25" y="104"/>
                  </a:lnTo>
                  <a:lnTo>
                    <a:pt x="1" y="93"/>
                  </a:lnTo>
                  <a:lnTo>
                    <a:pt x="0" y="67"/>
                  </a:lnTo>
                  <a:lnTo>
                    <a:pt x="0" y="67"/>
                  </a:lnTo>
                  <a:lnTo>
                    <a:pt x="0" y="67"/>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8" name="Freeform 198">
              <a:extLst>
                <a:ext uri="{FF2B5EF4-FFF2-40B4-BE49-F238E27FC236}">
                  <a16:creationId xmlns:a16="http://schemas.microsoft.com/office/drawing/2014/main" id="{86469B28-8E0B-4A90-BE41-DB3A69CFEAC0}"/>
                </a:ext>
              </a:extLst>
            </p:cNvPr>
            <p:cNvSpPr>
              <a:spLocks/>
            </p:cNvSpPr>
            <p:nvPr/>
          </p:nvSpPr>
          <p:spPr bwMode="auto">
            <a:xfrm>
              <a:off x="8392768" y="1916508"/>
              <a:ext cx="382273" cy="525256"/>
            </a:xfrm>
            <a:custGeom>
              <a:avLst/>
              <a:gdLst>
                <a:gd name="T0" fmla="*/ 186 w 206"/>
                <a:gd name="T1" fmla="*/ 173 h 272"/>
                <a:gd name="T2" fmla="*/ 187 w 206"/>
                <a:gd name="T3" fmla="*/ 199 h 272"/>
                <a:gd name="T4" fmla="*/ 118 w 206"/>
                <a:gd name="T5" fmla="*/ 208 h 272"/>
                <a:gd name="T6" fmla="*/ 118 w 206"/>
                <a:gd name="T7" fmla="*/ 237 h 272"/>
                <a:gd name="T8" fmla="*/ 99 w 206"/>
                <a:gd name="T9" fmla="*/ 261 h 272"/>
                <a:gd name="T10" fmla="*/ 13 w 206"/>
                <a:gd name="T11" fmla="*/ 272 h 272"/>
                <a:gd name="T12" fmla="*/ 24 w 206"/>
                <a:gd name="T13" fmla="*/ 250 h 272"/>
                <a:gd name="T14" fmla="*/ 0 w 206"/>
                <a:gd name="T15" fmla="*/ 218 h 272"/>
                <a:gd name="T16" fmla="*/ 22 w 206"/>
                <a:gd name="T17" fmla="*/ 196 h 272"/>
                <a:gd name="T18" fmla="*/ 22 w 206"/>
                <a:gd name="T19" fmla="*/ 149 h 272"/>
                <a:gd name="T20" fmla="*/ 34 w 206"/>
                <a:gd name="T21" fmla="*/ 122 h 272"/>
                <a:gd name="T22" fmla="*/ 40 w 206"/>
                <a:gd name="T23" fmla="*/ 85 h 272"/>
                <a:gd name="T24" fmla="*/ 34 w 206"/>
                <a:gd name="T25" fmla="*/ 64 h 272"/>
                <a:gd name="T26" fmla="*/ 40 w 206"/>
                <a:gd name="T27" fmla="*/ 48 h 272"/>
                <a:gd name="T28" fmla="*/ 32 w 206"/>
                <a:gd name="T29" fmla="*/ 24 h 272"/>
                <a:gd name="T30" fmla="*/ 37 w 206"/>
                <a:gd name="T31" fmla="*/ 4 h 272"/>
                <a:gd name="T32" fmla="*/ 67 w 206"/>
                <a:gd name="T33" fmla="*/ 12 h 272"/>
                <a:gd name="T34" fmla="*/ 134 w 206"/>
                <a:gd name="T35" fmla="*/ 0 h 272"/>
                <a:gd name="T36" fmla="*/ 147 w 206"/>
                <a:gd name="T37" fmla="*/ 31 h 272"/>
                <a:gd name="T38" fmla="*/ 197 w 206"/>
                <a:gd name="T39" fmla="*/ 74 h 272"/>
                <a:gd name="T40" fmla="*/ 186 w 206"/>
                <a:gd name="T41" fmla="*/ 93 h 272"/>
                <a:gd name="T42" fmla="*/ 206 w 206"/>
                <a:gd name="T43" fmla="*/ 135 h 272"/>
                <a:gd name="T44" fmla="*/ 186 w 206"/>
                <a:gd name="T45" fmla="*/ 173 h 272"/>
                <a:gd name="T46" fmla="*/ 186 w 206"/>
                <a:gd name="T47" fmla="*/ 173 h 272"/>
                <a:gd name="T48" fmla="*/ 186 w 206"/>
                <a:gd name="T49" fmla="*/ 17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6" h="272">
                  <a:moveTo>
                    <a:pt x="186" y="173"/>
                  </a:moveTo>
                  <a:lnTo>
                    <a:pt x="187" y="199"/>
                  </a:lnTo>
                  <a:lnTo>
                    <a:pt x="118" y="208"/>
                  </a:lnTo>
                  <a:lnTo>
                    <a:pt x="118" y="237"/>
                  </a:lnTo>
                  <a:lnTo>
                    <a:pt x="99" y="261"/>
                  </a:lnTo>
                  <a:lnTo>
                    <a:pt x="13" y="272"/>
                  </a:lnTo>
                  <a:lnTo>
                    <a:pt x="24" y="250"/>
                  </a:lnTo>
                  <a:lnTo>
                    <a:pt x="0" y="218"/>
                  </a:lnTo>
                  <a:lnTo>
                    <a:pt x="22" y="196"/>
                  </a:lnTo>
                  <a:lnTo>
                    <a:pt x="22" y="149"/>
                  </a:lnTo>
                  <a:lnTo>
                    <a:pt x="34" y="122"/>
                  </a:lnTo>
                  <a:lnTo>
                    <a:pt x="40" y="85"/>
                  </a:lnTo>
                  <a:lnTo>
                    <a:pt x="34" y="64"/>
                  </a:lnTo>
                  <a:lnTo>
                    <a:pt x="40" y="48"/>
                  </a:lnTo>
                  <a:lnTo>
                    <a:pt x="32" y="24"/>
                  </a:lnTo>
                  <a:lnTo>
                    <a:pt x="37" y="4"/>
                  </a:lnTo>
                  <a:lnTo>
                    <a:pt x="67" y="12"/>
                  </a:lnTo>
                  <a:lnTo>
                    <a:pt x="134" y="0"/>
                  </a:lnTo>
                  <a:lnTo>
                    <a:pt x="147" y="31"/>
                  </a:lnTo>
                  <a:lnTo>
                    <a:pt x="197" y="74"/>
                  </a:lnTo>
                  <a:lnTo>
                    <a:pt x="186" y="93"/>
                  </a:lnTo>
                  <a:lnTo>
                    <a:pt x="206" y="135"/>
                  </a:lnTo>
                  <a:lnTo>
                    <a:pt x="186" y="173"/>
                  </a:lnTo>
                  <a:lnTo>
                    <a:pt x="186" y="173"/>
                  </a:lnTo>
                  <a:lnTo>
                    <a:pt x="186" y="17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49" name="Freeform 199">
              <a:extLst>
                <a:ext uri="{FF2B5EF4-FFF2-40B4-BE49-F238E27FC236}">
                  <a16:creationId xmlns:a16="http://schemas.microsoft.com/office/drawing/2014/main" id="{4C92804A-D263-4A3C-91BC-6D1C7F08B7B2}"/>
                </a:ext>
              </a:extLst>
            </p:cNvPr>
            <p:cNvSpPr>
              <a:spLocks/>
            </p:cNvSpPr>
            <p:nvPr/>
          </p:nvSpPr>
          <p:spPr bwMode="auto">
            <a:xfrm>
              <a:off x="8556069" y="2733358"/>
              <a:ext cx="475056" cy="490493"/>
            </a:xfrm>
            <a:custGeom>
              <a:avLst/>
              <a:gdLst>
                <a:gd name="T0" fmla="*/ 40 w 256"/>
                <a:gd name="T1" fmla="*/ 196 h 254"/>
                <a:gd name="T2" fmla="*/ 34 w 256"/>
                <a:gd name="T3" fmla="*/ 211 h 254"/>
                <a:gd name="T4" fmla="*/ 35 w 256"/>
                <a:gd name="T5" fmla="*/ 222 h 254"/>
                <a:gd name="T6" fmla="*/ 62 w 256"/>
                <a:gd name="T7" fmla="*/ 243 h 254"/>
                <a:gd name="T8" fmla="*/ 107 w 256"/>
                <a:gd name="T9" fmla="*/ 236 h 254"/>
                <a:gd name="T10" fmla="*/ 115 w 256"/>
                <a:gd name="T11" fmla="*/ 254 h 254"/>
                <a:gd name="T12" fmla="*/ 142 w 256"/>
                <a:gd name="T13" fmla="*/ 225 h 254"/>
                <a:gd name="T14" fmla="*/ 170 w 256"/>
                <a:gd name="T15" fmla="*/ 225 h 254"/>
                <a:gd name="T16" fmla="*/ 181 w 256"/>
                <a:gd name="T17" fmla="*/ 236 h 254"/>
                <a:gd name="T18" fmla="*/ 229 w 256"/>
                <a:gd name="T19" fmla="*/ 211 h 254"/>
                <a:gd name="T20" fmla="*/ 224 w 256"/>
                <a:gd name="T21" fmla="*/ 123 h 254"/>
                <a:gd name="T22" fmla="*/ 256 w 256"/>
                <a:gd name="T23" fmla="*/ 112 h 254"/>
                <a:gd name="T24" fmla="*/ 234 w 256"/>
                <a:gd name="T25" fmla="*/ 62 h 254"/>
                <a:gd name="T26" fmla="*/ 211 w 256"/>
                <a:gd name="T27" fmla="*/ 68 h 254"/>
                <a:gd name="T28" fmla="*/ 205 w 256"/>
                <a:gd name="T29" fmla="*/ 49 h 254"/>
                <a:gd name="T30" fmla="*/ 163 w 256"/>
                <a:gd name="T31" fmla="*/ 46 h 254"/>
                <a:gd name="T32" fmla="*/ 122 w 256"/>
                <a:gd name="T33" fmla="*/ 12 h 254"/>
                <a:gd name="T34" fmla="*/ 83 w 256"/>
                <a:gd name="T35" fmla="*/ 27 h 254"/>
                <a:gd name="T36" fmla="*/ 42 w 256"/>
                <a:gd name="T37" fmla="*/ 0 h 254"/>
                <a:gd name="T38" fmla="*/ 21 w 256"/>
                <a:gd name="T39" fmla="*/ 1 h 254"/>
                <a:gd name="T40" fmla="*/ 0 w 256"/>
                <a:gd name="T41" fmla="*/ 12 h 254"/>
                <a:gd name="T42" fmla="*/ 14 w 256"/>
                <a:gd name="T43" fmla="*/ 38 h 254"/>
                <a:gd name="T44" fmla="*/ 2 w 256"/>
                <a:gd name="T45" fmla="*/ 67 h 254"/>
                <a:gd name="T46" fmla="*/ 21 w 256"/>
                <a:gd name="T47" fmla="*/ 86 h 254"/>
                <a:gd name="T48" fmla="*/ 40 w 256"/>
                <a:gd name="T49" fmla="*/ 155 h 254"/>
                <a:gd name="T50" fmla="*/ 40 w 256"/>
                <a:gd name="T51" fmla="*/ 196 h 254"/>
                <a:gd name="T52" fmla="*/ 40 w 256"/>
                <a:gd name="T53" fmla="*/ 196 h 254"/>
                <a:gd name="T54" fmla="*/ 40 w 256"/>
                <a:gd name="T55" fmla="*/ 19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254">
                  <a:moveTo>
                    <a:pt x="40" y="196"/>
                  </a:moveTo>
                  <a:lnTo>
                    <a:pt x="34" y="211"/>
                  </a:lnTo>
                  <a:lnTo>
                    <a:pt x="35" y="222"/>
                  </a:lnTo>
                  <a:lnTo>
                    <a:pt x="62" y="243"/>
                  </a:lnTo>
                  <a:lnTo>
                    <a:pt x="107" y="236"/>
                  </a:lnTo>
                  <a:lnTo>
                    <a:pt x="115" y="254"/>
                  </a:lnTo>
                  <a:lnTo>
                    <a:pt x="142" y="225"/>
                  </a:lnTo>
                  <a:lnTo>
                    <a:pt x="170" y="225"/>
                  </a:lnTo>
                  <a:lnTo>
                    <a:pt x="181" y="236"/>
                  </a:lnTo>
                  <a:lnTo>
                    <a:pt x="229" y="211"/>
                  </a:lnTo>
                  <a:lnTo>
                    <a:pt x="224" y="123"/>
                  </a:lnTo>
                  <a:lnTo>
                    <a:pt x="256" y="112"/>
                  </a:lnTo>
                  <a:lnTo>
                    <a:pt x="234" y="62"/>
                  </a:lnTo>
                  <a:lnTo>
                    <a:pt x="211" y="68"/>
                  </a:lnTo>
                  <a:lnTo>
                    <a:pt x="205" y="49"/>
                  </a:lnTo>
                  <a:lnTo>
                    <a:pt x="163" y="46"/>
                  </a:lnTo>
                  <a:lnTo>
                    <a:pt x="122" y="12"/>
                  </a:lnTo>
                  <a:lnTo>
                    <a:pt x="83" y="27"/>
                  </a:lnTo>
                  <a:lnTo>
                    <a:pt x="42" y="0"/>
                  </a:lnTo>
                  <a:lnTo>
                    <a:pt x="21" y="1"/>
                  </a:lnTo>
                  <a:lnTo>
                    <a:pt x="0" y="12"/>
                  </a:lnTo>
                  <a:lnTo>
                    <a:pt x="14" y="38"/>
                  </a:lnTo>
                  <a:lnTo>
                    <a:pt x="2" y="67"/>
                  </a:lnTo>
                  <a:lnTo>
                    <a:pt x="21" y="86"/>
                  </a:lnTo>
                  <a:lnTo>
                    <a:pt x="40" y="155"/>
                  </a:lnTo>
                  <a:lnTo>
                    <a:pt x="40" y="196"/>
                  </a:lnTo>
                  <a:lnTo>
                    <a:pt x="40" y="196"/>
                  </a:lnTo>
                  <a:lnTo>
                    <a:pt x="40" y="196"/>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Freeform 200">
              <a:extLst>
                <a:ext uri="{FF2B5EF4-FFF2-40B4-BE49-F238E27FC236}">
                  <a16:creationId xmlns:a16="http://schemas.microsoft.com/office/drawing/2014/main" id="{9ADD6316-E4A0-4750-82BA-194FD1B3FEC8}"/>
                </a:ext>
              </a:extLst>
            </p:cNvPr>
            <p:cNvSpPr>
              <a:spLocks/>
            </p:cNvSpPr>
            <p:nvPr/>
          </p:nvSpPr>
          <p:spPr bwMode="auto">
            <a:xfrm>
              <a:off x="8181220" y="2704392"/>
              <a:ext cx="449079" cy="639191"/>
            </a:xfrm>
            <a:custGeom>
              <a:avLst/>
              <a:gdLst>
                <a:gd name="T0" fmla="*/ 242 w 242"/>
                <a:gd name="T1" fmla="*/ 211 h 331"/>
                <a:gd name="T2" fmla="*/ 242 w 242"/>
                <a:gd name="T3" fmla="*/ 170 h 331"/>
                <a:gd name="T4" fmla="*/ 223 w 242"/>
                <a:gd name="T5" fmla="*/ 101 h 331"/>
                <a:gd name="T6" fmla="*/ 204 w 242"/>
                <a:gd name="T7" fmla="*/ 82 h 331"/>
                <a:gd name="T8" fmla="*/ 216 w 242"/>
                <a:gd name="T9" fmla="*/ 53 h 331"/>
                <a:gd name="T10" fmla="*/ 202 w 242"/>
                <a:gd name="T11" fmla="*/ 27 h 331"/>
                <a:gd name="T12" fmla="*/ 202 w 242"/>
                <a:gd name="T13" fmla="*/ 27 h 331"/>
                <a:gd name="T14" fmla="*/ 170 w 242"/>
                <a:gd name="T15" fmla="*/ 39 h 331"/>
                <a:gd name="T16" fmla="*/ 144 w 242"/>
                <a:gd name="T17" fmla="*/ 16 h 331"/>
                <a:gd name="T18" fmla="*/ 88 w 242"/>
                <a:gd name="T19" fmla="*/ 0 h 331"/>
                <a:gd name="T20" fmla="*/ 66 w 242"/>
                <a:gd name="T21" fmla="*/ 10 h 331"/>
                <a:gd name="T22" fmla="*/ 90 w 242"/>
                <a:gd name="T23" fmla="*/ 58 h 331"/>
                <a:gd name="T24" fmla="*/ 60 w 242"/>
                <a:gd name="T25" fmla="*/ 61 h 331"/>
                <a:gd name="T26" fmla="*/ 69 w 242"/>
                <a:gd name="T27" fmla="*/ 95 h 331"/>
                <a:gd name="T28" fmla="*/ 31 w 242"/>
                <a:gd name="T29" fmla="*/ 96 h 331"/>
                <a:gd name="T30" fmla="*/ 15 w 242"/>
                <a:gd name="T31" fmla="*/ 115 h 331"/>
                <a:gd name="T32" fmla="*/ 0 w 242"/>
                <a:gd name="T33" fmla="*/ 138 h 331"/>
                <a:gd name="T34" fmla="*/ 21 w 242"/>
                <a:gd name="T35" fmla="*/ 146 h 331"/>
                <a:gd name="T36" fmla="*/ 39 w 242"/>
                <a:gd name="T37" fmla="*/ 138 h 331"/>
                <a:gd name="T38" fmla="*/ 60 w 242"/>
                <a:gd name="T39" fmla="*/ 175 h 331"/>
                <a:gd name="T40" fmla="*/ 53 w 242"/>
                <a:gd name="T41" fmla="*/ 192 h 331"/>
                <a:gd name="T42" fmla="*/ 69 w 242"/>
                <a:gd name="T43" fmla="*/ 199 h 331"/>
                <a:gd name="T44" fmla="*/ 52 w 242"/>
                <a:gd name="T45" fmla="*/ 221 h 331"/>
                <a:gd name="T46" fmla="*/ 63 w 242"/>
                <a:gd name="T47" fmla="*/ 234 h 331"/>
                <a:gd name="T48" fmla="*/ 55 w 242"/>
                <a:gd name="T49" fmla="*/ 245 h 331"/>
                <a:gd name="T50" fmla="*/ 74 w 242"/>
                <a:gd name="T51" fmla="*/ 272 h 331"/>
                <a:gd name="T52" fmla="*/ 72 w 242"/>
                <a:gd name="T53" fmla="*/ 331 h 331"/>
                <a:gd name="T54" fmla="*/ 92 w 242"/>
                <a:gd name="T55" fmla="*/ 331 h 331"/>
                <a:gd name="T56" fmla="*/ 106 w 242"/>
                <a:gd name="T57" fmla="*/ 307 h 331"/>
                <a:gd name="T58" fmla="*/ 156 w 242"/>
                <a:gd name="T59" fmla="*/ 301 h 331"/>
                <a:gd name="T60" fmla="*/ 149 w 242"/>
                <a:gd name="T61" fmla="*/ 263 h 331"/>
                <a:gd name="T62" fmla="*/ 236 w 242"/>
                <a:gd name="T63" fmla="*/ 226 h 331"/>
                <a:gd name="T64" fmla="*/ 242 w 242"/>
                <a:gd name="T65" fmla="*/ 211 h 331"/>
                <a:gd name="T66" fmla="*/ 242 w 242"/>
                <a:gd name="T67" fmla="*/ 211 h 331"/>
                <a:gd name="T68" fmla="*/ 242 w 242"/>
                <a:gd name="T69" fmla="*/ 21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2" h="331">
                  <a:moveTo>
                    <a:pt x="242" y="211"/>
                  </a:moveTo>
                  <a:lnTo>
                    <a:pt x="242" y="170"/>
                  </a:lnTo>
                  <a:lnTo>
                    <a:pt x="223" y="101"/>
                  </a:lnTo>
                  <a:lnTo>
                    <a:pt x="204" y="82"/>
                  </a:lnTo>
                  <a:lnTo>
                    <a:pt x="216" y="53"/>
                  </a:lnTo>
                  <a:lnTo>
                    <a:pt x="202" y="27"/>
                  </a:lnTo>
                  <a:lnTo>
                    <a:pt x="202" y="27"/>
                  </a:lnTo>
                  <a:lnTo>
                    <a:pt x="170" y="39"/>
                  </a:lnTo>
                  <a:lnTo>
                    <a:pt x="144" y="16"/>
                  </a:lnTo>
                  <a:lnTo>
                    <a:pt x="88" y="0"/>
                  </a:lnTo>
                  <a:lnTo>
                    <a:pt x="66" y="10"/>
                  </a:lnTo>
                  <a:lnTo>
                    <a:pt x="90" y="58"/>
                  </a:lnTo>
                  <a:lnTo>
                    <a:pt x="60" y="61"/>
                  </a:lnTo>
                  <a:lnTo>
                    <a:pt x="69" y="95"/>
                  </a:lnTo>
                  <a:lnTo>
                    <a:pt x="31" y="96"/>
                  </a:lnTo>
                  <a:lnTo>
                    <a:pt x="15" y="115"/>
                  </a:lnTo>
                  <a:lnTo>
                    <a:pt x="0" y="138"/>
                  </a:lnTo>
                  <a:lnTo>
                    <a:pt x="21" y="146"/>
                  </a:lnTo>
                  <a:lnTo>
                    <a:pt x="39" y="138"/>
                  </a:lnTo>
                  <a:lnTo>
                    <a:pt x="60" y="175"/>
                  </a:lnTo>
                  <a:lnTo>
                    <a:pt x="53" y="192"/>
                  </a:lnTo>
                  <a:lnTo>
                    <a:pt x="69" y="199"/>
                  </a:lnTo>
                  <a:lnTo>
                    <a:pt x="52" y="221"/>
                  </a:lnTo>
                  <a:lnTo>
                    <a:pt x="63" y="234"/>
                  </a:lnTo>
                  <a:lnTo>
                    <a:pt x="55" y="245"/>
                  </a:lnTo>
                  <a:lnTo>
                    <a:pt x="74" y="272"/>
                  </a:lnTo>
                  <a:lnTo>
                    <a:pt x="72" y="331"/>
                  </a:lnTo>
                  <a:lnTo>
                    <a:pt x="92" y="331"/>
                  </a:lnTo>
                  <a:lnTo>
                    <a:pt x="106" y="307"/>
                  </a:lnTo>
                  <a:lnTo>
                    <a:pt x="156" y="301"/>
                  </a:lnTo>
                  <a:lnTo>
                    <a:pt x="149" y="263"/>
                  </a:lnTo>
                  <a:lnTo>
                    <a:pt x="236" y="226"/>
                  </a:lnTo>
                  <a:lnTo>
                    <a:pt x="242" y="211"/>
                  </a:lnTo>
                  <a:lnTo>
                    <a:pt x="242" y="211"/>
                  </a:lnTo>
                  <a:lnTo>
                    <a:pt x="242" y="21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51" name="Freeform 201">
              <a:extLst>
                <a:ext uri="{FF2B5EF4-FFF2-40B4-BE49-F238E27FC236}">
                  <a16:creationId xmlns:a16="http://schemas.microsoft.com/office/drawing/2014/main" id="{40BD5E00-DC47-458A-A0F3-0D58368B68F1}"/>
                </a:ext>
              </a:extLst>
            </p:cNvPr>
            <p:cNvSpPr>
              <a:spLocks/>
            </p:cNvSpPr>
            <p:nvPr/>
          </p:nvSpPr>
          <p:spPr bwMode="auto">
            <a:xfrm>
              <a:off x="7778536" y="2445628"/>
              <a:ext cx="569697" cy="490493"/>
            </a:xfrm>
            <a:custGeom>
              <a:avLst/>
              <a:gdLst>
                <a:gd name="T0" fmla="*/ 0 w 307"/>
                <a:gd name="T1" fmla="*/ 112 h 254"/>
                <a:gd name="T2" fmla="*/ 48 w 307"/>
                <a:gd name="T3" fmla="*/ 118 h 254"/>
                <a:gd name="T4" fmla="*/ 46 w 307"/>
                <a:gd name="T5" fmla="*/ 133 h 254"/>
                <a:gd name="T6" fmla="*/ 83 w 307"/>
                <a:gd name="T7" fmla="*/ 141 h 254"/>
                <a:gd name="T8" fmla="*/ 96 w 307"/>
                <a:gd name="T9" fmla="*/ 227 h 254"/>
                <a:gd name="T10" fmla="*/ 115 w 307"/>
                <a:gd name="T11" fmla="*/ 227 h 254"/>
                <a:gd name="T12" fmla="*/ 133 w 307"/>
                <a:gd name="T13" fmla="*/ 254 h 254"/>
                <a:gd name="T14" fmla="*/ 190 w 307"/>
                <a:gd name="T15" fmla="*/ 229 h 254"/>
                <a:gd name="T16" fmla="*/ 232 w 307"/>
                <a:gd name="T17" fmla="*/ 249 h 254"/>
                <a:gd name="T18" fmla="*/ 248 w 307"/>
                <a:gd name="T19" fmla="*/ 230 h 254"/>
                <a:gd name="T20" fmla="*/ 286 w 307"/>
                <a:gd name="T21" fmla="*/ 229 h 254"/>
                <a:gd name="T22" fmla="*/ 277 w 307"/>
                <a:gd name="T23" fmla="*/ 195 h 254"/>
                <a:gd name="T24" fmla="*/ 307 w 307"/>
                <a:gd name="T25" fmla="*/ 192 h 254"/>
                <a:gd name="T26" fmla="*/ 283 w 307"/>
                <a:gd name="T27" fmla="*/ 144 h 254"/>
                <a:gd name="T28" fmla="*/ 305 w 307"/>
                <a:gd name="T29" fmla="*/ 134 h 254"/>
                <a:gd name="T30" fmla="*/ 297 w 307"/>
                <a:gd name="T31" fmla="*/ 121 h 254"/>
                <a:gd name="T32" fmla="*/ 209 w 307"/>
                <a:gd name="T33" fmla="*/ 125 h 254"/>
                <a:gd name="T34" fmla="*/ 206 w 307"/>
                <a:gd name="T35" fmla="*/ 106 h 254"/>
                <a:gd name="T36" fmla="*/ 179 w 307"/>
                <a:gd name="T37" fmla="*/ 99 h 254"/>
                <a:gd name="T38" fmla="*/ 173 w 307"/>
                <a:gd name="T39" fmla="*/ 78 h 254"/>
                <a:gd name="T40" fmla="*/ 182 w 307"/>
                <a:gd name="T41" fmla="*/ 66 h 254"/>
                <a:gd name="T42" fmla="*/ 171 w 307"/>
                <a:gd name="T43" fmla="*/ 34 h 254"/>
                <a:gd name="T44" fmla="*/ 121 w 307"/>
                <a:gd name="T45" fmla="*/ 43 h 254"/>
                <a:gd name="T46" fmla="*/ 83 w 307"/>
                <a:gd name="T47" fmla="*/ 3 h 254"/>
                <a:gd name="T48" fmla="*/ 53 w 307"/>
                <a:gd name="T49" fmla="*/ 0 h 254"/>
                <a:gd name="T50" fmla="*/ 41 w 307"/>
                <a:gd name="T51" fmla="*/ 3 h 254"/>
                <a:gd name="T52" fmla="*/ 43 w 307"/>
                <a:gd name="T53" fmla="*/ 50 h 254"/>
                <a:gd name="T54" fmla="*/ 0 w 307"/>
                <a:gd name="T55" fmla="*/ 112 h 254"/>
                <a:gd name="T56" fmla="*/ 0 w 307"/>
                <a:gd name="T57" fmla="*/ 112 h 254"/>
                <a:gd name="T58" fmla="*/ 0 w 307"/>
                <a:gd name="T59" fmla="*/ 1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7" h="254">
                  <a:moveTo>
                    <a:pt x="0" y="112"/>
                  </a:moveTo>
                  <a:lnTo>
                    <a:pt x="48" y="118"/>
                  </a:lnTo>
                  <a:lnTo>
                    <a:pt x="46" y="133"/>
                  </a:lnTo>
                  <a:lnTo>
                    <a:pt x="83" y="141"/>
                  </a:lnTo>
                  <a:lnTo>
                    <a:pt x="96" y="227"/>
                  </a:lnTo>
                  <a:lnTo>
                    <a:pt x="115" y="227"/>
                  </a:lnTo>
                  <a:lnTo>
                    <a:pt x="133" y="254"/>
                  </a:lnTo>
                  <a:lnTo>
                    <a:pt x="190" y="229"/>
                  </a:lnTo>
                  <a:lnTo>
                    <a:pt x="232" y="249"/>
                  </a:lnTo>
                  <a:lnTo>
                    <a:pt x="248" y="230"/>
                  </a:lnTo>
                  <a:lnTo>
                    <a:pt x="286" y="229"/>
                  </a:lnTo>
                  <a:lnTo>
                    <a:pt x="277" y="195"/>
                  </a:lnTo>
                  <a:lnTo>
                    <a:pt x="307" y="192"/>
                  </a:lnTo>
                  <a:lnTo>
                    <a:pt x="283" y="144"/>
                  </a:lnTo>
                  <a:lnTo>
                    <a:pt x="305" y="134"/>
                  </a:lnTo>
                  <a:lnTo>
                    <a:pt x="297" y="121"/>
                  </a:lnTo>
                  <a:lnTo>
                    <a:pt x="209" y="125"/>
                  </a:lnTo>
                  <a:lnTo>
                    <a:pt x="206" y="106"/>
                  </a:lnTo>
                  <a:lnTo>
                    <a:pt x="179" y="99"/>
                  </a:lnTo>
                  <a:lnTo>
                    <a:pt x="173" y="78"/>
                  </a:lnTo>
                  <a:lnTo>
                    <a:pt x="182" y="66"/>
                  </a:lnTo>
                  <a:lnTo>
                    <a:pt x="171" y="34"/>
                  </a:lnTo>
                  <a:lnTo>
                    <a:pt x="121" y="43"/>
                  </a:lnTo>
                  <a:lnTo>
                    <a:pt x="83" y="3"/>
                  </a:lnTo>
                  <a:lnTo>
                    <a:pt x="53" y="0"/>
                  </a:lnTo>
                  <a:lnTo>
                    <a:pt x="41" y="3"/>
                  </a:lnTo>
                  <a:lnTo>
                    <a:pt x="43" y="50"/>
                  </a:lnTo>
                  <a:lnTo>
                    <a:pt x="0" y="112"/>
                  </a:lnTo>
                  <a:lnTo>
                    <a:pt x="0" y="112"/>
                  </a:lnTo>
                  <a:lnTo>
                    <a:pt x="0" y="11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52" name="Freeform 202">
              <a:extLst>
                <a:ext uri="{FF2B5EF4-FFF2-40B4-BE49-F238E27FC236}">
                  <a16:creationId xmlns:a16="http://schemas.microsoft.com/office/drawing/2014/main" id="{FC109F5A-1051-4607-B7CB-CBE591995C61}"/>
                </a:ext>
              </a:extLst>
            </p:cNvPr>
            <p:cNvSpPr>
              <a:spLocks/>
            </p:cNvSpPr>
            <p:nvPr/>
          </p:nvSpPr>
          <p:spPr bwMode="auto">
            <a:xfrm>
              <a:off x="7416678" y="2239001"/>
              <a:ext cx="460210" cy="478908"/>
            </a:xfrm>
            <a:custGeom>
              <a:avLst/>
              <a:gdLst>
                <a:gd name="T0" fmla="*/ 40 w 248"/>
                <a:gd name="T1" fmla="*/ 88 h 248"/>
                <a:gd name="T2" fmla="*/ 59 w 248"/>
                <a:gd name="T3" fmla="*/ 77 h 248"/>
                <a:gd name="T4" fmla="*/ 61 w 248"/>
                <a:gd name="T5" fmla="*/ 33 h 248"/>
                <a:gd name="T6" fmla="*/ 78 w 248"/>
                <a:gd name="T7" fmla="*/ 29 h 248"/>
                <a:gd name="T8" fmla="*/ 94 w 248"/>
                <a:gd name="T9" fmla="*/ 27 h 248"/>
                <a:gd name="T10" fmla="*/ 136 w 248"/>
                <a:gd name="T11" fmla="*/ 0 h 248"/>
                <a:gd name="T12" fmla="*/ 156 w 248"/>
                <a:gd name="T13" fmla="*/ 11 h 248"/>
                <a:gd name="T14" fmla="*/ 158 w 248"/>
                <a:gd name="T15" fmla="*/ 43 h 248"/>
                <a:gd name="T16" fmla="*/ 193 w 248"/>
                <a:gd name="T17" fmla="*/ 70 h 248"/>
                <a:gd name="T18" fmla="*/ 209 w 248"/>
                <a:gd name="T19" fmla="*/ 65 h 248"/>
                <a:gd name="T20" fmla="*/ 224 w 248"/>
                <a:gd name="T21" fmla="*/ 86 h 248"/>
                <a:gd name="T22" fmla="*/ 236 w 248"/>
                <a:gd name="T23" fmla="*/ 81 h 248"/>
                <a:gd name="T24" fmla="*/ 248 w 248"/>
                <a:gd name="T25" fmla="*/ 107 h 248"/>
                <a:gd name="T26" fmla="*/ 236 w 248"/>
                <a:gd name="T27" fmla="*/ 110 h 248"/>
                <a:gd name="T28" fmla="*/ 238 w 248"/>
                <a:gd name="T29" fmla="*/ 157 h 248"/>
                <a:gd name="T30" fmla="*/ 195 w 248"/>
                <a:gd name="T31" fmla="*/ 219 h 248"/>
                <a:gd name="T32" fmla="*/ 145 w 248"/>
                <a:gd name="T33" fmla="*/ 248 h 248"/>
                <a:gd name="T34" fmla="*/ 128 w 248"/>
                <a:gd name="T35" fmla="*/ 241 h 248"/>
                <a:gd name="T36" fmla="*/ 110 w 248"/>
                <a:gd name="T37" fmla="*/ 244 h 248"/>
                <a:gd name="T38" fmla="*/ 46 w 248"/>
                <a:gd name="T39" fmla="*/ 227 h 248"/>
                <a:gd name="T40" fmla="*/ 43 w 248"/>
                <a:gd name="T41" fmla="*/ 214 h 248"/>
                <a:gd name="T42" fmla="*/ 16 w 248"/>
                <a:gd name="T43" fmla="*/ 206 h 248"/>
                <a:gd name="T44" fmla="*/ 13 w 248"/>
                <a:gd name="T45" fmla="*/ 192 h 248"/>
                <a:gd name="T46" fmla="*/ 0 w 248"/>
                <a:gd name="T47" fmla="*/ 177 h 248"/>
                <a:gd name="T48" fmla="*/ 14 w 248"/>
                <a:gd name="T49" fmla="*/ 166 h 248"/>
                <a:gd name="T50" fmla="*/ 8 w 248"/>
                <a:gd name="T51" fmla="*/ 152 h 248"/>
                <a:gd name="T52" fmla="*/ 32 w 248"/>
                <a:gd name="T53" fmla="*/ 147 h 248"/>
                <a:gd name="T54" fmla="*/ 22 w 248"/>
                <a:gd name="T55" fmla="*/ 120 h 248"/>
                <a:gd name="T56" fmla="*/ 45 w 248"/>
                <a:gd name="T57" fmla="*/ 112 h 248"/>
                <a:gd name="T58" fmla="*/ 40 w 248"/>
                <a:gd name="T59" fmla="*/ 88 h 248"/>
                <a:gd name="T60" fmla="*/ 40 w 248"/>
                <a:gd name="T61" fmla="*/ 88 h 248"/>
                <a:gd name="T62" fmla="*/ 40 w 248"/>
                <a:gd name="T63" fmla="*/ 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8" h="248">
                  <a:moveTo>
                    <a:pt x="40" y="88"/>
                  </a:moveTo>
                  <a:lnTo>
                    <a:pt x="59" y="77"/>
                  </a:lnTo>
                  <a:lnTo>
                    <a:pt x="61" y="33"/>
                  </a:lnTo>
                  <a:lnTo>
                    <a:pt x="78" y="29"/>
                  </a:lnTo>
                  <a:lnTo>
                    <a:pt x="94" y="27"/>
                  </a:lnTo>
                  <a:lnTo>
                    <a:pt x="136" y="0"/>
                  </a:lnTo>
                  <a:lnTo>
                    <a:pt x="156" y="11"/>
                  </a:lnTo>
                  <a:lnTo>
                    <a:pt x="158" y="43"/>
                  </a:lnTo>
                  <a:lnTo>
                    <a:pt x="193" y="70"/>
                  </a:lnTo>
                  <a:lnTo>
                    <a:pt x="209" y="65"/>
                  </a:lnTo>
                  <a:lnTo>
                    <a:pt x="224" y="86"/>
                  </a:lnTo>
                  <a:lnTo>
                    <a:pt x="236" y="81"/>
                  </a:lnTo>
                  <a:lnTo>
                    <a:pt x="248" y="107"/>
                  </a:lnTo>
                  <a:lnTo>
                    <a:pt x="236" y="110"/>
                  </a:lnTo>
                  <a:lnTo>
                    <a:pt x="238" y="157"/>
                  </a:lnTo>
                  <a:lnTo>
                    <a:pt x="195" y="219"/>
                  </a:lnTo>
                  <a:lnTo>
                    <a:pt x="145" y="248"/>
                  </a:lnTo>
                  <a:lnTo>
                    <a:pt x="128" y="241"/>
                  </a:lnTo>
                  <a:lnTo>
                    <a:pt x="110" y="244"/>
                  </a:lnTo>
                  <a:lnTo>
                    <a:pt x="46" y="227"/>
                  </a:lnTo>
                  <a:lnTo>
                    <a:pt x="43" y="214"/>
                  </a:lnTo>
                  <a:lnTo>
                    <a:pt x="16" y="206"/>
                  </a:lnTo>
                  <a:lnTo>
                    <a:pt x="13" y="192"/>
                  </a:lnTo>
                  <a:lnTo>
                    <a:pt x="0" y="177"/>
                  </a:lnTo>
                  <a:lnTo>
                    <a:pt x="14" y="166"/>
                  </a:lnTo>
                  <a:lnTo>
                    <a:pt x="8" y="152"/>
                  </a:lnTo>
                  <a:lnTo>
                    <a:pt x="32" y="147"/>
                  </a:lnTo>
                  <a:lnTo>
                    <a:pt x="22" y="120"/>
                  </a:lnTo>
                  <a:lnTo>
                    <a:pt x="45" y="112"/>
                  </a:lnTo>
                  <a:lnTo>
                    <a:pt x="40" y="88"/>
                  </a:lnTo>
                  <a:lnTo>
                    <a:pt x="40" y="88"/>
                  </a:lnTo>
                  <a:lnTo>
                    <a:pt x="40" y="8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3" name="Freeform 203">
              <a:extLst>
                <a:ext uri="{FF2B5EF4-FFF2-40B4-BE49-F238E27FC236}">
                  <a16:creationId xmlns:a16="http://schemas.microsoft.com/office/drawing/2014/main" id="{9CB0616D-0798-4FEF-8ADB-6DDDE20117D3}"/>
                </a:ext>
              </a:extLst>
            </p:cNvPr>
            <p:cNvSpPr>
              <a:spLocks/>
            </p:cNvSpPr>
            <p:nvPr/>
          </p:nvSpPr>
          <p:spPr bwMode="auto">
            <a:xfrm>
              <a:off x="8040189" y="3331993"/>
              <a:ext cx="426809" cy="411318"/>
            </a:xfrm>
            <a:custGeom>
              <a:avLst/>
              <a:gdLst>
                <a:gd name="T0" fmla="*/ 230 w 230"/>
                <a:gd name="T1" fmla="*/ 134 h 213"/>
                <a:gd name="T2" fmla="*/ 193 w 230"/>
                <a:gd name="T3" fmla="*/ 174 h 213"/>
                <a:gd name="T4" fmla="*/ 211 w 230"/>
                <a:gd name="T5" fmla="*/ 198 h 213"/>
                <a:gd name="T6" fmla="*/ 169 w 230"/>
                <a:gd name="T7" fmla="*/ 213 h 213"/>
                <a:gd name="T8" fmla="*/ 124 w 230"/>
                <a:gd name="T9" fmla="*/ 190 h 213"/>
                <a:gd name="T10" fmla="*/ 92 w 230"/>
                <a:gd name="T11" fmla="*/ 208 h 213"/>
                <a:gd name="T12" fmla="*/ 92 w 230"/>
                <a:gd name="T13" fmla="*/ 176 h 213"/>
                <a:gd name="T14" fmla="*/ 40 w 230"/>
                <a:gd name="T15" fmla="*/ 161 h 213"/>
                <a:gd name="T16" fmla="*/ 19 w 230"/>
                <a:gd name="T17" fmla="*/ 86 h 213"/>
                <a:gd name="T18" fmla="*/ 0 w 230"/>
                <a:gd name="T19" fmla="*/ 67 h 213"/>
                <a:gd name="T20" fmla="*/ 9 w 230"/>
                <a:gd name="T21" fmla="*/ 27 h 213"/>
                <a:gd name="T22" fmla="*/ 22 w 230"/>
                <a:gd name="T23" fmla="*/ 10 h 213"/>
                <a:gd name="T24" fmla="*/ 67 w 230"/>
                <a:gd name="T25" fmla="*/ 14 h 213"/>
                <a:gd name="T26" fmla="*/ 70 w 230"/>
                <a:gd name="T27" fmla="*/ 0 h 213"/>
                <a:gd name="T28" fmla="*/ 148 w 230"/>
                <a:gd name="T29" fmla="*/ 6 h 213"/>
                <a:gd name="T30" fmla="*/ 168 w 230"/>
                <a:gd name="T31" fmla="*/ 6 h 213"/>
                <a:gd name="T32" fmla="*/ 177 w 230"/>
                <a:gd name="T33" fmla="*/ 30 h 213"/>
                <a:gd name="T34" fmla="*/ 206 w 230"/>
                <a:gd name="T35" fmla="*/ 46 h 213"/>
                <a:gd name="T36" fmla="*/ 224 w 230"/>
                <a:gd name="T37" fmla="*/ 85 h 213"/>
                <a:gd name="T38" fmla="*/ 230 w 230"/>
                <a:gd name="T39" fmla="*/ 134 h 213"/>
                <a:gd name="T40" fmla="*/ 230 w 230"/>
                <a:gd name="T41" fmla="*/ 134 h 213"/>
                <a:gd name="T42" fmla="*/ 230 w 230"/>
                <a:gd name="T43" fmla="*/ 13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213">
                  <a:moveTo>
                    <a:pt x="230" y="134"/>
                  </a:moveTo>
                  <a:lnTo>
                    <a:pt x="193" y="174"/>
                  </a:lnTo>
                  <a:lnTo>
                    <a:pt x="211" y="198"/>
                  </a:lnTo>
                  <a:lnTo>
                    <a:pt x="169" y="213"/>
                  </a:lnTo>
                  <a:lnTo>
                    <a:pt x="124" y="190"/>
                  </a:lnTo>
                  <a:lnTo>
                    <a:pt x="92" y="208"/>
                  </a:lnTo>
                  <a:lnTo>
                    <a:pt x="92" y="176"/>
                  </a:lnTo>
                  <a:lnTo>
                    <a:pt x="40" y="161"/>
                  </a:lnTo>
                  <a:lnTo>
                    <a:pt x="19" y="86"/>
                  </a:lnTo>
                  <a:lnTo>
                    <a:pt x="0" y="67"/>
                  </a:lnTo>
                  <a:lnTo>
                    <a:pt x="9" y="27"/>
                  </a:lnTo>
                  <a:lnTo>
                    <a:pt x="22" y="10"/>
                  </a:lnTo>
                  <a:lnTo>
                    <a:pt x="67" y="14"/>
                  </a:lnTo>
                  <a:lnTo>
                    <a:pt x="70" y="0"/>
                  </a:lnTo>
                  <a:lnTo>
                    <a:pt x="148" y="6"/>
                  </a:lnTo>
                  <a:lnTo>
                    <a:pt x="168" y="6"/>
                  </a:lnTo>
                  <a:lnTo>
                    <a:pt x="177" y="30"/>
                  </a:lnTo>
                  <a:lnTo>
                    <a:pt x="206" y="46"/>
                  </a:lnTo>
                  <a:lnTo>
                    <a:pt x="224" y="85"/>
                  </a:lnTo>
                  <a:lnTo>
                    <a:pt x="230" y="134"/>
                  </a:lnTo>
                  <a:lnTo>
                    <a:pt x="230" y="134"/>
                  </a:lnTo>
                  <a:lnTo>
                    <a:pt x="230" y="134"/>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4" name="Freeform 204">
              <a:extLst>
                <a:ext uri="{FF2B5EF4-FFF2-40B4-BE49-F238E27FC236}">
                  <a16:creationId xmlns:a16="http://schemas.microsoft.com/office/drawing/2014/main" id="{3C18C2F0-1EBB-416F-9C24-878AC4701BBC}"/>
                </a:ext>
              </a:extLst>
            </p:cNvPr>
            <p:cNvSpPr>
              <a:spLocks/>
            </p:cNvSpPr>
            <p:nvPr/>
          </p:nvSpPr>
          <p:spPr bwMode="auto">
            <a:xfrm>
              <a:off x="8351945" y="3140818"/>
              <a:ext cx="604955" cy="448011"/>
            </a:xfrm>
            <a:custGeom>
              <a:avLst/>
              <a:gdLst>
                <a:gd name="T0" fmla="*/ 72 w 326"/>
                <a:gd name="T1" fmla="*/ 189 h 232"/>
                <a:gd name="T2" fmla="*/ 86 w 326"/>
                <a:gd name="T3" fmla="*/ 165 h 232"/>
                <a:gd name="T4" fmla="*/ 121 w 326"/>
                <a:gd name="T5" fmla="*/ 153 h 232"/>
                <a:gd name="T6" fmla="*/ 134 w 326"/>
                <a:gd name="T7" fmla="*/ 192 h 232"/>
                <a:gd name="T8" fmla="*/ 252 w 326"/>
                <a:gd name="T9" fmla="*/ 216 h 232"/>
                <a:gd name="T10" fmla="*/ 268 w 326"/>
                <a:gd name="T11" fmla="*/ 232 h 232"/>
                <a:gd name="T12" fmla="*/ 296 w 326"/>
                <a:gd name="T13" fmla="*/ 225 h 232"/>
                <a:gd name="T14" fmla="*/ 289 w 326"/>
                <a:gd name="T15" fmla="*/ 152 h 232"/>
                <a:gd name="T16" fmla="*/ 310 w 326"/>
                <a:gd name="T17" fmla="*/ 141 h 232"/>
                <a:gd name="T18" fmla="*/ 326 w 326"/>
                <a:gd name="T19" fmla="*/ 131 h 232"/>
                <a:gd name="T20" fmla="*/ 326 w 326"/>
                <a:gd name="T21" fmla="*/ 89 h 232"/>
                <a:gd name="T22" fmla="*/ 278 w 326"/>
                <a:gd name="T23" fmla="*/ 70 h 232"/>
                <a:gd name="T24" fmla="*/ 276 w 326"/>
                <a:gd name="T25" fmla="*/ 53 h 232"/>
                <a:gd name="T26" fmla="*/ 252 w 326"/>
                <a:gd name="T27" fmla="*/ 14 h 232"/>
                <a:gd name="T28" fmla="*/ 225 w 326"/>
                <a:gd name="T29" fmla="*/ 43 h 232"/>
                <a:gd name="T30" fmla="*/ 217 w 326"/>
                <a:gd name="T31" fmla="*/ 25 h 232"/>
                <a:gd name="T32" fmla="*/ 172 w 326"/>
                <a:gd name="T33" fmla="*/ 32 h 232"/>
                <a:gd name="T34" fmla="*/ 145 w 326"/>
                <a:gd name="T35" fmla="*/ 11 h 232"/>
                <a:gd name="T36" fmla="*/ 144 w 326"/>
                <a:gd name="T37" fmla="*/ 0 h 232"/>
                <a:gd name="T38" fmla="*/ 57 w 326"/>
                <a:gd name="T39" fmla="*/ 37 h 232"/>
                <a:gd name="T40" fmla="*/ 64 w 326"/>
                <a:gd name="T41" fmla="*/ 75 h 232"/>
                <a:gd name="T42" fmla="*/ 14 w 326"/>
                <a:gd name="T43" fmla="*/ 81 h 232"/>
                <a:gd name="T44" fmla="*/ 0 w 326"/>
                <a:gd name="T45" fmla="*/ 105 h 232"/>
                <a:gd name="T46" fmla="*/ 9 w 326"/>
                <a:gd name="T47" fmla="*/ 129 h 232"/>
                <a:gd name="T48" fmla="*/ 38 w 326"/>
                <a:gd name="T49" fmla="*/ 145 h 232"/>
                <a:gd name="T50" fmla="*/ 56 w 326"/>
                <a:gd name="T51" fmla="*/ 184 h 232"/>
                <a:gd name="T52" fmla="*/ 72 w 326"/>
                <a:gd name="T53" fmla="*/ 189 h 232"/>
                <a:gd name="T54" fmla="*/ 72 w 326"/>
                <a:gd name="T55" fmla="*/ 189 h 232"/>
                <a:gd name="T56" fmla="*/ 72 w 326"/>
                <a:gd name="T57" fmla="*/ 18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6" h="232">
                  <a:moveTo>
                    <a:pt x="72" y="189"/>
                  </a:moveTo>
                  <a:lnTo>
                    <a:pt x="86" y="165"/>
                  </a:lnTo>
                  <a:lnTo>
                    <a:pt x="121" y="153"/>
                  </a:lnTo>
                  <a:lnTo>
                    <a:pt x="134" y="192"/>
                  </a:lnTo>
                  <a:lnTo>
                    <a:pt x="252" y="216"/>
                  </a:lnTo>
                  <a:lnTo>
                    <a:pt x="268" y="232"/>
                  </a:lnTo>
                  <a:lnTo>
                    <a:pt x="296" y="225"/>
                  </a:lnTo>
                  <a:lnTo>
                    <a:pt x="289" y="152"/>
                  </a:lnTo>
                  <a:lnTo>
                    <a:pt x="310" y="141"/>
                  </a:lnTo>
                  <a:lnTo>
                    <a:pt x="326" y="131"/>
                  </a:lnTo>
                  <a:lnTo>
                    <a:pt x="326" y="89"/>
                  </a:lnTo>
                  <a:lnTo>
                    <a:pt x="278" y="70"/>
                  </a:lnTo>
                  <a:lnTo>
                    <a:pt x="276" y="53"/>
                  </a:lnTo>
                  <a:lnTo>
                    <a:pt x="252" y="14"/>
                  </a:lnTo>
                  <a:lnTo>
                    <a:pt x="225" y="43"/>
                  </a:lnTo>
                  <a:lnTo>
                    <a:pt x="217" y="25"/>
                  </a:lnTo>
                  <a:lnTo>
                    <a:pt x="172" y="32"/>
                  </a:lnTo>
                  <a:lnTo>
                    <a:pt x="145" y="11"/>
                  </a:lnTo>
                  <a:lnTo>
                    <a:pt x="144" y="0"/>
                  </a:lnTo>
                  <a:lnTo>
                    <a:pt x="57" y="37"/>
                  </a:lnTo>
                  <a:lnTo>
                    <a:pt x="64" y="75"/>
                  </a:lnTo>
                  <a:lnTo>
                    <a:pt x="14" y="81"/>
                  </a:lnTo>
                  <a:lnTo>
                    <a:pt x="0" y="105"/>
                  </a:lnTo>
                  <a:lnTo>
                    <a:pt x="9" y="129"/>
                  </a:lnTo>
                  <a:lnTo>
                    <a:pt x="38" y="145"/>
                  </a:lnTo>
                  <a:lnTo>
                    <a:pt x="56" y="184"/>
                  </a:lnTo>
                  <a:lnTo>
                    <a:pt x="72" y="189"/>
                  </a:lnTo>
                  <a:lnTo>
                    <a:pt x="72" y="189"/>
                  </a:lnTo>
                  <a:lnTo>
                    <a:pt x="72" y="18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5" name="Freeform 205">
              <a:extLst>
                <a:ext uri="{FF2B5EF4-FFF2-40B4-BE49-F238E27FC236}">
                  <a16:creationId xmlns:a16="http://schemas.microsoft.com/office/drawing/2014/main" id="{AE31389E-3242-4277-8809-17188608A2CA}"/>
                </a:ext>
              </a:extLst>
            </p:cNvPr>
            <p:cNvSpPr>
              <a:spLocks/>
            </p:cNvSpPr>
            <p:nvPr/>
          </p:nvSpPr>
          <p:spPr bwMode="auto">
            <a:xfrm>
              <a:off x="8398335" y="3436272"/>
              <a:ext cx="567842" cy="507873"/>
            </a:xfrm>
            <a:custGeom>
              <a:avLst/>
              <a:gdLst>
                <a:gd name="T0" fmla="*/ 61 w 306"/>
                <a:gd name="T1" fmla="*/ 12 h 263"/>
                <a:gd name="T2" fmla="*/ 47 w 306"/>
                <a:gd name="T3" fmla="*/ 36 h 263"/>
                <a:gd name="T4" fmla="*/ 31 w 306"/>
                <a:gd name="T5" fmla="*/ 31 h 263"/>
                <a:gd name="T6" fmla="*/ 37 w 306"/>
                <a:gd name="T7" fmla="*/ 80 h 263"/>
                <a:gd name="T8" fmla="*/ 0 w 306"/>
                <a:gd name="T9" fmla="*/ 120 h 263"/>
                <a:gd name="T10" fmla="*/ 18 w 306"/>
                <a:gd name="T11" fmla="*/ 144 h 263"/>
                <a:gd name="T12" fmla="*/ 19 w 306"/>
                <a:gd name="T13" fmla="*/ 215 h 263"/>
                <a:gd name="T14" fmla="*/ 99 w 306"/>
                <a:gd name="T15" fmla="*/ 243 h 263"/>
                <a:gd name="T16" fmla="*/ 104 w 306"/>
                <a:gd name="T17" fmla="*/ 259 h 263"/>
                <a:gd name="T18" fmla="*/ 130 w 306"/>
                <a:gd name="T19" fmla="*/ 263 h 263"/>
                <a:gd name="T20" fmla="*/ 135 w 306"/>
                <a:gd name="T21" fmla="*/ 250 h 263"/>
                <a:gd name="T22" fmla="*/ 176 w 306"/>
                <a:gd name="T23" fmla="*/ 231 h 263"/>
                <a:gd name="T24" fmla="*/ 221 w 306"/>
                <a:gd name="T25" fmla="*/ 231 h 263"/>
                <a:gd name="T26" fmla="*/ 232 w 306"/>
                <a:gd name="T27" fmla="*/ 245 h 263"/>
                <a:gd name="T28" fmla="*/ 287 w 306"/>
                <a:gd name="T29" fmla="*/ 240 h 263"/>
                <a:gd name="T30" fmla="*/ 306 w 306"/>
                <a:gd name="T31" fmla="*/ 203 h 263"/>
                <a:gd name="T32" fmla="*/ 250 w 306"/>
                <a:gd name="T33" fmla="*/ 127 h 263"/>
                <a:gd name="T34" fmla="*/ 258 w 306"/>
                <a:gd name="T35" fmla="*/ 96 h 263"/>
                <a:gd name="T36" fmla="*/ 243 w 306"/>
                <a:gd name="T37" fmla="*/ 79 h 263"/>
                <a:gd name="T38" fmla="*/ 227 w 306"/>
                <a:gd name="T39" fmla="*/ 63 h 263"/>
                <a:gd name="T40" fmla="*/ 109 w 306"/>
                <a:gd name="T41" fmla="*/ 39 h 263"/>
                <a:gd name="T42" fmla="*/ 96 w 306"/>
                <a:gd name="T43" fmla="*/ 0 h 263"/>
                <a:gd name="T44" fmla="*/ 61 w 306"/>
                <a:gd name="T45" fmla="*/ 12 h 263"/>
                <a:gd name="T46" fmla="*/ 61 w 306"/>
                <a:gd name="T47" fmla="*/ 12 h 263"/>
                <a:gd name="T48" fmla="*/ 61 w 306"/>
                <a:gd name="T49" fmla="*/ 1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6" h="263">
                  <a:moveTo>
                    <a:pt x="61" y="12"/>
                  </a:moveTo>
                  <a:lnTo>
                    <a:pt x="47" y="36"/>
                  </a:lnTo>
                  <a:lnTo>
                    <a:pt x="31" y="31"/>
                  </a:lnTo>
                  <a:lnTo>
                    <a:pt x="37" y="80"/>
                  </a:lnTo>
                  <a:lnTo>
                    <a:pt x="0" y="120"/>
                  </a:lnTo>
                  <a:lnTo>
                    <a:pt x="18" y="144"/>
                  </a:lnTo>
                  <a:lnTo>
                    <a:pt x="19" y="215"/>
                  </a:lnTo>
                  <a:lnTo>
                    <a:pt x="99" y="243"/>
                  </a:lnTo>
                  <a:lnTo>
                    <a:pt x="104" y="259"/>
                  </a:lnTo>
                  <a:lnTo>
                    <a:pt x="130" y="263"/>
                  </a:lnTo>
                  <a:lnTo>
                    <a:pt x="135" y="250"/>
                  </a:lnTo>
                  <a:lnTo>
                    <a:pt x="176" y="231"/>
                  </a:lnTo>
                  <a:lnTo>
                    <a:pt x="221" y="231"/>
                  </a:lnTo>
                  <a:lnTo>
                    <a:pt x="232" y="245"/>
                  </a:lnTo>
                  <a:lnTo>
                    <a:pt x="287" y="240"/>
                  </a:lnTo>
                  <a:lnTo>
                    <a:pt x="306" y="203"/>
                  </a:lnTo>
                  <a:lnTo>
                    <a:pt x="250" y="127"/>
                  </a:lnTo>
                  <a:lnTo>
                    <a:pt x="258" y="96"/>
                  </a:lnTo>
                  <a:lnTo>
                    <a:pt x="243" y="79"/>
                  </a:lnTo>
                  <a:lnTo>
                    <a:pt x="227" y="63"/>
                  </a:lnTo>
                  <a:lnTo>
                    <a:pt x="109" y="39"/>
                  </a:lnTo>
                  <a:lnTo>
                    <a:pt x="96" y="0"/>
                  </a:lnTo>
                  <a:lnTo>
                    <a:pt x="61" y="12"/>
                  </a:lnTo>
                  <a:lnTo>
                    <a:pt x="61" y="12"/>
                  </a:lnTo>
                  <a:lnTo>
                    <a:pt x="61" y="1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6" name="Freeform 206">
              <a:extLst>
                <a:ext uri="{FF2B5EF4-FFF2-40B4-BE49-F238E27FC236}">
                  <a16:creationId xmlns:a16="http://schemas.microsoft.com/office/drawing/2014/main" id="{86DB7930-6542-4E87-BCB3-B5A98E2F91CB}"/>
                </a:ext>
              </a:extLst>
            </p:cNvPr>
            <p:cNvSpPr>
              <a:spLocks/>
            </p:cNvSpPr>
            <p:nvPr/>
          </p:nvSpPr>
          <p:spPr bwMode="auto">
            <a:xfrm>
              <a:off x="8639575" y="3882351"/>
              <a:ext cx="519592" cy="351456"/>
            </a:xfrm>
            <a:custGeom>
              <a:avLst/>
              <a:gdLst>
                <a:gd name="T0" fmla="*/ 251 w 280"/>
                <a:gd name="T1" fmla="*/ 32 h 182"/>
                <a:gd name="T2" fmla="*/ 280 w 280"/>
                <a:gd name="T3" fmla="*/ 44 h 182"/>
                <a:gd name="T4" fmla="*/ 214 w 280"/>
                <a:gd name="T5" fmla="*/ 142 h 182"/>
                <a:gd name="T6" fmla="*/ 189 w 280"/>
                <a:gd name="T7" fmla="*/ 147 h 182"/>
                <a:gd name="T8" fmla="*/ 155 w 280"/>
                <a:gd name="T9" fmla="*/ 182 h 182"/>
                <a:gd name="T10" fmla="*/ 113 w 280"/>
                <a:gd name="T11" fmla="*/ 144 h 182"/>
                <a:gd name="T12" fmla="*/ 81 w 280"/>
                <a:gd name="T13" fmla="*/ 164 h 182"/>
                <a:gd name="T14" fmla="*/ 57 w 280"/>
                <a:gd name="T15" fmla="*/ 118 h 182"/>
                <a:gd name="T16" fmla="*/ 27 w 280"/>
                <a:gd name="T17" fmla="*/ 36 h 182"/>
                <a:gd name="T18" fmla="*/ 0 w 280"/>
                <a:gd name="T19" fmla="*/ 32 h 182"/>
                <a:gd name="T20" fmla="*/ 5 w 280"/>
                <a:gd name="T21" fmla="*/ 19 h 182"/>
                <a:gd name="T22" fmla="*/ 46 w 280"/>
                <a:gd name="T23" fmla="*/ 0 h 182"/>
                <a:gd name="T24" fmla="*/ 91 w 280"/>
                <a:gd name="T25" fmla="*/ 0 h 182"/>
                <a:gd name="T26" fmla="*/ 102 w 280"/>
                <a:gd name="T27" fmla="*/ 14 h 182"/>
                <a:gd name="T28" fmla="*/ 157 w 280"/>
                <a:gd name="T29" fmla="*/ 9 h 182"/>
                <a:gd name="T30" fmla="*/ 189 w 280"/>
                <a:gd name="T31" fmla="*/ 14 h 182"/>
                <a:gd name="T32" fmla="*/ 217 w 280"/>
                <a:gd name="T33" fmla="*/ 3 h 182"/>
                <a:gd name="T34" fmla="*/ 248 w 280"/>
                <a:gd name="T35" fmla="*/ 11 h 182"/>
                <a:gd name="T36" fmla="*/ 251 w 280"/>
                <a:gd name="T37" fmla="*/ 32 h 182"/>
                <a:gd name="T38" fmla="*/ 251 w 280"/>
                <a:gd name="T39" fmla="*/ 32 h 182"/>
                <a:gd name="T40" fmla="*/ 251 w 280"/>
                <a:gd name="T41" fmla="*/ 3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0" h="182">
                  <a:moveTo>
                    <a:pt x="251" y="32"/>
                  </a:moveTo>
                  <a:lnTo>
                    <a:pt x="280" y="44"/>
                  </a:lnTo>
                  <a:lnTo>
                    <a:pt x="214" y="142"/>
                  </a:lnTo>
                  <a:lnTo>
                    <a:pt x="189" y="147"/>
                  </a:lnTo>
                  <a:lnTo>
                    <a:pt x="155" y="182"/>
                  </a:lnTo>
                  <a:lnTo>
                    <a:pt x="113" y="144"/>
                  </a:lnTo>
                  <a:lnTo>
                    <a:pt x="81" y="164"/>
                  </a:lnTo>
                  <a:lnTo>
                    <a:pt x="57" y="118"/>
                  </a:lnTo>
                  <a:lnTo>
                    <a:pt x="27" y="36"/>
                  </a:lnTo>
                  <a:lnTo>
                    <a:pt x="0" y="32"/>
                  </a:lnTo>
                  <a:lnTo>
                    <a:pt x="5" y="19"/>
                  </a:lnTo>
                  <a:lnTo>
                    <a:pt x="46" y="0"/>
                  </a:lnTo>
                  <a:lnTo>
                    <a:pt x="91" y="0"/>
                  </a:lnTo>
                  <a:lnTo>
                    <a:pt x="102" y="14"/>
                  </a:lnTo>
                  <a:lnTo>
                    <a:pt x="157" y="9"/>
                  </a:lnTo>
                  <a:lnTo>
                    <a:pt x="189" y="14"/>
                  </a:lnTo>
                  <a:lnTo>
                    <a:pt x="217" y="3"/>
                  </a:lnTo>
                  <a:lnTo>
                    <a:pt x="248" y="11"/>
                  </a:lnTo>
                  <a:lnTo>
                    <a:pt x="251" y="32"/>
                  </a:lnTo>
                  <a:lnTo>
                    <a:pt x="251" y="32"/>
                  </a:lnTo>
                  <a:lnTo>
                    <a:pt x="251" y="32"/>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7" name="Freeform 207">
              <a:extLst>
                <a:ext uri="{FF2B5EF4-FFF2-40B4-BE49-F238E27FC236}">
                  <a16:creationId xmlns:a16="http://schemas.microsoft.com/office/drawing/2014/main" id="{CA9517CF-FD00-4F32-8823-D78CCE4C81EA}"/>
                </a:ext>
              </a:extLst>
            </p:cNvPr>
            <p:cNvSpPr>
              <a:spLocks/>
            </p:cNvSpPr>
            <p:nvPr/>
          </p:nvSpPr>
          <p:spPr bwMode="auto">
            <a:xfrm>
              <a:off x="6793162" y="2096101"/>
              <a:ext cx="432378" cy="556151"/>
            </a:xfrm>
            <a:custGeom>
              <a:avLst/>
              <a:gdLst>
                <a:gd name="T0" fmla="*/ 104 w 233"/>
                <a:gd name="T1" fmla="*/ 27 h 288"/>
                <a:gd name="T2" fmla="*/ 89 w 233"/>
                <a:gd name="T3" fmla="*/ 24 h 288"/>
                <a:gd name="T4" fmla="*/ 86 w 233"/>
                <a:gd name="T5" fmla="*/ 15 h 288"/>
                <a:gd name="T6" fmla="*/ 93 w 233"/>
                <a:gd name="T7" fmla="*/ 0 h 288"/>
                <a:gd name="T8" fmla="*/ 67 w 233"/>
                <a:gd name="T9" fmla="*/ 2 h 288"/>
                <a:gd name="T10" fmla="*/ 54 w 233"/>
                <a:gd name="T11" fmla="*/ 15 h 288"/>
                <a:gd name="T12" fmla="*/ 33 w 233"/>
                <a:gd name="T13" fmla="*/ 18 h 288"/>
                <a:gd name="T14" fmla="*/ 49 w 233"/>
                <a:gd name="T15" fmla="*/ 37 h 288"/>
                <a:gd name="T16" fmla="*/ 77 w 233"/>
                <a:gd name="T17" fmla="*/ 42 h 288"/>
                <a:gd name="T18" fmla="*/ 64 w 233"/>
                <a:gd name="T19" fmla="*/ 107 h 288"/>
                <a:gd name="T20" fmla="*/ 25 w 233"/>
                <a:gd name="T21" fmla="*/ 120 h 288"/>
                <a:gd name="T22" fmla="*/ 3 w 233"/>
                <a:gd name="T23" fmla="*/ 152 h 288"/>
                <a:gd name="T24" fmla="*/ 9 w 233"/>
                <a:gd name="T25" fmla="*/ 170 h 288"/>
                <a:gd name="T26" fmla="*/ 0 w 233"/>
                <a:gd name="T27" fmla="*/ 189 h 288"/>
                <a:gd name="T28" fmla="*/ 27 w 233"/>
                <a:gd name="T29" fmla="*/ 197 h 288"/>
                <a:gd name="T30" fmla="*/ 40 w 233"/>
                <a:gd name="T31" fmla="*/ 240 h 288"/>
                <a:gd name="T32" fmla="*/ 24 w 233"/>
                <a:gd name="T33" fmla="*/ 267 h 288"/>
                <a:gd name="T34" fmla="*/ 27 w 233"/>
                <a:gd name="T35" fmla="*/ 288 h 288"/>
                <a:gd name="T36" fmla="*/ 72 w 233"/>
                <a:gd name="T37" fmla="*/ 274 h 288"/>
                <a:gd name="T38" fmla="*/ 112 w 233"/>
                <a:gd name="T39" fmla="*/ 275 h 288"/>
                <a:gd name="T40" fmla="*/ 118 w 233"/>
                <a:gd name="T41" fmla="*/ 261 h 288"/>
                <a:gd name="T42" fmla="*/ 157 w 233"/>
                <a:gd name="T43" fmla="*/ 245 h 288"/>
                <a:gd name="T44" fmla="*/ 187 w 233"/>
                <a:gd name="T45" fmla="*/ 261 h 288"/>
                <a:gd name="T46" fmla="*/ 189 w 233"/>
                <a:gd name="T47" fmla="*/ 255 h 288"/>
                <a:gd name="T48" fmla="*/ 211 w 233"/>
                <a:gd name="T49" fmla="*/ 203 h 288"/>
                <a:gd name="T50" fmla="*/ 233 w 233"/>
                <a:gd name="T51" fmla="*/ 202 h 288"/>
                <a:gd name="T52" fmla="*/ 221 w 233"/>
                <a:gd name="T53" fmla="*/ 125 h 288"/>
                <a:gd name="T54" fmla="*/ 230 w 233"/>
                <a:gd name="T55" fmla="*/ 112 h 288"/>
                <a:gd name="T56" fmla="*/ 227 w 233"/>
                <a:gd name="T57" fmla="*/ 59 h 288"/>
                <a:gd name="T58" fmla="*/ 197 w 233"/>
                <a:gd name="T59" fmla="*/ 50 h 288"/>
                <a:gd name="T60" fmla="*/ 171 w 233"/>
                <a:gd name="T61" fmla="*/ 72 h 288"/>
                <a:gd name="T62" fmla="*/ 153 w 233"/>
                <a:gd name="T63" fmla="*/ 61 h 288"/>
                <a:gd name="T64" fmla="*/ 141 w 233"/>
                <a:gd name="T65" fmla="*/ 24 h 288"/>
                <a:gd name="T66" fmla="*/ 104 w 233"/>
                <a:gd name="T67" fmla="*/ 27 h 288"/>
                <a:gd name="T68" fmla="*/ 104 w 233"/>
                <a:gd name="T69" fmla="*/ 27 h 288"/>
                <a:gd name="T70" fmla="*/ 104 w 233"/>
                <a:gd name="T71" fmla="*/ 2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3" h="288">
                  <a:moveTo>
                    <a:pt x="104" y="27"/>
                  </a:moveTo>
                  <a:lnTo>
                    <a:pt x="89" y="24"/>
                  </a:lnTo>
                  <a:lnTo>
                    <a:pt x="86" y="15"/>
                  </a:lnTo>
                  <a:lnTo>
                    <a:pt x="93" y="0"/>
                  </a:lnTo>
                  <a:lnTo>
                    <a:pt x="67" y="2"/>
                  </a:lnTo>
                  <a:lnTo>
                    <a:pt x="54" y="15"/>
                  </a:lnTo>
                  <a:lnTo>
                    <a:pt x="33" y="18"/>
                  </a:lnTo>
                  <a:lnTo>
                    <a:pt x="49" y="37"/>
                  </a:lnTo>
                  <a:lnTo>
                    <a:pt x="77" y="42"/>
                  </a:lnTo>
                  <a:lnTo>
                    <a:pt x="64" y="107"/>
                  </a:lnTo>
                  <a:lnTo>
                    <a:pt x="25" y="120"/>
                  </a:lnTo>
                  <a:lnTo>
                    <a:pt x="3" y="152"/>
                  </a:lnTo>
                  <a:lnTo>
                    <a:pt x="9" y="170"/>
                  </a:lnTo>
                  <a:lnTo>
                    <a:pt x="0" y="189"/>
                  </a:lnTo>
                  <a:lnTo>
                    <a:pt x="27" y="197"/>
                  </a:lnTo>
                  <a:lnTo>
                    <a:pt x="40" y="240"/>
                  </a:lnTo>
                  <a:lnTo>
                    <a:pt x="24" y="267"/>
                  </a:lnTo>
                  <a:lnTo>
                    <a:pt x="27" y="288"/>
                  </a:lnTo>
                  <a:lnTo>
                    <a:pt x="72" y="274"/>
                  </a:lnTo>
                  <a:lnTo>
                    <a:pt x="112" y="275"/>
                  </a:lnTo>
                  <a:lnTo>
                    <a:pt x="118" y="261"/>
                  </a:lnTo>
                  <a:lnTo>
                    <a:pt x="157" y="245"/>
                  </a:lnTo>
                  <a:lnTo>
                    <a:pt x="187" y="261"/>
                  </a:lnTo>
                  <a:lnTo>
                    <a:pt x="189" y="255"/>
                  </a:lnTo>
                  <a:lnTo>
                    <a:pt x="211" y="203"/>
                  </a:lnTo>
                  <a:lnTo>
                    <a:pt x="233" y="202"/>
                  </a:lnTo>
                  <a:lnTo>
                    <a:pt x="221" y="125"/>
                  </a:lnTo>
                  <a:lnTo>
                    <a:pt x="230" y="112"/>
                  </a:lnTo>
                  <a:lnTo>
                    <a:pt x="227" y="59"/>
                  </a:lnTo>
                  <a:lnTo>
                    <a:pt x="197" y="50"/>
                  </a:lnTo>
                  <a:lnTo>
                    <a:pt x="171" y="72"/>
                  </a:lnTo>
                  <a:lnTo>
                    <a:pt x="153" y="61"/>
                  </a:lnTo>
                  <a:lnTo>
                    <a:pt x="141" y="24"/>
                  </a:lnTo>
                  <a:lnTo>
                    <a:pt x="104" y="27"/>
                  </a:lnTo>
                  <a:lnTo>
                    <a:pt x="104" y="27"/>
                  </a:lnTo>
                  <a:lnTo>
                    <a:pt x="104" y="2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58" name="Freeform 208">
              <a:extLst>
                <a:ext uri="{FF2B5EF4-FFF2-40B4-BE49-F238E27FC236}">
                  <a16:creationId xmlns:a16="http://schemas.microsoft.com/office/drawing/2014/main" id="{BB41DEC0-6EB9-4D6D-A4E1-8F6A9A17D02E}"/>
                </a:ext>
              </a:extLst>
            </p:cNvPr>
            <p:cNvSpPr>
              <a:spLocks/>
            </p:cNvSpPr>
            <p:nvPr/>
          </p:nvSpPr>
          <p:spPr bwMode="auto">
            <a:xfrm>
              <a:off x="6679966" y="2569216"/>
              <a:ext cx="564130" cy="509805"/>
            </a:xfrm>
            <a:custGeom>
              <a:avLst/>
              <a:gdLst>
                <a:gd name="T0" fmla="*/ 261 w 304"/>
                <a:gd name="T1" fmla="*/ 128 h 264"/>
                <a:gd name="T2" fmla="*/ 290 w 304"/>
                <a:gd name="T3" fmla="*/ 128 h 264"/>
                <a:gd name="T4" fmla="*/ 304 w 304"/>
                <a:gd name="T5" fmla="*/ 123 h 264"/>
                <a:gd name="T6" fmla="*/ 298 w 304"/>
                <a:gd name="T7" fmla="*/ 96 h 264"/>
                <a:gd name="T8" fmla="*/ 262 w 304"/>
                <a:gd name="T9" fmla="*/ 89 h 264"/>
                <a:gd name="T10" fmla="*/ 259 w 304"/>
                <a:gd name="T11" fmla="*/ 73 h 264"/>
                <a:gd name="T12" fmla="*/ 294 w 304"/>
                <a:gd name="T13" fmla="*/ 70 h 264"/>
                <a:gd name="T14" fmla="*/ 264 w 304"/>
                <a:gd name="T15" fmla="*/ 57 h 264"/>
                <a:gd name="T16" fmla="*/ 248 w 304"/>
                <a:gd name="T17" fmla="*/ 16 h 264"/>
                <a:gd name="T18" fmla="*/ 218 w 304"/>
                <a:gd name="T19" fmla="*/ 0 h 264"/>
                <a:gd name="T20" fmla="*/ 179 w 304"/>
                <a:gd name="T21" fmla="*/ 16 h 264"/>
                <a:gd name="T22" fmla="*/ 173 w 304"/>
                <a:gd name="T23" fmla="*/ 30 h 264"/>
                <a:gd name="T24" fmla="*/ 133 w 304"/>
                <a:gd name="T25" fmla="*/ 29 h 264"/>
                <a:gd name="T26" fmla="*/ 88 w 304"/>
                <a:gd name="T27" fmla="*/ 43 h 264"/>
                <a:gd name="T28" fmla="*/ 86 w 304"/>
                <a:gd name="T29" fmla="*/ 73 h 264"/>
                <a:gd name="T30" fmla="*/ 18 w 304"/>
                <a:gd name="T31" fmla="*/ 91 h 264"/>
                <a:gd name="T32" fmla="*/ 22 w 304"/>
                <a:gd name="T33" fmla="*/ 99 h 264"/>
                <a:gd name="T34" fmla="*/ 0 w 304"/>
                <a:gd name="T35" fmla="*/ 110 h 264"/>
                <a:gd name="T36" fmla="*/ 10 w 304"/>
                <a:gd name="T37" fmla="*/ 129 h 264"/>
                <a:gd name="T38" fmla="*/ 0 w 304"/>
                <a:gd name="T39" fmla="*/ 136 h 264"/>
                <a:gd name="T40" fmla="*/ 21 w 304"/>
                <a:gd name="T41" fmla="*/ 145 h 264"/>
                <a:gd name="T42" fmla="*/ 29 w 304"/>
                <a:gd name="T43" fmla="*/ 139 h 264"/>
                <a:gd name="T44" fmla="*/ 48 w 304"/>
                <a:gd name="T45" fmla="*/ 153 h 264"/>
                <a:gd name="T46" fmla="*/ 75 w 304"/>
                <a:gd name="T47" fmla="*/ 136 h 264"/>
                <a:gd name="T48" fmla="*/ 104 w 304"/>
                <a:gd name="T49" fmla="*/ 134 h 264"/>
                <a:gd name="T50" fmla="*/ 128 w 304"/>
                <a:gd name="T51" fmla="*/ 149 h 264"/>
                <a:gd name="T52" fmla="*/ 98 w 304"/>
                <a:gd name="T53" fmla="*/ 141 h 264"/>
                <a:gd name="T54" fmla="*/ 70 w 304"/>
                <a:gd name="T55" fmla="*/ 145 h 264"/>
                <a:gd name="T56" fmla="*/ 70 w 304"/>
                <a:gd name="T57" fmla="*/ 173 h 264"/>
                <a:gd name="T58" fmla="*/ 53 w 304"/>
                <a:gd name="T59" fmla="*/ 182 h 264"/>
                <a:gd name="T60" fmla="*/ 88 w 304"/>
                <a:gd name="T61" fmla="*/ 195 h 264"/>
                <a:gd name="T62" fmla="*/ 101 w 304"/>
                <a:gd name="T63" fmla="*/ 211 h 264"/>
                <a:gd name="T64" fmla="*/ 149 w 304"/>
                <a:gd name="T65" fmla="*/ 254 h 264"/>
                <a:gd name="T66" fmla="*/ 187 w 304"/>
                <a:gd name="T67" fmla="*/ 264 h 264"/>
                <a:gd name="T68" fmla="*/ 181 w 304"/>
                <a:gd name="T69" fmla="*/ 221 h 264"/>
                <a:gd name="T70" fmla="*/ 197 w 304"/>
                <a:gd name="T71" fmla="*/ 213 h 264"/>
                <a:gd name="T72" fmla="*/ 198 w 304"/>
                <a:gd name="T73" fmla="*/ 246 h 264"/>
                <a:gd name="T74" fmla="*/ 218 w 304"/>
                <a:gd name="T75" fmla="*/ 240 h 264"/>
                <a:gd name="T76" fmla="*/ 218 w 304"/>
                <a:gd name="T77" fmla="*/ 221 h 264"/>
                <a:gd name="T78" fmla="*/ 242 w 304"/>
                <a:gd name="T79" fmla="*/ 206 h 264"/>
                <a:gd name="T80" fmla="*/ 258 w 304"/>
                <a:gd name="T81" fmla="*/ 177 h 264"/>
                <a:gd name="T82" fmla="*/ 227 w 304"/>
                <a:gd name="T83" fmla="*/ 139 h 264"/>
                <a:gd name="T84" fmla="*/ 261 w 304"/>
                <a:gd name="T85" fmla="*/ 128 h 264"/>
                <a:gd name="T86" fmla="*/ 261 w 304"/>
                <a:gd name="T87" fmla="*/ 128 h 264"/>
                <a:gd name="T88" fmla="*/ 261 w 304"/>
                <a:gd name="T89" fmla="*/ 12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4" h="264">
                  <a:moveTo>
                    <a:pt x="261" y="128"/>
                  </a:moveTo>
                  <a:lnTo>
                    <a:pt x="290" y="128"/>
                  </a:lnTo>
                  <a:lnTo>
                    <a:pt x="304" y="123"/>
                  </a:lnTo>
                  <a:lnTo>
                    <a:pt x="298" y="96"/>
                  </a:lnTo>
                  <a:lnTo>
                    <a:pt x="262" y="89"/>
                  </a:lnTo>
                  <a:lnTo>
                    <a:pt x="259" y="73"/>
                  </a:lnTo>
                  <a:lnTo>
                    <a:pt x="294" y="70"/>
                  </a:lnTo>
                  <a:lnTo>
                    <a:pt x="264" y="57"/>
                  </a:lnTo>
                  <a:lnTo>
                    <a:pt x="248" y="16"/>
                  </a:lnTo>
                  <a:lnTo>
                    <a:pt x="218" y="0"/>
                  </a:lnTo>
                  <a:lnTo>
                    <a:pt x="179" y="16"/>
                  </a:lnTo>
                  <a:lnTo>
                    <a:pt x="173" y="30"/>
                  </a:lnTo>
                  <a:lnTo>
                    <a:pt x="133" y="29"/>
                  </a:lnTo>
                  <a:lnTo>
                    <a:pt x="88" y="43"/>
                  </a:lnTo>
                  <a:lnTo>
                    <a:pt x="86" y="73"/>
                  </a:lnTo>
                  <a:lnTo>
                    <a:pt x="18" y="91"/>
                  </a:lnTo>
                  <a:lnTo>
                    <a:pt x="22" y="99"/>
                  </a:lnTo>
                  <a:lnTo>
                    <a:pt x="0" y="110"/>
                  </a:lnTo>
                  <a:lnTo>
                    <a:pt x="10" y="129"/>
                  </a:lnTo>
                  <a:lnTo>
                    <a:pt x="0" y="136"/>
                  </a:lnTo>
                  <a:lnTo>
                    <a:pt x="21" y="145"/>
                  </a:lnTo>
                  <a:lnTo>
                    <a:pt x="29" y="139"/>
                  </a:lnTo>
                  <a:lnTo>
                    <a:pt x="48" y="153"/>
                  </a:lnTo>
                  <a:lnTo>
                    <a:pt x="75" y="136"/>
                  </a:lnTo>
                  <a:lnTo>
                    <a:pt x="104" y="134"/>
                  </a:lnTo>
                  <a:lnTo>
                    <a:pt x="128" y="149"/>
                  </a:lnTo>
                  <a:lnTo>
                    <a:pt x="98" y="141"/>
                  </a:lnTo>
                  <a:lnTo>
                    <a:pt x="70" y="145"/>
                  </a:lnTo>
                  <a:lnTo>
                    <a:pt x="70" y="173"/>
                  </a:lnTo>
                  <a:lnTo>
                    <a:pt x="53" y="182"/>
                  </a:lnTo>
                  <a:lnTo>
                    <a:pt x="88" y="195"/>
                  </a:lnTo>
                  <a:lnTo>
                    <a:pt x="101" y="211"/>
                  </a:lnTo>
                  <a:lnTo>
                    <a:pt x="149" y="254"/>
                  </a:lnTo>
                  <a:lnTo>
                    <a:pt x="187" y="264"/>
                  </a:lnTo>
                  <a:lnTo>
                    <a:pt x="181" y="221"/>
                  </a:lnTo>
                  <a:lnTo>
                    <a:pt x="197" y="213"/>
                  </a:lnTo>
                  <a:lnTo>
                    <a:pt x="198" y="246"/>
                  </a:lnTo>
                  <a:lnTo>
                    <a:pt x="218" y="240"/>
                  </a:lnTo>
                  <a:lnTo>
                    <a:pt x="218" y="221"/>
                  </a:lnTo>
                  <a:lnTo>
                    <a:pt x="242" y="206"/>
                  </a:lnTo>
                  <a:lnTo>
                    <a:pt x="258" y="177"/>
                  </a:lnTo>
                  <a:lnTo>
                    <a:pt x="227" y="139"/>
                  </a:lnTo>
                  <a:lnTo>
                    <a:pt x="261" y="128"/>
                  </a:lnTo>
                  <a:lnTo>
                    <a:pt x="261" y="128"/>
                  </a:lnTo>
                  <a:lnTo>
                    <a:pt x="261" y="12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9" name="Freeform 209">
              <a:extLst>
                <a:ext uri="{FF2B5EF4-FFF2-40B4-BE49-F238E27FC236}">
                  <a16:creationId xmlns:a16="http://schemas.microsoft.com/office/drawing/2014/main" id="{BB9300E7-0179-471B-A02A-624EBE0AB666}"/>
                </a:ext>
              </a:extLst>
            </p:cNvPr>
            <p:cNvSpPr>
              <a:spLocks/>
            </p:cNvSpPr>
            <p:nvPr/>
          </p:nvSpPr>
          <p:spPr bwMode="auto">
            <a:xfrm>
              <a:off x="7143889" y="2202311"/>
              <a:ext cx="417530" cy="424838"/>
            </a:xfrm>
            <a:custGeom>
              <a:avLst/>
              <a:gdLst>
                <a:gd name="T0" fmla="*/ 161 w 225"/>
                <a:gd name="T1" fmla="*/ 185 h 220"/>
                <a:gd name="T2" fmla="*/ 147 w 225"/>
                <a:gd name="T3" fmla="*/ 196 h 220"/>
                <a:gd name="T4" fmla="*/ 160 w 225"/>
                <a:gd name="T5" fmla="*/ 211 h 220"/>
                <a:gd name="T6" fmla="*/ 108 w 225"/>
                <a:gd name="T7" fmla="*/ 220 h 220"/>
                <a:gd name="T8" fmla="*/ 0 w 225"/>
                <a:gd name="T9" fmla="*/ 200 h 220"/>
                <a:gd name="T10" fmla="*/ 22 w 225"/>
                <a:gd name="T11" fmla="*/ 148 h 220"/>
                <a:gd name="T12" fmla="*/ 44 w 225"/>
                <a:gd name="T13" fmla="*/ 147 h 220"/>
                <a:gd name="T14" fmla="*/ 32 w 225"/>
                <a:gd name="T15" fmla="*/ 70 h 220"/>
                <a:gd name="T16" fmla="*/ 41 w 225"/>
                <a:gd name="T17" fmla="*/ 57 h 220"/>
                <a:gd name="T18" fmla="*/ 38 w 225"/>
                <a:gd name="T19" fmla="*/ 4 h 220"/>
                <a:gd name="T20" fmla="*/ 78 w 225"/>
                <a:gd name="T21" fmla="*/ 11 h 220"/>
                <a:gd name="T22" fmla="*/ 94 w 225"/>
                <a:gd name="T23" fmla="*/ 25 h 220"/>
                <a:gd name="T24" fmla="*/ 204 w 225"/>
                <a:gd name="T25" fmla="*/ 0 h 220"/>
                <a:gd name="T26" fmla="*/ 211 w 225"/>
                <a:gd name="T27" fmla="*/ 27 h 220"/>
                <a:gd name="T28" fmla="*/ 225 w 225"/>
                <a:gd name="T29" fmla="*/ 27 h 220"/>
                <a:gd name="T30" fmla="*/ 225 w 225"/>
                <a:gd name="T31" fmla="*/ 48 h 220"/>
                <a:gd name="T32" fmla="*/ 208 w 225"/>
                <a:gd name="T33" fmla="*/ 52 h 220"/>
                <a:gd name="T34" fmla="*/ 206 w 225"/>
                <a:gd name="T35" fmla="*/ 96 h 220"/>
                <a:gd name="T36" fmla="*/ 187 w 225"/>
                <a:gd name="T37" fmla="*/ 107 h 220"/>
                <a:gd name="T38" fmla="*/ 192 w 225"/>
                <a:gd name="T39" fmla="*/ 131 h 220"/>
                <a:gd name="T40" fmla="*/ 169 w 225"/>
                <a:gd name="T41" fmla="*/ 139 h 220"/>
                <a:gd name="T42" fmla="*/ 179 w 225"/>
                <a:gd name="T43" fmla="*/ 166 h 220"/>
                <a:gd name="T44" fmla="*/ 155 w 225"/>
                <a:gd name="T45" fmla="*/ 171 h 220"/>
                <a:gd name="T46" fmla="*/ 161 w 225"/>
                <a:gd name="T47" fmla="*/ 185 h 220"/>
                <a:gd name="T48" fmla="*/ 161 w 225"/>
                <a:gd name="T49" fmla="*/ 185 h 220"/>
                <a:gd name="T50" fmla="*/ 161 w 225"/>
                <a:gd name="T51" fmla="*/ 1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5" h="220">
                  <a:moveTo>
                    <a:pt x="161" y="185"/>
                  </a:moveTo>
                  <a:lnTo>
                    <a:pt x="147" y="196"/>
                  </a:lnTo>
                  <a:lnTo>
                    <a:pt x="160" y="211"/>
                  </a:lnTo>
                  <a:lnTo>
                    <a:pt x="108" y="220"/>
                  </a:lnTo>
                  <a:lnTo>
                    <a:pt x="0" y="200"/>
                  </a:lnTo>
                  <a:lnTo>
                    <a:pt x="22" y="148"/>
                  </a:lnTo>
                  <a:lnTo>
                    <a:pt x="44" y="147"/>
                  </a:lnTo>
                  <a:lnTo>
                    <a:pt x="32" y="70"/>
                  </a:lnTo>
                  <a:lnTo>
                    <a:pt x="41" y="57"/>
                  </a:lnTo>
                  <a:lnTo>
                    <a:pt x="38" y="4"/>
                  </a:lnTo>
                  <a:lnTo>
                    <a:pt x="78" y="11"/>
                  </a:lnTo>
                  <a:lnTo>
                    <a:pt x="94" y="25"/>
                  </a:lnTo>
                  <a:lnTo>
                    <a:pt x="204" y="0"/>
                  </a:lnTo>
                  <a:lnTo>
                    <a:pt x="211" y="27"/>
                  </a:lnTo>
                  <a:lnTo>
                    <a:pt x="225" y="27"/>
                  </a:lnTo>
                  <a:lnTo>
                    <a:pt x="225" y="48"/>
                  </a:lnTo>
                  <a:lnTo>
                    <a:pt x="208" y="52"/>
                  </a:lnTo>
                  <a:lnTo>
                    <a:pt x="206" y="96"/>
                  </a:lnTo>
                  <a:lnTo>
                    <a:pt x="187" y="107"/>
                  </a:lnTo>
                  <a:lnTo>
                    <a:pt x="192" y="131"/>
                  </a:lnTo>
                  <a:lnTo>
                    <a:pt x="169" y="139"/>
                  </a:lnTo>
                  <a:lnTo>
                    <a:pt x="179" y="166"/>
                  </a:lnTo>
                  <a:lnTo>
                    <a:pt x="155" y="171"/>
                  </a:lnTo>
                  <a:lnTo>
                    <a:pt x="161" y="185"/>
                  </a:lnTo>
                  <a:lnTo>
                    <a:pt x="161" y="185"/>
                  </a:lnTo>
                  <a:lnTo>
                    <a:pt x="161" y="18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0" name="Freeform 210">
              <a:extLst>
                <a:ext uri="{FF2B5EF4-FFF2-40B4-BE49-F238E27FC236}">
                  <a16:creationId xmlns:a16="http://schemas.microsoft.com/office/drawing/2014/main" id="{A4B9FD2A-6921-430C-B636-24DB87FC5373}"/>
                </a:ext>
              </a:extLst>
            </p:cNvPr>
            <p:cNvSpPr>
              <a:spLocks/>
            </p:cNvSpPr>
            <p:nvPr/>
          </p:nvSpPr>
          <p:spPr bwMode="auto">
            <a:xfrm>
              <a:off x="5958103" y="2028514"/>
              <a:ext cx="454646" cy="525256"/>
            </a:xfrm>
            <a:custGeom>
              <a:avLst/>
              <a:gdLst>
                <a:gd name="T0" fmla="*/ 80 w 245"/>
                <a:gd name="T1" fmla="*/ 141 h 272"/>
                <a:gd name="T2" fmla="*/ 87 w 245"/>
                <a:gd name="T3" fmla="*/ 157 h 272"/>
                <a:gd name="T4" fmla="*/ 82 w 245"/>
                <a:gd name="T5" fmla="*/ 171 h 272"/>
                <a:gd name="T6" fmla="*/ 69 w 245"/>
                <a:gd name="T7" fmla="*/ 165 h 272"/>
                <a:gd name="T8" fmla="*/ 5 w 245"/>
                <a:gd name="T9" fmla="*/ 173 h 272"/>
                <a:gd name="T10" fmla="*/ 2 w 245"/>
                <a:gd name="T11" fmla="*/ 181 h 272"/>
                <a:gd name="T12" fmla="*/ 35 w 245"/>
                <a:gd name="T13" fmla="*/ 192 h 272"/>
                <a:gd name="T14" fmla="*/ 50 w 245"/>
                <a:gd name="T15" fmla="*/ 200 h 272"/>
                <a:gd name="T16" fmla="*/ 61 w 245"/>
                <a:gd name="T17" fmla="*/ 214 h 272"/>
                <a:gd name="T18" fmla="*/ 66 w 245"/>
                <a:gd name="T19" fmla="*/ 235 h 272"/>
                <a:gd name="T20" fmla="*/ 59 w 245"/>
                <a:gd name="T21" fmla="*/ 251 h 272"/>
                <a:gd name="T22" fmla="*/ 96 w 245"/>
                <a:gd name="T23" fmla="*/ 254 h 272"/>
                <a:gd name="T24" fmla="*/ 104 w 245"/>
                <a:gd name="T25" fmla="*/ 238 h 272"/>
                <a:gd name="T26" fmla="*/ 131 w 245"/>
                <a:gd name="T27" fmla="*/ 242 h 272"/>
                <a:gd name="T28" fmla="*/ 138 w 245"/>
                <a:gd name="T29" fmla="*/ 227 h 272"/>
                <a:gd name="T30" fmla="*/ 157 w 245"/>
                <a:gd name="T31" fmla="*/ 259 h 272"/>
                <a:gd name="T32" fmla="*/ 215 w 245"/>
                <a:gd name="T33" fmla="*/ 272 h 272"/>
                <a:gd name="T34" fmla="*/ 218 w 245"/>
                <a:gd name="T35" fmla="*/ 259 h 272"/>
                <a:gd name="T36" fmla="*/ 240 w 245"/>
                <a:gd name="T37" fmla="*/ 245 h 272"/>
                <a:gd name="T38" fmla="*/ 245 w 245"/>
                <a:gd name="T39" fmla="*/ 221 h 272"/>
                <a:gd name="T40" fmla="*/ 200 w 245"/>
                <a:gd name="T41" fmla="*/ 208 h 272"/>
                <a:gd name="T42" fmla="*/ 186 w 245"/>
                <a:gd name="T43" fmla="*/ 170 h 272"/>
                <a:gd name="T44" fmla="*/ 226 w 245"/>
                <a:gd name="T45" fmla="*/ 154 h 272"/>
                <a:gd name="T46" fmla="*/ 216 w 245"/>
                <a:gd name="T47" fmla="*/ 72 h 272"/>
                <a:gd name="T48" fmla="*/ 229 w 245"/>
                <a:gd name="T49" fmla="*/ 61 h 272"/>
                <a:gd name="T50" fmla="*/ 211 w 245"/>
                <a:gd name="T51" fmla="*/ 40 h 272"/>
                <a:gd name="T52" fmla="*/ 211 w 245"/>
                <a:gd name="T53" fmla="*/ 18 h 272"/>
                <a:gd name="T54" fmla="*/ 179 w 245"/>
                <a:gd name="T55" fmla="*/ 6 h 272"/>
                <a:gd name="T56" fmla="*/ 173 w 245"/>
                <a:gd name="T57" fmla="*/ 29 h 272"/>
                <a:gd name="T58" fmla="*/ 157 w 245"/>
                <a:gd name="T59" fmla="*/ 16 h 272"/>
                <a:gd name="T60" fmla="*/ 154 w 245"/>
                <a:gd name="T61" fmla="*/ 0 h 272"/>
                <a:gd name="T62" fmla="*/ 96 w 245"/>
                <a:gd name="T63" fmla="*/ 19 h 272"/>
                <a:gd name="T64" fmla="*/ 91 w 245"/>
                <a:gd name="T65" fmla="*/ 10 h 272"/>
                <a:gd name="T66" fmla="*/ 43 w 245"/>
                <a:gd name="T67" fmla="*/ 24 h 272"/>
                <a:gd name="T68" fmla="*/ 5 w 245"/>
                <a:gd name="T69" fmla="*/ 43 h 272"/>
                <a:gd name="T70" fmla="*/ 0 w 245"/>
                <a:gd name="T71" fmla="*/ 101 h 272"/>
                <a:gd name="T72" fmla="*/ 74 w 245"/>
                <a:gd name="T73" fmla="*/ 85 h 272"/>
                <a:gd name="T74" fmla="*/ 59 w 245"/>
                <a:gd name="T75" fmla="*/ 102 h 272"/>
                <a:gd name="T76" fmla="*/ 91 w 245"/>
                <a:gd name="T77" fmla="*/ 112 h 272"/>
                <a:gd name="T78" fmla="*/ 71 w 245"/>
                <a:gd name="T79" fmla="*/ 118 h 272"/>
                <a:gd name="T80" fmla="*/ 32 w 245"/>
                <a:gd name="T81" fmla="*/ 106 h 272"/>
                <a:gd name="T82" fmla="*/ 37 w 245"/>
                <a:gd name="T83" fmla="*/ 146 h 272"/>
                <a:gd name="T84" fmla="*/ 51 w 245"/>
                <a:gd name="T85" fmla="*/ 128 h 272"/>
                <a:gd name="T86" fmla="*/ 80 w 245"/>
                <a:gd name="T87" fmla="*/ 141 h 272"/>
                <a:gd name="T88" fmla="*/ 80 w 245"/>
                <a:gd name="T89" fmla="*/ 141 h 272"/>
                <a:gd name="T90" fmla="*/ 80 w 245"/>
                <a:gd name="T91" fmla="*/ 14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5" h="272">
                  <a:moveTo>
                    <a:pt x="80" y="141"/>
                  </a:moveTo>
                  <a:lnTo>
                    <a:pt x="87" y="157"/>
                  </a:lnTo>
                  <a:lnTo>
                    <a:pt x="82" y="171"/>
                  </a:lnTo>
                  <a:lnTo>
                    <a:pt x="69" y="165"/>
                  </a:lnTo>
                  <a:lnTo>
                    <a:pt x="5" y="173"/>
                  </a:lnTo>
                  <a:lnTo>
                    <a:pt x="2" y="181"/>
                  </a:lnTo>
                  <a:lnTo>
                    <a:pt x="35" y="192"/>
                  </a:lnTo>
                  <a:lnTo>
                    <a:pt x="50" y="200"/>
                  </a:lnTo>
                  <a:lnTo>
                    <a:pt x="61" y="214"/>
                  </a:lnTo>
                  <a:lnTo>
                    <a:pt x="66" y="235"/>
                  </a:lnTo>
                  <a:lnTo>
                    <a:pt x="59" y="251"/>
                  </a:lnTo>
                  <a:lnTo>
                    <a:pt x="96" y="254"/>
                  </a:lnTo>
                  <a:lnTo>
                    <a:pt x="104" y="238"/>
                  </a:lnTo>
                  <a:lnTo>
                    <a:pt x="131" y="242"/>
                  </a:lnTo>
                  <a:lnTo>
                    <a:pt x="138" y="227"/>
                  </a:lnTo>
                  <a:lnTo>
                    <a:pt x="157" y="259"/>
                  </a:lnTo>
                  <a:lnTo>
                    <a:pt x="215" y="272"/>
                  </a:lnTo>
                  <a:lnTo>
                    <a:pt x="218" y="259"/>
                  </a:lnTo>
                  <a:lnTo>
                    <a:pt x="240" y="245"/>
                  </a:lnTo>
                  <a:lnTo>
                    <a:pt x="245" y="221"/>
                  </a:lnTo>
                  <a:lnTo>
                    <a:pt x="200" y="208"/>
                  </a:lnTo>
                  <a:lnTo>
                    <a:pt x="186" y="170"/>
                  </a:lnTo>
                  <a:lnTo>
                    <a:pt x="226" y="154"/>
                  </a:lnTo>
                  <a:lnTo>
                    <a:pt x="216" y="72"/>
                  </a:lnTo>
                  <a:lnTo>
                    <a:pt x="229" y="61"/>
                  </a:lnTo>
                  <a:lnTo>
                    <a:pt x="211" y="40"/>
                  </a:lnTo>
                  <a:lnTo>
                    <a:pt x="211" y="18"/>
                  </a:lnTo>
                  <a:lnTo>
                    <a:pt x="179" y="6"/>
                  </a:lnTo>
                  <a:lnTo>
                    <a:pt x="173" y="29"/>
                  </a:lnTo>
                  <a:lnTo>
                    <a:pt x="157" y="16"/>
                  </a:lnTo>
                  <a:lnTo>
                    <a:pt x="154" y="0"/>
                  </a:lnTo>
                  <a:lnTo>
                    <a:pt x="96" y="19"/>
                  </a:lnTo>
                  <a:lnTo>
                    <a:pt x="91" y="10"/>
                  </a:lnTo>
                  <a:lnTo>
                    <a:pt x="43" y="24"/>
                  </a:lnTo>
                  <a:lnTo>
                    <a:pt x="5" y="43"/>
                  </a:lnTo>
                  <a:lnTo>
                    <a:pt x="0" y="101"/>
                  </a:lnTo>
                  <a:lnTo>
                    <a:pt x="74" y="85"/>
                  </a:lnTo>
                  <a:lnTo>
                    <a:pt x="59" y="102"/>
                  </a:lnTo>
                  <a:lnTo>
                    <a:pt x="91" y="112"/>
                  </a:lnTo>
                  <a:lnTo>
                    <a:pt x="71" y="118"/>
                  </a:lnTo>
                  <a:lnTo>
                    <a:pt x="32" y="106"/>
                  </a:lnTo>
                  <a:lnTo>
                    <a:pt x="37" y="146"/>
                  </a:lnTo>
                  <a:lnTo>
                    <a:pt x="51" y="128"/>
                  </a:lnTo>
                  <a:lnTo>
                    <a:pt x="80" y="141"/>
                  </a:lnTo>
                  <a:lnTo>
                    <a:pt x="80" y="141"/>
                  </a:lnTo>
                  <a:lnTo>
                    <a:pt x="80" y="14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1" name="Freeform 211">
              <a:extLst>
                <a:ext uri="{FF2B5EF4-FFF2-40B4-BE49-F238E27FC236}">
                  <a16:creationId xmlns:a16="http://schemas.microsoft.com/office/drawing/2014/main" id="{9F0FFB64-7385-41BE-B7ED-D232D885BEA7}"/>
                </a:ext>
              </a:extLst>
            </p:cNvPr>
            <p:cNvSpPr>
              <a:spLocks/>
            </p:cNvSpPr>
            <p:nvPr/>
          </p:nvSpPr>
          <p:spPr bwMode="auto">
            <a:xfrm>
              <a:off x="6349653" y="1978305"/>
              <a:ext cx="586397" cy="455735"/>
            </a:xfrm>
            <a:custGeom>
              <a:avLst/>
              <a:gdLst>
                <a:gd name="T0" fmla="*/ 175 w 316"/>
                <a:gd name="T1" fmla="*/ 104 h 236"/>
                <a:gd name="T2" fmla="*/ 213 w 316"/>
                <a:gd name="T3" fmla="*/ 74 h 236"/>
                <a:gd name="T4" fmla="*/ 245 w 316"/>
                <a:gd name="T5" fmla="*/ 64 h 236"/>
                <a:gd name="T6" fmla="*/ 266 w 316"/>
                <a:gd name="T7" fmla="*/ 90 h 236"/>
                <a:gd name="T8" fmla="*/ 272 w 316"/>
                <a:gd name="T9" fmla="*/ 79 h 236"/>
                <a:gd name="T10" fmla="*/ 288 w 316"/>
                <a:gd name="T11" fmla="*/ 98 h 236"/>
                <a:gd name="T12" fmla="*/ 316 w 316"/>
                <a:gd name="T13" fmla="*/ 103 h 236"/>
                <a:gd name="T14" fmla="*/ 303 w 316"/>
                <a:gd name="T15" fmla="*/ 168 h 236"/>
                <a:gd name="T16" fmla="*/ 264 w 316"/>
                <a:gd name="T17" fmla="*/ 181 h 236"/>
                <a:gd name="T18" fmla="*/ 242 w 316"/>
                <a:gd name="T19" fmla="*/ 213 h 236"/>
                <a:gd name="T20" fmla="*/ 226 w 316"/>
                <a:gd name="T21" fmla="*/ 216 h 236"/>
                <a:gd name="T22" fmla="*/ 218 w 316"/>
                <a:gd name="T23" fmla="*/ 200 h 236"/>
                <a:gd name="T24" fmla="*/ 202 w 316"/>
                <a:gd name="T25" fmla="*/ 202 h 236"/>
                <a:gd name="T26" fmla="*/ 180 w 316"/>
                <a:gd name="T27" fmla="*/ 236 h 236"/>
                <a:gd name="T28" fmla="*/ 168 w 316"/>
                <a:gd name="T29" fmla="*/ 232 h 236"/>
                <a:gd name="T30" fmla="*/ 172 w 316"/>
                <a:gd name="T31" fmla="*/ 216 h 236"/>
                <a:gd name="T32" fmla="*/ 95 w 316"/>
                <a:gd name="T33" fmla="*/ 184 h 236"/>
                <a:gd name="T34" fmla="*/ 66 w 316"/>
                <a:gd name="T35" fmla="*/ 199 h 236"/>
                <a:gd name="T36" fmla="*/ 15 w 316"/>
                <a:gd name="T37" fmla="*/ 180 h 236"/>
                <a:gd name="T38" fmla="*/ 5 w 316"/>
                <a:gd name="T39" fmla="*/ 98 h 236"/>
                <a:gd name="T40" fmla="*/ 18 w 316"/>
                <a:gd name="T41" fmla="*/ 87 h 236"/>
                <a:gd name="T42" fmla="*/ 0 w 316"/>
                <a:gd name="T43" fmla="*/ 66 h 236"/>
                <a:gd name="T44" fmla="*/ 0 w 316"/>
                <a:gd name="T45" fmla="*/ 44 h 236"/>
                <a:gd name="T46" fmla="*/ 16 w 316"/>
                <a:gd name="T47" fmla="*/ 48 h 236"/>
                <a:gd name="T48" fmla="*/ 16 w 316"/>
                <a:gd name="T49" fmla="*/ 15 h 236"/>
                <a:gd name="T50" fmla="*/ 36 w 316"/>
                <a:gd name="T51" fmla="*/ 5 h 236"/>
                <a:gd name="T52" fmla="*/ 44 w 316"/>
                <a:gd name="T53" fmla="*/ 15 h 236"/>
                <a:gd name="T54" fmla="*/ 104 w 316"/>
                <a:gd name="T55" fmla="*/ 0 h 236"/>
                <a:gd name="T56" fmla="*/ 175 w 316"/>
                <a:gd name="T57" fmla="*/ 104 h 236"/>
                <a:gd name="T58" fmla="*/ 175 w 316"/>
                <a:gd name="T59" fmla="*/ 104 h 236"/>
                <a:gd name="T60" fmla="*/ 175 w 316"/>
                <a:gd name="T61" fmla="*/ 1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6" h="236">
                  <a:moveTo>
                    <a:pt x="175" y="104"/>
                  </a:moveTo>
                  <a:lnTo>
                    <a:pt x="213" y="74"/>
                  </a:lnTo>
                  <a:lnTo>
                    <a:pt x="245" y="64"/>
                  </a:lnTo>
                  <a:lnTo>
                    <a:pt x="266" y="90"/>
                  </a:lnTo>
                  <a:lnTo>
                    <a:pt x="272" y="79"/>
                  </a:lnTo>
                  <a:lnTo>
                    <a:pt x="288" y="98"/>
                  </a:lnTo>
                  <a:lnTo>
                    <a:pt x="316" y="103"/>
                  </a:lnTo>
                  <a:lnTo>
                    <a:pt x="303" y="168"/>
                  </a:lnTo>
                  <a:lnTo>
                    <a:pt x="264" y="181"/>
                  </a:lnTo>
                  <a:lnTo>
                    <a:pt x="242" y="213"/>
                  </a:lnTo>
                  <a:lnTo>
                    <a:pt x="226" y="216"/>
                  </a:lnTo>
                  <a:lnTo>
                    <a:pt x="218" y="200"/>
                  </a:lnTo>
                  <a:lnTo>
                    <a:pt x="202" y="202"/>
                  </a:lnTo>
                  <a:lnTo>
                    <a:pt x="180" y="236"/>
                  </a:lnTo>
                  <a:lnTo>
                    <a:pt x="168" y="232"/>
                  </a:lnTo>
                  <a:lnTo>
                    <a:pt x="172" y="216"/>
                  </a:lnTo>
                  <a:lnTo>
                    <a:pt x="95" y="184"/>
                  </a:lnTo>
                  <a:lnTo>
                    <a:pt x="66" y="199"/>
                  </a:lnTo>
                  <a:lnTo>
                    <a:pt x="15" y="180"/>
                  </a:lnTo>
                  <a:lnTo>
                    <a:pt x="5" y="98"/>
                  </a:lnTo>
                  <a:lnTo>
                    <a:pt x="18" y="87"/>
                  </a:lnTo>
                  <a:lnTo>
                    <a:pt x="0" y="66"/>
                  </a:lnTo>
                  <a:lnTo>
                    <a:pt x="0" y="44"/>
                  </a:lnTo>
                  <a:lnTo>
                    <a:pt x="16" y="48"/>
                  </a:lnTo>
                  <a:lnTo>
                    <a:pt x="16" y="15"/>
                  </a:lnTo>
                  <a:lnTo>
                    <a:pt x="36" y="5"/>
                  </a:lnTo>
                  <a:lnTo>
                    <a:pt x="44" y="15"/>
                  </a:lnTo>
                  <a:lnTo>
                    <a:pt x="104" y="0"/>
                  </a:lnTo>
                  <a:lnTo>
                    <a:pt x="175" y="104"/>
                  </a:lnTo>
                  <a:lnTo>
                    <a:pt x="175" y="104"/>
                  </a:lnTo>
                  <a:lnTo>
                    <a:pt x="175" y="10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2" name="Freeform 212">
              <a:extLst>
                <a:ext uri="{FF2B5EF4-FFF2-40B4-BE49-F238E27FC236}">
                  <a16:creationId xmlns:a16="http://schemas.microsoft.com/office/drawing/2014/main" id="{4992A0EA-6FE2-4E12-B95B-D187A4E4BBFA}"/>
                </a:ext>
              </a:extLst>
            </p:cNvPr>
            <p:cNvSpPr>
              <a:spLocks/>
            </p:cNvSpPr>
            <p:nvPr/>
          </p:nvSpPr>
          <p:spPr bwMode="auto">
            <a:xfrm>
              <a:off x="7249665" y="2967018"/>
              <a:ext cx="371137" cy="606360"/>
            </a:xfrm>
            <a:custGeom>
              <a:avLst/>
              <a:gdLst>
                <a:gd name="T0" fmla="*/ 139 w 200"/>
                <a:gd name="T1" fmla="*/ 314 h 314"/>
                <a:gd name="T2" fmla="*/ 174 w 200"/>
                <a:gd name="T3" fmla="*/ 279 h 314"/>
                <a:gd name="T4" fmla="*/ 195 w 200"/>
                <a:gd name="T5" fmla="*/ 283 h 314"/>
                <a:gd name="T6" fmla="*/ 200 w 200"/>
                <a:gd name="T7" fmla="*/ 267 h 314"/>
                <a:gd name="T8" fmla="*/ 181 w 200"/>
                <a:gd name="T9" fmla="*/ 255 h 314"/>
                <a:gd name="T10" fmla="*/ 194 w 200"/>
                <a:gd name="T11" fmla="*/ 211 h 314"/>
                <a:gd name="T12" fmla="*/ 170 w 200"/>
                <a:gd name="T13" fmla="*/ 219 h 314"/>
                <a:gd name="T14" fmla="*/ 155 w 200"/>
                <a:gd name="T15" fmla="*/ 173 h 314"/>
                <a:gd name="T16" fmla="*/ 167 w 200"/>
                <a:gd name="T17" fmla="*/ 141 h 314"/>
                <a:gd name="T18" fmla="*/ 154 w 200"/>
                <a:gd name="T19" fmla="*/ 130 h 314"/>
                <a:gd name="T20" fmla="*/ 165 w 200"/>
                <a:gd name="T21" fmla="*/ 109 h 314"/>
                <a:gd name="T22" fmla="*/ 162 w 200"/>
                <a:gd name="T23" fmla="*/ 51 h 314"/>
                <a:gd name="T24" fmla="*/ 146 w 200"/>
                <a:gd name="T25" fmla="*/ 11 h 314"/>
                <a:gd name="T26" fmla="*/ 133 w 200"/>
                <a:gd name="T27" fmla="*/ 0 h 314"/>
                <a:gd name="T28" fmla="*/ 66 w 200"/>
                <a:gd name="T29" fmla="*/ 8 h 314"/>
                <a:gd name="T30" fmla="*/ 56 w 200"/>
                <a:gd name="T31" fmla="*/ 27 h 314"/>
                <a:gd name="T32" fmla="*/ 0 w 200"/>
                <a:gd name="T33" fmla="*/ 29 h 314"/>
                <a:gd name="T34" fmla="*/ 42 w 200"/>
                <a:gd name="T35" fmla="*/ 112 h 314"/>
                <a:gd name="T36" fmla="*/ 45 w 200"/>
                <a:gd name="T37" fmla="*/ 187 h 314"/>
                <a:gd name="T38" fmla="*/ 61 w 200"/>
                <a:gd name="T39" fmla="*/ 199 h 314"/>
                <a:gd name="T40" fmla="*/ 16 w 200"/>
                <a:gd name="T41" fmla="*/ 218 h 314"/>
                <a:gd name="T42" fmla="*/ 34 w 200"/>
                <a:gd name="T43" fmla="*/ 256 h 314"/>
                <a:gd name="T44" fmla="*/ 123 w 200"/>
                <a:gd name="T45" fmla="*/ 294 h 314"/>
                <a:gd name="T46" fmla="*/ 139 w 200"/>
                <a:gd name="T47" fmla="*/ 314 h 314"/>
                <a:gd name="T48" fmla="*/ 139 w 200"/>
                <a:gd name="T49" fmla="*/ 314 h 314"/>
                <a:gd name="T50" fmla="*/ 139 w 200"/>
                <a:gd name="T51"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314">
                  <a:moveTo>
                    <a:pt x="139" y="314"/>
                  </a:moveTo>
                  <a:lnTo>
                    <a:pt x="174" y="279"/>
                  </a:lnTo>
                  <a:lnTo>
                    <a:pt x="195" y="283"/>
                  </a:lnTo>
                  <a:lnTo>
                    <a:pt x="200" y="267"/>
                  </a:lnTo>
                  <a:lnTo>
                    <a:pt x="181" y="255"/>
                  </a:lnTo>
                  <a:lnTo>
                    <a:pt x="194" y="211"/>
                  </a:lnTo>
                  <a:lnTo>
                    <a:pt x="170" y="219"/>
                  </a:lnTo>
                  <a:lnTo>
                    <a:pt x="155" y="173"/>
                  </a:lnTo>
                  <a:lnTo>
                    <a:pt x="167" y="141"/>
                  </a:lnTo>
                  <a:lnTo>
                    <a:pt x="154" y="130"/>
                  </a:lnTo>
                  <a:lnTo>
                    <a:pt x="165" y="109"/>
                  </a:lnTo>
                  <a:lnTo>
                    <a:pt x="162" y="51"/>
                  </a:lnTo>
                  <a:lnTo>
                    <a:pt x="146" y="11"/>
                  </a:lnTo>
                  <a:lnTo>
                    <a:pt x="133" y="0"/>
                  </a:lnTo>
                  <a:lnTo>
                    <a:pt x="66" y="8"/>
                  </a:lnTo>
                  <a:lnTo>
                    <a:pt x="56" y="27"/>
                  </a:lnTo>
                  <a:lnTo>
                    <a:pt x="0" y="29"/>
                  </a:lnTo>
                  <a:lnTo>
                    <a:pt x="42" y="112"/>
                  </a:lnTo>
                  <a:lnTo>
                    <a:pt x="45" y="187"/>
                  </a:lnTo>
                  <a:lnTo>
                    <a:pt x="61" y="199"/>
                  </a:lnTo>
                  <a:lnTo>
                    <a:pt x="16" y="218"/>
                  </a:lnTo>
                  <a:lnTo>
                    <a:pt x="34" y="256"/>
                  </a:lnTo>
                  <a:lnTo>
                    <a:pt x="123" y="294"/>
                  </a:lnTo>
                  <a:lnTo>
                    <a:pt x="139" y="314"/>
                  </a:lnTo>
                  <a:lnTo>
                    <a:pt x="139" y="314"/>
                  </a:lnTo>
                  <a:lnTo>
                    <a:pt x="139" y="31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63" name="Freeform 213">
              <a:extLst>
                <a:ext uri="{FF2B5EF4-FFF2-40B4-BE49-F238E27FC236}">
                  <a16:creationId xmlns:a16="http://schemas.microsoft.com/office/drawing/2014/main" id="{A1468E9A-1623-450E-B1FC-0E182EF766D5}"/>
                </a:ext>
              </a:extLst>
            </p:cNvPr>
            <p:cNvSpPr>
              <a:spLocks/>
            </p:cNvSpPr>
            <p:nvPr/>
          </p:nvSpPr>
          <p:spPr bwMode="auto">
            <a:xfrm>
              <a:off x="6991722" y="3357100"/>
              <a:ext cx="545574" cy="679742"/>
            </a:xfrm>
            <a:custGeom>
              <a:avLst/>
              <a:gdLst>
                <a:gd name="T0" fmla="*/ 149 w 294"/>
                <a:gd name="T1" fmla="*/ 260 h 352"/>
                <a:gd name="T2" fmla="*/ 154 w 294"/>
                <a:gd name="T3" fmla="*/ 281 h 352"/>
                <a:gd name="T4" fmla="*/ 210 w 294"/>
                <a:gd name="T5" fmla="*/ 299 h 352"/>
                <a:gd name="T6" fmla="*/ 214 w 294"/>
                <a:gd name="T7" fmla="*/ 328 h 352"/>
                <a:gd name="T8" fmla="*/ 258 w 294"/>
                <a:gd name="T9" fmla="*/ 352 h 352"/>
                <a:gd name="T10" fmla="*/ 283 w 294"/>
                <a:gd name="T11" fmla="*/ 345 h 352"/>
                <a:gd name="T12" fmla="*/ 294 w 294"/>
                <a:gd name="T13" fmla="*/ 320 h 352"/>
                <a:gd name="T14" fmla="*/ 240 w 294"/>
                <a:gd name="T15" fmla="*/ 284 h 352"/>
                <a:gd name="T16" fmla="*/ 245 w 294"/>
                <a:gd name="T17" fmla="*/ 236 h 352"/>
                <a:gd name="T18" fmla="*/ 218 w 294"/>
                <a:gd name="T19" fmla="*/ 201 h 352"/>
                <a:gd name="T20" fmla="*/ 213 w 294"/>
                <a:gd name="T21" fmla="*/ 164 h 352"/>
                <a:gd name="T22" fmla="*/ 242 w 294"/>
                <a:gd name="T23" fmla="*/ 155 h 352"/>
                <a:gd name="T24" fmla="*/ 267 w 294"/>
                <a:gd name="T25" fmla="*/ 160 h 352"/>
                <a:gd name="T26" fmla="*/ 278 w 294"/>
                <a:gd name="T27" fmla="*/ 112 h 352"/>
                <a:gd name="T28" fmla="*/ 262 w 294"/>
                <a:gd name="T29" fmla="*/ 92 h 352"/>
                <a:gd name="T30" fmla="*/ 173 w 294"/>
                <a:gd name="T31" fmla="*/ 54 h 352"/>
                <a:gd name="T32" fmla="*/ 155 w 294"/>
                <a:gd name="T33" fmla="*/ 16 h 352"/>
                <a:gd name="T34" fmla="*/ 114 w 294"/>
                <a:gd name="T35" fmla="*/ 0 h 352"/>
                <a:gd name="T36" fmla="*/ 85 w 294"/>
                <a:gd name="T37" fmla="*/ 8 h 352"/>
                <a:gd name="T38" fmla="*/ 88 w 294"/>
                <a:gd name="T39" fmla="*/ 21 h 352"/>
                <a:gd name="T40" fmla="*/ 62 w 294"/>
                <a:gd name="T41" fmla="*/ 49 h 352"/>
                <a:gd name="T42" fmla="*/ 13 w 294"/>
                <a:gd name="T43" fmla="*/ 21 h 352"/>
                <a:gd name="T44" fmla="*/ 0 w 294"/>
                <a:gd name="T45" fmla="*/ 25 h 352"/>
                <a:gd name="T46" fmla="*/ 10 w 294"/>
                <a:gd name="T47" fmla="*/ 40 h 352"/>
                <a:gd name="T48" fmla="*/ 18 w 294"/>
                <a:gd name="T49" fmla="*/ 38 h 352"/>
                <a:gd name="T50" fmla="*/ 48 w 294"/>
                <a:gd name="T51" fmla="*/ 56 h 352"/>
                <a:gd name="T52" fmla="*/ 62 w 294"/>
                <a:gd name="T53" fmla="*/ 49 h 352"/>
                <a:gd name="T54" fmla="*/ 83 w 294"/>
                <a:gd name="T55" fmla="*/ 62 h 352"/>
                <a:gd name="T56" fmla="*/ 98 w 294"/>
                <a:gd name="T57" fmla="*/ 96 h 352"/>
                <a:gd name="T58" fmla="*/ 90 w 294"/>
                <a:gd name="T59" fmla="*/ 99 h 352"/>
                <a:gd name="T60" fmla="*/ 91 w 294"/>
                <a:gd name="T61" fmla="*/ 121 h 352"/>
                <a:gd name="T62" fmla="*/ 83 w 294"/>
                <a:gd name="T63" fmla="*/ 134 h 352"/>
                <a:gd name="T64" fmla="*/ 74 w 294"/>
                <a:gd name="T65" fmla="*/ 136 h 352"/>
                <a:gd name="T66" fmla="*/ 78 w 294"/>
                <a:gd name="T67" fmla="*/ 150 h 352"/>
                <a:gd name="T68" fmla="*/ 61 w 294"/>
                <a:gd name="T69" fmla="*/ 152 h 352"/>
                <a:gd name="T70" fmla="*/ 69 w 294"/>
                <a:gd name="T71" fmla="*/ 128 h 352"/>
                <a:gd name="T72" fmla="*/ 62 w 294"/>
                <a:gd name="T73" fmla="*/ 116 h 352"/>
                <a:gd name="T74" fmla="*/ 61 w 294"/>
                <a:gd name="T75" fmla="*/ 97 h 352"/>
                <a:gd name="T76" fmla="*/ 50 w 294"/>
                <a:gd name="T77" fmla="*/ 96 h 352"/>
                <a:gd name="T78" fmla="*/ 27 w 294"/>
                <a:gd name="T79" fmla="*/ 78 h 352"/>
                <a:gd name="T80" fmla="*/ 32 w 294"/>
                <a:gd name="T81" fmla="*/ 107 h 352"/>
                <a:gd name="T82" fmla="*/ 56 w 294"/>
                <a:gd name="T83" fmla="*/ 129 h 352"/>
                <a:gd name="T84" fmla="*/ 58 w 294"/>
                <a:gd name="T85" fmla="*/ 176 h 352"/>
                <a:gd name="T86" fmla="*/ 98 w 294"/>
                <a:gd name="T87" fmla="*/ 203 h 352"/>
                <a:gd name="T88" fmla="*/ 136 w 294"/>
                <a:gd name="T89" fmla="*/ 240 h 352"/>
                <a:gd name="T90" fmla="*/ 149 w 294"/>
                <a:gd name="T91" fmla="*/ 260 h 352"/>
                <a:gd name="T92" fmla="*/ 149 w 294"/>
                <a:gd name="T93" fmla="*/ 260 h 352"/>
                <a:gd name="T94" fmla="*/ 149 w 294"/>
                <a:gd name="T95" fmla="*/ 26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4" h="352">
                  <a:moveTo>
                    <a:pt x="149" y="260"/>
                  </a:moveTo>
                  <a:lnTo>
                    <a:pt x="154" y="281"/>
                  </a:lnTo>
                  <a:lnTo>
                    <a:pt x="210" y="299"/>
                  </a:lnTo>
                  <a:lnTo>
                    <a:pt x="214" y="328"/>
                  </a:lnTo>
                  <a:lnTo>
                    <a:pt x="258" y="352"/>
                  </a:lnTo>
                  <a:lnTo>
                    <a:pt x="283" y="345"/>
                  </a:lnTo>
                  <a:lnTo>
                    <a:pt x="294" y="320"/>
                  </a:lnTo>
                  <a:lnTo>
                    <a:pt x="240" y="284"/>
                  </a:lnTo>
                  <a:lnTo>
                    <a:pt x="245" y="236"/>
                  </a:lnTo>
                  <a:lnTo>
                    <a:pt x="218" y="201"/>
                  </a:lnTo>
                  <a:lnTo>
                    <a:pt x="213" y="164"/>
                  </a:lnTo>
                  <a:lnTo>
                    <a:pt x="242" y="155"/>
                  </a:lnTo>
                  <a:lnTo>
                    <a:pt x="267" y="160"/>
                  </a:lnTo>
                  <a:lnTo>
                    <a:pt x="278" y="112"/>
                  </a:lnTo>
                  <a:lnTo>
                    <a:pt x="262" y="92"/>
                  </a:lnTo>
                  <a:lnTo>
                    <a:pt x="173" y="54"/>
                  </a:lnTo>
                  <a:lnTo>
                    <a:pt x="155" y="16"/>
                  </a:lnTo>
                  <a:lnTo>
                    <a:pt x="114" y="0"/>
                  </a:lnTo>
                  <a:lnTo>
                    <a:pt x="85" y="8"/>
                  </a:lnTo>
                  <a:lnTo>
                    <a:pt x="88" y="21"/>
                  </a:lnTo>
                  <a:lnTo>
                    <a:pt x="62" y="49"/>
                  </a:lnTo>
                  <a:lnTo>
                    <a:pt x="13" y="21"/>
                  </a:lnTo>
                  <a:lnTo>
                    <a:pt x="0" y="25"/>
                  </a:lnTo>
                  <a:lnTo>
                    <a:pt x="10" y="40"/>
                  </a:lnTo>
                  <a:lnTo>
                    <a:pt x="18" y="38"/>
                  </a:lnTo>
                  <a:lnTo>
                    <a:pt x="48" y="56"/>
                  </a:lnTo>
                  <a:lnTo>
                    <a:pt x="62" y="49"/>
                  </a:lnTo>
                  <a:lnTo>
                    <a:pt x="83" y="62"/>
                  </a:lnTo>
                  <a:lnTo>
                    <a:pt x="98" y="96"/>
                  </a:lnTo>
                  <a:lnTo>
                    <a:pt x="90" y="99"/>
                  </a:lnTo>
                  <a:lnTo>
                    <a:pt x="91" y="121"/>
                  </a:lnTo>
                  <a:lnTo>
                    <a:pt x="83" y="134"/>
                  </a:lnTo>
                  <a:lnTo>
                    <a:pt x="74" y="136"/>
                  </a:lnTo>
                  <a:lnTo>
                    <a:pt x="78" y="150"/>
                  </a:lnTo>
                  <a:lnTo>
                    <a:pt x="61" y="152"/>
                  </a:lnTo>
                  <a:lnTo>
                    <a:pt x="69" y="128"/>
                  </a:lnTo>
                  <a:lnTo>
                    <a:pt x="62" y="116"/>
                  </a:lnTo>
                  <a:lnTo>
                    <a:pt x="61" y="97"/>
                  </a:lnTo>
                  <a:lnTo>
                    <a:pt x="50" y="96"/>
                  </a:lnTo>
                  <a:lnTo>
                    <a:pt x="27" y="78"/>
                  </a:lnTo>
                  <a:lnTo>
                    <a:pt x="32" y="107"/>
                  </a:lnTo>
                  <a:lnTo>
                    <a:pt x="56" y="129"/>
                  </a:lnTo>
                  <a:lnTo>
                    <a:pt x="58" y="176"/>
                  </a:lnTo>
                  <a:lnTo>
                    <a:pt x="98" y="203"/>
                  </a:lnTo>
                  <a:lnTo>
                    <a:pt x="136" y="240"/>
                  </a:lnTo>
                  <a:lnTo>
                    <a:pt x="149" y="260"/>
                  </a:lnTo>
                  <a:lnTo>
                    <a:pt x="149" y="260"/>
                  </a:lnTo>
                  <a:lnTo>
                    <a:pt x="149" y="26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64" name="Freeform 214">
              <a:extLst>
                <a:ext uri="{FF2B5EF4-FFF2-40B4-BE49-F238E27FC236}">
                  <a16:creationId xmlns:a16="http://schemas.microsoft.com/office/drawing/2014/main" id="{BBF43722-FC14-4EF9-B217-A9D458AA831B}"/>
                </a:ext>
              </a:extLst>
            </p:cNvPr>
            <p:cNvSpPr>
              <a:spLocks/>
            </p:cNvSpPr>
            <p:nvPr/>
          </p:nvSpPr>
          <p:spPr bwMode="auto">
            <a:xfrm>
              <a:off x="7288634" y="1991822"/>
              <a:ext cx="617947" cy="413250"/>
            </a:xfrm>
            <a:custGeom>
              <a:avLst/>
              <a:gdLst>
                <a:gd name="T0" fmla="*/ 22 w 333"/>
                <a:gd name="T1" fmla="*/ 93 h 214"/>
                <a:gd name="T2" fmla="*/ 21 w 333"/>
                <a:gd name="T3" fmla="*/ 67 h 214"/>
                <a:gd name="T4" fmla="*/ 2 w 333"/>
                <a:gd name="T5" fmla="*/ 46 h 214"/>
                <a:gd name="T6" fmla="*/ 77 w 333"/>
                <a:gd name="T7" fmla="*/ 19 h 214"/>
                <a:gd name="T8" fmla="*/ 139 w 333"/>
                <a:gd name="T9" fmla="*/ 33 h 214"/>
                <a:gd name="T10" fmla="*/ 181 w 333"/>
                <a:gd name="T11" fmla="*/ 3 h 214"/>
                <a:gd name="T12" fmla="*/ 238 w 333"/>
                <a:gd name="T13" fmla="*/ 0 h 214"/>
                <a:gd name="T14" fmla="*/ 230 w 333"/>
                <a:gd name="T15" fmla="*/ 14 h 214"/>
                <a:gd name="T16" fmla="*/ 270 w 333"/>
                <a:gd name="T17" fmla="*/ 27 h 214"/>
                <a:gd name="T18" fmla="*/ 294 w 333"/>
                <a:gd name="T19" fmla="*/ 56 h 214"/>
                <a:gd name="T20" fmla="*/ 302 w 333"/>
                <a:gd name="T21" fmla="*/ 81 h 214"/>
                <a:gd name="T22" fmla="*/ 333 w 333"/>
                <a:gd name="T23" fmla="*/ 121 h 214"/>
                <a:gd name="T24" fmla="*/ 329 w 333"/>
                <a:gd name="T25" fmla="*/ 160 h 214"/>
                <a:gd name="T26" fmla="*/ 297 w 333"/>
                <a:gd name="T27" fmla="*/ 176 h 214"/>
                <a:gd name="T28" fmla="*/ 305 w 333"/>
                <a:gd name="T29" fmla="*/ 209 h 214"/>
                <a:gd name="T30" fmla="*/ 293 w 333"/>
                <a:gd name="T31" fmla="*/ 214 h 214"/>
                <a:gd name="T32" fmla="*/ 278 w 333"/>
                <a:gd name="T33" fmla="*/ 193 h 214"/>
                <a:gd name="T34" fmla="*/ 262 w 333"/>
                <a:gd name="T35" fmla="*/ 198 h 214"/>
                <a:gd name="T36" fmla="*/ 227 w 333"/>
                <a:gd name="T37" fmla="*/ 171 h 214"/>
                <a:gd name="T38" fmla="*/ 225 w 333"/>
                <a:gd name="T39" fmla="*/ 139 h 214"/>
                <a:gd name="T40" fmla="*/ 205 w 333"/>
                <a:gd name="T41" fmla="*/ 128 h 214"/>
                <a:gd name="T42" fmla="*/ 163 w 333"/>
                <a:gd name="T43" fmla="*/ 155 h 214"/>
                <a:gd name="T44" fmla="*/ 147 w 333"/>
                <a:gd name="T45" fmla="*/ 157 h 214"/>
                <a:gd name="T46" fmla="*/ 147 w 333"/>
                <a:gd name="T47" fmla="*/ 136 h 214"/>
                <a:gd name="T48" fmla="*/ 133 w 333"/>
                <a:gd name="T49" fmla="*/ 136 h 214"/>
                <a:gd name="T50" fmla="*/ 126 w 333"/>
                <a:gd name="T51" fmla="*/ 109 h 214"/>
                <a:gd name="T52" fmla="*/ 16 w 333"/>
                <a:gd name="T53" fmla="*/ 134 h 214"/>
                <a:gd name="T54" fmla="*/ 0 w 333"/>
                <a:gd name="T55" fmla="*/ 120 h 214"/>
                <a:gd name="T56" fmla="*/ 22 w 333"/>
                <a:gd name="T57" fmla="*/ 93 h 214"/>
                <a:gd name="T58" fmla="*/ 22 w 333"/>
                <a:gd name="T59" fmla="*/ 93 h 214"/>
                <a:gd name="T60" fmla="*/ 22 w 333"/>
                <a:gd name="T61" fmla="*/ 9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3" h="214">
                  <a:moveTo>
                    <a:pt x="22" y="93"/>
                  </a:moveTo>
                  <a:lnTo>
                    <a:pt x="21" y="67"/>
                  </a:lnTo>
                  <a:lnTo>
                    <a:pt x="2" y="46"/>
                  </a:lnTo>
                  <a:lnTo>
                    <a:pt x="77" y="19"/>
                  </a:lnTo>
                  <a:lnTo>
                    <a:pt x="139" y="33"/>
                  </a:lnTo>
                  <a:lnTo>
                    <a:pt x="181" y="3"/>
                  </a:lnTo>
                  <a:lnTo>
                    <a:pt x="238" y="0"/>
                  </a:lnTo>
                  <a:lnTo>
                    <a:pt x="230" y="14"/>
                  </a:lnTo>
                  <a:lnTo>
                    <a:pt x="270" y="27"/>
                  </a:lnTo>
                  <a:lnTo>
                    <a:pt x="294" y="56"/>
                  </a:lnTo>
                  <a:lnTo>
                    <a:pt x="302" y="81"/>
                  </a:lnTo>
                  <a:lnTo>
                    <a:pt x="333" y="121"/>
                  </a:lnTo>
                  <a:lnTo>
                    <a:pt x="329" y="160"/>
                  </a:lnTo>
                  <a:lnTo>
                    <a:pt x="297" y="176"/>
                  </a:lnTo>
                  <a:lnTo>
                    <a:pt x="305" y="209"/>
                  </a:lnTo>
                  <a:lnTo>
                    <a:pt x="293" y="214"/>
                  </a:lnTo>
                  <a:lnTo>
                    <a:pt x="278" y="193"/>
                  </a:lnTo>
                  <a:lnTo>
                    <a:pt x="262" y="198"/>
                  </a:lnTo>
                  <a:lnTo>
                    <a:pt x="227" y="171"/>
                  </a:lnTo>
                  <a:lnTo>
                    <a:pt x="225" y="139"/>
                  </a:lnTo>
                  <a:lnTo>
                    <a:pt x="205" y="128"/>
                  </a:lnTo>
                  <a:lnTo>
                    <a:pt x="163" y="155"/>
                  </a:lnTo>
                  <a:lnTo>
                    <a:pt x="147" y="157"/>
                  </a:lnTo>
                  <a:lnTo>
                    <a:pt x="147" y="136"/>
                  </a:lnTo>
                  <a:lnTo>
                    <a:pt x="133" y="136"/>
                  </a:lnTo>
                  <a:lnTo>
                    <a:pt x="126" y="109"/>
                  </a:lnTo>
                  <a:lnTo>
                    <a:pt x="16" y="134"/>
                  </a:lnTo>
                  <a:lnTo>
                    <a:pt x="0" y="120"/>
                  </a:lnTo>
                  <a:lnTo>
                    <a:pt x="22" y="93"/>
                  </a:lnTo>
                  <a:lnTo>
                    <a:pt x="22" y="93"/>
                  </a:lnTo>
                  <a:lnTo>
                    <a:pt x="22" y="9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5" name="Freeform 215">
              <a:extLst>
                <a:ext uri="{FF2B5EF4-FFF2-40B4-BE49-F238E27FC236}">
                  <a16:creationId xmlns:a16="http://schemas.microsoft.com/office/drawing/2014/main" id="{CFBCAF0D-0003-415F-9F1E-3A7C604C8134}"/>
                </a:ext>
              </a:extLst>
            </p:cNvPr>
            <p:cNvSpPr>
              <a:spLocks/>
            </p:cNvSpPr>
            <p:nvPr/>
          </p:nvSpPr>
          <p:spPr bwMode="auto">
            <a:xfrm>
              <a:off x="6956463" y="1549606"/>
              <a:ext cx="372994" cy="685534"/>
            </a:xfrm>
            <a:custGeom>
              <a:avLst/>
              <a:gdLst>
                <a:gd name="T0" fmla="*/ 16 w 201"/>
                <a:gd name="T1" fmla="*/ 85 h 355"/>
                <a:gd name="T2" fmla="*/ 53 w 201"/>
                <a:gd name="T3" fmla="*/ 147 h 355"/>
                <a:gd name="T4" fmla="*/ 53 w 201"/>
                <a:gd name="T5" fmla="*/ 195 h 355"/>
                <a:gd name="T6" fmla="*/ 59 w 201"/>
                <a:gd name="T7" fmla="*/ 208 h 355"/>
                <a:gd name="T8" fmla="*/ 53 w 201"/>
                <a:gd name="T9" fmla="*/ 246 h 355"/>
                <a:gd name="T10" fmla="*/ 54 w 201"/>
                <a:gd name="T11" fmla="*/ 274 h 355"/>
                <a:gd name="T12" fmla="*/ 77 w 201"/>
                <a:gd name="T13" fmla="*/ 298 h 355"/>
                <a:gd name="T14" fmla="*/ 85 w 201"/>
                <a:gd name="T15" fmla="*/ 294 h 355"/>
                <a:gd name="T16" fmla="*/ 83 w 201"/>
                <a:gd name="T17" fmla="*/ 302 h 355"/>
                <a:gd name="T18" fmla="*/ 72 w 201"/>
                <a:gd name="T19" fmla="*/ 309 h 355"/>
                <a:gd name="T20" fmla="*/ 53 w 201"/>
                <a:gd name="T21" fmla="*/ 307 h 355"/>
                <a:gd name="T22" fmla="*/ 65 w 201"/>
                <a:gd name="T23" fmla="*/ 344 h 355"/>
                <a:gd name="T24" fmla="*/ 83 w 201"/>
                <a:gd name="T25" fmla="*/ 355 h 355"/>
                <a:gd name="T26" fmla="*/ 109 w 201"/>
                <a:gd name="T27" fmla="*/ 333 h 355"/>
                <a:gd name="T28" fmla="*/ 139 w 201"/>
                <a:gd name="T29" fmla="*/ 342 h 355"/>
                <a:gd name="T30" fmla="*/ 179 w 201"/>
                <a:gd name="T31" fmla="*/ 349 h 355"/>
                <a:gd name="T32" fmla="*/ 201 w 201"/>
                <a:gd name="T33" fmla="*/ 322 h 355"/>
                <a:gd name="T34" fmla="*/ 200 w 201"/>
                <a:gd name="T35" fmla="*/ 296 h 355"/>
                <a:gd name="T36" fmla="*/ 181 w 201"/>
                <a:gd name="T37" fmla="*/ 275 h 355"/>
                <a:gd name="T38" fmla="*/ 144 w 201"/>
                <a:gd name="T39" fmla="*/ 267 h 355"/>
                <a:gd name="T40" fmla="*/ 128 w 201"/>
                <a:gd name="T41" fmla="*/ 254 h 355"/>
                <a:gd name="T42" fmla="*/ 182 w 201"/>
                <a:gd name="T43" fmla="*/ 202 h 355"/>
                <a:gd name="T44" fmla="*/ 181 w 201"/>
                <a:gd name="T45" fmla="*/ 165 h 355"/>
                <a:gd name="T46" fmla="*/ 137 w 201"/>
                <a:gd name="T47" fmla="*/ 131 h 355"/>
                <a:gd name="T48" fmla="*/ 144 w 201"/>
                <a:gd name="T49" fmla="*/ 111 h 355"/>
                <a:gd name="T50" fmla="*/ 134 w 201"/>
                <a:gd name="T51" fmla="*/ 106 h 355"/>
                <a:gd name="T52" fmla="*/ 136 w 201"/>
                <a:gd name="T53" fmla="*/ 96 h 355"/>
                <a:gd name="T54" fmla="*/ 110 w 201"/>
                <a:gd name="T55" fmla="*/ 58 h 355"/>
                <a:gd name="T56" fmla="*/ 112 w 201"/>
                <a:gd name="T57" fmla="*/ 48 h 355"/>
                <a:gd name="T58" fmla="*/ 126 w 201"/>
                <a:gd name="T59" fmla="*/ 37 h 355"/>
                <a:gd name="T60" fmla="*/ 120 w 201"/>
                <a:gd name="T61" fmla="*/ 16 h 355"/>
                <a:gd name="T62" fmla="*/ 102 w 201"/>
                <a:gd name="T63" fmla="*/ 11 h 355"/>
                <a:gd name="T64" fmla="*/ 88 w 201"/>
                <a:gd name="T65" fmla="*/ 11 h 355"/>
                <a:gd name="T66" fmla="*/ 73 w 201"/>
                <a:gd name="T67" fmla="*/ 24 h 355"/>
                <a:gd name="T68" fmla="*/ 49 w 201"/>
                <a:gd name="T69" fmla="*/ 21 h 355"/>
                <a:gd name="T70" fmla="*/ 1 w 201"/>
                <a:gd name="T71" fmla="*/ 0 h 355"/>
                <a:gd name="T72" fmla="*/ 0 w 201"/>
                <a:gd name="T73" fmla="*/ 15 h 355"/>
                <a:gd name="T74" fmla="*/ 13 w 201"/>
                <a:gd name="T75" fmla="*/ 21 h 355"/>
                <a:gd name="T76" fmla="*/ 16 w 201"/>
                <a:gd name="T77" fmla="*/ 85 h 355"/>
                <a:gd name="T78" fmla="*/ 16 w 201"/>
                <a:gd name="T79" fmla="*/ 85 h 355"/>
                <a:gd name="T80" fmla="*/ 16 w 201"/>
                <a:gd name="T81" fmla="*/ 8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 h="355">
                  <a:moveTo>
                    <a:pt x="16" y="85"/>
                  </a:moveTo>
                  <a:lnTo>
                    <a:pt x="53" y="147"/>
                  </a:lnTo>
                  <a:lnTo>
                    <a:pt x="53" y="195"/>
                  </a:lnTo>
                  <a:lnTo>
                    <a:pt x="59" y="208"/>
                  </a:lnTo>
                  <a:lnTo>
                    <a:pt x="53" y="246"/>
                  </a:lnTo>
                  <a:lnTo>
                    <a:pt x="54" y="274"/>
                  </a:lnTo>
                  <a:lnTo>
                    <a:pt x="77" y="298"/>
                  </a:lnTo>
                  <a:lnTo>
                    <a:pt x="85" y="294"/>
                  </a:lnTo>
                  <a:lnTo>
                    <a:pt x="83" y="302"/>
                  </a:lnTo>
                  <a:lnTo>
                    <a:pt x="72" y="309"/>
                  </a:lnTo>
                  <a:lnTo>
                    <a:pt x="53" y="307"/>
                  </a:lnTo>
                  <a:lnTo>
                    <a:pt x="65" y="344"/>
                  </a:lnTo>
                  <a:lnTo>
                    <a:pt x="83" y="355"/>
                  </a:lnTo>
                  <a:lnTo>
                    <a:pt x="109" y="333"/>
                  </a:lnTo>
                  <a:lnTo>
                    <a:pt x="139" y="342"/>
                  </a:lnTo>
                  <a:lnTo>
                    <a:pt x="179" y="349"/>
                  </a:lnTo>
                  <a:lnTo>
                    <a:pt x="201" y="322"/>
                  </a:lnTo>
                  <a:lnTo>
                    <a:pt x="200" y="296"/>
                  </a:lnTo>
                  <a:lnTo>
                    <a:pt x="181" y="275"/>
                  </a:lnTo>
                  <a:lnTo>
                    <a:pt x="144" y="267"/>
                  </a:lnTo>
                  <a:lnTo>
                    <a:pt x="128" y="254"/>
                  </a:lnTo>
                  <a:lnTo>
                    <a:pt x="182" y="202"/>
                  </a:lnTo>
                  <a:lnTo>
                    <a:pt x="181" y="165"/>
                  </a:lnTo>
                  <a:lnTo>
                    <a:pt x="137" y="131"/>
                  </a:lnTo>
                  <a:lnTo>
                    <a:pt x="144" y="111"/>
                  </a:lnTo>
                  <a:lnTo>
                    <a:pt x="134" y="106"/>
                  </a:lnTo>
                  <a:lnTo>
                    <a:pt x="136" y="96"/>
                  </a:lnTo>
                  <a:lnTo>
                    <a:pt x="110" y="58"/>
                  </a:lnTo>
                  <a:lnTo>
                    <a:pt x="112" y="48"/>
                  </a:lnTo>
                  <a:lnTo>
                    <a:pt x="126" y="37"/>
                  </a:lnTo>
                  <a:lnTo>
                    <a:pt x="120" y="16"/>
                  </a:lnTo>
                  <a:lnTo>
                    <a:pt x="102" y="11"/>
                  </a:lnTo>
                  <a:lnTo>
                    <a:pt x="88" y="11"/>
                  </a:lnTo>
                  <a:lnTo>
                    <a:pt x="73" y="24"/>
                  </a:lnTo>
                  <a:lnTo>
                    <a:pt x="49" y="21"/>
                  </a:lnTo>
                  <a:lnTo>
                    <a:pt x="1" y="0"/>
                  </a:lnTo>
                  <a:lnTo>
                    <a:pt x="0" y="15"/>
                  </a:lnTo>
                  <a:lnTo>
                    <a:pt x="13" y="21"/>
                  </a:lnTo>
                  <a:lnTo>
                    <a:pt x="16" y="85"/>
                  </a:lnTo>
                  <a:lnTo>
                    <a:pt x="16" y="85"/>
                  </a:lnTo>
                  <a:lnTo>
                    <a:pt x="16" y="8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66" name="Freeform 216">
              <a:extLst>
                <a:ext uri="{FF2B5EF4-FFF2-40B4-BE49-F238E27FC236}">
                  <a16:creationId xmlns:a16="http://schemas.microsoft.com/office/drawing/2014/main" id="{FFF7095E-6B3C-4987-AE59-12B24BD215EA}"/>
                </a:ext>
              </a:extLst>
            </p:cNvPr>
            <p:cNvSpPr>
              <a:spLocks/>
            </p:cNvSpPr>
            <p:nvPr/>
          </p:nvSpPr>
          <p:spPr bwMode="auto">
            <a:xfrm>
              <a:off x="7101211" y="2588525"/>
              <a:ext cx="552996" cy="434494"/>
            </a:xfrm>
            <a:custGeom>
              <a:avLst/>
              <a:gdLst>
                <a:gd name="T0" fmla="*/ 34 w 298"/>
                <a:gd name="T1" fmla="*/ 118 h 225"/>
                <a:gd name="T2" fmla="*/ 63 w 298"/>
                <a:gd name="T3" fmla="*/ 118 h 225"/>
                <a:gd name="T4" fmla="*/ 77 w 298"/>
                <a:gd name="T5" fmla="*/ 113 h 225"/>
                <a:gd name="T6" fmla="*/ 71 w 298"/>
                <a:gd name="T7" fmla="*/ 86 h 225"/>
                <a:gd name="T8" fmla="*/ 35 w 298"/>
                <a:gd name="T9" fmla="*/ 79 h 225"/>
                <a:gd name="T10" fmla="*/ 32 w 298"/>
                <a:gd name="T11" fmla="*/ 63 h 225"/>
                <a:gd name="T12" fmla="*/ 67 w 298"/>
                <a:gd name="T13" fmla="*/ 60 h 225"/>
                <a:gd name="T14" fmla="*/ 37 w 298"/>
                <a:gd name="T15" fmla="*/ 47 h 225"/>
                <a:gd name="T16" fmla="*/ 21 w 298"/>
                <a:gd name="T17" fmla="*/ 6 h 225"/>
                <a:gd name="T18" fmla="*/ 23 w 298"/>
                <a:gd name="T19" fmla="*/ 0 h 225"/>
                <a:gd name="T20" fmla="*/ 131 w 298"/>
                <a:gd name="T21" fmla="*/ 20 h 225"/>
                <a:gd name="T22" fmla="*/ 183 w 298"/>
                <a:gd name="T23" fmla="*/ 11 h 225"/>
                <a:gd name="T24" fmla="*/ 186 w 298"/>
                <a:gd name="T25" fmla="*/ 25 h 225"/>
                <a:gd name="T26" fmla="*/ 213 w 298"/>
                <a:gd name="T27" fmla="*/ 33 h 225"/>
                <a:gd name="T28" fmla="*/ 216 w 298"/>
                <a:gd name="T29" fmla="*/ 46 h 225"/>
                <a:gd name="T30" fmla="*/ 280 w 298"/>
                <a:gd name="T31" fmla="*/ 63 h 225"/>
                <a:gd name="T32" fmla="*/ 298 w 298"/>
                <a:gd name="T33" fmla="*/ 60 h 225"/>
                <a:gd name="T34" fmla="*/ 256 w 298"/>
                <a:gd name="T35" fmla="*/ 180 h 225"/>
                <a:gd name="T36" fmla="*/ 226 w 298"/>
                <a:gd name="T37" fmla="*/ 207 h 225"/>
                <a:gd name="T38" fmla="*/ 213 w 298"/>
                <a:gd name="T39" fmla="*/ 196 h 225"/>
                <a:gd name="T40" fmla="*/ 146 w 298"/>
                <a:gd name="T41" fmla="*/ 204 h 225"/>
                <a:gd name="T42" fmla="*/ 136 w 298"/>
                <a:gd name="T43" fmla="*/ 223 h 225"/>
                <a:gd name="T44" fmla="*/ 80 w 298"/>
                <a:gd name="T45" fmla="*/ 225 h 225"/>
                <a:gd name="T46" fmla="*/ 35 w 298"/>
                <a:gd name="T47" fmla="*/ 212 h 225"/>
                <a:gd name="T48" fmla="*/ 15 w 298"/>
                <a:gd name="T49" fmla="*/ 196 h 225"/>
                <a:gd name="T50" fmla="*/ 31 w 298"/>
                <a:gd name="T51" fmla="*/ 167 h 225"/>
                <a:gd name="T52" fmla="*/ 0 w 298"/>
                <a:gd name="T53" fmla="*/ 129 h 225"/>
                <a:gd name="T54" fmla="*/ 34 w 298"/>
                <a:gd name="T55" fmla="*/ 118 h 225"/>
                <a:gd name="T56" fmla="*/ 34 w 298"/>
                <a:gd name="T57" fmla="*/ 118 h 225"/>
                <a:gd name="T58" fmla="*/ 34 w 298"/>
                <a:gd name="T59" fmla="*/ 1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8" h="225">
                  <a:moveTo>
                    <a:pt x="34" y="118"/>
                  </a:moveTo>
                  <a:lnTo>
                    <a:pt x="63" y="118"/>
                  </a:lnTo>
                  <a:lnTo>
                    <a:pt x="77" y="113"/>
                  </a:lnTo>
                  <a:lnTo>
                    <a:pt x="71" y="86"/>
                  </a:lnTo>
                  <a:lnTo>
                    <a:pt x="35" y="79"/>
                  </a:lnTo>
                  <a:lnTo>
                    <a:pt x="32" y="63"/>
                  </a:lnTo>
                  <a:lnTo>
                    <a:pt x="67" y="60"/>
                  </a:lnTo>
                  <a:lnTo>
                    <a:pt x="37" y="47"/>
                  </a:lnTo>
                  <a:lnTo>
                    <a:pt x="21" y="6"/>
                  </a:lnTo>
                  <a:lnTo>
                    <a:pt x="23" y="0"/>
                  </a:lnTo>
                  <a:lnTo>
                    <a:pt x="131" y="20"/>
                  </a:lnTo>
                  <a:lnTo>
                    <a:pt x="183" y="11"/>
                  </a:lnTo>
                  <a:lnTo>
                    <a:pt x="186" y="25"/>
                  </a:lnTo>
                  <a:lnTo>
                    <a:pt x="213" y="33"/>
                  </a:lnTo>
                  <a:lnTo>
                    <a:pt x="216" y="46"/>
                  </a:lnTo>
                  <a:lnTo>
                    <a:pt x="280" y="63"/>
                  </a:lnTo>
                  <a:lnTo>
                    <a:pt x="298" y="60"/>
                  </a:lnTo>
                  <a:lnTo>
                    <a:pt x="256" y="180"/>
                  </a:lnTo>
                  <a:lnTo>
                    <a:pt x="226" y="207"/>
                  </a:lnTo>
                  <a:lnTo>
                    <a:pt x="213" y="196"/>
                  </a:lnTo>
                  <a:lnTo>
                    <a:pt x="146" y="204"/>
                  </a:lnTo>
                  <a:lnTo>
                    <a:pt x="136" y="223"/>
                  </a:lnTo>
                  <a:lnTo>
                    <a:pt x="80" y="225"/>
                  </a:lnTo>
                  <a:lnTo>
                    <a:pt x="35" y="212"/>
                  </a:lnTo>
                  <a:lnTo>
                    <a:pt x="15" y="196"/>
                  </a:lnTo>
                  <a:lnTo>
                    <a:pt x="31" y="167"/>
                  </a:lnTo>
                  <a:lnTo>
                    <a:pt x="0" y="129"/>
                  </a:lnTo>
                  <a:lnTo>
                    <a:pt x="34" y="118"/>
                  </a:lnTo>
                  <a:lnTo>
                    <a:pt x="34" y="118"/>
                  </a:lnTo>
                  <a:lnTo>
                    <a:pt x="34" y="11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67" name="Freeform 217">
              <a:extLst>
                <a:ext uri="{FF2B5EF4-FFF2-40B4-BE49-F238E27FC236}">
                  <a16:creationId xmlns:a16="http://schemas.microsoft.com/office/drawing/2014/main" id="{09371576-D1D0-459F-9ADE-9D0305C25A4B}"/>
                </a:ext>
              </a:extLst>
            </p:cNvPr>
            <p:cNvSpPr>
              <a:spLocks/>
            </p:cNvSpPr>
            <p:nvPr/>
          </p:nvSpPr>
          <p:spPr bwMode="auto">
            <a:xfrm>
              <a:off x="6804299" y="2967018"/>
              <a:ext cx="558565" cy="430630"/>
            </a:xfrm>
            <a:custGeom>
              <a:avLst/>
              <a:gdLst>
                <a:gd name="T0" fmla="*/ 0 w 301"/>
                <a:gd name="T1" fmla="*/ 47 h 223"/>
                <a:gd name="T2" fmla="*/ 34 w 301"/>
                <a:gd name="T3" fmla="*/ 5 h 223"/>
                <a:gd name="T4" fmla="*/ 82 w 301"/>
                <a:gd name="T5" fmla="*/ 48 h 223"/>
                <a:gd name="T6" fmla="*/ 120 w 301"/>
                <a:gd name="T7" fmla="*/ 58 h 223"/>
                <a:gd name="T8" fmla="*/ 114 w 301"/>
                <a:gd name="T9" fmla="*/ 15 h 223"/>
                <a:gd name="T10" fmla="*/ 130 w 301"/>
                <a:gd name="T11" fmla="*/ 7 h 223"/>
                <a:gd name="T12" fmla="*/ 131 w 301"/>
                <a:gd name="T13" fmla="*/ 40 h 223"/>
                <a:gd name="T14" fmla="*/ 151 w 301"/>
                <a:gd name="T15" fmla="*/ 34 h 223"/>
                <a:gd name="T16" fmla="*/ 151 w 301"/>
                <a:gd name="T17" fmla="*/ 15 h 223"/>
                <a:gd name="T18" fmla="*/ 175 w 301"/>
                <a:gd name="T19" fmla="*/ 0 h 223"/>
                <a:gd name="T20" fmla="*/ 195 w 301"/>
                <a:gd name="T21" fmla="*/ 16 h 223"/>
                <a:gd name="T22" fmla="*/ 240 w 301"/>
                <a:gd name="T23" fmla="*/ 29 h 223"/>
                <a:gd name="T24" fmla="*/ 282 w 301"/>
                <a:gd name="T25" fmla="*/ 112 h 223"/>
                <a:gd name="T26" fmla="*/ 285 w 301"/>
                <a:gd name="T27" fmla="*/ 187 h 223"/>
                <a:gd name="T28" fmla="*/ 301 w 301"/>
                <a:gd name="T29" fmla="*/ 199 h 223"/>
                <a:gd name="T30" fmla="*/ 256 w 301"/>
                <a:gd name="T31" fmla="*/ 218 h 223"/>
                <a:gd name="T32" fmla="*/ 215 w 301"/>
                <a:gd name="T33" fmla="*/ 202 h 223"/>
                <a:gd name="T34" fmla="*/ 186 w 301"/>
                <a:gd name="T35" fmla="*/ 210 h 223"/>
                <a:gd name="T36" fmla="*/ 173 w 301"/>
                <a:gd name="T37" fmla="*/ 210 h 223"/>
                <a:gd name="T38" fmla="*/ 170 w 301"/>
                <a:gd name="T39" fmla="*/ 223 h 223"/>
                <a:gd name="T40" fmla="*/ 143 w 301"/>
                <a:gd name="T41" fmla="*/ 203 h 223"/>
                <a:gd name="T42" fmla="*/ 122 w 301"/>
                <a:gd name="T43" fmla="*/ 200 h 223"/>
                <a:gd name="T44" fmla="*/ 117 w 301"/>
                <a:gd name="T45" fmla="*/ 186 h 223"/>
                <a:gd name="T46" fmla="*/ 91 w 301"/>
                <a:gd name="T47" fmla="*/ 179 h 223"/>
                <a:gd name="T48" fmla="*/ 59 w 301"/>
                <a:gd name="T49" fmla="*/ 155 h 223"/>
                <a:gd name="T50" fmla="*/ 51 w 301"/>
                <a:gd name="T51" fmla="*/ 123 h 223"/>
                <a:gd name="T52" fmla="*/ 19 w 301"/>
                <a:gd name="T53" fmla="*/ 79 h 223"/>
                <a:gd name="T54" fmla="*/ 2 w 301"/>
                <a:gd name="T55" fmla="*/ 63 h 223"/>
                <a:gd name="T56" fmla="*/ 0 w 301"/>
                <a:gd name="T57" fmla="*/ 47 h 223"/>
                <a:gd name="T58" fmla="*/ 0 w 301"/>
                <a:gd name="T59" fmla="*/ 47 h 223"/>
                <a:gd name="T60" fmla="*/ 0 w 301"/>
                <a:gd name="T61" fmla="*/ 4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1" h="223">
                  <a:moveTo>
                    <a:pt x="0" y="47"/>
                  </a:moveTo>
                  <a:lnTo>
                    <a:pt x="34" y="5"/>
                  </a:lnTo>
                  <a:lnTo>
                    <a:pt x="82" y="48"/>
                  </a:lnTo>
                  <a:lnTo>
                    <a:pt x="120" y="58"/>
                  </a:lnTo>
                  <a:lnTo>
                    <a:pt x="114" y="15"/>
                  </a:lnTo>
                  <a:lnTo>
                    <a:pt x="130" y="7"/>
                  </a:lnTo>
                  <a:lnTo>
                    <a:pt x="131" y="40"/>
                  </a:lnTo>
                  <a:lnTo>
                    <a:pt x="151" y="34"/>
                  </a:lnTo>
                  <a:lnTo>
                    <a:pt x="151" y="15"/>
                  </a:lnTo>
                  <a:lnTo>
                    <a:pt x="175" y="0"/>
                  </a:lnTo>
                  <a:lnTo>
                    <a:pt x="195" y="16"/>
                  </a:lnTo>
                  <a:lnTo>
                    <a:pt x="240" y="29"/>
                  </a:lnTo>
                  <a:lnTo>
                    <a:pt x="282" y="112"/>
                  </a:lnTo>
                  <a:lnTo>
                    <a:pt x="285" y="187"/>
                  </a:lnTo>
                  <a:lnTo>
                    <a:pt x="301" y="199"/>
                  </a:lnTo>
                  <a:lnTo>
                    <a:pt x="256" y="218"/>
                  </a:lnTo>
                  <a:lnTo>
                    <a:pt x="215" y="202"/>
                  </a:lnTo>
                  <a:lnTo>
                    <a:pt x="186" y="210"/>
                  </a:lnTo>
                  <a:lnTo>
                    <a:pt x="173" y="210"/>
                  </a:lnTo>
                  <a:lnTo>
                    <a:pt x="170" y="223"/>
                  </a:lnTo>
                  <a:lnTo>
                    <a:pt x="143" y="203"/>
                  </a:lnTo>
                  <a:lnTo>
                    <a:pt x="122" y="200"/>
                  </a:lnTo>
                  <a:lnTo>
                    <a:pt x="117" y="186"/>
                  </a:lnTo>
                  <a:lnTo>
                    <a:pt x="91" y="179"/>
                  </a:lnTo>
                  <a:lnTo>
                    <a:pt x="59" y="155"/>
                  </a:lnTo>
                  <a:lnTo>
                    <a:pt x="51" y="123"/>
                  </a:lnTo>
                  <a:lnTo>
                    <a:pt x="19" y="79"/>
                  </a:lnTo>
                  <a:lnTo>
                    <a:pt x="2" y="63"/>
                  </a:lnTo>
                  <a:lnTo>
                    <a:pt x="0" y="47"/>
                  </a:lnTo>
                  <a:lnTo>
                    <a:pt x="0" y="47"/>
                  </a:lnTo>
                  <a:lnTo>
                    <a:pt x="0" y="4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68" name="Freeform 218">
              <a:extLst>
                <a:ext uri="{FF2B5EF4-FFF2-40B4-BE49-F238E27FC236}">
                  <a16:creationId xmlns:a16="http://schemas.microsoft.com/office/drawing/2014/main" id="{0915990D-015A-44BE-AFCA-DA460ABEE189}"/>
                </a:ext>
              </a:extLst>
            </p:cNvPr>
            <p:cNvSpPr>
              <a:spLocks/>
            </p:cNvSpPr>
            <p:nvPr/>
          </p:nvSpPr>
          <p:spPr bwMode="auto">
            <a:xfrm>
              <a:off x="6303263" y="2325902"/>
              <a:ext cx="564130" cy="419045"/>
            </a:xfrm>
            <a:custGeom>
              <a:avLst/>
              <a:gdLst>
                <a:gd name="T0" fmla="*/ 83 w 304"/>
                <a:gd name="T1" fmla="*/ 150 h 217"/>
                <a:gd name="T2" fmla="*/ 67 w 304"/>
                <a:gd name="T3" fmla="*/ 139 h 217"/>
                <a:gd name="T4" fmla="*/ 41 w 304"/>
                <a:gd name="T5" fmla="*/ 137 h 217"/>
                <a:gd name="T6" fmla="*/ 29 w 304"/>
                <a:gd name="T7" fmla="*/ 118 h 217"/>
                <a:gd name="T8" fmla="*/ 32 w 304"/>
                <a:gd name="T9" fmla="*/ 105 h 217"/>
                <a:gd name="T10" fmla="*/ 54 w 304"/>
                <a:gd name="T11" fmla="*/ 91 h 217"/>
                <a:gd name="T12" fmla="*/ 59 w 304"/>
                <a:gd name="T13" fmla="*/ 67 h 217"/>
                <a:gd name="T14" fmla="*/ 14 w 304"/>
                <a:gd name="T15" fmla="*/ 54 h 217"/>
                <a:gd name="T16" fmla="*/ 0 w 304"/>
                <a:gd name="T17" fmla="*/ 16 h 217"/>
                <a:gd name="T18" fmla="*/ 40 w 304"/>
                <a:gd name="T19" fmla="*/ 0 h 217"/>
                <a:gd name="T20" fmla="*/ 91 w 304"/>
                <a:gd name="T21" fmla="*/ 19 h 217"/>
                <a:gd name="T22" fmla="*/ 120 w 304"/>
                <a:gd name="T23" fmla="*/ 4 h 217"/>
                <a:gd name="T24" fmla="*/ 197 w 304"/>
                <a:gd name="T25" fmla="*/ 36 h 217"/>
                <a:gd name="T26" fmla="*/ 193 w 304"/>
                <a:gd name="T27" fmla="*/ 52 h 217"/>
                <a:gd name="T28" fmla="*/ 205 w 304"/>
                <a:gd name="T29" fmla="*/ 56 h 217"/>
                <a:gd name="T30" fmla="*/ 227 w 304"/>
                <a:gd name="T31" fmla="*/ 22 h 217"/>
                <a:gd name="T32" fmla="*/ 243 w 304"/>
                <a:gd name="T33" fmla="*/ 20 h 217"/>
                <a:gd name="T34" fmla="*/ 251 w 304"/>
                <a:gd name="T35" fmla="*/ 36 h 217"/>
                <a:gd name="T36" fmla="*/ 267 w 304"/>
                <a:gd name="T37" fmla="*/ 33 h 217"/>
                <a:gd name="T38" fmla="*/ 273 w 304"/>
                <a:gd name="T39" fmla="*/ 51 h 217"/>
                <a:gd name="T40" fmla="*/ 264 w 304"/>
                <a:gd name="T41" fmla="*/ 70 h 217"/>
                <a:gd name="T42" fmla="*/ 291 w 304"/>
                <a:gd name="T43" fmla="*/ 78 h 217"/>
                <a:gd name="T44" fmla="*/ 304 w 304"/>
                <a:gd name="T45" fmla="*/ 121 h 217"/>
                <a:gd name="T46" fmla="*/ 288 w 304"/>
                <a:gd name="T47" fmla="*/ 148 h 217"/>
                <a:gd name="T48" fmla="*/ 291 w 304"/>
                <a:gd name="T49" fmla="*/ 169 h 217"/>
                <a:gd name="T50" fmla="*/ 289 w 304"/>
                <a:gd name="T51" fmla="*/ 199 h 217"/>
                <a:gd name="T52" fmla="*/ 221 w 304"/>
                <a:gd name="T53" fmla="*/ 217 h 217"/>
                <a:gd name="T54" fmla="*/ 216 w 304"/>
                <a:gd name="T55" fmla="*/ 198 h 217"/>
                <a:gd name="T56" fmla="*/ 153 w 304"/>
                <a:gd name="T57" fmla="*/ 203 h 217"/>
                <a:gd name="T58" fmla="*/ 141 w 304"/>
                <a:gd name="T59" fmla="*/ 183 h 217"/>
                <a:gd name="T60" fmla="*/ 173 w 304"/>
                <a:gd name="T61" fmla="*/ 190 h 217"/>
                <a:gd name="T62" fmla="*/ 177 w 304"/>
                <a:gd name="T63" fmla="*/ 177 h 217"/>
                <a:gd name="T64" fmla="*/ 166 w 304"/>
                <a:gd name="T65" fmla="*/ 168 h 217"/>
                <a:gd name="T66" fmla="*/ 133 w 304"/>
                <a:gd name="T67" fmla="*/ 172 h 217"/>
                <a:gd name="T68" fmla="*/ 134 w 304"/>
                <a:gd name="T69" fmla="*/ 182 h 217"/>
                <a:gd name="T70" fmla="*/ 99 w 304"/>
                <a:gd name="T71" fmla="*/ 177 h 217"/>
                <a:gd name="T72" fmla="*/ 83 w 304"/>
                <a:gd name="T73" fmla="*/ 150 h 217"/>
                <a:gd name="T74" fmla="*/ 83 w 304"/>
                <a:gd name="T75" fmla="*/ 150 h 217"/>
                <a:gd name="T76" fmla="*/ 83 w 304"/>
                <a:gd name="T77" fmla="*/ 15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4" h="217">
                  <a:moveTo>
                    <a:pt x="83" y="150"/>
                  </a:moveTo>
                  <a:lnTo>
                    <a:pt x="67" y="139"/>
                  </a:lnTo>
                  <a:lnTo>
                    <a:pt x="41" y="137"/>
                  </a:lnTo>
                  <a:lnTo>
                    <a:pt x="29" y="118"/>
                  </a:lnTo>
                  <a:lnTo>
                    <a:pt x="32" y="105"/>
                  </a:lnTo>
                  <a:lnTo>
                    <a:pt x="54" y="91"/>
                  </a:lnTo>
                  <a:lnTo>
                    <a:pt x="59" y="67"/>
                  </a:lnTo>
                  <a:lnTo>
                    <a:pt x="14" y="54"/>
                  </a:lnTo>
                  <a:lnTo>
                    <a:pt x="0" y="16"/>
                  </a:lnTo>
                  <a:lnTo>
                    <a:pt x="40" y="0"/>
                  </a:lnTo>
                  <a:lnTo>
                    <a:pt x="91" y="19"/>
                  </a:lnTo>
                  <a:lnTo>
                    <a:pt x="120" y="4"/>
                  </a:lnTo>
                  <a:lnTo>
                    <a:pt x="197" y="36"/>
                  </a:lnTo>
                  <a:lnTo>
                    <a:pt x="193" y="52"/>
                  </a:lnTo>
                  <a:lnTo>
                    <a:pt x="205" y="56"/>
                  </a:lnTo>
                  <a:lnTo>
                    <a:pt x="227" y="22"/>
                  </a:lnTo>
                  <a:lnTo>
                    <a:pt x="243" y="20"/>
                  </a:lnTo>
                  <a:lnTo>
                    <a:pt x="251" y="36"/>
                  </a:lnTo>
                  <a:lnTo>
                    <a:pt x="267" y="33"/>
                  </a:lnTo>
                  <a:lnTo>
                    <a:pt x="273" y="51"/>
                  </a:lnTo>
                  <a:lnTo>
                    <a:pt x="264" y="70"/>
                  </a:lnTo>
                  <a:lnTo>
                    <a:pt x="291" y="78"/>
                  </a:lnTo>
                  <a:lnTo>
                    <a:pt x="304" y="121"/>
                  </a:lnTo>
                  <a:lnTo>
                    <a:pt x="288" y="148"/>
                  </a:lnTo>
                  <a:lnTo>
                    <a:pt x="291" y="169"/>
                  </a:lnTo>
                  <a:lnTo>
                    <a:pt x="289" y="199"/>
                  </a:lnTo>
                  <a:lnTo>
                    <a:pt x="221" y="217"/>
                  </a:lnTo>
                  <a:lnTo>
                    <a:pt x="216" y="198"/>
                  </a:lnTo>
                  <a:lnTo>
                    <a:pt x="153" y="203"/>
                  </a:lnTo>
                  <a:lnTo>
                    <a:pt x="141" y="183"/>
                  </a:lnTo>
                  <a:lnTo>
                    <a:pt x="173" y="190"/>
                  </a:lnTo>
                  <a:lnTo>
                    <a:pt x="177" y="177"/>
                  </a:lnTo>
                  <a:lnTo>
                    <a:pt x="166" y="168"/>
                  </a:lnTo>
                  <a:lnTo>
                    <a:pt x="133" y="172"/>
                  </a:lnTo>
                  <a:lnTo>
                    <a:pt x="134" y="182"/>
                  </a:lnTo>
                  <a:lnTo>
                    <a:pt x="99" y="177"/>
                  </a:lnTo>
                  <a:lnTo>
                    <a:pt x="83" y="150"/>
                  </a:lnTo>
                  <a:lnTo>
                    <a:pt x="83" y="150"/>
                  </a:lnTo>
                  <a:lnTo>
                    <a:pt x="83" y="15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69" name="Freeform 219">
              <a:extLst>
                <a:ext uri="{FF2B5EF4-FFF2-40B4-BE49-F238E27FC236}">
                  <a16:creationId xmlns:a16="http://schemas.microsoft.com/office/drawing/2014/main" id="{08EA08F0-F324-482F-8CCE-D17691FF3061}"/>
                </a:ext>
              </a:extLst>
            </p:cNvPr>
            <p:cNvSpPr>
              <a:spLocks/>
            </p:cNvSpPr>
            <p:nvPr/>
          </p:nvSpPr>
          <p:spPr bwMode="auto">
            <a:xfrm>
              <a:off x="6436871" y="2756530"/>
              <a:ext cx="64948" cy="65658"/>
            </a:xfrm>
            <a:custGeom>
              <a:avLst/>
              <a:gdLst>
                <a:gd name="T0" fmla="*/ 0 w 35"/>
                <a:gd name="T1" fmla="*/ 0 h 34"/>
                <a:gd name="T2" fmla="*/ 35 w 35"/>
                <a:gd name="T3" fmla="*/ 26 h 34"/>
                <a:gd name="T4" fmla="*/ 30 w 35"/>
                <a:gd name="T5" fmla="*/ 34 h 34"/>
                <a:gd name="T6" fmla="*/ 1 w 35"/>
                <a:gd name="T7" fmla="*/ 28 h 34"/>
                <a:gd name="T8" fmla="*/ 0 w 35"/>
                <a:gd name="T9" fmla="*/ 0 h 34"/>
                <a:gd name="T10" fmla="*/ 0 w 35"/>
                <a:gd name="T11" fmla="*/ 0 h 34"/>
                <a:gd name="T12" fmla="*/ 0 w 35"/>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35" h="34">
                  <a:moveTo>
                    <a:pt x="0" y="0"/>
                  </a:moveTo>
                  <a:lnTo>
                    <a:pt x="35" y="26"/>
                  </a:lnTo>
                  <a:lnTo>
                    <a:pt x="30" y="34"/>
                  </a:lnTo>
                  <a:lnTo>
                    <a:pt x="1" y="28"/>
                  </a:lnTo>
                  <a:lnTo>
                    <a:pt x="0" y="0"/>
                  </a:lnTo>
                  <a:lnTo>
                    <a:pt x="0" y="0"/>
                  </a:lnTo>
                  <a:lnTo>
                    <a:pt x="0" y="0"/>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0" name="Freeform 220">
              <a:extLst>
                <a:ext uri="{FF2B5EF4-FFF2-40B4-BE49-F238E27FC236}">
                  <a16:creationId xmlns:a16="http://schemas.microsoft.com/office/drawing/2014/main" id="{3BDCB14B-D804-466E-8C12-332A999ABC8B}"/>
                </a:ext>
              </a:extLst>
            </p:cNvPr>
            <p:cNvSpPr>
              <a:spLocks/>
            </p:cNvSpPr>
            <p:nvPr/>
          </p:nvSpPr>
          <p:spPr bwMode="auto">
            <a:xfrm>
              <a:off x="8062457" y="1240633"/>
              <a:ext cx="591967" cy="422906"/>
            </a:xfrm>
            <a:custGeom>
              <a:avLst/>
              <a:gdLst>
                <a:gd name="T0" fmla="*/ 29 w 319"/>
                <a:gd name="T1" fmla="*/ 45 h 219"/>
                <a:gd name="T2" fmla="*/ 36 w 319"/>
                <a:gd name="T3" fmla="*/ 53 h 219"/>
                <a:gd name="T4" fmla="*/ 53 w 319"/>
                <a:gd name="T5" fmla="*/ 56 h 219"/>
                <a:gd name="T6" fmla="*/ 26 w 319"/>
                <a:gd name="T7" fmla="*/ 27 h 219"/>
                <a:gd name="T8" fmla="*/ 32 w 319"/>
                <a:gd name="T9" fmla="*/ 0 h 219"/>
                <a:gd name="T10" fmla="*/ 52 w 319"/>
                <a:gd name="T11" fmla="*/ 13 h 219"/>
                <a:gd name="T12" fmla="*/ 69 w 319"/>
                <a:gd name="T13" fmla="*/ 7 h 219"/>
                <a:gd name="T14" fmla="*/ 135 w 319"/>
                <a:gd name="T15" fmla="*/ 48 h 219"/>
                <a:gd name="T16" fmla="*/ 196 w 319"/>
                <a:gd name="T17" fmla="*/ 43 h 219"/>
                <a:gd name="T18" fmla="*/ 176 w 319"/>
                <a:gd name="T19" fmla="*/ 69 h 219"/>
                <a:gd name="T20" fmla="*/ 247 w 319"/>
                <a:gd name="T21" fmla="*/ 77 h 219"/>
                <a:gd name="T22" fmla="*/ 242 w 319"/>
                <a:gd name="T23" fmla="*/ 91 h 219"/>
                <a:gd name="T24" fmla="*/ 303 w 319"/>
                <a:gd name="T25" fmla="*/ 93 h 219"/>
                <a:gd name="T26" fmla="*/ 319 w 319"/>
                <a:gd name="T27" fmla="*/ 101 h 219"/>
                <a:gd name="T28" fmla="*/ 300 w 319"/>
                <a:gd name="T29" fmla="*/ 154 h 219"/>
                <a:gd name="T30" fmla="*/ 308 w 319"/>
                <a:gd name="T31" fmla="*/ 187 h 219"/>
                <a:gd name="T32" fmla="*/ 269 w 319"/>
                <a:gd name="T33" fmla="*/ 191 h 219"/>
                <a:gd name="T34" fmla="*/ 226 w 319"/>
                <a:gd name="T35" fmla="*/ 219 h 219"/>
                <a:gd name="T36" fmla="*/ 154 w 319"/>
                <a:gd name="T37" fmla="*/ 191 h 219"/>
                <a:gd name="T38" fmla="*/ 82 w 319"/>
                <a:gd name="T39" fmla="*/ 186 h 219"/>
                <a:gd name="T40" fmla="*/ 66 w 319"/>
                <a:gd name="T41" fmla="*/ 167 h 219"/>
                <a:gd name="T42" fmla="*/ 55 w 319"/>
                <a:gd name="T43" fmla="*/ 135 h 219"/>
                <a:gd name="T44" fmla="*/ 0 w 319"/>
                <a:gd name="T45" fmla="*/ 83 h 219"/>
                <a:gd name="T46" fmla="*/ 12 w 319"/>
                <a:gd name="T47" fmla="*/ 75 h 219"/>
                <a:gd name="T48" fmla="*/ 18 w 319"/>
                <a:gd name="T49" fmla="*/ 53 h 219"/>
                <a:gd name="T50" fmla="*/ 29 w 319"/>
                <a:gd name="T51" fmla="*/ 45 h 219"/>
                <a:gd name="T52" fmla="*/ 29 w 319"/>
                <a:gd name="T53" fmla="*/ 45 h 219"/>
                <a:gd name="T54" fmla="*/ 29 w 319"/>
                <a:gd name="T55" fmla="*/ 4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9" h="219">
                  <a:moveTo>
                    <a:pt x="29" y="45"/>
                  </a:moveTo>
                  <a:lnTo>
                    <a:pt x="36" y="53"/>
                  </a:lnTo>
                  <a:lnTo>
                    <a:pt x="53" y="56"/>
                  </a:lnTo>
                  <a:lnTo>
                    <a:pt x="26" y="27"/>
                  </a:lnTo>
                  <a:lnTo>
                    <a:pt x="32" y="0"/>
                  </a:lnTo>
                  <a:lnTo>
                    <a:pt x="52" y="13"/>
                  </a:lnTo>
                  <a:lnTo>
                    <a:pt x="69" y="7"/>
                  </a:lnTo>
                  <a:lnTo>
                    <a:pt x="135" y="48"/>
                  </a:lnTo>
                  <a:lnTo>
                    <a:pt x="196" y="43"/>
                  </a:lnTo>
                  <a:lnTo>
                    <a:pt x="176" y="69"/>
                  </a:lnTo>
                  <a:lnTo>
                    <a:pt x="247" y="77"/>
                  </a:lnTo>
                  <a:lnTo>
                    <a:pt x="242" y="91"/>
                  </a:lnTo>
                  <a:lnTo>
                    <a:pt x="303" y="93"/>
                  </a:lnTo>
                  <a:lnTo>
                    <a:pt x="319" y="101"/>
                  </a:lnTo>
                  <a:lnTo>
                    <a:pt x="300" y="154"/>
                  </a:lnTo>
                  <a:lnTo>
                    <a:pt x="308" y="187"/>
                  </a:lnTo>
                  <a:lnTo>
                    <a:pt x="269" y="191"/>
                  </a:lnTo>
                  <a:lnTo>
                    <a:pt x="226" y="219"/>
                  </a:lnTo>
                  <a:lnTo>
                    <a:pt x="154" y="191"/>
                  </a:lnTo>
                  <a:lnTo>
                    <a:pt x="82" y="186"/>
                  </a:lnTo>
                  <a:lnTo>
                    <a:pt x="66" y="167"/>
                  </a:lnTo>
                  <a:lnTo>
                    <a:pt x="55" y="135"/>
                  </a:lnTo>
                  <a:lnTo>
                    <a:pt x="0" y="83"/>
                  </a:lnTo>
                  <a:lnTo>
                    <a:pt x="12" y="75"/>
                  </a:lnTo>
                  <a:lnTo>
                    <a:pt x="18" y="53"/>
                  </a:lnTo>
                  <a:lnTo>
                    <a:pt x="29" y="45"/>
                  </a:lnTo>
                  <a:lnTo>
                    <a:pt x="29" y="45"/>
                  </a:lnTo>
                  <a:lnTo>
                    <a:pt x="29" y="4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71" name="Freeform 221">
              <a:extLst>
                <a:ext uri="{FF2B5EF4-FFF2-40B4-BE49-F238E27FC236}">
                  <a16:creationId xmlns:a16="http://schemas.microsoft.com/office/drawing/2014/main" id="{9DB1A05C-76A8-40DC-A598-96737E267E70}"/>
                </a:ext>
              </a:extLst>
            </p:cNvPr>
            <p:cNvSpPr>
              <a:spLocks/>
            </p:cNvSpPr>
            <p:nvPr/>
          </p:nvSpPr>
          <p:spPr bwMode="auto">
            <a:xfrm>
              <a:off x="7620802" y="1400911"/>
              <a:ext cx="564130" cy="436423"/>
            </a:xfrm>
            <a:custGeom>
              <a:avLst/>
              <a:gdLst>
                <a:gd name="T0" fmla="*/ 166 w 304"/>
                <a:gd name="T1" fmla="*/ 226 h 226"/>
                <a:gd name="T2" fmla="*/ 144 w 304"/>
                <a:gd name="T3" fmla="*/ 207 h 226"/>
                <a:gd name="T4" fmla="*/ 154 w 304"/>
                <a:gd name="T5" fmla="*/ 194 h 226"/>
                <a:gd name="T6" fmla="*/ 128 w 304"/>
                <a:gd name="T7" fmla="*/ 181 h 226"/>
                <a:gd name="T8" fmla="*/ 101 w 304"/>
                <a:gd name="T9" fmla="*/ 183 h 226"/>
                <a:gd name="T10" fmla="*/ 78 w 304"/>
                <a:gd name="T11" fmla="*/ 160 h 226"/>
                <a:gd name="T12" fmla="*/ 54 w 304"/>
                <a:gd name="T13" fmla="*/ 173 h 226"/>
                <a:gd name="T14" fmla="*/ 14 w 304"/>
                <a:gd name="T15" fmla="*/ 167 h 226"/>
                <a:gd name="T16" fmla="*/ 0 w 304"/>
                <a:gd name="T17" fmla="*/ 151 h 226"/>
                <a:gd name="T18" fmla="*/ 21 w 304"/>
                <a:gd name="T19" fmla="*/ 101 h 226"/>
                <a:gd name="T20" fmla="*/ 99 w 304"/>
                <a:gd name="T21" fmla="*/ 58 h 226"/>
                <a:gd name="T22" fmla="*/ 131 w 304"/>
                <a:gd name="T23" fmla="*/ 55 h 226"/>
                <a:gd name="T24" fmla="*/ 162 w 304"/>
                <a:gd name="T25" fmla="*/ 44 h 226"/>
                <a:gd name="T26" fmla="*/ 174 w 304"/>
                <a:gd name="T27" fmla="*/ 44 h 226"/>
                <a:gd name="T28" fmla="*/ 206 w 304"/>
                <a:gd name="T29" fmla="*/ 29 h 226"/>
                <a:gd name="T30" fmla="*/ 238 w 304"/>
                <a:gd name="T31" fmla="*/ 0 h 226"/>
                <a:gd name="T32" fmla="*/ 293 w 304"/>
                <a:gd name="T33" fmla="*/ 52 h 226"/>
                <a:gd name="T34" fmla="*/ 304 w 304"/>
                <a:gd name="T35" fmla="*/ 84 h 226"/>
                <a:gd name="T36" fmla="*/ 293 w 304"/>
                <a:gd name="T37" fmla="*/ 106 h 226"/>
                <a:gd name="T38" fmla="*/ 301 w 304"/>
                <a:gd name="T39" fmla="*/ 165 h 226"/>
                <a:gd name="T40" fmla="*/ 296 w 304"/>
                <a:gd name="T41" fmla="*/ 188 h 226"/>
                <a:gd name="T42" fmla="*/ 238 w 304"/>
                <a:gd name="T43" fmla="*/ 172 h 226"/>
                <a:gd name="T44" fmla="*/ 166 w 304"/>
                <a:gd name="T45" fmla="*/ 226 h 226"/>
                <a:gd name="T46" fmla="*/ 166 w 304"/>
                <a:gd name="T47" fmla="*/ 226 h 226"/>
                <a:gd name="T48" fmla="*/ 166 w 304"/>
                <a:gd name="T49"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4" h="226">
                  <a:moveTo>
                    <a:pt x="166" y="226"/>
                  </a:moveTo>
                  <a:lnTo>
                    <a:pt x="144" y="207"/>
                  </a:lnTo>
                  <a:lnTo>
                    <a:pt x="154" y="194"/>
                  </a:lnTo>
                  <a:lnTo>
                    <a:pt x="128" y="181"/>
                  </a:lnTo>
                  <a:lnTo>
                    <a:pt x="101" y="183"/>
                  </a:lnTo>
                  <a:lnTo>
                    <a:pt x="78" y="160"/>
                  </a:lnTo>
                  <a:lnTo>
                    <a:pt x="54" y="173"/>
                  </a:lnTo>
                  <a:lnTo>
                    <a:pt x="14" y="167"/>
                  </a:lnTo>
                  <a:lnTo>
                    <a:pt x="0" y="151"/>
                  </a:lnTo>
                  <a:lnTo>
                    <a:pt x="21" y="101"/>
                  </a:lnTo>
                  <a:lnTo>
                    <a:pt x="99" y="58"/>
                  </a:lnTo>
                  <a:lnTo>
                    <a:pt x="131" y="55"/>
                  </a:lnTo>
                  <a:lnTo>
                    <a:pt x="162" y="44"/>
                  </a:lnTo>
                  <a:lnTo>
                    <a:pt x="174" y="44"/>
                  </a:lnTo>
                  <a:lnTo>
                    <a:pt x="206" y="29"/>
                  </a:lnTo>
                  <a:lnTo>
                    <a:pt x="238" y="0"/>
                  </a:lnTo>
                  <a:lnTo>
                    <a:pt x="293" y="52"/>
                  </a:lnTo>
                  <a:lnTo>
                    <a:pt x="304" y="84"/>
                  </a:lnTo>
                  <a:lnTo>
                    <a:pt x="293" y="106"/>
                  </a:lnTo>
                  <a:lnTo>
                    <a:pt x="301" y="165"/>
                  </a:lnTo>
                  <a:lnTo>
                    <a:pt x="296" y="188"/>
                  </a:lnTo>
                  <a:lnTo>
                    <a:pt x="238" y="172"/>
                  </a:lnTo>
                  <a:lnTo>
                    <a:pt x="166" y="226"/>
                  </a:lnTo>
                  <a:lnTo>
                    <a:pt x="166" y="226"/>
                  </a:lnTo>
                  <a:lnTo>
                    <a:pt x="166" y="22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72" name="Freeform 222">
              <a:extLst>
                <a:ext uri="{FF2B5EF4-FFF2-40B4-BE49-F238E27FC236}">
                  <a16:creationId xmlns:a16="http://schemas.microsoft.com/office/drawing/2014/main" id="{36E32DEF-CF3E-440F-8698-1F7A82BFE9E6}"/>
                </a:ext>
              </a:extLst>
            </p:cNvPr>
            <p:cNvSpPr>
              <a:spLocks/>
            </p:cNvSpPr>
            <p:nvPr/>
          </p:nvSpPr>
          <p:spPr bwMode="auto">
            <a:xfrm>
              <a:off x="8121838" y="904623"/>
              <a:ext cx="517737" cy="515600"/>
            </a:xfrm>
            <a:custGeom>
              <a:avLst/>
              <a:gdLst>
                <a:gd name="T0" fmla="*/ 119 w 279"/>
                <a:gd name="T1" fmla="*/ 61 h 267"/>
                <a:gd name="T2" fmla="*/ 149 w 279"/>
                <a:gd name="T3" fmla="*/ 67 h 267"/>
                <a:gd name="T4" fmla="*/ 135 w 279"/>
                <a:gd name="T5" fmla="*/ 78 h 267"/>
                <a:gd name="T6" fmla="*/ 159 w 279"/>
                <a:gd name="T7" fmla="*/ 105 h 267"/>
                <a:gd name="T8" fmla="*/ 208 w 279"/>
                <a:gd name="T9" fmla="*/ 109 h 267"/>
                <a:gd name="T10" fmla="*/ 213 w 279"/>
                <a:gd name="T11" fmla="*/ 96 h 267"/>
                <a:gd name="T12" fmla="*/ 229 w 279"/>
                <a:gd name="T13" fmla="*/ 101 h 267"/>
                <a:gd name="T14" fmla="*/ 215 w 279"/>
                <a:gd name="T15" fmla="*/ 131 h 267"/>
                <a:gd name="T16" fmla="*/ 252 w 279"/>
                <a:gd name="T17" fmla="*/ 141 h 267"/>
                <a:gd name="T18" fmla="*/ 264 w 279"/>
                <a:gd name="T19" fmla="*/ 160 h 267"/>
                <a:gd name="T20" fmla="*/ 250 w 279"/>
                <a:gd name="T21" fmla="*/ 171 h 267"/>
                <a:gd name="T22" fmla="*/ 279 w 279"/>
                <a:gd name="T23" fmla="*/ 214 h 267"/>
                <a:gd name="T24" fmla="*/ 271 w 279"/>
                <a:gd name="T25" fmla="*/ 267 h 267"/>
                <a:gd name="T26" fmla="*/ 210 w 279"/>
                <a:gd name="T27" fmla="*/ 265 h 267"/>
                <a:gd name="T28" fmla="*/ 215 w 279"/>
                <a:gd name="T29" fmla="*/ 251 h 267"/>
                <a:gd name="T30" fmla="*/ 144 w 279"/>
                <a:gd name="T31" fmla="*/ 243 h 267"/>
                <a:gd name="T32" fmla="*/ 164 w 279"/>
                <a:gd name="T33" fmla="*/ 217 h 267"/>
                <a:gd name="T34" fmla="*/ 103 w 279"/>
                <a:gd name="T35" fmla="*/ 222 h 267"/>
                <a:gd name="T36" fmla="*/ 37 w 279"/>
                <a:gd name="T37" fmla="*/ 181 h 267"/>
                <a:gd name="T38" fmla="*/ 20 w 279"/>
                <a:gd name="T39" fmla="*/ 187 h 267"/>
                <a:gd name="T40" fmla="*/ 0 w 279"/>
                <a:gd name="T41" fmla="*/ 174 h 267"/>
                <a:gd name="T42" fmla="*/ 4 w 279"/>
                <a:gd name="T43" fmla="*/ 128 h 267"/>
                <a:gd name="T44" fmla="*/ 0 w 279"/>
                <a:gd name="T45" fmla="*/ 85 h 267"/>
                <a:gd name="T46" fmla="*/ 8 w 279"/>
                <a:gd name="T47" fmla="*/ 65 h 267"/>
                <a:gd name="T48" fmla="*/ 4 w 279"/>
                <a:gd name="T49" fmla="*/ 40 h 267"/>
                <a:gd name="T50" fmla="*/ 16 w 279"/>
                <a:gd name="T51" fmla="*/ 37 h 267"/>
                <a:gd name="T52" fmla="*/ 32 w 279"/>
                <a:gd name="T53" fmla="*/ 19 h 267"/>
                <a:gd name="T54" fmla="*/ 95 w 279"/>
                <a:gd name="T55" fmla="*/ 0 h 267"/>
                <a:gd name="T56" fmla="*/ 119 w 279"/>
                <a:gd name="T57" fmla="*/ 61 h 267"/>
                <a:gd name="T58" fmla="*/ 119 w 279"/>
                <a:gd name="T59" fmla="*/ 61 h 267"/>
                <a:gd name="T60" fmla="*/ 119 w 279"/>
                <a:gd name="T61" fmla="*/ 61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9" h="267">
                  <a:moveTo>
                    <a:pt x="119" y="61"/>
                  </a:moveTo>
                  <a:lnTo>
                    <a:pt x="149" y="67"/>
                  </a:lnTo>
                  <a:lnTo>
                    <a:pt x="135" y="78"/>
                  </a:lnTo>
                  <a:lnTo>
                    <a:pt x="159" y="105"/>
                  </a:lnTo>
                  <a:lnTo>
                    <a:pt x="208" y="109"/>
                  </a:lnTo>
                  <a:lnTo>
                    <a:pt x="213" y="96"/>
                  </a:lnTo>
                  <a:lnTo>
                    <a:pt x="229" y="101"/>
                  </a:lnTo>
                  <a:lnTo>
                    <a:pt x="215" y="131"/>
                  </a:lnTo>
                  <a:lnTo>
                    <a:pt x="252" y="141"/>
                  </a:lnTo>
                  <a:lnTo>
                    <a:pt x="264" y="160"/>
                  </a:lnTo>
                  <a:lnTo>
                    <a:pt x="250" y="171"/>
                  </a:lnTo>
                  <a:lnTo>
                    <a:pt x="279" y="214"/>
                  </a:lnTo>
                  <a:lnTo>
                    <a:pt x="271" y="267"/>
                  </a:lnTo>
                  <a:lnTo>
                    <a:pt x="210" y="265"/>
                  </a:lnTo>
                  <a:lnTo>
                    <a:pt x="215" y="251"/>
                  </a:lnTo>
                  <a:lnTo>
                    <a:pt x="144" y="243"/>
                  </a:lnTo>
                  <a:lnTo>
                    <a:pt x="164" y="217"/>
                  </a:lnTo>
                  <a:lnTo>
                    <a:pt x="103" y="222"/>
                  </a:lnTo>
                  <a:lnTo>
                    <a:pt x="37" y="181"/>
                  </a:lnTo>
                  <a:lnTo>
                    <a:pt x="20" y="187"/>
                  </a:lnTo>
                  <a:lnTo>
                    <a:pt x="0" y="174"/>
                  </a:lnTo>
                  <a:lnTo>
                    <a:pt x="4" y="128"/>
                  </a:lnTo>
                  <a:lnTo>
                    <a:pt x="0" y="85"/>
                  </a:lnTo>
                  <a:lnTo>
                    <a:pt x="8" y="65"/>
                  </a:lnTo>
                  <a:lnTo>
                    <a:pt x="4" y="40"/>
                  </a:lnTo>
                  <a:lnTo>
                    <a:pt x="16" y="37"/>
                  </a:lnTo>
                  <a:lnTo>
                    <a:pt x="32" y="19"/>
                  </a:lnTo>
                  <a:lnTo>
                    <a:pt x="95" y="0"/>
                  </a:lnTo>
                  <a:lnTo>
                    <a:pt x="119" y="61"/>
                  </a:lnTo>
                  <a:lnTo>
                    <a:pt x="119" y="61"/>
                  </a:lnTo>
                  <a:lnTo>
                    <a:pt x="119" y="6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73" name="Freeform 223">
              <a:extLst>
                <a:ext uri="{FF2B5EF4-FFF2-40B4-BE49-F238E27FC236}">
                  <a16:creationId xmlns:a16="http://schemas.microsoft.com/office/drawing/2014/main" id="{698229A6-480E-497E-81C6-D8A607B58A84}"/>
                </a:ext>
              </a:extLst>
            </p:cNvPr>
            <p:cNvSpPr>
              <a:spLocks/>
            </p:cNvSpPr>
            <p:nvPr/>
          </p:nvSpPr>
          <p:spPr bwMode="auto">
            <a:xfrm>
              <a:off x="8927208" y="3893939"/>
              <a:ext cx="367425" cy="587048"/>
            </a:xfrm>
            <a:custGeom>
              <a:avLst/>
              <a:gdLst>
                <a:gd name="T0" fmla="*/ 184 w 198"/>
                <a:gd name="T1" fmla="*/ 67 h 304"/>
                <a:gd name="T2" fmla="*/ 198 w 198"/>
                <a:gd name="T3" fmla="*/ 120 h 304"/>
                <a:gd name="T4" fmla="*/ 178 w 198"/>
                <a:gd name="T5" fmla="*/ 165 h 304"/>
                <a:gd name="T6" fmla="*/ 182 w 198"/>
                <a:gd name="T7" fmla="*/ 194 h 304"/>
                <a:gd name="T8" fmla="*/ 166 w 198"/>
                <a:gd name="T9" fmla="*/ 222 h 304"/>
                <a:gd name="T10" fmla="*/ 158 w 198"/>
                <a:gd name="T11" fmla="*/ 285 h 304"/>
                <a:gd name="T12" fmla="*/ 160 w 198"/>
                <a:gd name="T13" fmla="*/ 302 h 304"/>
                <a:gd name="T14" fmla="*/ 133 w 198"/>
                <a:gd name="T15" fmla="*/ 286 h 304"/>
                <a:gd name="T16" fmla="*/ 94 w 198"/>
                <a:gd name="T17" fmla="*/ 286 h 304"/>
                <a:gd name="T18" fmla="*/ 83 w 198"/>
                <a:gd name="T19" fmla="*/ 304 h 304"/>
                <a:gd name="T20" fmla="*/ 45 w 198"/>
                <a:gd name="T21" fmla="*/ 283 h 304"/>
                <a:gd name="T22" fmla="*/ 32 w 198"/>
                <a:gd name="T23" fmla="*/ 253 h 304"/>
                <a:gd name="T24" fmla="*/ 0 w 198"/>
                <a:gd name="T25" fmla="*/ 176 h 304"/>
                <a:gd name="T26" fmla="*/ 34 w 198"/>
                <a:gd name="T27" fmla="*/ 141 h 304"/>
                <a:gd name="T28" fmla="*/ 59 w 198"/>
                <a:gd name="T29" fmla="*/ 136 h 304"/>
                <a:gd name="T30" fmla="*/ 125 w 198"/>
                <a:gd name="T31" fmla="*/ 38 h 304"/>
                <a:gd name="T32" fmla="*/ 141 w 198"/>
                <a:gd name="T33" fmla="*/ 30 h 304"/>
                <a:gd name="T34" fmla="*/ 147 w 198"/>
                <a:gd name="T35" fmla="*/ 11 h 304"/>
                <a:gd name="T36" fmla="*/ 171 w 198"/>
                <a:gd name="T37" fmla="*/ 0 h 304"/>
                <a:gd name="T38" fmla="*/ 181 w 198"/>
                <a:gd name="T39" fmla="*/ 19 h 304"/>
                <a:gd name="T40" fmla="*/ 184 w 198"/>
                <a:gd name="T41" fmla="*/ 67 h 304"/>
                <a:gd name="T42" fmla="*/ 184 w 198"/>
                <a:gd name="T43" fmla="*/ 67 h 304"/>
                <a:gd name="T44" fmla="*/ 184 w 198"/>
                <a:gd name="T45" fmla="*/ 6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8" h="304">
                  <a:moveTo>
                    <a:pt x="184" y="67"/>
                  </a:moveTo>
                  <a:lnTo>
                    <a:pt x="198" y="120"/>
                  </a:lnTo>
                  <a:lnTo>
                    <a:pt x="178" y="165"/>
                  </a:lnTo>
                  <a:lnTo>
                    <a:pt x="182" y="194"/>
                  </a:lnTo>
                  <a:lnTo>
                    <a:pt x="166" y="222"/>
                  </a:lnTo>
                  <a:lnTo>
                    <a:pt x="158" y="285"/>
                  </a:lnTo>
                  <a:lnTo>
                    <a:pt x="160" y="302"/>
                  </a:lnTo>
                  <a:lnTo>
                    <a:pt x="133" y="286"/>
                  </a:lnTo>
                  <a:lnTo>
                    <a:pt x="94" y="286"/>
                  </a:lnTo>
                  <a:lnTo>
                    <a:pt x="83" y="304"/>
                  </a:lnTo>
                  <a:lnTo>
                    <a:pt x="45" y="283"/>
                  </a:lnTo>
                  <a:lnTo>
                    <a:pt x="32" y="253"/>
                  </a:lnTo>
                  <a:lnTo>
                    <a:pt x="0" y="176"/>
                  </a:lnTo>
                  <a:lnTo>
                    <a:pt x="34" y="141"/>
                  </a:lnTo>
                  <a:lnTo>
                    <a:pt x="59" y="136"/>
                  </a:lnTo>
                  <a:lnTo>
                    <a:pt x="125" y="38"/>
                  </a:lnTo>
                  <a:lnTo>
                    <a:pt x="141" y="30"/>
                  </a:lnTo>
                  <a:lnTo>
                    <a:pt x="147" y="11"/>
                  </a:lnTo>
                  <a:lnTo>
                    <a:pt x="171" y="0"/>
                  </a:lnTo>
                  <a:lnTo>
                    <a:pt x="181" y="19"/>
                  </a:lnTo>
                  <a:lnTo>
                    <a:pt x="184" y="67"/>
                  </a:lnTo>
                  <a:lnTo>
                    <a:pt x="184" y="67"/>
                  </a:lnTo>
                  <a:lnTo>
                    <a:pt x="184" y="67"/>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4" name="Freeform 224">
              <a:extLst>
                <a:ext uri="{FF2B5EF4-FFF2-40B4-BE49-F238E27FC236}">
                  <a16:creationId xmlns:a16="http://schemas.microsoft.com/office/drawing/2014/main" id="{64BB74B2-3F40-4504-8AEF-FCB2B818ED22}"/>
                </a:ext>
              </a:extLst>
            </p:cNvPr>
            <p:cNvSpPr>
              <a:spLocks/>
            </p:cNvSpPr>
            <p:nvPr/>
          </p:nvSpPr>
          <p:spPr bwMode="auto">
            <a:xfrm>
              <a:off x="9155457" y="2127000"/>
              <a:ext cx="436088" cy="571602"/>
            </a:xfrm>
            <a:custGeom>
              <a:avLst/>
              <a:gdLst>
                <a:gd name="T0" fmla="*/ 151 w 235"/>
                <a:gd name="T1" fmla="*/ 275 h 296"/>
                <a:gd name="T2" fmla="*/ 200 w 235"/>
                <a:gd name="T3" fmla="*/ 271 h 296"/>
                <a:gd name="T4" fmla="*/ 200 w 235"/>
                <a:gd name="T5" fmla="*/ 240 h 296"/>
                <a:gd name="T6" fmla="*/ 235 w 235"/>
                <a:gd name="T7" fmla="*/ 203 h 296"/>
                <a:gd name="T8" fmla="*/ 187 w 235"/>
                <a:gd name="T9" fmla="*/ 159 h 296"/>
                <a:gd name="T10" fmla="*/ 200 w 235"/>
                <a:gd name="T11" fmla="*/ 127 h 296"/>
                <a:gd name="T12" fmla="*/ 139 w 235"/>
                <a:gd name="T13" fmla="*/ 80 h 296"/>
                <a:gd name="T14" fmla="*/ 152 w 235"/>
                <a:gd name="T15" fmla="*/ 71 h 296"/>
                <a:gd name="T16" fmla="*/ 64 w 235"/>
                <a:gd name="T17" fmla="*/ 16 h 296"/>
                <a:gd name="T18" fmla="*/ 64 w 235"/>
                <a:gd name="T19" fmla="*/ 0 h 296"/>
                <a:gd name="T20" fmla="*/ 27 w 235"/>
                <a:gd name="T21" fmla="*/ 7 h 296"/>
                <a:gd name="T22" fmla="*/ 40 w 235"/>
                <a:gd name="T23" fmla="*/ 19 h 296"/>
                <a:gd name="T24" fmla="*/ 23 w 235"/>
                <a:gd name="T25" fmla="*/ 27 h 296"/>
                <a:gd name="T26" fmla="*/ 29 w 235"/>
                <a:gd name="T27" fmla="*/ 43 h 296"/>
                <a:gd name="T28" fmla="*/ 7 w 235"/>
                <a:gd name="T29" fmla="*/ 43 h 296"/>
                <a:gd name="T30" fmla="*/ 0 w 235"/>
                <a:gd name="T31" fmla="*/ 64 h 296"/>
                <a:gd name="T32" fmla="*/ 40 w 235"/>
                <a:gd name="T33" fmla="*/ 107 h 296"/>
                <a:gd name="T34" fmla="*/ 40 w 235"/>
                <a:gd name="T35" fmla="*/ 160 h 296"/>
                <a:gd name="T36" fmla="*/ 16 w 235"/>
                <a:gd name="T37" fmla="*/ 160 h 296"/>
                <a:gd name="T38" fmla="*/ 16 w 235"/>
                <a:gd name="T39" fmla="*/ 186 h 296"/>
                <a:gd name="T40" fmla="*/ 31 w 235"/>
                <a:gd name="T41" fmla="*/ 192 h 296"/>
                <a:gd name="T42" fmla="*/ 72 w 235"/>
                <a:gd name="T43" fmla="*/ 240 h 296"/>
                <a:gd name="T44" fmla="*/ 61 w 235"/>
                <a:gd name="T45" fmla="*/ 251 h 296"/>
                <a:gd name="T46" fmla="*/ 69 w 235"/>
                <a:gd name="T47" fmla="*/ 271 h 296"/>
                <a:gd name="T48" fmla="*/ 125 w 235"/>
                <a:gd name="T49" fmla="*/ 296 h 296"/>
                <a:gd name="T50" fmla="*/ 144 w 235"/>
                <a:gd name="T51" fmla="*/ 296 h 296"/>
                <a:gd name="T52" fmla="*/ 151 w 235"/>
                <a:gd name="T53" fmla="*/ 275 h 296"/>
                <a:gd name="T54" fmla="*/ 151 w 235"/>
                <a:gd name="T55" fmla="*/ 275 h 296"/>
                <a:gd name="T56" fmla="*/ 151 w 235"/>
                <a:gd name="T57" fmla="*/ 27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296">
                  <a:moveTo>
                    <a:pt x="151" y="275"/>
                  </a:moveTo>
                  <a:lnTo>
                    <a:pt x="200" y="271"/>
                  </a:lnTo>
                  <a:lnTo>
                    <a:pt x="200" y="240"/>
                  </a:lnTo>
                  <a:lnTo>
                    <a:pt x="235" y="203"/>
                  </a:lnTo>
                  <a:lnTo>
                    <a:pt x="187" y="159"/>
                  </a:lnTo>
                  <a:lnTo>
                    <a:pt x="200" y="127"/>
                  </a:lnTo>
                  <a:lnTo>
                    <a:pt x="139" y="80"/>
                  </a:lnTo>
                  <a:lnTo>
                    <a:pt x="152" y="71"/>
                  </a:lnTo>
                  <a:lnTo>
                    <a:pt x="64" y="16"/>
                  </a:lnTo>
                  <a:lnTo>
                    <a:pt x="64" y="0"/>
                  </a:lnTo>
                  <a:lnTo>
                    <a:pt x="27" y="7"/>
                  </a:lnTo>
                  <a:lnTo>
                    <a:pt x="40" y="19"/>
                  </a:lnTo>
                  <a:lnTo>
                    <a:pt x="23" y="27"/>
                  </a:lnTo>
                  <a:lnTo>
                    <a:pt x="29" y="43"/>
                  </a:lnTo>
                  <a:lnTo>
                    <a:pt x="7" y="43"/>
                  </a:lnTo>
                  <a:lnTo>
                    <a:pt x="0" y="64"/>
                  </a:lnTo>
                  <a:lnTo>
                    <a:pt x="40" y="107"/>
                  </a:lnTo>
                  <a:lnTo>
                    <a:pt x="40" y="160"/>
                  </a:lnTo>
                  <a:lnTo>
                    <a:pt x="16" y="160"/>
                  </a:lnTo>
                  <a:lnTo>
                    <a:pt x="16" y="186"/>
                  </a:lnTo>
                  <a:lnTo>
                    <a:pt x="31" y="192"/>
                  </a:lnTo>
                  <a:lnTo>
                    <a:pt x="72" y="240"/>
                  </a:lnTo>
                  <a:lnTo>
                    <a:pt x="61" y="251"/>
                  </a:lnTo>
                  <a:lnTo>
                    <a:pt x="69" y="271"/>
                  </a:lnTo>
                  <a:lnTo>
                    <a:pt x="125" y="296"/>
                  </a:lnTo>
                  <a:lnTo>
                    <a:pt x="144" y="296"/>
                  </a:lnTo>
                  <a:lnTo>
                    <a:pt x="151" y="275"/>
                  </a:lnTo>
                  <a:lnTo>
                    <a:pt x="151" y="275"/>
                  </a:lnTo>
                  <a:lnTo>
                    <a:pt x="151" y="27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75" name="Freeform 225">
              <a:extLst>
                <a:ext uri="{FF2B5EF4-FFF2-40B4-BE49-F238E27FC236}">
                  <a16:creationId xmlns:a16="http://schemas.microsoft.com/office/drawing/2014/main" id="{19BDE62D-F13C-4493-BF6D-B74D2DB1B7E6}"/>
                </a:ext>
              </a:extLst>
            </p:cNvPr>
            <p:cNvSpPr>
              <a:spLocks/>
            </p:cNvSpPr>
            <p:nvPr/>
          </p:nvSpPr>
          <p:spPr bwMode="auto">
            <a:xfrm>
              <a:off x="8737928" y="1756230"/>
              <a:ext cx="541862" cy="469252"/>
            </a:xfrm>
            <a:custGeom>
              <a:avLst/>
              <a:gdLst>
                <a:gd name="T0" fmla="*/ 48 w 292"/>
                <a:gd name="T1" fmla="*/ 104 h 243"/>
                <a:gd name="T2" fmla="*/ 11 w 292"/>
                <a:gd name="T3" fmla="*/ 157 h 243"/>
                <a:gd name="T4" fmla="*/ 0 w 292"/>
                <a:gd name="T5" fmla="*/ 176 h 243"/>
                <a:gd name="T6" fmla="*/ 20 w 292"/>
                <a:gd name="T7" fmla="*/ 218 h 243"/>
                <a:gd name="T8" fmla="*/ 44 w 292"/>
                <a:gd name="T9" fmla="*/ 239 h 243"/>
                <a:gd name="T10" fmla="*/ 73 w 292"/>
                <a:gd name="T11" fmla="*/ 243 h 243"/>
                <a:gd name="T12" fmla="*/ 123 w 292"/>
                <a:gd name="T13" fmla="*/ 195 h 243"/>
                <a:gd name="T14" fmla="*/ 164 w 292"/>
                <a:gd name="T15" fmla="*/ 189 h 243"/>
                <a:gd name="T16" fmla="*/ 168 w 292"/>
                <a:gd name="T17" fmla="*/ 218 h 243"/>
                <a:gd name="T18" fmla="*/ 187 w 292"/>
                <a:gd name="T19" fmla="*/ 234 h 243"/>
                <a:gd name="T20" fmla="*/ 232 w 292"/>
                <a:gd name="T21" fmla="*/ 235 h 243"/>
                <a:gd name="T22" fmla="*/ 254 w 292"/>
                <a:gd name="T23" fmla="*/ 235 h 243"/>
                <a:gd name="T24" fmla="*/ 248 w 292"/>
                <a:gd name="T25" fmla="*/ 219 h 243"/>
                <a:gd name="T26" fmla="*/ 265 w 292"/>
                <a:gd name="T27" fmla="*/ 211 h 243"/>
                <a:gd name="T28" fmla="*/ 252 w 292"/>
                <a:gd name="T29" fmla="*/ 199 h 243"/>
                <a:gd name="T30" fmla="*/ 289 w 292"/>
                <a:gd name="T31" fmla="*/ 192 h 243"/>
                <a:gd name="T32" fmla="*/ 291 w 292"/>
                <a:gd name="T33" fmla="*/ 178 h 243"/>
                <a:gd name="T34" fmla="*/ 270 w 292"/>
                <a:gd name="T35" fmla="*/ 160 h 243"/>
                <a:gd name="T36" fmla="*/ 275 w 292"/>
                <a:gd name="T37" fmla="*/ 128 h 243"/>
                <a:gd name="T38" fmla="*/ 292 w 292"/>
                <a:gd name="T39" fmla="*/ 120 h 243"/>
                <a:gd name="T40" fmla="*/ 276 w 292"/>
                <a:gd name="T41" fmla="*/ 39 h 243"/>
                <a:gd name="T42" fmla="*/ 216 w 292"/>
                <a:gd name="T43" fmla="*/ 42 h 243"/>
                <a:gd name="T44" fmla="*/ 209 w 292"/>
                <a:gd name="T45" fmla="*/ 28 h 243"/>
                <a:gd name="T46" fmla="*/ 184 w 292"/>
                <a:gd name="T47" fmla="*/ 32 h 243"/>
                <a:gd name="T48" fmla="*/ 136 w 292"/>
                <a:gd name="T49" fmla="*/ 0 h 243"/>
                <a:gd name="T50" fmla="*/ 110 w 292"/>
                <a:gd name="T51" fmla="*/ 0 h 243"/>
                <a:gd name="T52" fmla="*/ 110 w 292"/>
                <a:gd name="T53" fmla="*/ 13 h 243"/>
                <a:gd name="T54" fmla="*/ 89 w 292"/>
                <a:gd name="T55" fmla="*/ 2 h 243"/>
                <a:gd name="T56" fmla="*/ 36 w 292"/>
                <a:gd name="T57" fmla="*/ 28 h 243"/>
                <a:gd name="T58" fmla="*/ 57 w 292"/>
                <a:gd name="T59" fmla="*/ 69 h 243"/>
                <a:gd name="T60" fmla="*/ 36 w 292"/>
                <a:gd name="T61" fmla="*/ 72 h 243"/>
                <a:gd name="T62" fmla="*/ 30 w 292"/>
                <a:gd name="T63" fmla="*/ 101 h 243"/>
                <a:gd name="T64" fmla="*/ 48 w 292"/>
                <a:gd name="T65" fmla="*/ 104 h 243"/>
                <a:gd name="T66" fmla="*/ 48 w 292"/>
                <a:gd name="T67" fmla="*/ 104 h 243"/>
                <a:gd name="T68" fmla="*/ 48 w 292"/>
                <a:gd name="T69" fmla="*/ 10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2" h="243">
                  <a:moveTo>
                    <a:pt x="48" y="104"/>
                  </a:moveTo>
                  <a:lnTo>
                    <a:pt x="11" y="157"/>
                  </a:lnTo>
                  <a:lnTo>
                    <a:pt x="0" y="176"/>
                  </a:lnTo>
                  <a:lnTo>
                    <a:pt x="20" y="218"/>
                  </a:lnTo>
                  <a:lnTo>
                    <a:pt x="44" y="239"/>
                  </a:lnTo>
                  <a:lnTo>
                    <a:pt x="73" y="243"/>
                  </a:lnTo>
                  <a:lnTo>
                    <a:pt x="123" y="195"/>
                  </a:lnTo>
                  <a:lnTo>
                    <a:pt x="164" y="189"/>
                  </a:lnTo>
                  <a:lnTo>
                    <a:pt x="168" y="218"/>
                  </a:lnTo>
                  <a:lnTo>
                    <a:pt x="187" y="234"/>
                  </a:lnTo>
                  <a:lnTo>
                    <a:pt x="232" y="235"/>
                  </a:lnTo>
                  <a:lnTo>
                    <a:pt x="254" y="235"/>
                  </a:lnTo>
                  <a:lnTo>
                    <a:pt x="248" y="219"/>
                  </a:lnTo>
                  <a:lnTo>
                    <a:pt x="265" y="211"/>
                  </a:lnTo>
                  <a:lnTo>
                    <a:pt x="252" y="199"/>
                  </a:lnTo>
                  <a:lnTo>
                    <a:pt x="289" y="192"/>
                  </a:lnTo>
                  <a:lnTo>
                    <a:pt x="291" y="178"/>
                  </a:lnTo>
                  <a:lnTo>
                    <a:pt x="270" y="160"/>
                  </a:lnTo>
                  <a:lnTo>
                    <a:pt x="275" y="128"/>
                  </a:lnTo>
                  <a:lnTo>
                    <a:pt x="292" y="120"/>
                  </a:lnTo>
                  <a:lnTo>
                    <a:pt x="276" y="39"/>
                  </a:lnTo>
                  <a:lnTo>
                    <a:pt x="216" y="42"/>
                  </a:lnTo>
                  <a:lnTo>
                    <a:pt x="209" y="28"/>
                  </a:lnTo>
                  <a:lnTo>
                    <a:pt x="184" y="32"/>
                  </a:lnTo>
                  <a:lnTo>
                    <a:pt x="136" y="0"/>
                  </a:lnTo>
                  <a:lnTo>
                    <a:pt x="110" y="0"/>
                  </a:lnTo>
                  <a:lnTo>
                    <a:pt x="110" y="13"/>
                  </a:lnTo>
                  <a:lnTo>
                    <a:pt x="89" y="2"/>
                  </a:lnTo>
                  <a:lnTo>
                    <a:pt x="36" y="28"/>
                  </a:lnTo>
                  <a:lnTo>
                    <a:pt x="57" y="69"/>
                  </a:lnTo>
                  <a:lnTo>
                    <a:pt x="36" y="72"/>
                  </a:lnTo>
                  <a:lnTo>
                    <a:pt x="30" y="101"/>
                  </a:lnTo>
                  <a:lnTo>
                    <a:pt x="48" y="104"/>
                  </a:lnTo>
                  <a:lnTo>
                    <a:pt x="48" y="104"/>
                  </a:lnTo>
                  <a:lnTo>
                    <a:pt x="48" y="10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76" name="Freeform 226">
              <a:extLst>
                <a:ext uri="{FF2B5EF4-FFF2-40B4-BE49-F238E27FC236}">
                  <a16:creationId xmlns:a16="http://schemas.microsoft.com/office/drawing/2014/main" id="{E2B3FA1E-6B18-401D-B24F-3B275804953F}"/>
                </a:ext>
              </a:extLst>
            </p:cNvPr>
            <p:cNvSpPr>
              <a:spLocks/>
            </p:cNvSpPr>
            <p:nvPr/>
          </p:nvSpPr>
          <p:spPr bwMode="auto">
            <a:xfrm>
              <a:off x="9238966" y="1630712"/>
              <a:ext cx="311756" cy="633393"/>
            </a:xfrm>
            <a:custGeom>
              <a:avLst/>
              <a:gdLst>
                <a:gd name="T0" fmla="*/ 6 w 168"/>
                <a:gd name="T1" fmla="*/ 104 h 328"/>
                <a:gd name="T2" fmla="*/ 22 w 168"/>
                <a:gd name="T3" fmla="*/ 185 h 328"/>
                <a:gd name="T4" fmla="*/ 5 w 168"/>
                <a:gd name="T5" fmla="*/ 193 h 328"/>
                <a:gd name="T6" fmla="*/ 0 w 168"/>
                <a:gd name="T7" fmla="*/ 225 h 328"/>
                <a:gd name="T8" fmla="*/ 21 w 168"/>
                <a:gd name="T9" fmla="*/ 243 h 328"/>
                <a:gd name="T10" fmla="*/ 19 w 168"/>
                <a:gd name="T11" fmla="*/ 257 h 328"/>
                <a:gd name="T12" fmla="*/ 19 w 168"/>
                <a:gd name="T13" fmla="*/ 273 h 328"/>
                <a:gd name="T14" fmla="*/ 107 w 168"/>
                <a:gd name="T15" fmla="*/ 328 h 328"/>
                <a:gd name="T16" fmla="*/ 160 w 168"/>
                <a:gd name="T17" fmla="*/ 308 h 328"/>
                <a:gd name="T18" fmla="*/ 152 w 168"/>
                <a:gd name="T19" fmla="*/ 235 h 328"/>
                <a:gd name="T20" fmla="*/ 160 w 168"/>
                <a:gd name="T21" fmla="*/ 214 h 328"/>
                <a:gd name="T22" fmla="*/ 155 w 168"/>
                <a:gd name="T23" fmla="*/ 190 h 328"/>
                <a:gd name="T24" fmla="*/ 166 w 168"/>
                <a:gd name="T25" fmla="*/ 176 h 328"/>
                <a:gd name="T26" fmla="*/ 168 w 168"/>
                <a:gd name="T27" fmla="*/ 152 h 328"/>
                <a:gd name="T28" fmla="*/ 149 w 168"/>
                <a:gd name="T29" fmla="*/ 124 h 328"/>
                <a:gd name="T30" fmla="*/ 146 w 168"/>
                <a:gd name="T31" fmla="*/ 70 h 328"/>
                <a:gd name="T32" fmla="*/ 130 w 168"/>
                <a:gd name="T33" fmla="*/ 48 h 328"/>
                <a:gd name="T34" fmla="*/ 101 w 168"/>
                <a:gd name="T35" fmla="*/ 57 h 328"/>
                <a:gd name="T36" fmla="*/ 96 w 168"/>
                <a:gd name="T37" fmla="*/ 30 h 328"/>
                <a:gd name="T38" fmla="*/ 83 w 168"/>
                <a:gd name="T39" fmla="*/ 0 h 328"/>
                <a:gd name="T40" fmla="*/ 61 w 168"/>
                <a:gd name="T41" fmla="*/ 21 h 328"/>
                <a:gd name="T42" fmla="*/ 32 w 168"/>
                <a:gd name="T43" fmla="*/ 8 h 328"/>
                <a:gd name="T44" fmla="*/ 24 w 168"/>
                <a:gd name="T45" fmla="*/ 33 h 328"/>
                <a:gd name="T46" fmla="*/ 32 w 168"/>
                <a:gd name="T47" fmla="*/ 57 h 328"/>
                <a:gd name="T48" fmla="*/ 18 w 168"/>
                <a:gd name="T49" fmla="*/ 80 h 328"/>
                <a:gd name="T50" fmla="*/ 22 w 168"/>
                <a:gd name="T51" fmla="*/ 96 h 328"/>
                <a:gd name="T52" fmla="*/ 6 w 168"/>
                <a:gd name="T53" fmla="*/ 104 h 328"/>
                <a:gd name="T54" fmla="*/ 6 w 168"/>
                <a:gd name="T55" fmla="*/ 104 h 328"/>
                <a:gd name="T56" fmla="*/ 6 w 168"/>
                <a:gd name="T57" fmla="*/ 10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328">
                  <a:moveTo>
                    <a:pt x="6" y="104"/>
                  </a:moveTo>
                  <a:lnTo>
                    <a:pt x="22" y="185"/>
                  </a:lnTo>
                  <a:lnTo>
                    <a:pt x="5" y="193"/>
                  </a:lnTo>
                  <a:lnTo>
                    <a:pt x="0" y="225"/>
                  </a:lnTo>
                  <a:lnTo>
                    <a:pt x="21" y="243"/>
                  </a:lnTo>
                  <a:lnTo>
                    <a:pt x="19" y="257"/>
                  </a:lnTo>
                  <a:lnTo>
                    <a:pt x="19" y="273"/>
                  </a:lnTo>
                  <a:lnTo>
                    <a:pt x="107" y="328"/>
                  </a:lnTo>
                  <a:lnTo>
                    <a:pt x="160" y="308"/>
                  </a:lnTo>
                  <a:lnTo>
                    <a:pt x="152" y="235"/>
                  </a:lnTo>
                  <a:lnTo>
                    <a:pt x="160" y="214"/>
                  </a:lnTo>
                  <a:lnTo>
                    <a:pt x="155" y="190"/>
                  </a:lnTo>
                  <a:lnTo>
                    <a:pt x="166" y="176"/>
                  </a:lnTo>
                  <a:lnTo>
                    <a:pt x="168" y="152"/>
                  </a:lnTo>
                  <a:lnTo>
                    <a:pt x="149" y="124"/>
                  </a:lnTo>
                  <a:lnTo>
                    <a:pt x="146" y="70"/>
                  </a:lnTo>
                  <a:lnTo>
                    <a:pt x="130" y="48"/>
                  </a:lnTo>
                  <a:lnTo>
                    <a:pt x="101" y="57"/>
                  </a:lnTo>
                  <a:lnTo>
                    <a:pt x="96" y="30"/>
                  </a:lnTo>
                  <a:lnTo>
                    <a:pt x="83" y="0"/>
                  </a:lnTo>
                  <a:lnTo>
                    <a:pt x="61" y="21"/>
                  </a:lnTo>
                  <a:lnTo>
                    <a:pt x="32" y="8"/>
                  </a:lnTo>
                  <a:lnTo>
                    <a:pt x="24" y="33"/>
                  </a:lnTo>
                  <a:lnTo>
                    <a:pt x="32" y="57"/>
                  </a:lnTo>
                  <a:lnTo>
                    <a:pt x="18" y="80"/>
                  </a:lnTo>
                  <a:lnTo>
                    <a:pt x="22" y="96"/>
                  </a:lnTo>
                  <a:lnTo>
                    <a:pt x="6" y="104"/>
                  </a:lnTo>
                  <a:lnTo>
                    <a:pt x="6" y="104"/>
                  </a:lnTo>
                  <a:lnTo>
                    <a:pt x="6" y="104"/>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7" name="Freeform 227">
              <a:extLst>
                <a:ext uri="{FF2B5EF4-FFF2-40B4-BE49-F238E27FC236}">
                  <a16:creationId xmlns:a16="http://schemas.microsoft.com/office/drawing/2014/main" id="{0147FBDE-28B6-4F36-80C0-96F2379414DF}"/>
                </a:ext>
              </a:extLst>
            </p:cNvPr>
            <p:cNvSpPr>
              <a:spLocks/>
            </p:cNvSpPr>
            <p:nvPr/>
          </p:nvSpPr>
          <p:spPr bwMode="auto">
            <a:xfrm>
              <a:off x="9060817" y="3403443"/>
              <a:ext cx="317325" cy="438357"/>
            </a:xfrm>
            <a:custGeom>
              <a:avLst/>
              <a:gdLst>
                <a:gd name="T0" fmla="*/ 120 w 171"/>
                <a:gd name="T1" fmla="*/ 209 h 227"/>
                <a:gd name="T2" fmla="*/ 104 w 171"/>
                <a:gd name="T3" fmla="*/ 193 h 227"/>
                <a:gd name="T4" fmla="*/ 149 w 171"/>
                <a:gd name="T5" fmla="*/ 180 h 227"/>
                <a:gd name="T6" fmla="*/ 171 w 171"/>
                <a:gd name="T7" fmla="*/ 153 h 227"/>
                <a:gd name="T8" fmla="*/ 160 w 171"/>
                <a:gd name="T9" fmla="*/ 147 h 227"/>
                <a:gd name="T10" fmla="*/ 158 w 171"/>
                <a:gd name="T11" fmla="*/ 128 h 227"/>
                <a:gd name="T12" fmla="*/ 128 w 171"/>
                <a:gd name="T13" fmla="*/ 131 h 227"/>
                <a:gd name="T14" fmla="*/ 122 w 171"/>
                <a:gd name="T15" fmla="*/ 110 h 227"/>
                <a:gd name="T16" fmla="*/ 93 w 171"/>
                <a:gd name="T17" fmla="*/ 94 h 227"/>
                <a:gd name="T18" fmla="*/ 93 w 171"/>
                <a:gd name="T19" fmla="*/ 54 h 227"/>
                <a:gd name="T20" fmla="*/ 101 w 171"/>
                <a:gd name="T21" fmla="*/ 37 h 227"/>
                <a:gd name="T22" fmla="*/ 96 w 171"/>
                <a:gd name="T23" fmla="*/ 32 h 227"/>
                <a:gd name="T24" fmla="*/ 86 w 171"/>
                <a:gd name="T25" fmla="*/ 30 h 227"/>
                <a:gd name="T26" fmla="*/ 80 w 171"/>
                <a:gd name="T27" fmla="*/ 0 h 227"/>
                <a:gd name="T28" fmla="*/ 24 w 171"/>
                <a:gd name="T29" fmla="*/ 3 h 227"/>
                <a:gd name="T30" fmla="*/ 22 w 171"/>
                <a:gd name="T31" fmla="*/ 30 h 227"/>
                <a:gd name="T32" fmla="*/ 0 w 171"/>
                <a:gd name="T33" fmla="*/ 73 h 227"/>
                <a:gd name="T34" fmla="*/ 22 w 171"/>
                <a:gd name="T35" fmla="*/ 124 h 227"/>
                <a:gd name="T36" fmla="*/ 22 w 171"/>
                <a:gd name="T37" fmla="*/ 172 h 227"/>
                <a:gd name="T38" fmla="*/ 45 w 171"/>
                <a:gd name="T39" fmla="*/ 195 h 227"/>
                <a:gd name="T40" fmla="*/ 78 w 171"/>
                <a:gd name="T41" fmla="*/ 200 h 227"/>
                <a:gd name="T42" fmla="*/ 78 w 171"/>
                <a:gd name="T43" fmla="*/ 219 h 227"/>
                <a:gd name="T44" fmla="*/ 99 w 171"/>
                <a:gd name="T45" fmla="*/ 227 h 227"/>
                <a:gd name="T46" fmla="*/ 120 w 171"/>
                <a:gd name="T47" fmla="*/ 209 h 227"/>
                <a:gd name="T48" fmla="*/ 120 w 171"/>
                <a:gd name="T49" fmla="*/ 209 h 227"/>
                <a:gd name="T50" fmla="*/ 120 w 171"/>
                <a:gd name="T51" fmla="*/ 2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227">
                  <a:moveTo>
                    <a:pt x="120" y="209"/>
                  </a:moveTo>
                  <a:lnTo>
                    <a:pt x="104" y="193"/>
                  </a:lnTo>
                  <a:lnTo>
                    <a:pt x="149" y="180"/>
                  </a:lnTo>
                  <a:lnTo>
                    <a:pt x="171" y="153"/>
                  </a:lnTo>
                  <a:lnTo>
                    <a:pt x="160" y="147"/>
                  </a:lnTo>
                  <a:lnTo>
                    <a:pt x="158" y="128"/>
                  </a:lnTo>
                  <a:lnTo>
                    <a:pt x="128" y="131"/>
                  </a:lnTo>
                  <a:lnTo>
                    <a:pt x="122" y="110"/>
                  </a:lnTo>
                  <a:lnTo>
                    <a:pt x="93" y="94"/>
                  </a:lnTo>
                  <a:lnTo>
                    <a:pt x="93" y="54"/>
                  </a:lnTo>
                  <a:lnTo>
                    <a:pt x="101" y="37"/>
                  </a:lnTo>
                  <a:lnTo>
                    <a:pt x="96" y="32"/>
                  </a:lnTo>
                  <a:lnTo>
                    <a:pt x="86" y="30"/>
                  </a:lnTo>
                  <a:lnTo>
                    <a:pt x="80" y="0"/>
                  </a:lnTo>
                  <a:lnTo>
                    <a:pt x="24" y="3"/>
                  </a:lnTo>
                  <a:lnTo>
                    <a:pt x="22" y="30"/>
                  </a:lnTo>
                  <a:lnTo>
                    <a:pt x="0" y="73"/>
                  </a:lnTo>
                  <a:lnTo>
                    <a:pt x="22" y="124"/>
                  </a:lnTo>
                  <a:lnTo>
                    <a:pt x="22" y="172"/>
                  </a:lnTo>
                  <a:lnTo>
                    <a:pt x="45" y="195"/>
                  </a:lnTo>
                  <a:lnTo>
                    <a:pt x="78" y="200"/>
                  </a:lnTo>
                  <a:lnTo>
                    <a:pt x="78" y="219"/>
                  </a:lnTo>
                  <a:lnTo>
                    <a:pt x="99" y="227"/>
                  </a:lnTo>
                  <a:lnTo>
                    <a:pt x="120" y="209"/>
                  </a:lnTo>
                  <a:lnTo>
                    <a:pt x="120" y="209"/>
                  </a:lnTo>
                  <a:lnTo>
                    <a:pt x="120" y="20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78" name="Freeform 228">
              <a:extLst>
                <a:ext uri="{FF2B5EF4-FFF2-40B4-BE49-F238E27FC236}">
                  <a16:creationId xmlns:a16="http://schemas.microsoft.com/office/drawing/2014/main" id="{711CECA4-3588-4263-9B6A-9BEA60B93E13}"/>
                </a:ext>
              </a:extLst>
            </p:cNvPr>
            <p:cNvSpPr>
              <a:spLocks/>
            </p:cNvSpPr>
            <p:nvPr/>
          </p:nvSpPr>
          <p:spPr bwMode="auto">
            <a:xfrm>
              <a:off x="8235034" y="2099962"/>
              <a:ext cx="220827" cy="252972"/>
            </a:xfrm>
            <a:custGeom>
              <a:avLst/>
              <a:gdLst>
                <a:gd name="T0" fmla="*/ 71 w 119"/>
                <a:gd name="T1" fmla="*/ 13 h 131"/>
                <a:gd name="T2" fmla="*/ 106 w 119"/>
                <a:gd name="T3" fmla="*/ 14 h 131"/>
                <a:gd name="T4" fmla="*/ 119 w 119"/>
                <a:gd name="T5" fmla="*/ 27 h 131"/>
                <a:gd name="T6" fmla="*/ 107 w 119"/>
                <a:gd name="T7" fmla="*/ 54 h 131"/>
                <a:gd name="T8" fmla="*/ 107 w 119"/>
                <a:gd name="T9" fmla="*/ 101 h 131"/>
                <a:gd name="T10" fmla="*/ 85 w 119"/>
                <a:gd name="T11" fmla="*/ 123 h 131"/>
                <a:gd name="T12" fmla="*/ 13 w 119"/>
                <a:gd name="T13" fmla="*/ 131 h 131"/>
                <a:gd name="T14" fmla="*/ 0 w 119"/>
                <a:gd name="T15" fmla="*/ 91 h 131"/>
                <a:gd name="T16" fmla="*/ 26 w 119"/>
                <a:gd name="T17" fmla="*/ 16 h 131"/>
                <a:gd name="T18" fmla="*/ 51 w 119"/>
                <a:gd name="T19" fmla="*/ 0 h 131"/>
                <a:gd name="T20" fmla="*/ 71 w 119"/>
                <a:gd name="T21" fmla="*/ 13 h 131"/>
                <a:gd name="T22" fmla="*/ 71 w 119"/>
                <a:gd name="T23" fmla="*/ 13 h 131"/>
                <a:gd name="T24" fmla="*/ 71 w 119"/>
                <a:gd name="T25" fmla="*/ 1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131">
                  <a:moveTo>
                    <a:pt x="71" y="13"/>
                  </a:moveTo>
                  <a:lnTo>
                    <a:pt x="106" y="14"/>
                  </a:lnTo>
                  <a:lnTo>
                    <a:pt x="119" y="27"/>
                  </a:lnTo>
                  <a:lnTo>
                    <a:pt x="107" y="54"/>
                  </a:lnTo>
                  <a:lnTo>
                    <a:pt x="107" y="101"/>
                  </a:lnTo>
                  <a:lnTo>
                    <a:pt x="85" y="123"/>
                  </a:lnTo>
                  <a:lnTo>
                    <a:pt x="13" y="131"/>
                  </a:lnTo>
                  <a:lnTo>
                    <a:pt x="0" y="91"/>
                  </a:lnTo>
                  <a:lnTo>
                    <a:pt x="26" y="16"/>
                  </a:lnTo>
                  <a:lnTo>
                    <a:pt x="51" y="0"/>
                  </a:lnTo>
                  <a:lnTo>
                    <a:pt x="71" y="13"/>
                  </a:lnTo>
                  <a:lnTo>
                    <a:pt x="71" y="13"/>
                  </a:lnTo>
                  <a:lnTo>
                    <a:pt x="71" y="1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79" name="Freeform 229">
              <a:extLst>
                <a:ext uri="{FF2B5EF4-FFF2-40B4-BE49-F238E27FC236}">
                  <a16:creationId xmlns:a16="http://schemas.microsoft.com/office/drawing/2014/main" id="{0E71D009-6B00-4DE7-966F-0FAB4B36DE77}"/>
                </a:ext>
              </a:extLst>
            </p:cNvPr>
            <p:cNvSpPr>
              <a:spLocks/>
            </p:cNvSpPr>
            <p:nvPr/>
          </p:nvSpPr>
          <p:spPr bwMode="auto">
            <a:xfrm>
              <a:off x="8077303" y="1926167"/>
              <a:ext cx="252374" cy="349527"/>
            </a:xfrm>
            <a:custGeom>
              <a:avLst/>
              <a:gdLst>
                <a:gd name="T0" fmla="*/ 125 w 136"/>
                <a:gd name="T1" fmla="*/ 56 h 181"/>
                <a:gd name="T2" fmla="*/ 122 w 136"/>
                <a:gd name="T3" fmla="*/ 75 h 181"/>
                <a:gd name="T4" fmla="*/ 136 w 136"/>
                <a:gd name="T5" fmla="*/ 90 h 181"/>
                <a:gd name="T6" fmla="*/ 111 w 136"/>
                <a:gd name="T7" fmla="*/ 106 h 181"/>
                <a:gd name="T8" fmla="*/ 85 w 136"/>
                <a:gd name="T9" fmla="*/ 181 h 181"/>
                <a:gd name="T10" fmla="*/ 69 w 136"/>
                <a:gd name="T11" fmla="*/ 179 h 181"/>
                <a:gd name="T12" fmla="*/ 26 w 136"/>
                <a:gd name="T13" fmla="*/ 114 h 181"/>
                <a:gd name="T14" fmla="*/ 21 w 136"/>
                <a:gd name="T15" fmla="*/ 63 h 181"/>
                <a:gd name="T16" fmla="*/ 8 w 136"/>
                <a:gd name="T17" fmla="*/ 42 h 181"/>
                <a:gd name="T18" fmla="*/ 0 w 136"/>
                <a:gd name="T19" fmla="*/ 10 h 181"/>
                <a:gd name="T20" fmla="*/ 32 w 136"/>
                <a:gd name="T21" fmla="*/ 0 h 181"/>
                <a:gd name="T22" fmla="*/ 52 w 136"/>
                <a:gd name="T23" fmla="*/ 11 h 181"/>
                <a:gd name="T24" fmla="*/ 64 w 136"/>
                <a:gd name="T25" fmla="*/ 7 h 181"/>
                <a:gd name="T26" fmla="*/ 101 w 136"/>
                <a:gd name="T27" fmla="*/ 24 h 181"/>
                <a:gd name="T28" fmla="*/ 119 w 136"/>
                <a:gd name="T29" fmla="*/ 21 h 181"/>
                <a:gd name="T30" fmla="*/ 136 w 136"/>
                <a:gd name="T31" fmla="*/ 48 h 181"/>
                <a:gd name="T32" fmla="*/ 125 w 136"/>
                <a:gd name="T33" fmla="*/ 56 h 181"/>
                <a:gd name="T34" fmla="*/ 125 w 136"/>
                <a:gd name="T35" fmla="*/ 56 h 181"/>
                <a:gd name="T36" fmla="*/ 125 w 136"/>
                <a:gd name="T37" fmla="*/ 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181">
                  <a:moveTo>
                    <a:pt x="125" y="56"/>
                  </a:moveTo>
                  <a:lnTo>
                    <a:pt x="122" y="75"/>
                  </a:lnTo>
                  <a:lnTo>
                    <a:pt x="136" y="90"/>
                  </a:lnTo>
                  <a:lnTo>
                    <a:pt x="111" y="106"/>
                  </a:lnTo>
                  <a:lnTo>
                    <a:pt x="85" y="181"/>
                  </a:lnTo>
                  <a:lnTo>
                    <a:pt x="69" y="179"/>
                  </a:lnTo>
                  <a:lnTo>
                    <a:pt x="26" y="114"/>
                  </a:lnTo>
                  <a:lnTo>
                    <a:pt x="21" y="63"/>
                  </a:lnTo>
                  <a:lnTo>
                    <a:pt x="8" y="42"/>
                  </a:lnTo>
                  <a:lnTo>
                    <a:pt x="0" y="10"/>
                  </a:lnTo>
                  <a:lnTo>
                    <a:pt x="32" y="0"/>
                  </a:lnTo>
                  <a:lnTo>
                    <a:pt x="52" y="11"/>
                  </a:lnTo>
                  <a:lnTo>
                    <a:pt x="64" y="7"/>
                  </a:lnTo>
                  <a:lnTo>
                    <a:pt x="101" y="24"/>
                  </a:lnTo>
                  <a:lnTo>
                    <a:pt x="119" y="21"/>
                  </a:lnTo>
                  <a:lnTo>
                    <a:pt x="136" y="48"/>
                  </a:lnTo>
                  <a:lnTo>
                    <a:pt x="125" y="56"/>
                  </a:lnTo>
                  <a:lnTo>
                    <a:pt x="125" y="56"/>
                  </a:lnTo>
                  <a:lnTo>
                    <a:pt x="125" y="5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0" name="Freeform 230">
              <a:extLst>
                <a:ext uri="{FF2B5EF4-FFF2-40B4-BE49-F238E27FC236}">
                  <a16:creationId xmlns:a16="http://schemas.microsoft.com/office/drawing/2014/main" id="{62B49FD5-8A4E-4C32-BFA9-FD88A2B26BBB}"/>
                </a:ext>
              </a:extLst>
            </p:cNvPr>
            <p:cNvSpPr>
              <a:spLocks/>
            </p:cNvSpPr>
            <p:nvPr/>
          </p:nvSpPr>
          <p:spPr bwMode="auto">
            <a:xfrm>
              <a:off x="8136684" y="1843129"/>
              <a:ext cx="324747" cy="175727"/>
            </a:xfrm>
            <a:custGeom>
              <a:avLst/>
              <a:gdLst>
                <a:gd name="T0" fmla="*/ 15 w 175"/>
                <a:gd name="T1" fmla="*/ 0 h 91"/>
                <a:gd name="T2" fmla="*/ 21 w 175"/>
                <a:gd name="T3" fmla="*/ 18 h 91"/>
                <a:gd name="T4" fmla="*/ 50 w 175"/>
                <a:gd name="T5" fmla="*/ 22 h 91"/>
                <a:gd name="T6" fmla="*/ 79 w 175"/>
                <a:gd name="T7" fmla="*/ 14 h 91"/>
                <a:gd name="T8" fmla="*/ 125 w 175"/>
                <a:gd name="T9" fmla="*/ 22 h 91"/>
                <a:gd name="T10" fmla="*/ 175 w 175"/>
                <a:gd name="T11" fmla="*/ 42 h 91"/>
                <a:gd name="T12" fmla="*/ 170 w 175"/>
                <a:gd name="T13" fmla="*/ 62 h 91"/>
                <a:gd name="T14" fmla="*/ 151 w 175"/>
                <a:gd name="T15" fmla="*/ 80 h 91"/>
                <a:gd name="T16" fmla="*/ 133 w 175"/>
                <a:gd name="T17" fmla="*/ 75 h 91"/>
                <a:gd name="T18" fmla="*/ 117 w 175"/>
                <a:gd name="T19" fmla="*/ 80 h 91"/>
                <a:gd name="T20" fmla="*/ 104 w 175"/>
                <a:gd name="T21" fmla="*/ 91 h 91"/>
                <a:gd name="T22" fmla="*/ 87 w 175"/>
                <a:gd name="T23" fmla="*/ 64 h 91"/>
                <a:gd name="T24" fmla="*/ 69 w 175"/>
                <a:gd name="T25" fmla="*/ 67 h 91"/>
                <a:gd name="T26" fmla="*/ 32 w 175"/>
                <a:gd name="T27" fmla="*/ 50 h 91"/>
                <a:gd name="T28" fmla="*/ 20 w 175"/>
                <a:gd name="T29" fmla="*/ 54 h 91"/>
                <a:gd name="T30" fmla="*/ 0 w 175"/>
                <a:gd name="T31" fmla="*/ 43 h 91"/>
                <a:gd name="T32" fmla="*/ 15 w 175"/>
                <a:gd name="T33" fmla="*/ 0 h 91"/>
                <a:gd name="T34" fmla="*/ 15 w 175"/>
                <a:gd name="T35" fmla="*/ 0 h 91"/>
                <a:gd name="T36" fmla="*/ 15 w 175"/>
                <a:gd name="T3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91">
                  <a:moveTo>
                    <a:pt x="15" y="0"/>
                  </a:moveTo>
                  <a:lnTo>
                    <a:pt x="21" y="18"/>
                  </a:lnTo>
                  <a:lnTo>
                    <a:pt x="50" y="22"/>
                  </a:lnTo>
                  <a:lnTo>
                    <a:pt x="79" y="14"/>
                  </a:lnTo>
                  <a:lnTo>
                    <a:pt x="125" y="22"/>
                  </a:lnTo>
                  <a:lnTo>
                    <a:pt x="175" y="42"/>
                  </a:lnTo>
                  <a:lnTo>
                    <a:pt x="170" y="62"/>
                  </a:lnTo>
                  <a:lnTo>
                    <a:pt x="151" y="80"/>
                  </a:lnTo>
                  <a:lnTo>
                    <a:pt x="133" y="75"/>
                  </a:lnTo>
                  <a:lnTo>
                    <a:pt x="117" y="80"/>
                  </a:lnTo>
                  <a:lnTo>
                    <a:pt x="104" y="91"/>
                  </a:lnTo>
                  <a:lnTo>
                    <a:pt x="87" y="64"/>
                  </a:lnTo>
                  <a:lnTo>
                    <a:pt x="69" y="67"/>
                  </a:lnTo>
                  <a:lnTo>
                    <a:pt x="32" y="50"/>
                  </a:lnTo>
                  <a:lnTo>
                    <a:pt x="20" y="54"/>
                  </a:lnTo>
                  <a:lnTo>
                    <a:pt x="0" y="43"/>
                  </a:lnTo>
                  <a:lnTo>
                    <a:pt x="15" y="0"/>
                  </a:lnTo>
                  <a:lnTo>
                    <a:pt x="15" y="0"/>
                  </a:lnTo>
                  <a:lnTo>
                    <a:pt x="15"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1" name="Freeform 231">
              <a:extLst>
                <a:ext uri="{FF2B5EF4-FFF2-40B4-BE49-F238E27FC236}">
                  <a16:creationId xmlns:a16="http://schemas.microsoft.com/office/drawing/2014/main" id="{4C89DE19-EE47-457E-88DE-EA959233A908}"/>
                </a:ext>
              </a:extLst>
            </p:cNvPr>
            <p:cNvSpPr>
              <a:spLocks/>
            </p:cNvSpPr>
            <p:nvPr/>
          </p:nvSpPr>
          <p:spPr bwMode="auto">
            <a:xfrm>
              <a:off x="8366791" y="2049755"/>
              <a:ext cx="100210" cy="102350"/>
            </a:xfrm>
            <a:custGeom>
              <a:avLst/>
              <a:gdLst>
                <a:gd name="T0" fmla="*/ 35 w 54"/>
                <a:gd name="T1" fmla="*/ 0 h 53"/>
                <a:gd name="T2" fmla="*/ 54 w 54"/>
                <a:gd name="T3" fmla="*/ 16 h 53"/>
                <a:gd name="T4" fmla="*/ 48 w 54"/>
                <a:gd name="T5" fmla="*/ 53 h 53"/>
                <a:gd name="T6" fmla="*/ 35 w 54"/>
                <a:gd name="T7" fmla="*/ 40 h 53"/>
                <a:gd name="T8" fmla="*/ 0 w 54"/>
                <a:gd name="T9" fmla="*/ 39 h 53"/>
                <a:gd name="T10" fmla="*/ 1 w 54"/>
                <a:gd name="T11" fmla="*/ 13 h 53"/>
                <a:gd name="T12" fmla="*/ 11 w 54"/>
                <a:gd name="T13" fmla="*/ 15 h 53"/>
                <a:gd name="T14" fmla="*/ 20 w 54"/>
                <a:gd name="T15" fmla="*/ 10 h 53"/>
                <a:gd name="T16" fmla="*/ 20 w 54"/>
                <a:gd name="T17" fmla="*/ 2 h 53"/>
                <a:gd name="T18" fmla="*/ 35 w 54"/>
                <a:gd name="T19" fmla="*/ 0 h 53"/>
                <a:gd name="T20" fmla="*/ 35 w 54"/>
                <a:gd name="T21" fmla="*/ 0 h 53"/>
                <a:gd name="T22" fmla="*/ 35 w 54"/>
                <a:gd name="T2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3">
                  <a:moveTo>
                    <a:pt x="35" y="0"/>
                  </a:moveTo>
                  <a:lnTo>
                    <a:pt x="54" y="16"/>
                  </a:lnTo>
                  <a:lnTo>
                    <a:pt x="48" y="53"/>
                  </a:lnTo>
                  <a:lnTo>
                    <a:pt x="35" y="40"/>
                  </a:lnTo>
                  <a:lnTo>
                    <a:pt x="0" y="39"/>
                  </a:lnTo>
                  <a:lnTo>
                    <a:pt x="1" y="13"/>
                  </a:lnTo>
                  <a:lnTo>
                    <a:pt x="11" y="15"/>
                  </a:lnTo>
                  <a:lnTo>
                    <a:pt x="20" y="10"/>
                  </a:lnTo>
                  <a:lnTo>
                    <a:pt x="20" y="2"/>
                  </a:lnTo>
                  <a:lnTo>
                    <a:pt x="35" y="0"/>
                  </a:lnTo>
                  <a:lnTo>
                    <a:pt x="35" y="0"/>
                  </a:lnTo>
                  <a:lnTo>
                    <a:pt x="35"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2" name="Freeform 232">
              <a:extLst>
                <a:ext uri="{FF2B5EF4-FFF2-40B4-BE49-F238E27FC236}">
                  <a16:creationId xmlns:a16="http://schemas.microsoft.com/office/drawing/2014/main" id="{3468807E-1749-4484-8835-88CD9F4D6672}"/>
                </a:ext>
              </a:extLst>
            </p:cNvPr>
            <p:cNvSpPr>
              <a:spLocks/>
            </p:cNvSpPr>
            <p:nvPr/>
          </p:nvSpPr>
          <p:spPr bwMode="auto">
            <a:xfrm>
              <a:off x="8353797" y="1962856"/>
              <a:ext cx="113198" cy="117796"/>
            </a:xfrm>
            <a:custGeom>
              <a:avLst/>
              <a:gdLst>
                <a:gd name="T0" fmla="*/ 42 w 61"/>
                <a:gd name="T1" fmla="*/ 45 h 61"/>
                <a:gd name="T2" fmla="*/ 61 w 61"/>
                <a:gd name="T3" fmla="*/ 61 h 61"/>
                <a:gd name="T4" fmla="*/ 55 w 61"/>
                <a:gd name="T5" fmla="*/ 40 h 61"/>
                <a:gd name="T6" fmla="*/ 61 w 61"/>
                <a:gd name="T7" fmla="*/ 24 h 61"/>
                <a:gd name="T8" fmla="*/ 53 w 61"/>
                <a:gd name="T9" fmla="*/ 0 h 61"/>
                <a:gd name="T10" fmla="*/ 34 w 61"/>
                <a:gd name="T11" fmla="*/ 18 h 61"/>
                <a:gd name="T12" fmla="*/ 16 w 61"/>
                <a:gd name="T13" fmla="*/ 13 h 61"/>
                <a:gd name="T14" fmla="*/ 0 w 61"/>
                <a:gd name="T15" fmla="*/ 18 h 61"/>
                <a:gd name="T16" fmla="*/ 11 w 61"/>
                <a:gd name="T17" fmla="*/ 23 h 61"/>
                <a:gd name="T18" fmla="*/ 7 w 61"/>
                <a:gd name="T19" fmla="*/ 32 h 61"/>
                <a:gd name="T20" fmla="*/ 24 w 61"/>
                <a:gd name="T21" fmla="*/ 32 h 61"/>
                <a:gd name="T22" fmla="*/ 27 w 61"/>
                <a:gd name="T23" fmla="*/ 47 h 61"/>
                <a:gd name="T24" fmla="*/ 42 w 61"/>
                <a:gd name="T25" fmla="*/ 45 h 61"/>
                <a:gd name="T26" fmla="*/ 42 w 61"/>
                <a:gd name="T27" fmla="*/ 45 h 61"/>
                <a:gd name="T28" fmla="*/ 42 w 61"/>
                <a:gd name="T29" fmla="*/ 4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 h="61">
                  <a:moveTo>
                    <a:pt x="42" y="45"/>
                  </a:moveTo>
                  <a:lnTo>
                    <a:pt x="61" y="61"/>
                  </a:lnTo>
                  <a:lnTo>
                    <a:pt x="55" y="40"/>
                  </a:lnTo>
                  <a:lnTo>
                    <a:pt x="61" y="24"/>
                  </a:lnTo>
                  <a:lnTo>
                    <a:pt x="53" y="0"/>
                  </a:lnTo>
                  <a:lnTo>
                    <a:pt x="34" y="18"/>
                  </a:lnTo>
                  <a:lnTo>
                    <a:pt x="16" y="13"/>
                  </a:lnTo>
                  <a:lnTo>
                    <a:pt x="0" y="18"/>
                  </a:lnTo>
                  <a:lnTo>
                    <a:pt x="11" y="23"/>
                  </a:lnTo>
                  <a:lnTo>
                    <a:pt x="7" y="32"/>
                  </a:lnTo>
                  <a:lnTo>
                    <a:pt x="24" y="32"/>
                  </a:lnTo>
                  <a:lnTo>
                    <a:pt x="27" y="47"/>
                  </a:lnTo>
                  <a:lnTo>
                    <a:pt x="42" y="45"/>
                  </a:lnTo>
                  <a:lnTo>
                    <a:pt x="42" y="45"/>
                  </a:lnTo>
                  <a:lnTo>
                    <a:pt x="42" y="4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3" name="Freeform 233">
              <a:extLst>
                <a:ext uri="{FF2B5EF4-FFF2-40B4-BE49-F238E27FC236}">
                  <a16:creationId xmlns:a16="http://schemas.microsoft.com/office/drawing/2014/main" id="{5CFCA67C-2AFC-4A95-917C-43F1A4DEDC9A}"/>
                </a:ext>
              </a:extLst>
            </p:cNvPr>
            <p:cNvSpPr>
              <a:spLocks/>
            </p:cNvSpPr>
            <p:nvPr/>
          </p:nvSpPr>
          <p:spPr bwMode="auto">
            <a:xfrm>
              <a:off x="8333387" y="2024651"/>
              <a:ext cx="70515" cy="54070"/>
            </a:xfrm>
            <a:custGeom>
              <a:avLst/>
              <a:gdLst>
                <a:gd name="T0" fmla="*/ 18 w 38"/>
                <a:gd name="T1" fmla="*/ 0 h 28"/>
                <a:gd name="T2" fmla="*/ 35 w 38"/>
                <a:gd name="T3" fmla="*/ 0 h 28"/>
                <a:gd name="T4" fmla="*/ 38 w 38"/>
                <a:gd name="T5" fmla="*/ 15 h 28"/>
                <a:gd name="T6" fmla="*/ 38 w 38"/>
                <a:gd name="T7" fmla="*/ 23 h 28"/>
                <a:gd name="T8" fmla="*/ 29 w 38"/>
                <a:gd name="T9" fmla="*/ 28 h 28"/>
                <a:gd name="T10" fmla="*/ 19 w 38"/>
                <a:gd name="T11" fmla="*/ 26 h 28"/>
                <a:gd name="T12" fmla="*/ 0 w 38"/>
                <a:gd name="T13" fmla="*/ 16 h 28"/>
                <a:gd name="T14" fmla="*/ 18 w 38"/>
                <a:gd name="T15" fmla="*/ 0 h 28"/>
                <a:gd name="T16" fmla="*/ 18 w 38"/>
                <a:gd name="T17" fmla="*/ 0 h 28"/>
                <a:gd name="T18" fmla="*/ 18 w 38"/>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28">
                  <a:moveTo>
                    <a:pt x="18" y="0"/>
                  </a:moveTo>
                  <a:lnTo>
                    <a:pt x="35" y="0"/>
                  </a:lnTo>
                  <a:lnTo>
                    <a:pt x="38" y="15"/>
                  </a:lnTo>
                  <a:lnTo>
                    <a:pt x="38" y="23"/>
                  </a:lnTo>
                  <a:lnTo>
                    <a:pt x="29" y="28"/>
                  </a:lnTo>
                  <a:lnTo>
                    <a:pt x="19" y="26"/>
                  </a:lnTo>
                  <a:lnTo>
                    <a:pt x="0" y="16"/>
                  </a:lnTo>
                  <a:lnTo>
                    <a:pt x="18" y="0"/>
                  </a:lnTo>
                  <a:lnTo>
                    <a:pt x="18" y="0"/>
                  </a:lnTo>
                  <a:lnTo>
                    <a:pt x="18"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4" name="Freeform 234">
              <a:extLst>
                <a:ext uri="{FF2B5EF4-FFF2-40B4-BE49-F238E27FC236}">
                  <a16:creationId xmlns:a16="http://schemas.microsoft.com/office/drawing/2014/main" id="{4D20CC0F-E5FE-4EFF-AAD2-9344CFF20D9B}"/>
                </a:ext>
              </a:extLst>
            </p:cNvPr>
            <p:cNvSpPr>
              <a:spLocks/>
            </p:cNvSpPr>
            <p:nvPr/>
          </p:nvSpPr>
          <p:spPr bwMode="auto">
            <a:xfrm>
              <a:off x="9233397" y="3279857"/>
              <a:ext cx="491760" cy="475047"/>
            </a:xfrm>
            <a:custGeom>
              <a:avLst/>
              <a:gdLst>
                <a:gd name="T0" fmla="*/ 197 w 265"/>
                <a:gd name="T1" fmla="*/ 216 h 246"/>
                <a:gd name="T2" fmla="*/ 189 w 265"/>
                <a:gd name="T3" fmla="*/ 216 h 246"/>
                <a:gd name="T4" fmla="*/ 173 w 265"/>
                <a:gd name="T5" fmla="*/ 246 h 246"/>
                <a:gd name="T6" fmla="*/ 131 w 265"/>
                <a:gd name="T7" fmla="*/ 192 h 246"/>
                <a:gd name="T8" fmla="*/ 131 w 265"/>
                <a:gd name="T9" fmla="*/ 184 h 246"/>
                <a:gd name="T10" fmla="*/ 115 w 265"/>
                <a:gd name="T11" fmla="*/ 171 h 246"/>
                <a:gd name="T12" fmla="*/ 96 w 265"/>
                <a:gd name="T13" fmla="*/ 203 h 246"/>
                <a:gd name="T14" fmla="*/ 65 w 265"/>
                <a:gd name="T15" fmla="*/ 192 h 246"/>
                <a:gd name="T16" fmla="*/ 35 w 265"/>
                <a:gd name="T17" fmla="*/ 195 h 246"/>
                <a:gd name="T18" fmla="*/ 29 w 265"/>
                <a:gd name="T19" fmla="*/ 174 h 246"/>
                <a:gd name="T20" fmla="*/ 0 w 265"/>
                <a:gd name="T21" fmla="*/ 158 h 246"/>
                <a:gd name="T22" fmla="*/ 0 w 265"/>
                <a:gd name="T23" fmla="*/ 118 h 246"/>
                <a:gd name="T24" fmla="*/ 8 w 265"/>
                <a:gd name="T25" fmla="*/ 101 h 246"/>
                <a:gd name="T26" fmla="*/ 3 w 265"/>
                <a:gd name="T27" fmla="*/ 96 h 246"/>
                <a:gd name="T28" fmla="*/ 30 w 265"/>
                <a:gd name="T29" fmla="*/ 0 h 246"/>
                <a:gd name="T30" fmla="*/ 54 w 265"/>
                <a:gd name="T31" fmla="*/ 6 h 246"/>
                <a:gd name="T32" fmla="*/ 75 w 265"/>
                <a:gd name="T33" fmla="*/ 0 h 246"/>
                <a:gd name="T34" fmla="*/ 96 w 265"/>
                <a:gd name="T35" fmla="*/ 17 h 246"/>
                <a:gd name="T36" fmla="*/ 139 w 265"/>
                <a:gd name="T37" fmla="*/ 67 h 246"/>
                <a:gd name="T38" fmla="*/ 168 w 265"/>
                <a:gd name="T39" fmla="*/ 45 h 246"/>
                <a:gd name="T40" fmla="*/ 185 w 265"/>
                <a:gd name="T41" fmla="*/ 62 h 246"/>
                <a:gd name="T42" fmla="*/ 209 w 265"/>
                <a:gd name="T43" fmla="*/ 64 h 246"/>
                <a:gd name="T44" fmla="*/ 246 w 265"/>
                <a:gd name="T45" fmla="*/ 17 h 246"/>
                <a:gd name="T46" fmla="*/ 265 w 265"/>
                <a:gd name="T47" fmla="*/ 30 h 246"/>
                <a:gd name="T48" fmla="*/ 256 w 265"/>
                <a:gd name="T49" fmla="*/ 64 h 246"/>
                <a:gd name="T50" fmla="*/ 232 w 265"/>
                <a:gd name="T51" fmla="*/ 75 h 246"/>
                <a:gd name="T52" fmla="*/ 232 w 265"/>
                <a:gd name="T53" fmla="*/ 97 h 246"/>
                <a:gd name="T54" fmla="*/ 200 w 265"/>
                <a:gd name="T55" fmla="*/ 113 h 246"/>
                <a:gd name="T56" fmla="*/ 208 w 265"/>
                <a:gd name="T57" fmla="*/ 150 h 246"/>
                <a:gd name="T58" fmla="*/ 197 w 265"/>
                <a:gd name="T59" fmla="*/ 216 h 246"/>
                <a:gd name="T60" fmla="*/ 197 w 265"/>
                <a:gd name="T61" fmla="*/ 216 h 246"/>
                <a:gd name="T62" fmla="*/ 197 w 265"/>
                <a:gd name="T63" fmla="*/ 21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5" h="246">
                  <a:moveTo>
                    <a:pt x="197" y="216"/>
                  </a:moveTo>
                  <a:lnTo>
                    <a:pt x="189" y="216"/>
                  </a:lnTo>
                  <a:lnTo>
                    <a:pt x="173" y="246"/>
                  </a:lnTo>
                  <a:lnTo>
                    <a:pt x="131" y="192"/>
                  </a:lnTo>
                  <a:lnTo>
                    <a:pt x="131" y="184"/>
                  </a:lnTo>
                  <a:lnTo>
                    <a:pt x="115" y="171"/>
                  </a:lnTo>
                  <a:lnTo>
                    <a:pt x="96" y="203"/>
                  </a:lnTo>
                  <a:lnTo>
                    <a:pt x="65" y="192"/>
                  </a:lnTo>
                  <a:lnTo>
                    <a:pt x="35" y="195"/>
                  </a:lnTo>
                  <a:lnTo>
                    <a:pt x="29" y="174"/>
                  </a:lnTo>
                  <a:lnTo>
                    <a:pt x="0" y="158"/>
                  </a:lnTo>
                  <a:lnTo>
                    <a:pt x="0" y="118"/>
                  </a:lnTo>
                  <a:lnTo>
                    <a:pt x="8" y="101"/>
                  </a:lnTo>
                  <a:lnTo>
                    <a:pt x="3" y="96"/>
                  </a:lnTo>
                  <a:lnTo>
                    <a:pt x="30" y="0"/>
                  </a:lnTo>
                  <a:lnTo>
                    <a:pt x="54" y="6"/>
                  </a:lnTo>
                  <a:lnTo>
                    <a:pt x="75" y="0"/>
                  </a:lnTo>
                  <a:lnTo>
                    <a:pt x="96" y="17"/>
                  </a:lnTo>
                  <a:lnTo>
                    <a:pt x="139" y="67"/>
                  </a:lnTo>
                  <a:lnTo>
                    <a:pt x="168" y="45"/>
                  </a:lnTo>
                  <a:lnTo>
                    <a:pt x="185" y="62"/>
                  </a:lnTo>
                  <a:lnTo>
                    <a:pt x="209" y="64"/>
                  </a:lnTo>
                  <a:lnTo>
                    <a:pt x="246" y="17"/>
                  </a:lnTo>
                  <a:lnTo>
                    <a:pt x="265" y="30"/>
                  </a:lnTo>
                  <a:lnTo>
                    <a:pt x="256" y="64"/>
                  </a:lnTo>
                  <a:lnTo>
                    <a:pt x="232" y="75"/>
                  </a:lnTo>
                  <a:lnTo>
                    <a:pt x="232" y="97"/>
                  </a:lnTo>
                  <a:lnTo>
                    <a:pt x="200" y="113"/>
                  </a:lnTo>
                  <a:lnTo>
                    <a:pt x="208" y="150"/>
                  </a:lnTo>
                  <a:lnTo>
                    <a:pt x="197" y="216"/>
                  </a:lnTo>
                  <a:lnTo>
                    <a:pt x="197" y="216"/>
                  </a:lnTo>
                  <a:lnTo>
                    <a:pt x="197" y="21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85" name="Freeform 235">
              <a:extLst>
                <a:ext uri="{FF2B5EF4-FFF2-40B4-BE49-F238E27FC236}">
                  <a16:creationId xmlns:a16="http://schemas.microsoft.com/office/drawing/2014/main" id="{2C82F91C-43C6-4FBC-8DDC-92A9A5D73D95}"/>
                </a:ext>
              </a:extLst>
            </p:cNvPr>
            <p:cNvSpPr>
              <a:spLocks/>
            </p:cNvSpPr>
            <p:nvPr/>
          </p:nvSpPr>
          <p:spPr bwMode="auto">
            <a:xfrm>
              <a:off x="9244531" y="3610069"/>
              <a:ext cx="588255" cy="623742"/>
            </a:xfrm>
            <a:custGeom>
              <a:avLst/>
              <a:gdLst>
                <a:gd name="T0" fmla="*/ 21 w 317"/>
                <a:gd name="T1" fmla="*/ 102 h 323"/>
                <a:gd name="T2" fmla="*/ 5 w 317"/>
                <a:gd name="T3" fmla="*/ 86 h 323"/>
                <a:gd name="T4" fmla="*/ 50 w 317"/>
                <a:gd name="T5" fmla="*/ 73 h 323"/>
                <a:gd name="T6" fmla="*/ 72 w 317"/>
                <a:gd name="T7" fmla="*/ 46 h 323"/>
                <a:gd name="T8" fmla="*/ 61 w 317"/>
                <a:gd name="T9" fmla="*/ 40 h 323"/>
                <a:gd name="T10" fmla="*/ 59 w 317"/>
                <a:gd name="T11" fmla="*/ 21 h 323"/>
                <a:gd name="T12" fmla="*/ 90 w 317"/>
                <a:gd name="T13" fmla="*/ 32 h 323"/>
                <a:gd name="T14" fmla="*/ 109 w 317"/>
                <a:gd name="T15" fmla="*/ 0 h 323"/>
                <a:gd name="T16" fmla="*/ 125 w 317"/>
                <a:gd name="T17" fmla="*/ 13 h 323"/>
                <a:gd name="T18" fmla="*/ 125 w 317"/>
                <a:gd name="T19" fmla="*/ 21 h 323"/>
                <a:gd name="T20" fmla="*/ 167 w 317"/>
                <a:gd name="T21" fmla="*/ 75 h 323"/>
                <a:gd name="T22" fmla="*/ 191 w 317"/>
                <a:gd name="T23" fmla="*/ 117 h 323"/>
                <a:gd name="T24" fmla="*/ 219 w 317"/>
                <a:gd name="T25" fmla="*/ 128 h 323"/>
                <a:gd name="T26" fmla="*/ 229 w 317"/>
                <a:gd name="T27" fmla="*/ 102 h 323"/>
                <a:gd name="T28" fmla="*/ 280 w 317"/>
                <a:gd name="T29" fmla="*/ 129 h 323"/>
                <a:gd name="T30" fmla="*/ 266 w 317"/>
                <a:gd name="T31" fmla="*/ 174 h 323"/>
                <a:gd name="T32" fmla="*/ 293 w 317"/>
                <a:gd name="T33" fmla="*/ 201 h 323"/>
                <a:gd name="T34" fmla="*/ 283 w 317"/>
                <a:gd name="T35" fmla="*/ 232 h 323"/>
                <a:gd name="T36" fmla="*/ 309 w 317"/>
                <a:gd name="T37" fmla="*/ 238 h 323"/>
                <a:gd name="T38" fmla="*/ 317 w 317"/>
                <a:gd name="T39" fmla="*/ 272 h 323"/>
                <a:gd name="T40" fmla="*/ 274 w 317"/>
                <a:gd name="T41" fmla="*/ 277 h 323"/>
                <a:gd name="T42" fmla="*/ 216 w 317"/>
                <a:gd name="T43" fmla="*/ 310 h 323"/>
                <a:gd name="T44" fmla="*/ 211 w 317"/>
                <a:gd name="T45" fmla="*/ 323 h 323"/>
                <a:gd name="T46" fmla="*/ 144 w 317"/>
                <a:gd name="T47" fmla="*/ 299 h 323"/>
                <a:gd name="T48" fmla="*/ 143 w 317"/>
                <a:gd name="T49" fmla="*/ 217 h 323"/>
                <a:gd name="T50" fmla="*/ 127 w 317"/>
                <a:gd name="T51" fmla="*/ 232 h 323"/>
                <a:gd name="T52" fmla="*/ 83 w 317"/>
                <a:gd name="T53" fmla="*/ 222 h 323"/>
                <a:gd name="T54" fmla="*/ 83 w 317"/>
                <a:gd name="T55" fmla="*/ 181 h 323"/>
                <a:gd name="T56" fmla="*/ 48 w 317"/>
                <a:gd name="T57" fmla="*/ 152 h 323"/>
                <a:gd name="T58" fmla="*/ 10 w 317"/>
                <a:gd name="T59" fmla="*/ 166 h 323"/>
                <a:gd name="T60" fmla="*/ 0 w 317"/>
                <a:gd name="T61" fmla="*/ 147 h 323"/>
                <a:gd name="T62" fmla="*/ 0 w 317"/>
                <a:gd name="T63" fmla="*/ 120 h 323"/>
                <a:gd name="T64" fmla="*/ 21 w 317"/>
                <a:gd name="T65" fmla="*/ 102 h 323"/>
                <a:gd name="T66" fmla="*/ 21 w 317"/>
                <a:gd name="T67" fmla="*/ 102 h 323"/>
                <a:gd name="T68" fmla="*/ 21 w 317"/>
                <a:gd name="T69" fmla="*/ 10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323">
                  <a:moveTo>
                    <a:pt x="21" y="102"/>
                  </a:moveTo>
                  <a:lnTo>
                    <a:pt x="5" y="86"/>
                  </a:lnTo>
                  <a:lnTo>
                    <a:pt x="50" y="73"/>
                  </a:lnTo>
                  <a:lnTo>
                    <a:pt x="72" y="46"/>
                  </a:lnTo>
                  <a:lnTo>
                    <a:pt x="61" y="40"/>
                  </a:lnTo>
                  <a:lnTo>
                    <a:pt x="59" y="21"/>
                  </a:lnTo>
                  <a:lnTo>
                    <a:pt x="90" y="32"/>
                  </a:lnTo>
                  <a:lnTo>
                    <a:pt x="109" y="0"/>
                  </a:lnTo>
                  <a:lnTo>
                    <a:pt x="125" y="13"/>
                  </a:lnTo>
                  <a:lnTo>
                    <a:pt x="125" y="21"/>
                  </a:lnTo>
                  <a:lnTo>
                    <a:pt x="167" y="75"/>
                  </a:lnTo>
                  <a:lnTo>
                    <a:pt x="191" y="117"/>
                  </a:lnTo>
                  <a:lnTo>
                    <a:pt x="219" y="128"/>
                  </a:lnTo>
                  <a:lnTo>
                    <a:pt x="229" y="102"/>
                  </a:lnTo>
                  <a:lnTo>
                    <a:pt x="280" y="129"/>
                  </a:lnTo>
                  <a:lnTo>
                    <a:pt x="266" y="174"/>
                  </a:lnTo>
                  <a:lnTo>
                    <a:pt x="293" y="201"/>
                  </a:lnTo>
                  <a:lnTo>
                    <a:pt x="283" y="232"/>
                  </a:lnTo>
                  <a:lnTo>
                    <a:pt x="309" y="238"/>
                  </a:lnTo>
                  <a:lnTo>
                    <a:pt x="317" y="272"/>
                  </a:lnTo>
                  <a:lnTo>
                    <a:pt x="274" y="277"/>
                  </a:lnTo>
                  <a:lnTo>
                    <a:pt x="216" y="310"/>
                  </a:lnTo>
                  <a:lnTo>
                    <a:pt x="211" y="323"/>
                  </a:lnTo>
                  <a:lnTo>
                    <a:pt x="144" y="299"/>
                  </a:lnTo>
                  <a:lnTo>
                    <a:pt x="143" y="217"/>
                  </a:lnTo>
                  <a:lnTo>
                    <a:pt x="127" y="232"/>
                  </a:lnTo>
                  <a:lnTo>
                    <a:pt x="83" y="222"/>
                  </a:lnTo>
                  <a:lnTo>
                    <a:pt x="83" y="181"/>
                  </a:lnTo>
                  <a:lnTo>
                    <a:pt x="48" y="152"/>
                  </a:lnTo>
                  <a:lnTo>
                    <a:pt x="10" y="166"/>
                  </a:lnTo>
                  <a:lnTo>
                    <a:pt x="0" y="147"/>
                  </a:lnTo>
                  <a:lnTo>
                    <a:pt x="0" y="120"/>
                  </a:lnTo>
                  <a:lnTo>
                    <a:pt x="21" y="102"/>
                  </a:lnTo>
                  <a:lnTo>
                    <a:pt x="21" y="102"/>
                  </a:lnTo>
                  <a:lnTo>
                    <a:pt x="21" y="10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86" name="Freeform 236">
              <a:extLst>
                <a:ext uri="{FF2B5EF4-FFF2-40B4-BE49-F238E27FC236}">
                  <a16:creationId xmlns:a16="http://schemas.microsoft.com/office/drawing/2014/main" id="{20A75C62-8BFE-41E2-8AEE-7D9C4AC26483}"/>
                </a:ext>
              </a:extLst>
            </p:cNvPr>
            <p:cNvSpPr>
              <a:spLocks/>
            </p:cNvSpPr>
            <p:nvPr/>
          </p:nvSpPr>
          <p:spPr bwMode="auto">
            <a:xfrm>
              <a:off x="8303695" y="1997614"/>
              <a:ext cx="70515" cy="127454"/>
            </a:xfrm>
            <a:custGeom>
              <a:avLst/>
              <a:gdLst>
                <a:gd name="T0" fmla="*/ 27 w 38"/>
                <a:gd name="T1" fmla="*/ 0 h 66"/>
                <a:gd name="T2" fmla="*/ 38 w 38"/>
                <a:gd name="T3" fmla="*/ 5 h 66"/>
                <a:gd name="T4" fmla="*/ 34 w 38"/>
                <a:gd name="T5" fmla="*/ 14 h 66"/>
                <a:gd name="T6" fmla="*/ 16 w 38"/>
                <a:gd name="T7" fmla="*/ 30 h 66"/>
                <a:gd name="T8" fmla="*/ 35 w 38"/>
                <a:gd name="T9" fmla="*/ 40 h 66"/>
                <a:gd name="T10" fmla="*/ 34 w 38"/>
                <a:gd name="T11" fmla="*/ 66 h 66"/>
                <a:gd name="T12" fmla="*/ 14 w 38"/>
                <a:gd name="T13" fmla="*/ 53 h 66"/>
                <a:gd name="T14" fmla="*/ 0 w 38"/>
                <a:gd name="T15" fmla="*/ 38 h 66"/>
                <a:gd name="T16" fmla="*/ 3 w 38"/>
                <a:gd name="T17" fmla="*/ 19 h 66"/>
                <a:gd name="T18" fmla="*/ 14 w 38"/>
                <a:gd name="T19" fmla="*/ 11 h 66"/>
                <a:gd name="T20" fmla="*/ 27 w 38"/>
                <a:gd name="T21" fmla="*/ 0 h 66"/>
                <a:gd name="T22" fmla="*/ 27 w 38"/>
                <a:gd name="T23" fmla="*/ 0 h 66"/>
                <a:gd name="T24" fmla="*/ 27 w 38"/>
                <a:gd name="T2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6">
                  <a:moveTo>
                    <a:pt x="27" y="0"/>
                  </a:moveTo>
                  <a:lnTo>
                    <a:pt x="38" y="5"/>
                  </a:lnTo>
                  <a:lnTo>
                    <a:pt x="34" y="14"/>
                  </a:lnTo>
                  <a:lnTo>
                    <a:pt x="16" y="30"/>
                  </a:lnTo>
                  <a:lnTo>
                    <a:pt x="35" y="40"/>
                  </a:lnTo>
                  <a:lnTo>
                    <a:pt x="34" y="66"/>
                  </a:lnTo>
                  <a:lnTo>
                    <a:pt x="14" y="53"/>
                  </a:lnTo>
                  <a:lnTo>
                    <a:pt x="0" y="38"/>
                  </a:lnTo>
                  <a:lnTo>
                    <a:pt x="3" y="19"/>
                  </a:lnTo>
                  <a:lnTo>
                    <a:pt x="14" y="11"/>
                  </a:lnTo>
                  <a:lnTo>
                    <a:pt x="27" y="0"/>
                  </a:lnTo>
                  <a:lnTo>
                    <a:pt x="27" y="0"/>
                  </a:lnTo>
                  <a:lnTo>
                    <a:pt x="27"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7" name="Freeform 245">
              <a:extLst>
                <a:ext uri="{FF2B5EF4-FFF2-40B4-BE49-F238E27FC236}">
                  <a16:creationId xmlns:a16="http://schemas.microsoft.com/office/drawing/2014/main" id="{42200B03-B844-403A-AAC4-BFCC7BDCBCB4}"/>
                </a:ext>
              </a:extLst>
            </p:cNvPr>
            <p:cNvSpPr>
              <a:spLocks/>
            </p:cNvSpPr>
            <p:nvPr/>
          </p:nvSpPr>
          <p:spPr bwMode="auto">
            <a:xfrm>
              <a:off x="9957115" y="4382500"/>
              <a:ext cx="395262" cy="475047"/>
            </a:xfrm>
            <a:custGeom>
              <a:avLst/>
              <a:gdLst>
                <a:gd name="T0" fmla="*/ 109 w 213"/>
                <a:gd name="T1" fmla="*/ 195 h 246"/>
                <a:gd name="T2" fmla="*/ 104 w 213"/>
                <a:gd name="T3" fmla="*/ 204 h 246"/>
                <a:gd name="T4" fmla="*/ 109 w 213"/>
                <a:gd name="T5" fmla="*/ 224 h 246"/>
                <a:gd name="T6" fmla="*/ 99 w 213"/>
                <a:gd name="T7" fmla="*/ 219 h 246"/>
                <a:gd name="T8" fmla="*/ 90 w 213"/>
                <a:gd name="T9" fmla="*/ 227 h 246"/>
                <a:gd name="T10" fmla="*/ 72 w 213"/>
                <a:gd name="T11" fmla="*/ 227 h 246"/>
                <a:gd name="T12" fmla="*/ 69 w 213"/>
                <a:gd name="T13" fmla="*/ 246 h 246"/>
                <a:gd name="T14" fmla="*/ 58 w 213"/>
                <a:gd name="T15" fmla="*/ 236 h 246"/>
                <a:gd name="T16" fmla="*/ 59 w 213"/>
                <a:gd name="T17" fmla="*/ 214 h 246"/>
                <a:gd name="T18" fmla="*/ 35 w 213"/>
                <a:gd name="T19" fmla="*/ 203 h 246"/>
                <a:gd name="T20" fmla="*/ 31 w 213"/>
                <a:gd name="T21" fmla="*/ 182 h 246"/>
                <a:gd name="T22" fmla="*/ 0 w 213"/>
                <a:gd name="T23" fmla="*/ 163 h 246"/>
                <a:gd name="T24" fmla="*/ 15 w 213"/>
                <a:gd name="T25" fmla="*/ 158 h 246"/>
                <a:gd name="T26" fmla="*/ 15 w 213"/>
                <a:gd name="T27" fmla="*/ 142 h 246"/>
                <a:gd name="T28" fmla="*/ 40 w 213"/>
                <a:gd name="T29" fmla="*/ 129 h 246"/>
                <a:gd name="T30" fmla="*/ 64 w 213"/>
                <a:gd name="T31" fmla="*/ 131 h 246"/>
                <a:gd name="T32" fmla="*/ 23 w 213"/>
                <a:gd name="T33" fmla="*/ 94 h 246"/>
                <a:gd name="T34" fmla="*/ 7 w 213"/>
                <a:gd name="T35" fmla="*/ 52 h 246"/>
                <a:gd name="T36" fmla="*/ 45 w 213"/>
                <a:gd name="T37" fmla="*/ 0 h 246"/>
                <a:gd name="T38" fmla="*/ 72 w 213"/>
                <a:gd name="T39" fmla="*/ 35 h 246"/>
                <a:gd name="T40" fmla="*/ 149 w 213"/>
                <a:gd name="T41" fmla="*/ 64 h 246"/>
                <a:gd name="T42" fmla="*/ 202 w 213"/>
                <a:gd name="T43" fmla="*/ 46 h 246"/>
                <a:gd name="T44" fmla="*/ 213 w 213"/>
                <a:gd name="T45" fmla="*/ 78 h 246"/>
                <a:gd name="T46" fmla="*/ 175 w 213"/>
                <a:gd name="T47" fmla="*/ 132 h 246"/>
                <a:gd name="T48" fmla="*/ 181 w 213"/>
                <a:gd name="T49" fmla="*/ 155 h 246"/>
                <a:gd name="T50" fmla="*/ 119 w 213"/>
                <a:gd name="T51" fmla="*/ 195 h 246"/>
                <a:gd name="T52" fmla="*/ 109 w 213"/>
                <a:gd name="T53" fmla="*/ 195 h 246"/>
                <a:gd name="T54" fmla="*/ 109 w 213"/>
                <a:gd name="T55" fmla="*/ 195 h 246"/>
                <a:gd name="T56" fmla="*/ 109 w 213"/>
                <a:gd name="T5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246">
                  <a:moveTo>
                    <a:pt x="109" y="195"/>
                  </a:moveTo>
                  <a:lnTo>
                    <a:pt x="104" y="204"/>
                  </a:lnTo>
                  <a:lnTo>
                    <a:pt x="109" y="224"/>
                  </a:lnTo>
                  <a:lnTo>
                    <a:pt x="99" y="219"/>
                  </a:lnTo>
                  <a:lnTo>
                    <a:pt x="90" y="227"/>
                  </a:lnTo>
                  <a:lnTo>
                    <a:pt x="72" y="227"/>
                  </a:lnTo>
                  <a:lnTo>
                    <a:pt x="69" y="246"/>
                  </a:lnTo>
                  <a:lnTo>
                    <a:pt x="58" y="236"/>
                  </a:lnTo>
                  <a:lnTo>
                    <a:pt x="59" y="214"/>
                  </a:lnTo>
                  <a:lnTo>
                    <a:pt x="35" y="203"/>
                  </a:lnTo>
                  <a:lnTo>
                    <a:pt x="31" y="182"/>
                  </a:lnTo>
                  <a:lnTo>
                    <a:pt x="0" y="163"/>
                  </a:lnTo>
                  <a:lnTo>
                    <a:pt x="15" y="158"/>
                  </a:lnTo>
                  <a:lnTo>
                    <a:pt x="15" y="142"/>
                  </a:lnTo>
                  <a:lnTo>
                    <a:pt x="40" y="129"/>
                  </a:lnTo>
                  <a:lnTo>
                    <a:pt x="64" y="131"/>
                  </a:lnTo>
                  <a:lnTo>
                    <a:pt x="23" y="94"/>
                  </a:lnTo>
                  <a:lnTo>
                    <a:pt x="7" y="52"/>
                  </a:lnTo>
                  <a:lnTo>
                    <a:pt x="45" y="0"/>
                  </a:lnTo>
                  <a:lnTo>
                    <a:pt x="72" y="35"/>
                  </a:lnTo>
                  <a:lnTo>
                    <a:pt x="149" y="64"/>
                  </a:lnTo>
                  <a:lnTo>
                    <a:pt x="202" y="46"/>
                  </a:lnTo>
                  <a:lnTo>
                    <a:pt x="213" y="78"/>
                  </a:lnTo>
                  <a:lnTo>
                    <a:pt x="175" y="132"/>
                  </a:lnTo>
                  <a:lnTo>
                    <a:pt x="181" y="155"/>
                  </a:lnTo>
                  <a:lnTo>
                    <a:pt x="119" y="195"/>
                  </a:lnTo>
                  <a:lnTo>
                    <a:pt x="109" y="195"/>
                  </a:lnTo>
                  <a:lnTo>
                    <a:pt x="109" y="195"/>
                  </a:lnTo>
                  <a:lnTo>
                    <a:pt x="109" y="19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88" name="Freeform 246">
              <a:extLst>
                <a:ext uri="{FF2B5EF4-FFF2-40B4-BE49-F238E27FC236}">
                  <a16:creationId xmlns:a16="http://schemas.microsoft.com/office/drawing/2014/main" id="{C0C5E72E-198D-450A-A418-C90B4359B60D}"/>
                </a:ext>
              </a:extLst>
            </p:cNvPr>
            <p:cNvSpPr>
              <a:spLocks/>
            </p:cNvSpPr>
            <p:nvPr/>
          </p:nvSpPr>
          <p:spPr bwMode="auto">
            <a:xfrm>
              <a:off x="9559998" y="1673195"/>
              <a:ext cx="593822" cy="504015"/>
            </a:xfrm>
            <a:custGeom>
              <a:avLst/>
              <a:gdLst>
                <a:gd name="T0" fmla="*/ 0 w 320"/>
                <a:gd name="T1" fmla="*/ 7 h 261"/>
                <a:gd name="T2" fmla="*/ 24 w 320"/>
                <a:gd name="T3" fmla="*/ 19 h 261"/>
                <a:gd name="T4" fmla="*/ 53 w 320"/>
                <a:gd name="T5" fmla="*/ 0 h 261"/>
                <a:gd name="T6" fmla="*/ 109 w 320"/>
                <a:gd name="T7" fmla="*/ 13 h 261"/>
                <a:gd name="T8" fmla="*/ 155 w 320"/>
                <a:gd name="T9" fmla="*/ 88 h 261"/>
                <a:gd name="T10" fmla="*/ 174 w 320"/>
                <a:gd name="T11" fmla="*/ 91 h 261"/>
                <a:gd name="T12" fmla="*/ 174 w 320"/>
                <a:gd name="T13" fmla="*/ 74 h 261"/>
                <a:gd name="T14" fmla="*/ 206 w 320"/>
                <a:gd name="T15" fmla="*/ 79 h 261"/>
                <a:gd name="T16" fmla="*/ 211 w 320"/>
                <a:gd name="T17" fmla="*/ 96 h 261"/>
                <a:gd name="T18" fmla="*/ 254 w 320"/>
                <a:gd name="T19" fmla="*/ 96 h 261"/>
                <a:gd name="T20" fmla="*/ 278 w 320"/>
                <a:gd name="T21" fmla="*/ 75 h 261"/>
                <a:gd name="T22" fmla="*/ 320 w 320"/>
                <a:gd name="T23" fmla="*/ 110 h 261"/>
                <a:gd name="T24" fmla="*/ 309 w 320"/>
                <a:gd name="T25" fmla="*/ 141 h 261"/>
                <a:gd name="T26" fmla="*/ 265 w 320"/>
                <a:gd name="T27" fmla="*/ 141 h 261"/>
                <a:gd name="T28" fmla="*/ 227 w 320"/>
                <a:gd name="T29" fmla="*/ 128 h 261"/>
                <a:gd name="T30" fmla="*/ 221 w 320"/>
                <a:gd name="T31" fmla="*/ 110 h 261"/>
                <a:gd name="T32" fmla="*/ 198 w 320"/>
                <a:gd name="T33" fmla="*/ 160 h 261"/>
                <a:gd name="T34" fmla="*/ 219 w 320"/>
                <a:gd name="T35" fmla="*/ 168 h 261"/>
                <a:gd name="T36" fmla="*/ 222 w 320"/>
                <a:gd name="T37" fmla="*/ 192 h 261"/>
                <a:gd name="T38" fmla="*/ 238 w 320"/>
                <a:gd name="T39" fmla="*/ 174 h 261"/>
                <a:gd name="T40" fmla="*/ 262 w 320"/>
                <a:gd name="T41" fmla="*/ 187 h 261"/>
                <a:gd name="T42" fmla="*/ 259 w 320"/>
                <a:gd name="T43" fmla="*/ 243 h 261"/>
                <a:gd name="T44" fmla="*/ 243 w 320"/>
                <a:gd name="T45" fmla="*/ 259 h 261"/>
                <a:gd name="T46" fmla="*/ 232 w 320"/>
                <a:gd name="T47" fmla="*/ 261 h 261"/>
                <a:gd name="T48" fmla="*/ 209 w 320"/>
                <a:gd name="T49" fmla="*/ 242 h 261"/>
                <a:gd name="T50" fmla="*/ 161 w 320"/>
                <a:gd name="T51" fmla="*/ 229 h 261"/>
                <a:gd name="T52" fmla="*/ 128 w 320"/>
                <a:gd name="T53" fmla="*/ 206 h 261"/>
                <a:gd name="T54" fmla="*/ 81 w 320"/>
                <a:gd name="T55" fmla="*/ 194 h 261"/>
                <a:gd name="T56" fmla="*/ 83 w 320"/>
                <a:gd name="T57" fmla="*/ 163 h 261"/>
                <a:gd name="T58" fmla="*/ 38 w 320"/>
                <a:gd name="T59" fmla="*/ 152 h 261"/>
                <a:gd name="T60" fmla="*/ 8 w 320"/>
                <a:gd name="T61" fmla="*/ 114 h 261"/>
                <a:gd name="T62" fmla="*/ 21 w 320"/>
                <a:gd name="T63" fmla="*/ 112 h 261"/>
                <a:gd name="T64" fmla="*/ 24 w 320"/>
                <a:gd name="T65" fmla="*/ 79 h 261"/>
                <a:gd name="T66" fmla="*/ 0 w 320"/>
                <a:gd name="T67" fmla="*/ 7 h 261"/>
                <a:gd name="T68" fmla="*/ 0 w 320"/>
                <a:gd name="T69" fmla="*/ 7 h 261"/>
                <a:gd name="T70" fmla="*/ 0 w 320"/>
                <a:gd name="T71" fmla="*/ 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61">
                  <a:moveTo>
                    <a:pt x="0" y="7"/>
                  </a:moveTo>
                  <a:lnTo>
                    <a:pt x="24" y="19"/>
                  </a:lnTo>
                  <a:lnTo>
                    <a:pt x="53" y="0"/>
                  </a:lnTo>
                  <a:lnTo>
                    <a:pt x="109" y="13"/>
                  </a:lnTo>
                  <a:lnTo>
                    <a:pt x="155" y="88"/>
                  </a:lnTo>
                  <a:lnTo>
                    <a:pt x="174" y="91"/>
                  </a:lnTo>
                  <a:lnTo>
                    <a:pt x="174" y="74"/>
                  </a:lnTo>
                  <a:lnTo>
                    <a:pt x="206" y="79"/>
                  </a:lnTo>
                  <a:lnTo>
                    <a:pt x="211" y="96"/>
                  </a:lnTo>
                  <a:lnTo>
                    <a:pt x="254" y="96"/>
                  </a:lnTo>
                  <a:lnTo>
                    <a:pt x="278" y="75"/>
                  </a:lnTo>
                  <a:lnTo>
                    <a:pt x="320" y="110"/>
                  </a:lnTo>
                  <a:lnTo>
                    <a:pt x="309" y="141"/>
                  </a:lnTo>
                  <a:lnTo>
                    <a:pt x="265" y="141"/>
                  </a:lnTo>
                  <a:lnTo>
                    <a:pt x="227" y="128"/>
                  </a:lnTo>
                  <a:lnTo>
                    <a:pt x="221" y="110"/>
                  </a:lnTo>
                  <a:lnTo>
                    <a:pt x="198" y="160"/>
                  </a:lnTo>
                  <a:lnTo>
                    <a:pt x="219" y="168"/>
                  </a:lnTo>
                  <a:lnTo>
                    <a:pt x="222" y="192"/>
                  </a:lnTo>
                  <a:lnTo>
                    <a:pt x="238" y="174"/>
                  </a:lnTo>
                  <a:lnTo>
                    <a:pt x="262" y="187"/>
                  </a:lnTo>
                  <a:lnTo>
                    <a:pt x="259" y="243"/>
                  </a:lnTo>
                  <a:lnTo>
                    <a:pt x="243" y="259"/>
                  </a:lnTo>
                  <a:lnTo>
                    <a:pt x="232" y="261"/>
                  </a:lnTo>
                  <a:lnTo>
                    <a:pt x="209" y="242"/>
                  </a:lnTo>
                  <a:lnTo>
                    <a:pt x="161" y="229"/>
                  </a:lnTo>
                  <a:lnTo>
                    <a:pt x="128" y="206"/>
                  </a:lnTo>
                  <a:lnTo>
                    <a:pt x="81" y="194"/>
                  </a:lnTo>
                  <a:lnTo>
                    <a:pt x="83" y="163"/>
                  </a:lnTo>
                  <a:lnTo>
                    <a:pt x="38" y="152"/>
                  </a:lnTo>
                  <a:lnTo>
                    <a:pt x="8" y="114"/>
                  </a:lnTo>
                  <a:lnTo>
                    <a:pt x="21" y="112"/>
                  </a:lnTo>
                  <a:lnTo>
                    <a:pt x="24" y="79"/>
                  </a:lnTo>
                  <a:lnTo>
                    <a:pt x="0" y="7"/>
                  </a:lnTo>
                  <a:lnTo>
                    <a:pt x="0" y="7"/>
                  </a:lnTo>
                  <a:lnTo>
                    <a:pt x="0" y="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89" name="Freeform 247">
              <a:extLst>
                <a:ext uri="{FF2B5EF4-FFF2-40B4-BE49-F238E27FC236}">
                  <a16:creationId xmlns:a16="http://schemas.microsoft.com/office/drawing/2014/main" id="{FE6430DA-1830-4CDC-B0C8-B6D88E549D8F}"/>
                </a:ext>
              </a:extLst>
            </p:cNvPr>
            <p:cNvSpPr>
              <a:spLocks/>
            </p:cNvSpPr>
            <p:nvPr/>
          </p:nvSpPr>
          <p:spPr bwMode="auto">
            <a:xfrm>
              <a:off x="9927426" y="1883682"/>
              <a:ext cx="419387" cy="496288"/>
            </a:xfrm>
            <a:custGeom>
              <a:avLst/>
              <a:gdLst>
                <a:gd name="T0" fmla="*/ 163 w 226"/>
                <a:gd name="T1" fmla="*/ 120 h 257"/>
                <a:gd name="T2" fmla="*/ 152 w 226"/>
                <a:gd name="T3" fmla="*/ 198 h 257"/>
                <a:gd name="T4" fmla="*/ 128 w 226"/>
                <a:gd name="T5" fmla="*/ 257 h 257"/>
                <a:gd name="T6" fmla="*/ 56 w 226"/>
                <a:gd name="T7" fmla="*/ 208 h 257"/>
                <a:gd name="T8" fmla="*/ 34 w 226"/>
                <a:gd name="T9" fmla="*/ 201 h 257"/>
                <a:gd name="T10" fmla="*/ 34 w 226"/>
                <a:gd name="T11" fmla="*/ 152 h 257"/>
                <a:gd name="T12" fmla="*/ 45 w 226"/>
                <a:gd name="T13" fmla="*/ 150 h 257"/>
                <a:gd name="T14" fmla="*/ 61 w 226"/>
                <a:gd name="T15" fmla="*/ 134 h 257"/>
                <a:gd name="T16" fmla="*/ 64 w 226"/>
                <a:gd name="T17" fmla="*/ 78 h 257"/>
                <a:gd name="T18" fmla="*/ 40 w 226"/>
                <a:gd name="T19" fmla="*/ 65 h 257"/>
                <a:gd name="T20" fmla="*/ 24 w 226"/>
                <a:gd name="T21" fmla="*/ 83 h 257"/>
                <a:gd name="T22" fmla="*/ 21 w 226"/>
                <a:gd name="T23" fmla="*/ 59 h 257"/>
                <a:gd name="T24" fmla="*/ 0 w 226"/>
                <a:gd name="T25" fmla="*/ 51 h 257"/>
                <a:gd name="T26" fmla="*/ 23 w 226"/>
                <a:gd name="T27" fmla="*/ 1 h 257"/>
                <a:gd name="T28" fmla="*/ 29 w 226"/>
                <a:gd name="T29" fmla="*/ 19 h 257"/>
                <a:gd name="T30" fmla="*/ 67 w 226"/>
                <a:gd name="T31" fmla="*/ 32 h 257"/>
                <a:gd name="T32" fmla="*/ 111 w 226"/>
                <a:gd name="T33" fmla="*/ 32 h 257"/>
                <a:gd name="T34" fmla="*/ 122 w 226"/>
                <a:gd name="T35" fmla="*/ 1 h 257"/>
                <a:gd name="T36" fmla="*/ 175 w 226"/>
                <a:gd name="T37" fmla="*/ 0 h 257"/>
                <a:gd name="T38" fmla="*/ 226 w 226"/>
                <a:gd name="T39" fmla="*/ 19 h 257"/>
                <a:gd name="T40" fmla="*/ 207 w 226"/>
                <a:gd name="T41" fmla="*/ 62 h 257"/>
                <a:gd name="T42" fmla="*/ 163 w 226"/>
                <a:gd name="T43" fmla="*/ 120 h 257"/>
                <a:gd name="T44" fmla="*/ 163 w 226"/>
                <a:gd name="T45" fmla="*/ 120 h 257"/>
                <a:gd name="T46" fmla="*/ 163 w 226"/>
                <a:gd name="T47" fmla="*/ 12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6" h="257">
                  <a:moveTo>
                    <a:pt x="163" y="120"/>
                  </a:moveTo>
                  <a:lnTo>
                    <a:pt x="152" y="198"/>
                  </a:lnTo>
                  <a:lnTo>
                    <a:pt x="128" y="257"/>
                  </a:lnTo>
                  <a:lnTo>
                    <a:pt x="56" y="208"/>
                  </a:lnTo>
                  <a:lnTo>
                    <a:pt x="34" y="201"/>
                  </a:lnTo>
                  <a:lnTo>
                    <a:pt x="34" y="152"/>
                  </a:lnTo>
                  <a:lnTo>
                    <a:pt x="45" y="150"/>
                  </a:lnTo>
                  <a:lnTo>
                    <a:pt x="61" y="134"/>
                  </a:lnTo>
                  <a:lnTo>
                    <a:pt x="64" y="78"/>
                  </a:lnTo>
                  <a:lnTo>
                    <a:pt x="40" y="65"/>
                  </a:lnTo>
                  <a:lnTo>
                    <a:pt x="24" y="83"/>
                  </a:lnTo>
                  <a:lnTo>
                    <a:pt x="21" y="59"/>
                  </a:lnTo>
                  <a:lnTo>
                    <a:pt x="0" y="51"/>
                  </a:lnTo>
                  <a:lnTo>
                    <a:pt x="23" y="1"/>
                  </a:lnTo>
                  <a:lnTo>
                    <a:pt x="29" y="19"/>
                  </a:lnTo>
                  <a:lnTo>
                    <a:pt x="67" y="32"/>
                  </a:lnTo>
                  <a:lnTo>
                    <a:pt x="111" y="32"/>
                  </a:lnTo>
                  <a:lnTo>
                    <a:pt x="122" y="1"/>
                  </a:lnTo>
                  <a:lnTo>
                    <a:pt x="175" y="0"/>
                  </a:lnTo>
                  <a:lnTo>
                    <a:pt x="226" y="19"/>
                  </a:lnTo>
                  <a:lnTo>
                    <a:pt x="207" y="62"/>
                  </a:lnTo>
                  <a:lnTo>
                    <a:pt x="163" y="120"/>
                  </a:lnTo>
                  <a:lnTo>
                    <a:pt x="163" y="120"/>
                  </a:lnTo>
                  <a:lnTo>
                    <a:pt x="163" y="12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0" name="Freeform 248">
              <a:extLst>
                <a:ext uri="{FF2B5EF4-FFF2-40B4-BE49-F238E27FC236}">
                  <a16:creationId xmlns:a16="http://schemas.microsoft.com/office/drawing/2014/main" id="{94BBF935-13D9-4373-A33A-C41F15E784C6}"/>
                </a:ext>
              </a:extLst>
            </p:cNvPr>
            <p:cNvSpPr>
              <a:spLocks/>
            </p:cNvSpPr>
            <p:nvPr/>
          </p:nvSpPr>
          <p:spPr bwMode="auto">
            <a:xfrm>
              <a:off x="9918147" y="2285347"/>
              <a:ext cx="270930" cy="465391"/>
            </a:xfrm>
            <a:custGeom>
              <a:avLst/>
              <a:gdLst>
                <a:gd name="T0" fmla="*/ 128 w 146"/>
                <a:gd name="T1" fmla="*/ 174 h 241"/>
                <a:gd name="T2" fmla="*/ 136 w 146"/>
                <a:gd name="T3" fmla="*/ 105 h 241"/>
                <a:gd name="T4" fmla="*/ 144 w 146"/>
                <a:gd name="T5" fmla="*/ 89 h 241"/>
                <a:gd name="T6" fmla="*/ 132 w 146"/>
                <a:gd name="T7" fmla="*/ 72 h 241"/>
                <a:gd name="T8" fmla="*/ 133 w 146"/>
                <a:gd name="T9" fmla="*/ 49 h 241"/>
                <a:gd name="T10" fmla="*/ 133 w 146"/>
                <a:gd name="T11" fmla="*/ 49 h 241"/>
                <a:gd name="T12" fmla="*/ 61 w 146"/>
                <a:gd name="T13" fmla="*/ 0 h 241"/>
                <a:gd name="T14" fmla="*/ 15 w 146"/>
                <a:gd name="T15" fmla="*/ 105 h 241"/>
                <a:gd name="T16" fmla="*/ 15 w 146"/>
                <a:gd name="T17" fmla="*/ 134 h 241"/>
                <a:gd name="T18" fmla="*/ 0 w 146"/>
                <a:gd name="T19" fmla="*/ 142 h 241"/>
                <a:gd name="T20" fmla="*/ 39 w 146"/>
                <a:gd name="T21" fmla="*/ 163 h 241"/>
                <a:gd name="T22" fmla="*/ 44 w 146"/>
                <a:gd name="T23" fmla="*/ 193 h 241"/>
                <a:gd name="T24" fmla="*/ 66 w 146"/>
                <a:gd name="T25" fmla="*/ 227 h 241"/>
                <a:gd name="T26" fmla="*/ 71 w 146"/>
                <a:gd name="T27" fmla="*/ 241 h 241"/>
                <a:gd name="T28" fmla="*/ 112 w 146"/>
                <a:gd name="T29" fmla="*/ 240 h 241"/>
                <a:gd name="T30" fmla="*/ 146 w 146"/>
                <a:gd name="T31" fmla="*/ 193 h 241"/>
                <a:gd name="T32" fmla="*/ 128 w 146"/>
                <a:gd name="T33" fmla="*/ 174 h 241"/>
                <a:gd name="T34" fmla="*/ 128 w 146"/>
                <a:gd name="T35" fmla="*/ 174 h 241"/>
                <a:gd name="T36" fmla="*/ 128 w 146"/>
                <a:gd name="T37" fmla="*/ 17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41">
                  <a:moveTo>
                    <a:pt x="128" y="174"/>
                  </a:moveTo>
                  <a:lnTo>
                    <a:pt x="136" y="105"/>
                  </a:lnTo>
                  <a:lnTo>
                    <a:pt x="144" y="89"/>
                  </a:lnTo>
                  <a:lnTo>
                    <a:pt x="132" y="72"/>
                  </a:lnTo>
                  <a:lnTo>
                    <a:pt x="133" y="49"/>
                  </a:lnTo>
                  <a:lnTo>
                    <a:pt x="133" y="49"/>
                  </a:lnTo>
                  <a:lnTo>
                    <a:pt x="61" y="0"/>
                  </a:lnTo>
                  <a:lnTo>
                    <a:pt x="15" y="105"/>
                  </a:lnTo>
                  <a:lnTo>
                    <a:pt x="15" y="134"/>
                  </a:lnTo>
                  <a:lnTo>
                    <a:pt x="0" y="142"/>
                  </a:lnTo>
                  <a:lnTo>
                    <a:pt x="39" y="163"/>
                  </a:lnTo>
                  <a:lnTo>
                    <a:pt x="44" y="193"/>
                  </a:lnTo>
                  <a:lnTo>
                    <a:pt x="66" y="227"/>
                  </a:lnTo>
                  <a:lnTo>
                    <a:pt x="71" y="241"/>
                  </a:lnTo>
                  <a:lnTo>
                    <a:pt x="112" y="240"/>
                  </a:lnTo>
                  <a:lnTo>
                    <a:pt x="146" y="193"/>
                  </a:lnTo>
                  <a:lnTo>
                    <a:pt x="128" y="174"/>
                  </a:lnTo>
                  <a:lnTo>
                    <a:pt x="128" y="174"/>
                  </a:lnTo>
                  <a:lnTo>
                    <a:pt x="128" y="17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91" name="Freeform 249">
              <a:extLst>
                <a:ext uri="{FF2B5EF4-FFF2-40B4-BE49-F238E27FC236}">
                  <a16:creationId xmlns:a16="http://schemas.microsoft.com/office/drawing/2014/main" id="{C746CEB0-382D-49C0-B19F-FAE56426F2AE}"/>
                </a:ext>
              </a:extLst>
            </p:cNvPr>
            <p:cNvSpPr>
              <a:spLocks/>
            </p:cNvSpPr>
            <p:nvPr/>
          </p:nvSpPr>
          <p:spPr bwMode="auto">
            <a:xfrm>
              <a:off x="9892169" y="2559560"/>
              <a:ext cx="148455" cy="206626"/>
            </a:xfrm>
            <a:custGeom>
              <a:avLst/>
              <a:gdLst>
                <a:gd name="T0" fmla="*/ 58 w 80"/>
                <a:gd name="T1" fmla="*/ 51 h 107"/>
                <a:gd name="T2" fmla="*/ 53 w 80"/>
                <a:gd name="T3" fmla="*/ 21 h 107"/>
                <a:gd name="T4" fmla="*/ 14 w 80"/>
                <a:gd name="T5" fmla="*/ 0 h 107"/>
                <a:gd name="T6" fmla="*/ 0 w 80"/>
                <a:gd name="T7" fmla="*/ 19 h 107"/>
                <a:gd name="T8" fmla="*/ 14 w 80"/>
                <a:gd name="T9" fmla="*/ 75 h 107"/>
                <a:gd name="T10" fmla="*/ 32 w 80"/>
                <a:gd name="T11" fmla="*/ 72 h 107"/>
                <a:gd name="T12" fmla="*/ 40 w 80"/>
                <a:gd name="T13" fmla="*/ 107 h 107"/>
                <a:gd name="T14" fmla="*/ 56 w 80"/>
                <a:gd name="T15" fmla="*/ 88 h 107"/>
                <a:gd name="T16" fmla="*/ 80 w 80"/>
                <a:gd name="T17" fmla="*/ 85 h 107"/>
                <a:gd name="T18" fmla="*/ 58 w 80"/>
                <a:gd name="T19" fmla="*/ 51 h 107"/>
                <a:gd name="T20" fmla="*/ 58 w 80"/>
                <a:gd name="T21" fmla="*/ 51 h 107"/>
                <a:gd name="T22" fmla="*/ 58 w 80"/>
                <a:gd name="T23"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07">
                  <a:moveTo>
                    <a:pt x="58" y="51"/>
                  </a:moveTo>
                  <a:lnTo>
                    <a:pt x="53" y="21"/>
                  </a:lnTo>
                  <a:lnTo>
                    <a:pt x="14" y="0"/>
                  </a:lnTo>
                  <a:lnTo>
                    <a:pt x="0" y="19"/>
                  </a:lnTo>
                  <a:lnTo>
                    <a:pt x="14" y="75"/>
                  </a:lnTo>
                  <a:lnTo>
                    <a:pt x="32" y="72"/>
                  </a:lnTo>
                  <a:lnTo>
                    <a:pt x="40" y="107"/>
                  </a:lnTo>
                  <a:lnTo>
                    <a:pt x="56" y="88"/>
                  </a:lnTo>
                  <a:lnTo>
                    <a:pt x="80" y="85"/>
                  </a:lnTo>
                  <a:lnTo>
                    <a:pt x="58" y="51"/>
                  </a:lnTo>
                  <a:lnTo>
                    <a:pt x="58" y="51"/>
                  </a:lnTo>
                  <a:lnTo>
                    <a:pt x="58" y="5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92" name="Freeform 250">
              <a:extLst>
                <a:ext uri="{FF2B5EF4-FFF2-40B4-BE49-F238E27FC236}">
                  <a16:creationId xmlns:a16="http://schemas.microsoft.com/office/drawing/2014/main" id="{84C4B86F-496B-4162-940E-9A8F071DAB44}"/>
                </a:ext>
              </a:extLst>
            </p:cNvPr>
            <p:cNvSpPr>
              <a:spLocks/>
            </p:cNvSpPr>
            <p:nvPr/>
          </p:nvSpPr>
          <p:spPr bwMode="auto">
            <a:xfrm>
              <a:off x="9417111" y="1655814"/>
              <a:ext cx="573409" cy="639191"/>
            </a:xfrm>
            <a:custGeom>
              <a:avLst/>
              <a:gdLst>
                <a:gd name="T0" fmla="*/ 0 w 309"/>
                <a:gd name="T1" fmla="*/ 17 h 331"/>
                <a:gd name="T2" fmla="*/ 54 w 309"/>
                <a:gd name="T3" fmla="*/ 0 h 331"/>
                <a:gd name="T4" fmla="*/ 77 w 309"/>
                <a:gd name="T5" fmla="*/ 16 h 331"/>
                <a:gd name="T6" fmla="*/ 101 w 309"/>
                <a:gd name="T7" fmla="*/ 88 h 331"/>
                <a:gd name="T8" fmla="*/ 98 w 309"/>
                <a:gd name="T9" fmla="*/ 121 h 331"/>
                <a:gd name="T10" fmla="*/ 85 w 309"/>
                <a:gd name="T11" fmla="*/ 123 h 331"/>
                <a:gd name="T12" fmla="*/ 115 w 309"/>
                <a:gd name="T13" fmla="*/ 161 h 331"/>
                <a:gd name="T14" fmla="*/ 160 w 309"/>
                <a:gd name="T15" fmla="*/ 172 h 331"/>
                <a:gd name="T16" fmla="*/ 158 w 309"/>
                <a:gd name="T17" fmla="*/ 203 h 331"/>
                <a:gd name="T18" fmla="*/ 205 w 309"/>
                <a:gd name="T19" fmla="*/ 215 h 331"/>
                <a:gd name="T20" fmla="*/ 238 w 309"/>
                <a:gd name="T21" fmla="*/ 238 h 331"/>
                <a:gd name="T22" fmla="*/ 286 w 309"/>
                <a:gd name="T23" fmla="*/ 251 h 331"/>
                <a:gd name="T24" fmla="*/ 309 w 309"/>
                <a:gd name="T25" fmla="*/ 270 h 331"/>
                <a:gd name="T26" fmla="*/ 258 w 309"/>
                <a:gd name="T27" fmla="*/ 308 h 331"/>
                <a:gd name="T28" fmla="*/ 221 w 309"/>
                <a:gd name="T29" fmla="*/ 299 h 331"/>
                <a:gd name="T30" fmla="*/ 102 w 309"/>
                <a:gd name="T31" fmla="*/ 331 h 331"/>
                <a:gd name="T32" fmla="*/ 99 w 309"/>
                <a:gd name="T33" fmla="*/ 316 h 331"/>
                <a:gd name="T34" fmla="*/ 85 w 309"/>
                <a:gd name="T35" fmla="*/ 315 h 331"/>
                <a:gd name="T36" fmla="*/ 90 w 309"/>
                <a:gd name="T37" fmla="*/ 287 h 331"/>
                <a:gd name="T38" fmla="*/ 64 w 309"/>
                <a:gd name="T39" fmla="*/ 295 h 331"/>
                <a:gd name="T40" fmla="*/ 56 w 309"/>
                <a:gd name="T41" fmla="*/ 222 h 331"/>
                <a:gd name="T42" fmla="*/ 64 w 309"/>
                <a:gd name="T43" fmla="*/ 201 h 331"/>
                <a:gd name="T44" fmla="*/ 59 w 309"/>
                <a:gd name="T45" fmla="*/ 177 h 331"/>
                <a:gd name="T46" fmla="*/ 70 w 309"/>
                <a:gd name="T47" fmla="*/ 163 h 331"/>
                <a:gd name="T48" fmla="*/ 72 w 309"/>
                <a:gd name="T49" fmla="*/ 139 h 331"/>
                <a:gd name="T50" fmla="*/ 53 w 309"/>
                <a:gd name="T51" fmla="*/ 111 h 331"/>
                <a:gd name="T52" fmla="*/ 50 w 309"/>
                <a:gd name="T53" fmla="*/ 57 h 331"/>
                <a:gd name="T54" fmla="*/ 34 w 309"/>
                <a:gd name="T55" fmla="*/ 35 h 331"/>
                <a:gd name="T56" fmla="*/ 5 w 309"/>
                <a:gd name="T57" fmla="*/ 44 h 331"/>
                <a:gd name="T58" fmla="*/ 0 w 309"/>
                <a:gd name="T59" fmla="*/ 17 h 331"/>
                <a:gd name="T60" fmla="*/ 0 w 309"/>
                <a:gd name="T61" fmla="*/ 17 h 331"/>
                <a:gd name="T62" fmla="*/ 0 w 309"/>
                <a:gd name="T63" fmla="*/ 1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9" h="331">
                  <a:moveTo>
                    <a:pt x="0" y="17"/>
                  </a:moveTo>
                  <a:lnTo>
                    <a:pt x="54" y="0"/>
                  </a:lnTo>
                  <a:lnTo>
                    <a:pt x="77" y="16"/>
                  </a:lnTo>
                  <a:lnTo>
                    <a:pt x="101" y="88"/>
                  </a:lnTo>
                  <a:lnTo>
                    <a:pt x="98" y="121"/>
                  </a:lnTo>
                  <a:lnTo>
                    <a:pt x="85" y="123"/>
                  </a:lnTo>
                  <a:lnTo>
                    <a:pt x="115" y="161"/>
                  </a:lnTo>
                  <a:lnTo>
                    <a:pt x="160" y="172"/>
                  </a:lnTo>
                  <a:lnTo>
                    <a:pt x="158" y="203"/>
                  </a:lnTo>
                  <a:lnTo>
                    <a:pt x="205" y="215"/>
                  </a:lnTo>
                  <a:lnTo>
                    <a:pt x="238" y="238"/>
                  </a:lnTo>
                  <a:lnTo>
                    <a:pt x="286" y="251"/>
                  </a:lnTo>
                  <a:lnTo>
                    <a:pt x="309" y="270"/>
                  </a:lnTo>
                  <a:lnTo>
                    <a:pt x="258" y="308"/>
                  </a:lnTo>
                  <a:lnTo>
                    <a:pt x="221" y="299"/>
                  </a:lnTo>
                  <a:lnTo>
                    <a:pt x="102" y="331"/>
                  </a:lnTo>
                  <a:lnTo>
                    <a:pt x="99" y="316"/>
                  </a:lnTo>
                  <a:lnTo>
                    <a:pt x="85" y="315"/>
                  </a:lnTo>
                  <a:lnTo>
                    <a:pt x="90" y="287"/>
                  </a:lnTo>
                  <a:lnTo>
                    <a:pt x="64" y="295"/>
                  </a:lnTo>
                  <a:lnTo>
                    <a:pt x="56" y="222"/>
                  </a:lnTo>
                  <a:lnTo>
                    <a:pt x="64" y="201"/>
                  </a:lnTo>
                  <a:lnTo>
                    <a:pt x="59" y="177"/>
                  </a:lnTo>
                  <a:lnTo>
                    <a:pt x="70" y="163"/>
                  </a:lnTo>
                  <a:lnTo>
                    <a:pt x="72" y="139"/>
                  </a:lnTo>
                  <a:lnTo>
                    <a:pt x="53" y="111"/>
                  </a:lnTo>
                  <a:lnTo>
                    <a:pt x="50" y="57"/>
                  </a:lnTo>
                  <a:lnTo>
                    <a:pt x="34" y="35"/>
                  </a:lnTo>
                  <a:lnTo>
                    <a:pt x="5" y="44"/>
                  </a:lnTo>
                  <a:lnTo>
                    <a:pt x="0" y="17"/>
                  </a:lnTo>
                  <a:lnTo>
                    <a:pt x="0" y="17"/>
                  </a:lnTo>
                  <a:lnTo>
                    <a:pt x="0" y="1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3" name="Freeform 251">
              <a:extLst>
                <a:ext uri="{FF2B5EF4-FFF2-40B4-BE49-F238E27FC236}">
                  <a16:creationId xmlns:a16="http://schemas.microsoft.com/office/drawing/2014/main" id="{6468DAFA-58A3-4DE2-8C8F-BF36FEECB7A2}"/>
                </a:ext>
              </a:extLst>
            </p:cNvPr>
            <p:cNvSpPr>
              <a:spLocks/>
            </p:cNvSpPr>
            <p:nvPr/>
          </p:nvSpPr>
          <p:spPr bwMode="auto">
            <a:xfrm>
              <a:off x="9413398" y="2177204"/>
              <a:ext cx="617947" cy="382356"/>
            </a:xfrm>
            <a:custGeom>
              <a:avLst/>
              <a:gdLst>
                <a:gd name="T0" fmla="*/ 13 w 333"/>
                <a:gd name="T1" fmla="*/ 45 h 198"/>
                <a:gd name="T2" fmla="*/ 66 w 333"/>
                <a:gd name="T3" fmla="*/ 25 h 198"/>
                <a:gd name="T4" fmla="*/ 92 w 333"/>
                <a:gd name="T5" fmla="*/ 17 h 198"/>
                <a:gd name="T6" fmla="*/ 87 w 333"/>
                <a:gd name="T7" fmla="*/ 45 h 198"/>
                <a:gd name="T8" fmla="*/ 101 w 333"/>
                <a:gd name="T9" fmla="*/ 46 h 198"/>
                <a:gd name="T10" fmla="*/ 104 w 333"/>
                <a:gd name="T11" fmla="*/ 61 h 198"/>
                <a:gd name="T12" fmla="*/ 223 w 333"/>
                <a:gd name="T13" fmla="*/ 29 h 198"/>
                <a:gd name="T14" fmla="*/ 260 w 333"/>
                <a:gd name="T15" fmla="*/ 38 h 198"/>
                <a:gd name="T16" fmla="*/ 311 w 333"/>
                <a:gd name="T17" fmla="*/ 0 h 198"/>
                <a:gd name="T18" fmla="*/ 311 w 333"/>
                <a:gd name="T19" fmla="*/ 49 h 198"/>
                <a:gd name="T20" fmla="*/ 333 w 333"/>
                <a:gd name="T21" fmla="*/ 56 h 198"/>
                <a:gd name="T22" fmla="*/ 287 w 333"/>
                <a:gd name="T23" fmla="*/ 161 h 198"/>
                <a:gd name="T24" fmla="*/ 287 w 333"/>
                <a:gd name="T25" fmla="*/ 190 h 198"/>
                <a:gd name="T26" fmla="*/ 272 w 333"/>
                <a:gd name="T27" fmla="*/ 198 h 198"/>
                <a:gd name="T28" fmla="*/ 228 w 333"/>
                <a:gd name="T29" fmla="*/ 168 h 198"/>
                <a:gd name="T30" fmla="*/ 208 w 333"/>
                <a:gd name="T31" fmla="*/ 181 h 198"/>
                <a:gd name="T32" fmla="*/ 186 w 333"/>
                <a:gd name="T33" fmla="*/ 163 h 198"/>
                <a:gd name="T34" fmla="*/ 154 w 333"/>
                <a:gd name="T35" fmla="*/ 171 h 198"/>
                <a:gd name="T36" fmla="*/ 140 w 333"/>
                <a:gd name="T37" fmla="*/ 147 h 198"/>
                <a:gd name="T38" fmla="*/ 96 w 333"/>
                <a:gd name="T39" fmla="*/ 177 h 198"/>
                <a:gd name="T40" fmla="*/ 48 w 333"/>
                <a:gd name="T41" fmla="*/ 133 h 198"/>
                <a:gd name="T42" fmla="*/ 61 w 333"/>
                <a:gd name="T43" fmla="*/ 101 h 198"/>
                <a:gd name="T44" fmla="*/ 0 w 333"/>
                <a:gd name="T45" fmla="*/ 54 h 198"/>
                <a:gd name="T46" fmla="*/ 13 w 333"/>
                <a:gd name="T47" fmla="*/ 45 h 198"/>
                <a:gd name="T48" fmla="*/ 13 w 333"/>
                <a:gd name="T49" fmla="*/ 45 h 198"/>
                <a:gd name="T50" fmla="*/ 13 w 333"/>
                <a:gd name="T51" fmla="*/ 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198">
                  <a:moveTo>
                    <a:pt x="13" y="45"/>
                  </a:moveTo>
                  <a:lnTo>
                    <a:pt x="66" y="25"/>
                  </a:lnTo>
                  <a:lnTo>
                    <a:pt x="92" y="17"/>
                  </a:lnTo>
                  <a:lnTo>
                    <a:pt x="87" y="45"/>
                  </a:lnTo>
                  <a:lnTo>
                    <a:pt x="101" y="46"/>
                  </a:lnTo>
                  <a:lnTo>
                    <a:pt x="104" y="61"/>
                  </a:lnTo>
                  <a:lnTo>
                    <a:pt x="223" y="29"/>
                  </a:lnTo>
                  <a:lnTo>
                    <a:pt x="260" y="38"/>
                  </a:lnTo>
                  <a:lnTo>
                    <a:pt x="311" y="0"/>
                  </a:lnTo>
                  <a:lnTo>
                    <a:pt x="311" y="49"/>
                  </a:lnTo>
                  <a:lnTo>
                    <a:pt x="333" y="56"/>
                  </a:lnTo>
                  <a:lnTo>
                    <a:pt x="287" y="161"/>
                  </a:lnTo>
                  <a:lnTo>
                    <a:pt x="287" y="190"/>
                  </a:lnTo>
                  <a:lnTo>
                    <a:pt x="272" y="198"/>
                  </a:lnTo>
                  <a:lnTo>
                    <a:pt x="228" y="168"/>
                  </a:lnTo>
                  <a:lnTo>
                    <a:pt x="208" y="181"/>
                  </a:lnTo>
                  <a:lnTo>
                    <a:pt x="186" y="163"/>
                  </a:lnTo>
                  <a:lnTo>
                    <a:pt x="154" y="171"/>
                  </a:lnTo>
                  <a:lnTo>
                    <a:pt x="140" y="147"/>
                  </a:lnTo>
                  <a:lnTo>
                    <a:pt x="96" y="177"/>
                  </a:lnTo>
                  <a:lnTo>
                    <a:pt x="48" y="133"/>
                  </a:lnTo>
                  <a:lnTo>
                    <a:pt x="61" y="101"/>
                  </a:lnTo>
                  <a:lnTo>
                    <a:pt x="0" y="54"/>
                  </a:lnTo>
                  <a:lnTo>
                    <a:pt x="13" y="45"/>
                  </a:lnTo>
                  <a:lnTo>
                    <a:pt x="13" y="45"/>
                  </a:lnTo>
                  <a:lnTo>
                    <a:pt x="13" y="4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4" name="Freeform 252">
              <a:extLst>
                <a:ext uri="{FF2B5EF4-FFF2-40B4-BE49-F238E27FC236}">
                  <a16:creationId xmlns:a16="http://schemas.microsoft.com/office/drawing/2014/main" id="{29727B99-4C23-41EB-BC6B-E9EB2759EBF4}"/>
                </a:ext>
              </a:extLst>
            </p:cNvPr>
            <p:cNvSpPr>
              <a:spLocks/>
            </p:cNvSpPr>
            <p:nvPr/>
          </p:nvSpPr>
          <p:spPr bwMode="auto">
            <a:xfrm>
              <a:off x="9615668" y="4697266"/>
              <a:ext cx="469492" cy="411318"/>
            </a:xfrm>
            <a:custGeom>
              <a:avLst/>
              <a:gdLst>
                <a:gd name="T0" fmla="*/ 101 w 253"/>
                <a:gd name="T1" fmla="*/ 203 h 213"/>
                <a:gd name="T2" fmla="*/ 47 w 253"/>
                <a:gd name="T3" fmla="*/ 193 h 213"/>
                <a:gd name="T4" fmla="*/ 53 w 253"/>
                <a:gd name="T5" fmla="*/ 201 h 213"/>
                <a:gd name="T6" fmla="*/ 40 w 253"/>
                <a:gd name="T7" fmla="*/ 213 h 213"/>
                <a:gd name="T8" fmla="*/ 31 w 253"/>
                <a:gd name="T9" fmla="*/ 206 h 213"/>
                <a:gd name="T10" fmla="*/ 32 w 253"/>
                <a:gd name="T11" fmla="*/ 195 h 213"/>
                <a:gd name="T12" fmla="*/ 8 w 253"/>
                <a:gd name="T13" fmla="*/ 185 h 213"/>
                <a:gd name="T14" fmla="*/ 3 w 253"/>
                <a:gd name="T15" fmla="*/ 177 h 213"/>
                <a:gd name="T16" fmla="*/ 5 w 253"/>
                <a:gd name="T17" fmla="*/ 161 h 213"/>
                <a:gd name="T18" fmla="*/ 21 w 253"/>
                <a:gd name="T19" fmla="*/ 152 h 213"/>
                <a:gd name="T20" fmla="*/ 7 w 253"/>
                <a:gd name="T21" fmla="*/ 137 h 213"/>
                <a:gd name="T22" fmla="*/ 3 w 253"/>
                <a:gd name="T23" fmla="*/ 117 h 213"/>
                <a:gd name="T24" fmla="*/ 23 w 253"/>
                <a:gd name="T25" fmla="*/ 113 h 213"/>
                <a:gd name="T26" fmla="*/ 10 w 253"/>
                <a:gd name="T27" fmla="*/ 97 h 213"/>
                <a:gd name="T28" fmla="*/ 0 w 253"/>
                <a:gd name="T29" fmla="*/ 54 h 213"/>
                <a:gd name="T30" fmla="*/ 24 w 253"/>
                <a:gd name="T31" fmla="*/ 38 h 213"/>
                <a:gd name="T32" fmla="*/ 13 w 253"/>
                <a:gd name="T33" fmla="*/ 25 h 213"/>
                <a:gd name="T34" fmla="*/ 48 w 253"/>
                <a:gd name="T35" fmla="*/ 22 h 213"/>
                <a:gd name="T36" fmla="*/ 66 w 253"/>
                <a:gd name="T37" fmla="*/ 37 h 213"/>
                <a:gd name="T38" fmla="*/ 107 w 253"/>
                <a:gd name="T39" fmla="*/ 1 h 213"/>
                <a:gd name="T40" fmla="*/ 136 w 253"/>
                <a:gd name="T41" fmla="*/ 19 h 213"/>
                <a:gd name="T42" fmla="*/ 149 w 253"/>
                <a:gd name="T43" fmla="*/ 0 h 213"/>
                <a:gd name="T44" fmla="*/ 184 w 253"/>
                <a:gd name="T45" fmla="*/ 0 h 213"/>
                <a:gd name="T46" fmla="*/ 215 w 253"/>
                <a:gd name="T47" fmla="*/ 19 h 213"/>
                <a:gd name="T48" fmla="*/ 219 w 253"/>
                <a:gd name="T49" fmla="*/ 40 h 213"/>
                <a:gd name="T50" fmla="*/ 243 w 253"/>
                <a:gd name="T51" fmla="*/ 51 h 213"/>
                <a:gd name="T52" fmla="*/ 242 w 253"/>
                <a:gd name="T53" fmla="*/ 73 h 213"/>
                <a:gd name="T54" fmla="*/ 253 w 253"/>
                <a:gd name="T55" fmla="*/ 83 h 213"/>
                <a:gd name="T56" fmla="*/ 250 w 253"/>
                <a:gd name="T57" fmla="*/ 93 h 213"/>
                <a:gd name="T58" fmla="*/ 226 w 253"/>
                <a:gd name="T59" fmla="*/ 104 h 213"/>
                <a:gd name="T60" fmla="*/ 216 w 253"/>
                <a:gd name="T61" fmla="*/ 99 h 213"/>
                <a:gd name="T62" fmla="*/ 207 w 253"/>
                <a:gd name="T63" fmla="*/ 123 h 213"/>
                <a:gd name="T64" fmla="*/ 184 w 253"/>
                <a:gd name="T65" fmla="*/ 145 h 213"/>
                <a:gd name="T66" fmla="*/ 207 w 253"/>
                <a:gd name="T67" fmla="*/ 142 h 213"/>
                <a:gd name="T68" fmla="*/ 199 w 253"/>
                <a:gd name="T69" fmla="*/ 173 h 213"/>
                <a:gd name="T70" fmla="*/ 181 w 253"/>
                <a:gd name="T71" fmla="*/ 166 h 213"/>
                <a:gd name="T72" fmla="*/ 173 w 253"/>
                <a:gd name="T73" fmla="*/ 176 h 213"/>
                <a:gd name="T74" fmla="*/ 144 w 253"/>
                <a:gd name="T75" fmla="*/ 184 h 213"/>
                <a:gd name="T76" fmla="*/ 143 w 253"/>
                <a:gd name="T77" fmla="*/ 197 h 213"/>
                <a:gd name="T78" fmla="*/ 123 w 253"/>
                <a:gd name="T79" fmla="*/ 189 h 213"/>
                <a:gd name="T80" fmla="*/ 104 w 253"/>
                <a:gd name="T81" fmla="*/ 193 h 213"/>
                <a:gd name="T82" fmla="*/ 101 w 253"/>
                <a:gd name="T83" fmla="*/ 203 h 213"/>
                <a:gd name="T84" fmla="*/ 101 w 253"/>
                <a:gd name="T85" fmla="*/ 203 h 213"/>
                <a:gd name="T86" fmla="*/ 101 w 253"/>
                <a:gd name="T87"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13">
                  <a:moveTo>
                    <a:pt x="101" y="203"/>
                  </a:moveTo>
                  <a:lnTo>
                    <a:pt x="47" y="193"/>
                  </a:lnTo>
                  <a:lnTo>
                    <a:pt x="53" y="201"/>
                  </a:lnTo>
                  <a:lnTo>
                    <a:pt x="40" y="213"/>
                  </a:lnTo>
                  <a:lnTo>
                    <a:pt x="31" y="206"/>
                  </a:lnTo>
                  <a:lnTo>
                    <a:pt x="32" y="195"/>
                  </a:lnTo>
                  <a:lnTo>
                    <a:pt x="8" y="185"/>
                  </a:lnTo>
                  <a:lnTo>
                    <a:pt x="3" y="177"/>
                  </a:lnTo>
                  <a:lnTo>
                    <a:pt x="5" y="161"/>
                  </a:lnTo>
                  <a:lnTo>
                    <a:pt x="21" y="152"/>
                  </a:lnTo>
                  <a:lnTo>
                    <a:pt x="7" y="137"/>
                  </a:lnTo>
                  <a:lnTo>
                    <a:pt x="3" y="117"/>
                  </a:lnTo>
                  <a:lnTo>
                    <a:pt x="23" y="113"/>
                  </a:lnTo>
                  <a:lnTo>
                    <a:pt x="10" y="97"/>
                  </a:lnTo>
                  <a:lnTo>
                    <a:pt x="0" y="54"/>
                  </a:lnTo>
                  <a:lnTo>
                    <a:pt x="24" y="38"/>
                  </a:lnTo>
                  <a:lnTo>
                    <a:pt x="13" y="25"/>
                  </a:lnTo>
                  <a:lnTo>
                    <a:pt x="48" y="22"/>
                  </a:lnTo>
                  <a:lnTo>
                    <a:pt x="66" y="37"/>
                  </a:lnTo>
                  <a:lnTo>
                    <a:pt x="107" y="1"/>
                  </a:lnTo>
                  <a:lnTo>
                    <a:pt x="136" y="19"/>
                  </a:lnTo>
                  <a:lnTo>
                    <a:pt x="149" y="0"/>
                  </a:lnTo>
                  <a:lnTo>
                    <a:pt x="184" y="0"/>
                  </a:lnTo>
                  <a:lnTo>
                    <a:pt x="215" y="19"/>
                  </a:lnTo>
                  <a:lnTo>
                    <a:pt x="219" y="40"/>
                  </a:lnTo>
                  <a:lnTo>
                    <a:pt x="243" y="51"/>
                  </a:lnTo>
                  <a:lnTo>
                    <a:pt x="242" y="73"/>
                  </a:lnTo>
                  <a:lnTo>
                    <a:pt x="253" y="83"/>
                  </a:lnTo>
                  <a:lnTo>
                    <a:pt x="250" y="93"/>
                  </a:lnTo>
                  <a:lnTo>
                    <a:pt x="226" y="104"/>
                  </a:lnTo>
                  <a:lnTo>
                    <a:pt x="216" y="99"/>
                  </a:lnTo>
                  <a:lnTo>
                    <a:pt x="207" y="123"/>
                  </a:lnTo>
                  <a:lnTo>
                    <a:pt x="184" y="145"/>
                  </a:lnTo>
                  <a:lnTo>
                    <a:pt x="207" y="142"/>
                  </a:lnTo>
                  <a:lnTo>
                    <a:pt x="199" y="173"/>
                  </a:lnTo>
                  <a:lnTo>
                    <a:pt x="181" y="166"/>
                  </a:lnTo>
                  <a:lnTo>
                    <a:pt x="173" y="176"/>
                  </a:lnTo>
                  <a:lnTo>
                    <a:pt x="144" y="184"/>
                  </a:lnTo>
                  <a:lnTo>
                    <a:pt x="143" y="197"/>
                  </a:lnTo>
                  <a:lnTo>
                    <a:pt x="123" y="189"/>
                  </a:lnTo>
                  <a:lnTo>
                    <a:pt x="104" y="193"/>
                  </a:lnTo>
                  <a:lnTo>
                    <a:pt x="101" y="203"/>
                  </a:lnTo>
                  <a:lnTo>
                    <a:pt x="101" y="203"/>
                  </a:lnTo>
                  <a:lnTo>
                    <a:pt x="101" y="20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5" name="Freeform 253">
              <a:extLst>
                <a:ext uri="{FF2B5EF4-FFF2-40B4-BE49-F238E27FC236}">
                  <a16:creationId xmlns:a16="http://schemas.microsoft.com/office/drawing/2014/main" id="{851E682C-DBB9-4F45-A4A0-696C7753AAE9}"/>
                </a:ext>
              </a:extLst>
            </p:cNvPr>
            <p:cNvSpPr>
              <a:spLocks/>
            </p:cNvSpPr>
            <p:nvPr/>
          </p:nvSpPr>
          <p:spPr bwMode="auto">
            <a:xfrm>
              <a:off x="9554431" y="3569519"/>
              <a:ext cx="556705" cy="457667"/>
            </a:xfrm>
            <a:custGeom>
              <a:avLst/>
              <a:gdLst>
                <a:gd name="T0" fmla="*/ 16 w 300"/>
                <a:gd name="T1" fmla="*/ 66 h 237"/>
                <a:gd name="T2" fmla="*/ 24 w 300"/>
                <a:gd name="T3" fmla="*/ 66 h 237"/>
                <a:gd name="T4" fmla="*/ 35 w 300"/>
                <a:gd name="T5" fmla="*/ 0 h 237"/>
                <a:gd name="T6" fmla="*/ 48 w 300"/>
                <a:gd name="T7" fmla="*/ 29 h 237"/>
                <a:gd name="T8" fmla="*/ 76 w 300"/>
                <a:gd name="T9" fmla="*/ 54 h 237"/>
                <a:gd name="T10" fmla="*/ 99 w 300"/>
                <a:gd name="T11" fmla="*/ 50 h 237"/>
                <a:gd name="T12" fmla="*/ 113 w 300"/>
                <a:gd name="T13" fmla="*/ 67 h 237"/>
                <a:gd name="T14" fmla="*/ 132 w 300"/>
                <a:gd name="T15" fmla="*/ 64 h 237"/>
                <a:gd name="T16" fmla="*/ 163 w 300"/>
                <a:gd name="T17" fmla="*/ 5 h 237"/>
                <a:gd name="T18" fmla="*/ 206 w 300"/>
                <a:gd name="T19" fmla="*/ 53 h 237"/>
                <a:gd name="T20" fmla="*/ 222 w 300"/>
                <a:gd name="T21" fmla="*/ 37 h 237"/>
                <a:gd name="T22" fmla="*/ 230 w 300"/>
                <a:gd name="T23" fmla="*/ 58 h 237"/>
                <a:gd name="T24" fmla="*/ 260 w 300"/>
                <a:gd name="T25" fmla="*/ 74 h 237"/>
                <a:gd name="T26" fmla="*/ 265 w 300"/>
                <a:gd name="T27" fmla="*/ 106 h 237"/>
                <a:gd name="T28" fmla="*/ 300 w 300"/>
                <a:gd name="T29" fmla="*/ 134 h 237"/>
                <a:gd name="T30" fmla="*/ 291 w 300"/>
                <a:gd name="T31" fmla="*/ 179 h 237"/>
                <a:gd name="T32" fmla="*/ 243 w 300"/>
                <a:gd name="T33" fmla="*/ 210 h 237"/>
                <a:gd name="T34" fmla="*/ 196 w 300"/>
                <a:gd name="T35" fmla="*/ 219 h 237"/>
                <a:gd name="T36" fmla="*/ 161 w 300"/>
                <a:gd name="T37" fmla="*/ 237 h 237"/>
                <a:gd name="T38" fmla="*/ 126 w 300"/>
                <a:gd name="T39" fmla="*/ 222 h 237"/>
                <a:gd name="T40" fmla="*/ 99 w 300"/>
                <a:gd name="T41" fmla="*/ 195 h 237"/>
                <a:gd name="T42" fmla="*/ 113 w 300"/>
                <a:gd name="T43" fmla="*/ 150 h 237"/>
                <a:gd name="T44" fmla="*/ 62 w 300"/>
                <a:gd name="T45" fmla="*/ 123 h 237"/>
                <a:gd name="T46" fmla="*/ 52 w 300"/>
                <a:gd name="T47" fmla="*/ 149 h 237"/>
                <a:gd name="T48" fmla="*/ 24 w 300"/>
                <a:gd name="T49" fmla="*/ 138 h 237"/>
                <a:gd name="T50" fmla="*/ 0 w 300"/>
                <a:gd name="T51" fmla="*/ 96 h 237"/>
                <a:gd name="T52" fmla="*/ 16 w 300"/>
                <a:gd name="T53" fmla="*/ 66 h 237"/>
                <a:gd name="T54" fmla="*/ 16 w 300"/>
                <a:gd name="T55" fmla="*/ 66 h 237"/>
                <a:gd name="T56" fmla="*/ 16 w 300"/>
                <a:gd name="T57" fmla="*/ 6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37">
                  <a:moveTo>
                    <a:pt x="16" y="66"/>
                  </a:moveTo>
                  <a:lnTo>
                    <a:pt x="24" y="66"/>
                  </a:lnTo>
                  <a:lnTo>
                    <a:pt x="35" y="0"/>
                  </a:lnTo>
                  <a:lnTo>
                    <a:pt x="48" y="29"/>
                  </a:lnTo>
                  <a:lnTo>
                    <a:pt x="76" y="54"/>
                  </a:lnTo>
                  <a:lnTo>
                    <a:pt x="99" y="50"/>
                  </a:lnTo>
                  <a:lnTo>
                    <a:pt x="113" y="67"/>
                  </a:lnTo>
                  <a:lnTo>
                    <a:pt x="132" y="64"/>
                  </a:lnTo>
                  <a:lnTo>
                    <a:pt x="163" y="5"/>
                  </a:lnTo>
                  <a:lnTo>
                    <a:pt x="206" y="53"/>
                  </a:lnTo>
                  <a:lnTo>
                    <a:pt x="222" y="37"/>
                  </a:lnTo>
                  <a:lnTo>
                    <a:pt x="230" y="58"/>
                  </a:lnTo>
                  <a:lnTo>
                    <a:pt x="260" y="74"/>
                  </a:lnTo>
                  <a:lnTo>
                    <a:pt x="265" y="106"/>
                  </a:lnTo>
                  <a:lnTo>
                    <a:pt x="300" y="134"/>
                  </a:lnTo>
                  <a:lnTo>
                    <a:pt x="291" y="179"/>
                  </a:lnTo>
                  <a:lnTo>
                    <a:pt x="243" y="210"/>
                  </a:lnTo>
                  <a:lnTo>
                    <a:pt x="196" y="219"/>
                  </a:lnTo>
                  <a:lnTo>
                    <a:pt x="161" y="237"/>
                  </a:lnTo>
                  <a:lnTo>
                    <a:pt x="126" y="222"/>
                  </a:lnTo>
                  <a:lnTo>
                    <a:pt x="99" y="195"/>
                  </a:lnTo>
                  <a:lnTo>
                    <a:pt x="113" y="150"/>
                  </a:lnTo>
                  <a:lnTo>
                    <a:pt x="62" y="123"/>
                  </a:lnTo>
                  <a:lnTo>
                    <a:pt x="52" y="149"/>
                  </a:lnTo>
                  <a:lnTo>
                    <a:pt x="24" y="138"/>
                  </a:lnTo>
                  <a:lnTo>
                    <a:pt x="0" y="96"/>
                  </a:lnTo>
                  <a:lnTo>
                    <a:pt x="16" y="66"/>
                  </a:lnTo>
                  <a:lnTo>
                    <a:pt x="16" y="66"/>
                  </a:lnTo>
                  <a:lnTo>
                    <a:pt x="16" y="66"/>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6" name="Freeform 254">
              <a:extLst>
                <a:ext uri="{FF2B5EF4-FFF2-40B4-BE49-F238E27FC236}">
                  <a16:creationId xmlns:a16="http://schemas.microsoft.com/office/drawing/2014/main" id="{D8C98B80-D666-481E-8EDF-FDBAC6B24C7B}"/>
                </a:ext>
              </a:extLst>
            </p:cNvPr>
            <p:cNvSpPr>
              <a:spLocks/>
            </p:cNvSpPr>
            <p:nvPr/>
          </p:nvSpPr>
          <p:spPr bwMode="auto">
            <a:xfrm>
              <a:off x="9604534" y="3310752"/>
              <a:ext cx="447222" cy="388146"/>
            </a:xfrm>
            <a:custGeom>
              <a:avLst/>
              <a:gdLst>
                <a:gd name="T0" fmla="*/ 169 w 241"/>
                <a:gd name="T1" fmla="*/ 0 h 201"/>
                <a:gd name="T2" fmla="*/ 129 w 241"/>
                <a:gd name="T3" fmla="*/ 3 h 201"/>
                <a:gd name="T4" fmla="*/ 105 w 241"/>
                <a:gd name="T5" fmla="*/ 21 h 201"/>
                <a:gd name="T6" fmla="*/ 99 w 241"/>
                <a:gd name="T7" fmla="*/ 13 h 201"/>
                <a:gd name="T8" fmla="*/ 88 w 241"/>
                <a:gd name="T9" fmla="*/ 17 h 201"/>
                <a:gd name="T10" fmla="*/ 80 w 241"/>
                <a:gd name="T11" fmla="*/ 40 h 201"/>
                <a:gd name="T12" fmla="*/ 93 w 241"/>
                <a:gd name="T13" fmla="*/ 51 h 201"/>
                <a:gd name="T14" fmla="*/ 64 w 241"/>
                <a:gd name="T15" fmla="*/ 75 h 201"/>
                <a:gd name="T16" fmla="*/ 32 w 241"/>
                <a:gd name="T17" fmla="*/ 81 h 201"/>
                <a:gd name="T18" fmla="*/ 0 w 241"/>
                <a:gd name="T19" fmla="*/ 97 h 201"/>
                <a:gd name="T20" fmla="*/ 8 w 241"/>
                <a:gd name="T21" fmla="*/ 134 h 201"/>
                <a:gd name="T22" fmla="*/ 21 w 241"/>
                <a:gd name="T23" fmla="*/ 163 h 201"/>
                <a:gd name="T24" fmla="*/ 49 w 241"/>
                <a:gd name="T25" fmla="*/ 188 h 201"/>
                <a:gd name="T26" fmla="*/ 72 w 241"/>
                <a:gd name="T27" fmla="*/ 184 h 201"/>
                <a:gd name="T28" fmla="*/ 86 w 241"/>
                <a:gd name="T29" fmla="*/ 201 h 201"/>
                <a:gd name="T30" fmla="*/ 105 w 241"/>
                <a:gd name="T31" fmla="*/ 198 h 201"/>
                <a:gd name="T32" fmla="*/ 136 w 241"/>
                <a:gd name="T33" fmla="*/ 139 h 201"/>
                <a:gd name="T34" fmla="*/ 179 w 241"/>
                <a:gd name="T35" fmla="*/ 187 h 201"/>
                <a:gd name="T36" fmla="*/ 195 w 241"/>
                <a:gd name="T37" fmla="*/ 171 h 201"/>
                <a:gd name="T38" fmla="*/ 241 w 241"/>
                <a:gd name="T39" fmla="*/ 126 h 201"/>
                <a:gd name="T40" fmla="*/ 208 w 241"/>
                <a:gd name="T41" fmla="*/ 80 h 201"/>
                <a:gd name="T42" fmla="*/ 185 w 241"/>
                <a:gd name="T43" fmla="*/ 69 h 201"/>
                <a:gd name="T44" fmla="*/ 200 w 241"/>
                <a:gd name="T45" fmla="*/ 32 h 201"/>
                <a:gd name="T46" fmla="*/ 181 w 241"/>
                <a:gd name="T47" fmla="*/ 14 h 201"/>
                <a:gd name="T48" fmla="*/ 187 w 241"/>
                <a:gd name="T49" fmla="*/ 3 h 201"/>
                <a:gd name="T50" fmla="*/ 169 w 241"/>
                <a:gd name="T51" fmla="*/ 0 h 201"/>
                <a:gd name="T52" fmla="*/ 169 w 241"/>
                <a:gd name="T53" fmla="*/ 0 h 201"/>
                <a:gd name="T54" fmla="*/ 169 w 241"/>
                <a:gd name="T55"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201">
                  <a:moveTo>
                    <a:pt x="169" y="0"/>
                  </a:moveTo>
                  <a:lnTo>
                    <a:pt x="129" y="3"/>
                  </a:lnTo>
                  <a:lnTo>
                    <a:pt x="105" y="21"/>
                  </a:lnTo>
                  <a:lnTo>
                    <a:pt x="99" y="13"/>
                  </a:lnTo>
                  <a:lnTo>
                    <a:pt x="88" y="17"/>
                  </a:lnTo>
                  <a:lnTo>
                    <a:pt x="80" y="40"/>
                  </a:lnTo>
                  <a:lnTo>
                    <a:pt x="93" y="51"/>
                  </a:lnTo>
                  <a:lnTo>
                    <a:pt x="64" y="75"/>
                  </a:lnTo>
                  <a:lnTo>
                    <a:pt x="32" y="81"/>
                  </a:lnTo>
                  <a:lnTo>
                    <a:pt x="0" y="97"/>
                  </a:lnTo>
                  <a:lnTo>
                    <a:pt x="8" y="134"/>
                  </a:lnTo>
                  <a:lnTo>
                    <a:pt x="21" y="163"/>
                  </a:lnTo>
                  <a:lnTo>
                    <a:pt x="49" y="188"/>
                  </a:lnTo>
                  <a:lnTo>
                    <a:pt x="72" y="184"/>
                  </a:lnTo>
                  <a:lnTo>
                    <a:pt x="86" y="201"/>
                  </a:lnTo>
                  <a:lnTo>
                    <a:pt x="105" y="198"/>
                  </a:lnTo>
                  <a:lnTo>
                    <a:pt x="136" y="139"/>
                  </a:lnTo>
                  <a:lnTo>
                    <a:pt x="179" y="187"/>
                  </a:lnTo>
                  <a:lnTo>
                    <a:pt x="195" y="171"/>
                  </a:lnTo>
                  <a:lnTo>
                    <a:pt x="241" y="126"/>
                  </a:lnTo>
                  <a:lnTo>
                    <a:pt x="208" y="80"/>
                  </a:lnTo>
                  <a:lnTo>
                    <a:pt x="185" y="69"/>
                  </a:lnTo>
                  <a:lnTo>
                    <a:pt x="200" y="32"/>
                  </a:lnTo>
                  <a:lnTo>
                    <a:pt x="181" y="14"/>
                  </a:lnTo>
                  <a:lnTo>
                    <a:pt x="187" y="3"/>
                  </a:lnTo>
                  <a:lnTo>
                    <a:pt x="169" y="0"/>
                  </a:lnTo>
                  <a:lnTo>
                    <a:pt x="169" y="0"/>
                  </a:lnTo>
                  <a:lnTo>
                    <a:pt x="169"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7" name="Freeform 255">
              <a:extLst>
                <a:ext uri="{FF2B5EF4-FFF2-40B4-BE49-F238E27FC236}">
                  <a16:creationId xmlns:a16="http://schemas.microsoft.com/office/drawing/2014/main" id="{D85BCE1B-3434-4742-B09C-F5A3E15F3EC6}"/>
                </a:ext>
              </a:extLst>
            </p:cNvPr>
            <p:cNvSpPr>
              <a:spLocks/>
            </p:cNvSpPr>
            <p:nvPr/>
          </p:nvSpPr>
          <p:spPr bwMode="auto">
            <a:xfrm>
              <a:off x="9541440" y="2698600"/>
              <a:ext cx="469492" cy="531049"/>
            </a:xfrm>
            <a:custGeom>
              <a:avLst/>
              <a:gdLst>
                <a:gd name="T0" fmla="*/ 155 w 253"/>
                <a:gd name="T1" fmla="*/ 18 h 275"/>
                <a:gd name="T2" fmla="*/ 179 w 253"/>
                <a:gd name="T3" fmla="*/ 0 h 275"/>
                <a:gd name="T4" fmla="*/ 203 w 253"/>
                <a:gd name="T5" fmla="*/ 3 h 275"/>
                <a:gd name="T6" fmla="*/ 221 w 253"/>
                <a:gd name="T7" fmla="*/ 0 h 275"/>
                <a:gd name="T8" fmla="*/ 229 w 253"/>
                <a:gd name="T9" fmla="*/ 35 h 275"/>
                <a:gd name="T10" fmla="*/ 218 w 253"/>
                <a:gd name="T11" fmla="*/ 54 h 275"/>
                <a:gd name="T12" fmla="*/ 248 w 253"/>
                <a:gd name="T13" fmla="*/ 48 h 275"/>
                <a:gd name="T14" fmla="*/ 253 w 253"/>
                <a:gd name="T15" fmla="*/ 56 h 275"/>
                <a:gd name="T16" fmla="*/ 179 w 253"/>
                <a:gd name="T17" fmla="*/ 152 h 275"/>
                <a:gd name="T18" fmla="*/ 146 w 253"/>
                <a:gd name="T19" fmla="*/ 171 h 275"/>
                <a:gd name="T20" fmla="*/ 147 w 253"/>
                <a:gd name="T21" fmla="*/ 219 h 275"/>
                <a:gd name="T22" fmla="*/ 85 w 253"/>
                <a:gd name="T23" fmla="*/ 275 h 275"/>
                <a:gd name="T24" fmla="*/ 74 w 253"/>
                <a:gd name="T25" fmla="*/ 267 h 275"/>
                <a:gd name="T26" fmla="*/ 101 w 253"/>
                <a:gd name="T27" fmla="*/ 218 h 275"/>
                <a:gd name="T28" fmla="*/ 61 w 253"/>
                <a:gd name="T29" fmla="*/ 192 h 275"/>
                <a:gd name="T30" fmla="*/ 55 w 253"/>
                <a:gd name="T31" fmla="*/ 166 h 275"/>
                <a:gd name="T32" fmla="*/ 13 w 253"/>
                <a:gd name="T33" fmla="*/ 154 h 275"/>
                <a:gd name="T34" fmla="*/ 23 w 253"/>
                <a:gd name="T35" fmla="*/ 120 h 275"/>
                <a:gd name="T36" fmla="*/ 0 w 253"/>
                <a:gd name="T37" fmla="*/ 93 h 275"/>
                <a:gd name="T38" fmla="*/ 99 w 253"/>
                <a:gd name="T39" fmla="*/ 43 h 275"/>
                <a:gd name="T40" fmla="*/ 120 w 253"/>
                <a:gd name="T41" fmla="*/ 14 h 275"/>
                <a:gd name="T42" fmla="*/ 155 w 253"/>
                <a:gd name="T43" fmla="*/ 18 h 275"/>
                <a:gd name="T44" fmla="*/ 155 w 253"/>
                <a:gd name="T45" fmla="*/ 18 h 275"/>
                <a:gd name="T46" fmla="*/ 155 w 253"/>
                <a:gd name="T47" fmla="*/ 1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3" h="275">
                  <a:moveTo>
                    <a:pt x="155" y="18"/>
                  </a:moveTo>
                  <a:lnTo>
                    <a:pt x="179" y="0"/>
                  </a:lnTo>
                  <a:lnTo>
                    <a:pt x="203" y="3"/>
                  </a:lnTo>
                  <a:lnTo>
                    <a:pt x="221" y="0"/>
                  </a:lnTo>
                  <a:lnTo>
                    <a:pt x="229" y="35"/>
                  </a:lnTo>
                  <a:lnTo>
                    <a:pt x="218" y="54"/>
                  </a:lnTo>
                  <a:lnTo>
                    <a:pt x="248" y="48"/>
                  </a:lnTo>
                  <a:lnTo>
                    <a:pt x="253" y="56"/>
                  </a:lnTo>
                  <a:lnTo>
                    <a:pt x="179" y="152"/>
                  </a:lnTo>
                  <a:lnTo>
                    <a:pt x="146" y="171"/>
                  </a:lnTo>
                  <a:lnTo>
                    <a:pt x="147" y="219"/>
                  </a:lnTo>
                  <a:lnTo>
                    <a:pt x="85" y="275"/>
                  </a:lnTo>
                  <a:lnTo>
                    <a:pt x="74" y="267"/>
                  </a:lnTo>
                  <a:lnTo>
                    <a:pt x="101" y="218"/>
                  </a:lnTo>
                  <a:lnTo>
                    <a:pt x="61" y="192"/>
                  </a:lnTo>
                  <a:lnTo>
                    <a:pt x="55" y="166"/>
                  </a:lnTo>
                  <a:lnTo>
                    <a:pt x="13" y="154"/>
                  </a:lnTo>
                  <a:lnTo>
                    <a:pt x="23" y="120"/>
                  </a:lnTo>
                  <a:lnTo>
                    <a:pt x="0" y="93"/>
                  </a:lnTo>
                  <a:lnTo>
                    <a:pt x="99" y="43"/>
                  </a:lnTo>
                  <a:lnTo>
                    <a:pt x="120" y="14"/>
                  </a:lnTo>
                  <a:lnTo>
                    <a:pt x="155" y="18"/>
                  </a:lnTo>
                  <a:lnTo>
                    <a:pt x="155" y="18"/>
                  </a:lnTo>
                  <a:lnTo>
                    <a:pt x="155" y="1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98" name="Freeform 256">
              <a:extLst>
                <a:ext uri="{FF2B5EF4-FFF2-40B4-BE49-F238E27FC236}">
                  <a16:creationId xmlns:a16="http://schemas.microsoft.com/office/drawing/2014/main" id="{A36D2F97-AB2F-44EC-82B4-A46AC9A88A3B}"/>
                </a:ext>
              </a:extLst>
            </p:cNvPr>
            <p:cNvSpPr>
              <a:spLocks/>
            </p:cNvSpPr>
            <p:nvPr/>
          </p:nvSpPr>
          <p:spPr bwMode="auto">
            <a:xfrm>
              <a:off x="8942054" y="1346841"/>
              <a:ext cx="450931" cy="490493"/>
            </a:xfrm>
            <a:custGeom>
              <a:avLst/>
              <a:gdLst>
                <a:gd name="T0" fmla="*/ 166 w 243"/>
                <a:gd name="T1" fmla="*/ 251 h 254"/>
                <a:gd name="T2" fmla="*/ 106 w 243"/>
                <a:gd name="T3" fmla="*/ 254 h 254"/>
                <a:gd name="T4" fmla="*/ 99 w 243"/>
                <a:gd name="T5" fmla="*/ 240 h 254"/>
                <a:gd name="T6" fmla="*/ 74 w 243"/>
                <a:gd name="T7" fmla="*/ 244 h 254"/>
                <a:gd name="T8" fmla="*/ 26 w 243"/>
                <a:gd name="T9" fmla="*/ 212 h 254"/>
                <a:gd name="T10" fmla="*/ 0 w 243"/>
                <a:gd name="T11" fmla="*/ 212 h 254"/>
                <a:gd name="T12" fmla="*/ 2 w 243"/>
                <a:gd name="T13" fmla="*/ 156 h 254"/>
                <a:gd name="T14" fmla="*/ 32 w 243"/>
                <a:gd name="T15" fmla="*/ 118 h 254"/>
                <a:gd name="T16" fmla="*/ 30 w 243"/>
                <a:gd name="T17" fmla="*/ 59 h 254"/>
                <a:gd name="T18" fmla="*/ 74 w 243"/>
                <a:gd name="T19" fmla="*/ 62 h 254"/>
                <a:gd name="T20" fmla="*/ 112 w 243"/>
                <a:gd name="T21" fmla="*/ 44 h 254"/>
                <a:gd name="T22" fmla="*/ 110 w 243"/>
                <a:gd name="T23" fmla="*/ 22 h 254"/>
                <a:gd name="T24" fmla="*/ 134 w 243"/>
                <a:gd name="T25" fmla="*/ 0 h 254"/>
                <a:gd name="T26" fmla="*/ 147 w 243"/>
                <a:gd name="T27" fmla="*/ 4 h 254"/>
                <a:gd name="T28" fmla="*/ 130 w 243"/>
                <a:gd name="T29" fmla="*/ 54 h 254"/>
                <a:gd name="T30" fmla="*/ 146 w 243"/>
                <a:gd name="T31" fmla="*/ 62 h 254"/>
                <a:gd name="T32" fmla="*/ 144 w 243"/>
                <a:gd name="T33" fmla="*/ 102 h 254"/>
                <a:gd name="T34" fmla="*/ 166 w 243"/>
                <a:gd name="T35" fmla="*/ 99 h 254"/>
                <a:gd name="T36" fmla="*/ 243 w 243"/>
                <a:gd name="T37" fmla="*/ 147 h 254"/>
                <a:gd name="T38" fmla="*/ 221 w 243"/>
                <a:gd name="T39" fmla="*/ 168 h 254"/>
                <a:gd name="T40" fmla="*/ 192 w 243"/>
                <a:gd name="T41" fmla="*/ 155 h 254"/>
                <a:gd name="T42" fmla="*/ 184 w 243"/>
                <a:gd name="T43" fmla="*/ 180 h 254"/>
                <a:gd name="T44" fmla="*/ 192 w 243"/>
                <a:gd name="T45" fmla="*/ 204 h 254"/>
                <a:gd name="T46" fmla="*/ 178 w 243"/>
                <a:gd name="T47" fmla="*/ 227 h 254"/>
                <a:gd name="T48" fmla="*/ 182 w 243"/>
                <a:gd name="T49" fmla="*/ 243 h 254"/>
                <a:gd name="T50" fmla="*/ 166 w 243"/>
                <a:gd name="T51" fmla="*/ 251 h 254"/>
                <a:gd name="T52" fmla="*/ 166 w 243"/>
                <a:gd name="T53" fmla="*/ 251 h 254"/>
                <a:gd name="T54" fmla="*/ 166 w 243"/>
                <a:gd name="T55"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3" h="254">
                  <a:moveTo>
                    <a:pt x="166" y="251"/>
                  </a:moveTo>
                  <a:lnTo>
                    <a:pt x="106" y="254"/>
                  </a:lnTo>
                  <a:lnTo>
                    <a:pt x="99" y="240"/>
                  </a:lnTo>
                  <a:lnTo>
                    <a:pt x="74" y="244"/>
                  </a:lnTo>
                  <a:lnTo>
                    <a:pt x="26" y="212"/>
                  </a:lnTo>
                  <a:lnTo>
                    <a:pt x="0" y="212"/>
                  </a:lnTo>
                  <a:lnTo>
                    <a:pt x="2" y="156"/>
                  </a:lnTo>
                  <a:lnTo>
                    <a:pt x="32" y="118"/>
                  </a:lnTo>
                  <a:lnTo>
                    <a:pt x="30" y="59"/>
                  </a:lnTo>
                  <a:lnTo>
                    <a:pt x="74" y="62"/>
                  </a:lnTo>
                  <a:lnTo>
                    <a:pt x="112" y="44"/>
                  </a:lnTo>
                  <a:lnTo>
                    <a:pt x="110" y="22"/>
                  </a:lnTo>
                  <a:lnTo>
                    <a:pt x="134" y="0"/>
                  </a:lnTo>
                  <a:lnTo>
                    <a:pt x="147" y="4"/>
                  </a:lnTo>
                  <a:lnTo>
                    <a:pt x="130" y="54"/>
                  </a:lnTo>
                  <a:lnTo>
                    <a:pt x="146" y="62"/>
                  </a:lnTo>
                  <a:lnTo>
                    <a:pt x="144" y="102"/>
                  </a:lnTo>
                  <a:lnTo>
                    <a:pt x="166" y="99"/>
                  </a:lnTo>
                  <a:lnTo>
                    <a:pt x="243" y="147"/>
                  </a:lnTo>
                  <a:lnTo>
                    <a:pt x="221" y="168"/>
                  </a:lnTo>
                  <a:lnTo>
                    <a:pt x="192" y="155"/>
                  </a:lnTo>
                  <a:lnTo>
                    <a:pt x="184" y="180"/>
                  </a:lnTo>
                  <a:lnTo>
                    <a:pt x="192" y="204"/>
                  </a:lnTo>
                  <a:lnTo>
                    <a:pt x="178" y="227"/>
                  </a:lnTo>
                  <a:lnTo>
                    <a:pt x="182" y="243"/>
                  </a:lnTo>
                  <a:lnTo>
                    <a:pt x="166" y="251"/>
                  </a:lnTo>
                  <a:lnTo>
                    <a:pt x="166" y="251"/>
                  </a:lnTo>
                  <a:lnTo>
                    <a:pt x="166" y="251"/>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9" name="Freeform 257">
              <a:extLst>
                <a:ext uri="{FF2B5EF4-FFF2-40B4-BE49-F238E27FC236}">
                  <a16:creationId xmlns:a16="http://schemas.microsoft.com/office/drawing/2014/main" id="{182C8476-B3A7-48FC-ACA4-1EB7B4357EC1}"/>
                </a:ext>
              </a:extLst>
            </p:cNvPr>
            <p:cNvSpPr>
              <a:spLocks/>
            </p:cNvSpPr>
            <p:nvPr/>
          </p:nvSpPr>
          <p:spPr bwMode="auto">
            <a:xfrm>
              <a:off x="9506184" y="3992422"/>
              <a:ext cx="584543" cy="509805"/>
            </a:xfrm>
            <a:custGeom>
              <a:avLst/>
              <a:gdLst>
                <a:gd name="T0" fmla="*/ 152 w 315"/>
                <a:gd name="T1" fmla="*/ 3 h 264"/>
                <a:gd name="T2" fmla="*/ 187 w 315"/>
                <a:gd name="T3" fmla="*/ 18 h 264"/>
                <a:gd name="T4" fmla="*/ 222 w 315"/>
                <a:gd name="T5" fmla="*/ 0 h 264"/>
                <a:gd name="T6" fmla="*/ 266 w 315"/>
                <a:gd name="T7" fmla="*/ 67 h 264"/>
                <a:gd name="T8" fmla="*/ 301 w 315"/>
                <a:gd name="T9" fmla="*/ 72 h 264"/>
                <a:gd name="T10" fmla="*/ 315 w 315"/>
                <a:gd name="T11" fmla="*/ 112 h 264"/>
                <a:gd name="T12" fmla="*/ 293 w 315"/>
                <a:gd name="T13" fmla="*/ 122 h 264"/>
                <a:gd name="T14" fmla="*/ 246 w 315"/>
                <a:gd name="T15" fmla="*/ 160 h 264"/>
                <a:gd name="T16" fmla="*/ 234 w 315"/>
                <a:gd name="T17" fmla="*/ 187 h 264"/>
                <a:gd name="T18" fmla="*/ 205 w 315"/>
                <a:gd name="T19" fmla="*/ 184 h 264"/>
                <a:gd name="T20" fmla="*/ 182 w 315"/>
                <a:gd name="T21" fmla="*/ 170 h 264"/>
                <a:gd name="T22" fmla="*/ 154 w 315"/>
                <a:gd name="T23" fmla="*/ 200 h 264"/>
                <a:gd name="T24" fmla="*/ 134 w 315"/>
                <a:gd name="T25" fmla="*/ 181 h 264"/>
                <a:gd name="T26" fmla="*/ 106 w 315"/>
                <a:gd name="T27" fmla="*/ 205 h 264"/>
                <a:gd name="T28" fmla="*/ 82 w 315"/>
                <a:gd name="T29" fmla="*/ 242 h 264"/>
                <a:gd name="T30" fmla="*/ 91 w 315"/>
                <a:gd name="T31" fmla="*/ 259 h 264"/>
                <a:gd name="T32" fmla="*/ 54 w 315"/>
                <a:gd name="T33" fmla="*/ 264 h 264"/>
                <a:gd name="T34" fmla="*/ 40 w 315"/>
                <a:gd name="T35" fmla="*/ 230 h 264"/>
                <a:gd name="T36" fmla="*/ 0 w 315"/>
                <a:gd name="T37" fmla="*/ 218 h 264"/>
                <a:gd name="T38" fmla="*/ 8 w 315"/>
                <a:gd name="T39" fmla="*/ 183 h 264"/>
                <a:gd name="T40" fmla="*/ 35 w 315"/>
                <a:gd name="T41" fmla="*/ 189 h 264"/>
                <a:gd name="T42" fmla="*/ 43 w 315"/>
                <a:gd name="T43" fmla="*/ 178 h 264"/>
                <a:gd name="T44" fmla="*/ 32 w 315"/>
                <a:gd name="T45" fmla="*/ 168 h 264"/>
                <a:gd name="T46" fmla="*/ 42 w 315"/>
                <a:gd name="T47" fmla="*/ 139 h 264"/>
                <a:gd name="T48" fmla="*/ 58 w 315"/>
                <a:gd name="T49" fmla="*/ 141 h 264"/>
                <a:gd name="T50" fmla="*/ 70 w 315"/>
                <a:gd name="T51" fmla="*/ 125 h 264"/>
                <a:gd name="T52" fmla="*/ 75 w 315"/>
                <a:gd name="T53" fmla="*/ 112 h 264"/>
                <a:gd name="T54" fmla="*/ 133 w 315"/>
                <a:gd name="T55" fmla="*/ 79 h 264"/>
                <a:gd name="T56" fmla="*/ 176 w 315"/>
                <a:gd name="T57" fmla="*/ 74 h 264"/>
                <a:gd name="T58" fmla="*/ 168 w 315"/>
                <a:gd name="T59" fmla="*/ 40 h 264"/>
                <a:gd name="T60" fmla="*/ 142 w 315"/>
                <a:gd name="T61" fmla="*/ 34 h 264"/>
                <a:gd name="T62" fmla="*/ 152 w 315"/>
                <a:gd name="T63" fmla="*/ 3 h 264"/>
                <a:gd name="T64" fmla="*/ 152 w 315"/>
                <a:gd name="T65" fmla="*/ 3 h 264"/>
                <a:gd name="T66" fmla="*/ 152 w 315"/>
                <a:gd name="T67" fmla="*/ 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5" h="264">
                  <a:moveTo>
                    <a:pt x="152" y="3"/>
                  </a:moveTo>
                  <a:lnTo>
                    <a:pt x="187" y="18"/>
                  </a:lnTo>
                  <a:lnTo>
                    <a:pt x="222" y="0"/>
                  </a:lnTo>
                  <a:lnTo>
                    <a:pt x="266" y="67"/>
                  </a:lnTo>
                  <a:lnTo>
                    <a:pt x="301" y="72"/>
                  </a:lnTo>
                  <a:lnTo>
                    <a:pt x="315" y="112"/>
                  </a:lnTo>
                  <a:lnTo>
                    <a:pt x="293" y="122"/>
                  </a:lnTo>
                  <a:lnTo>
                    <a:pt x="246" y="160"/>
                  </a:lnTo>
                  <a:lnTo>
                    <a:pt x="234" y="187"/>
                  </a:lnTo>
                  <a:lnTo>
                    <a:pt x="205" y="184"/>
                  </a:lnTo>
                  <a:lnTo>
                    <a:pt x="182" y="170"/>
                  </a:lnTo>
                  <a:lnTo>
                    <a:pt x="154" y="200"/>
                  </a:lnTo>
                  <a:lnTo>
                    <a:pt x="134" y="181"/>
                  </a:lnTo>
                  <a:lnTo>
                    <a:pt x="106" y="205"/>
                  </a:lnTo>
                  <a:lnTo>
                    <a:pt x="82" y="242"/>
                  </a:lnTo>
                  <a:lnTo>
                    <a:pt x="91" y="259"/>
                  </a:lnTo>
                  <a:lnTo>
                    <a:pt x="54" y="264"/>
                  </a:lnTo>
                  <a:lnTo>
                    <a:pt x="40" y="230"/>
                  </a:lnTo>
                  <a:lnTo>
                    <a:pt x="0" y="218"/>
                  </a:lnTo>
                  <a:lnTo>
                    <a:pt x="8" y="183"/>
                  </a:lnTo>
                  <a:lnTo>
                    <a:pt x="35" y="189"/>
                  </a:lnTo>
                  <a:lnTo>
                    <a:pt x="43" y="178"/>
                  </a:lnTo>
                  <a:lnTo>
                    <a:pt x="32" y="168"/>
                  </a:lnTo>
                  <a:lnTo>
                    <a:pt x="42" y="139"/>
                  </a:lnTo>
                  <a:lnTo>
                    <a:pt x="58" y="141"/>
                  </a:lnTo>
                  <a:lnTo>
                    <a:pt x="70" y="125"/>
                  </a:lnTo>
                  <a:lnTo>
                    <a:pt x="75" y="112"/>
                  </a:lnTo>
                  <a:lnTo>
                    <a:pt x="133" y="79"/>
                  </a:lnTo>
                  <a:lnTo>
                    <a:pt x="176" y="74"/>
                  </a:lnTo>
                  <a:lnTo>
                    <a:pt x="168" y="40"/>
                  </a:lnTo>
                  <a:lnTo>
                    <a:pt x="142" y="34"/>
                  </a:lnTo>
                  <a:lnTo>
                    <a:pt x="152" y="3"/>
                  </a:lnTo>
                  <a:lnTo>
                    <a:pt x="152" y="3"/>
                  </a:lnTo>
                  <a:lnTo>
                    <a:pt x="152" y="3"/>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0" name="Freeform 258">
              <a:extLst>
                <a:ext uri="{FF2B5EF4-FFF2-40B4-BE49-F238E27FC236}">
                  <a16:creationId xmlns:a16="http://schemas.microsoft.com/office/drawing/2014/main" id="{DC5D1ED7-7B73-47B3-82B7-FCA3FECFEBEF}"/>
                </a:ext>
              </a:extLst>
            </p:cNvPr>
            <p:cNvSpPr>
              <a:spLocks/>
            </p:cNvSpPr>
            <p:nvPr/>
          </p:nvSpPr>
          <p:spPr bwMode="auto">
            <a:xfrm>
              <a:off x="9535876" y="4228014"/>
              <a:ext cx="540005" cy="540704"/>
            </a:xfrm>
            <a:custGeom>
              <a:avLst/>
              <a:gdLst>
                <a:gd name="T0" fmla="*/ 272 w 291"/>
                <a:gd name="T1" fmla="*/ 80 h 280"/>
                <a:gd name="T2" fmla="*/ 275 w 291"/>
                <a:gd name="T3" fmla="*/ 61 h 280"/>
                <a:gd name="T4" fmla="*/ 262 w 291"/>
                <a:gd name="T5" fmla="*/ 40 h 280"/>
                <a:gd name="T6" fmla="*/ 283 w 291"/>
                <a:gd name="T7" fmla="*/ 13 h 280"/>
                <a:gd name="T8" fmla="*/ 277 w 291"/>
                <a:gd name="T9" fmla="*/ 0 h 280"/>
                <a:gd name="T10" fmla="*/ 230 w 291"/>
                <a:gd name="T11" fmla="*/ 38 h 280"/>
                <a:gd name="T12" fmla="*/ 218 w 291"/>
                <a:gd name="T13" fmla="*/ 65 h 280"/>
                <a:gd name="T14" fmla="*/ 189 w 291"/>
                <a:gd name="T15" fmla="*/ 62 h 280"/>
                <a:gd name="T16" fmla="*/ 166 w 291"/>
                <a:gd name="T17" fmla="*/ 48 h 280"/>
                <a:gd name="T18" fmla="*/ 138 w 291"/>
                <a:gd name="T19" fmla="*/ 78 h 280"/>
                <a:gd name="T20" fmla="*/ 118 w 291"/>
                <a:gd name="T21" fmla="*/ 59 h 280"/>
                <a:gd name="T22" fmla="*/ 90 w 291"/>
                <a:gd name="T23" fmla="*/ 83 h 280"/>
                <a:gd name="T24" fmla="*/ 66 w 291"/>
                <a:gd name="T25" fmla="*/ 120 h 280"/>
                <a:gd name="T26" fmla="*/ 75 w 291"/>
                <a:gd name="T27" fmla="*/ 137 h 280"/>
                <a:gd name="T28" fmla="*/ 38 w 291"/>
                <a:gd name="T29" fmla="*/ 142 h 280"/>
                <a:gd name="T30" fmla="*/ 19 w 291"/>
                <a:gd name="T31" fmla="*/ 145 h 280"/>
                <a:gd name="T32" fmla="*/ 0 w 291"/>
                <a:gd name="T33" fmla="*/ 168 h 280"/>
                <a:gd name="T34" fmla="*/ 10 w 291"/>
                <a:gd name="T35" fmla="*/ 184 h 280"/>
                <a:gd name="T36" fmla="*/ 6 w 291"/>
                <a:gd name="T37" fmla="*/ 209 h 280"/>
                <a:gd name="T38" fmla="*/ 22 w 291"/>
                <a:gd name="T39" fmla="*/ 219 h 280"/>
                <a:gd name="T40" fmla="*/ 14 w 291"/>
                <a:gd name="T41" fmla="*/ 243 h 280"/>
                <a:gd name="T42" fmla="*/ 34 w 291"/>
                <a:gd name="T43" fmla="*/ 243 h 280"/>
                <a:gd name="T44" fmla="*/ 56 w 291"/>
                <a:gd name="T45" fmla="*/ 268 h 280"/>
                <a:gd name="T46" fmla="*/ 91 w 291"/>
                <a:gd name="T47" fmla="*/ 265 h 280"/>
                <a:gd name="T48" fmla="*/ 109 w 291"/>
                <a:gd name="T49" fmla="*/ 280 h 280"/>
                <a:gd name="T50" fmla="*/ 150 w 291"/>
                <a:gd name="T51" fmla="*/ 244 h 280"/>
                <a:gd name="T52" fmla="*/ 179 w 291"/>
                <a:gd name="T53" fmla="*/ 262 h 280"/>
                <a:gd name="T54" fmla="*/ 192 w 291"/>
                <a:gd name="T55" fmla="*/ 243 h 280"/>
                <a:gd name="T56" fmla="*/ 227 w 291"/>
                <a:gd name="T57" fmla="*/ 243 h 280"/>
                <a:gd name="T58" fmla="*/ 242 w 291"/>
                <a:gd name="T59" fmla="*/ 238 h 280"/>
                <a:gd name="T60" fmla="*/ 242 w 291"/>
                <a:gd name="T61" fmla="*/ 222 h 280"/>
                <a:gd name="T62" fmla="*/ 267 w 291"/>
                <a:gd name="T63" fmla="*/ 209 h 280"/>
                <a:gd name="T64" fmla="*/ 291 w 291"/>
                <a:gd name="T65" fmla="*/ 211 h 280"/>
                <a:gd name="T66" fmla="*/ 250 w 291"/>
                <a:gd name="T67" fmla="*/ 174 h 280"/>
                <a:gd name="T68" fmla="*/ 234 w 291"/>
                <a:gd name="T69" fmla="*/ 132 h 280"/>
                <a:gd name="T70" fmla="*/ 272 w 291"/>
                <a:gd name="T71" fmla="*/ 80 h 280"/>
                <a:gd name="T72" fmla="*/ 272 w 291"/>
                <a:gd name="T73" fmla="*/ 80 h 280"/>
                <a:gd name="T74" fmla="*/ 272 w 291"/>
                <a:gd name="T75" fmla="*/ 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1" h="280">
                  <a:moveTo>
                    <a:pt x="272" y="80"/>
                  </a:moveTo>
                  <a:lnTo>
                    <a:pt x="275" y="61"/>
                  </a:lnTo>
                  <a:lnTo>
                    <a:pt x="262" y="40"/>
                  </a:lnTo>
                  <a:lnTo>
                    <a:pt x="283" y="13"/>
                  </a:lnTo>
                  <a:lnTo>
                    <a:pt x="277" y="0"/>
                  </a:lnTo>
                  <a:lnTo>
                    <a:pt x="230" y="38"/>
                  </a:lnTo>
                  <a:lnTo>
                    <a:pt x="218" y="65"/>
                  </a:lnTo>
                  <a:lnTo>
                    <a:pt x="189" y="62"/>
                  </a:lnTo>
                  <a:lnTo>
                    <a:pt x="166" y="48"/>
                  </a:lnTo>
                  <a:lnTo>
                    <a:pt x="138" y="78"/>
                  </a:lnTo>
                  <a:lnTo>
                    <a:pt x="118" y="59"/>
                  </a:lnTo>
                  <a:lnTo>
                    <a:pt x="90" y="83"/>
                  </a:lnTo>
                  <a:lnTo>
                    <a:pt x="66" y="120"/>
                  </a:lnTo>
                  <a:lnTo>
                    <a:pt x="75" y="137"/>
                  </a:lnTo>
                  <a:lnTo>
                    <a:pt x="38" y="142"/>
                  </a:lnTo>
                  <a:lnTo>
                    <a:pt x="19" y="145"/>
                  </a:lnTo>
                  <a:lnTo>
                    <a:pt x="0" y="168"/>
                  </a:lnTo>
                  <a:lnTo>
                    <a:pt x="10" y="184"/>
                  </a:lnTo>
                  <a:lnTo>
                    <a:pt x="6" y="209"/>
                  </a:lnTo>
                  <a:lnTo>
                    <a:pt x="22" y="219"/>
                  </a:lnTo>
                  <a:lnTo>
                    <a:pt x="14" y="243"/>
                  </a:lnTo>
                  <a:lnTo>
                    <a:pt x="34" y="243"/>
                  </a:lnTo>
                  <a:lnTo>
                    <a:pt x="56" y="268"/>
                  </a:lnTo>
                  <a:lnTo>
                    <a:pt x="91" y="265"/>
                  </a:lnTo>
                  <a:lnTo>
                    <a:pt x="109" y="280"/>
                  </a:lnTo>
                  <a:lnTo>
                    <a:pt x="150" y="244"/>
                  </a:lnTo>
                  <a:lnTo>
                    <a:pt x="179" y="262"/>
                  </a:lnTo>
                  <a:lnTo>
                    <a:pt x="192" y="243"/>
                  </a:lnTo>
                  <a:lnTo>
                    <a:pt x="227" y="243"/>
                  </a:lnTo>
                  <a:lnTo>
                    <a:pt x="242" y="238"/>
                  </a:lnTo>
                  <a:lnTo>
                    <a:pt x="242" y="222"/>
                  </a:lnTo>
                  <a:lnTo>
                    <a:pt x="267" y="209"/>
                  </a:lnTo>
                  <a:lnTo>
                    <a:pt x="291" y="211"/>
                  </a:lnTo>
                  <a:lnTo>
                    <a:pt x="250" y="174"/>
                  </a:lnTo>
                  <a:lnTo>
                    <a:pt x="234" y="132"/>
                  </a:lnTo>
                  <a:lnTo>
                    <a:pt x="272" y="80"/>
                  </a:lnTo>
                  <a:lnTo>
                    <a:pt x="272" y="80"/>
                  </a:lnTo>
                  <a:lnTo>
                    <a:pt x="272" y="80"/>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1" name="Freeform 259">
              <a:extLst>
                <a:ext uri="{FF2B5EF4-FFF2-40B4-BE49-F238E27FC236}">
                  <a16:creationId xmlns:a16="http://schemas.microsoft.com/office/drawing/2014/main" id="{365274B4-DD7A-47DE-B2A3-09E2F061BAAA}"/>
                </a:ext>
              </a:extLst>
            </p:cNvPr>
            <p:cNvSpPr>
              <a:spLocks/>
            </p:cNvSpPr>
            <p:nvPr/>
          </p:nvSpPr>
          <p:spPr bwMode="auto">
            <a:xfrm>
              <a:off x="7411109" y="4589129"/>
              <a:ext cx="541862" cy="401665"/>
            </a:xfrm>
            <a:custGeom>
              <a:avLst/>
              <a:gdLst>
                <a:gd name="T0" fmla="*/ 46 w 292"/>
                <a:gd name="T1" fmla="*/ 24 h 208"/>
                <a:gd name="T2" fmla="*/ 67 w 292"/>
                <a:gd name="T3" fmla="*/ 45 h 208"/>
                <a:gd name="T4" fmla="*/ 68 w 292"/>
                <a:gd name="T5" fmla="*/ 21 h 208"/>
                <a:gd name="T6" fmla="*/ 177 w 292"/>
                <a:gd name="T7" fmla="*/ 0 h 208"/>
                <a:gd name="T8" fmla="*/ 188 w 292"/>
                <a:gd name="T9" fmla="*/ 9 h 208"/>
                <a:gd name="T10" fmla="*/ 201 w 292"/>
                <a:gd name="T11" fmla="*/ 1 h 208"/>
                <a:gd name="T12" fmla="*/ 222 w 292"/>
                <a:gd name="T13" fmla="*/ 9 h 208"/>
                <a:gd name="T14" fmla="*/ 207 w 292"/>
                <a:gd name="T15" fmla="*/ 35 h 208"/>
                <a:gd name="T16" fmla="*/ 231 w 292"/>
                <a:gd name="T17" fmla="*/ 46 h 208"/>
                <a:gd name="T18" fmla="*/ 238 w 292"/>
                <a:gd name="T19" fmla="*/ 77 h 208"/>
                <a:gd name="T20" fmla="*/ 292 w 292"/>
                <a:gd name="T21" fmla="*/ 134 h 208"/>
                <a:gd name="T22" fmla="*/ 263 w 292"/>
                <a:gd name="T23" fmla="*/ 150 h 208"/>
                <a:gd name="T24" fmla="*/ 249 w 292"/>
                <a:gd name="T25" fmla="*/ 192 h 208"/>
                <a:gd name="T26" fmla="*/ 206 w 292"/>
                <a:gd name="T27" fmla="*/ 177 h 208"/>
                <a:gd name="T28" fmla="*/ 180 w 292"/>
                <a:gd name="T29" fmla="*/ 208 h 208"/>
                <a:gd name="T30" fmla="*/ 86 w 292"/>
                <a:gd name="T31" fmla="*/ 185 h 208"/>
                <a:gd name="T32" fmla="*/ 76 w 292"/>
                <a:gd name="T33" fmla="*/ 155 h 208"/>
                <a:gd name="T34" fmla="*/ 43 w 292"/>
                <a:gd name="T35" fmla="*/ 121 h 208"/>
                <a:gd name="T36" fmla="*/ 33 w 292"/>
                <a:gd name="T37" fmla="*/ 128 h 208"/>
                <a:gd name="T38" fmla="*/ 0 w 292"/>
                <a:gd name="T39" fmla="*/ 126 h 208"/>
                <a:gd name="T40" fmla="*/ 16 w 292"/>
                <a:gd name="T41" fmla="*/ 33 h 208"/>
                <a:gd name="T42" fmla="*/ 46 w 292"/>
                <a:gd name="T43" fmla="*/ 24 h 208"/>
                <a:gd name="T44" fmla="*/ 46 w 292"/>
                <a:gd name="T45" fmla="*/ 24 h 208"/>
                <a:gd name="T46" fmla="*/ 46 w 292"/>
                <a:gd name="T47" fmla="*/ 2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2" h="208">
                  <a:moveTo>
                    <a:pt x="46" y="24"/>
                  </a:moveTo>
                  <a:lnTo>
                    <a:pt x="67" y="45"/>
                  </a:lnTo>
                  <a:lnTo>
                    <a:pt x="68" y="21"/>
                  </a:lnTo>
                  <a:lnTo>
                    <a:pt x="177" y="0"/>
                  </a:lnTo>
                  <a:lnTo>
                    <a:pt x="188" y="9"/>
                  </a:lnTo>
                  <a:lnTo>
                    <a:pt x="201" y="1"/>
                  </a:lnTo>
                  <a:lnTo>
                    <a:pt x="222" y="9"/>
                  </a:lnTo>
                  <a:lnTo>
                    <a:pt x="207" y="35"/>
                  </a:lnTo>
                  <a:lnTo>
                    <a:pt x="231" y="46"/>
                  </a:lnTo>
                  <a:lnTo>
                    <a:pt x="238" y="77"/>
                  </a:lnTo>
                  <a:lnTo>
                    <a:pt x="292" y="134"/>
                  </a:lnTo>
                  <a:lnTo>
                    <a:pt x="263" y="150"/>
                  </a:lnTo>
                  <a:lnTo>
                    <a:pt x="249" y="192"/>
                  </a:lnTo>
                  <a:lnTo>
                    <a:pt x="206" y="177"/>
                  </a:lnTo>
                  <a:lnTo>
                    <a:pt x="180" y="208"/>
                  </a:lnTo>
                  <a:lnTo>
                    <a:pt x="86" y="185"/>
                  </a:lnTo>
                  <a:lnTo>
                    <a:pt x="76" y="155"/>
                  </a:lnTo>
                  <a:lnTo>
                    <a:pt x="43" y="121"/>
                  </a:lnTo>
                  <a:lnTo>
                    <a:pt x="33" y="128"/>
                  </a:lnTo>
                  <a:lnTo>
                    <a:pt x="0" y="126"/>
                  </a:lnTo>
                  <a:lnTo>
                    <a:pt x="16" y="33"/>
                  </a:lnTo>
                  <a:lnTo>
                    <a:pt x="46" y="24"/>
                  </a:lnTo>
                  <a:lnTo>
                    <a:pt x="46" y="24"/>
                  </a:lnTo>
                  <a:lnTo>
                    <a:pt x="46" y="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02" name="Freeform 260">
              <a:extLst>
                <a:ext uri="{FF2B5EF4-FFF2-40B4-BE49-F238E27FC236}">
                  <a16:creationId xmlns:a16="http://schemas.microsoft.com/office/drawing/2014/main" id="{9345508B-B75B-4FDD-AA4C-21F1B3BE6ACE}"/>
                </a:ext>
              </a:extLst>
            </p:cNvPr>
            <p:cNvSpPr>
              <a:spLocks/>
            </p:cNvSpPr>
            <p:nvPr/>
          </p:nvSpPr>
          <p:spPr bwMode="auto">
            <a:xfrm>
              <a:off x="8190496" y="4129530"/>
              <a:ext cx="597531" cy="670086"/>
            </a:xfrm>
            <a:custGeom>
              <a:avLst/>
              <a:gdLst>
                <a:gd name="T0" fmla="*/ 13 w 322"/>
                <a:gd name="T1" fmla="*/ 219 h 347"/>
                <a:gd name="T2" fmla="*/ 23 w 322"/>
                <a:gd name="T3" fmla="*/ 187 h 347"/>
                <a:gd name="T4" fmla="*/ 0 w 322"/>
                <a:gd name="T5" fmla="*/ 167 h 347"/>
                <a:gd name="T6" fmla="*/ 15 w 322"/>
                <a:gd name="T7" fmla="*/ 163 h 347"/>
                <a:gd name="T8" fmla="*/ 0 w 322"/>
                <a:gd name="T9" fmla="*/ 127 h 347"/>
                <a:gd name="T10" fmla="*/ 72 w 322"/>
                <a:gd name="T11" fmla="*/ 94 h 347"/>
                <a:gd name="T12" fmla="*/ 69 w 322"/>
                <a:gd name="T13" fmla="*/ 81 h 347"/>
                <a:gd name="T14" fmla="*/ 127 w 322"/>
                <a:gd name="T15" fmla="*/ 81 h 347"/>
                <a:gd name="T16" fmla="*/ 155 w 322"/>
                <a:gd name="T17" fmla="*/ 24 h 347"/>
                <a:gd name="T18" fmla="*/ 179 w 322"/>
                <a:gd name="T19" fmla="*/ 0 h 347"/>
                <a:gd name="T20" fmla="*/ 186 w 322"/>
                <a:gd name="T21" fmla="*/ 22 h 347"/>
                <a:gd name="T22" fmla="*/ 200 w 322"/>
                <a:gd name="T23" fmla="*/ 20 h 347"/>
                <a:gd name="T24" fmla="*/ 224 w 322"/>
                <a:gd name="T25" fmla="*/ 83 h 347"/>
                <a:gd name="T26" fmla="*/ 253 w 322"/>
                <a:gd name="T27" fmla="*/ 119 h 347"/>
                <a:gd name="T28" fmla="*/ 259 w 322"/>
                <a:gd name="T29" fmla="*/ 190 h 347"/>
                <a:gd name="T30" fmla="*/ 303 w 322"/>
                <a:gd name="T31" fmla="*/ 209 h 347"/>
                <a:gd name="T32" fmla="*/ 285 w 322"/>
                <a:gd name="T33" fmla="*/ 236 h 347"/>
                <a:gd name="T34" fmla="*/ 322 w 322"/>
                <a:gd name="T35" fmla="*/ 252 h 347"/>
                <a:gd name="T36" fmla="*/ 298 w 322"/>
                <a:gd name="T37" fmla="*/ 279 h 347"/>
                <a:gd name="T38" fmla="*/ 272 w 322"/>
                <a:gd name="T39" fmla="*/ 310 h 347"/>
                <a:gd name="T40" fmla="*/ 243 w 322"/>
                <a:gd name="T41" fmla="*/ 307 h 347"/>
                <a:gd name="T42" fmla="*/ 243 w 322"/>
                <a:gd name="T43" fmla="*/ 340 h 347"/>
                <a:gd name="T44" fmla="*/ 219 w 322"/>
                <a:gd name="T45" fmla="*/ 347 h 347"/>
                <a:gd name="T46" fmla="*/ 215 w 322"/>
                <a:gd name="T47" fmla="*/ 331 h 347"/>
                <a:gd name="T48" fmla="*/ 168 w 322"/>
                <a:gd name="T49" fmla="*/ 331 h 347"/>
                <a:gd name="T50" fmla="*/ 146 w 322"/>
                <a:gd name="T51" fmla="*/ 305 h 347"/>
                <a:gd name="T52" fmla="*/ 127 w 322"/>
                <a:gd name="T53" fmla="*/ 247 h 347"/>
                <a:gd name="T54" fmla="*/ 63 w 322"/>
                <a:gd name="T55" fmla="*/ 206 h 347"/>
                <a:gd name="T56" fmla="*/ 13 w 322"/>
                <a:gd name="T57" fmla="*/ 219 h 347"/>
                <a:gd name="T58" fmla="*/ 13 w 322"/>
                <a:gd name="T59" fmla="*/ 219 h 347"/>
                <a:gd name="T60" fmla="*/ 13 w 322"/>
                <a:gd name="T61" fmla="*/ 2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347">
                  <a:moveTo>
                    <a:pt x="13" y="219"/>
                  </a:moveTo>
                  <a:lnTo>
                    <a:pt x="23" y="187"/>
                  </a:lnTo>
                  <a:lnTo>
                    <a:pt x="0" y="167"/>
                  </a:lnTo>
                  <a:lnTo>
                    <a:pt x="15" y="163"/>
                  </a:lnTo>
                  <a:lnTo>
                    <a:pt x="0" y="127"/>
                  </a:lnTo>
                  <a:lnTo>
                    <a:pt x="72" y="94"/>
                  </a:lnTo>
                  <a:lnTo>
                    <a:pt x="69" y="81"/>
                  </a:lnTo>
                  <a:lnTo>
                    <a:pt x="127" y="81"/>
                  </a:lnTo>
                  <a:lnTo>
                    <a:pt x="155" y="24"/>
                  </a:lnTo>
                  <a:lnTo>
                    <a:pt x="179" y="0"/>
                  </a:lnTo>
                  <a:lnTo>
                    <a:pt x="186" y="22"/>
                  </a:lnTo>
                  <a:lnTo>
                    <a:pt x="200" y="20"/>
                  </a:lnTo>
                  <a:lnTo>
                    <a:pt x="224" y="83"/>
                  </a:lnTo>
                  <a:lnTo>
                    <a:pt x="253" y="119"/>
                  </a:lnTo>
                  <a:lnTo>
                    <a:pt x="259" y="190"/>
                  </a:lnTo>
                  <a:lnTo>
                    <a:pt x="303" y="209"/>
                  </a:lnTo>
                  <a:lnTo>
                    <a:pt x="285" y="236"/>
                  </a:lnTo>
                  <a:lnTo>
                    <a:pt x="322" y="252"/>
                  </a:lnTo>
                  <a:lnTo>
                    <a:pt x="298" y="279"/>
                  </a:lnTo>
                  <a:lnTo>
                    <a:pt x="272" y="310"/>
                  </a:lnTo>
                  <a:lnTo>
                    <a:pt x="243" y="307"/>
                  </a:lnTo>
                  <a:lnTo>
                    <a:pt x="243" y="340"/>
                  </a:lnTo>
                  <a:lnTo>
                    <a:pt x="219" y="347"/>
                  </a:lnTo>
                  <a:lnTo>
                    <a:pt x="215" y="331"/>
                  </a:lnTo>
                  <a:lnTo>
                    <a:pt x="168" y="331"/>
                  </a:lnTo>
                  <a:lnTo>
                    <a:pt x="146" y="305"/>
                  </a:lnTo>
                  <a:lnTo>
                    <a:pt x="127" y="247"/>
                  </a:lnTo>
                  <a:lnTo>
                    <a:pt x="63" y="206"/>
                  </a:lnTo>
                  <a:lnTo>
                    <a:pt x="13" y="219"/>
                  </a:lnTo>
                  <a:lnTo>
                    <a:pt x="13" y="219"/>
                  </a:lnTo>
                  <a:lnTo>
                    <a:pt x="13" y="219"/>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3" name="Freeform 261">
              <a:extLst>
                <a:ext uri="{FF2B5EF4-FFF2-40B4-BE49-F238E27FC236}">
                  <a16:creationId xmlns:a16="http://schemas.microsoft.com/office/drawing/2014/main" id="{4D6777C0-76AA-4979-9435-B8333B63116E}"/>
                </a:ext>
              </a:extLst>
            </p:cNvPr>
            <p:cNvSpPr>
              <a:spLocks/>
            </p:cNvSpPr>
            <p:nvPr/>
          </p:nvSpPr>
          <p:spPr bwMode="auto">
            <a:xfrm>
              <a:off x="7784106" y="4430780"/>
              <a:ext cx="449079" cy="318630"/>
            </a:xfrm>
            <a:custGeom>
              <a:avLst/>
              <a:gdLst>
                <a:gd name="T0" fmla="*/ 96 w 242"/>
                <a:gd name="T1" fmla="*/ 165 h 165"/>
                <a:gd name="T2" fmla="*/ 83 w 242"/>
                <a:gd name="T3" fmla="*/ 152 h 165"/>
                <a:gd name="T4" fmla="*/ 37 w 242"/>
                <a:gd name="T5" fmla="*/ 159 h 165"/>
                <a:gd name="T6" fmla="*/ 30 w 242"/>
                <a:gd name="T7" fmla="*/ 128 h 165"/>
                <a:gd name="T8" fmla="*/ 6 w 242"/>
                <a:gd name="T9" fmla="*/ 117 h 165"/>
                <a:gd name="T10" fmla="*/ 21 w 242"/>
                <a:gd name="T11" fmla="*/ 91 h 165"/>
                <a:gd name="T12" fmla="*/ 0 w 242"/>
                <a:gd name="T13" fmla="*/ 83 h 165"/>
                <a:gd name="T14" fmla="*/ 13 w 242"/>
                <a:gd name="T15" fmla="*/ 61 h 165"/>
                <a:gd name="T16" fmla="*/ 27 w 242"/>
                <a:gd name="T17" fmla="*/ 66 h 165"/>
                <a:gd name="T18" fmla="*/ 43 w 242"/>
                <a:gd name="T19" fmla="*/ 24 h 165"/>
                <a:gd name="T20" fmla="*/ 29 w 242"/>
                <a:gd name="T21" fmla="*/ 13 h 165"/>
                <a:gd name="T22" fmla="*/ 35 w 242"/>
                <a:gd name="T23" fmla="*/ 0 h 165"/>
                <a:gd name="T24" fmla="*/ 69 w 242"/>
                <a:gd name="T25" fmla="*/ 0 h 165"/>
                <a:gd name="T26" fmla="*/ 122 w 242"/>
                <a:gd name="T27" fmla="*/ 42 h 165"/>
                <a:gd name="T28" fmla="*/ 219 w 242"/>
                <a:gd name="T29" fmla="*/ 11 h 165"/>
                <a:gd name="T30" fmla="*/ 242 w 242"/>
                <a:gd name="T31" fmla="*/ 31 h 165"/>
                <a:gd name="T32" fmla="*/ 232 w 242"/>
                <a:gd name="T33" fmla="*/ 63 h 165"/>
                <a:gd name="T34" fmla="*/ 187 w 242"/>
                <a:gd name="T35" fmla="*/ 75 h 165"/>
                <a:gd name="T36" fmla="*/ 192 w 242"/>
                <a:gd name="T37" fmla="*/ 93 h 165"/>
                <a:gd name="T38" fmla="*/ 162 w 242"/>
                <a:gd name="T39" fmla="*/ 128 h 165"/>
                <a:gd name="T40" fmla="*/ 120 w 242"/>
                <a:gd name="T41" fmla="*/ 138 h 165"/>
                <a:gd name="T42" fmla="*/ 122 w 242"/>
                <a:gd name="T43" fmla="*/ 154 h 165"/>
                <a:gd name="T44" fmla="*/ 96 w 242"/>
                <a:gd name="T45" fmla="*/ 165 h 165"/>
                <a:gd name="T46" fmla="*/ 96 w 242"/>
                <a:gd name="T47" fmla="*/ 165 h 165"/>
                <a:gd name="T48" fmla="*/ 96 w 242"/>
                <a:gd name="T4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165">
                  <a:moveTo>
                    <a:pt x="96" y="165"/>
                  </a:moveTo>
                  <a:lnTo>
                    <a:pt x="83" y="152"/>
                  </a:lnTo>
                  <a:lnTo>
                    <a:pt x="37" y="159"/>
                  </a:lnTo>
                  <a:lnTo>
                    <a:pt x="30" y="128"/>
                  </a:lnTo>
                  <a:lnTo>
                    <a:pt x="6" y="117"/>
                  </a:lnTo>
                  <a:lnTo>
                    <a:pt x="21" y="91"/>
                  </a:lnTo>
                  <a:lnTo>
                    <a:pt x="0" y="83"/>
                  </a:lnTo>
                  <a:lnTo>
                    <a:pt x="13" y="61"/>
                  </a:lnTo>
                  <a:lnTo>
                    <a:pt x="27" y="66"/>
                  </a:lnTo>
                  <a:lnTo>
                    <a:pt x="43" y="24"/>
                  </a:lnTo>
                  <a:lnTo>
                    <a:pt x="29" y="13"/>
                  </a:lnTo>
                  <a:lnTo>
                    <a:pt x="35" y="0"/>
                  </a:lnTo>
                  <a:lnTo>
                    <a:pt x="69" y="0"/>
                  </a:lnTo>
                  <a:lnTo>
                    <a:pt x="122" y="42"/>
                  </a:lnTo>
                  <a:lnTo>
                    <a:pt x="219" y="11"/>
                  </a:lnTo>
                  <a:lnTo>
                    <a:pt x="242" y="31"/>
                  </a:lnTo>
                  <a:lnTo>
                    <a:pt x="232" y="63"/>
                  </a:lnTo>
                  <a:lnTo>
                    <a:pt x="187" y="75"/>
                  </a:lnTo>
                  <a:lnTo>
                    <a:pt x="192" y="93"/>
                  </a:lnTo>
                  <a:lnTo>
                    <a:pt x="162" y="128"/>
                  </a:lnTo>
                  <a:lnTo>
                    <a:pt x="120" y="138"/>
                  </a:lnTo>
                  <a:lnTo>
                    <a:pt x="122" y="154"/>
                  </a:lnTo>
                  <a:lnTo>
                    <a:pt x="96" y="165"/>
                  </a:lnTo>
                  <a:lnTo>
                    <a:pt x="96" y="165"/>
                  </a:lnTo>
                  <a:lnTo>
                    <a:pt x="96" y="16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04" name="Freeform 262">
              <a:extLst>
                <a:ext uri="{FF2B5EF4-FFF2-40B4-BE49-F238E27FC236}">
                  <a16:creationId xmlns:a16="http://schemas.microsoft.com/office/drawing/2014/main" id="{E0260201-4B7B-4C72-AEF4-6FCDEAA3EF30}"/>
                </a:ext>
              </a:extLst>
            </p:cNvPr>
            <p:cNvSpPr>
              <a:spLocks/>
            </p:cNvSpPr>
            <p:nvPr/>
          </p:nvSpPr>
          <p:spPr bwMode="auto">
            <a:xfrm>
              <a:off x="7884310" y="4075460"/>
              <a:ext cx="439800" cy="436423"/>
            </a:xfrm>
            <a:custGeom>
              <a:avLst/>
              <a:gdLst>
                <a:gd name="T0" fmla="*/ 124 w 237"/>
                <a:gd name="T1" fmla="*/ 0 h 226"/>
                <a:gd name="T2" fmla="*/ 152 w 237"/>
                <a:gd name="T3" fmla="*/ 29 h 226"/>
                <a:gd name="T4" fmla="*/ 210 w 237"/>
                <a:gd name="T5" fmla="*/ 18 h 226"/>
                <a:gd name="T6" fmla="*/ 229 w 237"/>
                <a:gd name="T7" fmla="*/ 72 h 226"/>
                <a:gd name="T8" fmla="*/ 226 w 237"/>
                <a:gd name="T9" fmla="*/ 93 h 226"/>
                <a:gd name="T10" fmla="*/ 234 w 237"/>
                <a:gd name="T11" fmla="*/ 109 h 226"/>
                <a:gd name="T12" fmla="*/ 237 w 237"/>
                <a:gd name="T13" fmla="*/ 122 h 226"/>
                <a:gd name="T14" fmla="*/ 165 w 237"/>
                <a:gd name="T15" fmla="*/ 155 h 226"/>
                <a:gd name="T16" fmla="*/ 180 w 237"/>
                <a:gd name="T17" fmla="*/ 191 h 226"/>
                <a:gd name="T18" fmla="*/ 165 w 237"/>
                <a:gd name="T19" fmla="*/ 195 h 226"/>
                <a:gd name="T20" fmla="*/ 68 w 237"/>
                <a:gd name="T21" fmla="*/ 226 h 226"/>
                <a:gd name="T22" fmla="*/ 15 w 237"/>
                <a:gd name="T23" fmla="*/ 184 h 226"/>
                <a:gd name="T24" fmla="*/ 0 w 237"/>
                <a:gd name="T25" fmla="*/ 140 h 226"/>
                <a:gd name="T26" fmla="*/ 21 w 237"/>
                <a:gd name="T27" fmla="*/ 125 h 226"/>
                <a:gd name="T28" fmla="*/ 88 w 237"/>
                <a:gd name="T29" fmla="*/ 44 h 226"/>
                <a:gd name="T30" fmla="*/ 85 w 237"/>
                <a:gd name="T31" fmla="*/ 5 h 226"/>
                <a:gd name="T32" fmla="*/ 124 w 237"/>
                <a:gd name="T33" fmla="*/ 0 h 226"/>
                <a:gd name="T34" fmla="*/ 124 w 237"/>
                <a:gd name="T35" fmla="*/ 0 h 226"/>
                <a:gd name="T36" fmla="*/ 124 w 237"/>
                <a:gd name="T3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26">
                  <a:moveTo>
                    <a:pt x="124" y="0"/>
                  </a:moveTo>
                  <a:lnTo>
                    <a:pt x="152" y="29"/>
                  </a:lnTo>
                  <a:lnTo>
                    <a:pt x="210" y="18"/>
                  </a:lnTo>
                  <a:lnTo>
                    <a:pt x="229" y="72"/>
                  </a:lnTo>
                  <a:lnTo>
                    <a:pt x="226" y="93"/>
                  </a:lnTo>
                  <a:lnTo>
                    <a:pt x="234" y="109"/>
                  </a:lnTo>
                  <a:lnTo>
                    <a:pt x="237" y="122"/>
                  </a:lnTo>
                  <a:lnTo>
                    <a:pt x="165" y="155"/>
                  </a:lnTo>
                  <a:lnTo>
                    <a:pt x="180" y="191"/>
                  </a:lnTo>
                  <a:lnTo>
                    <a:pt x="165" y="195"/>
                  </a:lnTo>
                  <a:lnTo>
                    <a:pt x="68" y="226"/>
                  </a:lnTo>
                  <a:lnTo>
                    <a:pt x="15" y="184"/>
                  </a:lnTo>
                  <a:lnTo>
                    <a:pt x="0" y="140"/>
                  </a:lnTo>
                  <a:lnTo>
                    <a:pt x="21" y="125"/>
                  </a:lnTo>
                  <a:lnTo>
                    <a:pt x="88" y="44"/>
                  </a:lnTo>
                  <a:lnTo>
                    <a:pt x="85" y="5"/>
                  </a:lnTo>
                  <a:lnTo>
                    <a:pt x="124" y="0"/>
                  </a:lnTo>
                  <a:lnTo>
                    <a:pt x="124" y="0"/>
                  </a:lnTo>
                  <a:lnTo>
                    <a:pt x="124" y="0"/>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5" name="Freeform 263">
              <a:extLst>
                <a:ext uri="{FF2B5EF4-FFF2-40B4-BE49-F238E27FC236}">
                  <a16:creationId xmlns:a16="http://schemas.microsoft.com/office/drawing/2014/main" id="{55A45FE1-144D-4752-9E94-AD4890493069}"/>
                </a:ext>
              </a:extLst>
            </p:cNvPr>
            <p:cNvSpPr>
              <a:spLocks/>
            </p:cNvSpPr>
            <p:nvPr/>
          </p:nvSpPr>
          <p:spPr bwMode="auto">
            <a:xfrm>
              <a:off x="7669050" y="4677959"/>
              <a:ext cx="590109" cy="639191"/>
            </a:xfrm>
            <a:custGeom>
              <a:avLst/>
              <a:gdLst>
                <a:gd name="T0" fmla="*/ 318 w 318"/>
                <a:gd name="T1" fmla="*/ 136 h 331"/>
                <a:gd name="T2" fmla="*/ 283 w 318"/>
                <a:gd name="T3" fmla="*/ 133 h 331"/>
                <a:gd name="T4" fmla="*/ 251 w 318"/>
                <a:gd name="T5" fmla="*/ 178 h 331"/>
                <a:gd name="T6" fmla="*/ 212 w 318"/>
                <a:gd name="T7" fmla="*/ 175 h 331"/>
                <a:gd name="T8" fmla="*/ 206 w 318"/>
                <a:gd name="T9" fmla="*/ 194 h 331"/>
                <a:gd name="T10" fmla="*/ 182 w 318"/>
                <a:gd name="T11" fmla="*/ 162 h 331"/>
                <a:gd name="T12" fmla="*/ 168 w 318"/>
                <a:gd name="T13" fmla="*/ 173 h 331"/>
                <a:gd name="T14" fmla="*/ 190 w 318"/>
                <a:gd name="T15" fmla="*/ 189 h 331"/>
                <a:gd name="T16" fmla="*/ 155 w 318"/>
                <a:gd name="T17" fmla="*/ 202 h 331"/>
                <a:gd name="T18" fmla="*/ 169 w 318"/>
                <a:gd name="T19" fmla="*/ 215 h 331"/>
                <a:gd name="T20" fmla="*/ 161 w 318"/>
                <a:gd name="T21" fmla="*/ 226 h 331"/>
                <a:gd name="T22" fmla="*/ 136 w 318"/>
                <a:gd name="T23" fmla="*/ 207 h 331"/>
                <a:gd name="T24" fmla="*/ 107 w 318"/>
                <a:gd name="T25" fmla="*/ 224 h 331"/>
                <a:gd name="T26" fmla="*/ 112 w 318"/>
                <a:gd name="T27" fmla="*/ 250 h 331"/>
                <a:gd name="T28" fmla="*/ 75 w 318"/>
                <a:gd name="T29" fmla="*/ 270 h 331"/>
                <a:gd name="T30" fmla="*/ 81 w 318"/>
                <a:gd name="T31" fmla="*/ 298 h 331"/>
                <a:gd name="T32" fmla="*/ 41 w 318"/>
                <a:gd name="T33" fmla="*/ 286 h 331"/>
                <a:gd name="T34" fmla="*/ 41 w 318"/>
                <a:gd name="T35" fmla="*/ 331 h 331"/>
                <a:gd name="T36" fmla="*/ 0 w 318"/>
                <a:gd name="T37" fmla="*/ 330 h 331"/>
                <a:gd name="T38" fmla="*/ 1 w 318"/>
                <a:gd name="T39" fmla="*/ 280 h 331"/>
                <a:gd name="T40" fmla="*/ 20 w 318"/>
                <a:gd name="T41" fmla="*/ 285 h 331"/>
                <a:gd name="T42" fmla="*/ 36 w 318"/>
                <a:gd name="T43" fmla="*/ 255 h 331"/>
                <a:gd name="T44" fmla="*/ 0 w 318"/>
                <a:gd name="T45" fmla="*/ 210 h 331"/>
                <a:gd name="T46" fmla="*/ 41 w 318"/>
                <a:gd name="T47" fmla="*/ 162 h 331"/>
                <a:gd name="T48" fmla="*/ 67 w 318"/>
                <a:gd name="T49" fmla="*/ 131 h 331"/>
                <a:gd name="T50" fmla="*/ 110 w 318"/>
                <a:gd name="T51" fmla="*/ 146 h 331"/>
                <a:gd name="T52" fmla="*/ 124 w 318"/>
                <a:gd name="T53" fmla="*/ 104 h 331"/>
                <a:gd name="T54" fmla="*/ 153 w 318"/>
                <a:gd name="T55" fmla="*/ 88 h 331"/>
                <a:gd name="T56" fmla="*/ 99 w 318"/>
                <a:gd name="T57" fmla="*/ 31 h 331"/>
                <a:gd name="T58" fmla="*/ 145 w 318"/>
                <a:gd name="T59" fmla="*/ 24 h 331"/>
                <a:gd name="T60" fmla="*/ 158 w 318"/>
                <a:gd name="T61" fmla="*/ 37 h 331"/>
                <a:gd name="T62" fmla="*/ 184 w 318"/>
                <a:gd name="T63" fmla="*/ 26 h 331"/>
                <a:gd name="T64" fmla="*/ 182 w 318"/>
                <a:gd name="T65" fmla="*/ 10 h 331"/>
                <a:gd name="T66" fmla="*/ 224 w 318"/>
                <a:gd name="T67" fmla="*/ 0 h 331"/>
                <a:gd name="T68" fmla="*/ 259 w 318"/>
                <a:gd name="T69" fmla="*/ 82 h 331"/>
                <a:gd name="T70" fmla="*/ 318 w 318"/>
                <a:gd name="T71" fmla="*/ 123 h 331"/>
                <a:gd name="T72" fmla="*/ 318 w 318"/>
                <a:gd name="T73" fmla="*/ 136 h 331"/>
                <a:gd name="T74" fmla="*/ 318 w 318"/>
                <a:gd name="T75" fmla="*/ 136 h 331"/>
                <a:gd name="T76" fmla="*/ 318 w 318"/>
                <a:gd name="T77" fmla="*/ 13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331">
                  <a:moveTo>
                    <a:pt x="318" y="136"/>
                  </a:moveTo>
                  <a:lnTo>
                    <a:pt x="283" y="133"/>
                  </a:lnTo>
                  <a:lnTo>
                    <a:pt x="251" y="178"/>
                  </a:lnTo>
                  <a:lnTo>
                    <a:pt x="212" y="175"/>
                  </a:lnTo>
                  <a:lnTo>
                    <a:pt x="206" y="194"/>
                  </a:lnTo>
                  <a:lnTo>
                    <a:pt x="182" y="162"/>
                  </a:lnTo>
                  <a:lnTo>
                    <a:pt x="168" y="173"/>
                  </a:lnTo>
                  <a:lnTo>
                    <a:pt x="190" y="189"/>
                  </a:lnTo>
                  <a:lnTo>
                    <a:pt x="155" y="202"/>
                  </a:lnTo>
                  <a:lnTo>
                    <a:pt x="169" y="215"/>
                  </a:lnTo>
                  <a:lnTo>
                    <a:pt x="161" y="226"/>
                  </a:lnTo>
                  <a:lnTo>
                    <a:pt x="136" y="207"/>
                  </a:lnTo>
                  <a:lnTo>
                    <a:pt x="107" y="224"/>
                  </a:lnTo>
                  <a:lnTo>
                    <a:pt x="112" y="250"/>
                  </a:lnTo>
                  <a:lnTo>
                    <a:pt x="75" y="270"/>
                  </a:lnTo>
                  <a:lnTo>
                    <a:pt x="81" y="298"/>
                  </a:lnTo>
                  <a:lnTo>
                    <a:pt x="41" y="286"/>
                  </a:lnTo>
                  <a:lnTo>
                    <a:pt x="41" y="331"/>
                  </a:lnTo>
                  <a:lnTo>
                    <a:pt x="0" y="330"/>
                  </a:lnTo>
                  <a:lnTo>
                    <a:pt x="1" y="280"/>
                  </a:lnTo>
                  <a:lnTo>
                    <a:pt x="20" y="285"/>
                  </a:lnTo>
                  <a:lnTo>
                    <a:pt x="36" y="255"/>
                  </a:lnTo>
                  <a:lnTo>
                    <a:pt x="0" y="210"/>
                  </a:lnTo>
                  <a:lnTo>
                    <a:pt x="41" y="162"/>
                  </a:lnTo>
                  <a:lnTo>
                    <a:pt x="67" y="131"/>
                  </a:lnTo>
                  <a:lnTo>
                    <a:pt x="110" y="146"/>
                  </a:lnTo>
                  <a:lnTo>
                    <a:pt x="124" y="104"/>
                  </a:lnTo>
                  <a:lnTo>
                    <a:pt x="153" y="88"/>
                  </a:lnTo>
                  <a:lnTo>
                    <a:pt x="99" y="31"/>
                  </a:lnTo>
                  <a:lnTo>
                    <a:pt x="145" y="24"/>
                  </a:lnTo>
                  <a:lnTo>
                    <a:pt x="158" y="37"/>
                  </a:lnTo>
                  <a:lnTo>
                    <a:pt x="184" y="26"/>
                  </a:lnTo>
                  <a:lnTo>
                    <a:pt x="182" y="10"/>
                  </a:lnTo>
                  <a:lnTo>
                    <a:pt x="224" y="0"/>
                  </a:lnTo>
                  <a:lnTo>
                    <a:pt x="259" y="82"/>
                  </a:lnTo>
                  <a:lnTo>
                    <a:pt x="318" y="123"/>
                  </a:lnTo>
                  <a:lnTo>
                    <a:pt x="318" y="136"/>
                  </a:lnTo>
                  <a:lnTo>
                    <a:pt x="318" y="136"/>
                  </a:lnTo>
                  <a:lnTo>
                    <a:pt x="318" y="13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06" name="Freeform 264">
              <a:extLst>
                <a:ext uri="{FF2B5EF4-FFF2-40B4-BE49-F238E27FC236}">
                  <a16:creationId xmlns:a16="http://schemas.microsoft.com/office/drawing/2014/main" id="{B6BB0E38-3171-4B8F-82AB-5B9B436DB2D9}"/>
                </a:ext>
              </a:extLst>
            </p:cNvPr>
            <p:cNvSpPr>
              <a:spLocks/>
            </p:cNvSpPr>
            <p:nvPr/>
          </p:nvSpPr>
          <p:spPr bwMode="auto">
            <a:xfrm>
              <a:off x="8084722" y="4527332"/>
              <a:ext cx="512172" cy="426770"/>
            </a:xfrm>
            <a:custGeom>
              <a:avLst/>
              <a:gdLst>
                <a:gd name="T0" fmla="*/ 203 w 276"/>
                <a:gd name="T1" fmla="*/ 99 h 221"/>
                <a:gd name="T2" fmla="*/ 225 w 276"/>
                <a:gd name="T3" fmla="*/ 125 h 221"/>
                <a:gd name="T4" fmla="*/ 272 w 276"/>
                <a:gd name="T5" fmla="*/ 125 h 221"/>
                <a:gd name="T6" fmla="*/ 276 w 276"/>
                <a:gd name="T7" fmla="*/ 141 h 221"/>
                <a:gd name="T8" fmla="*/ 248 w 276"/>
                <a:gd name="T9" fmla="*/ 158 h 221"/>
                <a:gd name="T10" fmla="*/ 214 w 276"/>
                <a:gd name="T11" fmla="*/ 150 h 221"/>
                <a:gd name="T12" fmla="*/ 220 w 276"/>
                <a:gd name="T13" fmla="*/ 200 h 221"/>
                <a:gd name="T14" fmla="*/ 204 w 276"/>
                <a:gd name="T15" fmla="*/ 214 h 221"/>
                <a:gd name="T16" fmla="*/ 136 w 276"/>
                <a:gd name="T17" fmla="*/ 206 h 221"/>
                <a:gd name="T18" fmla="*/ 132 w 276"/>
                <a:gd name="T19" fmla="*/ 221 h 221"/>
                <a:gd name="T20" fmla="*/ 94 w 276"/>
                <a:gd name="T21" fmla="*/ 214 h 221"/>
                <a:gd name="T22" fmla="*/ 94 w 276"/>
                <a:gd name="T23" fmla="*/ 201 h 221"/>
                <a:gd name="T24" fmla="*/ 35 w 276"/>
                <a:gd name="T25" fmla="*/ 160 h 221"/>
                <a:gd name="T26" fmla="*/ 0 w 276"/>
                <a:gd name="T27" fmla="*/ 78 h 221"/>
                <a:gd name="T28" fmla="*/ 30 w 276"/>
                <a:gd name="T29" fmla="*/ 43 h 221"/>
                <a:gd name="T30" fmla="*/ 25 w 276"/>
                <a:gd name="T31" fmla="*/ 25 h 221"/>
                <a:gd name="T32" fmla="*/ 70 w 276"/>
                <a:gd name="T33" fmla="*/ 13 h 221"/>
                <a:gd name="T34" fmla="*/ 120 w 276"/>
                <a:gd name="T35" fmla="*/ 0 h 221"/>
                <a:gd name="T36" fmla="*/ 184 w 276"/>
                <a:gd name="T37" fmla="*/ 41 h 221"/>
                <a:gd name="T38" fmla="*/ 203 w 276"/>
                <a:gd name="T39" fmla="*/ 99 h 221"/>
                <a:gd name="T40" fmla="*/ 203 w 276"/>
                <a:gd name="T41" fmla="*/ 99 h 221"/>
                <a:gd name="T42" fmla="*/ 203 w 276"/>
                <a:gd name="T43" fmla="*/ 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6" h="221">
                  <a:moveTo>
                    <a:pt x="203" y="99"/>
                  </a:moveTo>
                  <a:lnTo>
                    <a:pt x="225" y="125"/>
                  </a:lnTo>
                  <a:lnTo>
                    <a:pt x="272" y="125"/>
                  </a:lnTo>
                  <a:lnTo>
                    <a:pt x="276" y="141"/>
                  </a:lnTo>
                  <a:lnTo>
                    <a:pt x="248" y="158"/>
                  </a:lnTo>
                  <a:lnTo>
                    <a:pt x="214" y="150"/>
                  </a:lnTo>
                  <a:lnTo>
                    <a:pt x="220" y="200"/>
                  </a:lnTo>
                  <a:lnTo>
                    <a:pt x="204" y="214"/>
                  </a:lnTo>
                  <a:lnTo>
                    <a:pt x="136" y="206"/>
                  </a:lnTo>
                  <a:lnTo>
                    <a:pt x="132" y="221"/>
                  </a:lnTo>
                  <a:lnTo>
                    <a:pt x="94" y="214"/>
                  </a:lnTo>
                  <a:lnTo>
                    <a:pt x="94" y="201"/>
                  </a:lnTo>
                  <a:lnTo>
                    <a:pt x="35" y="160"/>
                  </a:lnTo>
                  <a:lnTo>
                    <a:pt x="0" y="78"/>
                  </a:lnTo>
                  <a:lnTo>
                    <a:pt x="30" y="43"/>
                  </a:lnTo>
                  <a:lnTo>
                    <a:pt x="25" y="25"/>
                  </a:lnTo>
                  <a:lnTo>
                    <a:pt x="70" y="13"/>
                  </a:lnTo>
                  <a:lnTo>
                    <a:pt x="120" y="0"/>
                  </a:lnTo>
                  <a:lnTo>
                    <a:pt x="184" y="41"/>
                  </a:lnTo>
                  <a:lnTo>
                    <a:pt x="203" y="99"/>
                  </a:lnTo>
                  <a:lnTo>
                    <a:pt x="203" y="99"/>
                  </a:lnTo>
                  <a:lnTo>
                    <a:pt x="203" y="9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07" name="Freeform 265">
              <a:extLst>
                <a:ext uri="{FF2B5EF4-FFF2-40B4-BE49-F238E27FC236}">
                  <a16:creationId xmlns:a16="http://schemas.microsoft.com/office/drawing/2014/main" id="{3213C9F3-BF5B-49BE-AFAF-BE270700673C}"/>
                </a:ext>
              </a:extLst>
            </p:cNvPr>
            <p:cNvSpPr>
              <a:spLocks/>
            </p:cNvSpPr>
            <p:nvPr/>
          </p:nvSpPr>
          <p:spPr bwMode="auto">
            <a:xfrm>
              <a:off x="7470488" y="4214497"/>
              <a:ext cx="452789" cy="415184"/>
            </a:xfrm>
            <a:custGeom>
              <a:avLst/>
              <a:gdLst>
                <a:gd name="T0" fmla="*/ 87 w 244"/>
                <a:gd name="T1" fmla="*/ 0 h 215"/>
                <a:gd name="T2" fmla="*/ 103 w 244"/>
                <a:gd name="T3" fmla="*/ 31 h 215"/>
                <a:gd name="T4" fmla="*/ 190 w 244"/>
                <a:gd name="T5" fmla="*/ 23 h 215"/>
                <a:gd name="T6" fmla="*/ 193 w 244"/>
                <a:gd name="T7" fmla="*/ 48 h 215"/>
                <a:gd name="T8" fmla="*/ 220 w 244"/>
                <a:gd name="T9" fmla="*/ 37 h 215"/>
                <a:gd name="T10" fmla="*/ 244 w 244"/>
                <a:gd name="T11" fmla="*/ 53 h 215"/>
                <a:gd name="T12" fmla="*/ 223 w 244"/>
                <a:gd name="T13" fmla="*/ 68 h 215"/>
                <a:gd name="T14" fmla="*/ 238 w 244"/>
                <a:gd name="T15" fmla="*/ 112 h 215"/>
                <a:gd name="T16" fmla="*/ 204 w 244"/>
                <a:gd name="T17" fmla="*/ 112 h 215"/>
                <a:gd name="T18" fmla="*/ 198 w 244"/>
                <a:gd name="T19" fmla="*/ 125 h 215"/>
                <a:gd name="T20" fmla="*/ 212 w 244"/>
                <a:gd name="T21" fmla="*/ 136 h 215"/>
                <a:gd name="T22" fmla="*/ 196 w 244"/>
                <a:gd name="T23" fmla="*/ 178 h 215"/>
                <a:gd name="T24" fmla="*/ 182 w 244"/>
                <a:gd name="T25" fmla="*/ 173 h 215"/>
                <a:gd name="T26" fmla="*/ 169 w 244"/>
                <a:gd name="T27" fmla="*/ 195 h 215"/>
                <a:gd name="T28" fmla="*/ 156 w 244"/>
                <a:gd name="T29" fmla="*/ 203 h 215"/>
                <a:gd name="T30" fmla="*/ 145 w 244"/>
                <a:gd name="T31" fmla="*/ 194 h 215"/>
                <a:gd name="T32" fmla="*/ 36 w 244"/>
                <a:gd name="T33" fmla="*/ 215 h 215"/>
                <a:gd name="T34" fmla="*/ 48 w 244"/>
                <a:gd name="T35" fmla="*/ 176 h 215"/>
                <a:gd name="T36" fmla="*/ 0 w 244"/>
                <a:gd name="T37" fmla="*/ 165 h 215"/>
                <a:gd name="T38" fmla="*/ 0 w 244"/>
                <a:gd name="T39" fmla="*/ 147 h 215"/>
                <a:gd name="T40" fmla="*/ 19 w 244"/>
                <a:gd name="T41" fmla="*/ 133 h 215"/>
                <a:gd name="T42" fmla="*/ 9 w 244"/>
                <a:gd name="T43" fmla="*/ 112 h 215"/>
                <a:gd name="T44" fmla="*/ 27 w 244"/>
                <a:gd name="T45" fmla="*/ 107 h 215"/>
                <a:gd name="T46" fmla="*/ 24 w 244"/>
                <a:gd name="T47" fmla="*/ 71 h 215"/>
                <a:gd name="T48" fmla="*/ 65 w 244"/>
                <a:gd name="T49" fmla="*/ 32 h 215"/>
                <a:gd name="T50" fmla="*/ 48 w 244"/>
                <a:gd name="T51" fmla="*/ 16 h 215"/>
                <a:gd name="T52" fmla="*/ 87 w 244"/>
                <a:gd name="T53"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4" h="215">
                  <a:moveTo>
                    <a:pt x="87" y="0"/>
                  </a:moveTo>
                  <a:lnTo>
                    <a:pt x="103" y="31"/>
                  </a:lnTo>
                  <a:lnTo>
                    <a:pt x="190" y="23"/>
                  </a:lnTo>
                  <a:lnTo>
                    <a:pt x="193" y="48"/>
                  </a:lnTo>
                  <a:lnTo>
                    <a:pt x="220" y="37"/>
                  </a:lnTo>
                  <a:lnTo>
                    <a:pt x="244" y="53"/>
                  </a:lnTo>
                  <a:lnTo>
                    <a:pt x="223" y="68"/>
                  </a:lnTo>
                  <a:lnTo>
                    <a:pt x="238" y="112"/>
                  </a:lnTo>
                  <a:lnTo>
                    <a:pt x="204" y="112"/>
                  </a:lnTo>
                  <a:lnTo>
                    <a:pt x="198" y="125"/>
                  </a:lnTo>
                  <a:lnTo>
                    <a:pt x="212" y="136"/>
                  </a:lnTo>
                  <a:lnTo>
                    <a:pt x="196" y="178"/>
                  </a:lnTo>
                  <a:lnTo>
                    <a:pt x="182" y="173"/>
                  </a:lnTo>
                  <a:lnTo>
                    <a:pt x="169" y="195"/>
                  </a:lnTo>
                  <a:lnTo>
                    <a:pt x="156" y="203"/>
                  </a:lnTo>
                  <a:lnTo>
                    <a:pt x="145" y="194"/>
                  </a:lnTo>
                  <a:lnTo>
                    <a:pt x="36" y="215"/>
                  </a:lnTo>
                  <a:lnTo>
                    <a:pt x="48" y="176"/>
                  </a:lnTo>
                  <a:lnTo>
                    <a:pt x="0" y="165"/>
                  </a:lnTo>
                  <a:lnTo>
                    <a:pt x="0" y="147"/>
                  </a:lnTo>
                  <a:lnTo>
                    <a:pt x="19" y="133"/>
                  </a:lnTo>
                  <a:lnTo>
                    <a:pt x="9" y="112"/>
                  </a:lnTo>
                  <a:lnTo>
                    <a:pt x="27" y="107"/>
                  </a:lnTo>
                  <a:lnTo>
                    <a:pt x="24" y="71"/>
                  </a:lnTo>
                  <a:lnTo>
                    <a:pt x="65" y="32"/>
                  </a:lnTo>
                  <a:lnTo>
                    <a:pt x="48" y="16"/>
                  </a:lnTo>
                  <a:lnTo>
                    <a:pt x="87"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FFFFFF"/>
                </a:solidFill>
              </a:endParaRPr>
            </a:p>
          </p:txBody>
        </p:sp>
        <p:sp>
          <p:nvSpPr>
            <p:cNvPr id="108" name="Freeform 272">
              <a:extLst>
                <a:ext uri="{FF2B5EF4-FFF2-40B4-BE49-F238E27FC236}">
                  <a16:creationId xmlns:a16="http://schemas.microsoft.com/office/drawing/2014/main" id="{477F9191-A329-400B-99E1-312A9C4B4AB9}"/>
                </a:ext>
              </a:extLst>
            </p:cNvPr>
            <p:cNvSpPr>
              <a:spLocks/>
            </p:cNvSpPr>
            <p:nvPr/>
          </p:nvSpPr>
          <p:spPr bwMode="auto">
            <a:xfrm>
              <a:off x="6436874" y="2756530"/>
              <a:ext cx="64948" cy="65658"/>
            </a:xfrm>
            <a:custGeom>
              <a:avLst/>
              <a:gdLst>
                <a:gd name="T0" fmla="*/ 0 w 35"/>
                <a:gd name="T1" fmla="*/ 0 h 34"/>
                <a:gd name="T2" fmla="*/ 1 w 35"/>
                <a:gd name="T3" fmla="*/ 28 h 34"/>
                <a:gd name="T4" fmla="*/ 30 w 35"/>
                <a:gd name="T5" fmla="*/ 34 h 34"/>
                <a:gd name="T6" fmla="*/ 35 w 35"/>
                <a:gd name="T7" fmla="*/ 26 h 34"/>
                <a:gd name="T8" fmla="*/ 0 w 35"/>
                <a:gd name="T9" fmla="*/ 0 h 34"/>
              </a:gdLst>
              <a:ahLst/>
              <a:cxnLst>
                <a:cxn ang="0">
                  <a:pos x="T0" y="T1"/>
                </a:cxn>
                <a:cxn ang="0">
                  <a:pos x="T2" y="T3"/>
                </a:cxn>
                <a:cxn ang="0">
                  <a:pos x="T4" y="T5"/>
                </a:cxn>
                <a:cxn ang="0">
                  <a:pos x="T6" y="T7"/>
                </a:cxn>
                <a:cxn ang="0">
                  <a:pos x="T8" y="T9"/>
                </a:cxn>
              </a:cxnLst>
              <a:rect l="0" t="0" r="r" b="b"/>
              <a:pathLst>
                <a:path w="35" h="34">
                  <a:moveTo>
                    <a:pt x="0" y="0"/>
                  </a:moveTo>
                  <a:lnTo>
                    <a:pt x="1" y="28"/>
                  </a:lnTo>
                  <a:lnTo>
                    <a:pt x="30" y="34"/>
                  </a:lnTo>
                  <a:lnTo>
                    <a:pt x="35" y="26"/>
                  </a:lnTo>
                  <a:lnTo>
                    <a:pt x="0" y="0"/>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9" name="Freeform 297">
              <a:extLst>
                <a:ext uri="{FF2B5EF4-FFF2-40B4-BE49-F238E27FC236}">
                  <a16:creationId xmlns:a16="http://schemas.microsoft.com/office/drawing/2014/main" id="{41E36DD9-FA17-41D7-A4D8-CF069C54A973}"/>
                </a:ext>
              </a:extLst>
            </p:cNvPr>
            <p:cNvSpPr>
              <a:spLocks/>
            </p:cNvSpPr>
            <p:nvPr/>
          </p:nvSpPr>
          <p:spPr bwMode="auto">
            <a:xfrm>
              <a:off x="9302045" y="4388287"/>
              <a:ext cx="70515" cy="73379"/>
            </a:xfrm>
            <a:custGeom>
              <a:avLst/>
              <a:gdLst>
                <a:gd name="T0" fmla="*/ 22 w 38"/>
                <a:gd name="T1" fmla="*/ 38 h 38"/>
                <a:gd name="T2" fmla="*/ 38 w 38"/>
                <a:gd name="T3" fmla="*/ 13 h 38"/>
                <a:gd name="T4" fmla="*/ 17 w 38"/>
                <a:gd name="T5" fmla="*/ 0 h 38"/>
                <a:gd name="T6" fmla="*/ 0 w 38"/>
                <a:gd name="T7" fmla="*/ 22 h 38"/>
                <a:gd name="T8" fmla="*/ 22 w 38"/>
                <a:gd name="T9" fmla="*/ 38 h 38"/>
              </a:gdLst>
              <a:ahLst/>
              <a:cxnLst>
                <a:cxn ang="0">
                  <a:pos x="T0" y="T1"/>
                </a:cxn>
                <a:cxn ang="0">
                  <a:pos x="T2" y="T3"/>
                </a:cxn>
                <a:cxn ang="0">
                  <a:pos x="T4" y="T5"/>
                </a:cxn>
                <a:cxn ang="0">
                  <a:pos x="T6" y="T7"/>
                </a:cxn>
                <a:cxn ang="0">
                  <a:pos x="T8" y="T9"/>
                </a:cxn>
              </a:cxnLst>
              <a:rect l="0" t="0" r="r" b="b"/>
              <a:pathLst>
                <a:path w="38" h="38">
                  <a:moveTo>
                    <a:pt x="22" y="38"/>
                  </a:moveTo>
                  <a:lnTo>
                    <a:pt x="38" y="13"/>
                  </a:lnTo>
                  <a:lnTo>
                    <a:pt x="17" y="0"/>
                  </a:lnTo>
                  <a:lnTo>
                    <a:pt x="0" y="22"/>
                  </a:lnTo>
                  <a:lnTo>
                    <a:pt x="22" y="38"/>
                  </a:lnTo>
                  <a:close/>
                </a:path>
              </a:pathLst>
            </a:custGeom>
            <a:solidFill>
              <a:srgbClr val="C1B5B8"/>
            </a:solidFill>
            <a:ln w="9525" cap="flat">
              <a:solidFill>
                <a:srgbClr val="D9D9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10150023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0" name="Group 52"/>
          <p:cNvGrpSpPr>
            <a:grpSpLocks noChangeAspect="1"/>
          </p:cNvGrpSpPr>
          <p:nvPr/>
        </p:nvGrpSpPr>
        <p:grpSpPr bwMode="auto">
          <a:xfrm>
            <a:off x="4329643" y="1154585"/>
            <a:ext cx="3532714" cy="4548830"/>
            <a:chOff x="192" y="1000"/>
            <a:chExt cx="2323" cy="2992"/>
          </a:xfrm>
          <a:solidFill>
            <a:schemeClr val="accent3"/>
          </a:solidFill>
        </p:grpSpPr>
        <p:sp>
          <p:nvSpPr>
            <p:cNvPr id="171" name="Freeform 53"/>
            <p:cNvSpPr>
              <a:spLocks/>
            </p:cNvSpPr>
            <p:nvPr/>
          </p:nvSpPr>
          <p:spPr bwMode="auto">
            <a:xfrm>
              <a:off x="977" y="1848"/>
              <a:ext cx="20" cy="38"/>
            </a:xfrm>
            <a:custGeom>
              <a:avLst/>
              <a:gdLst>
                <a:gd name="T0" fmla="*/ 3 w 24"/>
                <a:gd name="T1" fmla="*/ 0 h 44"/>
                <a:gd name="T2" fmla="*/ 3 w 24"/>
                <a:gd name="T3" fmla="*/ 4 h 44"/>
                <a:gd name="T4" fmla="*/ 0 w 24"/>
                <a:gd name="T5" fmla="*/ 6 h 44"/>
                <a:gd name="T6" fmla="*/ 3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72" name="Freeform 54"/>
            <p:cNvSpPr>
              <a:spLocks/>
            </p:cNvSpPr>
            <p:nvPr/>
          </p:nvSpPr>
          <p:spPr bwMode="auto">
            <a:xfrm>
              <a:off x="856" y="1580"/>
              <a:ext cx="21" cy="38"/>
            </a:xfrm>
            <a:custGeom>
              <a:avLst/>
              <a:gdLst>
                <a:gd name="T0" fmla="*/ 4 w 24"/>
                <a:gd name="T1" fmla="*/ 0 h 44"/>
                <a:gd name="T2" fmla="*/ 4 w 24"/>
                <a:gd name="T3" fmla="*/ 4 h 44"/>
                <a:gd name="T4" fmla="*/ 0 w 24"/>
                <a:gd name="T5" fmla="*/ 6 h 44"/>
                <a:gd name="T6" fmla="*/ 4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73" name="Freeform 55"/>
            <p:cNvSpPr>
              <a:spLocks/>
            </p:cNvSpPr>
            <p:nvPr/>
          </p:nvSpPr>
          <p:spPr bwMode="auto">
            <a:xfrm>
              <a:off x="1193" y="2909"/>
              <a:ext cx="496" cy="632"/>
            </a:xfrm>
            <a:custGeom>
              <a:avLst/>
              <a:gdLst>
                <a:gd name="T0" fmla="*/ 54 w 576"/>
                <a:gd name="T1" fmla="*/ 0 h 735"/>
                <a:gd name="T2" fmla="*/ 49 w 576"/>
                <a:gd name="T3" fmla="*/ 3 h 735"/>
                <a:gd name="T4" fmla="*/ 42 w 576"/>
                <a:gd name="T5" fmla="*/ 3 h 735"/>
                <a:gd name="T6" fmla="*/ 38 w 576"/>
                <a:gd name="T7" fmla="*/ 5 h 735"/>
                <a:gd name="T8" fmla="*/ 34 w 576"/>
                <a:gd name="T9" fmla="*/ 4 h 735"/>
                <a:gd name="T10" fmla="*/ 28 w 576"/>
                <a:gd name="T11" fmla="*/ 11 h 735"/>
                <a:gd name="T12" fmla="*/ 23 w 576"/>
                <a:gd name="T13" fmla="*/ 13 h 735"/>
                <a:gd name="T14" fmla="*/ 14 w 576"/>
                <a:gd name="T15" fmla="*/ 25 h 735"/>
                <a:gd name="T16" fmla="*/ 19 w 576"/>
                <a:gd name="T17" fmla="*/ 25 h 735"/>
                <a:gd name="T18" fmla="*/ 22 w 576"/>
                <a:gd name="T19" fmla="*/ 25 h 735"/>
                <a:gd name="T20" fmla="*/ 26 w 576"/>
                <a:gd name="T21" fmla="*/ 21 h 735"/>
                <a:gd name="T22" fmla="*/ 31 w 576"/>
                <a:gd name="T23" fmla="*/ 21 h 735"/>
                <a:gd name="T24" fmla="*/ 31 w 576"/>
                <a:gd name="T25" fmla="*/ 27 h 735"/>
                <a:gd name="T26" fmla="*/ 34 w 576"/>
                <a:gd name="T27" fmla="*/ 33 h 735"/>
                <a:gd name="T28" fmla="*/ 34 w 576"/>
                <a:gd name="T29" fmla="*/ 39 h 735"/>
                <a:gd name="T30" fmla="*/ 29 w 576"/>
                <a:gd name="T31" fmla="*/ 45 h 735"/>
                <a:gd name="T32" fmla="*/ 25 w 576"/>
                <a:gd name="T33" fmla="*/ 51 h 735"/>
                <a:gd name="T34" fmla="*/ 16 w 576"/>
                <a:gd name="T35" fmla="*/ 54 h 735"/>
                <a:gd name="T36" fmla="*/ 13 w 576"/>
                <a:gd name="T37" fmla="*/ 59 h 735"/>
                <a:gd name="T38" fmla="*/ 8 w 576"/>
                <a:gd name="T39" fmla="*/ 58 h 735"/>
                <a:gd name="T40" fmla="*/ 4 w 576"/>
                <a:gd name="T41" fmla="*/ 58 h 735"/>
                <a:gd name="T42" fmla="*/ 3 w 576"/>
                <a:gd name="T43" fmla="*/ 65 h 735"/>
                <a:gd name="T44" fmla="*/ 0 w 576"/>
                <a:gd name="T45" fmla="*/ 68 h 735"/>
                <a:gd name="T46" fmla="*/ 4 w 576"/>
                <a:gd name="T47" fmla="*/ 68 h 735"/>
                <a:gd name="T48" fmla="*/ 3 w 576"/>
                <a:gd name="T49" fmla="*/ 71 h 735"/>
                <a:gd name="T50" fmla="*/ 3 w 576"/>
                <a:gd name="T51" fmla="*/ 75 h 735"/>
                <a:gd name="T52" fmla="*/ 9 w 576"/>
                <a:gd name="T53" fmla="*/ 72 h 735"/>
                <a:gd name="T54" fmla="*/ 7 w 576"/>
                <a:gd name="T55" fmla="*/ 82 h 735"/>
                <a:gd name="T56" fmla="*/ 14 w 576"/>
                <a:gd name="T57" fmla="*/ 80 h 735"/>
                <a:gd name="T58" fmla="*/ 17 w 576"/>
                <a:gd name="T59" fmla="*/ 72 h 735"/>
                <a:gd name="T60" fmla="*/ 25 w 576"/>
                <a:gd name="T61" fmla="*/ 69 h 735"/>
                <a:gd name="T62" fmla="*/ 25 w 576"/>
                <a:gd name="T63" fmla="*/ 75 h 735"/>
                <a:gd name="T64" fmla="*/ 29 w 576"/>
                <a:gd name="T65" fmla="*/ 76 h 735"/>
                <a:gd name="T66" fmla="*/ 29 w 576"/>
                <a:gd name="T67" fmla="*/ 85 h 735"/>
                <a:gd name="T68" fmla="*/ 42 w 576"/>
                <a:gd name="T69" fmla="*/ 89 h 735"/>
                <a:gd name="T70" fmla="*/ 51 w 576"/>
                <a:gd name="T71" fmla="*/ 89 h 735"/>
                <a:gd name="T72" fmla="*/ 60 w 576"/>
                <a:gd name="T73" fmla="*/ 85 h 735"/>
                <a:gd name="T74" fmla="*/ 65 w 576"/>
                <a:gd name="T75" fmla="*/ 80 h 735"/>
                <a:gd name="T76" fmla="*/ 71 w 576"/>
                <a:gd name="T77" fmla="*/ 77 h 735"/>
                <a:gd name="T78" fmla="*/ 66 w 576"/>
                <a:gd name="T79" fmla="*/ 68 h 735"/>
                <a:gd name="T80" fmla="*/ 66 w 576"/>
                <a:gd name="T81" fmla="*/ 61 h 735"/>
                <a:gd name="T82" fmla="*/ 61 w 576"/>
                <a:gd name="T83" fmla="*/ 59 h 735"/>
                <a:gd name="T84" fmla="*/ 59 w 576"/>
                <a:gd name="T85" fmla="*/ 43 h 735"/>
                <a:gd name="T86" fmla="*/ 62 w 576"/>
                <a:gd name="T87" fmla="*/ 36 h 735"/>
                <a:gd name="T88" fmla="*/ 63 w 576"/>
                <a:gd name="T89" fmla="*/ 9 h 735"/>
                <a:gd name="T90" fmla="*/ 54 w 576"/>
                <a:gd name="T91" fmla="*/ 0 h 7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76"/>
                <a:gd name="T139" fmla="*/ 0 h 735"/>
                <a:gd name="T140" fmla="*/ 576 w 576"/>
                <a:gd name="T141" fmla="*/ 735 h 73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76" h="735">
                  <a:moveTo>
                    <a:pt x="440" y="0"/>
                  </a:moveTo>
                  <a:lnTo>
                    <a:pt x="405" y="14"/>
                  </a:lnTo>
                  <a:lnTo>
                    <a:pt x="340" y="15"/>
                  </a:lnTo>
                  <a:lnTo>
                    <a:pt x="304" y="43"/>
                  </a:lnTo>
                  <a:lnTo>
                    <a:pt x="268" y="35"/>
                  </a:lnTo>
                  <a:lnTo>
                    <a:pt x="224" y="99"/>
                  </a:lnTo>
                  <a:lnTo>
                    <a:pt x="192" y="107"/>
                  </a:lnTo>
                  <a:lnTo>
                    <a:pt x="108" y="203"/>
                  </a:lnTo>
                  <a:lnTo>
                    <a:pt x="148" y="203"/>
                  </a:lnTo>
                  <a:lnTo>
                    <a:pt x="172" y="211"/>
                  </a:lnTo>
                  <a:lnTo>
                    <a:pt x="212" y="183"/>
                  </a:lnTo>
                  <a:lnTo>
                    <a:pt x="252" y="175"/>
                  </a:lnTo>
                  <a:lnTo>
                    <a:pt x="252" y="223"/>
                  </a:lnTo>
                  <a:lnTo>
                    <a:pt x="268" y="267"/>
                  </a:lnTo>
                  <a:lnTo>
                    <a:pt x="268" y="319"/>
                  </a:lnTo>
                  <a:lnTo>
                    <a:pt x="240" y="371"/>
                  </a:lnTo>
                  <a:lnTo>
                    <a:pt x="204" y="419"/>
                  </a:lnTo>
                  <a:lnTo>
                    <a:pt x="136" y="447"/>
                  </a:lnTo>
                  <a:lnTo>
                    <a:pt x="104" y="487"/>
                  </a:lnTo>
                  <a:lnTo>
                    <a:pt x="60" y="479"/>
                  </a:lnTo>
                  <a:lnTo>
                    <a:pt x="32" y="479"/>
                  </a:lnTo>
                  <a:lnTo>
                    <a:pt x="8" y="535"/>
                  </a:lnTo>
                  <a:lnTo>
                    <a:pt x="0" y="563"/>
                  </a:lnTo>
                  <a:lnTo>
                    <a:pt x="36" y="559"/>
                  </a:lnTo>
                  <a:lnTo>
                    <a:pt x="12" y="587"/>
                  </a:lnTo>
                  <a:lnTo>
                    <a:pt x="12" y="615"/>
                  </a:lnTo>
                  <a:lnTo>
                    <a:pt x="72" y="603"/>
                  </a:lnTo>
                  <a:lnTo>
                    <a:pt x="52" y="679"/>
                  </a:lnTo>
                  <a:lnTo>
                    <a:pt x="116" y="667"/>
                  </a:lnTo>
                  <a:lnTo>
                    <a:pt x="140" y="603"/>
                  </a:lnTo>
                  <a:lnTo>
                    <a:pt x="204" y="571"/>
                  </a:lnTo>
                  <a:lnTo>
                    <a:pt x="208" y="615"/>
                  </a:lnTo>
                  <a:lnTo>
                    <a:pt x="236" y="623"/>
                  </a:lnTo>
                  <a:lnTo>
                    <a:pt x="244" y="707"/>
                  </a:lnTo>
                  <a:lnTo>
                    <a:pt x="344" y="731"/>
                  </a:lnTo>
                  <a:lnTo>
                    <a:pt x="412" y="735"/>
                  </a:lnTo>
                  <a:lnTo>
                    <a:pt x="488" y="707"/>
                  </a:lnTo>
                  <a:lnTo>
                    <a:pt x="524" y="667"/>
                  </a:lnTo>
                  <a:lnTo>
                    <a:pt x="576" y="631"/>
                  </a:lnTo>
                  <a:lnTo>
                    <a:pt x="542" y="560"/>
                  </a:lnTo>
                  <a:lnTo>
                    <a:pt x="540" y="510"/>
                  </a:lnTo>
                  <a:lnTo>
                    <a:pt x="489" y="492"/>
                  </a:lnTo>
                  <a:lnTo>
                    <a:pt x="483" y="351"/>
                  </a:lnTo>
                  <a:lnTo>
                    <a:pt x="506" y="297"/>
                  </a:lnTo>
                  <a:lnTo>
                    <a:pt x="510" y="77"/>
                  </a:lnTo>
                  <a:lnTo>
                    <a:pt x="440" y="0"/>
                  </a:lnTo>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74" name="Freeform 56"/>
            <p:cNvSpPr>
              <a:spLocks/>
            </p:cNvSpPr>
            <p:nvPr/>
          </p:nvSpPr>
          <p:spPr bwMode="auto">
            <a:xfrm>
              <a:off x="1927" y="3724"/>
              <a:ext cx="89" cy="62"/>
            </a:xfrm>
            <a:custGeom>
              <a:avLst/>
              <a:gdLst>
                <a:gd name="T0" fmla="*/ 7 w 104"/>
                <a:gd name="T1" fmla="*/ 0 h 72"/>
                <a:gd name="T2" fmla="*/ 12 w 104"/>
                <a:gd name="T3" fmla="*/ 3 h 72"/>
                <a:gd name="T4" fmla="*/ 7 w 104"/>
                <a:gd name="T5" fmla="*/ 9 h 72"/>
                <a:gd name="T6" fmla="*/ 3 w 104"/>
                <a:gd name="T7" fmla="*/ 6 h 72"/>
                <a:gd name="T8" fmla="*/ 0 w 104"/>
                <a:gd name="T9" fmla="*/ 4 h 72"/>
                <a:gd name="T10" fmla="*/ 7 w 104"/>
                <a:gd name="T11" fmla="*/ 0 h 72"/>
                <a:gd name="T12" fmla="*/ 0 60000 65536"/>
                <a:gd name="T13" fmla="*/ 0 60000 65536"/>
                <a:gd name="T14" fmla="*/ 0 60000 65536"/>
                <a:gd name="T15" fmla="*/ 0 60000 65536"/>
                <a:gd name="T16" fmla="*/ 0 60000 65536"/>
                <a:gd name="T17" fmla="*/ 0 60000 65536"/>
                <a:gd name="T18" fmla="*/ 0 w 104"/>
                <a:gd name="T19" fmla="*/ 0 h 72"/>
                <a:gd name="T20" fmla="*/ 104 w 10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104" h="72">
                  <a:moveTo>
                    <a:pt x="56" y="0"/>
                  </a:moveTo>
                  <a:lnTo>
                    <a:pt x="104" y="16"/>
                  </a:lnTo>
                  <a:lnTo>
                    <a:pt x="64" y="72"/>
                  </a:lnTo>
                  <a:lnTo>
                    <a:pt x="24" y="48"/>
                  </a:lnTo>
                  <a:lnTo>
                    <a:pt x="0" y="36"/>
                  </a:lnTo>
                  <a:lnTo>
                    <a:pt x="56"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75" name="Freeform 57"/>
            <p:cNvSpPr>
              <a:spLocks/>
            </p:cNvSpPr>
            <p:nvPr/>
          </p:nvSpPr>
          <p:spPr bwMode="auto">
            <a:xfrm>
              <a:off x="1314" y="2887"/>
              <a:ext cx="103" cy="97"/>
            </a:xfrm>
            <a:custGeom>
              <a:avLst/>
              <a:gdLst>
                <a:gd name="T0" fmla="*/ 6 w 120"/>
                <a:gd name="T1" fmla="*/ 3 h 112"/>
                <a:gd name="T2" fmla="*/ 11 w 120"/>
                <a:gd name="T3" fmla="*/ 5 h 112"/>
                <a:gd name="T4" fmla="*/ 14 w 120"/>
                <a:gd name="T5" fmla="*/ 7 h 112"/>
                <a:gd name="T6" fmla="*/ 11 w 120"/>
                <a:gd name="T7" fmla="*/ 10 h 112"/>
                <a:gd name="T8" fmla="*/ 8 w 120"/>
                <a:gd name="T9" fmla="*/ 11 h 112"/>
                <a:gd name="T10" fmla="*/ 6 w 120"/>
                <a:gd name="T11" fmla="*/ 15 h 112"/>
                <a:gd name="T12" fmla="*/ 3 w 120"/>
                <a:gd name="T13" fmla="*/ 13 h 112"/>
                <a:gd name="T14" fmla="*/ 3 w 120"/>
                <a:gd name="T15" fmla="*/ 9 h 112"/>
                <a:gd name="T16" fmla="*/ 0 w 120"/>
                <a:gd name="T17" fmla="*/ 5 h 112"/>
                <a:gd name="T18" fmla="*/ 3 w 120"/>
                <a:gd name="T19" fmla="*/ 0 h 112"/>
                <a:gd name="T20" fmla="*/ 6 w 120"/>
                <a:gd name="T21" fmla="*/ 3 h 1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
                <a:gd name="T34" fmla="*/ 0 h 112"/>
                <a:gd name="T35" fmla="*/ 120 w 120"/>
                <a:gd name="T36" fmla="*/ 112 h 1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 h="112">
                  <a:moveTo>
                    <a:pt x="52" y="4"/>
                  </a:moveTo>
                  <a:lnTo>
                    <a:pt x="96" y="36"/>
                  </a:lnTo>
                  <a:lnTo>
                    <a:pt x="120" y="52"/>
                  </a:lnTo>
                  <a:lnTo>
                    <a:pt x="100" y="76"/>
                  </a:lnTo>
                  <a:lnTo>
                    <a:pt x="72" y="88"/>
                  </a:lnTo>
                  <a:lnTo>
                    <a:pt x="48" y="112"/>
                  </a:lnTo>
                  <a:lnTo>
                    <a:pt x="24" y="100"/>
                  </a:lnTo>
                  <a:lnTo>
                    <a:pt x="24" y="68"/>
                  </a:lnTo>
                  <a:lnTo>
                    <a:pt x="0" y="36"/>
                  </a:lnTo>
                  <a:lnTo>
                    <a:pt x="16" y="0"/>
                  </a:lnTo>
                  <a:lnTo>
                    <a:pt x="52" y="4"/>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76" name="Freeform 58"/>
            <p:cNvSpPr>
              <a:spLocks/>
            </p:cNvSpPr>
            <p:nvPr/>
          </p:nvSpPr>
          <p:spPr bwMode="auto">
            <a:xfrm>
              <a:off x="670" y="2295"/>
              <a:ext cx="467" cy="409"/>
            </a:xfrm>
            <a:custGeom>
              <a:avLst/>
              <a:gdLst>
                <a:gd name="T0" fmla="*/ 28 w 543"/>
                <a:gd name="T1" fmla="*/ 7 h 476"/>
                <a:gd name="T2" fmla="*/ 32 w 543"/>
                <a:gd name="T3" fmla="*/ 3 h 476"/>
                <a:gd name="T4" fmla="*/ 39 w 543"/>
                <a:gd name="T5" fmla="*/ 3 h 476"/>
                <a:gd name="T6" fmla="*/ 49 w 543"/>
                <a:gd name="T7" fmla="*/ 0 h 476"/>
                <a:gd name="T8" fmla="*/ 53 w 543"/>
                <a:gd name="T9" fmla="*/ 3 h 476"/>
                <a:gd name="T10" fmla="*/ 57 w 543"/>
                <a:gd name="T11" fmla="*/ 11 h 476"/>
                <a:gd name="T12" fmla="*/ 62 w 543"/>
                <a:gd name="T13" fmla="*/ 17 h 476"/>
                <a:gd name="T14" fmla="*/ 62 w 543"/>
                <a:gd name="T15" fmla="*/ 21 h 476"/>
                <a:gd name="T16" fmla="*/ 61 w 543"/>
                <a:gd name="T17" fmla="*/ 27 h 476"/>
                <a:gd name="T18" fmla="*/ 63 w 543"/>
                <a:gd name="T19" fmla="*/ 29 h 476"/>
                <a:gd name="T20" fmla="*/ 62 w 543"/>
                <a:gd name="T21" fmla="*/ 39 h 476"/>
                <a:gd name="T22" fmla="*/ 66 w 543"/>
                <a:gd name="T23" fmla="*/ 40 h 476"/>
                <a:gd name="T24" fmla="*/ 65 w 543"/>
                <a:gd name="T25" fmla="*/ 47 h 476"/>
                <a:gd name="T26" fmla="*/ 61 w 543"/>
                <a:gd name="T27" fmla="*/ 47 h 476"/>
                <a:gd name="T28" fmla="*/ 57 w 543"/>
                <a:gd name="T29" fmla="*/ 55 h 476"/>
                <a:gd name="T30" fmla="*/ 52 w 543"/>
                <a:gd name="T31" fmla="*/ 57 h 476"/>
                <a:gd name="T32" fmla="*/ 51 w 543"/>
                <a:gd name="T33" fmla="*/ 52 h 476"/>
                <a:gd name="T34" fmla="*/ 40 w 543"/>
                <a:gd name="T35" fmla="*/ 52 h 476"/>
                <a:gd name="T36" fmla="*/ 39 w 543"/>
                <a:gd name="T37" fmla="*/ 46 h 476"/>
                <a:gd name="T38" fmla="*/ 29 w 543"/>
                <a:gd name="T39" fmla="*/ 40 h 476"/>
                <a:gd name="T40" fmla="*/ 25 w 543"/>
                <a:gd name="T41" fmla="*/ 41 h 476"/>
                <a:gd name="T42" fmla="*/ 22 w 543"/>
                <a:gd name="T43" fmla="*/ 48 h 476"/>
                <a:gd name="T44" fmla="*/ 6 w 543"/>
                <a:gd name="T45" fmla="*/ 45 h 476"/>
                <a:gd name="T46" fmla="*/ 0 w 543"/>
                <a:gd name="T47" fmla="*/ 35 h 476"/>
                <a:gd name="T48" fmla="*/ 3 w 543"/>
                <a:gd name="T49" fmla="*/ 29 h 476"/>
                <a:gd name="T50" fmla="*/ 6 w 543"/>
                <a:gd name="T51" fmla="*/ 30 h 476"/>
                <a:gd name="T52" fmla="*/ 12 w 543"/>
                <a:gd name="T53" fmla="*/ 29 h 476"/>
                <a:gd name="T54" fmla="*/ 14 w 543"/>
                <a:gd name="T55" fmla="*/ 26 h 476"/>
                <a:gd name="T56" fmla="*/ 9 w 543"/>
                <a:gd name="T57" fmla="*/ 23 h 476"/>
                <a:gd name="T58" fmla="*/ 9 w 543"/>
                <a:gd name="T59" fmla="*/ 15 h 476"/>
                <a:gd name="T60" fmla="*/ 15 w 543"/>
                <a:gd name="T61" fmla="*/ 13 h 476"/>
                <a:gd name="T62" fmla="*/ 19 w 543"/>
                <a:gd name="T63" fmla="*/ 9 h 476"/>
                <a:gd name="T64" fmla="*/ 28 w 543"/>
                <a:gd name="T65" fmla="*/ 7 h 4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43"/>
                <a:gd name="T100" fmla="*/ 0 h 476"/>
                <a:gd name="T101" fmla="*/ 543 w 543"/>
                <a:gd name="T102" fmla="*/ 476 h 4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43" h="476">
                  <a:moveTo>
                    <a:pt x="228" y="57"/>
                  </a:moveTo>
                  <a:lnTo>
                    <a:pt x="264" y="33"/>
                  </a:lnTo>
                  <a:lnTo>
                    <a:pt x="324" y="20"/>
                  </a:lnTo>
                  <a:lnTo>
                    <a:pt x="404" y="0"/>
                  </a:lnTo>
                  <a:lnTo>
                    <a:pt x="440" y="15"/>
                  </a:lnTo>
                  <a:lnTo>
                    <a:pt x="473" y="99"/>
                  </a:lnTo>
                  <a:lnTo>
                    <a:pt x="513" y="144"/>
                  </a:lnTo>
                  <a:lnTo>
                    <a:pt x="518" y="183"/>
                  </a:lnTo>
                  <a:lnTo>
                    <a:pt x="497" y="231"/>
                  </a:lnTo>
                  <a:lnTo>
                    <a:pt x="519" y="252"/>
                  </a:lnTo>
                  <a:lnTo>
                    <a:pt x="516" y="320"/>
                  </a:lnTo>
                  <a:lnTo>
                    <a:pt x="543" y="339"/>
                  </a:lnTo>
                  <a:lnTo>
                    <a:pt x="531" y="393"/>
                  </a:lnTo>
                  <a:lnTo>
                    <a:pt x="497" y="398"/>
                  </a:lnTo>
                  <a:lnTo>
                    <a:pt x="467" y="464"/>
                  </a:lnTo>
                  <a:lnTo>
                    <a:pt x="432" y="476"/>
                  </a:lnTo>
                  <a:lnTo>
                    <a:pt x="420" y="432"/>
                  </a:lnTo>
                  <a:lnTo>
                    <a:pt x="332" y="429"/>
                  </a:lnTo>
                  <a:lnTo>
                    <a:pt x="321" y="384"/>
                  </a:lnTo>
                  <a:lnTo>
                    <a:pt x="239" y="335"/>
                  </a:lnTo>
                  <a:lnTo>
                    <a:pt x="213" y="347"/>
                  </a:lnTo>
                  <a:lnTo>
                    <a:pt x="173" y="401"/>
                  </a:lnTo>
                  <a:lnTo>
                    <a:pt x="50" y="374"/>
                  </a:lnTo>
                  <a:lnTo>
                    <a:pt x="0" y="299"/>
                  </a:lnTo>
                  <a:lnTo>
                    <a:pt x="14" y="248"/>
                  </a:lnTo>
                  <a:lnTo>
                    <a:pt x="51" y="257"/>
                  </a:lnTo>
                  <a:lnTo>
                    <a:pt x="96" y="240"/>
                  </a:lnTo>
                  <a:lnTo>
                    <a:pt x="110" y="218"/>
                  </a:lnTo>
                  <a:lnTo>
                    <a:pt x="77" y="194"/>
                  </a:lnTo>
                  <a:lnTo>
                    <a:pt x="77" y="132"/>
                  </a:lnTo>
                  <a:lnTo>
                    <a:pt x="122" y="116"/>
                  </a:lnTo>
                  <a:lnTo>
                    <a:pt x="150" y="84"/>
                  </a:lnTo>
                  <a:lnTo>
                    <a:pt x="228" y="57"/>
                  </a:lnTo>
                  <a:close/>
                </a:path>
              </a:pathLst>
            </a:custGeom>
            <a:grpFill/>
            <a:ln w="3175" cap="flat" cmpd="sng">
              <a:solidFill>
                <a:srgbClr val="FFFFFF"/>
              </a:solidFill>
              <a:prstDash val="solid"/>
              <a:round/>
              <a:headEnd/>
              <a:tailEnd/>
            </a:ln>
          </p:spPr>
          <p:txBody>
            <a:bodyPr wrap="none" anchor="ctr"/>
            <a:lstStyle/>
            <a:p>
              <a:pPr>
                <a:buClr>
                  <a:srgbClr val="B40646"/>
                </a:buClr>
                <a:defRPr/>
              </a:pPr>
              <a:endParaRPr lang="en-GB" dirty="0">
                <a:solidFill>
                  <a:srgbClr val="000000"/>
                </a:solidFill>
              </a:endParaRPr>
            </a:p>
          </p:txBody>
        </p:sp>
        <p:sp>
          <p:nvSpPr>
            <p:cNvPr id="177" name="Freeform 59"/>
            <p:cNvSpPr>
              <a:spLocks/>
            </p:cNvSpPr>
            <p:nvPr/>
          </p:nvSpPr>
          <p:spPr bwMode="auto">
            <a:xfrm>
              <a:off x="1056" y="1219"/>
              <a:ext cx="740" cy="1324"/>
            </a:xfrm>
            <a:custGeom>
              <a:avLst/>
              <a:gdLst>
                <a:gd name="T0" fmla="*/ 74 w 860"/>
                <a:gd name="T1" fmla="*/ 13 h 1540"/>
                <a:gd name="T2" fmla="*/ 57 w 860"/>
                <a:gd name="T3" fmla="*/ 26 h 1540"/>
                <a:gd name="T4" fmla="*/ 57 w 860"/>
                <a:gd name="T5" fmla="*/ 37 h 1540"/>
                <a:gd name="T6" fmla="*/ 46 w 860"/>
                <a:gd name="T7" fmla="*/ 46 h 1540"/>
                <a:gd name="T8" fmla="*/ 57 w 860"/>
                <a:gd name="T9" fmla="*/ 48 h 1540"/>
                <a:gd name="T10" fmla="*/ 95 w 860"/>
                <a:gd name="T11" fmla="*/ 44 h 1540"/>
                <a:gd name="T12" fmla="*/ 104 w 860"/>
                <a:gd name="T13" fmla="*/ 50 h 1540"/>
                <a:gd name="T14" fmla="*/ 100 w 860"/>
                <a:gd name="T15" fmla="*/ 61 h 1540"/>
                <a:gd name="T16" fmla="*/ 93 w 860"/>
                <a:gd name="T17" fmla="*/ 82 h 1540"/>
                <a:gd name="T18" fmla="*/ 76 w 860"/>
                <a:gd name="T19" fmla="*/ 97 h 1540"/>
                <a:gd name="T20" fmla="*/ 84 w 860"/>
                <a:gd name="T21" fmla="*/ 107 h 1540"/>
                <a:gd name="T22" fmla="*/ 71 w 860"/>
                <a:gd name="T23" fmla="*/ 112 h 1540"/>
                <a:gd name="T24" fmla="*/ 71 w 860"/>
                <a:gd name="T25" fmla="*/ 119 h 1540"/>
                <a:gd name="T26" fmla="*/ 86 w 860"/>
                <a:gd name="T27" fmla="*/ 115 h 1540"/>
                <a:gd name="T28" fmla="*/ 97 w 860"/>
                <a:gd name="T29" fmla="*/ 136 h 1540"/>
                <a:gd name="T30" fmla="*/ 88 w 860"/>
                <a:gd name="T31" fmla="*/ 147 h 1540"/>
                <a:gd name="T32" fmla="*/ 75 w 860"/>
                <a:gd name="T33" fmla="*/ 166 h 1540"/>
                <a:gd name="T34" fmla="*/ 61 w 860"/>
                <a:gd name="T35" fmla="*/ 170 h 1540"/>
                <a:gd name="T36" fmla="*/ 48 w 860"/>
                <a:gd name="T37" fmla="*/ 173 h 1540"/>
                <a:gd name="T38" fmla="*/ 48 w 860"/>
                <a:gd name="T39" fmla="*/ 179 h 1540"/>
                <a:gd name="T40" fmla="*/ 36 w 860"/>
                <a:gd name="T41" fmla="*/ 177 h 1540"/>
                <a:gd name="T42" fmla="*/ 29 w 860"/>
                <a:gd name="T43" fmla="*/ 172 h 1540"/>
                <a:gd name="T44" fmla="*/ 23 w 860"/>
                <a:gd name="T45" fmla="*/ 173 h 1540"/>
                <a:gd name="T46" fmla="*/ 25 w 860"/>
                <a:gd name="T47" fmla="*/ 162 h 1540"/>
                <a:gd name="T48" fmla="*/ 35 w 860"/>
                <a:gd name="T49" fmla="*/ 139 h 1540"/>
                <a:gd name="T50" fmla="*/ 28 w 860"/>
                <a:gd name="T51" fmla="*/ 126 h 1540"/>
                <a:gd name="T52" fmla="*/ 29 w 860"/>
                <a:gd name="T53" fmla="*/ 115 h 1540"/>
                <a:gd name="T54" fmla="*/ 21 w 860"/>
                <a:gd name="T55" fmla="*/ 123 h 1540"/>
                <a:gd name="T56" fmla="*/ 16 w 860"/>
                <a:gd name="T57" fmla="*/ 119 h 1540"/>
                <a:gd name="T58" fmla="*/ 18 w 860"/>
                <a:gd name="T59" fmla="*/ 132 h 1540"/>
                <a:gd name="T60" fmla="*/ 12 w 860"/>
                <a:gd name="T61" fmla="*/ 143 h 1540"/>
                <a:gd name="T62" fmla="*/ 7 w 860"/>
                <a:gd name="T63" fmla="*/ 143 h 1540"/>
                <a:gd name="T64" fmla="*/ 13 w 860"/>
                <a:gd name="T65" fmla="*/ 126 h 1540"/>
                <a:gd name="T66" fmla="*/ 15 w 860"/>
                <a:gd name="T67" fmla="*/ 100 h 1540"/>
                <a:gd name="T68" fmla="*/ 17 w 860"/>
                <a:gd name="T69" fmla="*/ 94 h 1540"/>
                <a:gd name="T70" fmla="*/ 23 w 860"/>
                <a:gd name="T71" fmla="*/ 85 h 1540"/>
                <a:gd name="T72" fmla="*/ 13 w 860"/>
                <a:gd name="T73" fmla="*/ 93 h 1540"/>
                <a:gd name="T74" fmla="*/ 4 w 860"/>
                <a:gd name="T75" fmla="*/ 87 h 1540"/>
                <a:gd name="T76" fmla="*/ 10 w 860"/>
                <a:gd name="T77" fmla="*/ 78 h 1540"/>
                <a:gd name="T78" fmla="*/ 13 w 860"/>
                <a:gd name="T79" fmla="*/ 68 h 1540"/>
                <a:gd name="T80" fmla="*/ 8 w 860"/>
                <a:gd name="T81" fmla="*/ 52 h 1540"/>
                <a:gd name="T82" fmla="*/ 24 w 860"/>
                <a:gd name="T83" fmla="*/ 35 h 1540"/>
                <a:gd name="T84" fmla="*/ 22 w 860"/>
                <a:gd name="T85" fmla="*/ 21 h 1540"/>
                <a:gd name="T86" fmla="*/ 25 w 860"/>
                <a:gd name="T87" fmla="*/ 13 h 1540"/>
                <a:gd name="T88" fmla="*/ 32 w 860"/>
                <a:gd name="T89" fmla="*/ 3 h 1540"/>
                <a:gd name="T90" fmla="*/ 49 w 860"/>
                <a:gd name="T91" fmla="*/ 7 h 1540"/>
                <a:gd name="T92" fmla="*/ 74 w 860"/>
                <a:gd name="T93" fmla="*/ 0 h 15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60"/>
                <a:gd name="T142" fmla="*/ 0 h 1540"/>
                <a:gd name="T143" fmla="*/ 860 w 860"/>
                <a:gd name="T144" fmla="*/ 1540 h 15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60" h="1540">
                  <a:moveTo>
                    <a:pt x="604" y="0"/>
                  </a:moveTo>
                  <a:lnTo>
                    <a:pt x="604" y="45"/>
                  </a:lnTo>
                  <a:lnTo>
                    <a:pt x="604" y="104"/>
                  </a:lnTo>
                  <a:lnTo>
                    <a:pt x="568" y="140"/>
                  </a:lnTo>
                  <a:lnTo>
                    <a:pt x="524" y="165"/>
                  </a:lnTo>
                  <a:lnTo>
                    <a:pt x="472" y="217"/>
                  </a:lnTo>
                  <a:lnTo>
                    <a:pt x="440" y="273"/>
                  </a:lnTo>
                  <a:lnTo>
                    <a:pt x="412" y="301"/>
                  </a:lnTo>
                  <a:lnTo>
                    <a:pt x="460" y="308"/>
                  </a:lnTo>
                  <a:lnTo>
                    <a:pt x="438" y="352"/>
                  </a:lnTo>
                  <a:lnTo>
                    <a:pt x="417" y="364"/>
                  </a:lnTo>
                  <a:lnTo>
                    <a:pt x="383" y="384"/>
                  </a:lnTo>
                  <a:lnTo>
                    <a:pt x="424" y="384"/>
                  </a:lnTo>
                  <a:lnTo>
                    <a:pt x="412" y="436"/>
                  </a:lnTo>
                  <a:lnTo>
                    <a:pt x="468" y="400"/>
                  </a:lnTo>
                  <a:lnTo>
                    <a:pt x="489" y="388"/>
                  </a:lnTo>
                  <a:lnTo>
                    <a:pt x="536" y="361"/>
                  </a:lnTo>
                  <a:lnTo>
                    <a:pt x="776" y="361"/>
                  </a:lnTo>
                  <a:lnTo>
                    <a:pt x="805" y="344"/>
                  </a:lnTo>
                  <a:lnTo>
                    <a:pt x="853" y="392"/>
                  </a:lnTo>
                  <a:lnTo>
                    <a:pt x="860" y="417"/>
                  </a:lnTo>
                  <a:lnTo>
                    <a:pt x="848" y="438"/>
                  </a:lnTo>
                  <a:lnTo>
                    <a:pt x="840" y="469"/>
                  </a:lnTo>
                  <a:lnTo>
                    <a:pt x="816" y="511"/>
                  </a:lnTo>
                  <a:lnTo>
                    <a:pt x="816" y="628"/>
                  </a:lnTo>
                  <a:lnTo>
                    <a:pt x="788" y="656"/>
                  </a:lnTo>
                  <a:lnTo>
                    <a:pt x="768" y="676"/>
                  </a:lnTo>
                  <a:lnTo>
                    <a:pt x="736" y="731"/>
                  </a:lnTo>
                  <a:lnTo>
                    <a:pt x="672" y="795"/>
                  </a:lnTo>
                  <a:lnTo>
                    <a:pt x="616" y="800"/>
                  </a:lnTo>
                  <a:lnTo>
                    <a:pt x="588" y="828"/>
                  </a:lnTo>
                  <a:lnTo>
                    <a:pt x="664" y="828"/>
                  </a:lnTo>
                  <a:lnTo>
                    <a:pt x="694" y="880"/>
                  </a:lnTo>
                  <a:lnTo>
                    <a:pt x="659" y="900"/>
                  </a:lnTo>
                  <a:lnTo>
                    <a:pt x="600" y="900"/>
                  </a:lnTo>
                  <a:lnTo>
                    <a:pt x="588" y="928"/>
                  </a:lnTo>
                  <a:lnTo>
                    <a:pt x="556" y="946"/>
                  </a:lnTo>
                  <a:lnTo>
                    <a:pt x="528" y="956"/>
                  </a:lnTo>
                  <a:lnTo>
                    <a:pt x="576" y="984"/>
                  </a:lnTo>
                  <a:lnTo>
                    <a:pt x="617" y="960"/>
                  </a:lnTo>
                  <a:lnTo>
                    <a:pt x="676" y="944"/>
                  </a:lnTo>
                  <a:lnTo>
                    <a:pt x="704" y="960"/>
                  </a:lnTo>
                  <a:lnTo>
                    <a:pt x="804" y="1018"/>
                  </a:lnTo>
                  <a:lnTo>
                    <a:pt x="824" y="1079"/>
                  </a:lnTo>
                  <a:lnTo>
                    <a:pt x="796" y="1128"/>
                  </a:lnTo>
                  <a:lnTo>
                    <a:pt x="808" y="1149"/>
                  </a:lnTo>
                  <a:lnTo>
                    <a:pt x="775" y="1204"/>
                  </a:lnTo>
                  <a:lnTo>
                    <a:pt x="715" y="1220"/>
                  </a:lnTo>
                  <a:lnTo>
                    <a:pt x="632" y="1268"/>
                  </a:lnTo>
                  <a:lnTo>
                    <a:pt x="612" y="1302"/>
                  </a:lnTo>
                  <a:lnTo>
                    <a:pt x="612" y="1368"/>
                  </a:lnTo>
                  <a:lnTo>
                    <a:pt x="532" y="1382"/>
                  </a:lnTo>
                  <a:lnTo>
                    <a:pt x="520" y="1420"/>
                  </a:lnTo>
                  <a:lnTo>
                    <a:pt x="499" y="1408"/>
                  </a:lnTo>
                  <a:lnTo>
                    <a:pt x="458" y="1432"/>
                  </a:lnTo>
                  <a:lnTo>
                    <a:pt x="428" y="1428"/>
                  </a:lnTo>
                  <a:lnTo>
                    <a:pt x="392" y="1432"/>
                  </a:lnTo>
                  <a:lnTo>
                    <a:pt x="352" y="1404"/>
                  </a:lnTo>
                  <a:lnTo>
                    <a:pt x="380" y="1464"/>
                  </a:lnTo>
                  <a:lnTo>
                    <a:pt x="392" y="1488"/>
                  </a:lnTo>
                  <a:lnTo>
                    <a:pt x="376" y="1540"/>
                  </a:lnTo>
                  <a:lnTo>
                    <a:pt x="308" y="1520"/>
                  </a:lnTo>
                  <a:lnTo>
                    <a:pt x="300" y="1472"/>
                  </a:lnTo>
                  <a:lnTo>
                    <a:pt x="280" y="1424"/>
                  </a:lnTo>
                  <a:lnTo>
                    <a:pt x="260" y="1408"/>
                  </a:lnTo>
                  <a:lnTo>
                    <a:pt x="244" y="1428"/>
                  </a:lnTo>
                  <a:lnTo>
                    <a:pt x="252" y="1476"/>
                  </a:lnTo>
                  <a:lnTo>
                    <a:pt x="208" y="1484"/>
                  </a:lnTo>
                  <a:lnTo>
                    <a:pt x="188" y="1432"/>
                  </a:lnTo>
                  <a:lnTo>
                    <a:pt x="172" y="1384"/>
                  </a:lnTo>
                  <a:lnTo>
                    <a:pt x="172" y="1356"/>
                  </a:lnTo>
                  <a:lnTo>
                    <a:pt x="212" y="1356"/>
                  </a:lnTo>
                  <a:lnTo>
                    <a:pt x="208" y="1316"/>
                  </a:lnTo>
                  <a:lnTo>
                    <a:pt x="284" y="1212"/>
                  </a:lnTo>
                  <a:lnTo>
                    <a:pt x="292" y="1156"/>
                  </a:lnTo>
                  <a:lnTo>
                    <a:pt x="284" y="1128"/>
                  </a:lnTo>
                  <a:lnTo>
                    <a:pt x="252" y="1100"/>
                  </a:lnTo>
                  <a:lnTo>
                    <a:pt x="228" y="1036"/>
                  </a:lnTo>
                  <a:lnTo>
                    <a:pt x="312" y="1008"/>
                  </a:lnTo>
                  <a:lnTo>
                    <a:pt x="260" y="1000"/>
                  </a:lnTo>
                  <a:lnTo>
                    <a:pt x="244" y="956"/>
                  </a:lnTo>
                  <a:lnTo>
                    <a:pt x="220" y="988"/>
                  </a:lnTo>
                  <a:lnTo>
                    <a:pt x="216" y="1016"/>
                  </a:lnTo>
                  <a:lnTo>
                    <a:pt x="168" y="1008"/>
                  </a:lnTo>
                  <a:lnTo>
                    <a:pt x="172" y="984"/>
                  </a:lnTo>
                  <a:lnTo>
                    <a:pt x="180" y="936"/>
                  </a:lnTo>
                  <a:lnTo>
                    <a:pt x="128" y="988"/>
                  </a:lnTo>
                  <a:lnTo>
                    <a:pt x="132" y="1024"/>
                  </a:lnTo>
                  <a:lnTo>
                    <a:pt x="152" y="1048"/>
                  </a:lnTo>
                  <a:lnTo>
                    <a:pt x="144" y="1092"/>
                  </a:lnTo>
                  <a:lnTo>
                    <a:pt x="124" y="1128"/>
                  </a:lnTo>
                  <a:lnTo>
                    <a:pt x="120" y="1160"/>
                  </a:lnTo>
                  <a:lnTo>
                    <a:pt x="96" y="1188"/>
                  </a:lnTo>
                  <a:lnTo>
                    <a:pt x="100" y="1228"/>
                  </a:lnTo>
                  <a:lnTo>
                    <a:pt x="56" y="1232"/>
                  </a:lnTo>
                  <a:lnTo>
                    <a:pt x="56" y="1188"/>
                  </a:lnTo>
                  <a:lnTo>
                    <a:pt x="76" y="1148"/>
                  </a:lnTo>
                  <a:lnTo>
                    <a:pt x="80" y="1072"/>
                  </a:lnTo>
                  <a:lnTo>
                    <a:pt x="108" y="1036"/>
                  </a:lnTo>
                  <a:lnTo>
                    <a:pt x="88" y="992"/>
                  </a:lnTo>
                  <a:lnTo>
                    <a:pt x="120" y="904"/>
                  </a:lnTo>
                  <a:lnTo>
                    <a:pt x="120" y="832"/>
                  </a:lnTo>
                  <a:lnTo>
                    <a:pt x="148" y="816"/>
                  </a:lnTo>
                  <a:lnTo>
                    <a:pt x="168" y="796"/>
                  </a:lnTo>
                  <a:lnTo>
                    <a:pt x="140" y="780"/>
                  </a:lnTo>
                  <a:lnTo>
                    <a:pt x="148" y="744"/>
                  </a:lnTo>
                  <a:lnTo>
                    <a:pt x="176" y="732"/>
                  </a:lnTo>
                  <a:lnTo>
                    <a:pt x="192" y="712"/>
                  </a:lnTo>
                  <a:lnTo>
                    <a:pt x="196" y="676"/>
                  </a:lnTo>
                  <a:lnTo>
                    <a:pt x="140" y="732"/>
                  </a:lnTo>
                  <a:lnTo>
                    <a:pt x="108" y="768"/>
                  </a:lnTo>
                  <a:lnTo>
                    <a:pt x="56" y="760"/>
                  </a:lnTo>
                  <a:lnTo>
                    <a:pt x="52" y="736"/>
                  </a:lnTo>
                  <a:lnTo>
                    <a:pt x="36" y="716"/>
                  </a:lnTo>
                  <a:lnTo>
                    <a:pt x="0" y="688"/>
                  </a:lnTo>
                  <a:lnTo>
                    <a:pt x="68" y="672"/>
                  </a:lnTo>
                  <a:lnTo>
                    <a:pt x="84" y="644"/>
                  </a:lnTo>
                  <a:lnTo>
                    <a:pt x="76" y="608"/>
                  </a:lnTo>
                  <a:lnTo>
                    <a:pt x="72" y="568"/>
                  </a:lnTo>
                  <a:lnTo>
                    <a:pt x="104" y="564"/>
                  </a:lnTo>
                  <a:lnTo>
                    <a:pt x="108" y="516"/>
                  </a:lnTo>
                  <a:lnTo>
                    <a:pt x="104" y="480"/>
                  </a:lnTo>
                  <a:lnTo>
                    <a:pt x="64" y="436"/>
                  </a:lnTo>
                  <a:lnTo>
                    <a:pt x="72" y="400"/>
                  </a:lnTo>
                  <a:lnTo>
                    <a:pt x="88" y="296"/>
                  </a:lnTo>
                  <a:lnTo>
                    <a:pt x="196" y="292"/>
                  </a:lnTo>
                  <a:lnTo>
                    <a:pt x="168" y="244"/>
                  </a:lnTo>
                  <a:lnTo>
                    <a:pt x="156" y="212"/>
                  </a:lnTo>
                  <a:lnTo>
                    <a:pt x="176" y="176"/>
                  </a:lnTo>
                  <a:lnTo>
                    <a:pt x="168" y="140"/>
                  </a:lnTo>
                  <a:lnTo>
                    <a:pt x="224" y="140"/>
                  </a:lnTo>
                  <a:lnTo>
                    <a:pt x="212" y="116"/>
                  </a:lnTo>
                  <a:lnTo>
                    <a:pt x="204" y="52"/>
                  </a:lnTo>
                  <a:lnTo>
                    <a:pt x="232" y="12"/>
                  </a:lnTo>
                  <a:lnTo>
                    <a:pt x="260" y="4"/>
                  </a:lnTo>
                  <a:lnTo>
                    <a:pt x="292" y="28"/>
                  </a:lnTo>
                  <a:lnTo>
                    <a:pt x="364" y="32"/>
                  </a:lnTo>
                  <a:lnTo>
                    <a:pt x="404" y="56"/>
                  </a:lnTo>
                  <a:lnTo>
                    <a:pt x="480" y="24"/>
                  </a:lnTo>
                  <a:lnTo>
                    <a:pt x="540" y="16"/>
                  </a:lnTo>
                  <a:lnTo>
                    <a:pt x="604" y="0"/>
                  </a:lnTo>
                  <a:close/>
                </a:path>
              </a:pathLst>
            </a:custGeom>
            <a:grpFill/>
            <a:ln w="3175" cap="flat" cmpd="sng">
              <a:solidFill>
                <a:srgbClr val="FFFFFF"/>
              </a:solidFill>
              <a:prstDash val="solid"/>
              <a:round/>
              <a:headEnd/>
              <a:tailEnd/>
            </a:ln>
          </p:spPr>
          <p:txBody>
            <a:bodyPr wrap="none" anchor="ctr"/>
            <a:lstStyle/>
            <a:p>
              <a:pPr>
                <a:buClr>
                  <a:srgbClr val="B40646"/>
                </a:buClr>
                <a:defRPr/>
              </a:pPr>
              <a:endParaRPr lang="en-GB" dirty="0">
                <a:solidFill>
                  <a:srgbClr val="000000"/>
                </a:solidFill>
              </a:endParaRPr>
            </a:p>
          </p:txBody>
        </p:sp>
        <p:sp>
          <p:nvSpPr>
            <p:cNvPr id="178" name="Freeform 60"/>
            <p:cNvSpPr>
              <a:spLocks/>
            </p:cNvSpPr>
            <p:nvPr/>
          </p:nvSpPr>
          <p:spPr bwMode="auto">
            <a:xfrm>
              <a:off x="192" y="2230"/>
              <a:ext cx="867" cy="1253"/>
            </a:xfrm>
            <a:custGeom>
              <a:avLst/>
              <a:gdLst>
                <a:gd name="T0" fmla="*/ 100 w 1008"/>
                <a:gd name="T1" fmla="*/ 10 h 1456"/>
                <a:gd name="T2" fmla="*/ 85 w 1008"/>
                <a:gd name="T3" fmla="*/ 20 h 1456"/>
                <a:gd name="T4" fmla="*/ 77 w 1008"/>
                <a:gd name="T5" fmla="*/ 34 h 1456"/>
                <a:gd name="T6" fmla="*/ 73 w 1008"/>
                <a:gd name="T7" fmla="*/ 40 h 1456"/>
                <a:gd name="T8" fmla="*/ 74 w 1008"/>
                <a:gd name="T9" fmla="*/ 55 h 1456"/>
                <a:gd name="T10" fmla="*/ 96 w 1008"/>
                <a:gd name="T11" fmla="*/ 49 h 1456"/>
                <a:gd name="T12" fmla="*/ 119 w 1008"/>
                <a:gd name="T13" fmla="*/ 61 h 1456"/>
                <a:gd name="T14" fmla="*/ 115 w 1008"/>
                <a:gd name="T15" fmla="*/ 71 h 1456"/>
                <a:gd name="T16" fmla="*/ 119 w 1008"/>
                <a:gd name="T17" fmla="*/ 88 h 1456"/>
                <a:gd name="T18" fmla="*/ 120 w 1008"/>
                <a:gd name="T19" fmla="*/ 103 h 1456"/>
                <a:gd name="T20" fmla="*/ 123 w 1008"/>
                <a:gd name="T21" fmla="*/ 116 h 1456"/>
                <a:gd name="T22" fmla="*/ 115 w 1008"/>
                <a:gd name="T23" fmla="*/ 134 h 1456"/>
                <a:gd name="T24" fmla="*/ 109 w 1008"/>
                <a:gd name="T25" fmla="*/ 144 h 1456"/>
                <a:gd name="T26" fmla="*/ 98 w 1008"/>
                <a:gd name="T27" fmla="*/ 151 h 1456"/>
                <a:gd name="T28" fmla="*/ 80 w 1008"/>
                <a:gd name="T29" fmla="*/ 152 h 1456"/>
                <a:gd name="T30" fmla="*/ 61 w 1008"/>
                <a:gd name="T31" fmla="*/ 168 h 1456"/>
                <a:gd name="T32" fmla="*/ 44 w 1008"/>
                <a:gd name="T33" fmla="*/ 171 h 1456"/>
                <a:gd name="T34" fmla="*/ 25 w 1008"/>
                <a:gd name="T35" fmla="*/ 173 h 1456"/>
                <a:gd name="T36" fmla="*/ 19 w 1008"/>
                <a:gd name="T37" fmla="*/ 175 h 1456"/>
                <a:gd name="T38" fmla="*/ 19 w 1008"/>
                <a:gd name="T39" fmla="*/ 167 h 1456"/>
                <a:gd name="T40" fmla="*/ 10 w 1008"/>
                <a:gd name="T41" fmla="*/ 167 h 1456"/>
                <a:gd name="T42" fmla="*/ 9 w 1008"/>
                <a:gd name="T43" fmla="*/ 161 h 1456"/>
                <a:gd name="T44" fmla="*/ 4 w 1008"/>
                <a:gd name="T45" fmla="*/ 156 h 1456"/>
                <a:gd name="T46" fmla="*/ 9 w 1008"/>
                <a:gd name="T47" fmla="*/ 146 h 1456"/>
                <a:gd name="T48" fmla="*/ 3 w 1008"/>
                <a:gd name="T49" fmla="*/ 143 h 1456"/>
                <a:gd name="T50" fmla="*/ 14 w 1008"/>
                <a:gd name="T51" fmla="*/ 140 h 1456"/>
                <a:gd name="T52" fmla="*/ 17 w 1008"/>
                <a:gd name="T53" fmla="*/ 133 h 1456"/>
                <a:gd name="T54" fmla="*/ 33 w 1008"/>
                <a:gd name="T55" fmla="*/ 132 h 1456"/>
                <a:gd name="T56" fmla="*/ 40 w 1008"/>
                <a:gd name="T57" fmla="*/ 124 h 1456"/>
                <a:gd name="T58" fmla="*/ 22 w 1008"/>
                <a:gd name="T59" fmla="*/ 126 h 1456"/>
                <a:gd name="T60" fmla="*/ 27 w 1008"/>
                <a:gd name="T61" fmla="*/ 120 h 1456"/>
                <a:gd name="T62" fmla="*/ 41 w 1008"/>
                <a:gd name="T63" fmla="*/ 99 h 1456"/>
                <a:gd name="T64" fmla="*/ 20 w 1008"/>
                <a:gd name="T65" fmla="*/ 97 h 1456"/>
                <a:gd name="T66" fmla="*/ 10 w 1008"/>
                <a:gd name="T67" fmla="*/ 81 h 1456"/>
                <a:gd name="T68" fmla="*/ 19 w 1008"/>
                <a:gd name="T69" fmla="*/ 75 h 1456"/>
                <a:gd name="T70" fmla="*/ 15 w 1008"/>
                <a:gd name="T71" fmla="*/ 68 h 1456"/>
                <a:gd name="T72" fmla="*/ 19 w 1008"/>
                <a:gd name="T73" fmla="*/ 59 h 1456"/>
                <a:gd name="T74" fmla="*/ 17 w 1008"/>
                <a:gd name="T75" fmla="*/ 49 h 1456"/>
                <a:gd name="T76" fmla="*/ 31 w 1008"/>
                <a:gd name="T77" fmla="*/ 51 h 1456"/>
                <a:gd name="T78" fmla="*/ 40 w 1008"/>
                <a:gd name="T79" fmla="*/ 55 h 1456"/>
                <a:gd name="T80" fmla="*/ 56 w 1008"/>
                <a:gd name="T81" fmla="*/ 54 h 1456"/>
                <a:gd name="T82" fmla="*/ 54 w 1008"/>
                <a:gd name="T83" fmla="*/ 44 h 1456"/>
                <a:gd name="T84" fmla="*/ 61 w 1008"/>
                <a:gd name="T85" fmla="*/ 39 h 1456"/>
                <a:gd name="T86" fmla="*/ 51 w 1008"/>
                <a:gd name="T87" fmla="*/ 38 h 1456"/>
                <a:gd name="T88" fmla="*/ 61 w 1008"/>
                <a:gd name="T89" fmla="*/ 19 h 1456"/>
                <a:gd name="T90" fmla="*/ 77 w 1008"/>
                <a:gd name="T91" fmla="*/ 10 h 1456"/>
                <a:gd name="T92" fmla="*/ 84 w 1008"/>
                <a:gd name="T93" fmla="*/ 8 h 14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08"/>
                <a:gd name="T142" fmla="*/ 0 h 1456"/>
                <a:gd name="T143" fmla="*/ 1008 w 1008"/>
                <a:gd name="T144" fmla="*/ 1456 h 145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08" h="1456">
                  <a:moveTo>
                    <a:pt x="732" y="0"/>
                  </a:moveTo>
                  <a:lnTo>
                    <a:pt x="788" y="40"/>
                  </a:lnTo>
                  <a:lnTo>
                    <a:pt x="824" y="84"/>
                  </a:lnTo>
                  <a:lnTo>
                    <a:pt x="784" y="128"/>
                  </a:lnTo>
                  <a:lnTo>
                    <a:pt x="732" y="152"/>
                  </a:lnTo>
                  <a:lnTo>
                    <a:pt x="704" y="164"/>
                  </a:lnTo>
                  <a:lnTo>
                    <a:pt x="672" y="192"/>
                  </a:lnTo>
                  <a:lnTo>
                    <a:pt x="636" y="208"/>
                  </a:lnTo>
                  <a:lnTo>
                    <a:pt x="632" y="272"/>
                  </a:lnTo>
                  <a:lnTo>
                    <a:pt x="664" y="292"/>
                  </a:lnTo>
                  <a:lnTo>
                    <a:pt x="651" y="318"/>
                  </a:lnTo>
                  <a:lnTo>
                    <a:pt x="604" y="332"/>
                  </a:lnTo>
                  <a:lnTo>
                    <a:pt x="568" y="324"/>
                  </a:lnTo>
                  <a:lnTo>
                    <a:pt x="556" y="376"/>
                  </a:lnTo>
                  <a:lnTo>
                    <a:pt x="608" y="448"/>
                  </a:lnTo>
                  <a:lnTo>
                    <a:pt x="724" y="476"/>
                  </a:lnTo>
                  <a:lnTo>
                    <a:pt x="768" y="420"/>
                  </a:lnTo>
                  <a:lnTo>
                    <a:pt x="791" y="405"/>
                  </a:lnTo>
                  <a:lnTo>
                    <a:pt x="876" y="460"/>
                  </a:lnTo>
                  <a:lnTo>
                    <a:pt x="888" y="504"/>
                  </a:lnTo>
                  <a:lnTo>
                    <a:pt x="977" y="507"/>
                  </a:lnTo>
                  <a:lnTo>
                    <a:pt x="992" y="552"/>
                  </a:lnTo>
                  <a:lnTo>
                    <a:pt x="972" y="568"/>
                  </a:lnTo>
                  <a:lnTo>
                    <a:pt x="948" y="588"/>
                  </a:lnTo>
                  <a:lnTo>
                    <a:pt x="960" y="620"/>
                  </a:lnTo>
                  <a:lnTo>
                    <a:pt x="976" y="672"/>
                  </a:lnTo>
                  <a:lnTo>
                    <a:pt x="972" y="716"/>
                  </a:lnTo>
                  <a:lnTo>
                    <a:pt x="996" y="764"/>
                  </a:lnTo>
                  <a:lnTo>
                    <a:pt x="992" y="800"/>
                  </a:lnTo>
                  <a:lnTo>
                    <a:pt x="992" y="836"/>
                  </a:lnTo>
                  <a:lnTo>
                    <a:pt x="992" y="880"/>
                  </a:lnTo>
                  <a:lnTo>
                    <a:pt x="976" y="916"/>
                  </a:lnTo>
                  <a:lnTo>
                    <a:pt x="1008" y="956"/>
                  </a:lnTo>
                  <a:lnTo>
                    <a:pt x="992" y="1016"/>
                  </a:lnTo>
                  <a:lnTo>
                    <a:pt x="968" y="1052"/>
                  </a:lnTo>
                  <a:lnTo>
                    <a:pt x="948" y="1096"/>
                  </a:lnTo>
                  <a:lnTo>
                    <a:pt x="948" y="1140"/>
                  </a:lnTo>
                  <a:lnTo>
                    <a:pt x="924" y="1168"/>
                  </a:lnTo>
                  <a:lnTo>
                    <a:pt x="900" y="1176"/>
                  </a:lnTo>
                  <a:lnTo>
                    <a:pt x="924" y="1228"/>
                  </a:lnTo>
                  <a:lnTo>
                    <a:pt x="848" y="1216"/>
                  </a:lnTo>
                  <a:lnTo>
                    <a:pt x="804" y="1232"/>
                  </a:lnTo>
                  <a:lnTo>
                    <a:pt x="780" y="1216"/>
                  </a:lnTo>
                  <a:lnTo>
                    <a:pt x="728" y="1244"/>
                  </a:lnTo>
                  <a:lnTo>
                    <a:pt x="660" y="1248"/>
                  </a:lnTo>
                  <a:lnTo>
                    <a:pt x="624" y="1280"/>
                  </a:lnTo>
                  <a:lnTo>
                    <a:pt x="596" y="1304"/>
                  </a:lnTo>
                  <a:lnTo>
                    <a:pt x="496" y="1380"/>
                  </a:lnTo>
                  <a:lnTo>
                    <a:pt x="460" y="1360"/>
                  </a:lnTo>
                  <a:lnTo>
                    <a:pt x="412" y="1404"/>
                  </a:lnTo>
                  <a:lnTo>
                    <a:pt x="364" y="1404"/>
                  </a:lnTo>
                  <a:lnTo>
                    <a:pt x="292" y="1432"/>
                  </a:lnTo>
                  <a:lnTo>
                    <a:pt x="208" y="1456"/>
                  </a:lnTo>
                  <a:lnTo>
                    <a:pt x="204" y="1416"/>
                  </a:lnTo>
                  <a:lnTo>
                    <a:pt x="180" y="1456"/>
                  </a:lnTo>
                  <a:lnTo>
                    <a:pt x="120" y="1456"/>
                  </a:lnTo>
                  <a:lnTo>
                    <a:pt x="148" y="1428"/>
                  </a:lnTo>
                  <a:lnTo>
                    <a:pt x="148" y="1392"/>
                  </a:lnTo>
                  <a:lnTo>
                    <a:pt x="184" y="1372"/>
                  </a:lnTo>
                  <a:lnTo>
                    <a:pt x="152" y="1360"/>
                  </a:lnTo>
                  <a:lnTo>
                    <a:pt x="120" y="1408"/>
                  </a:lnTo>
                  <a:lnTo>
                    <a:pt x="64" y="1396"/>
                  </a:lnTo>
                  <a:lnTo>
                    <a:pt x="84" y="1364"/>
                  </a:lnTo>
                  <a:lnTo>
                    <a:pt x="108" y="1332"/>
                  </a:lnTo>
                  <a:lnTo>
                    <a:pt x="164" y="1308"/>
                  </a:lnTo>
                  <a:lnTo>
                    <a:pt x="80" y="1316"/>
                  </a:lnTo>
                  <a:lnTo>
                    <a:pt x="44" y="1348"/>
                  </a:lnTo>
                  <a:lnTo>
                    <a:pt x="0" y="1296"/>
                  </a:lnTo>
                  <a:lnTo>
                    <a:pt x="36" y="1272"/>
                  </a:lnTo>
                  <a:lnTo>
                    <a:pt x="40" y="1244"/>
                  </a:lnTo>
                  <a:lnTo>
                    <a:pt x="120" y="1200"/>
                  </a:lnTo>
                  <a:lnTo>
                    <a:pt x="80" y="1196"/>
                  </a:lnTo>
                  <a:lnTo>
                    <a:pt x="48" y="1224"/>
                  </a:lnTo>
                  <a:lnTo>
                    <a:pt x="24" y="1216"/>
                  </a:lnTo>
                  <a:lnTo>
                    <a:pt x="16" y="1168"/>
                  </a:lnTo>
                  <a:lnTo>
                    <a:pt x="48" y="1152"/>
                  </a:lnTo>
                  <a:lnTo>
                    <a:pt x="80" y="1148"/>
                  </a:lnTo>
                  <a:lnTo>
                    <a:pt x="112" y="1148"/>
                  </a:lnTo>
                  <a:lnTo>
                    <a:pt x="136" y="1156"/>
                  </a:lnTo>
                  <a:lnTo>
                    <a:pt x="120" y="1100"/>
                  </a:lnTo>
                  <a:lnTo>
                    <a:pt x="140" y="1084"/>
                  </a:lnTo>
                  <a:lnTo>
                    <a:pt x="188" y="1068"/>
                  </a:lnTo>
                  <a:lnTo>
                    <a:pt x="220" y="1060"/>
                  </a:lnTo>
                  <a:lnTo>
                    <a:pt x="264" y="1076"/>
                  </a:lnTo>
                  <a:lnTo>
                    <a:pt x="304" y="1064"/>
                  </a:lnTo>
                  <a:lnTo>
                    <a:pt x="368" y="1056"/>
                  </a:lnTo>
                  <a:lnTo>
                    <a:pt x="332" y="1016"/>
                  </a:lnTo>
                  <a:lnTo>
                    <a:pt x="296" y="1036"/>
                  </a:lnTo>
                  <a:lnTo>
                    <a:pt x="216" y="1044"/>
                  </a:lnTo>
                  <a:lnTo>
                    <a:pt x="176" y="1032"/>
                  </a:lnTo>
                  <a:lnTo>
                    <a:pt x="144" y="1056"/>
                  </a:lnTo>
                  <a:lnTo>
                    <a:pt x="144" y="1020"/>
                  </a:lnTo>
                  <a:lnTo>
                    <a:pt x="220" y="976"/>
                  </a:lnTo>
                  <a:lnTo>
                    <a:pt x="280" y="852"/>
                  </a:lnTo>
                  <a:lnTo>
                    <a:pt x="344" y="852"/>
                  </a:lnTo>
                  <a:lnTo>
                    <a:pt x="336" y="812"/>
                  </a:lnTo>
                  <a:lnTo>
                    <a:pt x="252" y="828"/>
                  </a:lnTo>
                  <a:lnTo>
                    <a:pt x="212" y="808"/>
                  </a:lnTo>
                  <a:lnTo>
                    <a:pt x="164" y="796"/>
                  </a:lnTo>
                  <a:lnTo>
                    <a:pt x="132" y="768"/>
                  </a:lnTo>
                  <a:lnTo>
                    <a:pt x="88" y="740"/>
                  </a:lnTo>
                  <a:lnTo>
                    <a:pt x="84" y="660"/>
                  </a:lnTo>
                  <a:lnTo>
                    <a:pt x="120" y="668"/>
                  </a:lnTo>
                  <a:lnTo>
                    <a:pt x="160" y="652"/>
                  </a:lnTo>
                  <a:lnTo>
                    <a:pt x="160" y="612"/>
                  </a:lnTo>
                  <a:lnTo>
                    <a:pt x="208" y="604"/>
                  </a:lnTo>
                  <a:lnTo>
                    <a:pt x="169" y="570"/>
                  </a:lnTo>
                  <a:lnTo>
                    <a:pt x="120" y="556"/>
                  </a:lnTo>
                  <a:lnTo>
                    <a:pt x="100" y="512"/>
                  </a:lnTo>
                  <a:lnTo>
                    <a:pt x="156" y="524"/>
                  </a:lnTo>
                  <a:lnTo>
                    <a:pt x="156" y="484"/>
                  </a:lnTo>
                  <a:lnTo>
                    <a:pt x="120" y="460"/>
                  </a:lnTo>
                  <a:lnTo>
                    <a:pt x="124" y="424"/>
                  </a:lnTo>
                  <a:lnTo>
                    <a:pt x="140" y="396"/>
                  </a:lnTo>
                  <a:lnTo>
                    <a:pt x="176" y="420"/>
                  </a:lnTo>
                  <a:lnTo>
                    <a:pt x="208" y="388"/>
                  </a:lnTo>
                  <a:lnTo>
                    <a:pt x="256" y="412"/>
                  </a:lnTo>
                  <a:lnTo>
                    <a:pt x="292" y="412"/>
                  </a:lnTo>
                  <a:lnTo>
                    <a:pt x="320" y="408"/>
                  </a:lnTo>
                  <a:lnTo>
                    <a:pt x="328" y="452"/>
                  </a:lnTo>
                  <a:lnTo>
                    <a:pt x="356" y="420"/>
                  </a:lnTo>
                  <a:lnTo>
                    <a:pt x="420" y="432"/>
                  </a:lnTo>
                  <a:lnTo>
                    <a:pt x="460" y="444"/>
                  </a:lnTo>
                  <a:lnTo>
                    <a:pt x="472" y="416"/>
                  </a:lnTo>
                  <a:lnTo>
                    <a:pt x="444" y="384"/>
                  </a:lnTo>
                  <a:lnTo>
                    <a:pt x="448" y="360"/>
                  </a:lnTo>
                  <a:lnTo>
                    <a:pt x="520" y="360"/>
                  </a:lnTo>
                  <a:lnTo>
                    <a:pt x="524" y="324"/>
                  </a:lnTo>
                  <a:lnTo>
                    <a:pt x="496" y="312"/>
                  </a:lnTo>
                  <a:lnTo>
                    <a:pt x="480" y="336"/>
                  </a:lnTo>
                  <a:lnTo>
                    <a:pt x="456" y="304"/>
                  </a:lnTo>
                  <a:lnTo>
                    <a:pt x="416" y="308"/>
                  </a:lnTo>
                  <a:lnTo>
                    <a:pt x="416" y="268"/>
                  </a:lnTo>
                  <a:lnTo>
                    <a:pt x="488" y="224"/>
                  </a:lnTo>
                  <a:lnTo>
                    <a:pt x="496" y="148"/>
                  </a:lnTo>
                  <a:lnTo>
                    <a:pt x="564" y="96"/>
                  </a:lnTo>
                  <a:lnTo>
                    <a:pt x="580" y="76"/>
                  </a:lnTo>
                  <a:lnTo>
                    <a:pt x="632" y="84"/>
                  </a:lnTo>
                  <a:lnTo>
                    <a:pt x="656" y="44"/>
                  </a:lnTo>
                  <a:lnTo>
                    <a:pt x="692" y="108"/>
                  </a:lnTo>
                  <a:lnTo>
                    <a:pt x="696" y="60"/>
                  </a:lnTo>
                  <a:lnTo>
                    <a:pt x="732" y="56"/>
                  </a:lnTo>
                  <a:lnTo>
                    <a:pt x="732" y="0"/>
                  </a:lnTo>
                  <a:close/>
                </a:path>
              </a:pathLst>
            </a:custGeom>
            <a:solidFill>
              <a:srgbClr val="E7E3E5"/>
            </a:solid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0" name="Freeform 62"/>
            <p:cNvSpPr>
              <a:spLocks/>
            </p:cNvSpPr>
            <p:nvPr/>
          </p:nvSpPr>
          <p:spPr bwMode="auto">
            <a:xfrm>
              <a:off x="1187" y="2154"/>
              <a:ext cx="48" cy="83"/>
            </a:xfrm>
            <a:custGeom>
              <a:avLst/>
              <a:gdLst>
                <a:gd name="T0" fmla="*/ 3 w 56"/>
                <a:gd name="T1" fmla="*/ 0 h 96"/>
                <a:gd name="T2" fmla="*/ 7 w 56"/>
                <a:gd name="T3" fmla="*/ 0 h 96"/>
                <a:gd name="T4" fmla="*/ 6 w 56"/>
                <a:gd name="T5" fmla="*/ 10 h 96"/>
                <a:gd name="T6" fmla="*/ 3 w 56"/>
                <a:gd name="T7" fmla="*/ 12 h 96"/>
                <a:gd name="T8" fmla="*/ 0 w 56"/>
                <a:gd name="T9" fmla="*/ 9 h 96"/>
                <a:gd name="T10" fmla="*/ 3 w 56"/>
                <a:gd name="T11" fmla="*/ 3 h 96"/>
                <a:gd name="T12" fmla="*/ 3 w 56"/>
                <a:gd name="T13" fmla="*/ 0 h 96"/>
                <a:gd name="T14" fmla="*/ 0 60000 65536"/>
                <a:gd name="T15" fmla="*/ 0 60000 65536"/>
                <a:gd name="T16" fmla="*/ 0 60000 65536"/>
                <a:gd name="T17" fmla="*/ 0 60000 65536"/>
                <a:gd name="T18" fmla="*/ 0 60000 65536"/>
                <a:gd name="T19" fmla="*/ 0 60000 65536"/>
                <a:gd name="T20" fmla="*/ 0 60000 65536"/>
                <a:gd name="T21" fmla="*/ 0 w 56"/>
                <a:gd name="T22" fmla="*/ 0 h 96"/>
                <a:gd name="T23" fmla="*/ 56 w 56"/>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96">
                  <a:moveTo>
                    <a:pt x="24" y="0"/>
                  </a:moveTo>
                  <a:lnTo>
                    <a:pt x="56" y="0"/>
                  </a:lnTo>
                  <a:lnTo>
                    <a:pt x="52" y="84"/>
                  </a:lnTo>
                  <a:lnTo>
                    <a:pt x="12" y="96"/>
                  </a:lnTo>
                  <a:lnTo>
                    <a:pt x="0" y="64"/>
                  </a:lnTo>
                  <a:lnTo>
                    <a:pt x="8" y="28"/>
                  </a:lnTo>
                  <a:lnTo>
                    <a:pt x="24"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1" name="Freeform 63"/>
            <p:cNvSpPr>
              <a:spLocks/>
            </p:cNvSpPr>
            <p:nvPr/>
          </p:nvSpPr>
          <p:spPr bwMode="auto">
            <a:xfrm>
              <a:off x="977" y="2082"/>
              <a:ext cx="82" cy="97"/>
            </a:xfrm>
            <a:custGeom>
              <a:avLst/>
              <a:gdLst>
                <a:gd name="T0" fmla="*/ 7 w 96"/>
                <a:gd name="T1" fmla="*/ 0 h 112"/>
                <a:gd name="T2" fmla="*/ 9 w 96"/>
                <a:gd name="T3" fmla="*/ 3 h 112"/>
                <a:gd name="T4" fmla="*/ 11 w 96"/>
                <a:gd name="T5" fmla="*/ 10 h 112"/>
                <a:gd name="T6" fmla="*/ 5 w 96"/>
                <a:gd name="T7" fmla="*/ 15 h 112"/>
                <a:gd name="T8" fmla="*/ 3 w 96"/>
                <a:gd name="T9" fmla="*/ 9 h 112"/>
                <a:gd name="T10" fmla="*/ 0 w 96"/>
                <a:gd name="T11" fmla="*/ 7 h 112"/>
                <a:gd name="T12" fmla="*/ 3 w 96"/>
                <a:gd name="T13" fmla="*/ 3 h 112"/>
                <a:gd name="T14" fmla="*/ 7 w 96"/>
                <a:gd name="T15" fmla="*/ 0 h 112"/>
                <a:gd name="T16" fmla="*/ 0 60000 65536"/>
                <a:gd name="T17" fmla="*/ 0 60000 65536"/>
                <a:gd name="T18" fmla="*/ 0 60000 65536"/>
                <a:gd name="T19" fmla="*/ 0 60000 65536"/>
                <a:gd name="T20" fmla="*/ 0 60000 65536"/>
                <a:gd name="T21" fmla="*/ 0 60000 65536"/>
                <a:gd name="T22" fmla="*/ 0 60000 65536"/>
                <a:gd name="T23" fmla="*/ 0 60000 65536"/>
                <a:gd name="T24" fmla="*/ 0 w 96"/>
                <a:gd name="T25" fmla="*/ 0 h 112"/>
                <a:gd name="T26" fmla="*/ 96 w 96"/>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6" h="112">
                  <a:moveTo>
                    <a:pt x="56" y="0"/>
                  </a:moveTo>
                  <a:lnTo>
                    <a:pt x="88" y="28"/>
                  </a:lnTo>
                  <a:lnTo>
                    <a:pt x="96" y="76"/>
                  </a:lnTo>
                  <a:lnTo>
                    <a:pt x="44" y="112"/>
                  </a:lnTo>
                  <a:lnTo>
                    <a:pt x="32" y="64"/>
                  </a:lnTo>
                  <a:lnTo>
                    <a:pt x="0" y="48"/>
                  </a:lnTo>
                  <a:lnTo>
                    <a:pt x="16" y="24"/>
                  </a:lnTo>
                  <a:lnTo>
                    <a:pt x="56"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2" name="Freeform 64"/>
            <p:cNvSpPr>
              <a:spLocks/>
            </p:cNvSpPr>
            <p:nvPr/>
          </p:nvSpPr>
          <p:spPr bwMode="auto">
            <a:xfrm>
              <a:off x="1052" y="2027"/>
              <a:ext cx="52" cy="69"/>
            </a:xfrm>
            <a:custGeom>
              <a:avLst/>
              <a:gdLst>
                <a:gd name="T0" fmla="*/ 8 w 60"/>
                <a:gd name="T1" fmla="*/ 0 h 80"/>
                <a:gd name="T2" fmla="*/ 3 w 60"/>
                <a:gd name="T3" fmla="*/ 3 h 80"/>
                <a:gd name="T4" fmla="*/ 0 w 60"/>
                <a:gd name="T5" fmla="*/ 7 h 80"/>
                <a:gd name="T6" fmla="*/ 3 w 60"/>
                <a:gd name="T7" fmla="*/ 10 h 80"/>
                <a:gd name="T8" fmla="*/ 7 w 60"/>
                <a:gd name="T9" fmla="*/ 7 h 80"/>
                <a:gd name="T10" fmla="*/ 7 w 60"/>
                <a:gd name="T11" fmla="*/ 3 h 80"/>
                <a:gd name="T12" fmla="*/ 8 w 60"/>
                <a:gd name="T13" fmla="*/ 0 h 80"/>
                <a:gd name="T14" fmla="*/ 0 60000 65536"/>
                <a:gd name="T15" fmla="*/ 0 60000 65536"/>
                <a:gd name="T16" fmla="*/ 0 60000 65536"/>
                <a:gd name="T17" fmla="*/ 0 60000 65536"/>
                <a:gd name="T18" fmla="*/ 0 60000 65536"/>
                <a:gd name="T19" fmla="*/ 0 60000 65536"/>
                <a:gd name="T20" fmla="*/ 0 60000 65536"/>
                <a:gd name="T21" fmla="*/ 0 w 60"/>
                <a:gd name="T22" fmla="*/ 0 h 80"/>
                <a:gd name="T23" fmla="*/ 60 w 60"/>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0">
                  <a:moveTo>
                    <a:pt x="60" y="0"/>
                  </a:moveTo>
                  <a:lnTo>
                    <a:pt x="28" y="24"/>
                  </a:lnTo>
                  <a:lnTo>
                    <a:pt x="0" y="52"/>
                  </a:lnTo>
                  <a:lnTo>
                    <a:pt x="20" y="80"/>
                  </a:lnTo>
                  <a:lnTo>
                    <a:pt x="48" y="52"/>
                  </a:lnTo>
                  <a:lnTo>
                    <a:pt x="48" y="24"/>
                  </a:lnTo>
                  <a:lnTo>
                    <a:pt x="60"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3" name="Freeform 65"/>
            <p:cNvSpPr>
              <a:spLocks/>
            </p:cNvSpPr>
            <p:nvPr/>
          </p:nvSpPr>
          <p:spPr bwMode="auto">
            <a:xfrm>
              <a:off x="1021" y="2020"/>
              <a:ext cx="28" cy="38"/>
            </a:xfrm>
            <a:custGeom>
              <a:avLst/>
              <a:gdLst>
                <a:gd name="T0" fmla="*/ 4 w 32"/>
                <a:gd name="T1" fmla="*/ 0 h 44"/>
                <a:gd name="T2" fmla="*/ 0 w 32"/>
                <a:gd name="T3" fmla="*/ 3 h 44"/>
                <a:gd name="T4" fmla="*/ 4 w 32"/>
                <a:gd name="T5" fmla="*/ 6 h 44"/>
                <a:gd name="T6" fmla="*/ 4 w 32"/>
                <a:gd name="T7" fmla="*/ 0 h 44"/>
                <a:gd name="T8" fmla="*/ 0 60000 65536"/>
                <a:gd name="T9" fmla="*/ 0 60000 65536"/>
                <a:gd name="T10" fmla="*/ 0 60000 65536"/>
                <a:gd name="T11" fmla="*/ 0 60000 65536"/>
                <a:gd name="T12" fmla="*/ 0 w 32"/>
                <a:gd name="T13" fmla="*/ 0 h 44"/>
                <a:gd name="T14" fmla="*/ 32 w 32"/>
                <a:gd name="T15" fmla="*/ 44 h 44"/>
              </a:gdLst>
              <a:ahLst/>
              <a:cxnLst>
                <a:cxn ang="T8">
                  <a:pos x="T0" y="T1"/>
                </a:cxn>
                <a:cxn ang="T9">
                  <a:pos x="T2" y="T3"/>
                </a:cxn>
                <a:cxn ang="T10">
                  <a:pos x="T4" y="T5"/>
                </a:cxn>
                <a:cxn ang="T11">
                  <a:pos x="T6" y="T7"/>
                </a:cxn>
              </a:cxnLst>
              <a:rect l="T12" t="T13" r="T14" b="T15"/>
              <a:pathLst>
                <a:path w="32" h="44">
                  <a:moveTo>
                    <a:pt x="32" y="0"/>
                  </a:moveTo>
                  <a:lnTo>
                    <a:pt x="0" y="8"/>
                  </a:lnTo>
                  <a:lnTo>
                    <a:pt x="12" y="44"/>
                  </a:lnTo>
                  <a:lnTo>
                    <a:pt x="3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4" name="Freeform 66"/>
            <p:cNvSpPr>
              <a:spLocks/>
            </p:cNvSpPr>
            <p:nvPr/>
          </p:nvSpPr>
          <p:spPr bwMode="auto">
            <a:xfrm>
              <a:off x="1011" y="1848"/>
              <a:ext cx="117" cy="107"/>
            </a:xfrm>
            <a:custGeom>
              <a:avLst/>
              <a:gdLst>
                <a:gd name="T0" fmla="*/ 5 w 136"/>
                <a:gd name="T1" fmla="*/ 0 h 124"/>
                <a:gd name="T2" fmla="*/ 12 w 136"/>
                <a:gd name="T3" fmla="*/ 5 h 124"/>
                <a:gd name="T4" fmla="*/ 15 w 136"/>
                <a:gd name="T5" fmla="*/ 8 h 124"/>
                <a:gd name="T6" fmla="*/ 16 w 136"/>
                <a:gd name="T7" fmla="*/ 12 h 124"/>
                <a:gd name="T8" fmla="*/ 14 w 136"/>
                <a:gd name="T9" fmla="*/ 14 h 124"/>
                <a:gd name="T10" fmla="*/ 0 w 136"/>
                <a:gd name="T11" fmla="*/ 16 h 124"/>
                <a:gd name="T12" fmla="*/ 4 w 136"/>
                <a:gd name="T13" fmla="*/ 12 h 124"/>
                <a:gd name="T14" fmla="*/ 5 w 136"/>
                <a:gd name="T15" fmla="*/ 8 h 124"/>
                <a:gd name="T16" fmla="*/ 3 w 136"/>
                <a:gd name="T17" fmla="*/ 4 h 124"/>
                <a:gd name="T18" fmla="*/ 5 w 136"/>
                <a:gd name="T19" fmla="*/ 0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124"/>
                <a:gd name="T32" fmla="*/ 136 w 136"/>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124">
                  <a:moveTo>
                    <a:pt x="44" y="0"/>
                  </a:moveTo>
                  <a:lnTo>
                    <a:pt x="96" y="40"/>
                  </a:lnTo>
                  <a:lnTo>
                    <a:pt x="124" y="64"/>
                  </a:lnTo>
                  <a:lnTo>
                    <a:pt x="136" y="96"/>
                  </a:lnTo>
                  <a:lnTo>
                    <a:pt x="116" y="116"/>
                  </a:lnTo>
                  <a:lnTo>
                    <a:pt x="0" y="124"/>
                  </a:lnTo>
                  <a:lnTo>
                    <a:pt x="36" y="100"/>
                  </a:lnTo>
                  <a:lnTo>
                    <a:pt x="44" y="64"/>
                  </a:lnTo>
                  <a:lnTo>
                    <a:pt x="28" y="32"/>
                  </a:lnTo>
                  <a:lnTo>
                    <a:pt x="44"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5" name="Freeform 67"/>
            <p:cNvSpPr>
              <a:spLocks/>
            </p:cNvSpPr>
            <p:nvPr/>
          </p:nvSpPr>
          <p:spPr bwMode="auto">
            <a:xfrm>
              <a:off x="946" y="1528"/>
              <a:ext cx="179" cy="193"/>
            </a:xfrm>
            <a:custGeom>
              <a:avLst/>
              <a:gdLst>
                <a:gd name="T0" fmla="*/ 12 w 208"/>
                <a:gd name="T1" fmla="*/ 0 h 224"/>
                <a:gd name="T2" fmla="*/ 16 w 208"/>
                <a:gd name="T3" fmla="*/ 3 h 224"/>
                <a:gd name="T4" fmla="*/ 17 w 208"/>
                <a:gd name="T5" fmla="*/ 6 h 224"/>
                <a:gd name="T6" fmla="*/ 16 w 208"/>
                <a:gd name="T7" fmla="*/ 10 h 224"/>
                <a:gd name="T8" fmla="*/ 16 w 208"/>
                <a:gd name="T9" fmla="*/ 16 h 224"/>
                <a:gd name="T10" fmla="*/ 16 w 208"/>
                <a:gd name="T11" fmla="*/ 20 h 224"/>
                <a:gd name="T12" fmla="*/ 25 w 208"/>
                <a:gd name="T13" fmla="*/ 21 h 224"/>
                <a:gd name="T14" fmla="*/ 22 w 208"/>
                <a:gd name="T15" fmla="*/ 25 h 224"/>
                <a:gd name="T16" fmla="*/ 19 w 208"/>
                <a:gd name="T17" fmla="*/ 28 h 224"/>
                <a:gd name="T18" fmla="*/ 16 w 208"/>
                <a:gd name="T19" fmla="*/ 24 h 224"/>
                <a:gd name="T20" fmla="*/ 13 w 208"/>
                <a:gd name="T21" fmla="*/ 22 h 224"/>
                <a:gd name="T22" fmla="*/ 10 w 208"/>
                <a:gd name="T23" fmla="*/ 22 h 224"/>
                <a:gd name="T24" fmla="*/ 8 w 208"/>
                <a:gd name="T25" fmla="*/ 15 h 224"/>
                <a:gd name="T26" fmla="*/ 3 w 208"/>
                <a:gd name="T27" fmla="*/ 15 h 224"/>
                <a:gd name="T28" fmla="*/ 0 w 208"/>
                <a:gd name="T29" fmla="*/ 14 h 224"/>
                <a:gd name="T30" fmla="*/ 4 w 208"/>
                <a:gd name="T31" fmla="*/ 8 h 224"/>
                <a:gd name="T32" fmla="*/ 5 w 208"/>
                <a:gd name="T33" fmla="*/ 4 h 224"/>
                <a:gd name="T34" fmla="*/ 10 w 208"/>
                <a:gd name="T35" fmla="*/ 8 h 224"/>
                <a:gd name="T36" fmla="*/ 12 w 208"/>
                <a:gd name="T37" fmla="*/ 0 h 2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224"/>
                <a:gd name="T59" fmla="*/ 208 w 208"/>
                <a:gd name="T60" fmla="*/ 224 h 2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224">
                  <a:moveTo>
                    <a:pt x="96" y="0"/>
                  </a:moveTo>
                  <a:lnTo>
                    <a:pt x="136" y="20"/>
                  </a:lnTo>
                  <a:lnTo>
                    <a:pt x="140" y="48"/>
                  </a:lnTo>
                  <a:lnTo>
                    <a:pt x="136" y="84"/>
                  </a:lnTo>
                  <a:lnTo>
                    <a:pt x="136" y="132"/>
                  </a:lnTo>
                  <a:lnTo>
                    <a:pt x="136" y="160"/>
                  </a:lnTo>
                  <a:lnTo>
                    <a:pt x="208" y="164"/>
                  </a:lnTo>
                  <a:lnTo>
                    <a:pt x="184" y="204"/>
                  </a:lnTo>
                  <a:lnTo>
                    <a:pt x="148" y="224"/>
                  </a:lnTo>
                  <a:lnTo>
                    <a:pt x="132" y="192"/>
                  </a:lnTo>
                  <a:lnTo>
                    <a:pt x="108" y="184"/>
                  </a:lnTo>
                  <a:lnTo>
                    <a:pt x="84" y="180"/>
                  </a:lnTo>
                  <a:lnTo>
                    <a:pt x="64" y="120"/>
                  </a:lnTo>
                  <a:lnTo>
                    <a:pt x="28" y="120"/>
                  </a:lnTo>
                  <a:lnTo>
                    <a:pt x="0" y="104"/>
                  </a:lnTo>
                  <a:lnTo>
                    <a:pt x="36" y="64"/>
                  </a:lnTo>
                  <a:lnTo>
                    <a:pt x="40" y="36"/>
                  </a:lnTo>
                  <a:lnTo>
                    <a:pt x="88" y="64"/>
                  </a:lnTo>
                  <a:lnTo>
                    <a:pt x="96"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6" name="Freeform 68"/>
            <p:cNvSpPr>
              <a:spLocks/>
            </p:cNvSpPr>
            <p:nvPr/>
          </p:nvSpPr>
          <p:spPr bwMode="auto">
            <a:xfrm>
              <a:off x="904" y="1859"/>
              <a:ext cx="42" cy="51"/>
            </a:xfrm>
            <a:custGeom>
              <a:avLst/>
              <a:gdLst>
                <a:gd name="T0" fmla="*/ 0 w 48"/>
                <a:gd name="T1" fmla="*/ 6 h 60"/>
                <a:gd name="T2" fmla="*/ 8 w 48"/>
                <a:gd name="T3" fmla="*/ 0 h 60"/>
                <a:gd name="T4" fmla="*/ 8 w 48"/>
                <a:gd name="T5" fmla="*/ 4 h 60"/>
                <a:gd name="T6" fmla="*/ 5 w 48"/>
                <a:gd name="T7" fmla="*/ 7 h 60"/>
                <a:gd name="T8" fmla="*/ 0 w 48"/>
                <a:gd name="T9" fmla="*/ 6 h 60"/>
                <a:gd name="T10" fmla="*/ 0 60000 65536"/>
                <a:gd name="T11" fmla="*/ 0 60000 65536"/>
                <a:gd name="T12" fmla="*/ 0 60000 65536"/>
                <a:gd name="T13" fmla="*/ 0 60000 65536"/>
                <a:gd name="T14" fmla="*/ 0 60000 65536"/>
                <a:gd name="T15" fmla="*/ 0 w 48"/>
                <a:gd name="T16" fmla="*/ 0 h 60"/>
                <a:gd name="T17" fmla="*/ 48 w 48"/>
                <a:gd name="T18" fmla="*/ 60 h 60"/>
              </a:gdLst>
              <a:ahLst/>
              <a:cxnLst>
                <a:cxn ang="T10">
                  <a:pos x="T0" y="T1"/>
                </a:cxn>
                <a:cxn ang="T11">
                  <a:pos x="T2" y="T3"/>
                </a:cxn>
                <a:cxn ang="T12">
                  <a:pos x="T4" y="T5"/>
                </a:cxn>
                <a:cxn ang="T13">
                  <a:pos x="T6" y="T7"/>
                </a:cxn>
                <a:cxn ang="T14">
                  <a:pos x="T8" y="T9"/>
                </a:cxn>
              </a:cxnLst>
              <a:rect l="T15" t="T16" r="T17" b="T18"/>
              <a:pathLst>
                <a:path w="48" h="60">
                  <a:moveTo>
                    <a:pt x="0" y="48"/>
                  </a:moveTo>
                  <a:lnTo>
                    <a:pt x="48" y="0"/>
                  </a:lnTo>
                  <a:lnTo>
                    <a:pt x="48" y="36"/>
                  </a:lnTo>
                  <a:lnTo>
                    <a:pt x="32" y="60"/>
                  </a:lnTo>
                  <a:lnTo>
                    <a:pt x="0" y="48"/>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7" name="Freeform 69"/>
            <p:cNvSpPr>
              <a:spLocks/>
            </p:cNvSpPr>
            <p:nvPr/>
          </p:nvSpPr>
          <p:spPr bwMode="auto">
            <a:xfrm>
              <a:off x="994" y="1711"/>
              <a:ext cx="41" cy="51"/>
            </a:xfrm>
            <a:custGeom>
              <a:avLst/>
              <a:gdLst>
                <a:gd name="T0" fmla="*/ 0 w 48"/>
                <a:gd name="T1" fmla="*/ 6 h 60"/>
                <a:gd name="T2" fmla="*/ 6 w 48"/>
                <a:gd name="T3" fmla="*/ 0 h 60"/>
                <a:gd name="T4" fmla="*/ 6 w 48"/>
                <a:gd name="T5" fmla="*/ 4 h 60"/>
                <a:gd name="T6" fmla="*/ 3 w 48"/>
                <a:gd name="T7" fmla="*/ 7 h 60"/>
                <a:gd name="T8" fmla="*/ 0 w 48"/>
                <a:gd name="T9" fmla="*/ 6 h 60"/>
                <a:gd name="T10" fmla="*/ 0 60000 65536"/>
                <a:gd name="T11" fmla="*/ 0 60000 65536"/>
                <a:gd name="T12" fmla="*/ 0 60000 65536"/>
                <a:gd name="T13" fmla="*/ 0 60000 65536"/>
                <a:gd name="T14" fmla="*/ 0 60000 65536"/>
                <a:gd name="T15" fmla="*/ 0 w 48"/>
                <a:gd name="T16" fmla="*/ 0 h 60"/>
                <a:gd name="T17" fmla="*/ 48 w 48"/>
                <a:gd name="T18" fmla="*/ 60 h 60"/>
              </a:gdLst>
              <a:ahLst/>
              <a:cxnLst>
                <a:cxn ang="T10">
                  <a:pos x="T0" y="T1"/>
                </a:cxn>
                <a:cxn ang="T11">
                  <a:pos x="T2" y="T3"/>
                </a:cxn>
                <a:cxn ang="T12">
                  <a:pos x="T4" y="T5"/>
                </a:cxn>
                <a:cxn ang="T13">
                  <a:pos x="T6" y="T7"/>
                </a:cxn>
                <a:cxn ang="T14">
                  <a:pos x="T8" y="T9"/>
                </a:cxn>
              </a:cxnLst>
              <a:rect l="T15" t="T16" r="T17" b="T18"/>
              <a:pathLst>
                <a:path w="48" h="60">
                  <a:moveTo>
                    <a:pt x="0" y="48"/>
                  </a:moveTo>
                  <a:lnTo>
                    <a:pt x="48" y="0"/>
                  </a:lnTo>
                  <a:lnTo>
                    <a:pt x="48" y="36"/>
                  </a:lnTo>
                  <a:lnTo>
                    <a:pt x="32" y="60"/>
                  </a:lnTo>
                  <a:lnTo>
                    <a:pt x="0" y="48"/>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8" name="Freeform 70"/>
            <p:cNvSpPr>
              <a:spLocks/>
            </p:cNvSpPr>
            <p:nvPr/>
          </p:nvSpPr>
          <p:spPr bwMode="auto">
            <a:xfrm>
              <a:off x="894" y="1260"/>
              <a:ext cx="179" cy="265"/>
            </a:xfrm>
            <a:custGeom>
              <a:avLst/>
              <a:gdLst>
                <a:gd name="T0" fmla="*/ 23 w 208"/>
                <a:gd name="T1" fmla="*/ 0 h 308"/>
                <a:gd name="T2" fmla="*/ 25 w 208"/>
                <a:gd name="T3" fmla="*/ 3 h 308"/>
                <a:gd name="T4" fmla="*/ 25 w 208"/>
                <a:gd name="T5" fmla="*/ 8 h 308"/>
                <a:gd name="T6" fmla="*/ 22 w 208"/>
                <a:gd name="T7" fmla="*/ 12 h 308"/>
                <a:gd name="T8" fmla="*/ 25 w 208"/>
                <a:gd name="T9" fmla="*/ 15 h 308"/>
                <a:gd name="T10" fmla="*/ 20 w 208"/>
                <a:gd name="T11" fmla="*/ 18 h 308"/>
                <a:gd name="T12" fmla="*/ 16 w 208"/>
                <a:gd name="T13" fmla="*/ 19 h 308"/>
                <a:gd name="T14" fmla="*/ 19 w 208"/>
                <a:gd name="T15" fmla="*/ 23 h 308"/>
                <a:gd name="T16" fmla="*/ 16 w 208"/>
                <a:gd name="T17" fmla="*/ 27 h 308"/>
                <a:gd name="T18" fmla="*/ 11 w 208"/>
                <a:gd name="T19" fmla="*/ 25 h 308"/>
                <a:gd name="T20" fmla="*/ 9 w 208"/>
                <a:gd name="T21" fmla="*/ 29 h 308"/>
                <a:gd name="T22" fmla="*/ 8 w 208"/>
                <a:gd name="T23" fmla="*/ 34 h 308"/>
                <a:gd name="T24" fmla="*/ 4 w 208"/>
                <a:gd name="T25" fmla="*/ 38 h 308"/>
                <a:gd name="T26" fmla="*/ 3 w 208"/>
                <a:gd name="T27" fmla="*/ 36 h 308"/>
                <a:gd name="T28" fmla="*/ 0 w 208"/>
                <a:gd name="T29" fmla="*/ 31 h 308"/>
                <a:gd name="T30" fmla="*/ 3 w 208"/>
                <a:gd name="T31" fmla="*/ 26 h 308"/>
                <a:gd name="T32" fmla="*/ 3 w 208"/>
                <a:gd name="T33" fmla="*/ 23 h 308"/>
                <a:gd name="T34" fmla="*/ 5 w 208"/>
                <a:gd name="T35" fmla="*/ 21 h 308"/>
                <a:gd name="T36" fmla="*/ 3 w 208"/>
                <a:gd name="T37" fmla="*/ 19 h 308"/>
                <a:gd name="T38" fmla="*/ 3 w 208"/>
                <a:gd name="T39" fmla="*/ 12 h 308"/>
                <a:gd name="T40" fmla="*/ 8 w 208"/>
                <a:gd name="T41" fmla="*/ 12 h 308"/>
                <a:gd name="T42" fmla="*/ 9 w 208"/>
                <a:gd name="T43" fmla="*/ 16 h 308"/>
                <a:gd name="T44" fmla="*/ 10 w 208"/>
                <a:gd name="T45" fmla="*/ 8 h 308"/>
                <a:gd name="T46" fmla="*/ 19 w 208"/>
                <a:gd name="T47" fmla="*/ 5 h 308"/>
                <a:gd name="T48" fmla="*/ 23 w 208"/>
                <a:gd name="T49" fmla="*/ 0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8"/>
                <a:gd name="T76" fmla="*/ 0 h 308"/>
                <a:gd name="T77" fmla="*/ 208 w 208"/>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8" h="308">
                  <a:moveTo>
                    <a:pt x="188" y="0"/>
                  </a:moveTo>
                  <a:lnTo>
                    <a:pt x="208" y="28"/>
                  </a:lnTo>
                  <a:lnTo>
                    <a:pt x="200" y="64"/>
                  </a:lnTo>
                  <a:lnTo>
                    <a:pt x="180" y="96"/>
                  </a:lnTo>
                  <a:lnTo>
                    <a:pt x="204" y="120"/>
                  </a:lnTo>
                  <a:lnTo>
                    <a:pt x="164" y="144"/>
                  </a:lnTo>
                  <a:lnTo>
                    <a:pt x="136" y="152"/>
                  </a:lnTo>
                  <a:lnTo>
                    <a:pt x="148" y="188"/>
                  </a:lnTo>
                  <a:lnTo>
                    <a:pt x="136" y="220"/>
                  </a:lnTo>
                  <a:lnTo>
                    <a:pt x="92" y="200"/>
                  </a:lnTo>
                  <a:lnTo>
                    <a:pt x="72" y="232"/>
                  </a:lnTo>
                  <a:lnTo>
                    <a:pt x="60" y="280"/>
                  </a:lnTo>
                  <a:lnTo>
                    <a:pt x="36" y="308"/>
                  </a:lnTo>
                  <a:lnTo>
                    <a:pt x="8" y="296"/>
                  </a:lnTo>
                  <a:lnTo>
                    <a:pt x="0" y="252"/>
                  </a:lnTo>
                  <a:lnTo>
                    <a:pt x="28" y="216"/>
                  </a:lnTo>
                  <a:lnTo>
                    <a:pt x="28" y="188"/>
                  </a:lnTo>
                  <a:lnTo>
                    <a:pt x="44" y="168"/>
                  </a:lnTo>
                  <a:lnTo>
                    <a:pt x="20" y="152"/>
                  </a:lnTo>
                  <a:lnTo>
                    <a:pt x="28" y="96"/>
                  </a:lnTo>
                  <a:lnTo>
                    <a:pt x="64" y="100"/>
                  </a:lnTo>
                  <a:lnTo>
                    <a:pt x="80" y="132"/>
                  </a:lnTo>
                  <a:lnTo>
                    <a:pt x="88" y="64"/>
                  </a:lnTo>
                  <a:lnTo>
                    <a:pt x="156" y="40"/>
                  </a:lnTo>
                  <a:lnTo>
                    <a:pt x="188"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89" name="Freeform 71"/>
            <p:cNvSpPr>
              <a:spLocks/>
            </p:cNvSpPr>
            <p:nvPr/>
          </p:nvSpPr>
          <p:spPr bwMode="auto">
            <a:xfrm>
              <a:off x="822" y="1528"/>
              <a:ext cx="89" cy="59"/>
            </a:xfrm>
            <a:custGeom>
              <a:avLst/>
              <a:gdLst>
                <a:gd name="T0" fmla="*/ 0 w 104"/>
                <a:gd name="T1" fmla="*/ 0 h 68"/>
                <a:gd name="T2" fmla="*/ 6 w 104"/>
                <a:gd name="T3" fmla="*/ 3 h 68"/>
                <a:gd name="T4" fmla="*/ 9 w 104"/>
                <a:gd name="T5" fmla="*/ 3 h 68"/>
                <a:gd name="T6" fmla="*/ 12 w 104"/>
                <a:gd name="T7" fmla="*/ 3 h 68"/>
                <a:gd name="T8" fmla="*/ 11 w 104"/>
                <a:gd name="T9" fmla="*/ 6 h 68"/>
                <a:gd name="T10" fmla="*/ 11 w 104"/>
                <a:gd name="T11" fmla="*/ 9 h 68"/>
                <a:gd name="T12" fmla="*/ 7 w 104"/>
                <a:gd name="T13" fmla="*/ 8 h 68"/>
                <a:gd name="T14" fmla="*/ 3 w 104"/>
                <a:gd name="T15" fmla="*/ 4 h 68"/>
                <a:gd name="T16" fmla="*/ 0 w 104"/>
                <a:gd name="T17" fmla="*/ 0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68"/>
                <a:gd name="T29" fmla="*/ 104 w 104"/>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68">
                  <a:moveTo>
                    <a:pt x="0" y="0"/>
                  </a:moveTo>
                  <a:lnTo>
                    <a:pt x="48" y="4"/>
                  </a:lnTo>
                  <a:lnTo>
                    <a:pt x="76" y="12"/>
                  </a:lnTo>
                  <a:lnTo>
                    <a:pt x="104" y="8"/>
                  </a:lnTo>
                  <a:lnTo>
                    <a:pt x="92" y="44"/>
                  </a:lnTo>
                  <a:lnTo>
                    <a:pt x="92" y="68"/>
                  </a:lnTo>
                  <a:lnTo>
                    <a:pt x="56" y="52"/>
                  </a:lnTo>
                  <a:lnTo>
                    <a:pt x="8" y="32"/>
                  </a:lnTo>
                  <a:lnTo>
                    <a:pt x="0"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0" name="Freeform 72"/>
            <p:cNvSpPr>
              <a:spLocks/>
            </p:cNvSpPr>
            <p:nvPr/>
          </p:nvSpPr>
          <p:spPr bwMode="auto">
            <a:xfrm>
              <a:off x="849" y="1611"/>
              <a:ext cx="35" cy="106"/>
            </a:xfrm>
            <a:custGeom>
              <a:avLst/>
              <a:gdLst>
                <a:gd name="T0" fmla="*/ 4 w 40"/>
                <a:gd name="T1" fmla="*/ 0 h 124"/>
                <a:gd name="T2" fmla="*/ 6 w 40"/>
                <a:gd name="T3" fmla="*/ 3 h 124"/>
                <a:gd name="T4" fmla="*/ 5 w 40"/>
                <a:gd name="T5" fmla="*/ 9 h 124"/>
                <a:gd name="T6" fmla="*/ 4 w 40"/>
                <a:gd name="T7" fmla="*/ 15 h 124"/>
                <a:gd name="T8" fmla="*/ 4 w 40"/>
                <a:gd name="T9" fmla="*/ 13 h 124"/>
                <a:gd name="T10" fmla="*/ 0 w 40"/>
                <a:gd name="T11" fmla="*/ 7 h 124"/>
                <a:gd name="T12" fmla="*/ 4 w 40"/>
                <a:gd name="T13" fmla="*/ 3 h 124"/>
                <a:gd name="T14" fmla="*/ 4 w 40"/>
                <a:gd name="T15" fmla="*/ 0 h 124"/>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124"/>
                <a:gd name="T26" fmla="*/ 40 w 40"/>
                <a:gd name="T27" fmla="*/ 124 h 1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124">
                  <a:moveTo>
                    <a:pt x="16" y="0"/>
                  </a:moveTo>
                  <a:lnTo>
                    <a:pt x="40" y="32"/>
                  </a:lnTo>
                  <a:lnTo>
                    <a:pt x="36" y="88"/>
                  </a:lnTo>
                  <a:lnTo>
                    <a:pt x="32" y="124"/>
                  </a:lnTo>
                  <a:lnTo>
                    <a:pt x="8" y="116"/>
                  </a:lnTo>
                  <a:lnTo>
                    <a:pt x="0" y="64"/>
                  </a:lnTo>
                  <a:lnTo>
                    <a:pt x="4" y="24"/>
                  </a:lnTo>
                  <a:lnTo>
                    <a:pt x="16"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1" name="Freeform 73"/>
            <p:cNvSpPr>
              <a:spLocks/>
            </p:cNvSpPr>
            <p:nvPr/>
          </p:nvSpPr>
          <p:spPr bwMode="auto">
            <a:xfrm>
              <a:off x="825" y="1728"/>
              <a:ext cx="38" cy="41"/>
            </a:xfrm>
            <a:custGeom>
              <a:avLst/>
              <a:gdLst>
                <a:gd name="T0" fmla="*/ 3 w 44"/>
                <a:gd name="T1" fmla="*/ 0 h 48"/>
                <a:gd name="T2" fmla="*/ 6 w 44"/>
                <a:gd name="T3" fmla="*/ 3 h 48"/>
                <a:gd name="T4" fmla="*/ 4 w 44"/>
                <a:gd name="T5" fmla="*/ 6 h 48"/>
                <a:gd name="T6" fmla="*/ 3 w 44"/>
                <a:gd name="T7" fmla="*/ 3 h 48"/>
                <a:gd name="T8" fmla="*/ 0 w 44"/>
                <a:gd name="T9" fmla="*/ 0 h 48"/>
                <a:gd name="T10" fmla="*/ 3 w 44"/>
                <a:gd name="T11" fmla="*/ 0 h 48"/>
                <a:gd name="T12" fmla="*/ 0 60000 65536"/>
                <a:gd name="T13" fmla="*/ 0 60000 65536"/>
                <a:gd name="T14" fmla="*/ 0 60000 65536"/>
                <a:gd name="T15" fmla="*/ 0 60000 65536"/>
                <a:gd name="T16" fmla="*/ 0 60000 65536"/>
                <a:gd name="T17" fmla="*/ 0 60000 65536"/>
                <a:gd name="T18" fmla="*/ 0 w 44"/>
                <a:gd name="T19" fmla="*/ 0 h 48"/>
                <a:gd name="T20" fmla="*/ 44 w 4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4" h="48">
                  <a:moveTo>
                    <a:pt x="24" y="0"/>
                  </a:moveTo>
                  <a:lnTo>
                    <a:pt x="44" y="20"/>
                  </a:lnTo>
                  <a:lnTo>
                    <a:pt x="32" y="48"/>
                  </a:lnTo>
                  <a:lnTo>
                    <a:pt x="4" y="32"/>
                  </a:lnTo>
                  <a:lnTo>
                    <a:pt x="0" y="0"/>
                  </a:lnTo>
                  <a:lnTo>
                    <a:pt x="24"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2" name="Freeform 74"/>
            <p:cNvSpPr>
              <a:spLocks/>
            </p:cNvSpPr>
            <p:nvPr/>
          </p:nvSpPr>
          <p:spPr bwMode="auto">
            <a:xfrm>
              <a:off x="1534" y="1071"/>
              <a:ext cx="90" cy="72"/>
            </a:xfrm>
            <a:custGeom>
              <a:avLst/>
              <a:gdLst>
                <a:gd name="T0" fmla="*/ 5 w 104"/>
                <a:gd name="T1" fmla="*/ 3 h 84"/>
                <a:gd name="T2" fmla="*/ 9 w 104"/>
                <a:gd name="T3" fmla="*/ 3 h 84"/>
                <a:gd name="T4" fmla="*/ 10 w 104"/>
                <a:gd name="T5" fmla="*/ 6 h 84"/>
                <a:gd name="T6" fmla="*/ 14 w 104"/>
                <a:gd name="T7" fmla="*/ 8 h 84"/>
                <a:gd name="T8" fmla="*/ 6 w 104"/>
                <a:gd name="T9" fmla="*/ 9 h 84"/>
                <a:gd name="T10" fmla="*/ 0 w 104"/>
                <a:gd name="T11" fmla="*/ 5 h 84"/>
                <a:gd name="T12" fmla="*/ 3 w 104"/>
                <a:gd name="T13" fmla="*/ 0 h 84"/>
                <a:gd name="T14" fmla="*/ 5 w 104"/>
                <a:gd name="T15" fmla="*/ 3 h 84"/>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84"/>
                <a:gd name="T26" fmla="*/ 104 w 104"/>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84">
                  <a:moveTo>
                    <a:pt x="36" y="4"/>
                  </a:moveTo>
                  <a:lnTo>
                    <a:pt x="68" y="28"/>
                  </a:lnTo>
                  <a:lnTo>
                    <a:pt x="76" y="52"/>
                  </a:lnTo>
                  <a:lnTo>
                    <a:pt x="104" y="72"/>
                  </a:lnTo>
                  <a:lnTo>
                    <a:pt x="44" y="84"/>
                  </a:lnTo>
                  <a:lnTo>
                    <a:pt x="0" y="44"/>
                  </a:lnTo>
                  <a:lnTo>
                    <a:pt x="4" y="0"/>
                  </a:lnTo>
                  <a:lnTo>
                    <a:pt x="36" y="4"/>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3" name="Freeform 75"/>
            <p:cNvSpPr>
              <a:spLocks/>
            </p:cNvSpPr>
            <p:nvPr/>
          </p:nvSpPr>
          <p:spPr bwMode="auto">
            <a:xfrm>
              <a:off x="1519" y="1123"/>
              <a:ext cx="20" cy="38"/>
            </a:xfrm>
            <a:custGeom>
              <a:avLst/>
              <a:gdLst>
                <a:gd name="T0" fmla="*/ 3 w 24"/>
                <a:gd name="T1" fmla="*/ 0 h 44"/>
                <a:gd name="T2" fmla="*/ 3 w 24"/>
                <a:gd name="T3" fmla="*/ 4 h 44"/>
                <a:gd name="T4" fmla="*/ 0 w 24"/>
                <a:gd name="T5" fmla="*/ 6 h 44"/>
                <a:gd name="T6" fmla="*/ 3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4" name="Freeform 76"/>
            <p:cNvSpPr>
              <a:spLocks/>
            </p:cNvSpPr>
            <p:nvPr/>
          </p:nvSpPr>
          <p:spPr bwMode="auto">
            <a:xfrm>
              <a:off x="1565" y="1157"/>
              <a:ext cx="21" cy="38"/>
            </a:xfrm>
            <a:custGeom>
              <a:avLst/>
              <a:gdLst>
                <a:gd name="T0" fmla="*/ 4 w 24"/>
                <a:gd name="T1" fmla="*/ 0 h 44"/>
                <a:gd name="T2" fmla="*/ 4 w 24"/>
                <a:gd name="T3" fmla="*/ 4 h 44"/>
                <a:gd name="T4" fmla="*/ 0 w 24"/>
                <a:gd name="T5" fmla="*/ 6 h 44"/>
                <a:gd name="T6" fmla="*/ 4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5" name="Freeform 77"/>
            <p:cNvSpPr>
              <a:spLocks/>
            </p:cNvSpPr>
            <p:nvPr/>
          </p:nvSpPr>
          <p:spPr bwMode="auto">
            <a:xfrm>
              <a:off x="1524" y="1000"/>
              <a:ext cx="21" cy="38"/>
            </a:xfrm>
            <a:custGeom>
              <a:avLst/>
              <a:gdLst>
                <a:gd name="T0" fmla="*/ 4 w 24"/>
                <a:gd name="T1" fmla="*/ 0 h 44"/>
                <a:gd name="T2" fmla="*/ 4 w 24"/>
                <a:gd name="T3" fmla="*/ 4 h 44"/>
                <a:gd name="T4" fmla="*/ 0 w 24"/>
                <a:gd name="T5" fmla="*/ 6 h 44"/>
                <a:gd name="T6" fmla="*/ 4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6" name="Freeform 78"/>
            <p:cNvSpPr>
              <a:spLocks/>
            </p:cNvSpPr>
            <p:nvPr/>
          </p:nvSpPr>
          <p:spPr bwMode="auto">
            <a:xfrm>
              <a:off x="1557" y="1023"/>
              <a:ext cx="21" cy="38"/>
            </a:xfrm>
            <a:custGeom>
              <a:avLst/>
              <a:gdLst>
                <a:gd name="T0" fmla="*/ 4 w 24"/>
                <a:gd name="T1" fmla="*/ 0 h 44"/>
                <a:gd name="T2" fmla="*/ 4 w 24"/>
                <a:gd name="T3" fmla="*/ 4 h 44"/>
                <a:gd name="T4" fmla="*/ 0 w 24"/>
                <a:gd name="T5" fmla="*/ 6 h 44"/>
                <a:gd name="T6" fmla="*/ 4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7" name="Freeform 79"/>
            <p:cNvSpPr>
              <a:spLocks/>
            </p:cNvSpPr>
            <p:nvPr/>
          </p:nvSpPr>
          <p:spPr bwMode="auto">
            <a:xfrm>
              <a:off x="1604" y="1052"/>
              <a:ext cx="21" cy="37"/>
            </a:xfrm>
            <a:custGeom>
              <a:avLst/>
              <a:gdLst>
                <a:gd name="T0" fmla="*/ 4 w 24"/>
                <a:gd name="T1" fmla="*/ 0 h 44"/>
                <a:gd name="T2" fmla="*/ 4 w 24"/>
                <a:gd name="T3" fmla="*/ 3 h 44"/>
                <a:gd name="T4" fmla="*/ 0 w 24"/>
                <a:gd name="T5" fmla="*/ 4 h 44"/>
                <a:gd name="T6" fmla="*/ 4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8" name="Freeform 80"/>
            <p:cNvSpPr>
              <a:spLocks/>
            </p:cNvSpPr>
            <p:nvPr/>
          </p:nvSpPr>
          <p:spPr bwMode="auto">
            <a:xfrm>
              <a:off x="1594" y="1002"/>
              <a:ext cx="20" cy="38"/>
            </a:xfrm>
            <a:custGeom>
              <a:avLst/>
              <a:gdLst>
                <a:gd name="T0" fmla="*/ 3 w 24"/>
                <a:gd name="T1" fmla="*/ 0 h 44"/>
                <a:gd name="T2" fmla="*/ 3 w 24"/>
                <a:gd name="T3" fmla="*/ 4 h 44"/>
                <a:gd name="T4" fmla="*/ 0 w 24"/>
                <a:gd name="T5" fmla="*/ 6 h 44"/>
                <a:gd name="T6" fmla="*/ 3 w 24"/>
                <a:gd name="T7" fmla="*/ 0 h 44"/>
                <a:gd name="T8" fmla="*/ 0 60000 65536"/>
                <a:gd name="T9" fmla="*/ 0 60000 65536"/>
                <a:gd name="T10" fmla="*/ 0 60000 65536"/>
                <a:gd name="T11" fmla="*/ 0 60000 65536"/>
                <a:gd name="T12" fmla="*/ 0 w 24"/>
                <a:gd name="T13" fmla="*/ 0 h 44"/>
                <a:gd name="T14" fmla="*/ 24 w 24"/>
                <a:gd name="T15" fmla="*/ 44 h 44"/>
              </a:gdLst>
              <a:ahLst/>
              <a:cxnLst>
                <a:cxn ang="T8">
                  <a:pos x="T0" y="T1"/>
                </a:cxn>
                <a:cxn ang="T9">
                  <a:pos x="T2" y="T3"/>
                </a:cxn>
                <a:cxn ang="T10">
                  <a:pos x="T4" y="T5"/>
                </a:cxn>
                <a:cxn ang="T11">
                  <a:pos x="T6" y="T7"/>
                </a:cxn>
              </a:cxnLst>
              <a:rect l="T12" t="T13" r="T14" b="T15"/>
              <a:pathLst>
                <a:path w="24" h="44">
                  <a:moveTo>
                    <a:pt x="12" y="0"/>
                  </a:moveTo>
                  <a:lnTo>
                    <a:pt x="24" y="32"/>
                  </a:lnTo>
                  <a:lnTo>
                    <a:pt x="0" y="44"/>
                  </a:lnTo>
                  <a:lnTo>
                    <a:pt x="1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199" name="Freeform 81"/>
            <p:cNvSpPr>
              <a:spLocks/>
            </p:cNvSpPr>
            <p:nvPr/>
          </p:nvSpPr>
          <p:spPr bwMode="auto">
            <a:xfrm>
              <a:off x="1076" y="2130"/>
              <a:ext cx="1439" cy="1862"/>
            </a:xfrm>
            <a:custGeom>
              <a:avLst/>
              <a:gdLst>
                <a:gd name="T0" fmla="*/ 109 w 1672"/>
                <a:gd name="T1" fmla="*/ 10 h 2164"/>
                <a:gd name="T2" fmla="*/ 116 w 1672"/>
                <a:gd name="T3" fmla="*/ 34 h 2164"/>
                <a:gd name="T4" fmla="*/ 125 w 1672"/>
                <a:gd name="T5" fmla="*/ 52 h 2164"/>
                <a:gd name="T6" fmla="*/ 145 w 1672"/>
                <a:gd name="T7" fmla="*/ 71 h 2164"/>
                <a:gd name="T8" fmla="*/ 157 w 1672"/>
                <a:gd name="T9" fmla="*/ 93 h 2164"/>
                <a:gd name="T10" fmla="*/ 162 w 1672"/>
                <a:gd name="T11" fmla="*/ 120 h 2164"/>
                <a:gd name="T12" fmla="*/ 167 w 1672"/>
                <a:gd name="T13" fmla="*/ 133 h 2164"/>
                <a:gd name="T14" fmla="*/ 174 w 1672"/>
                <a:gd name="T15" fmla="*/ 121 h 2164"/>
                <a:gd name="T16" fmla="*/ 205 w 1672"/>
                <a:gd name="T17" fmla="*/ 139 h 2164"/>
                <a:gd name="T18" fmla="*/ 191 w 1672"/>
                <a:gd name="T19" fmla="*/ 171 h 2164"/>
                <a:gd name="T20" fmla="*/ 182 w 1672"/>
                <a:gd name="T21" fmla="*/ 179 h 2164"/>
                <a:gd name="T22" fmla="*/ 174 w 1672"/>
                <a:gd name="T23" fmla="*/ 190 h 2164"/>
                <a:gd name="T24" fmla="*/ 194 w 1672"/>
                <a:gd name="T25" fmla="*/ 192 h 2164"/>
                <a:gd name="T26" fmla="*/ 200 w 1672"/>
                <a:gd name="T27" fmla="*/ 199 h 2164"/>
                <a:gd name="T28" fmla="*/ 188 w 1672"/>
                <a:gd name="T29" fmla="*/ 213 h 2164"/>
                <a:gd name="T30" fmla="*/ 157 w 1672"/>
                <a:gd name="T31" fmla="*/ 220 h 2164"/>
                <a:gd name="T32" fmla="*/ 137 w 1672"/>
                <a:gd name="T33" fmla="*/ 225 h 2164"/>
                <a:gd name="T34" fmla="*/ 121 w 1672"/>
                <a:gd name="T35" fmla="*/ 225 h 2164"/>
                <a:gd name="T36" fmla="*/ 110 w 1672"/>
                <a:gd name="T37" fmla="*/ 232 h 2164"/>
                <a:gd name="T38" fmla="*/ 98 w 1672"/>
                <a:gd name="T39" fmla="*/ 236 h 2164"/>
                <a:gd name="T40" fmla="*/ 80 w 1672"/>
                <a:gd name="T41" fmla="*/ 230 h 2164"/>
                <a:gd name="T42" fmla="*/ 66 w 1672"/>
                <a:gd name="T43" fmla="*/ 242 h 2164"/>
                <a:gd name="T44" fmla="*/ 64 w 1672"/>
                <a:gd name="T45" fmla="*/ 252 h 2164"/>
                <a:gd name="T46" fmla="*/ 40 w 1672"/>
                <a:gd name="T47" fmla="*/ 247 h 2164"/>
                <a:gd name="T48" fmla="*/ 22 w 1672"/>
                <a:gd name="T49" fmla="*/ 253 h 2164"/>
                <a:gd name="T50" fmla="*/ 16 w 1672"/>
                <a:gd name="T51" fmla="*/ 263 h 2164"/>
                <a:gd name="T52" fmla="*/ 7 w 1672"/>
                <a:gd name="T53" fmla="*/ 257 h 2164"/>
                <a:gd name="T54" fmla="*/ 3 w 1672"/>
                <a:gd name="T55" fmla="*/ 253 h 2164"/>
                <a:gd name="T56" fmla="*/ 19 w 1672"/>
                <a:gd name="T57" fmla="*/ 244 h 2164"/>
                <a:gd name="T58" fmla="*/ 27 w 1672"/>
                <a:gd name="T59" fmla="*/ 234 h 2164"/>
                <a:gd name="T60" fmla="*/ 34 w 1672"/>
                <a:gd name="T61" fmla="*/ 216 h 2164"/>
                <a:gd name="T62" fmla="*/ 55 w 1672"/>
                <a:gd name="T63" fmla="*/ 205 h 2164"/>
                <a:gd name="T64" fmla="*/ 77 w 1672"/>
                <a:gd name="T65" fmla="*/ 206 h 2164"/>
                <a:gd name="T66" fmla="*/ 89 w 1672"/>
                <a:gd name="T67" fmla="*/ 190 h 2164"/>
                <a:gd name="T68" fmla="*/ 83 w 1672"/>
                <a:gd name="T69" fmla="*/ 179 h 2164"/>
                <a:gd name="T70" fmla="*/ 77 w 1672"/>
                <a:gd name="T71" fmla="*/ 159 h 2164"/>
                <a:gd name="T72" fmla="*/ 78 w 1672"/>
                <a:gd name="T73" fmla="*/ 124 h 2164"/>
                <a:gd name="T74" fmla="*/ 74 w 1672"/>
                <a:gd name="T75" fmla="*/ 107 h 2164"/>
                <a:gd name="T76" fmla="*/ 76 w 1672"/>
                <a:gd name="T77" fmla="*/ 103 h 2164"/>
                <a:gd name="T78" fmla="*/ 76 w 1672"/>
                <a:gd name="T79" fmla="*/ 89 h 2164"/>
                <a:gd name="T80" fmla="*/ 81 w 1672"/>
                <a:gd name="T81" fmla="*/ 75 h 2164"/>
                <a:gd name="T82" fmla="*/ 70 w 1672"/>
                <a:gd name="T83" fmla="*/ 77 h 2164"/>
                <a:gd name="T84" fmla="*/ 62 w 1672"/>
                <a:gd name="T85" fmla="*/ 61 h 2164"/>
                <a:gd name="T86" fmla="*/ 64 w 1672"/>
                <a:gd name="T87" fmla="*/ 44 h 2164"/>
                <a:gd name="T88" fmla="*/ 71 w 1672"/>
                <a:gd name="T89" fmla="*/ 34 h 2164"/>
                <a:gd name="T90" fmla="*/ 78 w 1672"/>
                <a:gd name="T91" fmla="*/ 22 h 2164"/>
                <a:gd name="T92" fmla="*/ 96 w 1672"/>
                <a:gd name="T93" fmla="*/ 10 h 21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2"/>
                <a:gd name="T142" fmla="*/ 0 h 2164"/>
                <a:gd name="T143" fmla="*/ 1672 w 1672"/>
                <a:gd name="T144" fmla="*/ 2164 h 21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2" h="2164">
                  <a:moveTo>
                    <a:pt x="796" y="0"/>
                  </a:moveTo>
                  <a:lnTo>
                    <a:pt x="856" y="52"/>
                  </a:lnTo>
                  <a:lnTo>
                    <a:pt x="896" y="84"/>
                  </a:lnTo>
                  <a:lnTo>
                    <a:pt x="908" y="148"/>
                  </a:lnTo>
                  <a:lnTo>
                    <a:pt x="940" y="248"/>
                  </a:lnTo>
                  <a:lnTo>
                    <a:pt x="948" y="276"/>
                  </a:lnTo>
                  <a:lnTo>
                    <a:pt x="976" y="292"/>
                  </a:lnTo>
                  <a:lnTo>
                    <a:pt x="992" y="364"/>
                  </a:lnTo>
                  <a:lnTo>
                    <a:pt x="1016" y="436"/>
                  </a:lnTo>
                  <a:lnTo>
                    <a:pt x="1060" y="432"/>
                  </a:lnTo>
                  <a:lnTo>
                    <a:pt x="1152" y="484"/>
                  </a:lnTo>
                  <a:lnTo>
                    <a:pt x="1188" y="588"/>
                  </a:lnTo>
                  <a:lnTo>
                    <a:pt x="1240" y="616"/>
                  </a:lnTo>
                  <a:lnTo>
                    <a:pt x="1220" y="660"/>
                  </a:lnTo>
                  <a:lnTo>
                    <a:pt x="1288" y="772"/>
                  </a:lnTo>
                  <a:lnTo>
                    <a:pt x="1336" y="880"/>
                  </a:lnTo>
                  <a:lnTo>
                    <a:pt x="1352" y="960"/>
                  </a:lnTo>
                  <a:lnTo>
                    <a:pt x="1324" y="976"/>
                  </a:lnTo>
                  <a:lnTo>
                    <a:pt x="1304" y="1032"/>
                  </a:lnTo>
                  <a:lnTo>
                    <a:pt x="1340" y="1072"/>
                  </a:lnTo>
                  <a:lnTo>
                    <a:pt x="1360" y="1092"/>
                  </a:lnTo>
                  <a:lnTo>
                    <a:pt x="1376" y="1060"/>
                  </a:lnTo>
                  <a:lnTo>
                    <a:pt x="1376" y="1024"/>
                  </a:lnTo>
                  <a:lnTo>
                    <a:pt x="1420" y="1000"/>
                  </a:lnTo>
                  <a:lnTo>
                    <a:pt x="1488" y="996"/>
                  </a:lnTo>
                  <a:lnTo>
                    <a:pt x="1556" y="1008"/>
                  </a:lnTo>
                  <a:lnTo>
                    <a:pt x="1672" y="1132"/>
                  </a:lnTo>
                  <a:lnTo>
                    <a:pt x="1668" y="1308"/>
                  </a:lnTo>
                  <a:lnTo>
                    <a:pt x="1628" y="1328"/>
                  </a:lnTo>
                  <a:lnTo>
                    <a:pt x="1568" y="1400"/>
                  </a:lnTo>
                  <a:lnTo>
                    <a:pt x="1568" y="1436"/>
                  </a:lnTo>
                  <a:lnTo>
                    <a:pt x="1532" y="1436"/>
                  </a:lnTo>
                  <a:lnTo>
                    <a:pt x="1492" y="1464"/>
                  </a:lnTo>
                  <a:lnTo>
                    <a:pt x="1520" y="1512"/>
                  </a:lnTo>
                  <a:lnTo>
                    <a:pt x="1456" y="1528"/>
                  </a:lnTo>
                  <a:lnTo>
                    <a:pt x="1420" y="1560"/>
                  </a:lnTo>
                  <a:lnTo>
                    <a:pt x="1480" y="1560"/>
                  </a:lnTo>
                  <a:lnTo>
                    <a:pt x="1520" y="1584"/>
                  </a:lnTo>
                  <a:lnTo>
                    <a:pt x="1580" y="1576"/>
                  </a:lnTo>
                  <a:lnTo>
                    <a:pt x="1620" y="1564"/>
                  </a:lnTo>
                  <a:lnTo>
                    <a:pt x="1660" y="1556"/>
                  </a:lnTo>
                  <a:lnTo>
                    <a:pt x="1628" y="1624"/>
                  </a:lnTo>
                  <a:lnTo>
                    <a:pt x="1628" y="1660"/>
                  </a:lnTo>
                  <a:lnTo>
                    <a:pt x="1568" y="1696"/>
                  </a:lnTo>
                  <a:lnTo>
                    <a:pt x="1540" y="1744"/>
                  </a:lnTo>
                  <a:lnTo>
                    <a:pt x="1448" y="1792"/>
                  </a:lnTo>
                  <a:lnTo>
                    <a:pt x="1384" y="1832"/>
                  </a:lnTo>
                  <a:lnTo>
                    <a:pt x="1288" y="1804"/>
                  </a:lnTo>
                  <a:lnTo>
                    <a:pt x="1204" y="1820"/>
                  </a:lnTo>
                  <a:lnTo>
                    <a:pt x="1180" y="1840"/>
                  </a:lnTo>
                  <a:lnTo>
                    <a:pt x="1124" y="1836"/>
                  </a:lnTo>
                  <a:lnTo>
                    <a:pt x="1048" y="1836"/>
                  </a:lnTo>
                  <a:lnTo>
                    <a:pt x="1020" y="1812"/>
                  </a:lnTo>
                  <a:lnTo>
                    <a:pt x="992" y="1844"/>
                  </a:lnTo>
                  <a:lnTo>
                    <a:pt x="952" y="1868"/>
                  </a:lnTo>
                  <a:lnTo>
                    <a:pt x="884" y="1872"/>
                  </a:lnTo>
                  <a:lnTo>
                    <a:pt x="900" y="1908"/>
                  </a:lnTo>
                  <a:lnTo>
                    <a:pt x="884" y="1928"/>
                  </a:lnTo>
                  <a:lnTo>
                    <a:pt x="820" y="1916"/>
                  </a:lnTo>
                  <a:lnTo>
                    <a:pt x="796" y="1932"/>
                  </a:lnTo>
                  <a:lnTo>
                    <a:pt x="752" y="1908"/>
                  </a:lnTo>
                  <a:lnTo>
                    <a:pt x="688" y="1888"/>
                  </a:lnTo>
                  <a:lnTo>
                    <a:pt x="656" y="1880"/>
                  </a:lnTo>
                  <a:lnTo>
                    <a:pt x="628" y="1900"/>
                  </a:lnTo>
                  <a:lnTo>
                    <a:pt x="544" y="1904"/>
                  </a:lnTo>
                  <a:lnTo>
                    <a:pt x="540" y="1980"/>
                  </a:lnTo>
                  <a:lnTo>
                    <a:pt x="516" y="2008"/>
                  </a:lnTo>
                  <a:lnTo>
                    <a:pt x="500" y="2028"/>
                  </a:lnTo>
                  <a:lnTo>
                    <a:pt x="520" y="2060"/>
                  </a:lnTo>
                  <a:lnTo>
                    <a:pt x="444" y="2052"/>
                  </a:lnTo>
                  <a:lnTo>
                    <a:pt x="396" y="2024"/>
                  </a:lnTo>
                  <a:lnTo>
                    <a:pt x="328" y="2028"/>
                  </a:lnTo>
                  <a:lnTo>
                    <a:pt x="276" y="2020"/>
                  </a:lnTo>
                  <a:lnTo>
                    <a:pt x="204" y="2092"/>
                  </a:lnTo>
                  <a:lnTo>
                    <a:pt x="172" y="2080"/>
                  </a:lnTo>
                  <a:lnTo>
                    <a:pt x="156" y="2108"/>
                  </a:lnTo>
                  <a:lnTo>
                    <a:pt x="172" y="2128"/>
                  </a:lnTo>
                  <a:lnTo>
                    <a:pt x="128" y="2164"/>
                  </a:lnTo>
                  <a:lnTo>
                    <a:pt x="108" y="2140"/>
                  </a:lnTo>
                  <a:lnTo>
                    <a:pt x="108" y="2108"/>
                  </a:lnTo>
                  <a:lnTo>
                    <a:pt x="52" y="2108"/>
                  </a:lnTo>
                  <a:lnTo>
                    <a:pt x="16" y="2136"/>
                  </a:lnTo>
                  <a:lnTo>
                    <a:pt x="0" y="2104"/>
                  </a:lnTo>
                  <a:lnTo>
                    <a:pt x="8" y="2080"/>
                  </a:lnTo>
                  <a:lnTo>
                    <a:pt x="72" y="2048"/>
                  </a:lnTo>
                  <a:lnTo>
                    <a:pt x="92" y="2072"/>
                  </a:lnTo>
                  <a:lnTo>
                    <a:pt x="152" y="1996"/>
                  </a:lnTo>
                  <a:lnTo>
                    <a:pt x="176" y="1952"/>
                  </a:lnTo>
                  <a:lnTo>
                    <a:pt x="208" y="1952"/>
                  </a:lnTo>
                  <a:lnTo>
                    <a:pt x="220" y="1912"/>
                  </a:lnTo>
                  <a:lnTo>
                    <a:pt x="300" y="1856"/>
                  </a:lnTo>
                  <a:lnTo>
                    <a:pt x="288" y="1812"/>
                  </a:lnTo>
                  <a:lnTo>
                    <a:pt x="280" y="1768"/>
                  </a:lnTo>
                  <a:lnTo>
                    <a:pt x="356" y="1760"/>
                  </a:lnTo>
                  <a:lnTo>
                    <a:pt x="352" y="1704"/>
                  </a:lnTo>
                  <a:lnTo>
                    <a:pt x="452" y="1684"/>
                  </a:lnTo>
                  <a:lnTo>
                    <a:pt x="508" y="1708"/>
                  </a:lnTo>
                  <a:lnTo>
                    <a:pt x="572" y="1688"/>
                  </a:lnTo>
                  <a:lnTo>
                    <a:pt x="632" y="1688"/>
                  </a:lnTo>
                  <a:lnTo>
                    <a:pt x="644" y="1632"/>
                  </a:lnTo>
                  <a:lnTo>
                    <a:pt x="680" y="1588"/>
                  </a:lnTo>
                  <a:lnTo>
                    <a:pt x="732" y="1560"/>
                  </a:lnTo>
                  <a:lnTo>
                    <a:pt x="756" y="1520"/>
                  </a:lnTo>
                  <a:lnTo>
                    <a:pt x="708" y="1540"/>
                  </a:lnTo>
                  <a:lnTo>
                    <a:pt x="676" y="1464"/>
                  </a:lnTo>
                  <a:lnTo>
                    <a:pt x="676" y="1416"/>
                  </a:lnTo>
                  <a:lnTo>
                    <a:pt x="624" y="1396"/>
                  </a:lnTo>
                  <a:lnTo>
                    <a:pt x="620" y="1308"/>
                  </a:lnTo>
                  <a:lnTo>
                    <a:pt x="616" y="1260"/>
                  </a:lnTo>
                  <a:lnTo>
                    <a:pt x="640" y="1204"/>
                  </a:lnTo>
                  <a:lnTo>
                    <a:pt x="640" y="1016"/>
                  </a:lnTo>
                  <a:lnTo>
                    <a:pt x="644" y="984"/>
                  </a:lnTo>
                  <a:lnTo>
                    <a:pt x="572" y="908"/>
                  </a:lnTo>
                  <a:lnTo>
                    <a:pt x="608" y="876"/>
                  </a:lnTo>
                  <a:lnTo>
                    <a:pt x="656" y="936"/>
                  </a:lnTo>
                  <a:lnTo>
                    <a:pt x="668" y="912"/>
                  </a:lnTo>
                  <a:lnTo>
                    <a:pt x="616" y="840"/>
                  </a:lnTo>
                  <a:lnTo>
                    <a:pt x="616" y="772"/>
                  </a:lnTo>
                  <a:lnTo>
                    <a:pt x="644" y="752"/>
                  </a:lnTo>
                  <a:lnTo>
                    <a:pt x="612" y="732"/>
                  </a:lnTo>
                  <a:lnTo>
                    <a:pt x="620" y="708"/>
                  </a:lnTo>
                  <a:lnTo>
                    <a:pt x="664" y="664"/>
                  </a:lnTo>
                  <a:lnTo>
                    <a:pt x="664" y="612"/>
                  </a:lnTo>
                  <a:lnTo>
                    <a:pt x="616" y="616"/>
                  </a:lnTo>
                  <a:lnTo>
                    <a:pt x="588" y="664"/>
                  </a:lnTo>
                  <a:lnTo>
                    <a:pt x="572" y="628"/>
                  </a:lnTo>
                  <a:lnTo>
                    <a:pt x="592" y="584"/>
                  </a:lnTo>
                  <a:lnTo>
                    <a:pt x="544" y="588"/>
                  </a:lnTo>
                  <a:lnTo>
                    <a:pt x="508" y="504"/>
                  </a:lnTo>
                  <a:lnTo>
                    <a:pt x="492" y="472"/>
                  </a:lnTo>
                  <a:lnTo>
                    <a:pt x="500" y="420"/>
                  </a:lnTo>
                  <a:lnTo>
                    <a:pt x="520" y="360"/>
                  </a:lnTo>
                  <a:lnTo>
                    <a:pt x="576" y="340"/>
                  </a:lnTo>
                  <a:lnTo>
                    <a:pt x="584" y="304"/>
                  </a:lnTo>
                  <a:lnTo>
                    <a:pt x="588" y="280"/>
                  </a:lnTo>
                  <a:lnTo>
                    <a:pt x="584" y="240"/>
                  </a:lnTo>
                  <a:lnTo>
                    <a:pt x="592" y="212"/>
                  </a:lnTo>
                  <a:lnTo>
                    <a:pt x="640" y="184"/>
                  </a:lnTo>
                  <a:lnTo>
                    <a:pt x="736" y="136"/>
                  </a:lnTo>
                  <a:lnTo>
                    <a:pt x="760" y="132"/>
                  </a:lnTo>
                  <a:lnTo>
                    <a:pt x="781" y="86"/>
                  </a:lnTo>
                  <a:lnTo>
                    <a:pt x="769" y="50"/>
                  </a:lnTo>
                  <a:lnTo>
                    <a:pt x="796"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sp>
          <p:nvSpPr>
            <p:cNvPr id="200" name="Freeform 82"/>
            <p:cNvSpPr>
              <a:spLocks/>
            </p:cNvSpPr>
            <p:nvPr/>
          </p:nvSpPr>
          <p:spPr bwMode="auto">
            <a:xfrm>
              <a:off x="1300" y="2574"/>
              <a:ext cx="83" cy="121"/>
            </a:xfrm>
            <a:custGeom>
              <a:avLst/>
              <a:gdLst>
                <a:gd name="T0" fmla="*/ 9 w 96"/>
                <a:gd name="T1" fmla="*/ 0 h 140"/>
                <a:gd name="T2" fmla="*/ 12 w 96"/>
                <a:gd name="T3" fmla="*/ 6 h 140"/>
                <a:gd name="T4" fmla="*/ 11 w 96"/>
                <a:gd name="T5" fmla="*/ 9 h 140"/>
                <a:gd name="T6" fmla="*/ 9 w 96"/>
                <a:gd name="T7" fmla="*/ 14 h 140"/>
                <a:gd name="T8" fmla="*/ 3 w 96"/>
                <a:gd name="T9" fmla="*/ 19 h 140"/>
                <a:gd name="T10" fmla="*/ 0 w 96"/>
                <a:gd name="T11" fmla="*/ 12 h 140"/>
                <a:gd name="T12" fmla="*/ 7 w 96"/>
                <a:gd name="T13" fmla="*/ 8 h 140"/>
                <a:gd name="T14" fmla="*/ 9 w 96"/>
                <a:gd name="T15" fmla="*/ 0 h 140"/>
                <a:gd name="T16" fmla="*/ 0 60000 65536"/>
                <a:gd name="T17" fmla="*/ 0 60000 65536"/>
                <a:gd name="T18" fmla="*/ 0 60000 65536"/>
                <a:gd name="T19" fmla="*/ 0 60000 65536"/>
                <a:gd name="T20" fmla="*/ 0 60000 65536"/>
                <a:gd name="T21" fmla="*/ 0 60000 65536"/>
                <a:gd name="T22" fmla="*/ 0 60000 65536"/>
                <a:gd name="T23" fmla="*/ 0 60000 65536"/>
                <a:gd name="T24" fmla="*/ 0 w 96"/>
                <a:gd name="T25" fmla="*/ 0 h 140"/>
                <a:gd name="T26" fmla="*/ 96 w 96"/>
                <a:gd name="T27" fmla="*/ 140 h 1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6" h="140">
                  <a:moveTo>
                    <a:pt x="72" y="0"/>
                  </a:moveTo>
                  <a:lnTo>
                    <a:pt x="96" y="44"/>
                  </a:lnTo>
                  <a:lnTo>
                    <a:pt x="88" y="72"/>
                  </a:lnTo>
                  <a:lnTo>
                    <a:pt x="64" y="104"/>
                  </a:lnTo>
                  <a:lnTo>
                    <a:pt x="4" y="140"/>
                  </a:lnTo>
                  <a:lnTo>
                    <a:pt x="0" y="96"/>
                  </a:lnTo>
                  <a:lnTo>
                    <a:pt x="48" y="64"/>
                  </a:lnTo>
                  <a:lnTo>
                    <a:pt x="72" y="0"/>
                  </a:lnTo>
                  <a:close/>
                </a:path>
              </a:pathLst>
            </a:custGeom>
            <a:grpFill/>
            <a:ln w="3175" cap="flat" cmpd="sng">
              <a:solidFill>
                <a:srgbClr val="FFFFFF"/>
              </a:solidFill>
              <a:prstDash val="solid"/>
              <a:round/>
              <a:headEnd type="none" w="med" len="med"/>
              <a:tailEnd type="none" w="med" len="med"/>
            </a:ln>
          </p:spPr>
          <p:txBody>
            <a:bodyPr wrap="none" anchor="ctr"/>
            <a:lstStyle/>
            <a:p>
              <a:pPr>
                <a:buClr>
                  <a:srgbClr val="B40646"/>
                </a:buClr>
                <a:defRPr/>
              </a:pPr>
              <a:endParaRPr lang="en-GB" dirty="0">
                <a:solidFill>
                  <a:srgbClr val="000000"/>
                </a:solidFill>
              </a:endParaRPr>
            </a:p>
          </p:txBody>
        </p:sp>
      </p:grpSp>
    </p:spTree>
    <p:extLst>
      <p:ext uri="{BB962C8B-B14F-4D97-AF65-F5344CB8AC3E}">
        <p14:creationId xmlns:p14="http://schemas.microsoft.com/office/powerpoint/2010/main" val="17459591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9" name="Group 37"/>
          <p:cNvGrpSpPr>
            <a:grpSpLocks noChangeAspect="1"/>
          </p:cNvGrpSpPr>
          <p:nvPr/>
        </p:nvGrpSpPr>
        <p:grpSpPr bwMode="auto">
          <a:xfrm>
            <a:off x="3611724" y="1124744"/>
            <a:ext cx="4202356" cy="4682164"/>
            <a:chOff x="2928" y="960"/>
            <a:chExt cx="2343" cy="2641"/>
          </a:xfrm>
          <a:solidFill>
            <a:schemeClr val="accent3"/>
          </a:solidFill>
        </p:grpSpPr>
        <p:sp>
          <p:nvSpPr>
            <p:cNvPr id="201" name="Freeform 38"/>
            <p:cNvSpPr>
              <a:spLocks/>
            </p:cNvSpPr>
            <p:nvPr/>
          </p:nvSpPr>
          <p:spPr bwMode="auto">
            <a:xfrm>
              <a:off x="4395" y="960"/>
              <a:ext cx="777" cy="674"/>
            </a:xfrm>
            <a:custGeom>
              <a:avLst/>
              <a:gdLst>
                <a:gd name="T0" fmla="*/ 7889 w 620"/>
                <a:gd name="T1" fmla="*/ 3484 h 528"/>
                <a:gd name="T2" fmla="*/ 8226 w 620"/>
                <a:gd name="T3" fmla="*/ 3943 h 528"/>
                <a:gd name="T4" fmla="*/ 9236 w 620"/>
                <a:gd name="T5" fmla="*/ 4147 h 528"/>
                <a:gd name="T6" fmla="*/ 10911 w 620"/>
                <a:gd name="T7" fmla="*/ 3943 h 528"/>
                <a:gd name="T8" fmla="*/ 9938 w 620"/>
                <a:gd name="T9" fmla="*/ 4391 h 528"/>
                <a:gd name="T10" fmla="*/ 9583 w 620"/>
                <a:gd name="T11" fmla="*/ 5677 h 528"/>
                <a:gd name="T12" fmla="*/ 10911 w 620"/>
                <a:gd name="T13" fmla="*/ 6095 h 528"/>
                <a:gd name="T14" fmla="*/ 11746 w 620"/>
                <a:gd name="T15" fmla="*/ 6095 h 528"/>
                <a:gd name="T16" fmla="*/ 11923 w 620"/>
                <a:gd name="T17" fmla="*/ 7626 h 528"/>
                <a:gd name="T18" fmla="*/ 12455 w 620"/>
                <a:gd name="T19" fmla="*/ 9796 h 528"/>
                <a:gd name="T20" fmla="*/ 12764 w 620"/>
                <a:gd name="T21" fmla="*/ 12002 h 528"/>
                <a:gd name="T22" fmla="*/ 14443 w 620"/>
                <a:gd name="T23" fmla="*/ 14157 h 528"/>
                <a:gd name="T24" fmla="*/ 14124 w 620"/>
                <a:gd name="T25" fmla="*/ 15457 h 528"/>
                <a:gd name="T26" fmla="*/ 13099 w 620"/>
                <a:gd name="T27" fmla="*/ 16113 h 528"/>
                <a:gd name="T28" fmla="*/ 12101 w 620"/>
                <a:gd name="T29" fmla="*/ 15457 h 528"/>
                <a:gd name="T30" fmla="*/ 10083 w 620"/>
                <a:gd name="T31" fmla="*/ 14584 h 528"/>
                <a:gd name="T32" fmla="*/ 8555 w 620"/>
                <a:gd name="T33" fmla="*/ 13724 h 528"/>
                <a:gd name="T34" fmla="*/ 8226 w 620"/>
                <a:gd name="T35" fmla="*/ 12427 h 528"/>
                <a:gd name="T36" fmla="*/ 6389 w 620"/>
                <a:gd name="T37" fmla="*/ 11780 h 528"/>
                <a:gd name="T38" fmla="*/ 6711 w 620"/>
                <a:gd name="T39" fmla="*/ 10890 h 528"/>
                <a:gd name="T40" fmla="*/ 5863 w 620"/>
                <a:gd name="T41" fmla="*/ 10018 h 528"/>
                <a:gd name="T42" fmla="*/ 5049 w 620"/>
                <a:gd name="T43" fmla="*/ 10018 h 528"/>
                <a:gd name="T44" fmla="*/ 2684 w 620"/>
                <a:gd name="T45" fmla="*/ 8728 h 528"/>
                <a:gd name="T46" fmla="*/ 1328 w 620"/>
                <a:gd name="T47" fmla="*/ 9593 h 528"/>
                <a:gd name="T48" fmla="*/ 655 w 620"/>
                <a:gd name="T49" fmla="*/ 8728 h 528"/>
                <a:gd name="T50" fmla="*/ 488 w 620"/>
                <a:gd name="T51" fmla="*/ 6740 h 528"/>
                <a:gd name="T52" fmla="*/ 173 w 620"/>
                <a:gd name="T53" fmla="*/ 5441 h 528"/>
                <a:gd name="T54" fmla="*/ 173 w 620"/>
                <a:gd name="T55" fmla="*/ 4560 h 528"/>
                <a:gd name="T56" fmla="*/ 1134 w 620"/>
                <a:gd name="T57" fmla="*/ 4391 h 528"/>
                <a:gd name="T58" fmla="*/ 993 w 620"/>
                <a:gd name="T59" fmla="*/ 1958 h 528"/>
                <a:gd name="T60" fmla="*/ 1843 w 620"/>
                <a:gd name="T61" fmla="*/ 1751 h 528"/>
                <a:gd name="T62" fmla="*/ 2684 w 620"/>
                <a:gd name="T63" fmla="*/ 1534 h 528"/>
                <a:gd name="T64" fmla="*/ 3182 w 620"/>
                <a:gd name="T65" fmla="*/ 882 h 528"/>
                <a:gd name="T66" fmla="*/ 4371 w 620"/>
                <a:gd name="T67" fmla="*/ 204 h 528"/>
                <a:gd name="T68" fmla="*/ 4191 w 620"/>
                <a:gd name="T69" fmla="*/ 1534 h 528"/>
                <a:gd name="T70" fmla="*/ 4527 w 620"/>
                <a:gd name="T71" fmla="*/ 1534 h 528"/>
                <a:gd name="T72" fmla="*/ 5212 w 620"/>
                <a:gd name="T73" fmla="*/ 1534 h 528"/>
                <a:gd name="T74" fmla="*/ 5698 w 620"/>
                <a:gd name="T75" fmla="*/ 1104 h 528"/>
                <a:gd name="T76" fmla="*/ 6389 w 620"/>
                <a:gd name="T77" fmla="*/ 204 h 528"/>
                <a:gd name="T78" fmla="*/ 7206 w 620"/>
                <a:gd name="T79" fmla="*/ 882 h 528"/>
                <a:gd name="T80" fmla="*/ 7889 w 620"/>
                <a:gd name="T81" fmla="*/ 2853 h 5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0"/>
                <a:gd name="T124" fmla="*/ 0 h 528"/>
                <a:gd name="T125" fmla="*/ 620 w 620"/>
                <a:gd name="T126" fmla="*/ 528 h 5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0" h="528">
                  <a:moveTo>
                    <a:pt x="335" y="93"/>
                  </a:moveTo>
                  <a:lnTo>
                    <a:pt x="335" y="114"/>
                  </a:lnTo>
                  <a:lnTo>
                    <a:pt x="371" y="114"/>
                  </a:lnTo>
                  <a:lnTo>
                    <a:pt x="349" y="129"/>
                  </a:lnTo>
                  <a:lnTo>
                    <a:pt x="356" y="157"/>
                  </a:lnTo>
                  <a:lnTo>
                    <a:pt x="392" y="136"/>
                  </a:lnTo>
                  <a:lnTo>
                    <a:pt x="428" y="121"/>
                  </a:lnTo>
                  <a:lnTo>
                    <a:pt x="463" y="129"/>
                  </a:lnTo>
                  <a:lnTo>
                    <a:pt x="456" y="150"/>
                  </a:lnTo>
                  <a:lnTo>
                    <a:pt x="421" y="143"/>
                  </a:lnTo>
                  <a:lnTo>
                    <a:pt x="392" y="164"/>
                  </a:lnTo>
                  <a:lnTo>
                    <a:pt x="406" y="186"/>
                  </a:lnTo>
                  <a:lnTo>
                    <a:pt x="435" y="207"/>
                  </a:lnTo>
                  <a:lnTo>
                    <a:pt x="463" y="200"/>
                  </a:lnTo>
                  <a:lnTo>
                    <a:pt x="485" y="179"/>
                  </a:lnTo>
                  <a:lnTo>
                    <a:pt x="499" y="200"/>
                  </a:lnTo>
                  <a:lnTo>
                    <a:pt x="513" y="221"/>
                  </a:lnTo>
                  <a:lnTo>
                    <a:pt x="506" y="250"/>
                  </a:lnTo>
                  <a:lnTo>
                    <a:pt x="506" y="293"/>
                  </a:lnTo>
                  <a:lnTo>
                    <a:pt x="528" y="321"/>
                  </a:lnTo>
                  <a:lnTo>
                    <a:pt x="535" y="364"/>
                  </a:lnTo>
                  <a:lnTo>
                    <a:pt x="542" y="393"/>
                  </a:lnTo>
                  <a:lnTo>
                    <a:pt x="578" y="428"/>
                  </a:lnTo>
                  <a:lnTo>
                    <a:pt x="613" y="464"/>
                  </a:lnTo>
                  <a:lnTo>
                    <a:pt x="620" y="485"/>
                  </a:lnTo>
                  <a:lnTo>
                    <a:pt x="599" y="507"/>
                  </a:lnTo>
                  <a:lnTo>
                    <a:pt x="570" y="500"/>
                  </a:lnTo>
                  <a:lnTo>
                    <a:pt x="556" y="528"/>
                  </a:lnTo>
                  <a:lnTo>
                    <a:pt x="535" y="528"/>
                  </a:lnTo>
                  <a:lnTo>
                    <a:pt x="513" y="507"/>
                  </a:lnTo>
                  <a:lnTo>
                    <a:pt x="456" y="500"/>
                  </a:lnTo>
                  <a:lnTo>
                    <a:pt x="428" y="478"/>
                  </a:lnTo>
                  <a:lnTo>
                    <a:pt x="392" y="457"/>
                  </a:lnTo>
                  <a:lnTo>
                    <a:pt x="363" y="450"/>
                  </a:lnTo>
                  <a:lnTo>
                    <a:pt x="349" y="443"/>
                  </a:lnTo>
                  <a:lnTo>
                    <a:pt x="349" y="407"/>
                  </a:lnTo>
                  <a:lnTo>
                    <a:pt x="306" y="364"/>
                  </a:lnTo>
                  <a:lnTo>
                    <a:pt x="271" y="386"/>
                  </a:lnTo>
                  <a:lnTo>
                    <a:pt x="264" y="371"/>
                  </a:lnTo>
                  <a:lnTo>
                    <a:pt x="285" y="357"/>
                  </a:lnTo>
                  <a:lnTo>
                    <a:pt x="271" y="350"/>
                  </a:lnTo>
                  <a:lnTo>
                    <a:pt x="249" y="328"/>
                  </a:lnTo>
                  <a:lnTo>
                    <a:pt x="235" y="364"/>
                  </a:lnTo>
                  <a:lnTo>
                    <a:pt x="214" y="328"/>
                  </a:lnTo>
                  <a:lnTo>
                    <a:pt x="171" y="293"/>
                  </a:lnTo>
                  <a:lnTo>
                    <a:pt x="114" y="286"/>
                  </a:lnTo>
                  <a:lnTo>
                    <a:pt x="85" y="307"/>
                  </a:lnTo>
                  <a:lnTo>
                    <a:pt x="57" y="314"/>
                  </a:lnTo>
                  <a:lnTo>
                    <a:pt x="49" y="271"/>
                  </a:lnTo>
                  <a:lnTo>
                    <a:pt x="28" y="286"/>
                  </a:lnTo>
                  <a:lnTo>
                    <a:pt x="7" y="257"/>
                  </a:lnTo>
                  <a:lnTo>
                    <a:pt x="21" y="221"/>
                  </a:lnTo>
                  <a:lnTo>
                    <a:pt x="0" y="200"/>
                  </a:lnTo>
                  <a:lnTo>
                    <a:pt x="7" y="179"/>
                  </a:lnTo>
                  <a:lnTo>
                    <a:pt x="28" y="179"/>
                  </a:lnTo>
                  <a:lnTo>
                    <a:pt x="7" y="150"/>
                  </a:lnTo>
                  <a:lnTo>
                    <a:pt x="21" y="136"/>
                  </a:lnTo>
                  <a:lnTo>
                    <a:pt x="49" y="143"/>
                  </a:lnTo>
                  <a:lnTo>
                    <a:pt x="28" y="93"/>
                  </a:lnTo>
                  <a:lnTo>
                    <a:pt x="42" y="64"/>
                  </a:lnTo>
                  <a:lnTo>
                    <a:pt x="49" y="36"/>
                  </a:lnTo>
                  <a:lnTo>
                    <a:pt x="78" y="57"/>
                  </a:lnTo>
                  <a:lnTo>
                    <a:pt x="78" y="36"/>
                  </a:lnTo>
                  <a:lnTo>
                    <a:pt x="114" y="50"/>
                  </a:lnTo>
                  <a:lnTo>
                    <a:pt x="128" y="7"/>
                  </a:lnTo>
                  <a:lnTo>
                    <a:pt x="135" y="29"/>
                  </a:lnTo>
                  <a:lnTo>
                    <a:pt x="157" y="14"/>
                  </a:lnTo>
                  <a:lnTo>
                    <a:pt x="185" y="7"/>
                  </a:lnTo>
                  <a:lnTo>
                    <a:pt x="171" y="29"/>
                  </a:lnTo>
                  <a:lnTo>
                    <a:pt x="178" y="50"/>
                  </a:lnTo>
                  <a:lnTo>
                    <a:pt x="192" y="29"/>
                  </a:lnTo>
                  <a:lnTo>
                    <a:pt x="192" y="50"/>
                  </a:lnTo>
                  <a:lnTo>
                    <a:pt x="214" y="29"/>
                  </a:lnTo>
                  <a:lnTo>
                    <a:pt x="221" y="50"/>
                  </a:lnTo>
                  <a:lnTo>
                    <a:pt x="221" y="0"/>
                  </a:lnTo>
                  <a:lnTo>
                    <a:pt x="242" y="36"/>
                  </a:lnTo>
                  <a:lnTo>
                    <a:pt x="242" y="0"/>
                  </a:lnTo>
                  <a:lnTo>
                    <a:pt x="271" y="7"/>
                  </a:lnTo>
                  <a:lnTo>
                    <a:pt x="285" y="22"/>
                  </a:lnTo>
                  <a:lnTo>
                    <a:pt x="306" y="29"/>
                  </a:lnTo>
                  <a:lnTo>
                    <a:pt x="321" y="57"/>
                  </a:lnTo>
                  <a:lnTo>
                    <a:pt x="335" y="93"/>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nvGrpSpPr>
            <p:cNvPr id="202" name="Group 39"/>
            <p:cNvGrpSpPr>
              <a:grpSpLocks/>
            </p:cNvGrpSpPr>
            <p:nvPr/>
          </p:nvGrpSpPr>
          <p:grpSpPr bwMode="auto">
            <a:xfrm>
              <a:off x="3442" y="1151"/>
              <a:ext cx="1823" cy="1420"/>
              <a:chOff x="2293" y="1357"/>
              <a:chExt cx="1456" cy="1113"/>
            </a:xfrm>
            <a:grpFill/>
          </p:grpSpPr>
          <p:grpSp>
            <p:nvGrpSpPr>
              <p:cNvPr id="213" name="Group 40"/>
              <p:cNvGrpSpPr>
                <a:grpSpLocks/>
              </p:cNvGrpSpPr>
              <p:nvPr/>
            </p:nvGrpSpPr>
            <p:grpSpPr bwMode="auto">
              <a:xfrm>
                <a:off x="2293" y="1357"/>
                <a:ext cx="1456" cy="1113"/>
                <a:chOff x="2293" y="1357"/>
                <a:chExt cx="1456" cy="1113"/>
              </a:xfrm>
              <a:grpFill/>
            </p:grpSpPr>
            <p:sp>
              <p:nvSpPr>
                <p:cNvPr id="215" name="Freeform 41"/>
                <p:cNvSpPr>
                  <a:spLocks/>
                </p:cNvSpPr>
                <p:nvPr/>
              </p:nvSpPr>
              <p:spPr bwMode="auto">
                <a:xfrm>
                  <a:off x="2850" y="1578"/>
                  <a:ext cx="35" cy="22"/>
                </a:xfrm>
                <a:custGeom>
                  <a:avLst/>
                  <a:gdLst>
                    <a:gd name="T0" fmla="*/ 14 w 35"/>
                    <a:gd name="T1" fmla="*/ 0 h 22"/>
                    <a:gd name="T2" fmla="*/ 35 w 35"/>
                    <a:gd name="T3" fmla="*/ 7 h 22"/>
                    <a:gd name="T4" fmla="*/ 28 w 35"/>
                    <a:gd name="T5" fmla="*/ 22 h 22"/>
                    <a:gd name="T6" fmla="*/ 0 w 35"/>
                    <a:gd name="T7" fmla="*/ 15 h 22"/>
                    <a:gd name="T8" fmla="*/ 14 w 35"/>
                    <a:gd name="T9" fmla="*/ 0 h 22"/>
                    <a:gd name="T10" fmla="*/ 0 60000 65536"/>
                    <a:gd name="T11" fmla="*/ 0 60000 65536"/>
                    <a:gd name="T12" fmla="*/ 0 60000 65536"/>
                    <a:gd name="T13" fmla="*/ 0 60000 65536"/>
                    <a:gd name="T14" fmla="*/ 0 60000 65536"/>
                    <a:gd name="T15" fmla="*/ 0 w 35"/>
                    <a:gd name="T16" fmla="*/ 0 h 22"/>
                    <a:gd name="T17" fmla="*/ 35 w 35"/>
                    <a:gd name="T18" fmla="*/ 22 h 22"/>
                  </a:gdLst>
                  <a:ahLst/>
                  <a:cxnLst>
                    <a:cxn ang="T10">
                      <a:pos x="T0" y="T1"/>
                    </a:cxn>
                    <a:cxn ang="T11">
                      <a:pos x="T2" y="T3"/>
                    </a:cxn>
                    <a:cxn ang="T12">
                      <a:pos x="T4" y="T5"/>
                    </a:cxn>
                    <a:cxn ang="T13">
                      <a:pos x="T6" y="T7"/>
                    </a:cxn>
                    <a:cxn ang="T14">
                      <a:pos x="T8" y="T9"/>
                    </a:cxn>
                  </a:cxnLst>
                  <a:rect l="T15" t="T16" r="T17" b="T18"/>
                  <a:pathLst>
                    <a:path w="35" h="22">
                      <a:moveTo>
                        <a:pt x="14" y="0"/>
                      </a:moveTo>
                      <a:lnTo>
                        <a:pt x="35" y="7"/>
                      </a:lnTo>
                      <a:lnTo>
                        <a:pt x="28" y="22"/>
                      </a:lnTo>
                      <a:lnTo>
                        <a:pt x="0" y="15"/>
                      </a:lnTo>
                      <a:lnTo>
                        <a:pt x="14"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nvGrpSpPr>
                <p:cNvPr id="216" name="Group 42"/>
                <p:cNvGrpSpPr>
                  <a:grpSpLocks/>
                </p:cNvGrpSpPr>
                <p:nvPr/>
              </p:nvGrpSpPr>
              <p:grpSpPr bwMode="auto">
                <a:xfrm>
                  <a:off x="2293" y="1357"/>
                  <a:ext cx="1456" cy="1113"/>
                  <a:chOff x="2293" y="1357"/>
                  <a:chExt cx="1456" cy="1113"/>
                </a:xfrm>
                <a:grpFill/>
              </p:grpSpPr>
              <p:sp>
                <p:nvSpPr>
                  <p:cNvPr id="217" name="Freeform 43"/>
                  <p:cNvSpPr>
                    <a:spLocks/>
                  </p:cNvSpPr>
                  <p:nvPr/>
                </p:nvSpPr>
                <p:spPr bwMode="auto">
                  <a:xfrm>
                    <a:off x="2878" y="1550"/>
                    <a:ext cx="143" cy="57"/>
                  </a:xfrm>
                  <a:custGeom>
                    <a:avLst/>
                    <a:gdLst>
                      <a:gd name="T0" fmla="*/ 143 w 143"/>
                      <a:gd name="T1" fmla="*/ 7 h 57"/>
                      <a:gd name="T2" fmla="*/ 122 w 143"/>
                      <a:gd name="T3" fmla="*/ 0 h 57"/>
                      <a:gd name="T4" fmla="*/ 86 w 143"/>
                      <a:gd name="T5" fmla="*/ 21 h 57"/>
                      <a:gd name="T6" fmla="*/ 50 w 143"/>
                      <a:gd name="T7" fmla="*/ 21 h 57"/>
                      <a:gd name="T8" fmla="*/ 29 w 143"/>
                      <a:gd name="T9" fmla="*/ 14 h 57"/>
                      <a:gd name="T10" fmla="*/ 15 w 143"/>
                      <a:gd name="T11" fmla="*/ 0 h 57"/>
                      <a:gd name="T12" fmla="*/ 7 w 143"/>
                      <a:gd name="T13" fmla="*/ 0 h 57"/>
                      <a:gd name="T14" fmla="*/ 0 w 143"/>
                      <a:gd name="T15" fmla="*/ 7 h 57"/>
                      <a:gd name="T16" fmla="*/ 0 w 143"/>
                      <a:gd name="T17" fmla="*/ 14 h 57"/>
                      <a:gd name="T18" fmla="*/ 22 w 143"/>
                      <a:gd name="T19" fmla="*/ 35 h 57"/>
                      <a:gd name="T20" fmla="*/ 43 w 143"/>
                      <a:gd name="T21" fmla="*/ 50 h 57"/>
                      <a:gd name="T22" fmla="*/ 72 w 143"/>
                      <a:gd name="T23" fmla="*/ 57 h 57"/>
                      <a:gd name="T24" fmla="*/ 100 w 143"/>
                      <a:gd name="T25" fmla="*/ 43 h 57"/>
                      <a:gd name="T26" fmla="*/ 136 w 143"/>
                      <a:gd name="T27" fmla="*/ 28 h 57"/>
                      <a:gd name="T28" fmla="*/ 143 w 143"/>
                      <a:gd name="T29" fmla="*/ 7 h 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3"/>
                      <a:gd name="T46" fmla="*/ 0 h 57"/>
                      <a:gd name="T47" fmla="*/ 143 w 143"/>
                      <a:gd name="T48" fmla="*/ 57 h 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3" h="57">
                        <a:moveTo>
                          <a:pt x="143" y="7"/>
                        </a:moveTo>
                        <a:lnTo>
                          <a:pt x="122" y="0"/>
                        </a:lnTo>
                        <a:lnTo>
                          <a:pt x="86" y="21"/>
                        </a:lnTo>
                        <a:lnTo>
                          <a:pt x="50" y="21"/>
                        </a:lnTo>
                        <a:lnTo>
                          <a:pt x="29" y="14"/>
                        </a:lnTo>
                        <a:lnTo>
                          <a:pt x="15" y="0"/>
                        </a:lnTo>
                        <a:lnTo>
                          <a:pt x="7" y="0"/>
                        </a:lnTo>
                        <a:lnTo>
                          <a:pt x="0" y="7"/>
                        </a:lnTo>
                        <a:lnTo>
                          <a:pt x="0" y="14"/>
                        </a:lnTo>
                        <a:lnTo>
                          <a:pt x="22" y="35"/>
                        </a:lnTo>
                        <a:lnTo>
                          <a:pt x="43" y="50"/>
                        </a:lnTo>
                        <a:lnTo>
                          <a:pt x="72" y="57"/>
                        </a:lnTo>
                        <a:lnTo>
                          <a:pt x="100" y="43"/>
                        </a:lnTo>
                        <a:lnTo>
                          <a:pt x="136" y="28"/>
                        </a:lnTo>
                        <a:lnTo>
                          <a:pt x="143" y="7"/>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nvGrpSpPr>
                  <p:cNvPr id="218" name="Group 44"/>
                  <p:cNvGrpSpPr>
                    <a:grpSpLocks/>
                  </p:cNvGrpSpPr>
                  <p:nvPr/>
                </p:nvGrpSpPr>
                <p:grpSpPr bwMode="auto">
                  <a:xfrm>
                    <a:off x="2293" y="1357"/>
                    <a:ext cx="1456" cy="1113"/>
                    <a:chOff x="2293" y="1357"/>
                    <a:chExt cx="1456" cy="1113"/>
                  </a:xfrm>
                  <a:grpFill/>
                </p:grpSpPr>
                <p:sp>
                  <p:nvSpPr>
                    <p:cNvPr id="219" name="Freeform 45"/>
                    <p:cNvSpPr>
                      <a:spLocks/>
                    </p:cNvSpPr>
                    <p:nvPr/>
                  </p:nvSpPr>
                  <p:spPr bwMode="auto">
                    <a:xfrm>
                      <a:off x="2293" y="1642"/>
                      <a:ext cx="1363" cy="828"/>
                    </a:xfrm>
                    <a:custGeom>
                      <a:avLst/>
                      <a:gdLst>
                        <a:gd name="T0" fmla="*/ 36 w 1363"/>
                        <a:gd name="T1" fmla="*/ 215 h 828"/>
                        <a:gd name="T2" fmla="*/ 57 w 1363"/>
                        <a:gd name="T3" fmla="*/ 307 h 828"/>
                        <a:gd name="T4" fmla="*/ 71 w 1363"/>
                        <a:gd name="T5" fmla="*/ 464 h 828"/>
                        <a:gd name="T6" fmla="*/ 71 w 1363"/>
                        <a:gd name="T7" fmla="*/ 543 h 828"/>
                        <a:gd name="T8" fmla="*/ 378 w 1363"/>
                        <a:gd name="T9" fmla="*/ 650 h 828"/>
                        <a:gd name="T10" fmla="*/ 749 w 1363"/>
                        <a:gd name="T11" fmla="*/ 686 h 828"/>
                        <a:gd name="T12" fmla="*/ 835 w 1363"/>
                        <a:gd name="T13" fmla="*/ 657 h 828"/>
                        <a:gd name="T14" fmla="*/ 892 w 1363"/>
                        <a:gd name="T15" fmla="*/ 678 h 828"/>
                        <a:gd name="T16" fmla="*/ 914 w 1363"/>
                        <a:gd name="T17" fmla="*/ 721 h 828"/>
                        <a:gd name="T18" fmla="*/ 971 w 1363"/>
                        <a:gd name="T19" fmla="*/ 714 h 828"/>
                        <a:gd name="T20" fmla="*/ 1006 w 1363"/>
                        <a:gd name="T21" fmla="*/ 764 h 828"/>
                        <a:gd name="T22" fmla="*/ 963 w 1363"/>
                        <a:gd name="T23" fmla="*/ 757 h 828"/>
                        <a:gd name="T24" fmla="*/ 949 w 1363"/>
                        <a:gd name="T25" fmla="*/ 800 h 828"/>
                        <a:gd name="T26" fmla="*/ 1056 w 1363"/>
                        <a:gd name="T27" fmla="*/ 750 h 828"/>
                        <a:gd name="T28" fmla="*/ 1106 w 1363"/>
                        <a:gd name="T29" fmla="*/ 707 h 828"/>
                        <a:gd name="T30" fmla="*/ 1185 w 1363"/>
                        <a:gd name="T31" fmla="*/ 657 h 828"/>
                        <a:gd name="T32" fmla="*/ 1228 w 1363"/>
                        <a:gd name="T33" fmla="*/ 607 h 828"/>
                        <a:gd name="T34" fmla="*/ 1285 w 1363"/>
                        <a:gd name="T35" fmla="*/ 643 h 828"/>
                        <a:gd name="T36" fmla="*/ 1327 w 1363"/>
                        <a:gd name="T37" fmla="*/ 650 h 828"/>
                        <a:gd name="T38" fmla="*/ 1320 w 1363"/>
                        <a:gd name="T39" fmla="*/ 600 h 828"/>
                        <a:gd name="T40" fmla="*/ 1277 w 1363"/>
                        <a:gd name="T41" fmla="*/ 586 h 828"/>
                        <a:gd name="T42" fmla="*/ 1249 w 1363"/>
                        <a:gd name="T43" fmla="*/ 571 h 828"/>
                        <a:gd name="T44" fmla="*/ 1285 w 1363"/>
                        <a:gd name="T45" fmla="*/ 521 h 828"/>
                        <a:gd name="T46" fmla="*/ 1206 w 1363"/>
                        <a:gd name="T47" fmla="*/ 543 h 828"/>
                        <a:gd name="T48" fmla="*/ 1249 w 1363"/>
                        <a:gd name="T49" fmla="*/ 486 h 828"/>
                        <a:gd name="T50" fmla="*/ 1306 w 1363"/>
                        <a:gd name="T51" fmla="*/ 457 h 828"/>
                        <a:gd name="T52" fmla="*/ 1342 w 1363"/>
                        <a:gd name="T53" fmla="*/ 393 h 828"/>
                        <a:gd name="T54" fmla="*/ 1306 w 1363"/>
                        <a:gd name="T55" fmla="*/ 379 h 828"/>
                        <a:gd name="T56" fmla="*/ 1228 w 1363"/>
                        <a:gd name="T57" fmla="*/ 329 h 828"/>
                        <a:gd name="T58" fmla="*/ 1185 w 1363"/>
                        <a:gd name="T59" fmla="*/ 300 h 828"/>
                        <a:gd name="T60" fmla="*/ 1106 w 1363"/>
                        <a:gd name="T61" fmla="*/ 272 h 828"/>
                        <a:gd name="T62" fmla="*/ 1085 w 1363"/>
                        <a:gd name="T63" fmla="*/ 265 h 828"/>
                        <a:gd name="T64" fmla="*/ 1049 w 1363"/>
                        <a:gd name="T65" fmla="*/ 300 h 828"/>
                        <a:gd name="T66" fmla="*/ 1013 w 1363"/>
                        <a:gd name="T67" fmla="*/ 265 h 828"/>
                        <a:gd name="T68" fmla="*/ 971 w 1363"/>
                        <a:gd name="T69" fmla="*/ 229 h 828"/>
                        <a:gd name="T70" fmla="*/ 885 w 1363"/>
                        <a:gd name="T71" fmla="*/ 243 h 828"/>
                        <a:gd name="T72" fmla="*/ 921 w 1363"/>
                        <a:gd name="T73" fmla="*/ 279 h 828"/>
                        <a:gd name="T74" fmla="*/ 921 w 1363"/>
                        <a:gd name="T75" fmla="*/ 336 h 828"/>
                        <a:gd name="T76" fmla="*/ 971 w 1363"/>
                        <a:gd name="T77" fmla="*/ 393 h 828"/>
                        <a:gd name="T78" fmla="*/ 949 w 1363"/>
                        <a:gd name="T79" fmla="*/ 464 h 828"/>
                        <a:gd name="T80" fmla="*/ 978 w 1363"/>
                        <a:gd name="T81" fmla="*/ 521 h 828"/>
                        <a:gd name="T82" fmla="*/ 935 w 1363"/>
                        <a:gd name="T83" fmla="*/ 557 h 828"/>
                        <a:gd name="T84" fmla="*/ 878 w 1363"/>
                        <a:gd name="T85" fmla="*/ 500 h 828"/>
                        <a:gd name="T86" fmla="*/ 806 w 1363"/>
                        <a:gd name="T87" fmla="*/ 464 h 828"/>
                        <a:gd name="T88" fmla="*/ 699 w 1363"/>
                        <a:gd name="T89" fmla="*/ 429 h 828"/>
                        <a:gd name="T90" fmla="*/ 664 w 1363"/>
                        <a:gd name="T91" fmla="*/ 393 h 828"/>
                        <a:gd name="T92" fmla="*/ 649 w 1363"/>
                        <a:gd name="T93" fmla="*/ 322 h 828"/>
                        <a:gd name="T94" fmla="*/ 721 w 1363"/>
                        <a:gd name="T95" fmla="*/ 222 h 828"/>
                        <a:gd name="T96" fmla="*/ 721 w 1363"/>
                        <a:gd name="T97" fmla="*/ 186 h 828"/>
                        <a:gd name="T98" fmla="*/ 771 w 1363"/>
                        <a:gd name="T99" fmla="*/ 150 h 828"/>
                        <a:gd name="T100" fmla="*/ 764 w 1363"/>
                        <a:gd name="T101" fmla="*/ 86 h 828"/>
                        <a:gd name="T102" fmla="*/ 728 w 1363"/>
                        <a:gd name="T103" fmla="*/ 100 h 828"/>
                        <a:gd name="T104" fmla="*/ 707 w 1363"/>
                        <a:gd name="T105" fmla="*/ 100 h 828"/>
                        <a:gd name="T106" fmla="*/ 678 w 1363"/>
                        <a:gd name="T107" fmla="*/ 122 h 828"/>
                        <a:gd name="T108" fmla="*/ 642 w 1363"/>
                        <a:gd name="T109" fmla="*/ 43 h 828"/>
                        <a:gd name="T110" fmla="*/ 628 w 1363"/>
                        <a:gd name="T111" fmla="*/ 72 h 828"/>
                        <a:gd name="T112" fmla="*/ 635 w 1363"/>
                        <a:gd name="T113" fmla="*/ 143 h 828"/>
                        <a:gd name="T114" fmla="*/ 571 w 1363"/>
                        <a:gd name="T115" fmla="*/ 150 h 828"/>
                        <a:gd name="T116" fmla="*/ 500 w 1363"/>
                        <a:gd name="T117" fmla="*/ 150 h 828"/>
                        <a:gd name="T118" fmla="*/ 450 w 1363"/>
                        <a:gd name="T119" fmla="*/ 143 h 828"/>
                        <a:gd name="T120" fmla="*/ 414 w 1363"/>
                        <a:gd name="T121" fmla="*/ 108 h 828"/>
                        <a:gd name="T122" fmla="*/ 335 w 1363"/>
                        <a:gd name="T123" fmla="*/ 86 h 828"/>
                        <a:gd name="T124" fmla="*/ 264 w 1363"/>
                        <a:gd name="T125" fmla="*/ 50 h 8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63"/>
                        <a:gd name="T190" fmla="*/ 0 h 828"/>
                        <a:gd name="T191" fmla="*/ 1363 w 1363"/>
                        <a:gd name="T192" fmla="*/ 828 h 8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63" h="828">
                          <a:moveTo>
                            <a:pt x="164" y="0"/>
                          </a:moveTo>
                          <a:lnTo>
                            <a:pt x="0" y="200"/>
                          </a:lnTo>
                          <a:lnTo>
                            <a:pt x="36" y="215"/>
                          </a:lnTo>
                          <a:lnTo>
                            <a:pt x="14" y="236"/>
                          </a:lnTo>
                          <a:lnTo>
                            <a:pt x="50" y="243"/>
                          </a:lnTo>
                          <a:lnTo>
                            <a:pt x="57" y="307"/>
                          </a:lnTo>
                          <a:lnTo>
                            <a:pt x="79" y="379"/>
                          </a:lnTo>
                          <a:lnTo>
                            <a:pt x="57" y="436"/>
                          </a:lnTo>
                          <a:lnTo>
                            <a:pt x="71" y="464"/>
                          </a:lnTo>
                          <a:lnTo>
                            <a:pt x="50" y="507"/>
                          </a:lnTo>
                          <a:lnTo>
                            <a:pt x="71" y="514"/>
                          </a:lnTo>
                          <a:lnTo>
                            <a:pt x="71" y="543"/>
                          </a:lnTo>
                          <a:lnTo>
                            <a:pt x="121" y="550"/>
                          </a:lnTo>
                          <a:lnTo>
                            <a:pt x="150" y="614"/>
                          </a:lnTo>
                          <a:lnTo>
                            <a:pt x="378" y="650"/>
                          </a:lnTo>
                          <a:lnTo>
                            <a:pt x="678" y="664"/>
                          </a:lnTo>
                          <a:lnTo>
                            <a:pt x="742" y="686"/>
                          </a:lnTo>
                          <a:lnTo>
                            <a:pt x="749" y="686"/>
                          </a:lnTo>
                          <a:lnTo>
                            <a:pt x="778" y="678"/>
                          </a:lnTo>
                          <a:lnTo>
                            <a:pt x="799" y="664"/>
                          </a:lnTo>
                          <a:lnTo>
                            <a:pt x="835" y="657"/>
                          </a:lnTo>
                          <a:lnTo>
                            <a:pt x="849" y="671"/>
                          </a:lnTo>
                          <a:lnTo>
                            <a:pt x="871" y="671"/>
                          </a:lnTo>
                          <a:lnTo>
                            <a:pt x="892" y="678"/>
                          </a:lnTo>
                          <a:lnTo>
                            <a:pt x="892" y="700"/>
                          </a:lnTo>
                          <a:lnTo>
                            <a:pt x="892" y="714"/>
                          </a:lnTo>
                          <a:lnTo>
                            <a:pt x="914" y="721"/>
                          </a:lnTo>
                          <a:lnTo>
                            <a:pt x="928" y="721"/>
                          </a:lnTo>
                          <a:lnTo>
                            <a:pt x="949" y="707"/>
                          </a:lnTo>
                          <a:lnTo>
                            <a:pt x="971" y="714"/>
                          </a:lnTo>
                          <a:lnTo>
                            <a:pt x="992" y="721"/>
                          </a:lnTo>
                          <a:lnTo>
                            <a:pt x="1006" y="736"/>
                          </a:lnTo>
                          <a:lnTo>
                            <a:pt x="1006" y="764"/>
                          </a:lnTo>
                          <a:lnTo>
                            <a:pt x="985" y="757"/>
                          </a:lnTo>
                          <a:lnTo>
                            <a:pt x="971" y="743"/>
                          </a:lnTo>
                          <a:lnTo>
                            <a:pt x="963" y="757"/>
                          </a:lnTo>
                          <a:lnTo>
                            <a:pt x="963" y="778"/>
                          </a:lnTo>
                          <a:lnTo>
                            <a:pt x="956" y="785"/>
                          </a:lnTo>
                          <a:lnTo>
                            <a:pt x="949" y="800"/>
                          </a:lnTo>
                          <a:lnTo>
                            <a:pt x="949" y="828"/>
                          </a:lnTo>
                          <a:lnTo>
                            <a:pt x="1028" y="778"/>
                          </a:lnTo>
                          <a:lnTo>
                            <a:pt x="1056" y="750"/>
                          </a:lnTo>
                          <a:lnTo>
                            <a:pt x="1085" y="743"/>
                          </a:lnTo>
                          <a:lnTo>
                            <a:pt x="1085" y="714"/>
                          </a:lnTo>
                          <a:lnTo>
                            <a:pt x="1106" y="707"/>
                          </a:lnTo>
                          <a:lnTo>
                            <a:pt x="1128" y="714"/>
                          </a:lnTo>
                          <a:lnTo>
                            <a:pt x="1170" y="686"/>
                          </a:lnTo>
                          <a:lnTo>
                            <a:pt x="1185" y="657"/>
                          </a:lnTo>
                          <a:lnTo>
                            <a:pt x="1185" y="614"/>
                          </a:lnTo>
                          <a:lnTo>
                            <a:pt x="1199" y="600"/>
                          </a:lnTo>
                          <a:lnTo>
                            <a:pt x="1228" y="607"/>
                          </a:lnTo>
                          <a:lnTo>
                            <a:pt x="1235" y="628"/>
                          </a:lnTo>
                          <a:lnTo>
                            <a:pt x="1263" y="657"/>
                          </a:lnTo>
                          <a:lnTo>
                            <a:pt x="1285" y="643"/>
                          </a:lnTo>
                          <a:lnTo>
                            <a:pt x="1292" y="621"/>
                          </a:lnTo>
                          <a:lnTo>
                            <a:pt x="1285" y="700"/>
                          </a:lnTo>
                          <a:lnTo>
                            <a:pt x="1327" y="650"/>
                          </a:lnTo>
                          <a:lnTo>
                            <a:pt x="1363" y="593"/>
                          </a:lnTo>
                          <a:lnTo>
                            <a:pt x="1349" y="593"/>
                          </a:lnTo>
                          <a:lnTo>
                            <a:pt x="1320" y="600"/>
                          </a:lnTo>
                          <a:lnTo>
                            <a:pt x="1285" y="607"/>
                          </a:lnTo>
                          <a:lnTo>
                            <a:pt x="1285" y="586"/>
                          </a:lnTo>
                          <a:lnTo>
                            <a:pt x="1277" y="586"/>
                          </a:lnTo>
                          <a:lnTo>
                            <a:pt x="1277" y="564"/>
                          </a:lnTo>
                          <a:lnTo>
                            <a:pt x="1263" y="571"/>
                          </a:lnTo>
                          <a:lnTo>
                            <a:pt x="1249" y="571"/>
                          </a:lnTo>
                          <a:lnTo>
                            <a:pt x="1263" y="557"/>
                          </a:lnTo>
                          <a:lnTo>
                            <a:pt x="1270" y="543"/>
                          </a:lnTo>
                          <a:lnTo>
                            <a:pt x="1285" y="521"/>
                          </a:lnTo>
                          <a:lnTo>
                            <a:pt x="1256" y="521"/>
                          </a:lnTo>
                          <a:lnTo>
                            <a:pt x="1235" y="529"/>
                          </a:lnTo>
                          <a:lnTo>
                            <a:pt x="1206" y="543"/>
                          </a:lnTo>
                          <a:lnTo>
                            <a:pt x="1170" y="593"/>
                          </a:lnTo>
                          <a:lnTo>
                            <a:pt x="1220" y="500"/>
                          </a:lnTo>
                          <a:lnTo>
                            <a:pt x="1249" y="486"/>
                          </a:lnTo>
                          <a:lnTo>
                            <a:pt x="1277" y="486"/>
                          </a:lnTo>
                          <a:lnTo>
                            <a:pt x="1292" y="464"/>
                          </a:lnTo>
                          <a:lnTo>
                            <a:pt x="1306" y="457"/>
                          </a:lnTo>
                          <a:lnTo>
                            <a:pt x="1327" y="422"/>
                          </a:lnTo>
                          <a:lnTo>
                            <a:pt x="1342" y="400"/>
                          </a:lnTo>
                          <a:lnTo>
                            <a:pt x="1342" y="393"/>
                          </a:lnTo>
                          <a:lnTo>
                            <a:pt x="1327" y="364"/>
                          </a:lnTo>
                          <a:lnTo>
                            <a:pt x="1313" y="350"/>
                          </a:lnTo>
                          <a:lnTo>
                            <a:pt x="1306" y="379"/>
                          </a:lnTo>
                          <a:lnTo>
                            <a:pt x="1277" y="336"/>
                          </a:lnTo>
                          <a:lnTo>
                            <a:pt x="1249" y="336"/>
                          </a:lnTo>
                          <a:lnTo>
                            <a:pt x="1228" y="329"/>
                          </a:lnTo>
                          <a:lnTo>
                            <a:pt x="1206" y="336"/>
                          </a:lnTo>
                          <a:lnTo>
                            <a:pt x="1192" y="314"/>
                          </a:lnTo>
                          <a:lnTo>
                            <a:pt x="1185" y="300"/>
                          </a:lnTo>
                          <a:lnTo>
                            <a:pt x="1163" y="300"/>
                          </a:lnTo>
                          <a:lnTo>
                            <a:pt x="1135" y="286"/>
                          </a:lnTo>
                          <a:lnTo>
                            <a:pt x="1106" y="272"/>
                          </a:lnTo>
                          <a:lnTo>
                            <a:pt x="1085" y="250"/>
                          </a:lnTo>
                          <a:lnTo>
                            <a:pt x="1071" y="243"/>
                          </a:lnTo>
                          <a:lnTo>
                            <a:pt x="1085" y="265"/>
                          </a:lnTo>
                          <a:lnTo>
                            <a:pt x="1092" y="293"/>
                          </a:lnTo>
                          <a:lnTo>
                            <a:pt x="1071" y="307"/>
                          </a:lnTo>
                          <a:lnTo>
                            <a:pt x="1049" y="300"/>
                          </a:lnTo>
                          <a:lnTo>
                            <a:pt x="1035" y="293"/>
                          </a:lnTo>
                          <a:lnTo>
                            <a:pt x="1028" y="272"/>
                          </a:lnTo>
                          <a:lnTo>
                            <a:pt x="1013" y="265"/>
                          </a:lnTo>
                          <a:lnTo>
                            <a:pt x="1006" y="243"/>
                          </a:lnTo>
                          <a:lnTo>
                            <a:pt x="992" y="229"/>
                          </a:lnTo>
                          <a:lnTo>
                            <a:pt x="971" y="229"/>
                          </a:lnTo>
                          <a:lnTo>
                            <a:pt x="949" y="229"/>
                          </a:lnTo>
                          <a:lnTo>
                            <a:pt x="921" y="229"/>
                          </a:lnTo>
                          <a:lnTo>
                            <a:pt x="885" y="243"/>
                          </a:lnTo>
                          <a:lnTo>
                            <a:pt x="892" y="257"/>
                          </a:lnTo>
                          <a:lnTo>
                            <a:pt x="906" y="265"/>
                          </a:lnTo>
                          <a:lnTo>
                            <a:pt x="921" y="279"/>
                          </a:lnTo>
                          <a:lnTo>
                            <a:pt x="921" y="300"/>
                          </a:lnTo>
                          <a:lnTo>
                            <a:pt x="928" y="322"/>
                          </a:lnTo>
                          <a:lnTo>
                            <a:pt x="921" y="336"/>
                          </a:lnTo>
                          <a:lnTo>
                            <a:pt x="921" y="357"/>
                          </a:lnTo>
                          <a:lnTo>
                            <a:pt x="949" y="372"/>
                          </a:lnTo>
                          <a:lnTo>
                            <a:pt x="971" y="393"/>
                          </a:lnTo>
                          <a:lnTo>
                            <a:pt x="971" y="407"/>
                          </a:lnTo>
                          <a:lnTo>
                            <a:pt x="963" y="443"/>
                          </a:lnTo>
                          <a:lnTo>
                            <a:pt x="949" y="464"/>
                          </a:lnTo>
                          <a:lnTo>
                            <a:pt x="949" y="479"/>
                          </a:lnTo>
                          <a:lnTo>
                            <a:pt x="971" y="500"/>
                          </a:lnTo>
                          <a:lnTo>
                            <a:pt x="978" y="521"/>
                          </a:lnTo>
                          <a:lnTo>
                            <a:pt x="978" y="550"/>
                          </a:lnTo>
                          <a:lnTo>
                            <a:pt x="956" y="550"/>
                          </a:lnTo>
                          <a:lnTo>
                            <a:pt x="935" y="557"/>
                          </a:lnTo>
                          <a:lnTo>
                            <a:pt x="914" y="536"/>
                          </a:lnTo>
                          <a:lnTo>
                            <a:pt x="892" y="529"/>
                          </a:lnTo>
                          <a:lnTo>
                            <a:pt x="878" y="500"/>
                          </a:lnTo>
                          <a:lnTo>
                            <a:pt x="878" y="479"/>
                          </a:lnTo>
                          <a:lnTo>
                            <a:pt x="835" y="464"/>
                          </a:lnTo>
                          <a:lnTo>
                            <a:pt x="806" y="464"/>
                          </a:lnTo>
                          <a:lnTo>
                            <a:pt x="771" y="457"/>
                          </a:lnTo>
                          <a:lnTo>
                            <a:pt x="749" y="436"/>
                          </a:lnTo>
                          <a:lnTo>
                            <a:pt x="699" y="429"/>
                          </a:lnTo>
                          <a:lnTo>
                            <a:pt x="671" y="436"/>
                          </a:lnTo>
                          <a:lnTo>
                            <a:pt x="671" y="407"/>
                          </a:lnTo>
                          <a:lnTo>
                            <a:pt x="664" y="393"/>
                          </a:lnTo>
                          <a:lnTo>
                            <a:pt x="649" y="393"/>
                          </a:lnTo>
                          <a:lnTo>
                            <a:pt x="657" y="357"/>
                          </a:lnTo>
                          <a:lnTo>
                            <a:pt x="649" y="322"/>
                          </a:lnTo>
                          <a:lnTo>
                            <a:pt x="671" y="272"/>
                          </a:lnTo>
                          <a:lnTo>
                            <a:pt x="714" y="243"/>
                          </a:lnTo>
                          <a:lnTo>
                            <a:pt x="721" y="222"/>
                          </a:lnTo>
                          <a:lnTo>
                            <a:pt x="685" y="215"/>
                          </a:lnTo>
                          <a:lnTo>
                            <a:pt x="657" y="186"/>
                          </a:lnTo>
                          <a:lnTo>
                            <a:pt x="721" y="186"/>
                          </a:lnTo>
                          <a:lnTo>
                            <a:pt x="735" y="172"/>
                          </a:lnTo>
                          <a:lnTo>
                            <a:pt x="757" y="165"/>
                          </a:lnTo>
                          <a:lnTo>
                            <a:pt x="771" y="150"/>
                          </a:lnTo>
                          <a:lnTo>
                            <a:pt x="792" y="143"/>
                          </a:lnTo>
                          <a:lnTo>
                            <a:pt x="764" y="115"/>
                          </a:lnTo>
                          <a:lnTo>
                            <a:pt x="764" y="86"/>
                          </a:lnTo>
                          <a:lnTo>
                            <a:pt x="742" y="79"/>
                          </a:lnTo>
                          <a:lnTo>
                            <a:pt x="728" y="86"/>
                          </a:lnTo>
                          <a:lnTo>
                            <a:pt x="728" y="100"/>
                          </a:lnTo>
                          <a:lnTo>
                            <a:pt x="735" y="122"/>
                          </a:lnTo>
                          <a:lnTo>
                            <a:pt x="721" y="165"/>
                          </a:lnTo>
                          <a:lnTo>
                            <a:pt x="707" y="100"/>
                          </a:lnTo>
                          <a:lnTo>
                            <a:pt x="692" y="108"/>
                          </a:lnTo>
                          <a:lnTo>
                            <a:pt x="692" y="129"/>
                          </a:lnTo>
                          <a:lnTo>
                            <a:pt x="678" y="122"/>
                          </a:lnTo>
                          <a:lnTo>
                            <a:pt x="664" y="58"/>
                          </a:lnTo>
                          <a:lnTo>
                            <a:pt x="649" y="50"/>
                          </a:lnTo>
                          <a:lnTo>
                            <a:pt x="642" y="43"/>
                          </a:lnTo>
                          <a:lnTo>
                            <a:pt x="628" y="36"/>
                          </a:lnTo>
                          <a:lnTo>
                            <a:pt x="621" y="50"/>
                          </a:lnTo>
                          <a:lnTo>
                            <a:pt x="628" y="72"/>
                          </a:lnTo>
                          <a:lnTo>
                            <a:pt x="642" y="93"/>
                          </a:lnTo>
                          <a:lnTo>
                            <a:pt x="649" y="122"/>
                          </a:lnTo>
                          <a:lnTo>
                            <a:pt x="635" y="143"/>
                          </a:lnTo>
                          <a:lnTo>
                            <a:pt x="628" y="165"/>
                          </a:lnTo>
                          <a:lnTo>
                            <a:pt x="600" y="136"/>
                          </a:lnTo>
                          <a:lnTo>
                            <a:pt x="571" y="150"/>
                          </a:lnTo>
                          <a:lnTo>
                            <a:pt x="528" y="143"/>
                          </a:lnTo>
                          <a:lnTo>
                            <a:pt x="514" y="129"/>
                          </a:lnTo>
                          <a:lnTo>
                            <a:pt x="500" y="150"/>
                          </a:lnTo>
                          <a:lnTo>
                            <a:pt x="478" y="172"/>
                          </a:lnTo>
                          <a:lnTo>
                            <a:pt x="464" y="165"/>
                          </a:lnTo>
                          <a:lnTo>
                            <a:pt x="450" y="143"/>
                          </a:lnTo>
                          <a:lnTo>
                            <a:pt x="421" y="143"/>
                          </a:lnTo>
                          <a:lnTo>
                            <a:pt x="393" y="143"/>
                          </a:lnTo>
                          <a:lnTo>
                            <a:pt x="414" y="108"/>
                          </a:lnTo>
                          <a:lnTo>
                            <a:pt x="378" y="93"/>
                          </a:lnTo>
                          <a:lnTo>
                            <a:pt x="350" y="79"/>
                          </a:lnTo>
                          <a:lnTo>
                            <a:pt x="335" y="86"/>
                          </a:lnTo>
                          <a:lnTo>
                            <a:pt x="307" y="50"/>
                          </a:lnTo>
                          <a:lnTo>
                            <a:pt x="271" y="36"/>
                          </a:lnTo>
                          <a:lnTo>
                            <a:pt x="264" y="50"/>
                          </a:lnTo>
                          <a:lnTo>
                            <a:pt x="207" y="36"/>
                          </a:lnTo>
                          <a:lnTo>
                            <a:pt x="164"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0" name="Freeform 46"/>
                    <p:cNvSpPr>
                      <a:spLocks/>
                    </p:cNvSpPr>
                    <p:nvPr/>
                  </p:nvSpPr>
                  <p:spPr bwMode="auto">
                    <a:xfrm>
                      <a:off x="3628" y="2035"/>
                      <a:ext cx="121" cy="143"/>
                    </a:xfrm>
                    <a:custGeom>
                      <a:avLst/>
                      <a:gdLst>
                        <a:gd name="T0" fmla="*/ 21 w 121"/>
                        <a:gd name="T1" fmla="*/ 0 h 143"/>
                        <a:gd name="T2" fmla="*/ 14 w 121"/>
                        <a:gd name="T3" fmla="*/ 14 h 143"/>
                        <a:gd name="T4" fmla="*/ 7 w 121"/>
                        <a:gd name="T5" fmla="*/ 43 h 143"/>
                        <a:gd name="T6" fmla="*/ 0 w 121"/>
                        <a:gd name="T7" fmla="*/ 64 h 143"/>
                        <a:gd name="T8" fmla="*/ 14 w 121"/>
                        <a:gd name="T9" fmla="*/ 93 h 143"/>
                        <a:gd name="T10" fmla="*/ 21 w 121"/>
                        <a:gd name="T11" fmla="*/ 121 h 143"/>
                        <a:gd name="T12" fmla="*/ 21 w 121"/>
                        <a:gd name="T13" fmla="*/ 143 h 143"/>
                        <a:gd name="T14" fmla="*/ 35 w 121"/>
                        <a:gd name="T15" fmla="*/ 143 h 143"/>
                        <a:gd name="T16" fmla="*/ 42 w 121"/>
                        <a:gd name="T17" fmla="*/ 121 h 143"/>
                        <a:gd name="T18" fmla="*/ 57 w 121"/>
                        <a:gd name="T19" fmla="*/ 128 h 143"/>
                        <a:gd name="T20" fmla="*/ 71 w 121"/>
                        <a:gd name="T21" fmla="*/ 107 h 143"/>
                        <a:gd name="T22" fmla="*/ 114 w 121"/>
                        <a:gd name="T23" fmla="*/ 100 h 143"/>
                        <a:gd name="T24" fmla="*/ 121 w 121"/>
                        <a:gd name="T25" fmla="*/ 86 h 143"/>
                        <a:gd name="T26" fmla="*/ 99 w 121"/>
                        <a:gd name="T27" fmla="*/ 71 h 143"/>
                        <a:gd name="T28" fmla="*/ 99 w 121"/>
                        <a:gd name="T29" fmla="*/ 50 h 143"/>
                        <a:gd name="T30" fmla="*/ 85 w 121"/>
                        <a:gd name="T31" fmla="*/ 50 h 143"/>
                        <a:gd name="T32" fmla="*/ 71 w 121"/>
                        <a:gd name="T33" fmla="*/ 71 h 143"/>
                        <a:gd name="T34" fmla="*/ 57 w 121"/>
                        <a:gd name="T35" fmla="*/ 71 h 143"/>
                        <a:gd name="T36" fmla="*/ 42 w 121"/>
                        <a:gd name="T37" fmla="*/ 71 h 143"/>
                        <a:gd name="T38" fmla="*/ 28 w 121"/>
                        <a:gd name="T39" fmla="*/ 64 h 143"/>
                        <a:gd name="T40" fmla="*/ 28 w 121"/>
                        <a:gd name="T41" fmla="*/ 50 h 143"/>
                        <a:gd name="T42" fmla="*/ 21 w 121"/>
                        <a:gd name="T43" fmla="*/ 29 h 143"/>
                        <a:gd name="T44" fmla="*/ 28 w 121"/>
                        <a:gd name="T45" fmla="*/ 7 h 143"/>
                        <a:gd name="T46" fmla="*/ 21 w 121"/>
                        <a:gd name="T47" fmla="*/ 0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
                        <a:gd name="T73" fmla="*/ 0 h 143"/>
                        <a:gd name="T74" fmla="*/ 121 w 121"/>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 h="143">
                          <a:moveTo>
                            <a:pt x="21" y="0"/>
                          </a:moveTo>
                          <a:lnTo>
                            <a:pt x="14" y="14"/>
                          </a:lnTo>
                          <a:lnTo>
                            <a:pt x="7" y="43"/>
                          </a:lnTo>
                          <a:lnTo>
                            <a:pt x="0" y="64"/>
                          </a:lnTo>
                          <a:lnTo>
                            <a:pt x="14" y="93"/>
                          </a:lnTo>
                          <a:lnTo>
                            <a:pt x="21" y="121"/>
                          </a:lnTo>
                          <a:lnTo>
                            <a:pt x="21" y="143"/>
                          </a:lnTo>
                          <a:lnTo>
                            <a:pt x="35" y="143"/>
                          </a:lnTo>
                          <a:lnTo>
                            <a:pt x="42" y="121"/>
                          </a:lnTo>
                          <a:lnTo>
                            <a:pt x="57" y="128"/>
                          </a:lnTo>
                          <a:lnTo>
                            <a:pt x="71" y="107"/>
                          </a:lnTo>
                          <a:lnTo>
                            <a:pt x="114" y="100"/>
                          </a:lnTo>
                          <a:lnTo>
                            <a:pt x="121" y="86"/>
                          </a:lnTo>
                          <a:lnTo>
                            <a:pt x="99" y="71"/>
                          </a:lnTo>
                          <a:lnTo>
                            <a:pt x="99" y="50"/>
                          </a:lnTo>
                          <a:lnTo>
                            <a:pt x="85" y="50"/>
                          </a:lnTo>
                          <a:lnTo>
                            <a:pt x="71" y="71"/>
                          </a:lnTo>
                          <a:lnTo>
                            <a:pt x="57" y="71"/>
                          </a:lnTo>
                          <a:lnTo>
                            <a:pt x="42" y="71"/>
                          </a:lnTo>
                          <a:lnTo>
                            <a:pt x="28" y="64"/>
                          </a:lnTo>
                          <a:lnTo>
                            <a:pt x="28" y="50"/>
                          </a:lnTo>
                          <a:lnTo>
                            <a:pt x="21" y="29"/>
                          </a:lnTo>
                          <a:lnTo>
                            <a:pt x="28" y="7"/>
                          </a:lnTo>
                          <a:lnTo>
                            <a:pt x="21"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1" name="Freeform 47"/>
                    <p:cNvSpPr>
                      <a:spLocks/>
                    </p:cNvSpPr>
                    <p:nvPr/>
                  </p:nvSpPr>
                  <p:spPr bwMode="auto">
                    <a:xfrm>
                      <a:off x="3656" y="2206"/>
                      <a:ext cx="29" cy="29"/>
                    </a:xfrm>
                    <a:custGeom>
                      <a:avLst/>
                      <a:gdLst>
                        <a:gd name="T0" fmla="*/ 22 w 29"/>
                        <a:gd name="T1" fmla="*/ 7 h 29"/>
                        <a:gd name="T2" fmla="*/ 22 w 29"/>
                        <a:gd name="T3" fmla="*/ 7 h 29"/>
                        <a:gd name="T4" fmla="*/ 14 w 29"/>
                        <a:gd name="T5" fmla="*/ 0 h 29"/>
                        <a:gd name="T6" fmla="*/ 7 w 29"/>
                        <a:gd name="T7" fmla="*/ 0 h 29"/>
                        <a:gd name="T8" fmla="*/ 0 w 29"/>
                        <a:gd name="T9" fmla="*/ 0 h 29"/>
                        <a:gd name="T10" fmla="*/ 0 w 29"/>
                        <a:gd name="T11" fmla="*/ 7 h 29"/>
                        <a:gd name="T12" fmla="*/ 7 w 29"/>
                        <a:gd name="T13" fmla="*/ 22 h 29"/>
                        <a:gd name="T14" fmla="*/ 14 w 29"/>
                        <a:gd name="T15" fmla="*/ 29 h 29"/>
                        <a:gd name="T16" fmla="*/ 22 w 29"/>
                        <a:gd name="T17" fmla="*/ 29 h 29"/>
                        <a:gd name="T18" fmla="*/ 29 w 29"/>
                        <a:gd name="T19" fmla="*/ 22 h 29"/>
                        <a:gd name="T20" fmla="*/ 29 w 29"/>
                        <a:gd name="T21" fmla="*/ 15 h 29"/>
                        <a:gd name="T22" fmla="*/ 22 w 29"/>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29"/>
                        <a:gd name="T38" fmla="*/ 29 w 29"/>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29">
                          <a:moveTo>
                            <a:pt x="22" y="7"/>
                          </a:moveTo>
                          <a:lnTo>
                            <a:pt x="22" y="7"/>
                          </a:lnTo>
                          <a:lnTo>
                            <a:pt x="14" y="0"/>
                          </a:lnTo>
                          <a:lnTo>
                            <a:pt x="7" y="0"/>
                          </a:lnTo>
                          <a:lnTo>
                            <a:pt x="0" y="0"/>
                          </a:lnTo>
                          <a:lnTo>
                            <a:pt x="0" y="7"/>
                          </a:lnTo>
                          <a:lnTo>
                            <a:pt x="7" y="22"/>
                          </a:lnTo>
                          <a:lnTo>
                            <a:pt x="14" y="29"/>
                          </a:lnTo>
                          <a:lnTo>
                            <a:pt x="22" y="29"/>
                          </a:lnTo>
                          <a:lnTo>
                            <a:pt x="29" y="22"/>
                          </a:lnTo>
                          <a:lnTo>
                            <a:pt x="29" y="15"/>
                          </a:lnTo>
                          <a:lnTo>
                            <a:pt x="22" y="7"/>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2" name="Freeform 48"/>
                    <p:cNvSpPr>
                      <a:spLocks/>
                    </p:cNvSpPr>
                    <p:nvPr/>
                  </p:nvSpPr>
                  <p:spPr bwMode="auto">
                    <a:xfrm>
                      <a:off x="3057" y="1821"/>
                      <a:ext cx="71" cy="64"/>
                    </a:xfrm>
                    <a:custGeom>
                      <a:avLst/>
                      <a:gdLst>
                        <a:gd name="T0" fmla="*/ 0 w 71"/>
                        <a:gd name="T1" fmla="*/ 14 h 64"/>
                        <a:gd name="T2" fmla="*/ 7 w 71"/>
                        <a:gd name="T3" fmla="*/ 7 h 64"/>
                        <a:gd name="T4" fmla="*/ 28 w 71"/>
                        <a:gd name="T5" fmla="*/ 7 h 64"/>
                        <a:gd name="T6" fmla="*/ 42 w 71"/>
                        <a:gd name="T7" fmla="*/ 0 h 64"/>
                        <a:gd name="T8" fmla="*/ 57 w 71"/>
                        <a:gd name="T9" fmla="*/ 7 h 64"/>
                        <a:gd name="T10" fmla="*/ 71 w 71"/>
                        <a:gd name="T11" fmla="*/ 28 h 64"/>
                        <a:gd name="T12" fmla="*/ 71 w 71"/>
                        <a:gd name="T13" fmla="*/ 50 h 64"/>
                        <a:gd name="T14" fmla="*/ 50 w 71"/>
                        <a:gd name="T15" fmla="*/ 50 h 64"/>
                        <a:gd name="T16" fmla="*/ 35 w 71"/>
                        <a:gd name="T17" fmla="*/ 43 h 64"/>
                        <a:gd name="T18" fmla="*/ 28 w 71"/>
                        <a:gd name="T19" fmla="*/ 64 h 64"/>
                        <a:gd name="T20" fmla="*/ 14 w 71"/>
                        <a:gd name="T21" fmla="*/ 57 h 64"/>
                        <a:gd name="T22" fmla="*/ 14 w 71"/>
                        <a:gd name="T23" fmla="*/ 36 h 64"/>
                        <a:gd name="T24" fmla="*/ 0 w 71"/>
                        <a:gd name="T25" fmla="*/ 14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64"/>
                        <a:gd name="T41" fmla="*/ 71 w 71"/>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64">
                          <a:moveTo>
                            <a:pt x="0" y="14"/>
                          </a:moveTo>
                          <a:lnTo>
                            <a:pt x="7" y="7"/>
                          </a:lnTo>
                          <a:lnTo>
                            <a:pt x="28" y="7"/>
                          </a:lnTo>
                          <a:lnTo>
                            <a:pt x="42" y="0"/>
                          </a:lnTo>
                          <a:lnTo>
                            <a:pt x="57" y="7"/>
                          </a:lnTo>
                          <a:lnTo>
                            <a:pt x="71" y="28"/>
                          </a:lnTo>
                          <a:lnTo>
                            <a:pt x="71" y="50"/>
                          </a:lnTo>
                          <a:lnTo>
                            <a:pt x="50" y="50"/>
                          </a:lnTo>
                          <a:lnTo>
                            <a:pt x="35" y="43"/>
                          </a:lnTo>
                          <a:lnTo>
                            <a:pt x="28" y="64"/>
                          </a:lnTo>
                          <a:lnTo>
                            <a:pt x="14" y="57"/>
                          </a:lnTo>
                          <a:lnTo>
                            <a:pt x="14" y="36"/>
                          </a:lnTo>
                          <a:lnTo>
                            <a:pt x="0" y="14"/>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3" name="Freeform 49"/>
                    <p:cNvSpPr>
                      <a:spLocks/>
                    </p:cNvSpPr>
                    <p:nvPr/>
                  </p:nvSpPr>
                  <p:spPr bwMode="auto">
                    <a:xfrm>
                      <a:off x="2978" y="1607"/>
                      <a:ext cx="386" cy="257"/>
                    </a:xfrm>
                    <a:custGeom>
                      <a:avLst/>
                      <a:gdLst>
                        <a:gd name="T0" fmla="*/ 300 w 386"/>
                        <a:gd name="T1" fmla="*/ 128 h 257"/>
                        <a:gd name="T2" fmla="*/ 250 w 386"/>
                        <a:gd name="T3" fmla="*/ 100 h 257"/>
                        <a:gd name="T4" fmla="*/ 200 w 386"/>
                        <a:gd name="T5" fmla="*/ 71 h 257"/>
                        <a:gd name="T6" fmla="*/ 143 w 386"/>
                        <a:gd name="T7" fmla="*/ 50 h 257"/>
                        <a:gd name="T8" fmla="*/ 114 w 386"/>
                        <a:gd name="T9" fmla="*/ 21 h 257"/>
                        <a:gd name="T10" fmla="*/ 93 w 386"/>
                        <a:gd name="T11" fmla="*/ 43 h 257"/>
                        <a:gd name="T12" fmla="*/ 72 w 386"/>
                        <a:gd name="T13" fmla="*/ 57 h 257"/>
                        <a:gd name="T14" fmla="*/ 57 w 386"/>
                        <a:gd name="T15" fmla="*/ 43 h 257"/>
                        <a:gd name="T16" fmla="*/ 57 w 386"/>
                        <a:gd name="T17" fmla="*/ 7 h 257"/>
                        <a:gd name="T18" fmla="*/ 50 w 386"/>
                        <a:gd name="T19" fmla="*/ 71 h 257"/>
                        <a:gd name="T20" fmla="*/ 29 w 386"/>
                        <a:gd name="T21" fmla="*/ 50 h 257"/>
                        <a:gd name="T22" fmla="*/ 29 w 386"/>
                        <a:gd name="T23" fmla="*/ 0 h 257"/>
                        <a:gd name="T24" fmla="*/ 0 w 386"/>
                        <a:gd name="T25" fmla="*/ 7 h 257"/>
                        <a:gd name="T26" fmla="*/ 0 w 386"/>
                        <a:gd name="T27" fmla="*/ 35 h 257"/>
                        <a:gd name="T28" fmla="*/ 7 w 386"/>
                        <a:gd name="T29" fmla="*/ 85 h 257"/>
                        <a:gd name="T30" fmla="*/ 36 w 386"/>
                        <a:gd name="T31" fmla="*/ 107 h 257"/>
                        <a:gd name="T32" fmla="*/ 114 w 386"/>
                        <a:gd name="T33" fmla="*/ 100 h 257"/>
                        <a:gd name="T34" fmla="*/ 171 w 386"/>
                        <a:gd name="T35" fmla="*/ 93 h 257"/>
                        <a:gd name="T36" fmla="*/ 207 w 386"/>
                        <a:gd name="T37" fmla="*/ 121 h 257"/>
                        <a:gd name="T38" fmla="*/ 221 w 386"/>
                        <a:gd name="T39" fmla="*/ 192 h 257"/>
                        <a:gd name="T40" fmla="*/ 193 w 386"/>
                        <a:gd name="T41" fmla="*/ 221 h 257"/>
                        <a:gd name="T42" fmla="*/ 179 w 386"/>
                        <a:gd name="T43" fmla="*/ 242 h 257"/>
                        <a:gd name="T44" fmla="*/ 214 w 386"/>
                        <a:gd name="T45" fmla="*/ 228 h 257"/>
                        <a:gd name="T46" fmla="*/ 243 w 386"/>
                        <a:gd name="T47" fmla="*/ 221 h 257"/>
                        <a:gd name="T48" fmla="*/ 271 w 386"/>
                        <a:gd name="T49" fmla="*/ 242 h 257"/>
                        <a:gd name="T50" fmla="*/ 328 w 386"/>
                        <a:gd name="T51" fmla="*/ 257 h 257"/>
                        <a:gd name="T52" fmla="*/ 386 w 386"/>
                        <a:gd name="T53" fmla="*/ 250 h 257"/>
                        <a:gd name="T54" fmla="*/ 343 w 386"/>
                        <a:gd name="T55" fmla="*/ 235 h 257"/>
                        <a:gd name="T56" fmla="*/ 307 w 386"/>
                        <a:gd name="T57" fmla="*/ 214 h 257"/>
                        <a:gd name="T58" fmla="*/ 357 w 386"/>
                        <a:gd name="T59" fmla="*/ 221 h 257"/>
                        <a:gd name="T60" fmla="*/ 328 w 386"/>
                        <a:gd name="T61" fmla="*/ 192 h 257"/>
                        <a:gd name="T62" fmla="*/ 286 w 386"/>
                        <a:gd name="T63" fmla="*/ 178 h 257"/>
                        <a:gd name="T64" fmla="*/ 307 w 386"/>
                        <a:gd name="T65" fmla="*/ 135 h 257"/>
                        <a:gd name="T66" fmla="*/ 336 w 386"/>
                        <a:gd name="T67" fmla="*/ 121 h 2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6"/>
                        <a:gd name="T103" fmla="*/ 0 h 257"/>
                        <a:gd name="T104" fmla="*/ 386 w 386"/>
                        <a:gd name="T105" fmla="*/ 257 h 2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6" h="257">
                          <a:moveTo>
                            <a:pt x="336" y="121"/>
                          </a:moveTo>
                          <a:lnTo>
                            <a:pt x="300" y="128"/>
                          </a:lnTo>
                          <a:lnTo>
                            <a:pt x="286" y="107"/>
                          </a:lnTo>
                          <a:lnTo>
                            <a:pt x="250" y="100"/>
                          </a:lnTo>
                          <a:lnTo>
                            <a:pt x="229" y="78"/>
                          </a:lnTo>
                          <a:lnTo>
                            <a:pt x="200" y="71"/>
                          </a:lnTo>
                          <a:lnTo>
                            <a:pt x="179" y="50"/>
                          </a:lnTo>
                          <a:lnTo>
                            <a:pt x="143" y="50"/>
                          </a:lnTo>
                          <a:lnTo>
                            <a:pt x="143" y="28"/>
                          </a:lnTo>
                          <a:lnTo>
                            <a:pt x="114" y="21"/>
                          </a:lnTo>
                          <a:lnTo>
                            <a:pt x="100" y="21"/>
                          </a:lnTo>
                          <a:lnTo>
                            <a:pt x="93" y="43"/>
                          </a:lnTo>
                          <a:lnTo>
                            <a:pt x="86" y="50"/>
                          </a:lnTo>
                          <a:lnTo>
                            <a:pt x="72" y="57"/>
                          </a:lnTo>
                          <a:lnTo>
                            <a:pt x="72" y="71"/>
                          </a:lnTo>
                          <a:lnTo>
                            <a:pt x="57" y="43"/>
                          </a:lnTo>
                          <a:lnTo>
                            <a:pt x="64" y="14"/>
                          </a:lnTo>
                          <a:lnTo>
                            <a:pt x="57" y="7"/>
                          </a:lnTo>
                          <a:lnTo>
                            <a:pt x="43" y="43"/>
                          </a:lnTo>
                          <a:lnTo>
                            <a:pt x="50" y="71"/>
                          </a:lnTo>
                          <a:lnTo>
                            <a:pt x="43" y="93"/>
                          </a:lnTo>
                          <a:lnTo>
                            <a:pt x="29" y="50"/>
                          </a:lnTo>
                          <a:lnTo>
                            <a:pt x="29" y="21"/>
                          </a:lnTo>
                          <a:lnTo>
                            <a:pt x="29" y="0"/>
                          </a:lnTo>
                          <a:lnTo>
                            <a:pt x="7" y="0"/>
                          </a:lnTo>
                          <a:lnTo>
                            <a:pt x="0" y="7"/>
                          </a:lnTo>
                          <a:lnTo>
                            <a:pt x="0" y="35"/>
                          </a:lnTo>
                          <a:lnTo>
                            <a:pt x="0" y="57"/>
                          </a:lnTo>
                          <a:lnTo>
                            <a:pt x="7" y="85"/>
                          </a:lnTo>
                          <a:lnTo>
                            <a:pt x="22" y="100"/>
                          </a:lnTo>
                          <a:lnTo>
                            <a:pt x="36" y="107"/>
                          </a:lnTo>
                          <a:lnTo>
                            <a:pt x="79" y="93"/>
                          </a:lnTo>
                          <a:lnTo>
                            <a:pt x="114" y="100"/>
                          </a:lnTo>
                          <a:lnTo>
                            <a:pt x="136" y="93"/>
                          </a:lnTo>
                          <a:lnTo>
                            <a:pt x="171" y="93"/>
                          </a:lnTo>
                          <a:lnTo>
                            <a:pt x="200" y="114"/>
                          </a:lnTo>
                          <a:lnTo>
                            <a:pt x="207" y="121"/>
                          </a:lnTo>
                          <a:lnTo>
                            <a:pt x="207" y="157"/>
                          </a:lnTo>
                          <a:lnTo>
                            <a:pt x="221" y="192"/>
                          </a:lnTo>
                          <a:lnTo>
                            <a:pt x="214" y="207"/>
                          </a:lnTo>
                          <a:lnTo>
                            <a:pt x="193" y="221"/>
                          </a:lnTo>
                          <a:lnTo>
                            <a:pt x="179" y="228"/>
                          </a:lnTo>
                          <a:lnTo>
                            <a:pt x="179" y="242"/>
                          </a:lnTo>
                          <a:lnTo>
                            <a:pt x="186" y="250"/>
                          </a:lnTo>
                          <a:lnTo>
                            <a:pt x="214" y="228"/>
                          </a:lnTo>
                          <a:lnTo>
                            <a:pt x="229" y="214"/>
                          </a:lnTo>
                          <a:lnTo>
                            <a:pt x="243" y="221"/>
                          </a:lnTo>
                          <a:lnTo>
                            <a:pt x="257" y="235"/>
                          </a:lnTo>
                          <a:lnTo>
                            <a:pt x="271" y="242"/>
                          </a:lnTo>
                          <a:lnTo>
                            <a:pt x="300" y="250"/>
                          </a:lnTo>
                          <a:lnTo>
                            <a:pt x="328" y="257"/>
                          </a:lnTo>
                          <a:lnTo>
                            <a:pt x="357" y="242"/>
                          </a:lnTo>
                          <a:lnTo>
                            <a:pt x="386" y="250"/>
                          </a:lnTo>
                          <a:lnTo>
                            <a:pt x="378" y="242"/>
                          </a:lnTo>
                          <a:lnTo>
                            <a:pt x="343" y="235"/>
                          </a:lnTo>
                          <a:lnTo>
                            <a:pt x="307" y="221"/>
                          </a:lnTo>
                          <a:lnTo>
                            <a:pt x="307" y="214"/>
                          </a:lnTo>
                          <a:lnTo>
                            <a:pt x="328" y="214"/>
                          </a:lnTo>
                          <a:lnTo>
                            <a:pt x="357" y="221"/>
                          </a:lnTo>
                          <a:lnTo>
                            <a:pt x="343" y="192"/>
                          </a:lnTo>
                          <a:lnTo>
                            <a:pt x="328" y="192"/>
                          </a:lnTo>
                          <a:lnTo>
                            <a:pt x="307" y="178"/>
                          </a:lnTo>
                          <a:lnTo>
                            <a:pt x="286" y="178"/>
                          </a:lnTo>
                          <a:lnTo>
                            <a:pt x="300" y="150"/>
                          </a:lnTo>
                          <a:lnTo>
                            <a:pt x="307" y="135"/>
                          </a:lnTo>
                          <a:lnTo>
                            <a:pt x="328" y="135"/>
                          </a:lnTo>
                          <a:lnTo>
                            <a:pt x="336" y="121"/>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4" name="Freeform 50"/>
                    <p:cNvSpPr>
                      <a:spLocks/>
                    </p:cNvSpPr>
                    <p:nvPr/>
                  </p:nvSpPr>
                  <p:spPr bwMode="auto">
                    <a:xfrm>
                      <a:off x="2671" y="1614"/>
                      <a:ext cx="214" cy="150"/>
                    </a:xfrm>
                    <a:custGeom>
                      <a:avLst/>
                      <a:gdLst>
                        <a:gd name="T0" fmla="*/ 157 w 214"/>
                        <a:gd name="T1" fmla="*/ 43 h 150"/>
                        <a:gd name="T2" fmla="*/ 143 w 214"/>
                        <a:gd name="T3" fmla="*/ 7 h 150"/>
                        <a:gd name="T4" fmla="*/ 122 w 214"/>
                        <a:gd name="T5" fmla="*/ 36 h 150"/>
                        <a:gd name="T6" fmla="*/ 107 w 214"/>
                        <a:gd name="T7" fmla="*/ 0 h 150"/>
                        <a:gd name="T8" fmla="*/ 93 w 214"/>
                        <a:gd name="T9" fmla="*/ 21 h 150"/>
                        <a:gd name="T10" fmla="*/ 79 w 214"/>
                        <a:gd name="T11" fmla="*/ 0 h 150"/>
                        <a:gd name="T12" fmla="*/ 72 w 214"/>
                        <a:gd name="T13" fmla="*/ 21 h 150"/>
                        <a:gd name="T14" fmla="*/ 43 w 214"/>
                        <a:gd name="T15" fmla="*/ 7 h 150"/>
                        <a:gd name="T16" fmla="*/ 15 w 214"/>
                        <a:gd name="T17" fmla="*/ 21 h 150"/>
                        <a:gd name="T18" fmla="*/ 0 w 214"/>
                        <a:gd name="T19" fmla="*/ 50 h 150"/>
                        <a:gd name="T20" fmla="*/ 15 w 214"/>
                        <a:gd name="T21" fmla="*/ 57 h 150"/>
                        <a:gd name="T22" fmla="*/ 65 w 214"/>
                        <a:gd name="T23" fmla="*/ 57 h 150"/>
                        <a:gd name="T24" fmla="*/ 36 w 214"/>
                        <a:gd name="T25" fmla="*/ 86 h 150"/>
                        <a:gd name="T26" fmla="*/ 93 w 214"/>
                        <a:gd name="T27" fmla="*/ 100 h 150"/>
                        <a:gd name="T28" fmla="*/ 79 w 214"/>
                        <a:gd name="T29" fmla="*/ 107 h 150"/>
                        <a:gd name="T30" fmla="*/ 15 w 214"/>
                        <a:gd name="T31" fmla="*/ 100 h 150"/>
                        <a:gd name="T32" fmla="*/ 50 w 214"/>
                        <a:gd name="T33" fmla="*/ 128 h 150"/>
                        <a:gd name="T34" fmla="*/ 93 w 214"/>
                        <a:gd name="T35" fmla="*/ 136 h 150"/>
                        <a:gd name="T36" fmla="*/ 122 w 214"/>
                        <a:gd name="T37" fmla="*/ 128 h 150"/>
                        <a:gd name="T38" fmla="*/ 150 w 214"/>
                        <a:gd name="T39" fmla="*/ 136 h 150"/>
                        <a:gd name="T40" fmla="*/ 186 w 214"/>
                        <a:gd name="T41" fmla="*/ 150 h 150"/>
                        <a:gd name="T42" fmla="*/ 179 w 214"/>
                        <a:gd name="T43" fmla="*/ 128 h 150"/>
                        <a:gd name="T44" fmla="*/ 214 w 214"/>
                        <a:gd name="T45" fmla="*/ 114 h 150"/>
                        <a:gd name="T46" fmla="*/ 179 w 214"/>
                        <a:gd name="T47" fmla="*/ 107 h 150"/>
                        <a:gd name="T48" fmla="*/ 157 w 214"/>
                        <a:gd name="T49" fmla="*/ 43 h 1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4"/>
                        <a:gd name="T76" fmla="*/ 0 h 150"/>
                        <a:gd name="T77" fmla="*/ 214 w 214"/>
                        <a:gd name="T78" fmla="*/ 150 h 1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4" h="150">
                          <a:moveTo>
                            <a:pt x="157" y="43"/>
                          </a:moveTo>
                          <a:lnTo>
                            <a:pt x="143" y="7"/>
                          </a:lnTo>
                          <a:lnTo>
                            <a:pt x="122" y="36"/>
                          </a:lnTo>
                          <a:lnTo>
                            <a:pt x="107" y="0"/>
                          </a:lnTo>
                          <a:lnTo>
                            <a:pt x="93" y="21"/>
                          </a:lnTo>
                          <a:lnTo>
                            <a:pt x="79" y="0"/>
                          </a:lnTo>
                          <a:lnTo>
                            <a:pt x="72" y="21"/>
                          </a:lnTo>
                          <a:lnTo>
                            <a:pt x="43" y="7"/>
                          </a:lnTo>
                          <a:lnTo>
                            <a:pt x="15" y="21"/>
                          </a:lnTo>
                          <a:lnTo>
                            <a:pt x="0" y="50"/>
                          </a:lnTo>
                          <a:lnTo>
                            <a:pt x="15" y="57"/>
                          </a:lnTo>
                          <a:lnTo>
                            <a:pt x="65" y="57"/>
                          </a:lnTo>
                          <a:lnTo>
                            <a:pt x="36" y="86"/>
                          </a:lnTo>
                          <a:lnTo>
                            <a:pt x="93" y="100"/>
                          </a:lnTo>
                          <a:lnTo>
                            <a:pt x="79" y="107"/>
                          </a:lnTo>
                          <a:lnTo>
                            <a:pt x="15" y="100"/>
                          </a:lnTo>
                          <a:lnTo>
                            <a:pt x="50" y="128"/>
                          </a:lnTo>
                          <a:lnTo>
                            <a:pt x="93" y="136"/>
                          </a:lnTo>
                          <a:lnTo>
                            <a:pt x="122" y="128"/>
                          </a:lnTo>
                          <a:lnTo>
                            <a:pt x="150" y="136"/>
                          </a:lnTo>
                          <a:lnTo>
                            <a:pt x="186" y="150"/>
                          </a:lnTo>
                          <a:lnTo>
                            <a:pt x="179" y="128"/>
                          </a:lnTo>
                          <a:lnTo>
                            <a:pt x="214" y="114"/>
                          </a:lnTo>
                          <a:lnTo>
                            <a:pt x="179" y="107"/>
                          </a:lnTo>
                          <a:lnTo>
                            <a:pt x="157" y="43"/>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5" name="Freeform 51"/>
                    <p:cNvSpPr>
                      <a:spLocks/>
                    </p:cNvSpPr>
                    <p:nvPr/>
                  </p:nvSpPr>
                  <p:spPr bwMode="auto">
                    <a:xfrm>
                      <a:off x="2914" y="1357"/>
                      <a:ext cx="121" cy="200"/>
                    </a:xfrm>
                    <a:custGeom>
                      <a:avLst/>
                      <a:gdLst>
                        <a:gd name="T0" fmla="*/ 78 w 121"/>
                        <a:gd name="T1" fmla="*/ 0 h 200"/>
                        <a:gd name="T2" fmla="*/ 57 w 121"/>
                        <a:gd name="T3" fmla="*/ 0 h 200"/>
                        <a:gd name="T4" fmla="*/ 28 w 121"/>
                        <a:gd name="T5" fmla="*/ 21 h 200"/>
                        <a:gd name="T6" fmla="*/ 7 w 121"/>
                        <a:gd name="T7" fmla="*/ 43 h 200"/>
                        <a:gd name="T8" fmla="*/ 0 w 121"/>
                        <a:gd name="T9" fmla="*/ 64 h 200"/>
                        <a:gd name="T10" fmla="*/ 0 w 121"/>
                        <a:gd name="T11" fmla="*/ 79 h 200"/>
                        <a:gd name="T12" fmla="*/ 14 w 121"/>
                        <a:gd name="T13" fmla="*/ 93 h 200"/>
                        <a:gd name="T14" fmla="*/ 50 w 121"/>
                        <a:gd name="T15" fmla="*/ 79 h 200"/>
                        <a:gd name="T16" fmla="*/ 93 w 121"/>
                        <a:gd name="T17" fmla="*/ 64 h 200"/>
                        <a:gd name="T18" fmla="*/ 50 w 121"/>
                        <a:gd name="T19" fmla="*/ 107 h 200"/>
                        <a:gd name="T20" fmla="*/ 64 w 121"/>
                        <a:gd name="T21" fmla="*/ 107 h 200"/>
                        <a:gd name="T22" fmla="*/ 50 w 121"/>
                        <a:gd name="T23" fmla="*/ 136 h 200"/>
                        <a:gd name="T24" fmla="*/ 64 w 121"/>
                        <a:gd name="T25" fmla="*/ 143 h 200"/>
                        <a:gd name="T26" fmla="*/ 64 w 121"/>
                        <a:gd name="T27" fmla="*/ 164 h 200"/>
                        <a:gd name="T28" fmla="*/ 43 w 121"/>
                        <a:gd name="T29" fmla="*/ 171 h 200"/>
                        <a:gd name="T30" fmla="*/ 28 w 121"/>
                        <a:gd name="T31" fmla="*/ 193 h 200"/>
                        <a:gd name="T32" fmla="*/ 43 w 121"/>
                        <a:gd name="T33" fmla="*/ 200 h 200"/>
                        <a:gd name="T34" fmla="*/ 78 w 121"/>
                        <a:gd name="T35" fmla="*/ 178 h 200"/>
                        <a:gd name="T36" fmla="*/ 121 w 121"/>
                        <a:gd name="T37" fmla="*/ 186 h 200"/>
                        <a:gd name="T38" fmla="*/ 114 w 121"/>
                        <a:gd name="T39" fmla="*/ 157 h 200"/>
                        <a:gd name="T40" fmla="*/ 114 w 121"/>
                        <a:gd name="T41" fmla="*/ 128 h 200"/>
                        <a:gd name="T42" fmla="*/ 100 w 121"/>
                        <a:gd name="T43" fmla="*/ 114 h 200"/>
                        <a:gd name="T44" fmla="*/ 114 w 121"/>
                        <a:gd name="T45" fmla="*/ 71 h 200"/>
                        <a:gd name="T46" fmla="*/ 107 w 121"/>
                        <a:gd name="T47" fmla="*/ 50 h 200"/>
                        <a:gd name="T48" fmla="*/ 100 w 121"/>
                        <a:gd name="T49" fmla="*/ 14 h 200"/>
                        <a:gd name="T50" fmla="*/ 78 w 121"/>
                        <a:gd name="T51" fmla="*/ 0 h 2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1"/>
                        <a:gd name="T79" fmla="*/ 0 h 200"/>
                        <a:gd name="T80" fmla="*/ 121 w 121"/>
                        <a:gd name="T81" fmla="*/ 200 h 2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1" h="200">
                          <a:moveTo>
                            <a:pt x="78" y="0"/>
                          </a:moveTo>
                          <a:lnTo>
                            <a:pt x="57" y="0"/>
                          </a:lnTo>
                          <a:lnTo>
                            <a:pt x="28" y="21"/>
                          </a:lnTo>
                          <a:lnTo>
                            <a:pt x="7" y="43"/>
                          </a:lnTo>
                          <a:lnTo>
                            <a:pt x="0" y="64"/>
                          </a:lnTo>
                          <a:lnTo>
                            <a:pt x="0" y="79"/>
                          </a:lnTo>
                          <a:lnTo>
                            <a:pt x="14" y="93"/>
                          </a:lnTo>
                          <a:lnTo>
                            <a:pt x="50" y="79"/>
                          </a:lnTo>
                          <a:lnTo>
                            <a:pt x="93" y="64"/>
                          </a:lnTo>
                          <a:lnTo>
                            <a:pt x="50" y="107"/>
                          </a:lnTo>
                          <a:lnTo>
                            <a:pt x="64" y="107"/>
                          </a:lnTo>
                          <a:lnTo>
                            <a:pt x="50" y="136"/>
                          </a:lnTo>
                          <a:lnTo>
                            <a:pt x="64" y="143"/>
                          </a:lnTo>
                          <a:lnTo>
                            <a:pt x="64" y="164"/>
                          </a:lnTo>
                          <a:lnTo>
                            <a:pt x="43" y="171"/>
                          </a:lnTo>
                          <a:lnTo>
                            <a:pt x="28" y="193"/>
                          </a:lnTo>
                          <a:lnTo>
                            <a:pt x="43" y="200"/>
                          </a:lnTo>
                          <a:lnTo>
                            <a:pt x="78" y="178"/>
                          </a:lnTo>
                          <a:lnTo>
                            <a:pt x="121" y="186"/>
                          </a:lnTo>
                          <a:lnTo>
                            <a:pt x="114" y="157"/>
                          </a:lnTo>
                          <a:lnTo>
                            <a:pt x="114" y="128"/>
                          </a:lnTo>
                          <a:lnTo>
                            <a:pt x="100" y="114"/>
                          </a:lnTo>
                          <a:lnTo>
                            <a:pt x="114" y="71"/>
                          </a:lnTo>
                          <a:lnTo>
                            <a:pt x="107" y="50"/>
                          </a:lnTo>
                          <a:lnTo>
                            <a:pt x="100" y="14"/>
                          </a:lnTo>
                          <a:lnTo>
                            <a:pt x="78"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6" name="Freeform 52"/>
                    <p:cNvSpPr>
                      <a:spLocks/>
                    </p:cNvSpPr>
                    <p:nvPr/>
                  </p:nvSpPr>
                  <p:spPr bwMode="auto">
                    <a:xfrm>
                      <a:off x="2893" y="1443"/>
                      <a:ext cx="49" cy="85"/>
                    </a:xfrm>
                    <a:custGeom>
                      <a:avLst/>
                      <a:gdLst>
                        <a:gd name="T0" fmla="*/ 7 w 49"/>
                        <a:gd name="T1" fmla="*/ 0 h 85"/>
                        <a:gd name="T2" fmla="*/ 0 w 49"/>
                        <a:gd name="T3" fmla="*/ 28 h 85"/>
                        <a:gd name="T4" fmla="*/ 7 w 49"/>
                        <a:gd name="T5" fmla="*/ 78 h 85"/>
                        <a:gd name="T6" fmla="*/ 21 w 49"/>
                        <a:gd name="T7" fmla="*/ 85 h 85"/>
                        <a:gd name="T8" fmla="*/ 42 w 49"/>
                        <a:gd name="T9" fmla="*/ 78 h 85"/>
                        <a:gd name="T10" fmla="*/ 49 w 49"/>
                        <a:gd name="T11" fmla="*/ 42 h 85"/>
                        <a:gd name="T12" fmla="*/ 42 w 49"/>
                        <a:gd name="T13" fmla="*/ 35 h 85"/>
                        <a:gd name="T14" fmla="*/ 28 w 49"/>
                        <a:gd name="T15" fmla="*/ 21 h 85"/>
                        <a:gd name="T16" fmla="*/ 21 w 49"/>
                        <a:gd name="T17" fmla="*/ 21 h 85"/>
                        <a:gd name="T18" fmla="*/ 7 w 49"/>
                        <a:gd name="T19" fmla="*/ 0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85"/>
                        <a:gd name="T32" fmla="*/ 49 w 49"/>
                        <a:gd name="T33" fmla="*/ 85 h 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85">
                          <a:moveTo>
                            <a:pt x="7" y="0"/>
                          </a:moveTo>
                          <a:lnTo>
                            <a:pt x="0" y="28"/>
                          </a:lnTo>
                          <a:lnTo>
                            <a:pt x="7" y="78"/>
                          </a:lnTo>
                          <a:lnTo>
                            <a:pt x="21" y="85"/>
                          </a:lnTo>
                          <a:lnTo>
                            <a:pt x="42" y="78"/>
                          </a:lnTo>
                          <a:lnTo>
                            <a:pt x="49" y="42"/>
                          </a:lnTo>
                          <a:lnTo>
                            <a:pt x="42" y="35"/>
                          </a:lnTo>
                          <a:lnTo>
                            <a:pt x="28" y="21"/>
                          </a:lnTo>
                          <a:lnTo>
                            <a:pt x="21" y="21"/>
                          </a:lnTo>
                          <a:lnTo>
                            <a:pt x="7"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7" name="Freeform 53"/>
                    <p:cNvSpPr>
                      <a:spLocks/>
                    </p:cNvSpPr>
                    <p:nvPr/>
                  </p:nvSpPr>
                  <p:spPr bwMode="auto">
                    <a:xfrm>
                      <a:off x="2914" y="1614"/>
                      <a:ext cx="50" cy="57"/>
                    </a:xfrm>
                    <a:custGeom>
                      <a:avLst/>
                      <a:gdLst>
                        <a:gd name="T0" fmla="*/ 7 w 50"/>
                        <a:gd name="T1" fmla="*/ 0 h 57"/>
                        <a:gd name="T2" fmla="*/ 28 w 50"/>
                        <a:gd name="T3" fmla="*/ 7 h 57"/>
                        <a:gd name="T4" fmla="*/ 50 w 50"/>
                        <a:gd name="T5" fmla="*/ 0 h 57"/>
                        <a:gd name="T6" fmla="*/ 43 w 50"/>
                        <a:gd name="T7" fmla="*/ 21 h 57"/>
                        <a:gd name="T8" fmla="*/ 43 w 50"/>
                        <a:gd name="T9" fmla="*/ 36 h 57"/>
                        <a:gd name="T10" fmla="*/ 36 w 50"/>
                        <a:gd name="T11" fmla="*/ 43 h 57"/>
                        <a:gd name="T12" fmla="*/ 28 w 50"/>
                        <a:gd name="T13" fmla="*/ 57 h 57"/>
                        <a:gd name="T14" fmla="*/ 14 w 50"/>
                        <a:gd name="T15" fmla="*/ 50 h 57"/>
                        <a:gd name="T16" fmla="*/ 7 w 50"/>
                        <a:gd name="T17" fmla="*/ 50 h 57"/>
                        <a:gd name="T18" fmla="*/ 0 w 50"/>
                        <a:gd name="T19" fmla="*/ 28 h 57"/>
                        <a:gd name="T20" fmla="*/ 7 w 50"/>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57"/>
                        <a:gd name="T35" fmla="*/ 50 w 50"/>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57">
                          <a:moveTo>
                            <a:pt x="7" y="0"/>
                          </a:moveTo>
                          <a:lnTo>
                            <a:pt x="28" y="7"/>
                          </a:lnTo>
                          <a:lnTo>
                            <a:pt x="50" y="0"/>
                          </a:lnTo>
                          <a:lnTo>
                            <a:pt x="43" y="21"/>
                          </a:lnTo>
                          <a:lnTo>
                            <a:pt x="43" y="36"/>
                          </a:lnTo>
                          <a:lnTo>
                            <a:pt x="36" y="43"/>
                          </a:lnTo>
                          <a:lnTo>
                            <a:pt x="28" y="57"/>
                          </a:lnTo>
                          <a:lnTo>
                            <a:pt x="14" y="50"/>
                          </a:lnTo>
                          <a:lnTo>
                            <a:pt x="7" y="50"/>
                          </a:lnTo>
                          <a:lnTo>
                            <a:pt x="0" y="28"/>
                          </a:lnTo>
                          <a:lnTo>
                            <a:pt x="7"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8" name="Freeform 54"/>
                    <p:cNvSpPr>
                      <a:spLocks/>
                    </p:cNvSpPr>
                    <p:nvPr/>
                  </p:nvSpPr>
                  <p:spPr bwMode="auto">
                    <a:xfrm>
                      <a:off x="2843" y="1607"/>
                      <a:ext cx="64" cy="100"/>
                    </a:xfrm>
                    <a:custGeom>
                      <a:avLst/>
                      <a:gdLst>
                        <a:gd name="T0" fmla="*/ 64 w 64"/>
                        <a:gd name="T1" fmla="*/ 64 h 100"/>
                        <a:gd name="T2" fmla="*/ 57 w 64"/>
                        <a:gd name="T3" fmla="*/ 78 h 100"/>
                        <a:gd name="T4" fmla="*/ 42 w 64"/>
                        <a:gd name="T5" fmla="*/ 100 h 100"/>
                        <a:gd name="T6" fmla="*/ 28 w 64"/>
                        <a:gd name="T7" fmla="*/ 85 h 100"/>
                        <a:gd name="T8" fmla="*/ 28 w 64"/>
                        <a:gd name="T9" fmla="*/ 64 h 100"/>
                        <a:gd name="T10" fmla="*/ 7 w 64"/>
                        <a:gd name="T11" fmla="*/ 57 h 100"/>
                        <a:gd name="T12" fmla="*/ 0 w 64"/>
                        <a:gd name="T13" fmla="*/ 43 h 100"/>
                        <a:gd name="T14" fmla="*/ 0 w 64"/>
                        <a:gd name="T15" fmla="*/ 28 h 100"/>
                        <a:gd name="T16" fmla="*/ 21 w 64"/>
                        <a:gd name="T17" fmla="*/ 28 h 100"/>
                        <a:gd name="T18" fmla="*/ 14 w 64"/>
                        <a:gd name="T19" fmla="*/ 0 h 100"/>
                        <a:gd name="T20" fmla="*/ 35 w 64"/>
                        <a:gd name="T21" fmla="*/ 0 h 100"/>
                        <a:gd name="T22" fmla="*/ 57 w 64"/>
                        <a:gd name="T23" fmla="*/ 0 h 100"/>
                        <a:gd name="T24" fmla="*/ 50 w 64"/>
                        <a:gd name="T25" fmla="*/ 35 h 100"/>
                        <a:gd name="T26" fmla="*/ 50 w 64"/>
                        <a:gd name="T27" fmla="*/ 43 h 100"/>
                        <a:gd name="T28" fmla="*/ 64 w 64"/>
                        <a:gd name="T29" fmla="*/ 64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100"/>
                        <a:gd name="T47" fmla="*/ 64 w 64"/>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100">
                          <a:moveTo>
                            <a:pt x="64" y="64"/>
                          </a:moveTo>
                          <a:lnTo>
                            <a:pt x="57" y="78"/>
                          </a:lnTo>
                          <a:lnTo>
                            <a:pt x="42" y="100"/>
                          </a:lnTo>
                          <a:lnTo>
                            <a:pt x="28" y="85"/>
                          </a:lnTo>
                          <a:lnTo>
                            <a:pt x="28" y="64"/>
                          </a:lnTo>
                          <a:lnTo>
                            <a:pt x="7" y="57"/>
                          </a:lnTo>
                          <a:lnTo>
                            <a:pt x="0" y="43"/>
                          </a:lnTo>
                          <a:lnTo>
                            <a:pt x="0" y="28"/>
                          </a:lnTo>
                          <a:lnTo>
                            <a:pt x="21" y="28"/>
                          </a:lnTo>
                          <a:lnTo>
                            <a:pt x="14" y="0"/>
                          </a:lnTo>
                          <a:lnTo>
                            <a:pt x="35" y="0"/>
                          </a:lnTo>
                          <a:lnTo>
                            <a:pt x="57" y="0"/>
                          </a:lnTo>
                          <a:lnTo>
                            <a:pt x="50" y="35"/>
                          </a:lnTo>
                          <a:lnTo>
                            <a:pt x="50" y="43"/>
                          </a:lnTo>
                          <a:lnTo>
                            <a:pt x="64" y="64"/>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29" name="Freeform 55"/>
                    <p:cNvSpPr>
                      <a:spLocks/>
                    </p:cNvSpPr>
                    <p:nvPr/>
                  </p:nvSpPr>
                  <p:spPr bwMode="auto">
                    <a:xfrm>
                      <a:off x="2800" y="1543"/>
                      <a:ext cx="43" cy="28"/>
                    </a:xfrm>
                    <a:custGeom>
                      <a:avLst/>
                      <a:gdLst>
                        <a:gd name="T0" fmla="*/ 0 w 43"/>
                        <a:gd name="T1" fmla="*/ 14 h 28"/>
                        <a:gd name="T2" fmla="*/ 21 w 43"/>
                        <a:gd name="T3" fmla="*/ 14 h 28"/>
                        <a:gd name="T4" fmla="*/ 14 w 43"/>
                        <a:gd name="T5" fmla="*/ 0 h 28"/>
                        <a:gd name="T6" fmla="*/ 35 w 43"/>
                        <a:gd name="T7" fmla="*/ 7 h 28"/>
                        <a:gd name="T8" fmla="*/ 43 w 43"/>
                        <a:gd name="T9" fmla="*/ 28 h 28"/>
                        <a:gd name="T10" fmla="*/ 28 w 43"/>
                        <a:gd name="T11" fmla="*/ 28 h 28"/>
                        <a:gd name="T12" fmla="*/ 14 w 43"/>
                        <a:gd name="T13" fmla="*/ 28 h 28"/>
                        <a:gd name="T14" fmla="*/ 0 w 43"/>
                        <a:gd name="T15" fmla="*/ 14 h 28"/>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28"/>
                        <a:gd name="T26" fmla="*/ 43 w 43"/>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28">
                          <a:moveTo>
                            <a:pt x="0" y="14"/>
                          </a:moveTo>
                          <a:lnTo>
                            <a:pt x="21" y="14"/>
                          </a:lnTo>
                          <a:lnTo>
                            <a:pt x="14" y="0"/>
                          </a:lnTo>
                          <a:lnTo>
                            <a:pt x="35" y="7"/>
                          </a:lnTo>
                          <a:lnTo>
                            <a:pt x="43" y="28"/>
                          </a:lnTo>
                          <a:lnTo>
                            <a:pt x="28" y="28"/>
                          </a:lnTo>
                          <a:lnTo>
                            <a:pt x="14" y="28"/>
                          </a:lnTo>
                          <a:lnTo>
                            <a:pt x="0" y="14"/>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30" name="Freeform 56"/>
                    <p:cNvSpPr>
                      <a:spLocks/>
                    </p:cNvSpPr>
                    <p:nvPr/>
                  </p:nvSpPr>
                  <p:spPr bwMode="auto">
                    <a:xfrm>
                      <a:off x="2607" y="1535"/>
                      <a:ext cx="129" cy="122"/>
                    </a:xfrm>
                    <a:custGeom>
                      <a:avLst/>
                      <a:gdLst>
                        <a:gd name="T0" fmla="*/ 114 w 129"/>
                        <a:gd name="T1" fmla="*/ 58 h 122"/>
                        <a:gd name="T2" fmla="*/ 86 w 129"/>
                        <a:gd name="T3" fmla="*/ 58 h 122"/>
                        <a:gd name="T4" fmla="*/ 71 w 129"/>
                        <a:gd name="T5" fmla="*/ 65 h 122"/>
                        <a:gd name="T6" fmla="*/ 50 w 129"/>
                        <a:gd name="T7" fmla="*/ 86 h 122"/>
                        <a:gd name="T8" fmla="*/ 43 w 129"/>
                        <a:gd name="T9" fmla="*/ 107 h 122"/>
                        <a:gd name="T10" fmla="*/ 29 w 129"/>
                        <a:gd name="T11" fmla="*/ 122 h 122"/>
                        <a:gd name="T12" fmla="*/ 7 w 129"/>
                        <a:gd name="T13" fmla="*/ 122 h 122"/>
                        <a:gd name="T14" fmla="*/ 0 w 129"/>
                        <a:gd name="T15" fmla="*/ 100 h 122"/>
                        <a:gd name="T16" fmla="*/ 14 w 129"/>
                        <a:gd name="T17" fmla="*/ 72 h 122"/>
                        <a:gd name="T18" fmla="*/ 21 w 129"/>
                        <a:gd name="T19" fmla="*/ 43 h 122"/>
                        <a:gd name="T20" fmla="*/ 36 w 129"/>
                        <a:gd name="T21" fmla="*/ 15 h 122"/>
                        <a:gd name="T22" fmla="*/ 50 w 129"/>
                        <a:gd name="T23" fmla="*/ 8 h 122"/>
                        <a:gd name="T24" fmla="*/ 71 w 129"/>
                        <a:gd name="T25" fmla="*/ 0 h 122"/>
                        <a:gd name="T26" fmla="*/ 93 w 129"/>
                        <a:gd name="T27" fmla="*/ 0 h 122"/>
                        <a:gd name="T28" fmla="*/ 114 w 129"/>
                        <a:gd name="T29" fmla="*/ 15 h 122"/>
                        <a:gd name="T30" fmla="*/ 129 w 129"/>
                        <a:gd name="T31" fmla="*/ 29 h 122"/>
                        <a:gd name="T32" fmla="*/ 129 w 129"/>
                        <a:gd name="T33" fmla="*/ 50 h 122"/>
                        <a:gd name="T34" fmla="*/ 114 w 129"/>
                        <a:gd name="T35" fmla="*/ 58 h 1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9"/>
                        <a:gd name="T55" fmla="*/ 0 h 122"/>
                        <a:gd name="T56" fmla="*/ 129 w 129"/>
                        <a:gd name="T57" fmla="*/ 122 h 1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9" h="122">
                          <a:moveTo>
                            <a:pt x="114" y="58"/>
                          </a:moveTo>
                          <a:lnTo>
                            <a:pt x="86" y="58"/>
                          </a:lnTo>
                          <a:lnTo>
                            <a:pt x="71" y="65"/>
                          </a:lnTo>
                          <a:lnTo>
                            <a:pt x="50" y="86"/>
                          </a:lnTo>
                          <a:lnTo>
                            <a:pt x="43" y="107"/>
                          </a:lnTo>
                          <a:lnTo>
                            <a:pt x="29" y="122"/>
                          </a:lnTo>
                          <a:lnTo>
                            <a:pt x="7" y="122"/>
                          </a:lnTo>
                          <a:lnTo>
                            <a:pt x="0" y="100"/>
                          </a:lnTo>
                          <a:lnTo>
                            <a:pt x="14" y="72"/>
                          </a:lnTo>
                          <a:lnTo>
                            <a:pt x="21" y="43"/>
                          </a:lnTo>
                          <a:lnTo>
                            <a:pt x="36" y="15"/>
                          </a:lnTo>
                          <a:lnTo>
                            <a:pt x="50" y="8"/>
                          </a:lnTo>
                          <a:lnTo>
                            <a:pt x="71" y="0"/>
                          </a:lnTo>
                          <a:lnTo>
                            <a:pt x="93" y="0"/>
                          </a:lnTo>
                          <a:lnTo>
                            <a:pt x="114" y="15"/>
                          </a:lnTo>
                          <a:lnTo>
                            <a:pt x="129" y="29"/>
                          </a:lnTo>
                          <a:lnTo>
                            <a:pt x="129" y="50"/>
                          </a:lnTo>
                          <a:lnTo>
                            <a:pt x="114" y="58"/>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31" name="Freeform 57"/>
                    <p:cNvSpPr>
                      <a:spLocks/>
                    </p:cNvSpPr>
                    <p:nvPr/>
                  </p:nvSpPr>
                  <p:spPr bwMode="auto">
                    <a:xfrm>
                      <a:off x="2714" y="1457"/>
                      <a:ext cx="129" cy="86"/>
                    </a:xfrm>
                    <a:custGeom>
                      <a:avLst/>
                      <a:gdLst>
                        <a:gd name="T0" fmla="*/ 57 w 129"/>
                        <a:gd name="T1" fmla="*/ 86 h 86"/>
                        <a:gd name="T2" fmla="*/ 71 w 129"/>
                        <a:gd name="T3" fmla="*/ 71 h 86"/>
                        <a:gd name="T4" fmla="*/ 86 w 129"/>
                        <a:gd name="T5" fmla="*/ 64 h 86"/>
                        <a:gd name="T6" fmla="*/ 107 w 129"/>
                        <a:gd name="T7" fmla="*/ 64 h 86"/>
                        <a:gd name="T8" fmla="*/ 114 w 129"/>
                        <a:gd name="T9" fmla="*/ 64 h 86"/>
                        <a:gd name="T10" fmla="*/ 121 w 129"/>
                        <a:gd name="T11" fmla="*/ 64 h 86"/>
                        <a:gd name="T12" fmla="*/ 129 w 129"/>
                        <a:gd name="T13" fmla="*/ 50 h 86"/>
                        <a:gd name="T14" fmla="*/ 114 w 129"/>
                        <a:gd name="T15" fmla="*/ 43 h 86"/>
                        <a:gd name="T16" fmla="*/ 107 w 129"/>
                        <a:gd name="T17" fmla="*/ 43 h 86"/>
                        <a:gd name="T18" fmla="*/ 100 w 129"/>
                        <a:gd name="T19" fmla="*/ 28 h 86"/>
                        <a:gd name="T20" fmla="*/ 107 w 129"/>
                        <a:gd name="T21" fmla="*/ 7 h 86"/>
                        <a:gd name="T22" fmla="*/ 79 w 129"/>
                        <a:gd name="T23" fmla="*/ 0 h 86"/>
                        <a:gd name="T24" fmla="*/ 57 w 129"/>
                        <a:gd name="T25" fmla="*/ 7 h 86"/>
                        <a:gd name="T26" fmla="*/ 64 w 129"/>
                        <a:gd name="T27" fmla="*/ 21 h 86"/>
                        <a:gd name="T28" fmla="*/ 79 w 129"/>
                        <a:gd name="T29" fmla="*/ 36 h 86"/>
                        <a:gd name="T30" fmla="*/ 79 w 129"/>
                        <a:gd name="T31" fmla="*/ 50 h 86"/>
                        <a:gd name="T32" fmla="*/ 57 w 129"/>
                        <a:gd name="T33" fmla="*/ 50 h 86"/>
                        <a:gd name="T34" fmla="*/ 50 w 129"/>
                        <a:gd name="T35" fmla="*/ 43 h 86"/>
                        <a:gd name="T36" fmla="*/ 43 w 129"/>
                        <a:gd name="T37" fmla="*/ 21 h 86"/>
                        <a:gd name="T38" fmla="*/ 14 w 129"/>
                        <a:gd name="T39" fmla="*/ 28 h 86"/>
                        <a:gd name="T40" fmla="*/ 7 w 129"/>
                        <a:gd name="T41" fmla="*/ 43 h 86"/>
                        <a:gd name="T42" fmla="*/ 0 w 129"/>
                        <a:gd name="T43" fmla="*/ 57 h 86"/>
                        <a:gd name="T44" fmla="*/ 29 w 129"/>
                        <a:gd name="T45" fmla="*/ 57 h 86"/>
                        <a:gd name="T46" fmla="*/ 29 w 129"/>
                        <a:gd name="T47" fmla="*/ 64 h 86"/>
                        <a:gd name="T48" fmla="*/ 43 w 129"/>
                        <a:gd name="T49" fmla="*/ 64 h 86"/>
                        <a:gd name="T50" fmla="*/ 43 w 129"/>
                        <a:gd name="T51" fmla="*/ 86 h 86"/>
                        <a:gd name="T52" fmla="*/ 57 w 129"/>
                        <a:gd name="T53" fmla="*/ 86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9"/>
                        <a:gd name="T82" fmla="*/ 0 h 86"/>
                        <a:gd name="T83" fmla="*/ 129 w 12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9" h="86">
                          <a:moveTo>
                            <a:pt x="57" y="86"/>
                          </a:moveTo>
                          <a:lnTo>
                            <a:pt x="71" y="71"/>
                          </a:lnTo>
                          <a:lnTo>
                            <a:pt x="86" y="64"/>
                          </a:lnTo>
                          <a:lnTo>
                            <a:pt x="107" y="64"/>
                          </a:lnTo>
                          <a:lnTo>
                            <a:pt x="114" y="64"/>
                          </a:lnTo>
                          <a:lnTo>
                            <a:pt x="121" y="64"/>
                          </a:lnTo>
                          <a:lnTo>
                            <a:pt x="129" y="50"/>
                          </a:lnTo>
                          <a:lnTo>
                            <a:pt x="114" y="43"/>
                          </a:lnTo>
                          <a:lnTo>
                            <a:pt x="107" y="43"/>
                          </a:lnTo>
                          <a:lnTo>
                            <a:pt x="100" y="28"/>
                          </a:lnTo>
                          <a:lnTo>
                            <a:pt x="107" y="7"/>
                          </a:lnTo>
                          <a:lnTo>
                            <a:pt x="79" y="0"/>
                          </a:lnTo>
                          <a:lnTo>
                            <a:pt x="57" y="7"/>
                          </a:lnTo>
                          <a:lnTo>
                            <a:pt x="64" y="21"/>
                          </a:lnTo>
                          <a:lnTo>
                            <a:pt x="79" y="36"/>
                          </a:lnTo>
                          <a:lnTo>
                            <a:pt x="79" y="50"/>
                          </a:lnTo>
                          <a:lnTo>
                            <a:pt x="57" y="50"/>
                          </a:lnTo>
                          <a:lnTo>
                            <a:pt x="50" y="43"/>
                          </a:lnTo>
                          <a:lnTo>
                            <a:pt x="43" y="21"/>
                          </a:lnTo>
                          <a:lnTo>
                            <a:pt x="14" y="28"/>
                          </a:lnTo>
                          <a:lnTo>
                            <a:pt x="7" y="43"/>
                          </a:lnTo>
                          <a:lnTo>
                            <a:pt x="0" y="57"/>
                          </a:lnTo>
                          <a:lnTo>
                            <a:pt x="29" y="57"/>
                          </a:lnTo>
                          <a:lnTo>
                            <a:pt x="29" y="64"/>
                          </a:lnTo>
                          <a:lnTo>
                            <a:pt x="43" y="64"/>
                          </a:lnTo>
                          <a:lnTo>
                            <a:pt x="43" y="86"/>
                          </a:lnTo>
                          <a:lnTo>
                            <a:pt x="57" y="86"/>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32" name="Freeform 58"/>
                    <p:cNvSpPr>
                      <a:spLocks/>
                    </p:cNvSpPr>
                    <p:nvPr/>
                  </p:nvSpPr>
                  <p:spPr bwMode="auto">
                    <a:xfrm>
                      <a:off x="2678" y="1436"/>
                      <a:ext cx="50" cy="57"/>
                    </a:xfrm>
                    <a:custGeom>
                      <a:avLst/>
                      <a:gdLst>
                        <a:gd name="T0" fmla="*/ 43 w 50"/>
                        <a:gd name="T1" fmla="*/ 0 h 57"/>
                        <a:gd name="T2" fmla="*/ 15 w 50"/>
                        <a:gd name="T3" fmla="*/ 21 h 57"/>
                        <a:gd name="T4" fmla="*/ 0 w 50"/>
                        <a:gd name="T5" fmla="*/ 28 h 57"/>
                        <a:gd name="T6" fmla="*/ 0 w 50"/>
                        <a:gd name="T7" fmla="*/ 49 h 57"/>
                        <a:gd name="T8" fmla="*/ 15 w 50"/>
                        <a:gd name="T9" fmla="*/ 57 h 57"/>
                        <a:gd name="T10" fmla="*/ 22 w 50"/>
                        <a:gd name="T11" fmla="*/ 57 h 57"/>
                        <a:gd name="T12" fmla="*/ 22 w 50"/>
                        <a:gd name="T13" fmla="*/ 42 h 57"/>
                        <a:gd name="T14" fmla="*/ 22 w 50"/>
                        <a:gd name="T15" fmla="*/ 28 h 57"/>
                        <a:gd name="T16" fmla="*/ 29 w 50"/>
                        <a:gd name="T17" fmla="*/ 21 h 57"/>
                        <a:gd name="T18" fmla="*/ 50 w 50"/>
                        <a:gd name="T19" fmla="*/ 14 h 57"/>
                        <a:gd name="T20" fmla="*/ 43 w 50"/>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57"/>
                        <a:gd name="T35" fmla="*/ 50 w 50"/>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57">
                          <a:moveTo>
                            <a:pt x="43" y="0"/>
                          </a:moveTo>
                          <a:lnTo>
                            <a:pt x="15" y="21"/>
                          </a:lnTo>
                          <a:lnTo>
                            <a:pt x="0" y="28"/>
                          </a:lnTo>
                          <a:lnTo>
                            <a:pt x="0" y="49"/>
                          </a:lnTo>
                          <a:lnTo>
                            <a:pt x="15" y="57"/>
                          </a:lnTo>
                          <a:lnTo>
                            <a:pt x="22" y="57"/>
                          </a:lnTo>
                          <a:lnTo>
                            <a:pt x="22" y="42"/>
                          </a:lnTo>
                          <a:lnTo>
                            <a:pt x="22" y="28"/>
                          </a:lnTo>
                          <a:lnTo>
                            <a:pt x="29" y="21"/>
                          </a:lnTo>
                          <a:lnTo>
                            <a:pt x="50" y="14"/>
                          </a:lnTo>
                          <a:lnTo>
                            <a:pt x="43"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33" name="Freeform 59"/>
                    <p:cNvSpPr>
                      <a:spLocks/>
                    </p:cNvSpPr>
                    <p:nvPr/>
                  </p:nvSpPr>
                  <p:spPr bwMode="auto">
                    <a:xfrm>
                      <a:off x="3214" y="2064"/>
                      <a:ext cx="21" cy="21"/>
                    </a:xfrm>
                    <a:custGeom>
                      <a:avLst/>
                      <a:gdLst>
                        <a:gd name="T0" fmla="*/ 14 w 21"/>
                        <a:gd name="T1" fmla="*/ 7 h 21"/>
                        <a:gd name="T2" fmla="*/ 14 w 21"/>
                        <a:gd name="T3" fmla="*/ 0 h 21"/>
                        <a:gd name="T4" fmla="*/ 7 w 21"/>
                        <a:gd name="T5" fmla="*/ 0 h 21"/>
                        <a:gd name="T6" fmla="*/ 7 w 21"/>
                        <a:gd name="T7" fmla="*/ 0 h 21"/>
                        <a:gd name="T8" fmla="*/ 0 w 21"/>
                        <a:gd name="T9" fmla="*/ 0 h 21"/>
                        <a:gd name="T10" fmla="*/ 0 w 21"/>
                        <a:gd name="T11" fmla="*/ 7 h 21"/>
                        <a:gd name="T12" fmla="*/ 7 w 21"/>
                        <a:gd name="T13" fmla="*/ 14 h 21"/>
                        <a:gd name="T14" fmla="*/ 7 w 21"/>
                        <a:gd name="T15" fmla="*/ 21 h 21"/>
                        <a:gd name="T16" fmla="*/ 14 w 21"/>
                        <a:gd name="T17" fmla="*/ 21 h 21"/>
                        <a:gd name="T18" fmla="*/ 21 w 21"/>
                        <a:gd name="T19" fmla="*/ 14 h 21"/>
                        <a:gd name="T20" fmla="*/ 21 w 21"/>
                        <a:gd name="T21" fmla="*/ 7 h 21"/>
                        <a:gd name="T22" fmla="*/ 14 w 21"/>
                        <a:gd name="T23" fmla="*/ 7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1"/>
                        <a:gd name="T38" fmla="*/ 21 w 21"/>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1">
                          <a:moveTo>
                            <a:pt x="14" y="7"/>
                          </a:moveTo>
                          <a:lnTo>
                            <a:pt x="14" y="0"/>
                          </a:lnTo>
                          <a:lnTo>
                            <a:pt x="7" y="0"/>
                          </a:lnTo>
                          <a:lnTo>
                            <a:pt x="0" y="0"/>
                          </a:lnTo>
                          <a:lnTo>
                            <a:pt x="0" y="7"/>
                          </a:lnTo>
                          <a:lnTo>
                            <a:pt x="7" y="14"/>
                          </a:lnTo>
                          <a:lnTo>
                            <a:pt x="7" y="21"/>
                          </a:lnTo>
                          <a:lnTo>
                            <a:pt x="14" y="21"/>
                          </a:lnTo>
                          <a:lnTo>
                            <a:pt x="21" y="14"/>
                          </a:lnTo>
                          <a:lnTo>
                            <a:pt x="21" y="7"/>
                          </a:lnTo>
                          <a:lnTo>
                            <a:pt x="14" y="7"/>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grpSp>
          </p:grpSp>
          <p:sp>
            <p:nvSpPr>
              <p:cNvPr id="214" name="Freeform 60"/>
              <p:cNvSpPr>
                <a:spLocks/>
              </p:cNvSpPr>
              <p:nvPr/>
            </p:nvSpPr>
            <p:spPr bwMode="auto">
              <a:xfrm>
                <a:off x="2343" y="2185"/>
                <a:ext cx="64" cy="71"/>
              </a:xfrm>
              <a:custGeom>
                <a:avLst/>
                <a:gdLst>
                  <a:gd name="T0" fmla="*/ 64 w 64"/>
                  <a:gd name="T1" fmla="*/ 71 h 71"/>
                  <a:gd name="T2" fmla="*/ 36 w 64"/>
                  <a:gd name="T3" fmla="*/ 28 h 71"/>
                  <a:gd name="T4" fmla="*/ 21 w 64"/>
                  <a:gd name="T5" fmla="*/ 14 h 71"/>
                  <a:gd name="T6" fmla="*/ 0 w 64"/>
                  <a:gd name="T7" fmla="*/ 0 h 71"/>
                  <a:gd name="T8" fmla="*/ 7 w 64"/>
                  <a:gd name="T9" fmla="*/ 14 h 71"/>
                  <a:gd name="T10" fmla="*/ 29 w 64"/>
                  <a:gd name="T11" fmla="*/ 43 h 71"/>
                  <a:gd name="T12" fmla="*/ 50 w 64"/>
                  <a:gd name="T13" fmla="*/ 71 h 71"/>
                  <a:gd name="T14" fmla="*/ 64 w 64"/>
                  <a:gd name="T15" fmla="*/ 71 h 71"/>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71"/>
                  <a:gd name="T26" fmla="*/ 64 w 64"/>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71">
                    <a:moveTo>
                      <a:pt x="64" y="71"/>
                    </a:moveTo>
                    <a:lnTo>
                      <a:pt x="36" y="28"/>
                    </a:lnTo>
                    <a:lnTo>
                      <a:pt x="21" y="14"/>
                    </a:lnTo>
                    <a:lnTo>
                      <a:pt x="0" y="0"/>
                    </a:lnTo>
                    <a:lnTo>
                      <a:pt x="7" y="14"/>
                    </a:lnTo>
                    <a:lnTo>
                      <a:pt x="29" y="43"/>
                    </a:lnTo>
                    <a:lnTo>
                      <a:pt x="50" y="71"/>
                    </a:lnTo>
                    <a:lnTo>
                      <a:pt x="64" y="71"/>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grpSp>
          <p:nvGrpSpPr>
            <p:cNvPr id="203" name="Group 61"/>
            <p:cNvGrpSpPr>
              <a:grpSpLocks/>
            </p:cNvGrpSpPr>
            <p:nvPr/>
          </p:nvGrpSpPr>
          <p:grpSpPr bwMode="auto">
            <a:xfrm>
              <a:off x="2928" y="1315"/>
              <a:ext cx="2101" cy="2287"/>
              <a:chOff x="1879" y="1485"/>
              <a:chExt cx="1677" cy="1792"/>
            </a:xfrm>
            <a:grpFill/>
          </p:grpSpPr>
          <p:sp>
            <p:nvSpPr>
              <p:cNvPr id="204" name="Freeform 62"/>
              <p:cNvSpPr>
                <a:spLocks/>
              </p:cNvSpPr>
              <p:nvPr/>
            </p:nvSpPr>
            <p:spPr bwMode="auto">
              <a:xfrm>
                <a:off x="2443" y="2741"/>
                <a:ext cx="806" cy="536"/>
              </a:xfrm>
              <a:custGeom>
                <a:avLst/>
                <a:gdLst>
                  <a:gd name="T0" fmla="*/ 514 w 806"/>
                  <a:gd name="T1" fmla="*/ 236 h 536"/>
                  <a:gd name="T2" fmla="*/ 499 w 806"/>
                  <a:gd name="T3" fmla="*/ 272 h 536"/>
                  <a:gd name="T4" fmla="*/ 499 w 806"/>
                  <a:gd name="T5" fmla="*/ 329 h 536"/>
                  <a:gd name="T6" fmla="*/ 514 w 806"/>
                  <a:gd name="T7" fmla="*/ 379 h 536"/>
                  <a:gd name="T8" fmla="*/ 549 w 806"/>
                  <a:gd name="T9" fmla="*/ 414 h 536"/>
                  <a:gd name="T10" fmla="*/ 599 w 806"/>
                  <a:gd name="T11" fmla="*/ 443 h 536"/>
                  <a:gd name="T12" fmla="*/ 642 w 806"/>
                  <a:gd name="T13" fmla="*/ 422 h 536"/>
                  <a:gd name="T14" fmla="*/ 692 w 806"/>
                  <a:gd name="T15" fmla="*/ 414 h 536"/>
                  <a:gd name="T16" fmla="*/ 714 w 806"/>
                  <a:gd name="T17" fmla="*/ 372 h 536"/>
                  <a:gd name="T18" fmla="*/ 756 w 806"/>
                  <a:gd name="T19" fmla="*/ 343 h 536"/>
                  <a:gd name="T20" fmla="*/ 799 w 806"/>
                  <a:gd name="T21" fmla="*/ 329 h 536"/>
                  <a:gd name="T22" fmla="*/ 771 w 806"/>
                  <a:gd name="T23" fmla="*/ 386 h 536"/>
                  <a:gd name="T24" fmla="*/ 764 w 806"/>
                  <a:gd name="T25" fmla="*/ 436 h 536"/>
                  <a:gd name="T26" fmla="*/ 692 w 806"/>
                  <a:gd name="T27" fmla="*/ 429 h 536"/>
                  <a:gd name="T28" fmla="*/ 685 w 806"/>
                  <a:gd name="T29" fmla="*/ 471 h 536"/>
                  <a:gd name="T30" fmla="*/ 699 w 806"/>
                  <a:gd name="T31" fmla="*/ 493 h 536"/>
                  <a:gd name="T32" fmla="*/ 664 w 806"/>
                  <a:gd name="T33" fmla="*/ 493 h 536"/>
                  <a:gd name="T34" fmla="*/ 656 w 806"/>
                  <a:gd name="T35" fmla="*/ 521 h 536"/>
                  <a:gd name="T36" fmla="*/ 628 w 806"/>
                  <a:gd name="T37" fmla="*/ 521 h 536"/>
                  <a:gd name="T38" fmla="*/ 614 w 806"/>
                  <a:gd name="T39" fmla="*/ 500 h 536"/>
                  <a:gd name="T40" fmla="*/ 578 w 806"/>
                  <a:gd name="T41" fmla="*/ 493 h 536"/>
                  <a:gd name="T42" fmla="*/ 542 w 806"/>
                  <a:gd name="T43" fmla="*/ 514 h 536"/>
                  <a:gd name="T44" fmla="*/ 478 w 806"/>
                  <a:gd name="T45" fmla="*/ 507 h 536"/>
                  <a:gd name="T46" fmla="*/ 407 w 806"/>
                  <a:gd name="T47" fmla="*/ 457 h 536"/>
                  <a:gd name="T48" fmla="*/ 350 w 806"/>
                  <a:gd name="T49" fmla="*/ 450 h 536"/>
                  <a:gd name="T50" fmla="*/ 271 w 806"/>
                  <a:gd name="T51" fmla="*/ 393 h 536"/>
                  <a:gd name="T52" fmla="*/ 243 w 806"/>
                  <a:gd name="T53" fmla="*/ 293 h 536"/>
                  <a:gd name="T54" fmla="*/ 193 w 806"/>
                  <a:gd name="T55" fmla="*/ 250 h 536"/>
                  <a:gd name="T56" fmla="*/ 150 w 806"/>
                  <a:gd name="T57" fmla="*/ 165 h 536"/>
                  <a:gd name="T58" fmla="*/ 107 w 806"/>
                  <a:gd name="T59" fmla="*/ 79 h 536"/>
                  <a:gd name="T60" fmla="*/ 57 w 806"/>
                  <a:gd name="T61" fmla="*/ 50 h 536"/>
                  <a:gd name="T62" fmla="*/ 86 w 806"/>
                  <a:gd name="T63" fmla="*/ 150 h 536"/>
                  <a:gd name="T64" fmla="*/ 121 w 806"/>
                  <a:gd name="T65" fmla="*/ 222 h 536"/>
                  <a:gd name="T66" fmla="*/ 164 w 806"/>
                  <a:gd name="T67" fmla="*/ 307 h 536"/>
                  <a:gd name="T68" fmla="*/ 121 w 806"/>
                  <a:gd name="T69" fmla="*/ 272 h 536"/>
                  <a:gd name="T70" fmla="*/ 93 w 806"/>
                  <a:gd name="T71" fmla="*/ 222 h 536"/>
                  <a:gd name="T72" fmla="*/ 78 w 806"/>
                  <a:gd name="T73" fmla="*/ 179 h 536"/>
                  <a:gd name="T74" fmla="*/ 50 w 806"/>
                  <a:gd name="T75" fmla="*/ 150 h 536"/>
                  <a:gd name="T76" fmla="*/ 50 w 806"/>
                  <a:gd name="T77" fmla="*/ 115 h 536"/>
                  <a:gd name="T78" fmla="*/ 14 w 806"/>
                  <a:gd name="T79" fmla="*/ 65 h 536"/>
                  <a:gd name="T80" fmla="*/ 0 w 806"/>
                  <a:gd name="T81" fmla="*/ 0 h 536"/>
                  <a:gd name="T82" fmla="*/ 128 w 806"/>
                  <a:gd name="T83" fmla="*/ 50 h 536"/>
                  <a:gd name="T84" fmla="*/ 214 w 806"/>
                  <a:gd name="T85" fmla="*/ 65 h 536"/>
                  <a:gd name="T86" fmla="*/ 300 w 806"/>
                  <a:gd name="T87" fmla="*/ 72 h 536"/>
                  <a:gd name="T88" fmla="*/ 328 w 806"/>
                  <a:gd name="T89" fmla="*/ 136 h 536"/>
                  <a:gd name="T90" fmla="*/ 371 w 806"/>
                  <a:gd name="T91" fmla="*/ 115 h 536"/>
                  <a:gd name="T92" fmla="*/ 435 w 806"/>
                  <a:gd name="T93" fmla="*/ 157 h 536"/>
                  <a:gd name="T94" fmla="*/ 485 w 806"/>
                  <a:gd name="T95" fmla="*/ 229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6"/>
                  <a:gd name="T145" fmla="*/ 0 h 536"/>
                  <a:gd name="T146" fmla="*/ 806 w 806"/>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6" h="536">
                    <a:moveTo>
                      <a:pt x="507" y="229"/>
                    </a:moveTo>
                    <a:lnTo>
                      <a:pt x="514" y="236"/>
                    </a:lnTo>
                    <a:lnTo>
                      <a:pt x="514" y="250"/>
                    </a:lnTo>
                    <a:lnTo>
                      <a:pt x="499" y="272"/>
                    </a:lnTo>
                    <a:lnTo>
                      <a:pt x="492" y="307"/>
                    </a:lnTo>
                    <a:lnTo>
                      <a:pt x="499" y="329"/>
                    </a:lnTo>
                    <a:lnTo>
                      <a:pt x="499" y="357"/>
                    </a:lnTo>
                    <a:lnTo>
                      <a:pt x="514" y="379"/>
                    </a:lnTo>
                    <a:lnTo>
                      <a:pt x="521" y="407"/>
                    </a:lnTo>
                    <a:lnTo>
                      <a:pt x="549" y="414"/>
                    </a:lnTo>
                    <a:lnTo>
                      <a:pt x="571" y="436"/>
                    </a:lnTo>
                    <a:lnTo>
                      <a:pt x="599" y="443"/>
                    </a:lnTo>
                    <a:lnTo>
                      <a:pt x="621" y="422"/>
                    </a:lnTo>
                    <a:lnTo>
                      <a:pt x="642" y="422"/>
                    </a:lnTo>
                    <a:lnTo>
                      <a:pt x="671" y="429"/>
                    </a:lnTo>
                    <a:lnTo>
                      <a:pt x="692" y="414"/>
                    </a:lnTo>
                    <a:lnTo>
                      <a:pt x="706" y="400"/>
                    </a:lnTo>
                    <a:lnTo>
                      <a:pt x="714" y="372"/>
                    </a:lnTo>
                    <a:lnTo>
                      <a:pt x="714" y="343"/>
                    </a:lnTo>
                    <a:lnTo>
                      <a:pt x="756" y="343"/>
                    </a:lnTo>
                    <a:lnTo>
                      <a:pt x="785" y="329"/>
                    </a:lnTo>
                    <a:lnTo>
                      <a:pt x="799" y="329"/>
                    </a:lnTo>
                    <a:lnTo>
                      <a:pt x="806" y="350"/>
                    </a:lnTo>
                    <a:lnTo>
                      <a:pt x="771" y="386"/>
                    </a:lnTo>
                    <a:lnTo>
                      <a:pt x="771" y="414"/>
                    </a:lnTo>
                    <a:lnTo>
                      <a:pt x="764" y="436"/>
                    </a:lnTo>
                    <a:lnTo>
                      <a:pt x="728" y="429"/>
                    </a:lnTo>
                    <a:lnTo>
                      <a:pt x="692" y="429"/>
                    </a:lnTo>
                    <a:lnTo>
                      <a:pt x="685" y="450"/>
                    </a:lnTo>
                    <a:lnTo>
                      <a:pt x="685" y="471"/>
                    </a:lnTo>
                    <a:lnTo>
                      <a:pt x="706" y="479"/>
                    </a:lnTo>
                    <a:lnTo>
                      <a:pt x="699" y="493"/>
                    </a:lnTo>
                    <a:lnTo>
                      <a:pt x="678" y="486"/>
                    </a:lnTo>
                    <a:lnTo>
                      <a:pt x="664" y="493"/>
                    </a:lnTo>
                    <a:lnTo>
                      <a:pt x="656" y="500"/>
                    </a:lnTo>
                    <a:lnTo>
                      <a:pt x="656" y="521"/>
                    </a:lnTo>
                    <a:lnTo>
                      <a:pt x="664" y="536"/>
                    </a:lnTo>
                    <a:lnTo>
                      <a:pt x="628" y="521"/>
                    </a:lnTo>
                    <a:lnTo>
                      <a:pt x="621" y="514"/>
                    </a:lnTo>
                    <a:lnTo>
                      <a:pt x="614" y="500"/>
                    </a:lnTo>
                    <a:lnTo>
                      <a:pt x="599" y="493"/>
                    </a:lnTo>
                    <a:lnTo>
                      <a:pt x="578" y="493"/>
                    </a:lnTo>
                    <a:lnTo>
                      <a:pt x="564" y="507"/>
                    </a:lnTo>
                    <a:lnTo>
                      <a:pt x="542" y="514"/>
                    </a:lnTo>
                    <a:lnTo>
                      <a:pt x="514" y="507"/>
                    </a:lnTo>
                    <a:lnTo>
                      <a:pt x="478" y="507"/>
                    </a:lnTo>
                    <a:lnTo>
                      <a:pt x="442" y="479"/>
                    </a:lnTo>
                    <a:lnTo>
                      <a:pt x="407" y="457"/>
                    </a:lnTo>
                    <a:lnTo>
                      <a:pt x="371" y="450"/>
                    </a:lnTo>
                    <a:lnTo>
                      <a:pt x="350" y="450"/>
                    </a:lnTo>
                    <a:lnTo>
                      <a:pt x="300" y="429"/>
                    </a:lnTo>
                    <a:lnTo>
                      <a:pt x="271" y="393"/>
                    </a:lnTo>
                    <a:lnTo>
                      <a:pt x="264" y="329"/>
                    </a:lnTo>
                    <a:lnTo>
                      <a:pt x="243" y="293"/>
                    </a:lnTo>
                    <a:lnTo>
                      <a:pt x="221" y="272"/>
                    </a:lnTo>
                    <a:lnTo>
                      <a:pt x="193" y="250"/>
                    </a:lnTo>
                    <a:lnTo>
                      <a:pt x="178" y="200"/>
                    </a:lnTo>
                    <a:lnTo>
                      <a:pt x="150" y="165"/>
                    </a:lnTo>
                    <a:lnTo>
                      <a:pt x="121" y="129"/>
                    </a:lnTo>
                    <a:lnTo>
                      <a:pt x="107" y="79"/>
                    </a:lnTo>
                    <a:lnTo>
                      <a:pt x="86" y="65"/>
                    </a:lnTo>
                    <a:lnTo>
                      <a:pt x="57" y="50"/>
                    </a:lnTo>
                    <a:lnTo>
                      <a:pt x="71" y="108"/>
                    </a:lnTo>
                    <a:lnTo>
                      <a:pt x="86" y="150"/>
                    </a:lnTo>
                    <a:lnTo>
                      <a:pt x="100" y="179"/>
                    </a:lnTo>
                    <a:lnTo>
                      <a:pt x="121" y="222"/>
                    </a:lnTo>
                    <a:lnTo>
                      <a:pt x="143" y="265"/>
                    </a:lnTo>
                    <a:lnTo>
                      <a:pt x="164" y="307"/>
                    </a:lnTo>
                    <a:lnTo>
                      <a:pt x="157" y="314"/>
                    </a:lnTo>
                    <a:lnTo>
                      <a:pt x="121" y="272"/>
                    </a:lnTo>
                    <a:lnTo>
                      <a:pt x="100" y="257"/>
                    </a:lnTo>
                    <a:lnTo>
                      <a:pt x="93" y="222"/>
                    </a:lnTo>
                    <a:lnTo>
                      <a:pt x="78" y="207"/>
                    </a:lnTo>
                    <a:lnTo>
                      <a:pt x="78" y="179"/>
                    </a:lnTo>
                    <a:lnTo>
                      <a:pt x="64" y="157"/>
                    </a:lnTo>
                    <a:lnTo>
                      <a:pt x="50" y="150"/>
                    </a:lnTo>
                    <a:lnTo>
                      <a:pt x="43" y="136"/>
                    </a:lnTo>
                    <a:lnTo>
                      <a:pt x="50" y="115"/>
                    </a:lnTo>
                    <a:lnTo>
                      <a:pt x="28" y="79"/>
                    </a:lnTo>
                    <a:lnTo>
                      <a:pt x="14" y="65"/>
                    </a:lnTo>
                    <a:lnTo>
                      <a:pt x="7" y="36"/>
                    </a:lnTo>
                    <a:lnTo>
                      <a:pt x="0" y="0"/>
                    </a:lnTo>
                    <a:lnTo>
                      <a:pt x="78" y="22"/>
                    </a:lnTo>
                    <a:lnTo>
                      <a:pt x="128" y="50"/>
                    </a:lnTo>
                    <a:lnTo>
                      <a:pt x="150" y="72"/>
                    </a:lnTo>
                    <a:lnTo>
                      <a:pt x="214" y="65"/>
                    </a:lnTo>
                    <a:lnTo>
                      <a:pt x="228" y="79"/>
                    </a:lnTo>
                    <a:lnTo>
                      <a:pt x="300" y="72"/>
                    </a:lnTo>
                    <a:lnTo>
                      <a:pt x="314" y="93"/>
                    </a:lnTo>
                    <a:lnTo>
                      <a:pt x="328" y="136"/>
                    </a:lnTo>
                    <a:lnTo>
                      <a:pt x="364" y="136"/>
                    </a:lnTo>
                    <a:lnTo>
                      <a:pt x="371" y="115"/>
                    </a:lnTo>
                    <a:lnTo>
                      <a:pt x="407" y="115"/>
                    </a:lnTo>
                    <a:lnTo>
                      <a:pt x="435" y="157"/>
                    </a:lnTo>
                    <a:lnTo>
                      <a:pt x="464" y="215"/>
                    </a:lnTo>
                    <a:lnTo>
                      <a:pt x="485" y="229"/>
                    </a:lnTo>
                    <a:lnTo>
                      <a:pt x="507" y="229"/>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nvGrpSpPr>
              <p:cNvPr id="205" name="Group 63"/>
              <p:cNvGrpSpPr>
                <a:grpSpLocks/>
              </p:cNvGrpSpPr>
              <p:nvPr/>
            </p:nvGrpSpPr>
            <p:grpSpPr bwMode="auto">
              <a:xfrm>
                <a:off x="1879" y="1485"/>
                <a:ext cx="1677" cy="1485"/>
                <a:chOff x="1879" y="1485"/>
                <a:chExt cx="1677" cy="1485"/>
              </a:xfrm>
              <a:grpFill/>
            </p:grpSpPr>
            <p:sp>
              <p:nvSpPr>
                <p:cNvPr id="206" name="Freeform 64"/>
                <p:cNvSpPr>
                  <a:spLocks/>
                </p:cNvSpPr>
                <p:nvPr/>
              </p:nvSpPr>
              <p:spPr bwMode="auto">
                <a:xfrm>
                  <a:off x="2322" y="2242"/>
                  <a:ext cx="1234" cy="728"/>
                </a:xfrm>
                <a:custGeom>
                  <a:avLst/>
                  <a:gdLst>
                    <a:gd name="T0" fmla="*/ 85 w 1234"/>
                    <a:gd name="T1" fmla="*/ 57 h 728"/>
                    <a:gd name="T2" fmla="*/ 50 w 1234"/>
                    <a:gd name="T3" fmla="*/ 71 h 728"/>
                    <a:gd name="T4" fmla="*/ 21 w 1234"/>
                    <a:gd name="T5" fmla="*/ 193 h 728"/>
                    <a:gd name="T6" fmla="*/ 0 w 1234"/>
                    <a:gd name="T7" fmla="*/ 314 h 728"/>
                    <a:gd name="T8" fmla="*/ 42 w 1234"/>
                    <a:gd name="T9" fmla="*/ 392 h 728"/>
                    <a:gd name="T10" fmla="*/ 128 w 1234"/>
                    <a:gd name="T11" fmla="*/ 499 h 728"/>
                    <a:gd name="T12" fmla="*/ 335 w 1234"/>
                    <a:gd name="T13" fmla="*/ 564 h 728"/>
                    <a:gd name="T14" fmla="*/ 435 w 1234"/>
                    <a:gd name="T15" fmla="*/ 585 h 728"/>
                    <a:gd name="T16" fmla="*/ 478 w 1234"/>
                    <a:gd name="T17" fmla="*/ 635 h 728"/>
                    <a:gd name="T18" fmla="*/ 542 w 1234"/>
                    <a:gd name="T19" fmla="*/ 628 h 728"/>
                    <a:gd name="T20" fmla="*/ 578 w 1234"/>
                    <a:gd name="T21" fmla="*/ 714 h 728"/>
                    <a:gd name="T22" fmla="*/ 620 w 1234"/>
                    <a:gd name="T23" fmla="*/ 692 h 728"/>
                    <a:gd name="T24" fmla="*/ 649 w 1234"/>
                    <a:gd name="T25" fmla="*/ 628 h 728"/>
                    <a:gd name="T26" fmla="*/ 763 w 1234"/>
                    <a:gd name="T27" fmla="*/ 599 h 728"/>
                    <a:gd name="T28" fmla="*/ 835 w 1234"/>
                    <a:gd name="T29" fmla="*/ 607 h 728"/>
                    <a:gd name="T30" fmla="*/ 870 w 1234"/>
                    <a:gd name="T31" fmla="*/ 578 h 728"/>
                    <a:gd name="T32" fmla="*/ 977 w 1234"/>
                    <a:gd name="T33" fmla="*/ 571 h 728"/>
                    <a:gd name="T34" fmla="*/ 1013 w 1234"/>
                    <a:gd name="T35" fmla="*/ 635 h 728"/>
                    <a:gd name="T36" fmla="*/ 1049 w 1234"/>
                    <a:gd name="T37" fmla="*/ 692 h 728"/>
                    <a:gd name="T38" fmla="*/ 1084 w 1234"/>
                    <a:gd name="T39" fmla="*/ 664 h 728"/>
                    <a:gd name="T40" fmla="*/ 1020 w 1234"/>
                    <a:gd name="T41" fmla="*/ 549 h 728"/>
                    <a:gd name="T42" fmla="*/ 1070 w 1234"/>
                    <a:gd name="T43" fmla="*/ 464 h 728"/>
                    <a:gd name="T44" fmla="*/ 1106 w 1234"/>
                    <a:gd name="T45" fmla="*/ 414 h 728"/>
                    <a:gd name="T46" fmla="*/ 1091 w 1234"/>
                    <a:gd name="T47" fmla="*/ 357 h 728"/>
                    <a:gd name="T48" fmla="*/ 1084 w 1234"/>
                    <a:gd name="T49" fmla="*/ 321 h 728"/>
                    <a:gd name="T50" fmla="*/ 1084 w 1234"/>
                    <a:gd name="T51" fmla="*/ 307 h 728"/>
                    <a:gd name="T52" fmla="*/ 1084 w 1234"/>
                    <a:gd name="T53" fmla="*/ 271 h 728"/>
                    <a:gd name="T54" fmla="*/ 1113 w 1234"/>
                    <a:gd name="T55" fmla="*/ 300 h 728"/>
                    <a:gd name="T56" fmla="*/ 1120 w 1234"/>
                    <a:gd name="T57" fmla="*/ 264 h 728"/>
                    <a:gd name="T58" fmla="*/ 1120 w 1234"/>
                    <a:gd name="T59" fmla="*/ 207 h 728"/>
                    <a:gd name="T60" fmla="*/ 1170 w 1234"/>
                    <a:gd name="T61" fmla="*/ 178 h 728"/>
                    <a:gd name="T62" fmla="*/ 1206 w 1234"/>
                    <a:gd name="T63" fmla="*/ 171 h 728"/>
                    <a:gd name="T64" fmla="*/ 1199 w 1234"/>
                    <a:gd name="T65" fmla="*/ 164 h 728"/>
                    <a:gd name="T66" fmla="*/ 1184 w 1234"/>
                    <a:gd name="T67" fmla="*/ 128 h 728"/>
                    <a:gd name="T68" fmla="*/ 1227 w 1234"/>
                    <a:gd name="T69" fmla="*/ 78 h 728"/>
                    <a:gd name="T70" fmla="*/ 1199 w 1234"/>
                    <a:gd name="T71" fmla="*/ 7 h 728"/>
                    <a:gd name="T72" fmla="*/ 1156 w 1234"/>
                    <a:gd name="T73" fmla="*/ 57 h 728"/>
                    <a:gd name="T74" fmla="*/ 1077 w 1234"/>
                    <a:gd name="T75" fmla="*/ 107 h 728"/>
                    <a:gd name="T76" fmla="*/ 1049 w 1234"/>
                    <a:gd name="T77" fmla="*/ 164 h 728"/>
                    <a:gd name="T78" fmla="*/ 977 w 1234"/>
                    <a:gd name="T79" fmla="*/ 207 h 728"/>
                    <a:gd name="T80" fmla="*/ 927 w 1234"/>
                    <a:gd name="T81" fmla="*/ 257 h 728"/>
                    <a:gd name="T82" fmla="*/ 920 w 1234"/>
                    <a:gd name="T83" fmla="*/ 200 h 728"/>
                    <a:gd name="T84" fmla="*/ 899 w 1234"/>
                    <a:gd name="T85" fmla="*/ 185 h 728"/>
                    <a:gd name="T86" fmla="*/ 870 w 1234"/>
                    <a:gd name="T87" fmla="*/ 150 h 728"/>
                    <a:gd name="T88" fmla="*/ 842 w 1234"/>
                    <a:gd name="T89" fmla="*/ 178 h 728"/>
                    <a:gd name="T90" fmla="*/ 856 w 1234"/>
                    <a:gd name="T91" fmla="*/ 235 h 728"/>
                    <a:gd name="T92" fmla="*/ 842 w 1234"/>
                    <a:gd name="T93" fmla="*/ 264 h 728"/>
                    <a:gd name="T94" fmla="*/ 813 w 1234"/>
                    <a:gd name="T95" fmla="*/ 228 h 728"/>
                    <a:gd name="T96" fmla="*/ 813 w 1234"/>
                    <a:gd name="T97" fmla="*/ 164 h 728"/>
                    <a:gd name="T98" fmla="*/ 813 w 1234"/>
                    <a:gd name="T99" fmla="*/ 136 h 728"/>
                    <a:gd name="T100" fmla="*/ 756 w 1234"/>
                    <a:gd name="T101" fmla="*/ 136 h 728"/>
                    <a:gd name="T102" fmla="*/ 692 w 1234"/>
                    <a:gd name="T103" fmla="*/ 121 h 728"/>
                    <a:gd name="T104" fmla="*/ 649 w 1234"/>
                    <a:gd name="T105" fmla="*/ 64 h 728"/>
                    <a:gd name="T106" fmla="*/ 249 w 1234"/>
                    <a:gd name="T107" fmla="*/ 36 h 7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34"/>
                    <a:gd name="T163" fmla="*/ 0 h 728"/>
                    <a:gd name="T164" fmla="*/ 1234 w 1234"/>
                    <a:gd name="T165" fmla="*/ 728 h 7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34" h="728">
                      <a:moveTo>
                        <a:pt x="121" y="14"/>
                      </a:moveTo>
                      <a:lnTo>
                        <a:pt x="107" y="71"/>
                      </a:lnTo>
                      <a:lnTo>
                        <a:pt x="85" y="57"/>
                      </a:lnTo>
                      <a:lnTo>
                        <a:pt x="71" y="43"/>
                      </a:lnTo>
                      <a:lnTo>
                        <a:pt x="50" y="28"/>
                      </a:lnTo>
                      <a:lnTo>
                        <a:pt x="50" y="71"/>
                      </a:lnTo>
                      <a:lnTo>
                        <a:pt x="35" y="114"/>
                      </a:lnTo>
                      <a:lnTo>
                        <a:pt x="35" y="150"/>
                      </a:lnTo>
                      <a:lnTo>
                        <a:pt x="21" y="193"/>
                      </a:lnTo>
                      <a:lnTo>
                        <a:pt x="14" y="250"/>
                      </a:lnTo>
                      <a:lnTo>
                        <a:pt x="0" y="285"/>
                      </a:lnTo>
                      <a:lnTo>
                        <a:pt x="0" y="314"/>
                      </a:lnTo>
                      <a:lnTo>
                        <a:pt x="21" y="342"/>
                      </a:lnTo>
                      <a:lnTo>
                        <a:pt x="14" y="364"/>
                      </a:lnTo>
                      <a:lnTo>
                        <a:pt x="42" y="392"/>
                      </a:lnTo>
                      <a:lnTo>
                        <a:pt x="50" y="435"/>
                      </a:lnTo>
                      <a:lnTo>
                        <a:pt x="85" y="464"/>
                      </a:lnTo>
                      <a:lnTo>
                        <a:pt x="128" y="499"/>
                      </a:lnTo>
                      <a:lnTo>
                        <a:pt x="199" y="521"/>
                      </a:lnTo>
                      <a:lnTo>
                        <a:pt x="278" y="571"/>
                      </a:lnTo>
                      <a:lnTo>
                        <a:pt x="335" y="564"/>
                      </a:lnTo>
                      <a:lnTo>
                        <a:pt x="356" y="578"/>
                      </a:lnTo>
                      <a:lnTo>
                        <a:pt x="421" y="571"/>
                      </a:lnTo>
                      <a:lnTo>
                        <a:pt x="435" y="585"/>
                      </a:lnTo>
                      <a:lnTo>
                        <a:pt x="449" y="628"/>
                      </a:lnTo>
                      <a:lnTo>
                        <a:pt x="456" y="635"/>
                      </a:lnTo>
                      <a:lnTo>
                        <a:pt x="478" y="635"/>
                      </a:lnTo>
                      <a:lnTo>
                        <a:pt x="492" y="607"/>
                      </a:lnTo>
                      <a:lnTo>
                        <a:pt x="528" y="614"/>
                      </a:lnTo>
                      <a:lnTo>
                        <a:pt x="542" y="628"/>
                      </a:lnTo>
                      <a:lnTo>
                        <a:pt x="556" y="649"/>
                      </a:lnTo>
                      <a:lnTo>
                        <a:pt x="571" y="685"/>
                      </a:lnTo>
                      <a:lnTo>
                        <a:pt x="578" y="714"/>
                      </a:lnTo>
                      <a:lnTo>
                        <a:pt x="606" y="728"/>
                      </a:lnTo>
                      <a:lnTo>
                        <a:pt x="628" y="728"/>
                      </a:lnTo>
                      <a:lnTo>
                        <a:pt x="620" y="692"/>
                      </a:lnTo>
                      <a:lnTo>
                        <a:pt x="620" y="671"/>
                      </a:lnTo>
                      <a:lnTo>
                        <a:pt x="628" y="635"/>
                      </a:lnTo>
                      <a:lnTo>
                        <a:pt x="649" y="628"/>
                      </a:lnTo>
                      <a:lnTo>
                        <a:pt x="685" y="599"/>
                      </a:lnTo>
                      <a:lnTo>
                        <a:pt x="728" y="599"/>
                      </a:lnTo>
                      <a:lnTo>
                        <a:pt x="763" y="599"/>
                      </a:lnTo>
                      <a:lnTo>
                        <a:pt x="799" y="621"/>
                      </a:lnTo>
                      <a:lnTo>
                        <a:pt x="820" y="614"/>
                      </a:lnTo>
                      <a:lnTo>
                        <a:pt x="835" y="607"/>
                      </a:lnTo>
                      <a:lnTo>
                        <a:pt x="792" y="585"/>
                      </a:lnTo>
                      <a:lnTo>
                        <a:pt x="835" y="571"/>
                      </a:lnTo>
                      <a:lnTo>
                        <a:pt x="870" y="578"/>
                      </a:lnTo>
                      <a:lnTo>
                        <a:pt x="920" y="571"/>
                      </a:lnTo>
                      <a:lnTo>
                        <a:pt x="949" y="571"/>
                      </a:lnTo>
                      <a:lnTo>
                        <a:pt x="977" y="571"/>
                      </a:lnTo>
                      <a:lnTo>
                        <a:pt x="999" y="578"/>
                      </a:lnTo>
                      <a:lnTo>
                        <a:pt x="1006" y="599"/>
                      </a:lnTo>
                      <a:lnTo>
                        <a:pt x="1013" y="635"/>
                      </a:lnTo>
                      <a:lnTo>
                        <a:pt x="1027" y="656"/>
                      </a:lnTo>
                      <a:lnTo>
                        <a:pt x="1034" y="678"/>
                      </a:lnTo>
                      <a:lnTo>
                        <a:pt x="1049" y="692"/>
                      </a:lnTo>
                      <a:lnTo>
                        <a:pt x="1063" y="699"/>
                      </a:lnTo>
                      <a:lnTo>
                        <a:pt x="1084" y="685"/>
                      </a:lnTo>
                      <a:lnTo>
                        <a:pt x="1084" y="664"/>
                      </a:lnTo>
                      <a:lnTo>
                        <a:pt x="1077" y="642"/>
                      </a:lnTo>
                      <a:lnTo>
                        <a:pt x="1042" y="592"/>
                      </a:lnTo>
                      <a:lnTo>
                        <a:pt x="1020" y="549"/>
                      </a:lnTo>
                      <a:lnTo>
                        <a:pt x="1027" y="507"/>
                      </a:lnTo>
                      <a:lnTo>
                        <a:pt x="1049" y="492"/>
                      </a:lnTo>
                      <a:lnTo>
                        <a:pt x="1070" y="464"/>
                      </a:lnTo>
                      <a:lnTo>
                        <a:pt x="1070" y="442"/>
                      </a:lnTo>
                      <a:lnTo>
                        <a:pt x="1084" y="428"/>
                      </a:lnTo>
                      <a:lnTo>
                        <a:pt x="1106" y="414"/>
                      </a:lnTo>
                      <a:lnTo>
                        <a:pt x="1113" y="392"/>
                      </a:lnTo>
                      <a:lnTo>
                        <a:pt x="1106" y="364"/>
                      </a:lnTo>
                      <a:lnTo>
                        <a:pt x="1091" y="357"/>
                      </a:lnTo>
                      <a:lnTo>
                        <a:pt x="1099" y="342"/>
                      </a:lnTo>
                      <a:lnTo>
                        <a:pt x="1084" y="335"/>
                      </a:lnTo>
                      <a:lnTo>
                        <a:pt x="1084" y="321"/>
                      </a:lnTo>
                      <a:lnTo>
                        <a:pt x="1070" y="314"/>
                      </a:lnTo>
                      <a:lnTo>
                        <a:pt x="1070" y="293"/>
                      </a:lnTo>
                      <a:lnTo>
                        <a:pt x="1084" y="307"/>
                      </a:lnTo>
                      <a:lnTo>
                        <a:pt x="1091" y="300"/>
                      </a:lnTo>
                      <a:lnTo>
                        <a:pt x="1077" y="285"/>
                      </a:lnTo>
                      <a:lnTo>
                        <a:pt x="1084" y="271"/>
                      </a:lnTo>
                      <a:lnTo>
                        <a:pt x="1099" y="285"/>
                      </a:lnTo>
                      <a:lnTo>
                        <a:pt x="1106" y="307"/>
                      </a:lnTo>
                      <a:lnTo>
                        <a:pt x="1113" y="300"/>
                      </a:lnTo>
                      <a:lnTo>
                        <a:pt x="1106" y="285"/>
                      </a:lnTo>
                      <a:lnTo>
                        <a:pt x="1113" y="271"/>
                      </a:lnTo>
                      <a:lnTo>
                        <a:pt x="1120" y="264"/>
                      </a:lnTo>
                      <a:lnTo>
                        <a:pt x="1120" y="250"/>
                      </a:lnTo>
                      <a:lnTo>
                        <a:pt x="1113" y="228"/>
                      </a:lnTo>
                      <a:lnTo>
                        <a:pt x="1120" y="207"/>
                      </a:lnTo>
                      <a:lnTo>
                        <a:pt x="1127" y="200"/>
                      </a:lnTo>
                      <a:lnTo>
                        <a:pt x="1149" y="178"/>
                      </a:lnTo>
                      <a:lnTo>
                        <a:pt x="1170" y="178"/>
                      </a:lnTo>
                      <a:lnTo>
                        <a:pt x="1184" y="171"/>
                      </a:lnTo>
                      <a:lnTo>
                        <a:pt x="1199" y="171"/>
                      </a:lnTo>
                      <a:lnTo>
                        <a:pt x="1206" y="171"/>
                      </a:lnTo>
                      <a:lnTo>
                        <a:pt x="1213" y="164"/>
                      </a:lnTo>
                      <a:lnTo>
                        <a:pt x="1206" y="164"/>
                      </a:lnTo>
                      <a:lnTo>
                        <a:pt x="1199" y="164"/>
                      </a:lnTo>
                      <a:lnTo>
                        <a:pt x="1191" y="157"/>
                      </a:lnTo>
                      <a:lnTo>
                        <a:pt x="1184" y="150"/>
                      </a:lnTo>
                      <a:lnTo>
                        <a:pt x="1184" y="128"/>
                      </a:lnTo>
                      <a:lnTo>
                        <a:pt x="1199" y="100"/>
                      </a:lnTo>
                      <a:lnTo>
                        <a:pt x="1213" y="93"/>
                      </a:lnTo>
                      <a:lnTo>
                        <a:pt x="1227" y="78"/>
                      </a:lnTo>
                      <a:lnTo>
                        <a:pt x="1234" y="57"/>
                      </a:lnTo>
                      <a:lnTo>
                        <a:pt x="1206" y="36"/>
                      </a:lnTo>
                      <a:lnTo>
                        <a:pt x="1199" y="7"/>
                      </a:lnTo>
                      <a:lnTo>
                        <a:pt x="1170" y="0"/>
                      </a:lnTo>
                      <a:lnTo>
                        <a:pt x="1156" y="14"/>
                      </a:lnTo>
                      <a:lnTo>
                        <a:pt x="1156" y="57"/>
                      </a:lnTo>
                      <a:lnTo>
                        <a:pt x="1141" y="86"/>
                      </a:lnTo>
                      <a:lnTo>
                        <a:pt x="1099" y="114"/>
                      </a:lnTo>
                      <a:lnTo>
                        <a:pt x="1077" y="107"/>
                      </a:lnTo>
                      <a:lnTo>
                        <a:pt x="1056" y="121"/>
                      </a:lnTo>
                      <a:lnTo>
                        <a:pt x="1056" y="136"/>
                      </a:lnTo>
                      <a:lnTo>
                        <a:pt x="1049" y="164"/>
                      </a:lnTo>
                      <a:lnTo>
                        <a:pt x="1027" y="178"/>
                      </a:lnTo>
                      <a:lnTo>
                        <a:pt x="992" y="200"/>
                      </a:lnTo>
                      <a:lnTo>
                        <a:pt x="977" y="207"/>
                      </a:lnTo>
                      <a:lnTo>
                        <a:pt x="963" y="235"/>
                      </a:lnTo>
                      <a:lnTo>
                        <a:pt x="949" y="243"/>
                      </a:lnTo>
                      <a:lnTo>
                        <a:pt x="927" y="257"/>
                      </a:lnTo>
                      <a:lnTo>
                        <a:pt x="906" y="243"/>
                      </a:lnTo>
                      <a:lnTo>
                        <a:pt x="920" y="214"/>
                      </a:lnTo>
                      <a:lnTo>
                        <a:pt x="920" y="200"/>
                      </a:lnTo>
                      <a:lnTo>
                        <a:pt x="906" y="207"/>
                      </a:lnTo>
                      <a:lnTo>
                        <a:pt x="892" y="207"/>
                      </a:lnTo>
                      <a:lnTo>
                        <a:pt x="899" y="185"/>
                      </a:lnTo>
                      <a:lnTo>
                        <a:pt x="906" y="171"/>
                      </a:lnTo>
                      <a:lnTo>
                        <a:pt x="892" y="150"/>
                      </a:lnTo>
                      <a:lnTo>
                        <a:pt x="870" y="150"/>
                      </a:lnTo>
                      <a:lnTo>
                        <a:pt x="863" y="164"/>
                      </a:lnTo>
                      <a:lnTo>
                        <a:pt x="849" y="164"/>
                      </a:lnTo>
                      <a:lnTo>
                        <a:pt x="842" y="178"/>
                      </a:lnTo>
                      <a:lnTo>
                        <a:pt x="842" y="207"/>
                      </a:lnTo>
                      <a:lnTo>
                        <a:pt x="849" y="214"/>
                      </a:lnTo>
                      <a:lnTo>
                        <a:pt x="856" y="235"/>
                      </a:lnTo>
                      <a:lnTo>
                        <a:pt x="856" y="243"/>
                      </a:lnTo>
                      <a:lnTo>
                        <a:pt x="849" y="257"/>
                      </a:lnTo>
                      <a:lnTo>
                        <a:pt x="842" y="264"/>
                      </a:lnTo>
                      <a:lnTo>
                        <a:pt x="835" y="271"/>
                      </a:lnTo>
                      <a:lnTo>
                        <a:pt x="820" y="243"/>
                      </a:lnTo>
                      <a:lnTo>
                        <a:pt x="813" y="228"/>
                      </a:lnTo>
                      <a:lnTo>
                        <a:pt x="806" y="207"/>
                      </a:lnTo>
                      <a:lnTo>
                        <a:pt x="813" y="185"/>
                      </a:lnTo>
                      <a:lnTo>
                        <a:pt x="813" y="164"/>
                      </a:lnTo>
                      <a:lnTo>
                        <a:pt x="849" y="143"/>
                      </a:lnTo>
                      <a:lnTo>
                        <a:pt x="863" y="128"/>
                      </a:lnTo>
                      <a:lnTo>
                        <a:pt x="813" y="136"/>
                      </a:lnTo>
                      <a:lnTo>
                        <a:pt x="785" y="136"/>
                      </a:lnTo>
                      <a:lnTo>
                        <a:pt x="777" y="114"/>
                      </a:lnTo>
                      <a:lnTo>
                        <a:pt x="756" y="136"/>
                      </a:lnTo>
                      <a:lnTo>
                        <a:pt x="763" y="114"/>
                      </a:lnTo>
                      <a:lnTo>
                        <a:pt x="720" y="128"/>
                      </a:lnTo>
                      <a:lnTo>
                        <a:pt x="692" y="121"/>
                      </a:lnTo>
                      <a:lnTo>
                        <a:pt x="699" y="100"/>
                      </a:lnTo>
                      <a:lnTo>
                        <a:pt x="706" y="86"/>
                      </a:lnTo>
                      <a:lnTo>
                        <a:pt x="649" y="64"/>
                      </a:lnTo>
                      <a:lnTo>
                        <a:pt x="456" y="57"/>
                      </a:lnTo>
                      <a:lnTo>
                        <a:pt x="349" y="50"/>
                      </a:lnTo>
                      <a:lnTo>
                        <a:pt x="249" y="36"/>
                      </a:lnTo>
                      <a:lnTo>
                        <a:pt x="121" y="14"/>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nvGrpSpPr>
                <p:cNvPr id="207" name="Group 65"/>
                <p:cNvGrpSpPr>
                  <a:grpSpLocks/>
                </p:cNvGrpSpPr>
                <p:nvPr/>
              </p:nvGrpSpPr>
              <p:grpSpPr bwMode="auto">
                <a:xfrm>
                  <a:off x="1879" y="1485"/>
                  <a:ext cx="578" cy="586"/>
                  <a:chOff x="1879" y="1485"/>
                  <a:chExt cx="578" cy="586"/>
                </a:xfrm>
                <a:grpFill/>
              </p:grpSpPr>
              <p:sp>
                <p:nvSpPr>
                  <p:cNvPr id="208" name="Freeform 66"/>
                  <p:cNvSpPr>
                    <a:spLocks/>
                  </p:cNvSpPr>
                  <p:nvPr/>
                </p:nvSpPr>
                <p:spPr bwMode="auto">
                  <a:xfrm>
                    <a:off x="1936" y="1485"/>
                    <a:ext cx="521" cy="586"/>
                  </a:xfrm>
                  <a:custGeom>
                    <a:avLst/>
                    <a:gdLst>
                      <a:gd name="T0" fmla="*/ 357 w 521"/>
                      <a:gd name="T1" fmla="*/ 357 h 586"/>
                      <a:gd name="T2" fmla="*/ 371 w 521"/>
                      <a:gd name="T3" fmla="*/ 393 h 586"/>
                      <a:gd name="T4" fmla="*/ 421 w 521"/>
                      <a:gd name="T5" fmla="*/ 471 h 586"/>
                      <a:gd name="T6" fmla="*/ 421 w 521"/>
                      <a:gd name="T7" fmla="*/ 586 h 586"/>
                      <a:gd name="T8" fmla="*/ 400 w 521"/>
                      <a:gd name="T9" fmla="*/ 493 h 586"/>
                      <a:gd name="T10" fmla="*/ 371 w 521"/>
                      <a:gd name="T11" fmla="*/ 471 h 586"/>
                      <a:gd name="T12" fmla="*/ 350 w 521"/>
                      <a:gd name="T13" fmla="*/ 379 h 586"/>
                      <a:gd name="T14" fmla="*/ 329 w 521"/>
                      <a:gd name="T15" fmla="*/ 336 h 586"/>
                      <a:gd name="T16" fmla="*/ 271 w 521"/>
                      <a:gd name="T17" fmla="*/ 307 h 586"/>
                      <a:gd name="T18" fmla="*/ 243 w 521"/>
                      <a:gd name="T19" fmla="*/ 322 h 586"/>
                      <a:gd name="T20" fmla="*/ 229 w 521"/>
                      <a:gd name="T21" fmla="*/ 300 h 586"/>
                      <a:gd name="T22" fmla="*/ 271 w 521"/>
                      <a:gd name="T23" fmla="*/ 272 h 586"/>
                      <a:gd name="T24" fmla="*/ 214 w 521"/>
                      <a:gd name="T25" fmla="*/ 286 h 586"/>
                      <a:gd name="T26" fmla="*/ 186 w 521"/>
                      <a:gd name="T27" fmla="*/ 272 h 586"/>
                      <a:gd name="T28" fmla="*/ 164 w 521"/>
                      <a:gd name="T29" fmla="*/ 322 h 586"/>
                      <a:gd name="T30" fmla="*/ 86 w 521"/>
                      <a:gd name="T31" fmla="*/ 329 h 586"/>
                      <a:gd name="T32" fmla="*/ 0 w 521"/>
                      <a:gd name="T33" fmla="*/ 300 h 586"/>
                      <a:gd name="T34" fmla="*/ 43 w 521"/>
                      <a:gd name="T35" fmla="*/ 300 h 586"/>
                      <a:gd name="T36" fmla="*/ 86 w 521"/>
                      <a:gd name="T37" fmla="*/ 314 h 586"/>
                      <a:gd name="T38" fmla="*/ 107 w 521"/>
                      <a:gd name="T39" fmla="*/ 279 h 586"/>
                      <a:gd name="T40" fmla="*/ 114 w 521"/>
                      <a:gd name="T41" fmla="*/ 243 h 586"/>
                      <a:gd name="T42" fmla="*/ 86 w 521"/>
                      <a:gd name="T43" fmla="*/ 222 h 586"/>
                      <a:gd name="T44" fmla="*/ 100 w 521"/>
                      <a:gd name="T45" fmla="*/ 172 h 586"/>
                      <a:gd name="T46" fmla="*/ 122 w 521"/>
                      <a:gd name="T47" fmla="*/ 165 h 586"/>
                      <a:gd name="T48" fmla="*/ 122 w 521"/>
                      <a:gd name="T49" fmla="*/ 115 h 586"/>
                      <a:gd name="T50" fmla="*/ 164 w 521"/>
                      <a:gd name="T51" fmla="*/ 115 h 586"/>
                      <a:gd name="T52" fmla="*/ 229 w 521"/>
                      <a:gd name="T53" fmla="*/ 136 h 586"/>
                      <a:gd name="T54" fmla="*/ 207 w 521"/>
                      <a:gd name="T55" fmla="*/ 65 h 586"/>
                      <a:gd name="T56" fmla="*/ 214 w 521"/>
                      <a:gd name="T57" fmla="*/ 36 h 586"/>
                      <a:gd name="T58" fmla="*/ 250 w 521"/>
                      <a:gd name="T59" fmla="*/ 43 h 586"/>
                      <a:gd name="T60" fmla="*/ 264 w 521"/>
                      <a:gd name="T61" fmla="*/ 58 h 586"/>
                      <a:gd name="T62" fmla="*/ 286 w 521"/>
                      <a:gd name="T63" fmla="*/ 93 h 586"/>
                      <a:gd name="T64" fmla="*/ 293 w 521"/>
                      <a:gd name="T65" fmla="*/ 65 h 586"/>
                      <a:gd name="T66" fmla="*/ 300 w 521"/>
                      <a:gd name="T67" fmla="*/ 15 h 586"/>
                      <a:gd name="T68" fmla="*/ 350 w 521"/>
                      <a:gd name="T69" fmla="*/ 8 h 586"/>
                      <a:gd name="T70" fmla="*/ 371 w 521"/>
                      <a:gd name="T71" fmla="*/ 29 h 586"/>
                      <a:gd name="T72" fmla="*/ 400 w 521"/>
                      <a:gd name="T73" fmla="*/ 15 h 586"/>
                      <a:gd name="T74" fmla="*/ 457 w 521"/>
                      <a:gd name="T75" fmla="*/ 36 h 586"/>
                      <a:gd name="T76" fmla="*/ 457 w 521"/>
                      <a:gd name="T77" fmla="*/ 65 h 586"/>
                      <a:gd name="T78" fmla="*/ 486 w 521"/>
                      <a:gd name="T79" fmla="*/ 86 h 586"/>
                      <a:gd name="T80" fmla="*/ 521 w 521"/>
                      <a:gd name="T81" fmla="*/ 150 h 5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21"/>
                      <a:gd name="T124" fmla="*/ 0 h 586"/>
                      <a:gd name="T125" fmla="*/ 521 w 521"/>
                      <a:gd name="T126" fmla="*/ 586 h 5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21" h="586">
                        <a:moveTo>
                          <a:pt x="521" y="150"/>
                        </a:moveTo>
                        <a:lnTo>
                          <a:pt x="357" y="357"/>
                        </a:lnTo>
                        <a:lnTo>
                          <a:pt x="393" y="372"/>
                        </a:lnTo>
                        <a:lnTo>
                          <a:pt x="371" y="393"/>
                        </a:lnTo>
                        <a:lnTo>
                          <a:pt x="400" y="400"/>
                        </a:lnTo>
                        <a:lnTo>
                          <a:pt x="421" y="471"/>
                        </a:lnTo>
                        <a:lnTo>
                          <a:pt x="443" y="550"/>
                        </a:lnTo>
                        <a:lnTo>
                          <a:pt x="421" y="586"/>
                        </a:lnTo>
                        <a:lnTo>
                          <a:pt x="414" y="521"/>
                        </a:lnTo>
                        <a:lnTo>
                          <a:pt x="400" y="493"/>
                        </a:lnTo>
                        <a:lnTo>
                          <a:pt x="393" y="436"/>
                        </a:lnTo>
                        <a:lnTo>
                          <a:pt x="371" y="471"/>
                        </a:lnTo>
                        <a:lnTo>
                          <a:pt x="357" y="422"/>
                        </a:lnTo>
                        <a:lnTo>
                          <a:pt x="350" y="379"/>
                        </a:lnTo>
                        <a:lnTo>
                          <a:pt x="336" y="343"/>
                        </a:lnTo>
                        <a:lnTo>
                          <a:pt x="329" y="336"/>
                        </a:lnTo>
                        <a:lnTo>
                          <a:pt x="300" y="350"/>
                        </a:lnTo>
                        <a:lnTo>
                          <a:pt x="271" y="307"/>
                        </a:lnTo>
                        <a:lnTo>
                          <a:pt x="264" y="336"/>
                        </a:lnTo>
                        <a:lnTo>
                          <a:pt x="243" y="322"/>
                        </a:lnTo>
                        <a:lnTo>
                          <a:pt x="207" y="329"/>
                        </a:lnTo>
                        <a:lnTo>
                          <a:pt x="229" y="300"/>
                        </a:lnTo>
                        <a:lnTo>
                          <a:pt x="264" y="293"/>
                        </a:lnTo>
                        <a:lnTo>
                          <a:pt x="271" y="272"/>
                        </a:lnTo>
                        <a:lnTo>
                          <a:pt x="236" y="265"/>
                        </a:lnTo>
                        <a:lnTo>
                          <a:pt x="214" y="286"/>
                        </a:lnTo>
                        <a:lnTo>
                          <a:pt x="200" y="257"/>
                        </a:lnTo>
                        <a:lnTo>
                          <a:pt x="186" y="272"/>
                        </a:lnTo>
                        <a:lnTo>
                          <a:pt x="179" y="307"/>
                        </a:lnTo>
                        <a:lnTo>
                          <a:pt x="164" y="322"/>
                        </a:lnTo>
                        <a:lnTo>
                          <a:pt x="129" y="314"/>
                        </a:lnTo>
                        <a:lnTo>
                          <a:pt x="86" y="329"/>
                        </a:lnTo>
                        <a:lnTo>
                          <a:pt x="50" y="329"/>
                        </a:lnTo>
                        <a:lnTo>
                          <a:pt x="0" y="300"/>
                        </a:lnTo>
                        <a:lnTo>
                          <a:pt x="15" y="279"/>
                        </a:lnTo>
                        <a:lnTo>
                          <a:pt x="43" y="300"/>
                        </a:lnTo>
                        <a:lnTo>
                          <a:pt x="64" y="300"/>
                        </a:lnTo>
                        <a:lnTo>
                          <a:pt x="86" y="314"/>
                        </a:lnTo>
                        <a:lnTo>
                          <a:pt x="107" y="293"/>
                        </a:lnTo>
                        <a:lnTo>
                          <a:pt x="107" y="279"/>
                        </a:lnTo>
                        <a:lnTo>
                          <a:pt x="129" y="272"/>
                        </a:lnTo>
                        <a:lnTo>
                          <a:pt x="114" y="243"/>
                        </a:lnTo>
                        <a:lnTo>
                          <a:pt x="107" y="229"/>
                        </a:lnTo>
                        <a:lnTo>
                          <a:pt x="86" y="222"/>
                        </a:lnTo>
                        <a:lnTo>
                          <a:pt x="114" y="193"/>
                        </a:lnTo>
                        <a:lnTo>
                          <a:pt x="100" y="172"/>
                        </a:lnTo>
                        <a:lnTo>
                          <a:pt x="107" y="165"/>
                        </a:lnTo>
                        <a:lnTo>
                          <a:pt x="122" y="165"/>
                        </a:lnTo>
                        <a:lnTo>
                          <a:pt x="122" y="136"/>
                        </a:lnTo>
                        <a:lnTo>
                          <a:pt x="122" y="115"/>
                        </a:lnTo>
                        <a:lnTo>
                          <a:pt x="143" y="115"/>
                        </a:lnTo>
                        <a:lnTo>
                          <a:pt x="164" y="115"/>
                        </a:lnTo>
                        <a:lnTo>
                          <a:pt x="179" y="115"/>
                        </a:lnTo>
                        <a:lnTo>
                          <a:pt x="229" y="136"/>
                        </a:lnTo>
                        <a:lnTo>
                          <a:pt x="257" y="115"/>
                        </a:lnTo>
                        <a:lnTo>
                          <a:pt x="207" y="65"/>
                        </a:lnTo>
                        <a:lnTo>
                          <a:pt x="229" y="65"/>
                        </a:lnTo>
                        <a:lnTo>
                          <a:pt x="214" y="36"/>
                        </a:lnTo>
                        <a:lnTo>
                          <a:pt x="236" y="29"/>
                        </a:lnTo>
                        <a:lnTo>
                          <a:pt x="250" y="43"/>
                        </a:lnTo>
                        <a:lnTo>
                          <a:pt x="257" y="43"/>
                        </a:lnTo>
                        <a:lnTo>
                          <a:pt x="264" y="58"/>
                        </a:lnTo>
                        <a:lnTo>
                          <a:pt x="257" y="65"/>
                        </a:lnTo>
                        <a:lnTo>
                          <a:pt x="286" y="93"/>
                        </a:lnTo>
                        <a:lnTo>
                          <a:pt x="300" y="72"/>
                        </a:lnTo>
                        <a:lnTo>
                          <a:pt x="293" y="65"/>
                        </a:lnTo>
                        <a:lnTo>
                          <a:pt x="300" y="36"/>
                        </a:lnTo>
                        <a:lnTo>
                          <a:pt x="300" y="15"/>
                        </a:lnTo>
                        <a:lnTo>
                          <a:pt x="329" y="0"/>
                        </a:lnTo>
                        <a:lnTo>
                          <a:pt x="350" y="8"/>
                        </a:lnTo>
                        <a:lnTo>
                          <a:pt x="350" y="22"/>
                        </a:lnTo>
                        <a:lnTo>
                          <a:pt x="371" y="29"/>
                        </a:lnTo>
                        <a:lnTo>
                          <a:pt x="378" y="22"/>
                        </a:lnTo>
                        <a:lnTo>
                          <a:pt x="400" y="15"/>
                        </a:lnTo>
                        <a:lnTo>
                          <a:pt x="436" y="22"/>
                        </a:lnTo>
                        <a:lnTo>
                          <a:pt x="457" y="36"/>
                        </a:lnTo>
                        <a:lnTo>
                          <a:pt x="450" y="58"/>
                        </a:lnTo>
                        <a:lnTo>
                          <a:pt x="457" y="65"/>
                        </a:lnTo>
                        <a:lnTo>
                          <a:pt x="478" y="65"/>
                        </a:lnTo>
                        <a:lnTo>
                          <a:pt x="486" y="86"/>
                        </a:lnTo>
                        <a:lnTo>
                          <a:pt x="500" y="100"/>
                        </a:lnTo>
                        <a:lnTo>
                          <a:pt x="521" y="15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09" name="Freeform 67"/>
                  <p:cNvSpPr>
                    <a:spLocks/>
                  </p:cNvSpPr>
                  <p:nvPr/>
                </p:nvSpPr>
                <p:spPr bwMode="auto">
                  <a:xfrm>
                    <a:off x="2036" y="1835"/>
                    <a:ext cx="36" cy="22"/>
                  </a:xfrm>
                  <a:custGeom>
                    <a:avLst/>
                    <a:gdLst>
                      <a:gd name="T0" fmla="*/ 0 w 36"/>
                      <a:gd name="T1" fmla="*/ 0 h 22"/>
                      <a:gd name="T2" fmla="*/ 0 w 36"/>
                      <a:gd name="T3" fmla="*/ 14 h 22"/>
                      <a:gd name="T4" fmla="*/ 7 w 36"/>
                      <a:gd name="T5" fmla="*/ 22 h 22"/>
                      <a:gd name="T6" fmla="*/ 22 w 36"/>
                      <a:gd name="T7" fmla="*/ 22 h 22"/>
                      <a:gd name="T8" fmla="*/ 36 w 36"/>
                      <a:gd name="T9" fmla="*/ 7 h 22"/>
                      <a:gd name="T10" fmla="*/ 22 w 36"/>
                      <a:gd name="T11" fmla="*/ 0 h 22"/>
                      <a:gd name="T12" fmla="*/ 0 w 36"/>
                      <a:gd name="T13" fmla="*/ 0 h 22"/>
                      <a:gd name="T14" fmla="*/ 0 60000 65536"/>
                      <a:gd name="T15" fmla="*/ 0 60000 65536"/>
                      <a:gd name="T16" fmla="*/ 0 60000 65536"/>
                      <a:gd name="T17" fmla="*/ 0 60000 65536"/>
                      <a:gd name="T18" fmla="*/ 0 60000 65536"/>
                      <a:gd name="T19" fmla="*/ 0 60000 65536"/>
                      <a:gd name="T20" fmla="*/ 0 60000 65536"/>
                      <a:gd name="T21" fmla="*/ 0 w 36"/>
                      <a:gd name="T22" fmla="*/ 0 h 22"/>
                      <a:gd name="T23" fmla="*/ 36 w 3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22">
                        <a:moveTo>
                          <a:pt x="0" y="0"/>
                        </a:moveTo>
                        <a:lnTo>
                          <a:pt x="0" y="14"/>
                        </a:lnTo>
                        <a:lnTo>
                          <a:pt x="7" y="22"/>
                        </a:lnTo>
                        <a:lnTo>
                          <a:pt x="22" y="22"/>
                        </a:lnTo>
                        <a:lnTo>
                          <a:pt x="36" y="7"/>
                        </a:lnTo>
                        <a:lnTo>
                          <a:pt x="22" y="0"/>
                        </a:lnTo>
                        <a:lnTo>
                          <a:pt x="0"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10" name="Freeform 68"/>
                  <p:cNvSpPr>
                    <a:spLocks/>
                  </p:cNvSpPr>
                  <p:nvPr/>
                </p:nvSpPr>
                <p:spPr bwMode="auto">
                  <a:xfrm>
                    <a:off x="1879" y="1764"/>
                    <a:ext cx="29" cy="14"/>
                  </a:xfrm>
                  <a:custGeom>
                    <a:avLst/>
                    <a:gdLst>
                      <a:gd name="T0" fmla="*/ 0 w 29"/>
                      <a:gd name="T1" fmla="*/ 0 h 14"/>
                      <a:gd name="T2" fmla="*/ 7 w 29"/>
                      <a:gd name="T3" fmla="*/ 0 h 14"/>
                      <a:gd name="T4" fmla="*/ 14 w 29"/>
                      <a:gd name="T5" fmla="*/ 0 h 14"/>
                      <a:gd name="T6" fmla="*/ 22 w 29"/>
                      <a:gd name="T7" fmla="*/ 0 h 14"/>
                      <a:gd name="T8" fmla="*/ 29 w 29"/>
                      <a:gd name="T9" fmla="*/ 7 h 14"/>
                      <a:gd name="T10" fmla="*/ 29 w 29"/>
                      <a:gd name="T11" fmla="*/ 7 h 14"/>
                      <a:gd name="T12" fmla="*/ 29 w 29"/>
                      <a:gd name="T13" fmla="*/ 7 h 14"/>
                      <a:gd name="T14" fmla="*/ 14 w 29"/>
                      <a:gd name="T15" fmla="*/ 14 h 14"/>
                      <a:gd name="T16" fmla="*/ 7 w 29"/>
                      <a:gd name="T17" fmla="*/ 7 h 14"/>
                      <a:gd name="T18" fmla="*/ 0 w 29"/>
                      <a:gd name="T19" fmla="*/ 7 h 14"/>
                      <a:gd name="T20" fmla="*/ 0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0" y="0"/>
                        </a:moveTo>
                        <a:lnTo>
                          <a:pt x="7" y="0"/>
                        </a:lnTo>
                        <a:lnTo>
                          <a:pt x="14" y="0"/>
                        </a:lnTo>
                        <a:lnTo>
                          <a:pt x="22" y="0"/>
                        </a:lnTo>
                        <a:lnTo>
                          <a:pt x="29" y="7"/>
                        </a:lnTo>
                        <a:lnTo>
                          <a:pt x="14" y="14"/>
                        </a:lnTo>
                        <a:lnTo>
                          <a:pt x="7" y="7"/>
                        </a:lnTo>
                        <a:lnTo>
                          <a:pt x="0" y="7"/>
                        </a:lnTo>
                        <a:lnTo>
                          <a:pt x="0"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11" name="Freeform 69"/>
                  <p:cNvSpPr>
                    <a:spLocks/>
                  </p:cNvSpPr>
                  <p:nvPr/>
                </p:nvSpPr>
                <p:spPr bwMode="auto">
                  <a:xfrm>
                    <a:off x="1993" y="1635"/>
                    <a:ext cx="15" cy="22"/>
                  </a:xfrm>
                  <a:custGeom>
                    <a:avLst/>
                    <a:gdLst>
                      <a:gd name="T0" fmla="*/ 15 w 15"/>
                      <a:gd name="T1" fmla="*/ 7 h 22"/>
                      <a:gd name="T2" fmla="*/ 7 w 15"/>
                      <a:gd name="T3" fmla="*/ 7 h 22"/>
                      <a:gd name="T4" fmla="*/ 7 w 15"/>
                      <a:gd name="T5" fmla="*/ 0 h 22"/>
                      <a:gd name="T6" fmla="*/ 0 w 15"/>
                      <a:gd name="T7" fmla="*/ 0 h 22"/>
                      <a:gd name="T8" fmla="*/ 0 w 15"/>
                      <a:gd name="T9" fmla="*/ 0 h 22"/>
                      <a:gd name="T10" fmla="*/ 0 w 15"/>
                      <a:gd name="T11" fmla="*/ 7 h 22"/>
                      <a:gd name="T12" fmla="*/ 0 w 15"/>
                      <a:gd name="T13" fmla="*/ 15 h 22"/>
                      <a:gd name="T14" fmla="*/ 7 w 15"/>
                      <a:gd name="T15" fmla="*/ 22 h 22"/>
                      <a:gd name="T16" fmla="*/ 7 w 15"/>
                      <a:gd name="T17" fmla="*/ 22 h 22"/>
                      <a:gd name="T18" fmla="*/ 15 w 15"/>
                      <a:gd name="T19" fmla="*/ 15 h 22"/>
                      <a:gd name="T20" fmla="*/ 15 w 15"/>
                      <a:gd name="T21" fmla="*/ 15 h 22"/>
                      <a:gd name="T22" fmla="*/ 15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22"/>
                      <a:gd name="T38" fmla="*/ 15 w 15"/>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22">
                        <a:moveTo>
                          <a:pt x="15" y="7"/>
                        </a:moveTo>
                        <a:lnTo>
                          <a:pt x="7" y="7"/>
                        </a:lnTo>
                        <a:lnTo>
                          <a:pt x="7" y="0"/>
                        </a:lnTo>
                        <a:lnTo>
                          <a:pt x="0" y="0"/>
                        </a:lnTo>
                        <a:lnTo>
                          <a:pt x="0" y="7"/>
                        </a:lnTo>
                        <a:lnTo>
                          <a:pt x="0" y="15"/>
                        </a:lnTo>
                        <a:lnTo>
                          <a:pt x="7" y="22"/>
                        </a:lnTo>
                        <a:lnTo>
                          <a:pt x="15" y="15"/>
                        </a:lnTo>
                        <a:lnTo>
                          <a:pt x="15" y="7"/>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sp>
                <p:nvSpPr>
                  <p:cNvPr id="212" name="Freeform 70"/>
                  <p:cNvSpPr>
                    <a:spLocks/>
                  </p:cNvSpPr>
                  <p:nvPr/>
                </p:nvSpPr>
                <p:spPr bwMode="auto">
                  <a:xfrm>
                    <a:off x="2022" y="1535"/>
                    <a:ext cx="36" cy="29"/>
                  </a:xfrm>
                  <a:custGeom>
                    <a:avLst/>
                    <a:gdLst>
                      <a:gd name="T0" fmla="*/ 0 w 36"/>
                      <a:gd name="T1" fmla="*/ 0 h 29"/>
                      <a:gd name="T2" fmla="*/ 7 w 36"/>
                      <a:gd name="T3" fmla="*/ 22 h 29"/>
                      <a:gd name="T4" fmla="*/ 14 w 36"/>
                      <a:gd name="T5" fmla="*/ 29 h 29"/>
                      <a:gd name="T6" fmla="*/ 28 w 36"/>
                      <a:gd name="T7" fmla="*/ 29 h 29"/>
                      <a:gd name="T8" fmla="*/ 36 w 36"/>
                      <a:gd name="T9" fmla="*/ 22 h 29"/>
                      <a:gd name="T10" fmla="*/ 36 w 36"/>
                      <a:gd name="T11" fmla="*/ 15 h 29"/>
                      <a:gd name="T12" fmla="*/ 21 w 36"/>
                      <a:gd name="T13" fmla="*/ 8 h 29"/>
                      <a:gd name="T14" fmla="*/ 0 w 36"/>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9"/>
                      <a:gd name="T26" fmla="*/ 36 w 36"/>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9">
                        <a:moveTo>
                          <a:pt x="0" y="0"/>
                        </a:moveTo>
                        <a:lnTo>
                          <a:pt x="7" y="22"/>
                        </a:lnTo>
                        <a:lnTo>
                          <a:pt x="14" y="29"/>
                        </a:lnTo>
                        <a:lnTo>
                          <a:pt x="28" y="29"/>
                        </a:lnTo>
                        <a:lnTo>
                          <a:pt x="36" y="22"/>
                        </a:lnTo>
                        <a:lnTo>
                          <a:pt x="36" y="15"/>
                        </a:lnTo>
                        <a:lnTo>
                          <a:pt x="21" y="8"/>
                        </a:lnTo>
                        <a:lnTo>
                          <a:pt x="0" y="0"/>
                        </a:lnTo>
                        <a:close/>
                      </a:path>
                    </a:pathLst>
                  </a:custGeom>
                  <a:grpFill/>
                  <a:ln w="3175" cmpd="sng">
                    <a:solidFill>
                      <a:srgbClr val="FFFFFF"/>
                    </a:solidFill>
                    <a:prstDash val="solid"/>
                    <a:round/>
                    <a:headEnd/>
                    <a:tailEnd/>
                  </a:ln>
                </p:spPr>
                <p:txBody>
                  <a:bodyPr/>
                  <a:lstStyle/>
                  <a:p>
                    <a:pPr>
                      <a:buClr>
                        <a:srgbClr val="B40646"/>
                      </a:buClr>
                      <a:defRPr/>
                    </a:pPr>
                    <a:endParaRPr lang="en-GB" dirty="0">
                      <a:solidFill>
                        <a:srgbClr val="000000"/>
                      </a:solidFill>
                    </a:endParaRPr>
                  </a:p>
                </p:txBody>
              </p:sp>
            </p:grpSp>
          </p:grpSp>
        </p:grpSp>
      </p:grpSp>
    </p:spTree>
    <p:extLst>
      <p:ext uri="{BB962C8B-B14F-4D97-AF65-F5344CB8AC3E}">
        <p14:creationId xmlns:p14="http://schemas.microsoft.com/office/powerpoint/2010/main" val="67609930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noChangeAspect="1"/>
          </p:cNvGrpSpPr>
          <p:nvPr/>
        </p:nvGrpSpPr>
        <p:grpSpPr bwMode="auto">
          <a:xfrm>
            <a:off x="1368451" y="1001487"/>
            <a:ext cx="9296373" cy="5129107"/>
            <a:chOff x="76" y="746"/>
            <a:chExt cx="5869" cy="3578"/>
          </a:xfrm>
          <a:solidFill>
            <a:schemeClr val="accent3"/>
          </a:solidFill>
        </p:grpSpPr>
        <p:sp>
          <p:nvSpPr>
            <p:cNvPr id="19513" name="Freeform 4"/>
            <p:cNvSpPr>
              <a:spLocks/>
            </p:cNvSpPr>
            <p:nvPr/>
          </p:nvSpPr>
          <p:spPr bwMode="auto">
            <a:xfrm>
              <a:off x="5522" y="2155"/>
              <a:ext cx="156" cy="156"/>
            </a:xfrm>
            <a:custGeom>
              <a:avLst/>
              <a:gdLst>
                <a:gd name="T0" fmla="*/ 58 w 156"/>
                <a:gd name="T1" fmla="*/ 122 h 156"/>
                <a:gd name="T2" fmla="*/ 64 w 156"/>
                <a:gd name="T3" fmla="*/ 110 h 156"/>
                <a:gd name="T4" fmla="*/ 81 w 156"/>
                <a:gd name="T5" fmla="*/ 104 h 156"/>
                <a:gd name="T6" fmla="*/ 93 w 156"/>
                <a:gd name="T7" fmla="*/ 98 h 156"/>
                <a:gd name="T8" fmla="*/ 98 w 156"/>
                <a:gd name="T9" fmla="*/ 98 h 156"/>
                <a:gd name="T10" fmla="*/ 104 w 156"/>
                <a:gd name="T11" fmla="*/ 98 h 156"/>
                <a:gd name="T12" fmla="*/ 116 w 156"/>
                <a:gd name="T13" fmla="*/ 93 h 156"/>
                <a:gd name="T14" fmla="*/ 145 w 156"/>
                <a:gd name="T15" fmla="*/ 81 h 156"/>
                <a:gd name="T16" fmla="*/ 151 w 156"/>
                <a:gd name="T17" fmla="*/ 81 h 156"/>
                <a:gd name="T18" fmla="*/ 151 w 156"/>
                <a:gd name="T19" fmla="*/ 75 h 156"/>
                <a:gd name="T20" fmla="*/ 156 w 156"/>
                <a:gd name="T21" fmla="*/ 64 h 156"/>
                <a:gd name="T22" fmla="*/ 151 w 156"/>
                <a:gd name="T23" fmla="*/ 46 h 156"/>
                <a:gd name="T24" fmla="*/ 151 w 156"/>
                <a:gd name="T25" fmla="*/ 40 h 156"/>
                <a:gd name="T26" fmla="*/ 145 w 156"/>
                <a:gd name="T27" fmla="*/ 29 h 156"/>
                <a:gd name="T28" fmla="*/ 139 w 156"/>
                <a:gd name="T29" fmla="*/ 11 h 156"/>
                <a:gd name="T30" fmla="*/ 139 w 156"/>
                <a:gd name="T31" fmla="*/ 0 h 156"/>
                <a:gd name="T32" fmla="*/ 116 w 156"/>
                <a:gd name="T33" fmla="*/ 6 h 156"/>
                <a:gd name="T34" fmla="*/ 110 w 156"/>
                <a:gd name="T35" fmla="*/ 6 h 156"/>
                <a:gd name="T36" fmla="*/ 93 w 156"/>
                <a:gd name="T37" fmla="*/ 11 h 156"/>
                <a:gd name="T38" fmla="*/ 81 w 156"/>
                <a:gd name="T39" fmla="*/ 11 h 156"/>
                <a:gd name="T40" fmla="*/ 52 w 156"/>
                <a:gd name="T41" fmla="*/ 23 h 156"/>
                <a:gd name="T42" fmla="*/ 40 w 156"/>
                <a:gd name="T43" fmla="*/ 23 h 156"/>
                <a:gd name="T44" fmla="*/ 35 w 156"/>
                <a:gd name="T45" fmla="*/ 23 h 156"/>
                <a:gd name="T46" fmla="*/ 6 w 156"/>
                <a:gd name="T47" fmla="*/ 35 h 156"/>
                <a:gd name="T48" fmla="*/ 0 w 156"/>
                <a:gd name="T49" fmla="*/ 35 h 156"/>
                <a:gd name="T50" fmla="*/ 0 w 156"/>
                <a:gd name="T51" fmla="*/ 40 h 156"/>
                <a:gd name="T52" fmla="*/ 6 w 156"/>
                <a:gd name="T53" fmla="*/ 69 h 156"/>
                <a:gd name="T54" fmla="*/ 6 w 156"/>
                <a:gd name="T55" fmla="*/ 75 h 156"/>
                <a:gd name="T56" fmla="*/ 6 w 156"/>
                <a:gd name="T57" fmla="*/ 81 h 156"/>
                <a:gd name="T58" fmla="*/ 6 w 156"/>
                <a:gd name="T59" fmla="*/ 87 h 156"/>
                <a:gd name="T60" fmla="*/ 11 w 156"/>
                <a:gd name="T61" fmla="*/ 93 h 156"/>
                <a:gd name="T62" fmla="*/ 11 w 156"/>
                <a:gd name="T63" fmla="*/ 104 h 156"/>
                <a:gd name="T64" fmla="*/ 11 w 156"/>
                <a:gd name="T65" fmla="*/ 110 h 156"/>
                <a:gd name="T66" fmla="*/ 23 w 156"/>
                <a:gd name="T67" fmla="*/ 127 h 156"/>
                <a:gd name="T68" fmla="*/ 6 w 156"/>
                <a:gd name="T69" fmla="*/ 145 h 156"/>
                <a:gd name="T70" fmla="*/ 17 w 156"/>
                <a:gd name="T71" fmla="*/ 156 h 156"/>
                <a:gd name="T72" fmla="*/ 35 w 156"/>
                <a:gd name="T73" fmla="*/ 139 h 156"/>
                <a:gd name="T74" fmla="*/ 46 w 156"/>
                <a:gd name="T75" fmla="*/ 133 h 156"/>
                <a:gd name="T76" fmla="*/ 58 w 156"/>
                <a:gd name="T77" fmla="*/ 122 h 1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6"/>
                <a:gd name="T118" fmla="*/ 0 h 156"/>
                <a:gd name="T119" fmla="*/ 156 w 156"/>
                <a:gd name="T120" fmla="*/ 156 h 1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6" h="156">
                  <a:moveTo>
                    <a:pt x="58" y="122"/>
                  </a:moveTo>
                  <a:lnTo>
                    <a:pt x="64" y="110"/>
                  </a:lnTo>
                  <a:lnTo>
                    <a:pt x="81" y="104"/>
                  </a:lnTo>
                  <a:lnTo>
                    <a:pt x="93" y="98"/>
                  </a:lnTo>
                  <a:lnTo>
                    <a:pt x="98" y="98"/>
                  </a:lnTo>
                  <a:lnTo>
                    <a:pt x="104" y="98"/>
                  </a:lnTo>
                  <a:lnTo>
                    <a:pt x="116" y="93"/>
                  </a:lnTo>
                  <a:lnTo>
                    <a:pt x="145" y="81"/>
                  </a:lnTo>
                  <a:lnTo>
                    <a:pt x="151" y="81"/>
                  </a:lnTo>
                  <a:lnTo>
                    <a:pt x="151" y="75"/>
                  </a:lnTo>
                  <a:lnTo>
                    <a:pt x="156" y="64"/>
                  </a:lnTo>
                  <a:lnTo>
                    <a:pt x="151" y="46"/>
                  </a:lnTo>
                  <a:lnTo>
                    <a:pt x="151" y="40"/>
                  </a:lnTo>
                  <a:lnTo>
                    <a:pt x="145" y="29"/>
                  </a:lnTo>
                  <a:lnTo>
                    <a:pt x="139" y="11"/>
                  </a:lnTo>
                  <a:lnTo>
                    <a:pt x="139" y="0"/>
                  </a:lnTo>
                  <a:lnTo>
                    <a:pt x="116" y="6"/>
                  </a:lnTo>
                  <a:lnTo>
                    <a:pt x="110" y="6"/>
                  </a:lnTo>
                  <a:lnTo>
                    <a:pt x="93" y="11"/>
                  </a:lnTo>
                  <a:lnTo>
                    <a:pt x="81" y="11"/>
                  </a:lnTo>
                  <a:lnTo>
                    <a:pt x="52" y="23"/>
                  </a:lnTo>
                  <a:lnTo>
                    <a:pt x="40" y="23"/>
                  </a:lnTo>
                  <a:lnTo>
                    <a:pt x="35" y="23"/>
                  </a:lnTo>
                  <a:lnTo>
                    <a:pt x="6" y="35"/>
                  </a:lnTo>
                  <a:lnTo>
                    <a:pt x="0" y="35"/>
                  </a:lnTo>
                  <a:lnTo>
                    <a:pt x="0" y="40"/>
                  </a:lnTo>
                  <a:lnTo>
                    <a:pt x="6" y="69"/>
                  </a:lnTo>
                  <a:lnTo>
                    <a:pt x="6" y="75"/>
                  </a:lnTo>
                  <a:lnTo>
                    <a:pt x="6" y="81"/>
                  </a:lnTo>
                  <a:lnTo>
                    <a:pt x="6" y="87"/>
                  </a:lnTo>
                  <a:lnTo>
                    <a:pt x="11" y="93"/>
                  </a:lnTo>
                  <a:lnTo>
                    <a:pt x="11" y="104"/>
                  </a:lnTo>
                  <a:lnTo>
                    <a:pt x="11" y="110"/>
                  </a:lnTo>
                  <a:lnTo>
                    <a:pt x="23" y="127"/>
                  </a:lnTo>
                  <a:lnTo>
                    <a:pt x="6" y="145"/>
                  </a:lnTo>
                  <a:lnTo>
                    <a:pt x="17" y="156"/>
                  </a:lnTo>
                  <a:lnTo>
                    <a:pt x="35" y="139"/>
                  </a:lnTo>
                  <a:lnTo>
                    <a:pt x="46" y="133"/>
                  </a:lnTo>
                  <a:lnTo>
                    <a:pt x="58" y="12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4" name="Freeform 5"/>
            <p:cNvSpPr>
              <a:spLocks/>
            </p:cNvSpPr>
            <p:nvPr/>
          </p:nvSpPr>
          <p:spPr bwMode="auto">
            <a:xfrm>
              <a:off x="5295" y="2601"/>
              <a:ext cx="24" cy="24"/>
            </a:xfrm>
            <a:custGeom>
              <a:avLst/>
              <a:gdLst>
                <a:gd name="T0" fmla="*/ 0 w 24"/>
                <a:gd name="T1" fmla="*/ 6 h 24"/>
                <a:gd name="T2" fmla="*/ 6 w 24"/>
                <a:gd name="T3" fmla="*/ 12 h 24"/>
                <a:gd name="T4" fmla="*/ 12 w 24"/>
                <a:gd name="T5" fmla="*/ 12 h 24"/>
                <a:gd name="T6" fmla="*/ 12 w 24"/>
                <a:gd name="T7" fmla="*/ 18 h 24"/>
                <a:gd name="T8" fmla="*/ 12 w 24"/>
                <a:gd name="T9" fmla="*/ 24 h 24"/>
                <a:gd name="T10" fmla="*/ 18 w 24"/>
                <a:gd name="T11" fmla="*/ 12 h 24"/>
                <a:gd name="T12" fmla="*/ 24 w 24"/>
                <a:gd name="T13" fmla="*/ 6 h 24"/>
                <a:gd name="T14" fmla="*/ 12 w 24"/>
                <a:gd name="T15" fmla="*/ 0 h 24"/>
                <a:gd name="T16" fmla="*/ 6 w 24"/>
                <a:gd name="T17" fmla="*/ 0 h 24"/>
                <a:gd name="T18" fmla="*/ 6 w 24"/>
                <a:gd name="T19" fmla="*/ 6 h 24"/>
                <a:gd name="T20" fmla="*/ 0 w 24"/>
                <a:gd name="T21" fmla="*/ 6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24"/>
                <a:gd name="T35" fmla="*/ 24 w 24"/>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24">
                  <a:moveTo>
                    <a:pt x="0" y="6"/>
                  </a:moveTo>
                  <a:lnTo>
                    <a:pt x="6" y="12"/>
                  </a:lnTo>
                  <a:lnTo>
                    <a:pt x="12" y="12"/>
                  </a:lnTo>
                  <a:lnTo>
                    <a:pt x="12" y="18"/>
                  </a:lnTo>
                  <a:lnTo>
                    <a:pt x="12" y="24"/>
                  </a:lnTo>
                  <a:lnTo>
                    <a:pt x="18" y="12"/>
                  </a:lnTo>
                  <a:lnTo>
                    <a:pt x="24" y="6"/>
                  </a:lnTo>
                  <a:lnTo>
                    <a:pt x="12" y="0"/>
                  </a:lnTo>
                  <a:lnTo>
                    <a:pt x="6" y="0"/>
                  </a:lnTo>
                  <a:lnTo>
                    <a:pt x="6" y="6"/>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5" name="Freeform 6"/>
            <p:cNvSpPr>
              <a:spLocks/>
            </p:cNvSpPr>
            <p:nvPr/>
          </p:nvSpPr>
          <p:spPr bwMode="auto">
            <a:xfrm>
              <a:off x="5394" y="2474"/>
              <a:ext cx="93" cy="156"/>
            </a:xfrm>
            <a:custGeom>
              <a:avLst/>
              <a:gdLst>
                <a:gd name="T0" fmla="*/ 29 w 93"/>
                <a:gd name="T1" fmla="*/ 52 h 156"/>
                <a:gd name="T2" fmla="*/ 23 w 93"/>
                <a:gd name="T3" fmla="*/ 40 h 156"/>
                <a:gd name="T4" fmla="*/ 17 w 93"/>
                <a:gd name="T5" fmla="*/ 29 h 156"/>
                <a:gd name="T6" fmla="*/ 23 w 93"/>
                <a:gd name="T7" fmla="*/ 29 h 156"/>
                <a:gd name="T8" fmla="*/ 17 w 93"/>
                <a:gd name="T9" fmla="*/ 23 h 156"/>
                <a:gd name="T10" fmla="*/ 23 w 93"/>
                <a:gd name="T11" fmla="*/ 17 h 156"/>
                <a:gd name="T12" fmla="*/ 23 w 93"/>
                <a:gd name="T13" fmla="*/ 6 h 156"/>
                <a:gd name="T14" fmla="*/ 29 w 93"/>
                <a:gd name="T15" fmla="*/ 6 h 156"/>
                <a:gd name="T16" fmla="*/ 17 w 93"/>
                <a:gd name="T17" fmla="*/ 0 h 156"/>
                <a:gd name="T18" fmla="*/ 12 w 93"/>
                <a:gd name="T19" fmla="*/ 6 h 156"/>
                <a:gd name="T20" fmla="*/ 0 w 93"/>
                <a:gd name="T21" fmla="*/ 17 h 156"/>
                <a:gd name="T22" fmla="*/ 0 w 93"/>
                <a:gd name="T23" fmla="*/ 23 h 156"/>
                <a:gd name="T24" fmla="*/ 0 w 93"/>
                <a:gd name="T25" fmla="*/ 29 h 156"/>
                <a:gd name="T26" fmla="*/ 6 w 93"/>
                <a:gd name="T27" fmla="*/ 58 h 156"/>
                <a:gd name="T28" fmla="*/ 12 w 93"/>
                <a:gd name="T29" fmla="*/ 64 h 156"/>
                <a:gd name="T30" fmla="*/ 12 w 93"/>
                <a:gd name="T31" fmla="*/ 69 h 156"/>
                <a:gd name="T32" fmla="*/ 12 w 93"/>
                <a:gd name="T33" fmla="*/ 75 h 156"/>
                <a:gd name="T34" fmla="*/ 17 w 93"/>
                <a:gd name="T35" fmla="*/ 81 h 156"/>
                <a:gd name="T36" fmla="*/ 23 w 93"/>
                <a:gd name="T37" fmla="*/ 98 h 156"/>
                <a:gd name="T38" fmla="*/ 29 w 93"/>
                <a:gd name="T39" fmla="*/ 116 h 156"/>
                <a:gd name="T40" fmla="*/ 29 w 93"/>
                <a:gd name="T41" fmla="*/ 127 h 156"/>
                <a:gd name="T42" fmla="*/ 29 w 93"/>
                <a:gd name="T43" fmla="*/ 133 h 156"/>
                <a:gd name="T44" fmla="*/ 35 w 93"/>
                <a:gd name="T45" fmla="*/ 139 h 156"/>
                <a:gd name="T46" fmla="*/ 35 w 93"/>
                <a:gd name="T47" fmla="*/ 145 h 156"/>
                <a:gd name="T48" fmla="*/ 41 w 93"/>
                <a:gd name="T49" fmla="*/ 156 h 156"/>
                <a:gd name="T50" fmla="*/ 58 w 93"/>
                <a:gd name="T51" fmla="*/ 156 h 156"/>
                <a:gd name="T52" fmla="*/ 70 w 93"/>
                <a:gd name="T53" fmla="*/ 151 h 156"/>
                <a:gd name="T54" fmla="*/ 81 w 93"/>
                <a:gd name="T55" fmla="*/ 151 h 156"/>
                <a:gd name="T56" fmla="*/ 87 w 93"/>
                <a:gd name="T57" fmla="*/ 145 h 156"/>
                <a:gd name="T58" fmla="*/ 93 w 93"/>
                <a:gd name="T59" fmla="*/ 145 h 156"/>
                <a:gd name="T60" fmla="*/ 81 w 93"/>
                <a:gd name="T61" fmla="*/ 110 h 156"/>
                <a:gd name="T62" fmla="*/ 58 w 93"/>
                <a:gd name="T63" fmla="*/ 98 h 156"/>
                <a:gd name="T64" fmla="*/ 52 w 93"/>
                <a:gd name="T65" fmla="*/ 87 h 156"/>
                <a:gd name="T66" fmla="*/ 41 w 93"/>
                <a:gd name="T67" fmla="*/ 64 h 156"/>
                <a:gd name="T68" fmla="*/ 29 w 93"/>
                <a:gd name="T69" fmla="*/ 52 h 1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3"/>
                <a:gd name="T106" fmla="*/ 0 h 156"/>
                <a:gd name="T107" fmla="*/ 93 w 93"/>
                <a:gd name="T108" fmla="*/ 156 h 1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3" h="156">
                  <a:moveTo>
                    <a:pt x="29" y="52"/>
                  </a:moveTo>
                  <a:lnTo>
                    <a:pt x="23" y="40"/>
                  </a:lnTo>
                  <a:lnTo>
                    <a:pt x="17" y="29"/>
                  </a:lnTo>
                  <a:lnTo>
                    <a:pt x="23" y="29"/>
                  </a:lnTo>
                  <a:lnTo>
                    <a:pt x="17" y="23"/>
                  </a:lnTo>
                  <a:lnTo>
                    <a:pt x="23" y="17"/>
                  </a:lnTo>
                  <a:lnTo>
                    <a:pt x="23" y="6"/>
                  </a:lnTo>
                  <a:lnTo>
                    <a:pt x="29" y="6"/>
                  </a:lnTo>
                  <a:lnTo>
                    <a:pt x="17" y="0"/>
                  </a:lnTo>
                  <a:lnTo>
                    <a:pt x="12" y="6"/>
                  </a:lnTo>
                  <a:lnTo>
                    <a:pt x="0" y="17"/>
                  </a:lnTo>
                  <a:lnTo>
                    <a:pt x="0" y="23"/>
                  </a:lnTo>
                  <a:lnTo>
                    <a:pt x="0" y="29"/>
                  </a:lnTo>
                  <a:lnTo>
                    <a:pt x="6" y="58"/>
                  </a:lnTo>
                  <a:lnTo>
                    <a:pt x="12" y="64"/>
                  </a:lnTo>
                  <a:lnTo>
                    <a:pt x="12" y="69"/>
                  </a:lnTo>
                  <a:lnTo>
                    <a:pt x="12" y="75"/>
                  </a:lnTo>
                  <a:lnTo>
                    <a:pt x="17" y="81"/>
                  </a:lnTo>
                  <a:lnTo>
                    <a:pt x="23" y="98"/>
                  </a:lnTo>
                  <a:lnTo>
                    <a:pt x="29" y="116"/>
                  </a:lnTo>
                  <a:lnTo>
                    <a:pt x="29" y="127"/>
                  </a:lnTo>
                  <a:lnTo>
                    <a:pt x="29" y="133"/>
                  </a:lnTo>
                  <a:lnTo>
                    <a:pt x="35" y="139"/>
                  </a:lnTo>
                  <a:lnTo>
                    <a:pt x="35" y="145"/>
                  </a:lnTo>
                  <a:lnTo>
                    <a:pt x="41" y="156"/>
                  </a:lnTo>
                  <a:lnTo>
                    <a:pt x="58" y="156"/>
                  </a:lnTo>
                  <a:lnTo>
                    <a:pt x="70" y="151"/>
                  </a:lnTo>
                  <a:lnTo>
                    <a:pt x="81" y="151"/>
                  </a:lnTo>
                  <a:lnTo>
                    <a:pt x="87" y="145"/>
                  </a:lnTo>
                  <a:lnTo>
                    <a:pt x="93" y="145"/>
                  </a:lnTo>
                  <a:lnTo>
                    <a:pt x="81" y="110"/>
                  </a:lnTo>
                  <a:lnTo>
                    <a:pt x="58" y="98"/>
                  </a:lnTo>
                  <a:lnTo>
                    <a:pt x="52" y="87"/>
                  </a:lnTo>
                  <a:lnTo>
                    <a:pt x="41" y="64"/>
                  </a:lnTo>
                  <a:lnTo>
                    <a:pt x="29" y="5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6" name="Freeform 7"/>
            <p:cNvSpPr>
              <a:spLocks/>
            </p:cNvSpPr>
            <p:nvPr/>
          </p:nvSpPr>
          <p:spPr bwMode="auto">
            <a:xfrm>
              <a:off x="5516" y="2039"/>
              <a:ext cx="308" cy="162"/>
            </a:xfrm>
            <a:custGeom>
              <a:avLst/>
              <a:gdLst>
                <a:gd name="T0" fmla="*/ 238 w 308"/>
                <a:gd name="T1" fmla="*/ 127 h 162"/>
                <a:gd name="T2" fmla="*/ 226 w 308"/>
                <a:gd name="T3" fmla="*/ 151 h 162"/>
                <a:gd name="T4" fmla="*/ 215 w 308"/>
                <a:gd name="T5" fmla="*/ 156 h 162"/>
                <a:gd name="T6" fmla="*/ 209 w 308"/>
                <a:gd name="T7" fmla="*/ 139 h 162"/>
                <a:gd name="T8" fmla="*/ 197 w 308"/>
                <a:gd name="T9" fmla="*/ 133 h 162"/>
                <a:gd name="T10" fmla="*/ 186 w 308"/>
                <a:gd name="T11" fmla="*/ 116 h 162"/>
                <a:gd name="T12" fmla="*/ 180 w 308"/>
                <a:gd name="T13" fmla="*/ 110 h 162"/>
                <a:gd name="T14" fmla="*/ 174 w 308"/>
                <a:gd name="T15" fmla="*/ 110 h 162"/>
                <a:gd name="T16" fmla="*/ 162 w 308"/>
                <a:gd name="T17" fmla="*/ 110 h 162"/>
                <a:gd name="T18" fmla="*/ 122 w 308"/>
                <a:gd name="T19" fmla="*/ 122 h 162"/>
                <a:gd name="T20" fmla="*/ 99 w 308"/>
                <a:gd name="T21" fmla="*/ 127 h 162"/>
                <a:gd name="T22" fmla="*/ 58 w 308"/>
                <a:gd name="T23" fmla="*/ 139 h 162"/>
                <a:gd name="T24" fmla="*/ 41 w 308"/>
                <a:gd name="T25" fmla="*/ 139 h 162"/>
                <a:gd name="T26" fmla="*/ 6 w 308"/>
                <a:gd name="T27" fmla="*/ 151 h 162"/>
                <a:gd name="T28" fmla="*/ 0 w 308"/>
                <a:gd name="T29" fmla="*/ 98 h 162"/>
                <a:gd name="T30" fmla="*/ 0 w 308"/>
                <a:gd name="T31" fmla="*/ 75 h 162"/>
                <a:gd name="T32" fmla="*/ 17 w 308"/>
                <a:gd name="T33" fmla="*/ 64 h 162"/>
                <a:gd name="T34" fmla="*/ 29 w 308"/>
                <a:gd name="T35" fmla="*/ 64 h 162"/>
                <a:gd name="T36" fmla="*/ 64 w 308"/>
                <a:gd name="T37" fmla="*/ 52 h 162"/>
                <a:gd name="T38" fmla="*/ 75 w 308"/>
                <a:gd name="T39" fmla="*/ 52 h 162"/>
                <a:gd name="T40" fmla="*/ 99 w 308"/>
                <a:gd name="T41" fmla="*/ 46 h 162"/>
                <a:gd name="T42" fmla="*/ 110 w 308"/>
                <a:gd name="T43" fmla="*/ 40 h 162"/>
                <a:gd name="T44" fmla="*/ 162 w 308"/>
                <a:gd name="T45" fmla="*/ 29 h 162"/>
                <a:gd name="T46" fmla="*/ 180 w 308"/>
                <a:gd name="T47" fmla="*/ 11 h 162"/>
                <a:gd name="T48" fmla="*/ 197 w 308"/>
                <a:gd name="T49" fmla="*/ 0 h 162"/>
                <a:gd name="T50" fmla="*/ 215 w 308"/>
                <a:gd name="T51" fmla="*/ 17 h 162"/>
                <a:gd name="T52" fmla="*/ 209 w 308"/>
                <a:gd name="T53" fmla="*/ 35 h 162"/>
                <a:gd name="T54" fmla="*/ 197 w 308"/>
                <a:gd name="T55" fmla="*/ 52 h 162"/>
                <a:gd name="T56" fmla="*/ 203 w 308"/>
                <a:gd name="T57" fmla="*/ 64 h 162"/>
                <a:gd name="T58" fmla="*/ 220 w 308"/>
                <a:gd name="T59" fmla="*/ 64 h 162"/>
                <a:gd name="T60" fmla="*/ 232 w 308"/>
                <a:gd name="T61" fmla="*/ 93 h 162"/>
                <a:gd name="T62" fmla="*/ 244 w 308"/>
                <a:gd name="T63" fmla="*/ 93 h 162"/>
                <a:gd name="T64" fmla="*/ 278 w 308"/>
                <a:gd name="T65" fmla="*/ 110 h 162"/>
                <a:gd name="T66" fmla="*/ 296 w 308"/>
                <a:gd name="T67" fmla="*/ 87 h 162"/>
                <a:gd name="T68" fmla="*/ 278 w 308"/>
                <a:gd name="T69" fmla="*/ 69 h 162"/>
                <a:gd name="T70" fmla="*/ 308 w 308"/>
                <a:gd name="T71" fmla="*/ 110 h 162"/>
                <a:gd name="T72" fmla="*/ 302 w 308"/>
                <a:gd name="T73" fmla="*/ 110 h 162"/>
                <a:gd name="T74" fmla="*/ 267 w 308"/>
                <a:gd name="T75" fmla="*/ 133 h 162"/>
                <a:gd name="T76" fmla="*/ 249 w 308"/>
                <a:gd name="T77" fmla="*/ 145 h 162"/>
                <a:gd name="T78" fmla="*/ 232 w 308"/>
                <a:gd name="T79" fmla="*/ 156 h 162"/>
                <a:gd name="T80" fmla="*/ 249 w 308"/>
                <a:gd name="T81" fmla="*/ 133 h 1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8"/>
                <a:gd name="T124" fmla="*/ 0 h 162"/>
                <a:gd name="T125" fmla="*/ 308 w 308"/>
                <a:gd name="T126" fmla="*/ 162 h 1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8" h="162">
                  <a:moveTo>
                    <a:pt x="244" y="127"/>
                  </a:moveTo>
                  <a:lnTo>
                    <a:pt x="238" y="127"/>
                  </a:lnTo>
                  <a:lnTo>
                    <a:pt x="232" y="139"/>
                  </a:lnTo>
                  <a:lnTo>
                    <a:pt x="226" y="151"/>
                  </a:lnTo>
                  <a:lnTo>
                    <a:pt x="220" y="156"/>
                  </a:lnTo>
                  <a:lnTo>
                    <a:pt x="215" y="156"/>
                  </a:lnTo>
                  <a:lnTo>
                    <a:pt x="209" y="145"/>
                  </a:lnTo>
                  <a:lnTo>
                    <a:pt x="209" y="139"/>
                  </a:lnTo>
                  <a:lnTo>
                    <a:pt x="203" y="139"/>
                  </a:lnTo>
                  <a:lnTo>
                    <a:pt x="197" y="133"/>
                  </a:lnTo>
                  <a:lnTo>
                    <a:pt x="191" y="133"/>
                  </a:lnTo>
                  <a:lnTo>
                    <a:pt x="186" y="116"/>
                  </a:lnTo>
                  <a:lnTo>
                    <a:pt x="180" y="122"/>
                  </a:lnTo>
                  <a:lnTo>
                    <a:pt x="180" y="110"/>
                  </a:lnTo>
                  <a:lnTo>
                    <a:pt x="180" y="104"/>
                  </a:lnTo>
                  <a:lnTo>
                    <a:pt x="174" y="110"/>
                  </a:lnTo>
                  <a:lnTo>
                    <a:pt x="168" y="110"/>
                  </a:lnTo>
                  <a:lnTo>
                    <a:pt x="162" y="110"/>
                  </a:lnTo>
                  <a:lnTo>
                    <a:pt x="145" y="116"/>
                  </a:lnTo>
                  <a:lnTo>
                    <a:pt x="122" y="122"/>
                  </a:lnTo>
                  <a:lnTo>
                    <a:pt x="116" y="122"/>
                  </a:lnTo>
                  <a:lnTo>
                    <a:pt x="99" y="127"/>
                  </a:lnTo>
                  <a:lnTo>
                    <a:pt x="87" y="127"/>
                  </a:lnTo>
                  <a:lnTo>
                    <a:pt x="58" y="139"/>
                  </a:lnTo>
                  <a:lnTo>
                    <a:pt x="46" y="139"/>
                  </a:lnTo>
                  <a:lnTo>
                    <a:pt x="41" y="139"/>
                  </a:lnTo>
                  <a:lnTo>
                    <a:pt x="12" y="151"/>
                  </a:lnTo>
                  <a:lnTo>
                    <a:pt x="6" y="151"/>
                  </a:lnTo>
                  <a:lnTo>
                    <a:pt x="0" y="145"/>
                  </a:lnTo>
                  <a:lnTo>
                    <a:pt x="0" y="98"/>
                  </a:lnTo>
                  <a:lnTo>
                    <a:pt x="0" y="81"/>
                  </a:lnTo>
                  <a:lnTo>
                    <a:pt x="0" y="75"/>
                  </a:lnTo>
                  <a:lnTo>
                    <a:pt x="0" y="69"/>
                  </a:lnTo>
                  <a:lnTo>
                    <a:pt x="17" y="64"/>
                  </a:lnTo>
                  <a:lnTo>
                    <a:pt x="23" y="64"/>
                  </a:lnTo>
                  <a:lnTo>
                    <a:pt x="29" y="64"/>
                  </a:lnTo>
                  <a:lnTo>
                    <a:pt x="46" y="58"/>
                  </a:lnTo>
                  <a:lnTo>
                    <a:pt x="64" y="52"/>
                  </a:lnTo>
                  <a:lnTo>
                    <a:pt x="70" y="52"/>
                  </a:lnTo>
                  <a:lnTo>
                    <a:pt x="75" y="52"/>
                  </a:lnTo>
                  <a:lnTo>
                    <a:pt x="81" y="52"/>
                  </a:lnTo>
                  <a:lnTo>
                    <a:pt x="99" y="46"/>
                  </a:lnTo>
                  <a:lnTo>
                    <a:pt x="110" y="46"/>
                  </a:lnTo>
                  <a:lnTo>
                    <a:pt x="110" y="40"/>
                  </a:lnTo>
                  <a:lnTo>
                    <a:pt x="116" y="40"/>
                  </a:lnTo>
                  <a:lnTo>
                    <a:pt x="162" y="29"/>
                  </a:lnTo>
                  <a:lnTo>
                    <a:pt x="162" y="23"/>
                  </a:lnTo>
                  <a:lnTo>
                    <a:pt x="180" y="11"/>
                  </a:lnTo>
                  <a:lnTo>
                    <a:pt x="180" y="6"/>
                  </a:lnTo>
                  <a:lnTo>
                    <a:pt x="197" y="0"/>
                  </a:lnTo>
                  <a:lnTo>
                    <a:pt x="209" y="17"/>
                  </a:lnTo>
                  <a:lnTo>
                    <a:pt x="215" y="17"/>
                  </a:lnTo>
                  <a:lnTo>
                    <a:pt x="220" y="23"/>
                  </a:lnTo>
                  <a:lnTo>
                    <a:pt x="209" y="35"/>
                  </a:lnTo>
                  <a:lnTo>
                    <a:pt x="203" y="52"/>
                  </a:lnTo>
                  <a:lnTo>
                    <a:pt x="197" y="52"/>
                  </a:lnTo>
                  <a:lnTo>
                    <a:pt x="197" y="58"/>
                  </a:lnTo>
                  <a:lnTo>
                    <a:pt x="203" y="64"/>
                  </a:lnTo>
                  <a:lnTo>
                    <a:pt x="215" y="64"/>
                  </a:lnTo>
                  <a:lnTo>
                    <a:pt x="220" y="64"/>
                  </a:lnTo>
                  <a:lnTo>
                    <a:pt x="244" y="87"/>
                  </a:lnTo>
                  <a:lnTo>
                    <a:pt x="232" y="93"/>
                  </a:lnTo>
                  <a:lnTo>
                    <a:pt x="244" y="98"/>
                  </a:lnTo>
                  <a:lnTo>
                    <a:pt x="244" y="93"/>
                  </a:lnTo>
                  <a:lnTo>
                    <a:pt x="255" y="110"/>
                  </a:lnTo>
                  <a:lnTo>
                    <a:pt x="278" y="110"/>
                  </a:lnTo>
                  <a:lnTo>
                    <a:pt x="296" y="98"/>
                  </a:lnTo>
                  <a:lnTo>
                    <a:pt x="296" y="87"/>
                  </a:lnTo>
                  <a:lnTo>
                    <a:pt x="290" y="87"/>
                  </a:lnTo>
                  <a:lnTo>
                    <a:pt x="278" y="69"/>
                  </a:lnTo>
                  <a:lnTo>
                    <a:pt x="290" y="75"/>
                  </a:lnTo>
                  <a:lnTo>
                    <a:pt x="308" y="110"/>
                  </a:lnTo>
                  <a:lnTo>
                    <a:pt x="308" y="122"/>
                  </a:lnTo>
                  <a:lnTo>
                    <a:pt x="302" y="110"/>
                  </a:lnTo>
                  <a:lnTo>
                    <a:pt x="273" y="127"/>
                  </a:lnTo>
                  <a:lnTo>
                    <a:pt x="267" y="133"/>
                  </a:lnTo>
                  <a:lnTo>
                    <a:pt x="255" y="139"/>
                  </a:lnTo>
                  <a:lnTo>
                    <a:pt x="249" y="145"/>
                  </a:lnTo>
                  <a:lnTo>
                    <a:pt x="232" y="162"/>
                  </a:lnTo>
                  <a:lnTo>
                    <a:pt x="232" y="156"/>
                  </a:lnTo>
                  <a:lnTo>
                    <a:pt x="249" y="145"/>
                  </a:lnTo>
                  <a:lnTo>
                    <a:pt x="249" y="133"/>
                  </a:lnTo>
                  <a:lnTo>
                    <a:pt x="244" y="12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7" name="Freeform 8"/>
            <p:cNvSpPr>
              <a:spLocks/>
            </p:cNvSpPr>
            <p:nvPr/>
          </p:nvSpPr>
          <p:spPr bwMode="auto">
            <a:xfrm>
              <a:off x="5760" y="2184"/>
              <a:ext cx="29" cy="23"/>
            </a:xfrm>
            <a:custGeom>
              <a:avLst/>
              <a:gdLst>
                <a:gd name="T0" fmla="*/ 0 w 29"/>
                <a:gd name="T1" fmla="*/ 23 h 23"/>
                <a:gd name="T2" fmla="*/ 5 w 29"/>
                <a:gd name="T3" fmla="*/ 23 h 23"/>
                <a:gd name="T4" fmla="*/ 29 w 29"/>
                <a:gd name="T5" fmla="*/ 11 h 23"/>
                <a:gd name="T6" fmla="*/ 29 w 29"/>
                <a:gd name="T7" fmla="*/ 6 h 23"/>
                <a:gd name="T8" fmla="*/ 17 w 29"/>
                <a:gd name="T9" fmla="*/ 0 h 23"/>
                <a:gd name="T10" fmla="*/ 5 w 29"/>
                <a:gd name="T11" fmla="*/ 17 h 23"/>
                <a:gd name="T12" fmla="*/ 0 w 29"/>
                <a:gd name="T13" fmla="*/ 23 h 23"/>
                <a:gd name="T14" fmla="*/ 0 60000 65536"/>
                <a:gd name="T15" fmla="*/ 0 60000 65536"/>
                <a:gd name="T16" fmla="*/ 0 60000 65536"/>
                <a:gd name="T17" fmla="*/ 0 60000 65536"/>
                <a:gd name="T18" fmla="*/ 0 60000 65536"/>
                <a:gd name="T19" fmla="*/ 0 60000 65536"/>
                <a:gd name="T20" fmla="*/ 0 60000 65536"/>
                <a:gd name="T21" fmla="*/ 0 w 29"/>
                <a:gd name="T22" fmla="*/ 0 h 23"/>
                <a:gd name="T23" fmla="*/ 29 w 2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3">
                  <a:moveTo>
                    <a:pt x="0" y="23"/>
                  </a:moveTo>
                  <a:lnTo>
                    <a:pt x="5" y="23"/>
                  </a:lnTo>
                  <a:lnTo>
                    <a:pt x="29" y="11"/>
                  </a:lnTo>
                  <a:lnTo>
                    <a:pt x="29" y="6"/>
                  </a:lnTo>
                  <a:lnTo>
                    <a:pt x="17" y="0"/>
                  </a:lnTo>
                  <a:lnTo>
                    <a:pt x="5" y="17"/>
                  </a:lnTo>
                  <a:lnTo>
                    <a:pt x="0" y="2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8" name="Freeform 9"/>
            <p:cNvSpPr>
              <a:spLocks/>
            </p:cNvSpPr>
            <p:nvPr/>
          </p:nvSpPr>
          <p:spPr bwMode="auto">
            <a:xfrm>
              <a:off x="5806" y="2178"/>
              <a:ext cx="23" cy="17"/>
            </a:xfrm>
            <a:custGeom>
              <a:avLst/>
              <a:gdLst>
                <a:gd name="T0" fmla="*/ 0 w 23"/>
                <a:gd name="T1" fmla="*/ 17 h 17"/>
                <a:gd name="T2" fmla="*/ 18 w 23"/>
                <a:gd name="T3" fmla="*/ 17 h 17"/>
                <a:gd name="T4" fmla="*/ 23 w 23"/>
                <a:gd name="T5" fmla="*/ 12 h 17"/>
                <a:gd name="T6" fmla="*/ 23 w 23"/>
                <a:gd name="T7" fmla="*/ 6 h 17"/>
                <a:gd name="T8" fmla="*/ 18 w 23"/>
                <a:gd name="T9" fmla="*/ 0 h 17"/>
                <a:gd name="T10" fmla="*/ 18 w 23"/>
                <a:gd name="T11" fmla="*/ 12 h 17"/>
                <a:gd name="T12" fmla="*/ 6 w 23"/>
                <a:gd name="T13" fmla="*/ 17 h 17"/>
                <a:gd name="T14" fmla="*/ 0 w 23"/>
                <a:gd name="T15" fmla="*/ 17 h 1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17"/>
                <a:gd name="T26" fmla="*/ 23 w 2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17">
                  <a:moveTo>
                    <a:pt x="0" y="17"/>
                  </a:moveTo>
                  <a:lnTo>
                    <a:pt x="18" y="17"/>
                  </a:lnTo>
                  <a:lnTo>
                    <a:pt x="23" y="12"/>
                  </a:lnTo>
                  <a:lnTo>
                    <a:pt x="23" y="6"/>
                  </a:lnTo>
                  <a:lnTo>
                    <a:pt x="18" y="0"/>
                  </a:lnTo>
                  <a:lnTo>
                    <a:pt x="18" y="12"/>
                  </a:lnTo>
                  <a:lnTo>
                    <a:pt x="6" y="17"/>
                  </a:lnTo>
                  <a:lnTo>
                    <a:pt x="0" y="1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19" name="Freeform 10"/>
            <p:cNvSpPr>
              <a:spLocks/>
            </p:cNvSpPr>
            <p:nvPr/>
          </p:nvSpPr>
          <p:spPr bwMode="auto">
            <a:xfrm>
              <a:off x="5075" y="2497"/>
              <a:ext cx="412" cy="203"/>
            </a:xfrm>
            <a:custGeom>
              <a:avLst/>
              <a:gdLst>
                <a:gd name="T0" fmla="*/ 116 w 412"/>
                <a:gd name="T1" fmla="*/ 41 h 203"/>
                <a:gd name="T2" fmla="*/ 174 w 412"/>
                <a:gd name="T3" fmla="*/ 29 h 203"/>
                <a:gd name="T4" fmla="*/ 209 w 412"/>
                <a:gd name="T5" fmla="*/ 23 h 203"/>
                <a:gd name="T6" fmla="*/ 232 w 412"/>
                <a:gd name="T7" fmla="*/ 17 h 203"/>
                <a:gd name="T8" fmla="*/ 249 w 412"/>
                <a:gd name="T9" fmla="*/ 12 h 203"/>
                <a:gd name="T10" fmla="*/ 284 w 412"/>
                <a:gd name="T11" fmla="*/ 6 h 203"/>
                <a:gd name="T12" fmla="*/ 319 w 412"/>
                <a:gd name="T13" fmla="*/ 0 h 203"/>
                <a:gd name="T14" fmla="*/ 331 w 412"/>
                <a:gd name="T15" fmla="*/ 41 h 203"/>
                <a:gd name="T16" fmla="*/ 336 w 412"/>
                <a:gd name="T17" fmla="*/ 58 h 203"/>
                <a:gd name="T18" fmla="*/ 348 w 412"/>
                <a:gd name="T19" fmla="*/ 104 h 203"/>
                <a:gd name="T20" fmla="*/ 354 w 412"/>
                <a:gd name="T21" fmla="*/ 122 h 203"/>
                <a:gd name="T22" fmla="*/ 389 w 412"/>
                <a:gd name="T23" fmla="*/ 128 h 203"/>
                <a:gd name="T24" fmla="*/ 412 w 412"/>
                <a:gd name="T25" fmla="*/ 122 h 203"/>
                <a:gd name="T26" fmla="*/ 394 w 412"/>
                <a:gd name="T27" fmla="*/ 180 h 203"/>
                <a:gd name="T28" fmla="*/ 371 w 412"/>
                <a:gd name="T29" fmla="*/ 191 h 203"/>
                <a:gd name="T30" fmla="*/ 354 w 412"/>
                <a:gd name="T31" fmla="*/ 174 h 203"/>
                <a:gd name="T32" fmla="*/ 342 w 412"/>
                <a:gd name="T33" fmla="*/ 162 h 203"/>
                <a:gd name="T34" fmla="*/ 331 w 412"/>
                <a:gd name="T35" fmla="*/ 168 h 203"/>
                <a:gd name="T36" fmla="*/ 302 w 412"/>
                <a:gd name="T37" fmla="*/ 145 h 203"/>
                <a:gd name="T38" fmla="*/ 313 w 412"/>
                <a:gd name="T39" fmla="*/ 128 h 203"/>
                <a:gd name="T40" fmla="*/ 296 w 412"/>
                <a:gd name="T41" fmla="*/ 116 h 203"/>
                <a:gd name="T42" fmla="*/ 296 w 412"/>
                <a:gd name="T43" fmla="*/ 99 h 203"/>
                <a:gd name="T44" fmla="*/ 296 w 412"/>
                <a:gd name="T45" fmla="*/ 87 h 203"/>
                <a:gd name="T46" fmla="*/ 290 w 412"/>
                <a:gd name="T47" fmla="*/ 75 h 203"/>
                <a:gd name="T48" fmla="*/ 307 w 412"/>
                <a:gd name="T49" fmla="*/ 41 h 203"/>
                <a:gd name="T50" fmla="*/ 296 w 412"/>
                <a:gd name="T51" fmla="*/ 35 h 203"/>
                <a:gd name="T52" fmla="*/ 278 w 412"/>
                <a:gd name="T53" fmla="*/ 46 h 203"/>
                <a:gd name="T54" fmla="*/ 267 w 412"/>
                <a:gd name="T55" fmla="*/ 70 h 203"/>
                <a:gd name="T56" fmla="*/ 273 w 412"/>
                <a:gd name="T57" fmla="*/ 116 h 203"/>
                <a:gd name="T58" fmla="*/ 302 w 412"/>
                <a:gd name="T59" fmla="*/ 157 h 203"/>
                <a:gd name="T60" fmla="*/ 302 w 412"/>
                <a:gd name="T61" fmla="*/ 174 h 203"/>
                <a:gd name="T62" fmla="*/ 302 w 412"/>
                <a:gd name="T63" fmla="*/ 186 h 203"/>
                <a:gd name="T64" fmla="*/ 267 w 412"/>
                <a:gd name="T65" fmla="*/ 180 h 203"/>
                <a:gd name="T66" fmla="*/ 255 w 412"/>
                <a:gd name="T67" fmla="*/ 180 h 203"/>
                <a:gd name="T68" fmla="*/ 232 w 412"/>
                <a:gd name="T69" fmla="*/ 174 h 203"/>
                <a:gd name="T70" fmla="*/ 226 w 412"/>
                <a:gd name="T71" fmla="*/ 145 h 203"/>
                <a:gd name="T72" fmla="*/ 232 w 412"/>
                <a:gd name="T73" fmla="*/ 128 h 203"/>
                <a:gd name="T74" fmla="*/ 232 w 412"/>
                <a:gd name="T75" fmla="*/ 104 h 203"/>
                <a:gd name="T76" fmla="*/ 220 w 412"/>
                <a:gd name="T77" fmla="*/ 110 h 203"/>
                <a:gd name="T78" fmla="*/ 197 w 412"/>
                <a:gd name="T79" fmla="*/ 99 h 203"/>
                <a:gd name="T80" fmla="*/ 180 w 412"/>
                <a:gd name="T81" fmla="*/ 81 h 203"/>
                <a:gd name="T82" fmla="*/ 162 w 412"/>
                <a:gd name="T83" fmla="*/ 81 h 203"/>
                <a:gd name="T84" fmla="*/ 145 w 412"/>
                <a:gd name="T85" fmla="*/ 64 h 203"/>
                <a:gd name="T86" fmla="*/ 116 w 412"/>
                <a:gd name="T87" fmla="*/ 46 h 203"/>
                <a:gd name="T88" fmla="*/ 98 w 412"/>
                <a:gd name="T89" fmla="*/ 58 h 203"/>
                <a:gd name="T90" fmla="*/ 75 w 412"/>
                <a:gd name="T91" fmla="*/ 70 h 203"/>
                <a:gd name="T92" fmla="*/ 40 w 412"/>
                <a:gd name="T93" fmla="*/ 87 h 203"/>
                <a:gd name="T94" fmla="*/ 23 w 412"/>
                <a:gd name="T95" fmla="*/ 104 h 203"/>
                <a:gd name="T96" fmla="*/ 6 w 412"/>
                <a:gd name="T97" fmla="*/ 87 h 203"/>
                <a:gd name="T98" fmla="*/ 35 w 412"/>
                <a:gd name="T99" fmla="*/ 58 h 203"/>
                <a:gd name="T100" fmla="*/ 58 w 412"/>
                <a:gd name="T101" fmla="*/ 52 h 203"/>
                <a:gd name="T102" fmla="*/ 98 w 412"/>
                <a:gd name="T103" fmla="*/ 46 h 20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2"/>
                <a:gd name="T157" fmla="*/ 0 h 203"/>
                <a:gd name="T158" fmla="*/ 412 w 412"/>
                <a:gd name="T159" fmla="*/ 203 h 20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2" h="203">
                  <a:moveTo>
                    <a:pt x="98" y="46"/>
                  </a:moveTo>
                  <a:lnTo>
                    <a:pt x="104" y="46"/>
                  </a:lnTo>
                  <a:lnTo>
                    <a:pt x="116" y="41"/>
                  </a:lnTo>
                  <a:lnTo>
                    <a:pt x="128" y="41"/>
                  </a:lnTo>
                  <a:lnTo>
                    <a:pt x="168" y="29"/>
                  </a:lnTo>
                  <a:lnTo>
                    <a:pt x="174" y="29"/>
                  </a:lnTo>
                  <a:lnTo>
                    <a:pt x="186" y="29"/>
                  </a:lnTo>
                  <a:lnTo>
                    <a:pt x="191" y="23"/>
                  </a:lnTo>
                  <a:lnTo>
                    <a:pt x="209" y="23"/>
                  </a:lnTo>
                  <a:lnTo>
                    <a:pt x="215" y="23"/>
                  </a:lnTo>
                  <a:lnTo>
                    <a:pt x="220" y="17"/>
                  </a:lnTo>
                  <a:lnTo>
                    <a:pt x="232" y="17"/>
                  </a:lnTo>
                  <a:lnTo>
                    <a:pt x="238" y="17"/>
                  </a:lnTo>
                  <a:lnTo>
                    <a:pt x="244" y="12"/>
                  </a:lnTo>
                  <a:lnTo>
                    <a:pt x="249" y="12"/>
                  </a:lnTo>
                  <a:lnTo>
                    <a:pt x="255" y="12"/>
                  </a:lnTo>
                  <a:lnTo>
                    <a:pt x="278" y="6"/>
                  </a:lnTo>
                  <a:lnTo>
                    <a:pt x="284" y="6"/>
                  </a:lnTo>
                  <a:lnTo>
                    <a:pt x="302" y="0"/>
                  </a:lnTo>
                  <a:lnTo>
                    <a:pt x="307" y="0"/>
                  </a:lnTo>
                  <a:lnTo>
                    <a:pt x="319" y="0"/>
                  </a:lnTo>
                  <a:lnTo>
                    <a:pt x="319" y="6"/>
                  </a:lnTo>
                  <a:lnTo>
                    <a:pt x="325" y="35"/>
                  </a:lnTo>
                  <a:lnTo>
                    <a:pt x="331" y="41"/>
                  </a:lnTo>
                  <a:lnTo>
                    <a:pt x="331" y="46"/>
                  </a:lnTo>
                  <a:lnTo>
                    <a:pt x="331" y="52"/>
                  </a:lnTo>
                  <a:lnTo>
                    <a:pt x="336" y="58"/>
                  </a:lnTo>
                  <a:lnTo>
                    <a:pt x="342" y="75"/>
                  </a:lnTo>
                  <a:lnTo>
                    <a:pt x="348" y="93"/>
                  </a:lnTo>
                  <a:lnTo>
                    <a:pt x="348" y="104"/>
                  </a:lnTo>
                  <a:lnTo>
                    <a:pt x="348" y="110"/>
                  </a:lnTo>
                  <a:lnTo>
                    <a:pt x="354" y="116"/>
                  </a:lnTo>
                  <a:lnTo>
                    <a:pt x="354" y="122"/>
                  </a:lnTo>
                  <a:lnTo>
                    <a:pt x="360" y="133"/>
                  </a:lnTo>
                  <a:lnTo>
                    <a:pt x="377" y="133"/>
                  </a:lnTo>
                  <a:lnTo>
                    <a:pt x="389" y="128"/>
                  </a:lnTo>
                  <a:lnTo>
                    <a:pt x="400" y="128"/>
                  </a:lnTo>
                  <a:lnTo>
                    <a:pt x="406" y="122"/>
                  </a:lnTo>
                  <a:lnTo>
                    <a:pt x="412" y="122"/>
                  </a:lnTo>
                  <a:lnTo>
                    <a:pt x="412" y="133"/>
                  </a:lnTo>
                  <a:lnTo>
                    <a:pt x="406" y="174"/>
                  </a:lnTo>
                  <a:lnTo>
                    <a:pt x="394" y="180"/>
                  </a:lnTo>
                  <a:lnTo>
                    <a:pt x="389" y="180"/>
                  </a:lnTo>
                  <a:lnTo>
                    <a:pt x="377" y="186"/>
                  </a:lnTo>
                  <a:lnTo>
                    <a:pt x="371" y="191"/>
                  </a:lnTo>
                  <a:lnTo>
                    <a:pt x="365" y="191"/>
                  </a:lnTo>
                  <a:lnTo>
                    <a:pt x="354" y="203"/>
                  </a:lnTo>
                  <a:lnTo>
                    <a:pt x="354" y="174"/>
                  </a:lnTo>
                  <a:lnTo>
                    <a:pt x="342" y="180"/>
                  </a:lnTo>
                  <a:lnTo>
                    <a:pt x="348" y="162"/>
                  </a:lnTo>
                  <a:lnTo>
                    <a:pt x="342" y="162"/>
                  </a:lnTo>
                  <a:lnTo>
                    <a:pt x="336" y="162"/>
                  </a:lnTo>
                  <a:lnTo>
                    <a:pt x="336" y="151"/>
                  </a:lnTo>
                  <a:lnTo>
                    <a:pt x="331" y="168"/>
                  </a:lnTo>
                  <a:lnTo>
                    <a:pt x="319" y="168"/>
                  </a:lnTo>
                  <a:lnTo>
                    <a:pt x="313" y="162"/>
                  </a:lnTo>
                  <a:lnTo>
                    <a:pt x="302" y="145"/>
                  </a:lnTo>
                  <a:lnTo>
                    <a:pt x="307" y="139"/>
                  </a:lnTo>
                  <a:lnTo>
                    <a:pt x="302" y="128"/>
                  </a:lnTo>
                  <a:lnTo>
                    <a:pt x="313" y="128"/>
                  </a:lnTo>
                  <a:lnTo>
                    <a:pt x="302" y="116"/>
                  </a:lnTo>
                  <a:lnTo>
                    <a:pt x="296" y="122"/>
                  </a:lnTo>
                  <a:lnTo>
                    <a:pt x="296" y="116"/>
                  </a:lnTo>
                  <a:lnTo>
                    <a:pt x="302" y="104"/>
                  </a:lnTo>
                  <a:lnTo>
                    <a:pt x="296" y="93"/>
                  </a:lnTo>
                  <a:lnTo>
                    <a:pt x="296" y="99"/>
                  </a:lnTo>
                  <a:lnTo>
                    <a:pt x="290" y="104"/>
                  </a:lnTo>
                  <a:lnTo>
                    <a:pt x="290" y="81"/>
                  </a:lnTo>
                  <a:lnTo>
                    <a:pt x="296" y="87"/>
                  </a:lnTo>
                  <a:lnTo>
                    <a:pt x="302" y="87"/>
                  </a:lnTo>
                  <a:lnTo>
                    <a:pt x="302" y="75"/>
                  </a:lnTo>
                  <a:lnTo>
                    <a:pt x="290" y="75"/>
                  </a:lnTo>
                  <a:lnTo>
                    <a:pt x="290" y="64"/>
                  </a:lnTo>
                  <a:lnTo>
                    <a:pt x="296" y="46"/>
                  </a:lnTo>
                  <a:lnTo>
                    <a:pt x="307" y="41"/>
                  </a:lnTo>
                  <a:lnTo>
                    <a:pt x="302" y="17"/>
                  </a:lnTo>
                  <a:lnTo>
                    <a:pt x="296" y="23"/>
                  </a:lnTo>
                  <a:lnTo>
                    <a:pt x="296" y="35"/>
                  </a:lnTo>
                  <a:lnTo>
                    <a:pt x="284" y="46"/>
                  </a:lnTo>
                  <a:lnTo>
                    <a:pt x="284" y="52"/>
                  </a:lnTo>
                  <a:lnTo>
                    <a:pt x="278" y="46"/>
                  </a:lnTo>
                  <a:lnTo>
                    <a:pt x="278" y="58"/>
                  </a:lnTo>
                  <a:lnTo>
                    <a:pt x="278" y="64"/>
                  </a:lnTo>
                  <a:lnTo>
                    <a:pt x="267" y="70"/>
                  </a:lnTo>
                  <a:lnTo>
                    <a:pt x="278" y="75"/>
                  </a:lnTo>
                  <a:lnTo>
                    <a:pt x="278" y="87"/>
                  </a:lnTo>
                  <a:lnTo>
                    <a:pt x="273" y="116"/>
                  </a:lnTo>
                  <a:lnTo>
                    <a:pt x="278" y="122"/>
                  </a:lnTo>
                  <a:lnTo>
                    <a:pt x="284" y="145"/>
                  </a:lnTo>
                  <a:lnTo>
                    <a:pt x="302" y="157"/>
                  </a:lnTo>
                  <a:lnTo>
                    <a:pt x="296" y="168"/>
                  </a:lnTo>
                  <a:lnTo>
                    <a:pt x="302" y="168"/>
                  </a:lnTo>
                  <a:lnTo>
                    <a:pt x="302" y="174"/>
                  </a:lnTo>
                  <a:lnTo>
                    <a:pt x="313" y="186"/>
                  </a:lnTo>
                  <a:lnTo>
                    <a:pt x="313" y="197"/>
                  </a:lnTo>
                  <a:lnTo>
                    <a:pt x="302" y="186"/>
                  </a:lnTo>
                  <a:lnTo>
                    <a:pt x="302" y="191"/>
                  </a:lnTo>
                  <a:lnTo>
                    <a:pt x="284" y="180"/>
                  </a:lnTo>
                  <a:lnTo>
                    <a:pt x="267" y="180"/>
                  </a:lnTo>
                  <a:lnTo>
                    <a:pt x="261" y="174"/>
                  </a:lnTo>
                  <a:lnTo>
                    <a:pt x="261" y="180"/>
                  </a:lnTo>
                  <a:lnTo>
                    <a:pt x="255" y="180"/>
                  </a:lnTo>
                  <a:lnTo>
                    <a:pt x="244" y="168"/>
                  </a:lnTo>
                  <a:lnTo>
                    <a:pt x="232" y="168"/>
                  </a:lnTo>
                  <a:lnTo>
                    <a:pt x="232" y="174"/>
                  </a:lnTo>
                  <a:lnTo>
                    <a:pt x="226" y="174"/>
                  </a:lnTo>
                  <a:lnTo>
                    <a:pt x="220" y="157"/>
                  </a:lnTo>
                  <a:lnTo>
                    <a:pt x="226" y="145"/>
                  </a:lnTo>
                  <a:lnTo>
                    <a:pt x="226" y="139"/>
                  </a:lnTo>
                  <a:lnTo>
                    <a:pt x="232" y="133"/>
                  </a:lnTo>
                  <a:lnTo>
                    <a:pt x="232" y="128"/>
                  </a:lnTo>
                  <a:lnTo>
                    <a:pt x="238" y="116"/>
                  </a:lnTo>
                  <a:lnTo>
                    <a:pt x="244" y="110"/>
                  </a:lnTo>
                  <a:lnTo>
                    <a:pt x="232" y="104"/>
                  </a:lnTo>
                  <a:lnTo>
                    <a:pt x="226" y="104"/>
                  </a:lnTo>
                  <a:lnTo>
                    <a:pt x="226" y="110"/>
                  </a:lnTo>
                  <a:lnTo>
                    <a:pt x="220" y="110"/>
                  </a:lnTo>
                  <a:lnTo>
                    <a:pt x="209" y="104"/>
                  </a:lnTo>
                  <a:lnTo>
                    <a:pt x="203" y="99"/>
                  </a:lnTo>
                  <a:lnTo>
                    <a:pt x="197" y="99"/>
                  </a:lnTo>
                  <a:lnTo>
                    <a:pt x="180" y="99"/>
                  </a:lnTo>
                  <a:lnTo>
                    <a:pt x="186" y="87"/>
                  </a:lnTo>
                  <a:lnTo>
                    <a:pt x="180" y="81"/>
                  </a:lnTo>
                  <a:lnTo>
                    <a:pt x="168" y="81"/>
                  </a:lnTo>
                  <a:lnTo>
                    <a:pt x="162" y="75"/>
                  </a:lnTo>
                  <a:lnTo>
                    <a:pt x="162" y="81"/>
                  </a:lnTo>
                  <a:lnTo>
                    <a:pt x="157" y="75"/>
                  </a:lnTo>
                  <a:lnTo>
                    <a:pt x="157" y="70"/>
                  </a:lnTo>
                  <a:lnTo>
                    <a:pt x="145" y="64"/>
                  </a:lnTo>
                  <a:lnTo>
                    <a:pt x="139" y="46"/>
                  </a:lnTo>
                  <a:lnTo>
                    <a:pt x="128" y="52"/>
                  </a:lnTo>
                  <a:lnTo>
                    <a:pt x="116" y="46"/>
                  </a:lnTo>
                  <a:lnTo>
                    <a:pt x="104" y="52"/>
                  </a:lnTo>
                  <a:lnTo>
                    <a:pt x="98" y="52"/>
                  </a:lnTo>
                  <a:lnTo>
                    <a:pt x="98" y="58"/>
                  </a:lnTo>
                  <a:lnTo>
                    <a:pt x="93" y="70"/>
                  </a:lnTo>
                  <a:lnTo>
                    <a:pt x="87" y="70"/>
                  </a:lnTo>
                  <a:lnTo>
                    <a:pt x="75" y="70"/>
                  </a:lnTo>
                  <a:lnTo>
                    <a:pt x="58" y="64"/>
                  </a:lnTo>
                  <a:lnTo>
                    <a:pt x="46" y="87"/>
                  </a:lnTo>
                  <a:lnTo>
                    <a:pt x="40" y="87"/>
                  </a:lnTo>
                  <a:lnTo>
                    <a:pt x="29" y="99"/>
                  </a:lnTo>
                  <a:lnTo>
                    <a:pt x="29" y="104"/>
                  </a:lnTo>
                  <a:lnTo>
                    <a:pt x="23" y="104"/>
                  </a:lnTo>
                  <a:lnTo>
                    <a:pt x="17" y="116"/>
                  </a:lnTo>
                  <a:lnTo>
                    <a:pt x="11" y="122"/>
                  </a:lnTo>
                  <a:lnTo>
                    <a:pt x="6" y="87"/>
                  </a:lnTo>
                  <a:lnTo>
                    <a:pt x="0" y="64"/>
                  </a:lnTo>
                  <a:lnTo>
                    <a:pt x="6" y="64"/>
                  </a:lnTo>
                  <a:lnTo>
                    <a:pt x="35" y="58"/>
                  </a:lnTo>
                  <a:lnTo>
                    <a:pt x="46" y="58"/>
                  </a:lnTo>
                  <a:lnTo>
                    <a:pt x="52" y="52"/>
                  </a:lnTo>
                  <a:lnTo>
                    <a:pt x="58" y="52"/>
                  </a:lnTo>
                  <a:lnTo>
                    <a:pt x="81" y="46"/>
                  </a:lnTo>
                  <a:lnTo>
                    <a:pt x="93" y="46"/>
                  </a:lnTo>
                  <a:lnTo>
                    <a:pt x="98" y="4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0" name="Freeform 11"/>
            <p:cNvSpPr>
              <a:spLocks/>
            </p:cNvSpPr>
            <p:nvPr/>
          </p:nvSpPr>
          <p:spPr bwMode="auto">
            <a:xfrm>
              <a:off x="5615" y="1488"/>
              <a:ext cx="330" cy="528"/>
            </a:xfrm>
            <a:custGeom>
              <a:avLst/>
              <a:gdLst>
                <a:gd name="T0" fmla="*/ 46 w 330"/>
                <a:gd name="T1" fmla="*/ 429 h 528"/>
                <a:gd name="T2" fmla="*/ 34 w 330"/>
                <a:gd name="T3" fmla="*/ 400 h 528"/>
                <a:gd name="T4" fmla="*/ 0 w 330"/>
                <a:gd name="T5" fmla="*/ 301 h 528"/>
                <a:gd name="T6" fmla="*/ 0 w 330"/>
                <a:gd name="T7" fmla="*/ 284 h 528"/>
                <a:gd name="T8" fmla="*/ 17 w 330"/>
                <a:gd name="T9" fmla="*/ 290 h 528"/>
                <a:gd name="T10" fmla="*/ 29 w 330"/>
                <a:gd name="T11" fmla="*/ 272 h 528"/>
                <a:gd name="T12" fmla="*/ 29 w 330"/>
                <a:gd name="T13" fmla="*/ 237 h 528"/>
                <a:gd name="T14" fmla="*/ 40 w 330"/>
                <a:gd name="T15" fmla="*/ 203 h 528"/>
                <a:gd name="T16" fmla="*/ 34 w 330"/>
                <a:gd name="T17" fmla="*/ 179 h 528"/>
                <a:gd name="T18" fmla="*/ 40 w 330"/>
                <a:gd name="T19" fmla="*/ 145 h 528"/>
                <a:gd name="T20" fmla="*/ 34 w 330"/>
                <a:gd name="T21" fmla="*/ 116 h 528"/>
                <a:gd name="T22" fmla="*/ 81 w 330"/>
                <a:gd name="T23" fmla="*/ 29 h 528"/>
                <a:gd name="T24" fmla="*/ 121 w 330"/>
                <a:gd name="T25" fmla="*/ 23 h 528"/>
                <a:gd name="T26" fmla="*/ 139 w 330"/>
                <a:gd name="T27" fmla="*/ 0 h 528"/>
                <a:gd name="T28" fmla="*/ 179 w 330"/>
                <a:gd name="T29" fmla="*/ 17 h 528"/>
                <a:gd name="T30" fmla="*/ 238 w 330"/>
                <a:gd name="T31" fmla="*/ 168 h 528"/>
                <a:gd name="T32" fmla="*/ 267 w 330"/>
                <a:gd name="T33" fmla="*/ 168 h 528"/>
                <a:gd name="T34" fmla="*/ 290 w 330"/>
                <a:gd name="T35" fmla="*/ 220 h 528"/>
                <a:gd name="T36" fmla="*/ 290 w 330"/>
                <a:gd name="T37" fmla="*/ 208 h 528"/>
                <a:gd name="T38" fmla="*/ 325 w 330"/>
                <a:gd name="T39" fmla="*/ 232 h 528"/>
                <a:gd name="T40" fmla="*/ 319 w 330"/>
                <a:gd name="T41" fmla="*/ 272 h 528"/>
                <a:gd name="T42" fmla="*/ 319 w 330"/>
                <a:gd name="T43" fmla="*/ 272 h 528"/>
                <a:gd name="T44" fmla="*/ 307 w 330"/>
                <a:gd name="T45" fmla="*/ 272 h 528"/>
                <a:gd name="T46" fmla="*/ 301 w 330"/>
                <a:gd name="T47" fmla="*/ 284 h 528"/>
                <a:gd name="T48" fmla="*/ 296 w 330"/>
                <a:gd name="T49" fmla="*/ 301 h 528"/>
                <a:gd name="T50" fmla="*/ 278 w 330"/>
                <a:gd name="T51" fmla="*/ 295 h 528"/>
                <a:gd name="T52" fmla="*/ 272 w 330"/>
                <a:gd name="T53" fmla="*/ 313 h 528"/>
                <a:gd name="T54" fmla="*/ 267 w 330"/>
                <a:gd name="T55" fmla="*/ 324 h 528"/>
                <a:gd name="T56" fmla="*/ 243 w 330"/>
                <a:gd name="T57" fmla="*/ 342 h 528"/>
                <a:gd name="T58" fmla="*/ 232 w 330"/>
                <a:gd name="T59" fmla="*/ 336 h 528"/>
                <a:gd name="T60" fmla="*/ 209 w 330"/>
                <a:gd name="T61" fmla="*/ 342 h 528"/>
                <a:gd name="T62" fmla="*/ 197 w 330"/>
                <a:gd name="T63" fmla="*/ 330 h 528"/>
                <a:gd name="T64" fmla="*/ 191 w 330"/>
                <a:gd name="T65" fmla="*/ 359 h 528"/>
                <a:gd name="T66" fmla="*/ 197 w 330"/>
                <a:gd name="T67" fmla="*/ 382 h 528"/>
                <a:gd name="T68" fmla="*/ 174 w 330"/>
                <a:gd name="T69" fmla="*/ 406 h 528"/>
                <a:gd name="T70" fmla="*/ 162 w 330"/>
                <a:gd name="T71" fmla="*/ 417 h 528"/>
                <a:gd name="T72" fmla="*/ 150 w 330"/>
                <a:gd name="T73" fmla="*/ 429 h 528"/>
                <a:gd name="T74" fmla="*/ 139 w 330"/>
                <a:gd name="T75" fmla="*/ 435 h 528"/>
                <a:gd name="T76" fmla="*/ 133 w 330"/>
                <a:gd name="T77" fmla="*/ 440 h 528"/>
                <a:gd name="T78" fmla="*/ 121 w 330"/>
                <a:gd name="T79" fmla="*/ 452 h 528"/>
                <a:gd name="T80" fmla="*/ 121 w 330"/>
                <a:gd name="T81" fmla="*/ 464 h 528"/>
                <a:gd name="T82" fmla="*/ 110 w 330"/>
                <a:gd name="T83" fmla="*/ 469 h 528"/>
                <a:gd name="T84" fmla="*/ 116 w 330"/>
                <a:gd name="T85" fmla="*/ 475 h 528"/>
                <a:gd name="T86" fmla="*/ 104 w 330"/>
                <a:gd name="T87" fmla="*/ 510 h 528"/>
                <a:gd name="T88" fmla="*/ 92 w 330"/>
                <a:gd name="T89" fmla="*/ 528 h 528"/>
                <a:gd name="T90" fmla="*/ 81 w 330"/>
                <a:gd name="T91" fmla="*/ 510 h 528"/>
                <a:gd name="T92" fmla="*/ 63 w 330"/>
                <a:gd name="T93" fmla="*/ 481 h 528"/>
                <a:gd name="T94" fmla="*/ 52 w 330"/>
                <a:gd name="T95" fmla="*/ 452 h 5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0"/>
                <a:gd name="T145" fmla="*/ 0 h 528"/>
                <a:gd name="T146" fmla="*/ 330 w 330"/>
                <a:gd name="T147" fmla="*/ 528 h 5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0" h="528">
                  <a:moveTo>
                    <a:pt x="52" y="452"/>
                  </a:moveTo>
                  <a:lnTo>
                    <a:pt x="46" y="429"/>
                  </a:lnTo>
                  <a:lnTo>
                    <a:pt x="34" y="406"/>
                  </a:lnTo>
                  <a:lnTo>
                    <a:pt x="34" y="400"/>
                  </a:lnTo>
                  <a:lnTo>
                    <a:pt x="17" y="348"/>
                  </a:lnTo>
                  <a:lnTo>
                    <a:pt x="0" y="301"/>
                  </a:lnTo>
                  <a:lnTo>
                    <a:pt x="0" y="295"/>
                  </a:lnTo>
                  <a:lnTo>
                    <a:pt x="0" y="284"/>
                  </a:lnTo>
                  <a:lnTo>
                    <a:pt x="17" y="295"/>
                  </a:lnTo>
                  <a:lnTo>
                    <a:pt x="17" y="290"/>
                  </a:lnTo>
                  <a:lnTo>
                    <a:pt x="17" y="272"/>
                  </a:lnTo>
                  <a:lnTo>
                    <a:pt x="29" y="272"/>
                  </a:lnTo>
                  <a:lnTo>
                    <a:pt x="23" y="249"/>
                  </a:lnTo>
                  <a:lnTo>
                    <a:pt x="29" y="237"/>
                  </a:lnTo>
                  <a:lnTo>
                    <a:pt x="34" y="226"/>
                  </a:lnTo>
                  <a:lnTo>
                    <a:pt x="40" y="203"/>
                  </a:lnTo>
                  <a:lnTo>
                    <a:pt x="34" y="197"/>
                  </a:lnTo>
                  <a:lnTo>
                    <a:pt x="34" y="179"/>
                  </a:lnTo>
                  <a:lnTo>
                    <a:pt x="29" y="168"/>
                  </a:lnTo>
                  <a:lnTo>
                    <a:pt x="40" y="145"/>
                  </a:lnTo>
                  <a:lnTo>
                    <a:pt x="34" y="127"/>
                  </a:lnTo>
                  <a:lnTo>
                    <a:pt x="34" y="116"/>
                  </a:lnTo>
                  <a:lnTo>
                    <a:pt x="63" y="11"/>
                  </a:lnTo>
                  <a:lnTo>
                    <a:pt x="81" y="29"/>
                  </a:lnTo>
                  <a:lnTo>
                    <a:pt x="92" y="34"/>
                  </a:lnTo>
                  <a:lnTo>
                    <a:pt x="121" y="23"/>
                  </a:lnTo>
                  <a:lnTo>
                    <a:pt x="133" y="0"/>
                  </a:lnTo>
                  <a:lnTo>
                    <a:pt x="139" y="0"/>
                  </a:lnTo>
                  <a:lnTo>
                    <a:pt x="168" y="11"/>
                  </a:lnTo>
                  <a:lnTo>
                    <a:pt x="179" y="17"/>
                  </a:lnTo>
                  <a:lnTo>
                    <a:pt x="185" y="17"/>
                  </a:lnTo>
                  <a:lnTo>
                    <a:pt x="238" y="168"/>
                  </a:lnTo>
                  <a:lnTo>
                    <a:pt x="261" y="174"/>
                  </a:lnTo>
                  <a:lnTo>
                    <a:pt x="267" y="168"/>
                  </a:lnTo>
                  <a:lnTo>
                    <a:pt x="278" y="208"/>
                  </a:lnTo>
                  <a:lnTo>
                    <a:pt x="290" y="220"/>
                  </a:lnTo>
                  <a:lnTo>
                    <a:pt x="290" y="214"/>
                  </a:lnTo>
                  <a:lnTo>
                    <a:pt x="290" y="208"/>
                  </a:lnTo>
                  <a:lnTo>
                    <a:pt x="307" y="214"/>
                  </a:lnTo>
                  <a:lnTo>
                    <a:pt x="325" y="232"/>
                  </a:lnTo>
                  <a:lnTo>
                    <a:pt x="330" y="243"/>
                  </a:lnTo>
                  <a:lnTo>
                    <a:pt x="319" y="272"/>
                  </a:lnTo>
                  <a:lnTo>
                    <a:pt x="313" y="272"/>
                  </a:lnTo>
                  <a:lnTo>
                    <a:pt x="319" y="272"/>
                  </a:lnTo>
                  <a:lnTo>
                    <a:pt x="313" y="272"/>
                  </a:lnTo>
                  <a:lnTo>
                    <a:pt x="307" y="272"/>
                  </a:lnTo>
                  <a:lnTo>
                    <a:pt x="307" y="278"/>
                  </a:lnTo>
                  <a:lnTo>
                    <a:pt x="301" y="284"/>
                  </a:lnTo>
                  <a:lnTo>
                    <a:pt x="301" y="290"/>
                  </a:lnTo>
                  <a:lnTo>
                    <a:pt x="296" y="301"/>
                  </a:lnTo>
                  <a:lnTo>
                    <a:pt x="296" y="295"/>
                  </a:lnTo>
                  <a:lnTo>
                    <a:pt x="278" y="295"/>
                  </a:lnTo>
                  <a:lnTo>
                    <a:pt x="278" y="313"/>
                  </a:lnTo>
                  <a:lnTo>
                    <a:pt x="272" y="313"/>
                  </a:lnTo>
                  <a:lnTo>
                    <a:pt x="267" y="313"/>
                  </a:lnTo>
                  <a:lnTo>
                    <a:pt x="267" y="324"/>
                  </a:lnTo>
                  <a:lnTo>
                    <a:pt x="255" y="336"/>
                  </a:lnTo>
                  <a:lnTo>
                    <a:pt x="243" y="342"/>
                  </a:lnTo>
                  <a:lnTo>
                    <a:pt x="226" y="324"/>
                  </a:lnTo>
                  <a:lnTo>
                    <a:pt x="232" y="336"/>
                  </a:lnTo>
                  <a:lnTo>
                    <a:pt x="220" y="365"/>
                  </a:lnTo>
                  <a:lnTo>
                    <a:pt x="209" y="342"/>
                  </a:lnTo>
                  <a:lnTo>
                    <a:pt x="203" y="324"/>
                  </a:lnTo>
                  <a:lnTo>
                    <a:pt x="197" y="330"/>
                  </a:lnTo>
                  <a:lnTo>
                    <a:pt x="191" y="342"/>
                  </a:lnTo>
                  <a:lnTo>
                    <a:pt x="191" y="359"/>
                  </a:lnTo>
                  <a:lnTo>
                    <a:pt x="191" y="371"/>
                  </a:lnTo>
                  <a:lnTo>
                    <a:pt x="197" y="382"/>
                  </a:lnTo>
                  <a:lnTo>
                    <a:pt x="179" y="406"/>
                  </a:lnTo>
                  <a:lnTo>
                    <a:pt x="174" y="406"/>
                  </a:lnTo>
                  <a:lnTo>
                    <a:pt x="168" y="411"/>
                  </a:lnTo>
                  <a:lnTo>
                    <a:pt x="162" y="417"/>
                  </a:lnTo>
                  <a:lnTo>
                    <a:pt x="156" y="417"/>
                  </a:lnTo>
                  <a:lnTo>
                    <a:pt x="150" y="429"/>
                  </a:lnTo>
                  <a:lnTo>
                    <a:pt x="150" y="435"/>
                  </a:lnTo>
                  <a:lnTo>
                    <a:pt x="139" y="435"/>
                  </a:lnTo>
                  <a:lnTo>
                    <a:pt x="139" y="429"/>
                  </a:lnTo>
                  <a:lnTo>
                    <a:pt x="133" y="440"/>
                  </a:lnTo>
                  <a:lnTo>
                    <a:pt x="121" y="446"/>
                  </a:lnTo>
                  <a:lnTo>
                    <a:pt x="121" y="452"/>
                  </a:lnTo>
                  <a:lnTo>
                    <a:pt x="121" y="458"/>
                  </a:lnTo>
                  <a:lnTo>
                    <a:pt x="121" y="464"/>
                  </a:lnTo>
                  <a:lnTo>
                    <a:pt x="116" y="464"/>
                  </a:lnTo>
                  <a:lnTo>
                    <a:pt x="110" y="469"/>
                  </a:lnTo>
                  <a:lnTo>
                    <a:pt x="110" y="475"/>
                  </a:lnTo>
                  <a:lnTo>
                    <a:pt x="116" y="475"/>
                  </a:lnTo>
                  <a:lnTo>
                    <a:pt x="104" y="504"/>
                  </a:lnTo>
                  <a:lnTo>
                    <a:pt x="104" y="510"/>
                  </a:lnTo>
                  <a:lnTo>
                    <a:pt x="98" y="528"/>
                  </a:lnTo>
                  <a:lnTo>
                    <a:pt x="92" y="528"/>
                  </a:lnTo>
                  <a:lnTo>
                    <a:pt x="87" y="522"/>
                  </a:lnTo>
                  <a:lnTo>
                    <a:pt x="81" y="510"/>
                  </a:lnTo>
                  <a:lnTo>
                    <a:pt x="69" y="504"/>
                  </a:lnTo>
                  <a:lnTo>
                    <a:pt x="63" y="481"/>
                  </a:lnTo>
                  <a:lnTo>
                    <a:pt x="52" y="458"/>
                  </a:lnTo>
                  <a:lnTo>
                    <a:pt x="52" y="45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1" name="Freeform 12"/>
            <p:cNvSpPr>
              <a:spLocks/>
            </p:cNvSpPr>
            <p:nvPr/>
          </p:nvSpPr>
          <p:spPr bwMode="auto">
            <a:xfrm>
              <a:off x="5853" y="1836"/>
              <a:ext cx="11" cy="11"/>
            </a:xfrm>
            <a:custGeom>
              <a:avLst/>
              <a:gdLst>
                <a:gd name="T0" fmla="*/ 0 w 11"/>
                <a:gd name="T1" fmla="*/ 11 h 11"/>
                <a:gd name="T2" fmla="*/ 11 w 11"/>
                <a:gd name="T3" fmla="*/ 5 h 11"/>
                <a:gd name="T4" fmla="*/ 5 w 11"/>
                <a:gd name="T5" fmla="*/ 0 h 11"/>
                <a:gd name="T6" fmla="*/ 0 w 11"/>
                <a:gd name="T7" fmla="*/ 5 h 11"/>
                <a:gd name="T8" fmla="*/ 0 w 11"/>
                <a:gd name="T9" fmla="*/ 11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11"/>
                  </a:moveTo>
                  <a:lnTo>
                    <a:pt x="11" y="5"/>
                  </a:lnTo>
                  <a:lnTo>
                    <a:pt x="5" y="0"/>
                  </a:lnTo>
                  <a:lnTo>
                    <a:pt x="0" y="5"/>
                  </a:lnTo>
                  <a:lnTo>
                    <a:pt x="0" y="1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2" name="Freeform 13"/>
            <p:cNvSpPr>
              <a:spLocks/>
            </p:cNvSpPr>
            <p:nvPr/>
          </p:nvSpPr>
          <p:spPr bwMode="auto">
            <a:xfrm>
              <a:off x="5562" y="1778"/>
              <a:ext cx="151" cy="313"/>
            </a:xfrm>
            <a:custGeom>
              <a:avLst/>
              <a:gdLst>
                <a:gd name="T0" fmla="*/ 6 w 151"/>
                <a:gd name="T1" fmla="*/ 214 h 313"/>
                <a:gd name="T2" fmla="*/ 6 w 151"/>
                <a:gd name="T3" fmla="*/ 197 h 313"/>
                <a:gd name="T4" fmla="*/ 12 w 151"/>
                <a:gd name="T5" fmla="*/ 191 h 313"/>
                <a:gd name="T6" fmla="*/ 12 w 151"/>
                <a:gd name="T7" fmla="*/ 168 h 313"/>
                <a:gd name="T8" fmla="*/ 12 w 151"/>
                <a:gd name="T9" fmla="*/ 150 h 313"/>
                <a:gd name="T10" fmla="*/ 6 w 151"/>
                <a:gd name="T11" fmla="*/ 139 h 313"/>
                <a:gd name="T12" fmla="*/ 12 w 151"/>
                <a:gd name="T13" fmla="*/ 127 h 313"/>
                <a:gd name="T14" fmla="*/ 24 w 151"/>
                <a:gd name="T15" fmla="*/ 121 h 313"/>
                <a:gd name="T16" fmla="*/ 24 w 151"/>
                <a:gd name="T17" fmla="*/ 116 h 313"/>
                <a:gd name="T18" fmla="*/ 35 w 151"/>
                <a:gd name="T19" fmla="*/ 98 h 313"/>
                <a:gd name="T20" fmla="*/ 24 w 151"/>
                <a:gd name="T21" fmla="*/ 75 h 313"/>
                <a:gd name="T22" fmla="*/ 29 w 151"/>
                <a:gd name="T23" fmla="*/ 52 h 313"/>
                <a:gd name="T24" fmla="*/ 29 w 151"/>
                <a:gd name="T25" fmla="*/ 40 h 313"/>
                <a:gd name="T26" fmla="*/ 24 w 151"/>
                <a:gd name="T27" fmla="*/ 17 h 313"/>
                <a:gd name="T28" fmla="*/ 41 w 151"/>
                <a:gd name="T29" fmla="*/ 5 h 313"/>
                <a:gd name="T30" fmla="*/ 41 w 151"/>
                <a:gd name="T31" fmla="*/ 11 h 313"/>
                <a:gd name="T32" fmla="*/ 47 w 151"/>
                <a:gd name="T33" fmla="*/ 5 h 313"/>
                <a:gd name="T34" fmla="*/ 47 w 151"/>
                <a:gd name="T35" fmla="*/ 0 h 313"/>
                <a:gd name="T36" fmla="*/ 53 w 151"/>
                <a:gd name="T37" fmla="*/ 5 h 313"/>
                <a:gd name="T38" fmla="*/ 53 w 151"/>
                <a:gd name="T39" fmla="*/ 11 h 313"/>
                <a:gd name="T40" fmla="*/ 70 w 151"/>
                <a:gd name="T41" fmla="*/ 58 h 313"/>
                <a:gd name="T42" fmla="*/ 87 w 151"/>
                <a:gd name="T43" fmla="*/ 110 h 313"/>
                <a:gd name="T44" fmla="*/ 87 w 151"/>
                <a:gd name="T45" fmla="*/ 116 h 313"/>
                <a:gd name="T46" fmla="*/ 99 w 151"/>
                <a:gd name="T47" fmla="*/ 139 h 313"/>
                <a:gd name="T48" fmla="*/ 105 w 151"/>
                <a:gd name="T49" fmla="*/ 162 h 313"/>
                <a:gd name="T50" fmla="*/ 105 w 151"/>
                <a:gd name="T51" fmla="*/ 168 h 313"/>
                <a:gd name="T52" fmla="*/ 116 w 151"/>
                <a:gd name="T53" fmla="*/ 191 h 313"/>
                <a:gd name="T54" fmla="*/ 122 w 151"/>
                <a:gd name="T55" fmla="*/ 214 h 313"/>
                <a:gd name="T56" fmla="*/ 134 w 151"/>
                <a:gd name="T57" fmla="*/ 220 h 313"/>
                <a:gd name="T58" fmla="*/ 140 w 151"/>
                <a:gd name="T59" fmla="*/ 232 h 313"/>
                <a:gd name="T60" fmla="*/ 145 w 151"/>
                <a:gd name="T61" fmla="*/ 238 h 313"/>
                <a:gd name="T62" fmla="*/ 151 w 151"/>
                <a:gd name="T63" fmla="*/ 238 h 313"/>
                <a:gd name="T64" fmla="*/ 151 w 151"/>
                <a:gd name="T65" fmla="*/ 255 h 313"/>
                <a:gd name="T66" fmla="*/ 151 w 151"/>
                <a:gd name="T67" fmla="*/ 261 h 313"/>
                <a:gd name="T68" fmla="*/ 134 w 151"/>
                <a:gd name="T69" fmla="*/ 267 h 313"/>
                <a:gd name="T70" fmla="*/ 134 w 151"/>
                <a:gd name="T71" fmla="*/ 272 h 313"/>
                <a:gd name="T72" fmla="*/ 116 w 151"/>
                <a:gd name="T73" fmla="*/ 284 h 313"/>
                <a:gd name="T74" fmla="*/ 116 w 151"/>
                <a:gd name="T75" fmla="*/ 290 h 313"/>
                <a:gd name="T76" fmla="*/ 70 w 151"/>
                <a:gd name="T77" fmla="*/ 301 h 313"/>
                <a:gd name="T78" fmla="*/ 64 w 151"/>
                <a:gd name="T79" fmla="*/ 301 h 313"/>
                <a:gd name="T80" fmla="*/ 64 w 151"/>
                <a:gd name="T81" fmla="*/ 307 h 313"/>
                <a:gd name="T82" fmla="*/ 53 w 151"/>
                <a:gd name="T83" fmla="*/ 307 h 313"/>
                <a:gd name="T84" fmla="*/ 35 w 151"/>
                <a:gd name="T85" fmla="*/ 313 h 313"/>
                <a:gd name="T86" fmla="*/ 29 w 151"/>
                <a:gd name="T87" fmla="*/ 313 h 313"/>
                <a:gd name="T88" fmla="*/ 24 w 151"/>
                <a:gd name="T89" fmla="*/ 313 h 313"/>
                <a:gd name="T90" fmla="*/ 6 w 151"/>
                <a:gd name="T91" fmla="*/ 290 h 313"/>
                <a:gd name="T92" fmla="*/ 12 w 151"/>
                <a:gd name="T93" fmla="*/ 284 h 313"/>
                <a:gd name="T94" fmla="*/ 12 w 151"/>
                <a:gd name="T95" fmla="*/ 267 h 313"/>
                <a:gd name="T96" fmla="*/ 6 w 151"/>
                <a:gd name="T97" fmla="*/ 261 h 313"/>
                <a:gd name="T98" fmla="*/ 6 w 151"/>
                <a:gd name="T99" fmla="*/ 226 h 313"/>
                <a:gd name="T100" fmla="*/ 0 w 151"/>
                <a:gd name="T101" fmla="*/ 220 h 313"/>
                <a:gd name="T102" fmla="*/ 6 w 151"/>
                <a:gd name="T103" fmla="*/ 214 h 31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1"/>
                <a:gd name="T157" fmla="*/ 0 h 313"/>
                <a:gd name="T158" fmla="*/ 151 w 151"/>
                <a:gd name="T159" fmla="*/ 313 h 31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1" h="313">
                  <a:moveTo>
                    <a:pt x="6" y="214"/>
                  </a:moveTo>
                  <a:lnTo>
                    <a:pt x="6" y="197"/>
                  </a:lnTo>
                  <a:lnTo>
                    <a:pt x="12" y="191"/>
                  </a:lnTo>
                  <a:lnTo>
                    <a:pt x="12" y="168"/>
                  </a:lnTo>
                  <a:lnTo>
                    <a:pt x="12" y="150"/>
                  </a:lnTo>
                  <a:lnTo>
                    <a:pt x="6" y="139"/>
                  </a:lnTo>
                  <a:lnTo>
                    <a:pt x="12" y="127"/>
                  </a:lnTo>
                  <a:lnTo>
                    <a:pt x="24" y="121"/>
                  </a:lnTo>
                  <a:lnTo>
                    <a:pt x="24" y="116"/>
                  </a:lnTo>
                  <a:lnTo>
                    <a:pt x="35" y="98"/>
                  </a:lnTo>
                  <a:lnTo>
                    <a:pt x="24" y="75"/>
                  </a:lnTo>
                  <a:lnTo>
                    <a:pt x="29" y="52"/>
                  </a:lnTo>
                  <a:lnTo>
                    <a:pt x="29" y="40"/>
                  </a:lnTo>
                  <a:lnTo>
                    <a:pt x="24" y="17"/>
                  </a:lnTo>
                  <a:lnTo>
                    <a:pt x="41" y="5"/>
                  </a:lnTo>
                  <a:lnTo>
                    <a:pt x="41" y="11"/>
                  </a:lnTo>
                  <a:lnTo>
                    <a:pt x="47" y="5"/>
                  </a:lnTo>
                  <a:lnTo>
                    <a:pt x="47" y="0"/>
                  </a:lnTo>
                  <a:lnTo>
                    <a:pt x="53" y="5"/>
                  </a:lnTo>
                  <a:lnTo>
                    <a:pt x="53" y="11"/>
                  </a:lnTo>
                  <a:lnTo>
                    <a:pt x="70" y="58"/>
                  </a:lnTo>
                  <a:lnTo>
                    <a:pt x="87" y="110"/>
                  </a:lnTo>
                  <a:lnTo>
                    <a:pt x="87" y="116"/>
                  </a:lnTo>
                  <a:lnTo>
                    <a:pt x="99" y="139"/>
                  </a:lnTo>
                  <a:lnTo>
                    <a:pt x="105" y="162"/>
                  </a:lnTo>
                  <a:lnTo>
                    <a:pt x="105" y="168"/>
                  </a:lnTo>
                  <a:lnTo>
                    <a:pt x="116" y="191"/>
                  </a:lnTo>
                  <a:lnTo>
                    <a:pt x="122" y="214"/>
                  </a:lnTo>
                  <a:lnTo>
                    <a:pt x="134" y="220"/>
                  </a:lnTo>
                  <a:lnTo>
                    <a:pt x="140" y="232"/>
                  </a:lnTo>
                  <a:lnTo>
                    <a:pt x="145" y="238"/>
                  </a:lnTo>
                  <a:lnTo>
                    <a:pt x="151" y="238"/>
                  </a:lnTo>
                  <a:lnTo>
                    <a:pt x="151" y="255"/>
                  </a:lnTo>
                  <a:lnTo>
                    <a:pt x="151" y="261"/>
                  </a:lnTo>
                  <a:lnTo>
                    <a:pt x="134" y="267"/>
                  </a:lnTo>
                  <a:lnTo>
                    <a:pt x="134" y="272"/>
                  </a:lnTo>
                  <a:lnTo>
                    <a:pt x="116" y="284"/>
                  </a:lnTo>
                  <a:lnTo>
                    <a:pt x="116" y="290"/>
                  </a:lnTo>
                  <a:lnTo>
                    <a:pt x="70" y="301"/>
                  </a:lnTo>
                  <a:lnTo>
                    <a:pt x="64" y="301"/>
                  </a:lnTo>
                  <a:lnTo>
                    <a:pt x="64" y="307"/>
                  </a:lnTo>
                  <a:lnTo>
                    <a:pt x="53" y="307"/>
                  </a:lnTo>
                  <a:lnTo>
                    <a:pt x="35" y="313"/>
                  </a:lnTo>
                  <a:lnTo>
                    <a:pt x="29" y="313"/>
                  </a:lnTo>
                  <a:lnTo>
                    <a:pt x="24" y="313"/>
                  </a:lnTo>
                  <a:lnTo>
                    <a:pt x="6" y="290"/>
                  </a:lnTo>
                  <a:lnTo>
                    <a:pt x="12" y="284"/>
                  </a:lnTo>
                  <a:lnTo>
                    <a:pt x="12" y="267"/>
                  </a:lnTo>
                  <a:lnTo>
                    <a:pt x="6" y="261"/>
                  </a:lnTo>
                  <a:lnTo>
                    <a:pt x="6" y="226"/>
                  </a:lnTo>
                  <a:lnTo>
                    <a:pt x="0" y="220"/>
                  </a:lnTo>
                  <a:lnTo>
                    <a:pt x="6" y="21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3" name="Freeform 14"/>
            <p:cNvSpPr>
              <a:spLocks/>
            </p:cNvSpPr>
            <p:nvPr/>
          </p:nvSpPr>
          <p:spPr bwMode="auto">
            <a:xfrm>
              <a:off x="5411" y="2288"/>
              <a:ext cx="122" cy="279"/>
            </a:xfrm>
            <a:custGeom>
              <a:avLst/>
              <a:gdLst>
                <a:gd name="T0" fmla="*/ 117 w 122"/>
                <a:gd name="T1" fmla="*/ 197 h 279"/>
                <a:gd name="T2" fmla="*/ 122 w 122"/>
                <a:gd name="T3" fmla="*/ 128 h 279"/>
                <a:gd name="T4" fmla="*/ 111 w 122"/>
                <a:gd name="T5" fmla="*/ 87 h 279"/>
                <a:gd name="T6" fmla="*/ 99 w 122"/>
                <a:gd name="T7" fmla="*/ 93 h 279"/>
                <a:gd name="T8" fmla="*/ 87 w 122"/>
                <a:gd name="T9" fmla="*/ 87 h 279"/>
                <a:gd name="T10" fmla="*/ 93 w 122"/>
                <a:gd name="T11" fmla="*/ 76 h 279"/>
                <a:gd name="T12" fmla="*/ 93 w 122"/>
                <a:gd name="T13" fmla="*/ 70 h 279"/>
                <a:gd name="T14" fmla="*/ 105 w 122"/>
                <a:gd name="T15" fmla="*/ 64 h 279"/>
                <a:gd name="T16" fmla="*/ 105 w 122"/>
                <a:gd name="T17" fmla="*/ 52 h 279"/>
                <a:gd name="T18" fmla="*/ 105 w 122"/>
                <a:gd name="T19" fmla="*/ 35 h 279"/>
                <a:gd name="T20" fmla="*/ 105 w 122"/>
                <a:gd name="T21" fmla="*/ 23 h 279"/>
                <a:gd name="T22" fmla="*/ 76 w 122"/>
                <a:gd name="T23" fmla="*/ 18 h 279"/>
                <a:gd name="T24" fmla="*/ 64 w 122"/>
                <a:gd name="T25" fmla="*/ 12 h 279"/>
                <a:gd name="T26" fmla="*/ 53 w 122"/>
                <a:gd name="T27" fmla="*/ 12 h 279"/>
                <a:gd name="T28" fmla="*/ 29 w 122"/>
                <a:gd name="T29" fmla="*/ 0 h 279"/>
                <a:gd name="T30" fmla="*/ 18 w 122"/>
                <a:gd name="T31" fmla="*/ 18 h 279"/>
                <a:gd name="T32" fmla="*/ 12 w 122"/>
                <a:gd name="T33" fmla="*/ 41 h 279"/>
                <a:gd name="T34" fmla="*/ 12 w 122"/>
                <a:gd name="T35" fmla="*/ 41 h 279"/>
                <a:gd name="T36" fmla="*/ 6 w 122"/>
                <a:gd name="T37" fmla="*/ 52 h 279"/>
                <a:gd name="T38" fmla="*/ 0 w 122"/>
                <a:gd name="T39" fmla="*/ 81 h 279"/>
                <a:gd name="T40" fmla="*/ 12 w 122"/>
                <a:gd name="T41" fmla="*/ 99 h 279"/>
                <a:gd name="T42" fmla="*/ 35 w 122"/>
                <a:gd name="T43" fmla="*/ 122 h 279"/>
                <a:gd name="T44" fmla="*/ 47 w 122"/>
                <a:gd name="T45" fmla="*/ 128 h 279"/>
                <a:gd name="T46" fmla="*/ 53 w 122"/>
                <a:gd name="T47" fmla="*/ 139 h 279"/>
                <a:gd name="T48" fmla="*/ 41 w 122"/>
                <a:gd name="T49" fmla="*/ 151 h 279"/>
                <a:gd name="T50" fmla="*/ 35 w 122"/>
                <a:gd name="T51" fmla="*/ 163 h 279"/>
                <a:gd name="T52" fmla="*/ 29 w 122"/>
                <a:gd name="T53" fmla="*/ 174 h 279"/>
                <a:gd name="T54" fmla="*/ 24 w 122"/>
                <a:gd name="T55" fmla="*/ 180 h 279"/>
                <a:gd name="T56" fmla="*/ 12 w 122"/>
                <a:gd name="T57" fmla="*/ 192 h 279"/>
                <a:gd name="T58" fmla="*/ 6 w 122"/>
                <a:gd name="T59" fmla="*/ 203 h 279"/>
                <a:gd name="T60" fmla="*/ 6 w 122"/>
                <a:gd name="T61" fmla="*/ 215 h 279"/>
                <a:gd name="T62" fmla="*/ 24 w 122"/>
                <a:gd name="T63" fmla="*/ 238 h 279"/>
                <a:gd name="T64" fmla="*/ 53 w 122"/>
                <a:gd name="T65" fmla="*/ 250 h 279"/>
                <a:gd name="T66" fmla="*/ 70 w 122"/>
                <a:gd name="T67" fmla="*/ 279 h 279"/>
                <a:gd name="T68" fmla="*/ 87 w 122"/>
                <a:gd name="T69" fmla="*/ 267 h 279"/>
                <a:gd name="T70" fmla="*/ 111 w 122"/>
                <a:gd name="T71" fmla="*/ 203 h 27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2"/>
                <a:gd name="T109" fmla="*/ 0 h 279"/>
                <a:gd name="T110" fmla="*/ 122 w 122"/>
                <a:gd name="T111" fmla="*/ 279 h 27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2" h="279">
                  <a:moveTo>
                    <a:pt x="111" y="197"/>
                  </a:moveTo>
                  <a:lnTo>
                    <a:pt x="117" y="197"/>
                  </a:lnTo>
                  <a:lnTo>
                    <a:pt x="122" y="168"/>
                  </a:lnTo>
                  <a:lnTo>
                    <a:pt x="122" y="128"/>
                  </a:lnTo>
                  <a:lnTo>
                    <a:pt x="117" y="99"/>
                  </a:lnTo>
                  <a:lnTo>
                    <a:pt x="111" y="87"/>
                  </a:lnTo>
                  <a:lnTo>
                    <a:pt x="111" y="93"/>
                  </a:lnTo>
                  <a:lnTo>
                    <a:pt x="99" y="93"/>
                  </a:lnTo>
                  <a:lnTo>
                    <a:pt x="93" y="93"/>
                  </a:lnTo>
                  <a:lnTo>
                    <a:pt x="87" y="87"/>
                  </a:lnTo>
                  <a:lnTo>
                    <a:pt x="87" y="81"/>
                  </a:lnTo>
                  <a:lnTo>
                    <a:pt x="93" y="76"/>
                  </a:lnTo>
                  <a:lnTo>
                    <a:pt x="87" y="76"/>
                  </a:lnTo>
                  <a:lnTo>
                    <a:pt x="93" y="70"/>
                  </a:lnTo>
                  <a:lnTo>
                    <a:pt x="99" y="70"/>
                  </a:lnTo>
                  <a:lnTo>
                    <a:pt x="105" y="64"/>
                  </a:lnTo>
                  <a:lnTo>
                    <a:pt x="105" y="58"/>
                  </a:lnTo>
                  <a:lnTo>
                    <a:pt x="105" y="52"/>
                  </a:lnTo>
                  <a:lnTo>
                    <a:pt x="105" y="41"/>
                  </a:lnTo>
                  <a:lnTo>
                    <a:pt x="105" y="35"/>
                  </a:lnTo>
                  <a:lnTo>
                    <a:pt x="105" y="29"/>
                  </a:lnTo>
                  <a:lnTo>
                    <a:pt x="105" y="23"/>
                  </a:lnTo>
                  <a:lnTo>
                    <a:pt x="82" y="18"/>
                  </a:lnTo>
                  <a:lnTo>
                    <a:pt x="76" y="18"/>
                  </a:lnTo>
                  <a:lnTo>
                    <a:pt x="70" y="18"/>
                  </a:lnTo>
                  <a:lnTo>
                    <a:pt x="64" y="12"/>
                  </a:lnTo>
                  <a:lnTo>
                    <a:pt x="58" y="12"/>
                  </a:lnTo>
                  <a:lnTo>
                    <a:pt x="53" y="12"/>
                  </a:lnTo>
                  <a:lnTo>
                    <a:pt x="41" y="6"/>
                  </a:lnTo>
                  <a:lnTo>
                    <a:pt x="29" y="0"/>
                  </a:lnTo>
                  <a:lnTo>
                    <a:pt x="24" y="6"/>
                  </a:lnTo>
                  <a:lnTo>
                    <a:pt x="18" y="18"/>
                  </a:lnTo>
                  <a:lnTo>
                    <a:pt x="18" y="29"/>
                  </a:lnTo>
                  <a:lnTo>
                    <a:pt x="12" y="41"/>
                  </a:lnTo>
                  <a:lnTo>
                    <a:pt x="12" y="35"/>
                  </a:lnTo>
                  <a:lnTo>
                    <a:pt x="12" y="41"/>
                  </a:lnTo>
                  <a:lnTo>
                    <a:pt x="0" y="52"/>
                  </a:lnTo>
                  <a:lnTo>
                    <a:pt x="6" y="52"/>
                  </a:lnTo>
                  <a:lnTo>
                    <a:pt x="12" y="64"/>
                  </a:lnTo>
                  <a:lnTo>
                    <a:pt x="0" y="81"/>
                  </a:lnTo>
                  <a:lnTo>
                    <a:pt x="6" y="99"/>
                  </a:lnTo>
                  <a:lnTo>
                    <a:pt x="12" y="99"/>
                  </a:lnTo>
                  <a:lnTo>
                    <a:pt x="35" y="116"/>
                  </a:lnTo>
                  <a:lnTo>
                    <a:pt x="35" y="122"/>
                  </a:lnTo>
                  <a:lnTo>
                    <a:pt x="41" y="122"/>
                  </a:lnTo>
                  <a:lnTo>
                    <a:pt x="47" y="128"/>
                  </a:lnTo>
                  <a:lnTo>
                    <a:pt x="58" y="139"/>
                  </a:lnTo>
                  <a:lnTo>
                    <a:pt x="53" y="139"/>
                  </a:lnTo>
                  <a:lnTo>
                    <a:pt x="47" y="145"/>
                  </a:lnTo>
                  <a:lnTo>
                    <a:pt x="41" y="151"/>
                  </a:lnTo>
                  <a:lnTo>
                    <a:pt x="41" y="157"/>
                  </a:lnTo>
                  <a:lnTo>
                    <a:pt x="35" y="163"/>
                  </a:lnTo>
                  <a:lnTo>
                    <a:pt x="29" y="168"/>
                  </a:lnTo>
                  <a:lnTo>
                    <a:pt x="29" y="174"/>
                  </a:lnTo>
                  <a:lnTo>
                    <a:pt x="29" y="180"/>
                  </a:lnTo>
                  <a:lnTo>
                    <a:pt x="24" y="180"/>
                  </a:lnTo>
                  <a:lnTo>
                    <a:pt x="12" y="186"/>
                  </a:lnTo>
                  <a:lnTo>
                    <a:pt x="12" y="192"/>
                  </a:lnTo>
                  <a:lnTo>
                    <a:pt x="6" y="192"/>
                  </a:lnTo>
                  <a:lnTo>
                    <a:pt x="6" y="203"/>
                  </a:lnTo>
                  <a:lnTo>
                    <a:pt x="0" y="209"/>
                  </a:lnTo>
                  <a:lnTo>
                    <a:pt x="6" y="215"/>
                  </a:lnTo>
                  <a:lnTo>
                    <a:pt x="6" y="226"/>
                  </a:lnTo>
                  <a:lnTo>
                    <a:pt x="24" y="238"/>
                  </a:lnTo>
                  <a:lnTo>
                    <a:pt x="35" y="244"/>
                  </a:lnTo>
                  <a:lnTo>
                    <a:pt x="53" y="250"/>
                  </a:lnTo>
                  <a:lnTo>
                    <a:pt x="70" y="250"/>
                  </a:lnTo>
                  <a:lnTo>
                    <a:pt x="70" y="279"/>
                  </a:lnTo>
                  <a:lnTo>
                    <a:pt x="82" y="273"/>
                  </a:lnTo>
                  <a:lnTo>
                    <a:pt x="87" y="267"/>
                  </a:lnTo>
                  <a:lnTo>
                    <a:pt x="99" y="226"/>
                  </a:lnTo>
                  <a:lnTo>
                    <a:pt x="111" y="203"/>
                  </a:lnTo>
                  <a:lnTo>
                    <a:pt x="111" y="19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4" name="Freeform 15"/>
            <p:cNvSpPr>
              <a:spLocks/>
            </p:cNvSpPr>
            <p:nvPr/>
          </p:nvSpPr>
          <p:spPr bwMode="auto">
            <a:xfrm>
              <a:off x="4994" y="1859"/>
              <a:ext cx="684" cy="516"/>
            </a:xfrm>
            <a:custGeom>
              <a:avLst/>
              <a:gdLst>
                <a:gd name="T0" fmla="*/ 493 w 684"/>
                <a:gd name="T1" fmla="*/ 447 h 516"/>
                <a:gd name="T2" fmla="*/ 475 w 684"/>
                <a:gd name="T3" fmla="*/ 441 h 516"/>
                <a:gd name="T4" fmla="*/ 446 w 684"/>
                <a:gd name="T5" fmla="*/ 429 h 516"/>
                <a:gd name="T6" fmla="*/ 417 w 684"/>
                <a:gd name="T7" fmla="*/ 423 h 516"/>
                <a:gd name="T8" fmla="*/ 406 w 684"/>
                <a:gd name="T9" fmla="*/ 394 h 516"/>
                <a:gd name="T10" fmla="*/ 388 w 684"/>
                <a:gd name="T11" fmla="*/ 389 h 516"/>
                <a:gd name="T12" fmla="*/ 336 w 684"/>
                <a:gd name="T13" fmla="*/ 383 h 516"/>
                <a:gd name="T14" fmla="*/ 307 w 684"/>
                <a:gd name="T15" fmla="*/ 389 h 516"/>
                <a:gd name="T16" fmla="*/ 272 w 684"/>
                <a:gd name="T17" fmla="*/ 400 h 516"/>
                <a:gd name="T18" fmla="*/ 243 w 684"/>
                <a:gd name="T19" fmla="*/ 406 h 516"/>
                <a:gd name="T20" fmla="*/ 197 w 684"/>
                <a:gd name="T21" fmla="*/ 418 h 516"/>
                <a:gd name="T22" fmla="*/ 174 w 684"/>
                <a:gd name="T23" fmla="*/ 418 h 516"/>
                <a:gd name="T24" fmla="*/ 139 w 684"/>
                <a:gd name="T25" fmla="*/ 429 h 516"/>
                <a:gd name="T26" fmla="*/ 104 w 684"/>
                <a:gd name="T27" fmla="*/ 435 h 516"/>
                <a:gd name="T28" fmla="*/ 69 w 684"/>
                <a:gd name="T29" fmla="*/ 441 h 516"/>
                <a:gd name="T30" fmla="*/ 34 w 684"/>
                <a:gd name="T31" fmla="*/ 447 h 516"/>
                <a:gd name="T32" fmla="*/ 5 w 684"/>
                <a:gd name="T33" fmla="*/ 452 h 516"/>
                <a:gd name="T34" fmla="*/ 34 w 684"/>
                <a:gd name="T35" fmla="*/ 389 h 516"/>
                <a:gd name="T36" fmla="*/ 63 w 684"/>
                <a:gd name="T37" fmla="*/ 354 h 516"/>
                <a:gd name="T38" fmla="*/ 46 w 684"/>
                <a:gd name="T39" fmla="*/ 319 h 516"/>
                <a:gd name="T40" fmla="*/ 87 w 684"/>
                <a:gd name="T41" fmla="*/ 278 h 516"/>
                <a:gd name="T42" fmla="*/ 145 w 684"/>
                <a:gd name="T43" fmla="*/ 273 h 516"/>
                <a:gd name="T44" fmla="*/ 197 w 684"/>
                <a:gd name="T45" fmla="*/ 267 h 516"/>
                <a:gd name="T46" fmla="*/ 232 w 684"/>
                <a:gd name="T47" fmla="*/ 249 h 516"/>
                <a:gd name="T48" fmla="*/ 261 w 684"/>
                <a:gd name="T49" fmla="*/ 220 h 516"/>
                <a:gd name="T50" fmla="*/ 255 w 684"/>
                <a:gd name="T51" fmla="*/ 191 h 516"/>
                <a:gd name="T52" fmla="*/ 255 w 684"/>
                <a:gd name="T53" fmla="*/ 186 h 516"/>
                <a:gd name="T54" fmla="*/ 249 w 684"/>
                <a:gd name="T55" fmla="*/ 168 h 516"/>
                <a:gd name="T56" fmla="*/ 249 w 684"/>
                <a:gd name="T57" fmla="*/ 139 h 516"/>
                <a:gd name="T58" fmla="*/ 272 w 684"/>
                <a:gd name="T59" fmla="*/ 110 h 516"/>
                <a:gd name="T60" fmla="*/ 313 w 684"/>
                <a:gd name="T61" fmla="*/ 46 h 516"/>
                <a:gd name="T62" fmla="*/ 400 w 684"/>
                <a:gd name="T63" fmla="*/ 17 h 516"/>
                <a:gd name="T64" fmla="*/ 452 w 684"/>
                <a:gd name="T65" fmla="*/ 17 h 516"/>
                <a:gd name="T66" fmla="*/ 475 w 684"/>
                <a:gd name="T67" fmla="*/ 81 h 516"/>
                <a:gd name="T68" fmla="*/ 481 w 684"/>
                <a:gd name="T69" fmla="*/ 133 h 516"/>
                <a:gd name="T70" fmla="*/ 487 w 684"/>
                <a:gd name="T71" fmla="*/ 157 h 516"/>
                <a:gd name="T72" fmla="*/ 510 w 684"/>
                <a:gd name="T73" fmla="*/ 191 h 516"/>
                <a:gd name="T74" fmla="*/ 522 w 684"/>
                <a:gd name="T75" fmla="*/ 238 h 516"/>
                <a:gd name="T76" fmla="*/ 522 w 684"/>
                <a:gd name="T77" fmla="*/ 261 h 516"/>
                <a:gd name="T78" fmla="*/ 528 w 684"/>
                <a:gd name="T79" fmla="*/ 331 h 516"/>
                <a:gd name="T80" fmla="*/ 534 w 684"/>
                <a:gd name="T81" fmla="*/ 371 h 516"/>
                <a:gd name="T82" fmla="*/ 539 w 684"/>
                <a:gd name="T83" fmla="*/ 389 h 516"/>
                <a:gd name="T84" fmla="*/ 551 w 684"/>
                <a:gd name="T85" fmla="*/ 423 h 516"/>
                <a:gd name="T86" fmla="*/ 539 w 684"/>
                <a:gd name="T87" fmla="*/ 458 h 516"/>
                <a:gd name="T88" fmla="*/ 539 w 684"/>
                <a:gd name="T89" fmla="*/ 470 h 516"/>
                <a:gd name="T90" fmla="*/ 557 w 684"/>
                <a:gd name="T91" fmla="*/ 452 h 516"/>
                <a:gd name="T92" fmla="*/ 586 w 684"/>
                <a:gd name="T93" fmla="*/ 441 h 516"/>
                <a:gd name="T94" fmla="*/ 655 w 684"/>
                <a:gd name="T95" fmla="*/ 400 h 516"/>
                <a:gd name="T96" fmla="*/ 673 w 684"/>
                <a:gd name="T97" fmla="*/ 412 h 516"/>
                <a:gd name="T98" fmla="*/ 661 w 684"/>
                <a:gd name="T99" fmla="*/ 423 h 516"/>
                <a:gd name="T100" fmla="*/ 557 w 684"/>
                <a:gd name="T101" fmla="*/ 493 h 516"/>
                <a:gd name="T102" fmla="*/ 534 w 684"/>
                <a:gd name="T103" fmla="*/ 505 h 516"/>
                <a:gd name="T104" fmla="*/ 516 w 684"/>
                <a:gd name="T105" fmla="*/ 510 h 516"/>
                <a:gd name="T106" fmla="*/ 510 w 684"/>
                <a:gd name="T107" fmla="*/ 505 h 516"/>
                <a:gd name="T108" fmla="*/ 516 w 684"/>
                <a:gd name="T109" fmla="*/ 499 h 516"/>
                <a:gd name="T110" fmla="*/ 522 w 684"/>
                <a:gd name="T111" fmla="*/ 481 h 516"/>
                <a:gd name="T112" fmla="*/ 522 w 684"/>
                <a:gd name="T113" fmla="*/ 458 h 5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4"/>
                <a:gd name="T172" fmla="*/ 0 h 516"/>
                <a:gd name="T173" fmla="*/ 684 w 684"/>
                <a:gd name="T174" fmla="*/ 516 h 5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4" h="516">
                  <a:moveTo>
                    <a:pt x="522" y="452"/>
                  </a:moveTo>
                  <a:lnTo>
                    <a:pt x="499" y="447"/>
                  </a:lnTo>
                  <a:lnTo>
                    <a:pt x="493" y="447"/>
                  </a:lnTo>
                  <a:lnTo>
                    <a:pt x="487" y="447"/>
                  </a:lnTo>
                  <a:lnTo>
                    <a:pt x="481" y="441"/>
                  </a:lnTo>
                  <a:lnTo>
                    <a:pt x="475" y="441"/>
                  </a:lnTo>
                  <a:lnTo>
                    <a:pt x="470" y="441"/>
                  </a:lnTo>
                  <a:lnTo>
                    <a:pt x="458" y="435"/>
                  </a:lnTo>
                  <a:lnTo>
                    <a:pt x="446" y="429"/>
                  </a:lnTo>
                  <a:lnTo>
                    <a:pt x="441" y="423"/>
                  </a:lnTo>
                  <a:lnTo>
                    <a:pt x="429" y="429"/>
                  </a:lnTo>
                  <a:lnTo>
                    <a:pt x="417" y="423"/>
                  </a:lnTo>
                  <a:lnTo>
                    <a:pt x="406" y="412"/>
                  </a:lnTo>
                  <a:lnTo>
                    <a:pt x="412" y="412"/>
                  </a:lnTo>
                  <a:lnTo>
                    <a:pt x="406" y="394"/>
                  </a:lnTo>
                  <a:lnTo>
                    <a:pt x="394" y="389"/>
                  </a:lnTo>
                  <a:lnTo>
                    <a:pt x="394" y="383"/>
                  </a:lnTo>
                  <a:lnTo>
                    <a:pt x="388" y="389"/>
                  </a:lnTo>
                  <a:lnTo>
                    <a:pt x="371" y="377"/>
                  </a:lnTo>
                  <a:lnTo>
                    <a:pt x="365" y="377"/>
                  </a:lnTo>
                  <a:lnTo>
                    <a:pt x="336" y="383"/>
                  </a:lnTo>
                  <a:lnTo>
                    <a:pt x="319" y="389"/>
                  </a:lnTo>
                  <a:lnTo>
                    <a:pt x="313" y="389"/>
                  </a:lnTo>
                  <a:lnTo>
                    <a:pt x="307" y="389"/>
                  </a:lnTo>
                  <a:lnTo>
                    <a:pt x="301" y="394"/>
                  </a:lnTo>
                  <a:lnTo>
                    <a:pt x="290" y="394"/>
                  </a:lnTo>
                  <a:lnTo>
                    <a:pt x="272" y="400"/>
                  </a:lnTo>
                  <a:lnTo>
                    <a:pt x="255" y="400"/>
                  </a:lnTo>
                  <a:lnTo>
                    <a:pt x="249" y="406"/>
                  </a:lnTo>
                  <a:lnTo>
                    <a:pt x="243" y="406"/>
                  </a:lnTo>
                  <a:lnTo>
                    <a:pt x="238" y="406"/>
                  </a:lnTo>
                  <a:lnTo>
                    <a:pt x="232" y="406"/>
                  </a:lnTo>
                  <a:lnTo>
                    <a:pt x="197" y="418"/>
                  </a:lnTo>
                  <a:lnTo>
                    <a:pt x="185" y="418"/>
                  </a:lnTo>
                  <a:lnTo>
                    <a:pt x="179" y="418"/>
                  </a:lnTo>
                  <a:lnTo>
                    <a:pt x="174" y="418"/>
                  </a:lnTo>
                  <a:lnTo>
                    <a:pt x="162" y="423"/>
                  </a:lnTo>
                  <a:lnTo>
                    <a:pt x="145" y="423"/>
                  </a:lnTo>
                  <a:lnTo>
                    <a:pt x="139" y="429"/>
                  </a:lnTo>
                  <a:lnTo>
                    <a:pt x="133" y="429"/>
                  </a:lnTo>
                  <a:lnTo>
                    <a:pt x="127" y="429"/>
                  </a:lnTo>
                  <a:lnTo>
                    <a:pt x="104" y="435"/>
                  </a:lnTo>
                  <a:lnTo>
                    <a:pt x="81" y="441"/>
                  </a:lnTo>
                  <a:lnTo>
                    <a:pt x="75" y="441"/>
                  </a:lnTo>
                  <a:lnTo>
                    <a:pt x="69" y="441"/>
                  </a:lnTo>
                  <a:lnTo>
                    <a:pt x="63" y="441"/>
                  </a:lnTo>
                  <a:lnTo>
                    <a:pt x="58" y="447"/>
                  </a:lnTo>
                  <a:lnTo>
                    <a:pt x="34" y="447"/>
                  </a:lnTo>
                  <a:lnTo>
                    <a:pt x="23" y="452"/>
                  </a:lnTo>
                  <a:lnTo>
                    <a:pt x="17" y="452"/>
                  </a:lnTo>
                  <a:lnTo>
                    <a:pt x="5" y="452"/>
                  </a:lnTo>
                  <a:lnTo>
                    <a:pt x="0" y="423"/>
                  </a:lnTo>
                  <a:lnTo>
                    <a:pt x="11" y="412"/>
                  </a:lnTo>
                  <a:lnTo>
                    <a:pt x="34" y="389"/>
                  </a:lnTo>
                  <a:lnTo>
                    <a:pt x="46" y="377"/>
                  </a:lnTo>
                  <a:lnTo>
                    <a:pt x="58" y="360"/>
                  </a:lnTo>
                  <a:lnTo>
                    <a:pt x="63" y="354"/>
                  </a:lnTo>
                  <a:lnTo>
                    <a:pt x="58" y="336"/>
                  </a:lnTo>
                  <a:lnTo>
                    <a:pt x="46" y="331"/>
                  </a:lnTo>
                  <a:lnTo>
                    <a:pt x="46" y="319"/>
                  </a:lnTo>
                  <a:lnTo>
                    <a:pt x="40" y="319"/>
                  </a:lnTo>
                  <a:lnTo>
                    <a:pt x="40" y="302"/>
                  </a:lnTo>
                  <a:lnTo>
                    <a:pt x="87" y="278"/>
                  </a:lnTo>
                  <a:lnTo>
                    <a:pt x="110" y="273"/>
                  </a:lnTo>
                  <a:lnTo>
                    <a:pt x="121" y="273"/>
                  </a:lnTo>
                  <a:lnTo>
                    <a:pt x="145" y="273"/>
                  </a:lnTo>
                  <a:lnTo>
                    <a:pt x="162" y="278"/>
                  </a:lnTo>
                  <a:lnTo>
                    <a:pt x="174" y="273"/>
                  </a:lnTo>
                  <a:lnTo>
                    <a:pt x="197" y="267"/>
                  </a:lnTo>
                  <a:lnTo>
                    <a:pt x="209" y="267"/>
                  </a:lnTo>
                  <a:lnTo>
                    <a:pt x="226" y="249"/>
                  </a:lnTo>
                  <a:lnTo>
                    <a:pt x="232" y="249"/>
                  </a:lnTo>
                  <a:lnTo>
                    <a:pt x="232" y="244"/>
                  </a:lnTo>
                  <a:lnTo>
                    <a:pt x="243" y="232"/>
                  </a:lnTo>
                  <a:lnTo>
                    <a:pt x="261" y="220"/>
                  </a:lnTo>
                  <a:lnTo>
                    <a:pt x="261" y="209"/>
                  </a:lnTo>
                  <a:lnTo>
                    <a:pt x="261" y="203"/>
                  </a:lnTo>
                  <a:lnTo>
                    <a:pt x="255" y="191"/>
                  </a:lnTo>
                  <a:lnTo>
                    <a:pt x="249" y="191"/>
                  </a:lnTo>
                  <a:lnTo>
                    <a:pt x="249" y="186"/>
                  </a:lnTo>
                  <a:lnTo>
                    <a:pt x="255" y="186"/>
                  </a:lnTo>
                  <a:lnTo>
                    <a:pt x="261" y="180"/>
                  </a:lnTo>
                  <a:lnTo>
                    <a:pt x="249" y="174"/>
                  </a:lnTo>
                  <a:lnTo>
                    <a:pt x="249" y="168"/>
                  </a:lnTo>
                  <a:lnTo>
                    <a:pt x="238" y="168"/>
                  </a:lnTo>
                  <a:lnTo>
                    <a:pt x="238" y="151"/>
                  </a:lnTo>
                  <a:lnTo>
                    <a:pt x="249" y="139"/>
                  </a:lnTo>
                  <a:lnTo>
                    <a:pt x="267" y="122"/>
                  </a:lnTo>
                  <a:lnTo>
                    <a:pt x="267" y="116"/>
                  </a:lnTo>
                  <a:lnTo>
                    <a:pt x="272" y="110"/>
                  </a:lnTo>
                  <a:lnTo>
                    <a:pt x="301" y="58"/>
                  </a:lnTo>
                  <a:lnTo>
                    <a:pt x="313" y="52"/>
                  </a:lnTo>
                  <a:lnTo>
                    <a:pt x="313" y="46"/>
                  </a:lnTo>
                  <a:lnTo>
                    <a:pt x="330" y="35"/>
                  </a:lnTo>
                  <a:lnTo>
                    <a:pt x="342" y="29"/>
                  </a:lnTo>
                  <a:lnTo>
                    <a:pt x="400" y="17"/>
                  </a:lnTo>
                  <a:lnTo>
                    <a:pt x="429" y="6"/>
                  </a:lnTo>
                  <a:lnTo>
                    <a:pt x="452" y="0"/>
                  </a:lnTo>
                  <a:lnTo>
                    <a:pt x="452" y="17"/>
                  </a:lnTo>
                  <a:lnTo>
                    <a:pt x="464" y="52"/>
                  </a:lnTo>
                  <a:lnTo>
                    <a:pt x="470" y="58"/>
                  </a:lnTo>
                  <a:lnTo>
                    <a:pt x="475" y="81"/>
                  </a:lnTo>
                  <a:lnTo>
                    <a:pt x="470" y="93"/>
                  </a:lnTo>
                  <a:lnTo>
                    <a:pt x="470" y="104"/>
                  </a:lnTo>
                  <a:lnTo>
                    <a:pt x="481" y="133"/>
                  </a:lnTo>
                  <a:lnTo>
                    <a:pt x="487" y="133"/>
                  </a:lnTo>
                  <a:lnTo>
                    <a:pt x="487" y="139"/>
                  </a:lnTo>
                  <a:lnTo>
                    <a:pt x="487" y="157"/>
                  </a:lnTo>
                  <a:lnTo>
                    <a:pt x="493" y="151"/>
                  </a:lnTo>
                  <a:lnTo>
                    <a:pt x="510" y="186"/>
                  </a:lnTo>
                  <a:lnTo>
                    <a:pt x="510" y="191"/>
                  </a:lnTo>
                  <a:lnTo>
                    <a:pt x="510" y="209"/>
                  </a:lnTo>
                  <a:lnTo>
                    <a:pt x="516" y="226"/>
                  </a:lnTo>
                  <a:lnTo>
                    <a:pt x="522" y="238"/>
                  </a:lnTo>
                  <a:lnTo>
                    <a:pt x="522" y="249"/>
                  </a:lnTo>
                  <a:lnTo>
                    <a:pt x="522" y="255"/>
                  </a:lnTo>
                  <a:lnTo>
                    <a:pt x="522" y="261"/>
                  </a:lnTo>
                  <a:lnTo>
                    <a:pt x="522" y="278"/>
                  </a:lnTo>
                  <a:lnTo>
                    <a:pt x="522" y="325"/>
                  </a:lnTo>
                  <a:lnTo>
                    <a:pt x="528" y="331"/>
                  </a:lnTo>
                  <a:lnTo>
                    <a:pt x="528" y="336"/>
                  </a:lnTo>
                  <a:lnTo>
                    <a:pt x="534" y="365"/>
                  </a:lnTo>
                  <a:lnTo>
                    <a:pt x="534" y="371"/>
                  </a:lnTo>
                  <a:lnTo>
                    <a:pt x="534" y="377"/>
                  </a:lnTo>
                  <a:lnTo>
                    <a:pt x="534" y="383"/>
                  </a:lnTo>
                  <a:lnTo>
                    <a:pt x="539" y="389"/>
                  </a:lnTo>
                  <a:lnTo>
                    <a:pt x="539" y="400"/>
                  </a:lnTo>
                  <a:lnTo>
                    <a:pt x="539" y="406"/>
                  </a:lnTo>
                  <a:lnTo>
                    <a:pt x="551" y="423"/>
                  </a:lnTo>
                  <a:lnTo>
                    <a:pt x="534" y="441"/>
                  </a:lnTo>
                  <a:lnTo>
                    <a:pt x="545" y="452"/>
                  </a:lnTo>
                  <a:lnTo>
                    <a:pt x="539" y="458"/>
                  </a:lnTo>
                  <a:lnTo>
                    <a:pt x="539" y="464"/>
                  </a:lnTo>
                  <a:lnTo>
                    <a:pt x="534" y="464"/>
                  </a:lnTo>
                  <a:lnTo>
                    <a:pt x="539" y="470"/>
                  </a:lnTo>
                  <a:lnTo>
                    <a:pt x="545" y="464"/>
                  </a:lnTo>
                  <a:lnTo>
                    <a:pt x="545" y="458"/>
                  </a:lnTo>
                  <a:lnTo>
                    <a:pt x="557" y="452"/>
                  </a:lnTo>
                  <a:lnTo>
                    <a:pt x="568" y="447"/>
                  </a:lnTo>
                  <a:lnTo>
                    <a:pt x="580" y="452"/>
                  </a:lnTo>
                  <a:lnTo>
                    <a:pt x="586" y="441"/>
                  </a:lnTo>
                  <a:lnTo>
                    <a:pt x="626" y="429"/>
                  </a:lnTo>
                  <a:lnTo>
                    <a:pt x="644" y="406"/>
                  </a:lnTo>
                  <a:lnTo>
                    <a:pt x="655" y="400"/>
                  </a:lnTo>
                  <a:lnTo>
                    <a:pt x="655" y="406"/>
                  </a:lnTo>
                  <a:lnTo>
                    <a:pt x="655" y="412"/>
                  </a:lnTo>
                  <a:lnTo>
                    <a:pt x="673" y="412"/>
                  </a:lnTo>
                  <a:lnTo>
                    <a:pt x="679" y="406"/>
                  </a:lnTo>
                  <a:lnTo>
                    <a:pt x="684" y="406"/>
                  </a:lnTo>
                  <a:lnTo>
                    <a:pt x="661" y="423"/>
                  </a:lnTo>
                  <a:lnTo>
                    <a:pt x="586" y="481"/>
                  </a:lnTo>
                  <a:lnTo>
                    <a:pt x="574" y="487"/>
                  </a:lnTo>
                  <a:lnTo>
                    <a:pt x="557" y="493"/>
                  </a:lnTo>
                  <a:lnTo>
                    <a:pt x="545" y="499"/>
                  </a:lnTo>
                  <a:lnTo>
                    <a:pt x="539" y="505"/>
                  </a:lnTo>
                  <a:lnTo>
                    <a:pt x="534" y="505"/>
                  </a:lnTo>
                  <a:lnTo>
                    <a:pt x="528" y="505"/>
                  </a:lnTo>
                  <a:lnTo>
                    <a:pt x="522" y="499"/>
                  </a:lnTo>
                  <a:lnTo>
                    <a:pt x="516" y="510"/>
                  </a:lnTo>
                  <a:lnTo>
                    <a:pt x="504" y="516"/>
                  </a:lnTo>
                  <a:lnTo>
                    <a:pt x="504" y="510"/>
                  </a:lnTo>
                  <a:lnTo>
                    <a:pt x="510" y="505"/>
                  </a:lnTo>
                  <a:lnTo>
                    <a:pt x="504" y="505"/>
                  </a:lnTo>
                  <a:lnTo>
                    <a:pt x="510" y="499"/>
                  </a:lnTo>
                  <a:lnTo>
                    <a:pt x="516" y="499"/>
                  </a:lnTo>
                  <a:lnTo>
                    <a:pt x="522" y="493"/>
                  </a:lnTo>
                  <a:lnTo>
                    <a:pt x="522" y="487"/>
                  </a:lnTo>
                  <a:lnTo>
                    <a:pt x="522" y="481"/>
                  </a:lnTo>
                  <a:lnTo>
                    <a:pt x="522" y="470"/>
                  </a:lnTo>
                  <a:lnTo>
                    <a:pt x="522" y="464"/>
                  </a:lnTo>
                  <a:lnTo>
                    <a:pt x="522" y="458"/>
                  </a:lnTo>
                  <a:lnTo>
                    <a:pt x="522" y="45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5" name="Freeform 16"/>
            <p:cNvSpPr>
              <a:spLocks/>
            </p:cNvSpPr>
            <p:nvPr/>
          </p:nvSpPr>
          <p:spPr bwMode="auto">
            <a:xfrm>
              <a:off x="4941" y="2236"/>
              <a:ext cx="528" cy="342"/>
            </a:xfrm>
            <a:custGeom>
              <a:avLst/>
              <a:gdLst>
                <a:gd name="T0" fmla="*/ 366 w 528"/>
                <a:gd name="T1" fmla="*/ 278 h 342"/>
                <a:gd name="T2" fmla="*/ 383 w 528"/>
                <a:gd name="T3" fmla="*/ 273 h 342"/>
                <a:gd name="T4" fmla="*/ 418 w 528"/>
                <a:gd name="T5" fmla="*/ 267 h 342"/>
                <a:gd name="T6" fmla="*/ 453 w 528"/>
                <a:gd name="T7" fmla="*/ 261 h 342"/>
                <a:gd name="T8" fmla="*/ 470 w 528"/>
                <a:gd name="T9" fmla="*/ 238 h 342"/>
                <a:gd name="T10" fmla="*/ 494 w 528"/>
                <a:gd name="T11" fmla="*/ 232 h 342"/>
                <a:gd name="T12" fmla="*/ 499 w 528"/>
                <a:gd name="T13" fmla="*/ 220 h 342"/>
                <a:gd name="T14" fmla="*/ 511 w 528"/>
                <a:gd name="T15" fmla="*/ 203 h 342"/>
                <a:gd name="T16" fmla="*/ 528 w 528"/>
                <a:gd name="T17" fmla="*/ 191 h 342"/>
                <a:gd name="T18" fmla="*/ 505 w 528"/>
                <a:gd name="T19" fmla="*/ 174 h 342"/>
                <a:gd name="T20" fmla="*/ 476 w 528"/>
                <a:gd name="T21" fmla="*/ 151 h 342"/>
                <a:gd name="T22" fmla="*/ 476 w 528"/>
                <a:gd name="T23" fmla="*/ 104 h 342"/>
                <a:gd name="T24" fmla="*/ 482 w 528"/>
                <a:gd name="T25" fmla="*/ 87 h 342"/>
                <a:gd name="T26" fmla="*/ 488 w 528"/>
                <a:gd name="T27" fmla="*/ 70 h 342"/>
                <a:gd name="T28" fmla="*/ 494 w 528"/>
                <a:gd name="T29" fmla="*/ 46 h 342"/>
                <a:gd name="T30" fmla="*/ 459 w 528"/>
                <a:gd name="T31" fmla="*/ 35 h 342"/>
                <a:gd name="T32" fmla="*/ 447 w 528"/>
                <a:gd name="T33" fmla="*/ 12 h 342"/>
                <a:gd name="T34" fmla="*/ 424 w 528"/>
                <a:gd name="T35" fmla="*/ 0 h 342"/>
                <a:gd name="T36" fmla="*/ 372 w 528"/>
                <a:gd name="T37" fmla="*/ 12 h 342"/>
                <a:gd name="T38" fmla="*/ 354 w 528"/>
                <a:gd name="T39" fmla="*/ 17 h 342"/>
                <a:gd name="T40" fmla="*/ 308 w 528"/>
                <a:gd name="T41" fmla="*/ 23 h 342"/>
                <a:gd name="T42" fmla="*/ 291 w 528"/>
                <a:gd name="T43" fmla="*/ 29 h 342"/>
                <a:gd name="T44" fmla="*/ 238 w 528"/>
                <a:gd name="T45" fmla="*/ 41 h 342"/>
                <a:gd name="T46" fmla="*/ 215 w 528"/>
                <a:gd name="T47" fmla="*/ 46 h 342"/>
                <a:gd name="T48" fmla="*/ 186 w 528"/>
                <a:gd name="T49" fmla="*/ 52 h 342"/>
                <a:gd name="T50" fmla="*/ 134 w 528"/>
                <a:gd name="T51" fmla="*/ 64 h 342"/>
                <a:gd name="T52" fmla="*/ 116 w 528"/>
                <a:gd name="T53" fmla="*/ 64 h 342"/>
                <a:gd name="T54" fmla="*/ 76 w 528"/>
                <a:gd name="T55" fmla="*/ 75 h 342"/>
                <a:gd name="T56" fmla="*/ 53 w 528"/>
                <a:gd name="T57" fmla="*/ 46 h 342"/>
                <a:gd name="T58" fmla="*/ 0 w 528"/>
                <a:gd name="T59" fmla="*/ 93 h 342"/>
                <a:gd name="T60" fmla="*/ 6 w 528"/>
                <a:gd name="T61" fmla="*/ 128 h 342"/>
                <a:gd name="T62" fmla="*/ 12 w 528"/>
                <a:gd name="T63" fmla="*/ 168 h 342"/>
                <a:gd name="T64" fmla="*/ 18 w 528"/>
                <a:gd name="T65" fmla="*/ 203 h 342"/>
                <a:gd name="T66" fmla="*/ 24 w 528"/>
                <a:gd name="T67" fmla="*/ 220 h 342"/>
                <a:gd name="T68" fmla="*/ 24 w 528"/>
                <a:gd name="T69" fmla="*/ 244 h 342"/>
                <a:gd name="T70" fmla="*/ 29 w 528"/>
                <a:gd name="T71" fmla="*/ 267 h 342"/>
                <a:gd name="T72" fmla="*/ 35 w 528"/>
                <a:gd name="T73" fmla="*/ 302 h 342"/>
                <a:gd name="T74" fmla="*/ 41 w 528"/>
                <a:gd name="T75" fmla="*/ 313 h 342"/>
                <a:gd name="T76" fmla="*/ 53 w 528"/>
                <a:gd name="T77" fmla="*/ 342 h 342"/>
                <a:gd name="T78" fmla="*/ 99 w 528"/>
                <a:gd name="T79" fmla="*/ 331 h 342"/>
                <a:gd name="T80" fmla="*/ 122 w 528"/>
                <a:gd name="T81" fmla="*/ 331 h 342"/>
                <a:gd name="T82" fmla="*/ 140 w 528"/>
                <a:gd name="T83" fmla="*/ 325 h 342"/>
                <a:gd name="T84" fmla="*/ 186 w 528"/>
                <a:gd name="T85" fmla="*/ 313 h 342"/>
                <a:gd name="T86" fmla="*/ 227 w 528"/>
                <a:gd name="T87" fmla="*/ 307 h 342"/>
                <a:gd name="T88" fmla="*/ 250 w 528"/>
                <a:gd name="T89" fmla="*/ 302 h 342"/>
                <a:gd name="T90" fmla="*/ 308 w 528"/>
                <a:gd name="T91" fmla="*/ 290 h 342"/>
                <a:gd name="T92" fmla="*/ 343 w 528"/>
                <a:gd name="T93" fmla="*/ 284 h 3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8"/>
                <a:gd name="T142" fmla="*/ 0 h 342"/>
                <a:gd name="T143" fmla="*/ 528 w 528"/>
                <a:gd name="T144" fmla="*/ 342 h 3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8" h="342">
                  <a:moveTo>
                    <a:pt x="349" y="284"/>
                  </a:moveTo>
                  <a:lnTo>
                    <a:pt x="354" y="278"/>
                  </a:lnTo>
                  <a:lnTo>
                    <a:pt x="366" y="278"/>
                  </a:lnTo>
                  <a:lnTo>
                    <a:pt x="372" y="278"/>
                  </a:lnTo>
                  <a:lnTo>
                    <a:pt x="378" y="273"/>
                  </a:lnTo>
                  <a:lnTo>
                    <a:pt x="383" y="273"/>
                  </a:lnTo>
                  <a:lnTo>
                    <a:pt x="389" y="273"/>
                  </a:lnTo>
                  <a:lnTo>
                    <a:pt x="412" y="267"/>
                  </a:lnTo>
                  <a:lnTo>
                    <a:pt x="418" y="267"/>
                  </a:lnTo>
                  <a:lnTo>
                    <a:pt x="436" y="261"/>
                  </a:lnTo>
                  <a:lnTo>
                    <a:pt x="441" y="261"/>
                  </a:lnTo>
                  <a:lnTo>
                    <a:pt x="453" y="261"/>
                  </a:lnTo>
                  <a:lnTo>
                    <a:pt x="453" y="255"/>
                  </a:lnTo>
                  <a:lnTo>
                    <a:pt x="465" y="244"/>
                  </a:lnTo>
                  <a:lnTo>
                    <a:pt x="470" y="238"/>
                  </a:lnTo>
                  <a:lnTo>
                    <a:pt x="482" y="244"/>
                  </a:lnTo>
                  <a:lnTo>
                    <a:pt x="482" y="238"/>
                  </a:lnTo>
                  <a:lnTo>
                    <a:pt x="494" y="232"/>
                  </a:lnTo>
                  <a:lnTo>
                    <a:pt x="499" y="232"/>
                  </a:lnTo>
                  <a:lnTo>
                    <a:pt x="499" y="226"/>
                  </a:lnTo>
                  <a:lnTo>
                    <a:pt x="499" y="220"/>
                  </a:lnTo>
                  <a:lnTo>
                    <a:pt x="505" y="215"/>
                  </a:lnTo>
                  <a:lnTo>
                    <a:pt x="511" y="209"/>
                  </a:lnTo>
                  <a:lnTo>
                    <a:pt x="511" y="203"/>
                  </a:lnTo>
                  <a:lnTo>
                    <a:pt x="517" y="197"/>
                  </a:lnTo>
                  <a:lnTo>
                    <a:pt x="523" y="191"/>
                  </a:lnTo>
                  <a:lnTo>
                    <a:pt x="528" y="191"/>
                  </a:lnTo>
                  <a:lnTo>
                    <a:pt x="517" y="180"/>
                  </a:lnTo>
                  <a:lnTo>
                    <a:pt x="511" y="174"/>
                  </a:lnTo>
                  <a:lnTo>
                    <a:pt x="505" y="174"/>
                  </a:lnTo>
                  <a:lnTo>
                    <a:pt x="505" y="168"/>
                  </a:lnTo>
                  <a:lnTo>
                    <a:pt x="482" y="151"/>
                  </a:lnTo>
                  <a:lnTo>
                    <a:pt x="476" y="151"/>
                  </a:lnTo>
                  <a:lnTo>
                    <a:pt x="470" y="133"/>
                  </a:lnTo>
                  <a:lnTo>
                    <a:pt x="482" y="116"/>
                  </a:lnTo>
                  <a:lnTo>
                    <a:pt x="476" y="104"/>
                  </a:lnTo>
                  <a:lnTo>
                    <a:pt x="470" y="104"/>
                  </a:lnTo>
                  <a:lnTo>
                    <a:pt x="482" y="93"/>
                  </a:lnTo>
                  <a:lnTo>
                    <a:pt x="482" y="87"/>
                  </a:lnTo>
                  <a:lnTo>
                    <a:pt x="482" y="93"/>
                  </a:lnTo>
                  <a:lnTo>
                    <a:pt x="488" y="81"/>
                  </a:lnTo>
                  <a:lnTo>
                    <a:pt x="488" y="70"/>
                  </a:lnTo>
                  <a:lnTo>
                    <a:pt x="494" y="58"/>
                  </a:lnTo>
                  <a:lnTo>
                    <a:pt x="499" y="52"/>
                  </a:lnTo>
                  <a:lnTo>
                    <a:pt x="494" y="46"/>
                  </a:lnTo>
                  <a:lnTo>
                    <a:pt x="482" y="52"/>
                  </a:lnTo>
                  <a:lnTo>
                    <a:pt x="470" y="46"/>
                  </a:lnTo>
                  <a:lnTo>
                    <a:pt x="459" y="35"/>
                  </a:lnTo>
                  <a:lnTo>
                    <a:pt x="465" y="35"/>
                  </a:lnTo>
                  <a:lnTo>
                    <a:pt x="459" y="17"/>
                  </a:lnTo>
                  <a:lnTo>
                    <a:pt x="447" y="12"/>
                  </a:lnTo>
                  <a:lnTo>
                    <a:pt x="447" y="6"/>
                  </a:lnTo>
                  <a:lnTo>
                    <a:pt x="441" y="12"/>
                  </a:lnTo>
                  <a:lnTo>
                    <a:pt x="424" y="0"/>
                  </a:lnTo>
                  <a:lnTo>
                    <a:pt x="418" y="0"/>
                  </a:lnTo>
                  <a:lnTo>
                    <a:pt x="389" y="6"/>
                  </a:lnTo>
                  <a:lnTo>
                    <a:pt x="372" y="12"/>
                  </a:lnTo>
                  <a:lnTo>
                    <a:pt x="366" y="12"/>
                  </a:lnTo>
                  <a:lnTo>
                    <a:pt x="360" y="12"/>
                  </a:lnTo>
                  <a:lnTo>
                    <a:pt x="354" y="17"/>
                  </a:lnTo>
                  <a:lnTo>
                    <a:pt x="343" y="17"/>
                  </a:lnTo>
                  <a:lnTo>
                    <a:pt x="325" y="23"/>
                  </a:lnTo>
                  <a:lnTo>
                    <a:pt x="308" y="23"/>
                  </a:lnTo>
                  <a:lnTo>
                    <a:pt x="302" y="29"/>
                  </a:lnTo>
                  <a:lnTo>
                    <a:pt x="296" y="29"/>
                  </a:lnTo>
                  <a:lnTo>
                    <a:pt x="291" y="29"/>
                  </a:lnTo>
                  <a:lnTo>
                    <a:pt x="285" y="29"/>
                  </a:lnTo>
                  <a:lnTo>
                    <a:pt x="250" y="41"/>
                  </a:lnTo>
                  <a:lnTo>
                    <a:pt x="238" y="41"/>
                  </a:lnTo>
                  <a:lnTo>
                    <a:pt x="232" y="41"/>
                  </a:lnTo>
                  <a:lnTo>
                    <a:pt x="227" y="41"/>
                  </a:lnTo>
                  <a:lnTo>
                    <a:pt x="215" y="46"/>
                  </a:lnTo>
                  <a:lnTo>
                    <a:pt x="198" y="46"/>
                  </a:lnTo>
                  <a:lnTo>
                    <a:pt x="192" y="52"/>
                  </a:lnTo>
                  <a:lnTo>
                    <a:pt x="186" y="52"/>
                  </a:lnTo>
                  <a:lnTo>
                    <a:pt x="180" y="52"/>
                  </a:lnTo>
                  <a:lnTo>
                    <a:pt x="157" y="58"/>
                  </a:lnTo>
                  <a:lnTo>
                    <a:pt x="134" y="64"/>
                  </a:lnTo>
                  <a:lnTo>
                    <a:pt x="128" y="64"/>
                  </a:lnTo>
                  <a:lnTo>
                    <a:pt x="122" y="64"/>
                  </a:lnTo>
                  <a:lnTo>
                    <a:pt x="116" y="64"/>
                  </a:lnTo>
                  <a:lnTo>
                    <a:pt x="111" y="70"/>
                  </a:lnTo>
                  <a:lnTo>
                    <a:pt x="87" y="70"/>
                  </a:lnTo>
                  <a:lnTo>
                    <a:pt x="76" y="75"/>
                  </a:lnTo>
                  <a:lnTo>
                    <a:pt x="70" y="75"/>
                  </a:lnTo>
                  <a:lnTo>
                    <a:pt x="58" y="75"/>
                  </a:lnTo>
                  <a:lnTo>
                    <a:pt x="53" y="46"/>
                  </a:lnTo>
                  <a:lnTo>
                    <a:pt x="24" y="70"/>
                  </a:lnTo>
                  <a:lnTo>
                    <a:pt x="0" y="87"/>
                  </a:lnTo>
                  <a:lnTo>
                    <a:pt x="0" y="93"/>
                  </a:lnTo>
                  <a:lnTo>
                    <a:pt x="0" y="104"/>
                  </a:lnTo>
                  <a:lnTo>
                    <a:pt x="6" y="122"/>
                  </a:lnTo>
                  <a:lnTo>
                    <a:pt x="6" y="128"/>
                  </a:lnTo>
                  <a:lnTo>
                    <a:pt x="6" y="145"/>
                  </a:lnTo>
                  <a:lnTo>
                    <a:pt x="12" y="157"/>
                  </a:lnTo>
                  <a:lnTo>
                    <a:pt x="12" y="168"/>
                  </a:lnTo>
                  <a:lnTo>
                    <a:pt x="18" y="186"/>
                  </a:lnTo>
                  <a:lnTo>
                    <a:pt x="18" y="197"/>
                  </a:lnTo>
                  <a:lnTo>
                    <a:pt x="18" y="203"/>
                  </a:lnTo>
                  <a:lnTo>
                    <a:pt x="18" y="209"/>
                  </a:lnTo>
                  <a:lnTo>
                    <a:pt x="18" y="215"/>
                  </a:lnTo>
                  <a:lnTo>
                    <a:pt x="24" y="220"/>
                  </a:lnTo>
                  <a:lnTo>
                    <a:pt x="24" y="232"/>
                  </a:lnTo>
                  <a:lnTo>
                    <a:pt x="24" y="238"/>
                  </a:lnTo>
                  <a:lnTo>
                    <a:pt x="24" y="244"/>
                  </a:lnTo>
                  <a:lnTo>
                    <a:pt x="29" y="255"/>
                  </a:lnTo>
                  <a:lnTo>
                    <a:pt x="29" y="261"/>
                  </a:lnTo>
                  <a:lnTo>
                    <a:pt x="29" y="267"/>
                  </a:lnTo>
                  <a:lnTo>
                    <a:pt x="35" y="284"/>
                  </a:lnTo>
                  <a:lnTo>
                    <a:pt x="35" y="296"/>
                  </a:lnTo>
                  <a:lnTo>
                    <a:pt x="35" y="302"/>
                  </a:lnTo>
                  <a:lnTo>
                    <a:pt x="35" y="307"/>
                  </a:lnTo>
                  <a:lnTo>
                    <a:pt x="35" y="313"/>
                  </a:lnTo>
                  <a:lnTo>
                    <a:pt x="41" y="313"/>
                  </a:lnTo>
                  <a:lnTo>
                    <a:pt x="41" y="342"/>
                  </a:lnTo>
                  <a:lnTo>
                    <a:pt x="47" y="342"/>
                  </a:lnTo>
                  <a:lnTo>
                    <a:pt x="53" y="342"/>
                  </a:lnTo>
                  <a:lnTo>
                    <a:pt x="58" y="342"/>
                  </a:lnTo>
                  <a:lnTo>
                    <a:pt x="93" y="331"/>
                  </a:lnTo>
                  <a:lnTo>
                    <a:pt x="99" y="331"/>
                  </a:lnTo>
                  <a:lnTo>
                    <a:pt x="105" y="331"/>
                  </a:lnTo>
                  <a:lnTo>
                    <a:pt x="111" y="331"/>
                  </a:lnTo>
                  <a:lnTo>
                    <a:pt x="122" y="331"/>
                  </a:lnTo>
                  <a:lnTo>
                    <a:pt x="128" y="325"/>
                  </a:lnTo>
                  <a:lnTo>
                    <a:pt x="134" y="325"/>
                  </a:lnTo>
                  <a:lnTo>
                    <a:pt x="140" y="325"/>
                  </a:lnTo>
                  <a:lnTo>
                    <a:pt x="169" y="319"/>
                  </a:lnTo>
                  <a:lnTo>
                    <a:pt x="180" y="319"/>
                  </a:lnTo>
                  <a:lnTo>
                    <a:pt x="186" y="313"/>
                  </a:lnTo>
                  <a:lnTo>
                    <a:pt x="192" y="313"/>
                  </a:lnTo>
                  <a:lnTo>
                    <a:pt x="215" y="307"/>
                  </a:lnTo>
                  <a:lnTo>
                    <a:pt x="227" y="307"/>
                  </a:lnTo>
                  <a:lnTo>
                    <a:pt x="232" y="307"/>
                  </a:lnTo>
                  <a:lnTo>
                    <a:pt x="238" y="307"/>
                  </a:lnTo>
                  <a:lnTo>
                    <a:pt x="250" y="302"/>
                  </a:lnTo>
                  <a:lnTo>
                    <a:pt x="262" y="302"/>
                  </a:lnTo>
                  <a:lnTo>
                    <a:pt x="302" y="290"/>
                  </a:lnTo>
                  <a:lnTo>
                    <a:pt x="308" y="290"/>
                  </a:lnTo>
                  <a:lnTo>
                    <a:pt x="320" y="290"/>
                  </a:lnTo>
                  <a:lnTo>
                    <a:pt x="325" y="284"/>
                  </a:lnTo>
                  <a:lnTo>
                    <a:pt x="343" y="284"/>
                  </a:lnTo>
                  <a:lnTo>
                    <a:pt x="349" y="28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6" name="Freeform 17"/>
            <p:cNvSpPr>
              <a:spLocks/>
            </p:cNvSpPr>
            <p:nvPr/>
          </p:nvSpPr>
          <p:spPr bwMode="auto">
            <a:xfrm>
              <a:off x="5661" y="2143"/>
              <a:ext cx="70" cy="93"/>
            </a:xfrm>
            <a:custGeom>
              <a:avLst/>
              <a:gdLst>
                <a:gd name="T0" fmla="*/ 58 w 70"/>
                <a:gd name="T1" fmla="*/ 35 h 93"/>
                <a:gd name="T2" fmla="*/ 64 w 70"/>
                <a:gd name="T3" fmla="*/ 35 h 93"/>
                <a:gd name="T4" fmla="*/ 64 w 70"/>
                <a:gd name="T5" fmla="*/ 41 h 93"/>
                <a:gd name="T6" fmla="*/ 70 w 70"/>
                <a:gd name="T7" fmla="*/ 52 h 93"/>
                <a:gd name="T8" fmla="*/ 64 w 70"/>
                <a:gd name="T9" fmla="*/ 58 h 93"/>
                <a:gd name="T10" fmla="*/ 64 w 70"/>
                <a:gd name="T11" fmla="*/ 52 h 93"/>
                <a:gd name="T12" fmla="*/ 58 w 70"/>
                <a:gd name="T13" fmla="*/ 52 h 93"/>
                <a:gd name="T14" fmla="*/ 58 w 70"/>
                <a:gd name="T15" fmla="*/ 64 h 93"/>
                <a:gd name="T16" fmla="*/ 46 w 70"/>
                <a:gd name="T17" fmla="*/ 64 h 93"/>
                <a:gd name="T18" fmla="*/ 46 w 70"/>
                <a:gd name="T19" fmla="*/ 76 h 93"/>
                <a:gd name="T20" fmla="*/ 35 w 70"/>
                <a:gd name="T21" fmla="*/ 81 h 93"/>
                <a:gd name="T22" fmla="*/ 12 w 70"/>
                <a:gd name="T23" fmla="*/ 93 h 93"/>
                <a:gd name="T24" fmla="*/ 12 w 70"/>
                <a:gd name="T25" fmla="*/ 87 h 93"/>
                <a:gd name="T26" fmla="*/ 17 w 70"/>
                <a:gd name="T27" fmla="*/ 76 h 93"/>
                <a:gd name="T28" fmla="*/ 12 w 70"/>
                <a:gd name="T29" fmla="*/ 58 h 93"/>
                <a:gd name="T30" fmla="*/ 12 w 70"/>
                <a:gd name="T31" fmla="*/ 52 h 93"/>
                <a:gd name="T32" fmla="*/ 6 w 70"/>
                <a:gd name="T33" fmla="*/ 41 h 93"/>
                <a:gd name="T34" fmla="*/ 0 w 70"/>
                <a:gd name="T35" fmla="*/ 23 h 93"/>
                <a:gd name="T36" fmla="*/ 0 w 70"/>
                <a:gd name="T37" fmla="*/ 12 h 93"/>
                <a:gd name="T38" fmla="*/ 17 w 70"/>
                <a:gd name="T39" fmla="*/ 6 h 93"/>
                <a:gd name="T40" fmla="*/ 23 w 70"/>
                <a:gd name="T41" fmla="*/ 6 h 93"/>
                <a:gd name="T42" fmla="*/ 29 w 70"/>
                <a:gd name="T43" fmla="*/ 6 h 93"/>
                <a:gd name="T44" fmla="*/ 35 w 70"/>
                <a:gd name="T45" fmla="*/ 0 h 93"/>
                <a:gd name="T46" fmla="*/ 35 w 70"/>
                <a:gd name="T47" fmla="*/ 6 h 93"/>
                <a:gd name="T48" fmla="*/ 35 w 70"/>
                <a:gd name="T49" fmla="*/ 18 h 93"/>
                <a:gd name="T50" fmla="*/ 41 w 70"/>
                <a:gd name="T51" fmla="*/ 12 h 93"/>
                <a:gd name="T52" fmla="*/ 46 w 70"/>
                <a:gd name="T53" fmla="*/ 29 h 93"/>
                <a:gd name="T54" fmla="*/ 52 w 70"/>
                <a:gd name="T55" fmla="*/ 29 h 93"/>
                <a:gd name="T56" fmla="*/ 58 w 70"/>
                <a:gd name="T57" fmla="*/ 35 h 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0"/>
                <a:gd name="T88" fmla="*/ 0 h 93"/>
                <a:gd name="T89" fmla="*/ 70 w 70"/>
                <a:gd name="T90" fmla="*/ 93 h 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0" h="93">
                  <a:moveTo>
                    <a:pt x="58" y="35"/>
                  </a:moveTo>
                  <a:lnTo>
                    <a:pt x="64" y="35"/>
                  </a:lnTo>
                  <a:lnTo>
                    <a:pt x="64" y="41"/>
                  </a:lnTo>
                  <a:lnTo>
                    <a:pt x="70" y="52"/>
                  </a:lnTo>
                  <a:lnTo>
                    <a:pt x="64" y="58"/>
                  </a:lnTo>
                  <a:lnTo>
                    <a:pt x="64" y="52"/>
                  </a:lnTo>
                  <a:lnTo>
                    <a:pt x="58" y="52"/>
                  </a:lnTo>
                  <a:lnTo>
                    <a:pt x="58" y="64"/>
                  </a:lnTo>
                  <a:lnTo>
                    <a:pt x="46" y="64"/>
                  </a:lnTo>
                  <a:lnTo>
                    <a:pt x="46" y="76"/>
                  </a:lnTo>
                  <a:lnTo>
                    <a:pt x="35" y="81"/>
                  </a:lnTo>
                  <a:lnTo>
                    <a:pt x="12" y="93"/>
                  </a:lnTo>
                  <a:lnTo>
                    <a:pt x="12" y="87"/>
                  </a:lnTo>
                  <a:lnTo>
                    <a:pt x="17" y="76"/>
                  </a:lnTo>
                  <a:lnTo>
                    <a:pt x="12" y="58"/>
                  </a:lnTo>
                  <a:lnTo>
                    <a:pt x="12" y="52"/>
                  </a:lnTo>
                  <a:lnTo>
                    <a:pt x="6" y="41"/>
                  </a:lnTo>
                  <a:lnTo>
                    <a:pt x="0" y="23"/>
                  </a:lnTo>
                  <a:lnTo>
                    <a:pt x="0" y="12"/>
                  </a:lnTo>
                  <a:lnTo>
                    <a:pt x="17" y="6"/>
                  </a:lnTo>
                  <a:lnTo>
                    <a:pt x="23" y="6"/>
                  </a:lnTo>
                  <a:lnTo>
                    <a:pt x="29" y="6"/>
                  </a:lnTo>
                  <a:lnTo>
                    <a:pt x="35" y="0"/>
                  </a:lnTo>
                  <a:lnTo>
                    <a:pt x="35" y="6"/>
                  </a:lnTo>
                  <a:lnTo>
                    <a:pt x="35" y="18"/>
                  </a:lnTo>
                  <a:lnTo>
                    <a:pt x="41" y="12"/>
                  </a:lnTo>
                  <a:lnTo>
                    <a:pt x="46" y="29"/>
                  </a:lnTo>
                  <a:lnTo>
                    <a:pt x="52" y="29"/>
                  </a:lnTo>
                  <a:lnTo>
                    <a:pt x="58" y="3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7" name="Freeform 18"/>
            <p:cNvSpPr>
              <a:spLocks/>
            </p:cNvSpPr>
            <p:nvPr/>
          </p:nvSpPr>
          <p:spPr bwMode="auto">
            <a:xfrm>
              <a:off x="5446" y="1818"/>
              <a:ext cx="151" cy="290"/>
            </a:xfrm>
            <a:custGeom>
              <a:avLst/>
              <a:gdLst>
                <a:gd name="T0" fmla="*/ 35 w 151"/>
                <a:gd name="T1" fmla="*/ 180 h 290"/>
                <a:gd name="T2" fmla="*/ 35 w 151"/>
                <a:gd name="T3" fmla="*/ 198 h 290"/>
                <a:gd name="T4" fmla="*/ 41 w 151"/>
                <a:gd name="T5" fmla="*/ 192 h 290"/>
                <a:gd name="T6" fmla="*/ 58 w 151"/>
                <a:gd name="T7" fmla="*/ 227 h 290"/>
                <a:gd name="T8" fmla="*/ 58 w 151"/>
                <a:gd name="T9" fmla="*/ 232 h 290"/>
                <a:gd name="T10" fmla="*/ 58 w 151"/>
                <a:gd name="T11" fmla="*/ 250 h 290"/>
                <a:gd name="T12" fmla="*/ 64 w 151"/>
                <a:gd name="T13" fmla="*/ 267 h 290"/>
                <a:gd name="T14" fmla="*/ 70 w 151"/>
                <a:gd name="T15" fmla="*/ 279 h 290"/>
                <a:gd name="T16" fmla="*/ 70 w 151"/>
                <a:gd name="T17" fmla="*/ 290 h 290"/>
                <a:gd name="T18" fmla="*/ 87 w 151"/>
                <a:gd name="T19" fmla="*/ 285 h 290"/>
                <a:gd name="T20" fmla="*/ 93 w 151"/>
                <a:gd name="T21" fmla="*/ 285 h 290"/>
                <a:gd name="T22" fmla="*/ 99 w 151"/>
                <a:gd name="T23" fmla="*/ 285 h 290"/>
                <a:gd name="T24" fmla="*/ 116 w 151"/>
                <a:gd name="T25" fmla="*/ 279 h 290"/>
                <a:gd name="T26" fmla="*/ 134 w 151"/>
                <a:gd name="T27" fmla="*/ 273 h 290"/>
                <a:gd name="T28" fmla="*/ 140 w 151"/>
                <a:gd name="T29" fmla="*/ 273 h 290"/>
                <a:gd name="T30" fmla="*/ 122 w 151"/>
                <a:gd name="T31" fmla="*/ 250 h 290"/>
                <a:gd name="T32" fmla="*/ 128 w 151"/>
                <a:gd name="T33" fmla="*/ 244 h 290"/>
                <a:gd name="T34" fmla="*/ 128 w 151"/>
                <a:gd name="T35" fmla="*/ 227 h 290"/>
                <a:gd name="T36" fmla="*/ 122 w 151"/>
                <a:gd name="T37" fmla="*/ 221 h 290"/>
                <a:gd name="T38" fmla="*/ 122 w 151"/>
                <a:gd name="T39" fmla="*/ 186 h 290"/>
                <a:gd name="T40" fmla="*/ 116 w 151"/>
                <a:gd name="T41" fmla="*/ 180 h 290"/>
                <a:gd name="T42" fmla="*/ 122 w 151"/>
                <a:gd name="T43" fmla="*/ 174 h 290"/>
                <a:gd name="T44" fmla="*/ 122 w 151"/>
                <a:gd name="T45" fmla="*/ 157 h 290"/>
                <a:gd name="T46" fmla="*/ 128 w 151"/>
                <a:gd name="T47" fmla="*/ 151 h 290"/>
                <a:gd name="T48" fmla="*/ 128 w 151"/>
                <a:gd name="T49" fmla="*/ 128 h 290"/>
                <a:gd name="T50" fmla="*/ 128 w 151"/>
                <a:gd name="T51" fmla="*/ 110 h 290"/>
                <a:gd name="T52" fmla="*/ 122 w 151"/>
                <a:gd name="T53" fmla="*/ 99 h 290"/>
                <a:gd name="T54" fmla="*/ 128 w 151"/>
                <a:gd name="T55" fmla="*/ 87 h 290"/>
                <a:gd name="T56" fmla="*/ 140 w 151"/>
                <a:gd name="T57" fmla="*/ 81 h 290"/>
                <a:gd name="T58" fmla="*/ 140 w 151"/>
                <a:gd name="T59" fmla="*/ 76 h 290"/>
                <a:gd name="T60" fmla="*/ 151 w 151"/>
                <a:gd name="T61" fmla="*/ 58 h 290"/>
                <a:gd name="T62" fmla="*/ 140 w 151"/>
                <a:gd name="T63" fmla="*/ 35 h 290"/>
                <a:gd name="T64" fmla="*/ 145 w 151"/>
                <a:gd name="T65" fmla="*/ 12 h 290"/>
                <a:gd name="T66" fmla="*/ 145 w 151"/>
                <a:gd name="T67" fmla="*/ 0 h 290"/>
                <a:gd name="T68" fmla="*/ 111 w 151"/>
                <a:gd name="T69" fmla="*/ 12 h 290"/>
                <a:gd name="T70" fmla="*/ 58 w 151"/>
                <a:gd name="T71" fmla="*/ 23 h 290"/>
                <a:gd name="T72" fmla="*/ 12 w 151"/>
                <a:gd name="T73" fmla="*/ 41 h 290"/>
                <a:gd name="T74" fmla="*/ 6 w 151"/>
                <a:gd name="T75" fmla="*/ 41 h 290"/>
                <a:gd name="T76" fmla="*/ 0 w 151"/>
                <a:gd name="T77" fmla="*/ 41 h 290"/>
                <a:gd name="T78" fmla="*/ 0 w 151"/>
                <a:gd name="T79" fmla="*/ 58 h 290"/>
                <a:gd name="T80" fmla="*/ 12 w 151"/>
                <a:gd name="T81" fmla="*/ 93 h 290"/>
                <a:gd name="T82" fmla="*/ 18 w 151"/>
                <a:gd name="T83" fmla="*/ 99 h 290"/>
                <a:gd name="T84" fmla="*/ 23 w 151"/>
                <a:gd name="T85" fmla="*/ 122 h 290"/>
                <a:gd name="T86" fmla="*/ 18 w 151"/>
                <a:gd name="T87" fmla="*/ 134 h 290"/>
                <a:gd name="T88" fmla="*/ 18 w 151"/>
                <a:gd name="T89" fmla="*/ 145 h 290"/>
                <a:gd name="T90" fmla="*/ 29 w 151"/>
                <a:gd name="T91" fmla="*/ 174 h 290"/>
                <a:gd name="T92" fmla="*/ 35 w 151"/>
                <a:gd name="T93" fmla="*/ 174 h 290"/>
                <a:gd name="T94" fmla="*/ 35 w 151"/>
                <a:gd name="T95" fmla="*/ 180 h 2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1"/>
                <a:gd name="T145" fmla="*/ 0 h 290"/>
                <a:gd name="T146" fmla="*/ 151 w 151"/>
                <a:gd name="T147" fmla="*/ 290 h 2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1" h="290">
                  <a:moveTo>
                    <a:pt x="35" y="180"/>
                  </a:moveTo>
                  <a:lnTo>
                    <a:pt x="35" y="198"/>
                  </a:lnTo>
                  <a:lnTo>
                    <a:pt x="41" y="192"/>
                  </a:lnTo>
                  <a:lnTo>
                    <a:pt x="58" y="227"/>
                  </a:lnTo>
                  <a:lnTo>
                    <a:pt x="58" y="232"/>
                  </a:lnTo>
                  <a:lnTo>
                    <a:pt x="58" y="250"/>
                  </a:lnTo>
                  <a:lnTo>
                    <a:pt x="64" y="267"/>
                  </a:lnTo>
                  <a:lnTo>
                    <a:pt x="70" y="279"/>
                  </a:lnTo>
                  <a:lnTo>
                    <a:pt x="70" y="290"/>
                  </a:lnTo>
                  <a:lnTo>
                    <a:pt x="87" y="285"/>
                  </a:lnTo>
                  <a:lnTo>
                    <a:pt x="93" y="285"/>
                  </a:lnTo>
                  <a:lnTo>
                    <a:pt x="99" y="285"/>
                  </a:lnTo>
                  <a:lnTo>
                    <a:pt x="116" y="279"/>
                  </a:lnTo>
                  <a:lnTo>
                    <a:pt x="134" y="273"/>
                  </a:lnTo>
                  <a:lnTo>
                    <a:pt x="140" y="273"/>
                  </a:lnTo>
                  <a:lnTo>
                    <a:pt x="122" y="250"/>
                  </a:lnTo>
                  <a:lnTo>
                    <a:pt x="128" y="244"/>
                  </a:lnTo>
                  <a:lnTo>
                    <a:pt x="128" y="227"/>
                  </a:lnTo>
                  <a:lnTo>
                    <a:pt x="122" y="221"/>
                  </a:lnTo>
                  <a:lnTo>
                    <a:pt x="122" y="186"/>
                  </a:lnTo>
                  <a:lnTo>
                    <a:pt x="116" y="180"/>
                  </a:lnTo>
                  <a:lnTo>
                    <a:pt x="122" y="174"/>
                  </a:lnTo>
                  <a:lnTo>
                    <a:pt x="122" y="157"/>
                  </a:lnTo>
                  <a:lnTo>
                    <a:pt x="128" y="151"/>
                  </a:lnTo>
                  <a:lnTo>
                    <a:pt x="128" y="128"/>
                  </a:lnTo>
                  <a:lnTo>
                    <a:pt x="128" y="110"/>
                  </a:lnTo>
                  <a:lnTo>
                    <a:pt x="122" y="99"/>
                  </a:lnTo>
                  <a:lnTo>
                    <a:pt x="128" y="87"/>
                  </a:lnTo>
                  <a:lnTo>
                    <a:pt x="140" y="81"/>
                  </a:lnTo>
                  <a:lnTo>
                    <a:pt x="140" y="76"/>
                  </a:lnTo>
                  <a:lnTo>
                    <a:pt x="151" y="58"/>
                  </a:lnTo>
                  <a:lnTo>
                    <a:pt x="140" y="35"/>
                  </a:lnTo>
                  <a:lnTo>
                    <a:pt x="145" y="12"/>
                  </a:lnTo>
                  <a:lnTo>
                    <a:pt x="145" y="0"/>
                  </a:lnTo>
                  <a:lnTo>
                    <a:pt x="111" y="12"/>
                  </a:lnTo>
                  <a:lnTo>
                    <a:pt x="58" y="23"/>
                  </a:lnTo>
                  <a:lnTo>
                    <a:pt x="12" y="41"/>
                  </a:lnTo>
                  <a:lnTo>
                    <a:pt x="6" y="41"/>
                  </a:lnTo>
                  <a:lnTo>
                    <a:pt x="0" y="41"/>
                  </a:lnTo>
                  <a:lnTo>
                    <a:pt x="0" y="58"/>
                  </a:lnTo>
                  <a:lnTo>
                    <a:pt x="12" y="93"/>
                  </a:lnTo>
                  <a:lnTo>
                    <a:pt x="18" y="99"/>
                  </a:lnTo>
                  <a:lnTo>
                    <a:pt x="23" y="122"/>
                  </a:lnTo>
                  <a:lnTo>
                    <a:pt x="18" y="134"/>
                  </a:lnTo>
                  <a:lnTo>
                    <a:pt x="18" y="145"/>
                  </a:lnTo>
                  <a:lnTo>
                    <a:pt x="29" y="174"/>
                  </a:lnTo>
                  <a:lnTo>
                    <a:pt x="35" y="174"/>
                  </a:lnTo>
                  <a:lnTo>
                    <a:pt x="35" y="18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8" name="Freeform 19"/>
            <p:cNvSpPr>
              <a:spLocks/>
            </p:cNvSpPr>
            <p:nvPr/>
          </p:nvSpPr>
          <p:spPr bwMode="auto">
            <a:xfrm>
              <a:off x="4727" y="2845"/>
              <a:ext cx="806" cy="360"/>
            </a:xfrm>
            <a:custGeom>
              <a:avLst/>
              <a:gdLst>
                <a:gd name="T0" fmla="*/ 174 w 806"/>
                <a:gd name="T1" fmla="*/ 162 h 360"/>
                <a:gd name="T2" fmla="*/ 185 w 806"/>
                <a:gd name="T3" fmla="*/ 162 h 360"/>
                <a:gd name="T4" fmla="*/ 197 w 806"/>
                <a:gd name="T5" fmla="*/ 139 h 360"/>
                <a:gd name="T6" fmla="*/ 214 w 806"/>
                <a:gd name="T7" fmla="*/ 128 h 360"/>
                <a:gd name="T8" fmla="*/ 220 w 806"/>
                <a:gd name="T9" fmla="*/ 104 h 360"/>
                <a:gd name="T10" fmla="*/ 243 w 806"/>
                <a:gd name="T11" fmla="*/ 99 h 360"/>
                <a:gd name="T12" fmla="*/ 284 w 806"/>
                <a:gd name="T13" fmla="*/ 93 h 360"/>
                <a:gd name="T14" fmla="*/ 301 w 806"/>
                <a:gd name="T15" fmla="*/ 93 h 360"/>
                <a:gd name="T16" fmla="*/ 325 w 806"/>
                <a:gd name="T17" fmla="*/ 87 h 360"/>
                <a:gd name="T18" fmla="*/ 359 w 806"/>
                <a:gd name="T19" fmla="*/ 81 h 360"/>
                <a:gd name="T20" fmla="*/ 377 w 806"/>
                <a:gd name="T21" fmla="*/ 81 h 360"/>
                <a:gd name="T22" fmla="*/ 406 w 806"/>
                <a:gd name="T23" fmla="*/ 75 h 360"/>
                <a:gd name="T24" fmla="*/ 435 w 806"/>
                <a:gd name="T25" fmla="*/ 70 h 360"/>
                <a:gd name="T26" fmla="*/ 476 w 806"/>
                <a:gd name="T27" fmla="*/ 64 h 360"/>
                <a:gd name="T28" fmla="*/ 493 w 806"/>
                <a:gd name="T29" fmla="*/ 58 h 360"/>
                <a:gd name="T30" fmla="*/ 516 w 806"/>
                <a:gd name="T31" fmla="*/ 52 h 360"/>
                <a:gd name="T32" fmla="*/ 545 w 806"/>
                <a:gd name="T33" fmla="*/ 46 h 360"/>
                <a:gd name="T34" fmla="*/ 563 w 806"/>
                <a:gd name="T35" fmla="*/ 41 h 360"/>
                <a:gd name="T36" fmla="*/ 592 w 806"/>
                <a:gd name="T37" fmla="*/ 35 h 360"/>
                <a:gd name="T38" fmla="*/ 632 w 806"/>
                <a:gd name="T39" fmla="*/ 29 h 360"/>
                <a:gd name="T40" fmla="*/ 661 w 806"/>
                <a:gd name="T41" fmla="*/ 23 h 360"/>
                <a:gd name="T42" fmla="*/ 696 w 806"/>
                <a:gd name="T43" fmla="*/ 12 h 360"/>
                <a:gd name="T44" fmla="*/ 719 w 806"/>
                <a:gd name="T45" fmla="*/ 6 h 360"/>
                <a:gd name="T46" fmla="*/ 742 w 806"/>
                <a:gd name="T47" fmla="*/ 6 h 360"/>
                <a:gd name="T48" fmla="*/ 806 w 806"/>
                <a:gd name="T49" fmla="*/ 139 h 360"/>
                <a:gd name="T50" fmla="*/ 748 w 806"/>
                <a:gd name="T51" fmla="*/ 197 h 360"/>
                <a:gd name="T52" fmla="*/ 708 w 806"/>
                <a:gd name="T53" fmla="*/ 226 h 360"/>
                <a:gd name="T54" fmla="*/ 644 w 806"/>
                <a:gd name="T55" fmla="*/ 273 h 360"/>
                <a:gd name="T56" fmla="*/ 615 w 806"/>
                <a:gd name="T57" fmla="*/ 336 h 360"/>
                <a:gd name="T58" fmla="*/ 574 w 806"/>
                <a:gd name="T59" fmla="*/ 348 h 360"/>
                <a:gd name="T60" fmla="*/ 551 w 806"/>
                <a:gd name="T61" fmla="*/ 348 h 360"/>
                <a:gd name="T62" fmla="*/ 505 w 806"/>
                <a:gd name="T63" fmla="*/ 319 h 360"/>
                <a:gd name="T64" fmla="*/ 458 w 806"/>
                <a:gd name="T65" fmla="*/ 290 h 360"/>
                <a:gd name="T66" fmla="*/ 435 w 806"/>
                <a:gd name="T67" fmla="*/ 273 h 360"/>
                <a:gd name="T68" fmla="*/ 412 w 806"/>
                <a:gd name="T69" fmla="*/ 273 h 360"/>
                <a:gd name="T70" fmla="*/ 371 w 806"/>
                <a:gd name="T71" fmla="*/ 278 h 360"/>
                <a:gd name="T72" fmla="*/ 330 w 806"/>
                <a:gd name="T73" fmla="*/ 290 h 360"/>
                <a:gd name="T74" fmla="*/ 319 w 806"/>
                <a:gd name="T75" fmla="*/ 267 h 360"/>
                <a:gd name="T76" fmla="*/ 301 w 806"/>
                <a:gd name="T77" fmla="*/ 255 h 360"/>
                <a:gd name="T78" fmla="*/ 272 w 806"/>
                <a:gd name="T79" fmla="*/ 255 h 360"/>
                <a:gd name="T80" fmla="*/ 238 w 806"/>
                <a:gd name="T81" fmla="*/ 261 h 360"/>
                <a:gd name="T82" fmla="*/ 214 w 806"/>
                <a:gd name="T83" fmla="*/ 267 h 360"/>
                <a:gd name="T84" fmla="*/ 191 w 806"/>
                <a:gd name="T85" fmla="*/ 267 h 360"/>
                <a:gd name="T86" fmla="*/ 156 w 806"/>
                <a:gd name="T87" fmla="*/ 278 h 360"/>
                <a:gd name="T88" fmla="*/ 133 w 806"/>
                <a:gd name="T89" fmla="*/ 290 h 360"/>
                <a:gd name="T90" fmla="*/ 110 w 806"/>
                <a:gd name="T91" fmla="*/ 302 h 360"/>
                <a:gd name="T92" fmla="*/ 75 w 806"/>
                <a:gd name="T93" fmla="*/ 307 h 360"/>
                <a:gd name="T94" fmla="*/ 34 w 806"/>
                <a:gd name="T95" fmla="*/ 313 h 360"/>
                <a:gd name="T96" fmla="*/ 5 w 806"/>
                <a:gd name="T97" fmla="*/ 319 h 360"/>
                <a:gd name="T98" fmla="*/ 0 w 806"/>
                <a:gd name="T99" fmla="*/ 296 h 360"/>
                <a:gd name="T100" fmla="*/ 23 w 806"/>
                <a:gd name="T101" fmla="*/ 284 h 360"/>
                <a:gd name="T102" fmla="*/ 23 w 806"/>
                <a:gd name="T103" fmla="*/ 261 h 360"/>
                <a:gd name="T104" fmla="*/ 46 w 806"/>
                <a:gd name="T105" fmla="*/ 249 h 360"/>
                <a:gd name="T106" fmla="*/ 87 w 806"/>
                <a:gd name="T107" fmla="*/ 226 h 360"/>
                <a:gd name="T108" fmla="*/ 110 w 806"/>
                <a:gd name="T109" fmla="*/ 209 h 360"/>
                <a:gd name="T110" fmla="*/ 116 w 806"/>
                <a:gd name="T111" fmla="*/ 191 h 360"/>
                <a:gd name="T112" fmla="*/ 139 w 806"/>
                <a:gd name="T113" fmla="*/ 180 h 360"/>
                <a:gd name="T114" fmla="*/ 156 w 806"/>
                <a:gd name="T115" fmla="*/ 180 h 3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06"/>
                <a:gd name="T175" fmla="*/ 0 h 360"/>
                <a:gd name="T176" fmla="*/ 806 w 806"/>
                <a:gd name="T177" fmla="*/ 360 h 3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06" h="360">
                  <a:moveTo>
                    <a:pt x="156" y="174"/>
                  </a:moveTo>
                  <a:lnTo>
                    <a:pt x="162" y="168"/>
                  </a:lnTo>
                  <a:lnTo>
                    <a:pt x="174" y="162"/>
                  </a:lnTo>
                  <a:lnTo>
                    <a:pt x="174" y="157"/>
                  </a:lnTo>
                  <a:lnTo>
                    <a:pt x="180" y="162"/>
                  </a:lnTo>
                  <a:lnTo>
                    <a:pt x="185" y="162"/>
                  </a:lnTo>
                  <a:lnTo>
                    <a:pt x="191" y="162"/>
                  </a:lnTo>
                  <a:lnTo>
                    <a:pt x="197" y="145"/>
                  </a:lnTo>
                  <a:lnTo>
                    <a:pt x="197" y="139"/>
                  </a:lnTo>
                  <a:lnTo>
                    <a:pt x="203" y="133"/>
                  </a:lnTo>
                  <a:lnTo>
                    <a:pt x="214" y="133"/>
                  </a:lnTo>
                  <a:lnTo>
                    <a:pt x="214" y="128"/>
                  </a:lnTo>
                  <a:lnTo>
                    <a:pt x="214" y="110"/>
                  </a:lnTo>
                  <a:lnTo>
                    <a:pt x="214" y="104"/>
                  </a:lnTo>
                  <a:lnTo>
                    <a:pt x="220" y="104"/>
                  </a:lnTo>
                  <a:lnTo>
                    <a:pt x="232" y="99"/>
                  </a:lnTo>
                  <a:lnTo>
                    <a:pt x="238" y="99"/>
                  </a:lnTo>
                  <a:lnTo>
                    <a:pt x="243" y="99"/>
                  </a:lnTo>
                  <a:lnTo>
                    <a:pt x="249" y="99"/>
                  </a:lnTo>
                  <a:lnTo>
                    <a:pt x="272" y="93"/>
                  </a:lnTo>
                  <a:lnTo>
                    <a:pt x="284" y="93"/>
                  </a:lnTo>
                  <a:lnTo>
                    <a:pt x="290" y="93"/>
                  </a:lnTo>
                  <a:lnTo>
                    <a:pt x="296" y="93"/>
                  </a:lnTo>
                  <a:lnTo>
                    <a:pt x="301" y="93"/>
                  </a:lnTo>
                  <a:lnTo>
                    <a:pt x="313" y="87"/>
                  </a:lnTo>
                  <a:lnTo>
                    <a:pt x="319" y="87"/>
                  </a:lnTo>
                  <a:lnTo>
                    <a:pt x="325" y="87"/>
                  </a:lnTo>
                  <a:lnTo>
                    <a:pt x="330" y="87"/>
                  </a:lnTo>
                  <a:lnTo>
                    <a:pt x="342" y="87"/>
                  </a:lnTo>
                  <a:lnTo>
                    <a:pt x="359" y="81"/>
                  </a:lnTo>
                  <a:lnTo>
                    <a:pt x="365" y="81"/>
                  </a:lnTo>
                  <a:lnTo>
                    <a:pt x="371" y="81"/>
                  </a:lnTo>
                  <a:lnTo>
                    <a:pt x="377" y="81"/>
                  </a:lnTo>
                  <a:lnTo>
                    <a:pt x="394" y="75"/>
                  </a:lnTo>
                  <a:lnTo>
                    <a:pt x="400" y="75"/>
                  </a:lnTo>
                  <a:lnTo>
                    <a:pt x="406" y="75"/>
                  </a:lnTo>
                  <a:lnTo>
                    <a:pt x="412" y="75"/>
                  </a:lnTo>
                  <a:lnTo>
                    <a:pt x="423" y="70"/>
                  </a:lnTo>
                  <a:lnTo>
                    <a:pt x="435" y="70"/>
                  </a:lnTo>
                  <a:lnTo>
                    <a:pt x="441" y="70"/>
                  </a:lnTo>
                  <a:lnTo>
                    <a:pt x="446" y="64"/>
                  </a:lnTo>
                  <a:lnTo>
                    <a:pt x="476" y="64"/>
                  </a:lnTo>
                  <a:lnTo>
                    <a:pt x="476" y="58"/>
                  </a:lnTo>
                  <a:lnTo>
                    <a:pt x="481" y="58"/>
                  </a:lnTo>
                  <a:lnTo>
                    <a:pt x="493" y="58"/>
                  </a:lnTo>
                  <a:lnTo>
                    <a:pt x="505" y="52"/>
                  </a:lnTo>
                  <a:lnTo>
                    <a:pt x="510" y="52"/>
                  </a:lnTo>
                  <a:lnTo>
                    <a:pt x="516" y="52"/>
                  </a:lnTo>
                  <a:lnTo>
                    <a:pt x="522" y="52"/>
                  </a:lnTo>
                  <a:lnTo>
                    <a:pt x="528" y="52"/>
                  </a:lnTo>
                  <a:lnTo>
                    <a:pt x="545" y="46"/>
                  </a:lnTo>
                  <a:lnTo>
                    <a:pt x="551" y="46"/>
                  </a:lnTo>
                  <a:lnTo>
                    <a:pt x="557" y="46"/>
                  </a:lnTo>
                  <a:lnTo>
                    <a:pt x="563" y="41"/>
                  </a:lnTo>
                  <a:lnTo>
                    <a:pt x="568" y="41"/>
                  </a:lnTo>
                  <a:lnTo>
                    <a:pt x="586" y="35"/>
                  </a:lnTo>
                  <a:lnTo>
                    <a:pt x="592" y="35"/>
                  </a:lnTo>
                  <a:lnTo>
                    <a:pt x="615" y="29"/>
                  </a:lnTo>
                  <a:lnTo>
                    <a:pt x="626" y="29"/>
                  </a:lnTo>
                  <a:lnTo>
                    <a:pt x="632" y="29"/>
                  </a:lnTo>
                  <a:lnTo>
                    <a:pt x="644" y="23"/>
                  </a:lnTo>
                  <a:lnTo>
                    <a:pt x="650" y="23"/>
                  </a:lnTo>
                  <a:lnTo>
                    <a:pt x="661" y="23"/>
                  </a:lnTo>
                  <a:lnTo>
                    <a:pt x="679" y="17"/>
                  </a:lnTo>
                  <a:lnTo>
                    <a:pt x="684" y="17"/>
                  </a:lnTo>
                  <a:lnTo>
                    <a:pt x="696" y="12"/>
                  </a:lnTo>
                  <a:lnTo>
                    <a:pt x="702" y="12"/>
                  </a:lnTo>
                  <a:lnTo>
                    <a:pt x="708" y="12"/>
                  </a:lnTo>
                  <a:lnTo>
                    <a:pt x="719" y="6"/>
                  </a:lnTo>
                  <a:lnTo>
                    <a:pt x="731" y="6"/>
                  </a:lnTo>
                  <a:lnTo>
                    <a:pt x="742" y="0"/>
                  </a:lnTo>
                  <a:lnTo>
                    <a:pt x="742" y="6"/>
                  </a:lnTo>
                  <a:lnTo>
                    <a:pt x="760" y="35"/>
                  </a:lnTo>
                  <a:lnTo>
                    <a:pt x="801" y="99"/>
                  </a:lnTo>
                  <a:lnTo>
                    <a:pt x="806" y="139"/>
                  </a:lnTo>
                  <a:lnTo>
                    <a:pt x="789" y="151"/>
                  </a:lnTo>
                  <a:lnTo>
                    <a:pt x="766" y="168"/>
                  </a:lnTo>
                  <a:lnTo>
                    <a:pt x="748" y="197"/>
                  </a:lnTo>
                  <a:lnTo>
                    <a:pt x="731" y="232"/>
                  </a:lnTo>
                  <a:lnTo>
                    <a:pt x="719" y="226"/>
                  </a:lnTo>
                  <a:lnTo>
                    <a:pt x="708" y="226"/>
                  </a:lnTo>
                  <a:lnTo>
                    <a:pt x="673" y="238"/>
                  </a:lnTo>
                  <a:lnTo>
                    <a:pt x="667" y="249"/>
                  </a:lnTo>
                  <a:lnTo>
                    <a:pt x="644" y="273"/>
                  </a:lnTo>
                  <a:lnTo>
                    <a:pt x="626" y="290"/>
                  </a:lnTo>
                  <a:lnTo>
                    <a:pt x="626" y="296"/>
                  </a:lnTo>
                  <a:lnTo>
                    <a:pt x="615" y="336"/>
                  </a:lnTo>
                  <a:lnTo>
                    <a:pt x="615" y="342"/>
                  </a:lnTo>
                  <a:lnTo>
                    <a:pt x="597" y="342"/>
                  </a:lnTo>
                  <a:lnTo>
                    <a:pt x="574" y="348"/>
                  </a:lnTo>
                  <a:lnTo>
                    <a:pt x="563" y="360"/>
                  </a:lnTo>
                  <a:lnTo>
                    <a:pt x="557" y="354"/>
                  </a:lnTo>
                  <a:lnTo>
                    <a:pt x="551" y="348"/>
                  </a:lnTo>
                  <a:lnTo>
                    <a:pt x="522" y="331"/>
                  </a:lnTo>
                  <a:lnTo>
                    <a:pt x="510" y="319"/>
                  </a:lnTo>
                  <a:lnTo>
                    <a:pt x="505" y="319"/>
                  </a:lnTo>
                  <a:lnTo>
                    <a:pt x="481" y="302"/>
                  </a:lnTo>
                  <a:lnTo>
                    <a:pt x="470" y="296"/>
                  </a:lnTo>
                  <a:lnTo>
                    <a:pt x="458" y="290"/>
                  </a:lnTo>
                  <a:lnTo>
                    <a:pt x="458" y="284"/>
                  </a:lnTo>
                  <a:lnTo>
                    <a:pt x="441" y="278"/>
                  </a:lnTo>
                  <a:lnTo>
                    <a:pt x="435" y="273"/>
                  </a:lnTo>
                  <a:lnTo>
                    <a:pt x="429" y="273"/>
                  </a:lnTo>
                  <a:lnTo>
                    <a:pt x="417" y="273"/>
                  </a:lnTo>
                  <a:lnTo>
                    <a:pt x="412" y="273"/>
                  </a:lnTo>
                  <a:lnTo>
                    <a:pt x="406" y="278"/>
                  </a:lnTo>
                  <a:lnTo>
                    <a:pt x="377" y="278"/>
                  </a:lnTo>
                  <a:lnTo>
                    <a:pt x="371" y="278"/>
                  </a:lnTo>
                  <a:lnTo>
                    <a:pt x="359" y="284"/>
                  </a:lnTo>
                  <a:lnTo>
                    <a:pt x="354" y="284"/>
                  </a:lnTo>
                  <a:lnTo>
                    <a:pt x="330" y="290"/>
                  </a:lnTo>
                  <a:lnTo>
                    <a:pt x="330" y="273"/>
                  </a:lnTo>
                  <a:lnTo>
                    <a:pt x="325" y="267"/>
                  </a:lnTo>
                  <a:lnTo>
                    <a:pt x="319" y="267"/>
                  </a:lnTo>
                  <a:lnTo>
                    <a:pt x="313" y="261"/>
                  </a:lnTo>
                  <a:lnTo>
                    <a:pt x="307" y="261"/>
                  </a:lnTo>
                  <a:lnTo>
                    <a:pt x="301" y="255"/>
                  </a:lnTo>
                  <a:lnTo>
                    <a:pt x="290" y="255"/>
                  </a:lnTo>
                  <a:lnTo>
                    <a:pt x="284" y="255"/>
                  </a:lnTo>
                  <a:lnTo>
                    <a:pt x="272" y="255"/>
                  </a:lnTo>
                  <a:lnTo>
                    <a:pt x="272" y="261"/>
                  </a:lnTo>
                  <a:lnTo>
                    <a:pt x="261" y="261"/>
                  </a:lnTo>
                  <a:lnTo>
                    <a:pt x="238" y="261"/>
                  </a:lnTo>
                  <a:lnTo>
                    <a:pt x="232" y="261"/>
                  </a:lnTo>
                  <a:lnTo>
                    <a:pt x="226" y="267"/>
                  </a:lnTo>
                  <a:lnTo>
                    <a:pt x="214" y="267"/>
                  </a:lnTo>
                  <a:lnTo>
                    <a:pt x="209" y="267"/>
                  </a:lnTo>
                  <a:lnTo>
                    <a:pt x="197" y="267"/>
                  </a:lnTo>
                  <a:lnTo>
                    <a:pt x="191" y="267"/>
                  </a:lnTo>
                  <a:lnTo>
                    <a:pt x="180" y="273"/>
                  </a:lnTo>
                  <a:lnTo>
                    <a:pt x="168" y="273"/>
                  </a:lnTo>
                  <a:lnTo>
                    <a:pt x="156" y="278"/>
                  </a:lnTo>
                  <a:lnTo>
                    <a:pt x="150" y="284"/>
                  </a:lnTo>
                  <a:lnTo>
                    <a:pt x="145" y="290"/>
                  </a:lnTo>
                  <a:lnTo>
                    <a:pt x="133" y="290"/>
                  </a:lnTo>
                  <a:lnTo>
                    <a:pt x="133" y="296"/>
                  </a:lnTo>
                  <a:lnTo>
                    <a:pt x="121" y="296"/>
                  </a:lnTo>
                  <a:lnTo>
                    <a:pt x="110" y="302"/>
                  </a:lnTo>
                  <a:lnTo>
                    <a:pt x="104" y="302"/>
                  </a:lnTo>
                  <a:lnTo>
                    <a:pt x="92" y="307"/>
                  </a:lnTo>
                  <a:lnTo>
                    <a:pt x="75" y="307"/>
                  </a:lnTo>
                  <a:lnTo>
                    <a:pt x="69" y="307"/>
                  </a:lnTo>
                  <a:lnTo>
                    <a:pt x="63" y="313"/>
                  </a:lnTo>
                  <a:lnTo>
                    <a:pt x="34" y="313"/>
                  </a:lnTo>
                  <a:lnTo>
                    <a:pt x="29" y="313"/>
                  </a:lnTo>
                  <a:lnTo>
                    <a:pt x="17" y="319"/>
                  </a:lnTo>
                  <a:lnTo>
                    <a:pt x="5" y="319"/>
                  </a:lnTo>
                  <a:lnTo>
                    <a:pt x="0" y="319"/>
                  </a:lnTo>
                  <a:lnTo>
                    <a:pt x="0" y="302"/>
                  </a:lnTo>
                  <a:lnTo>
                    <a:pt x="0" y="296"/>
                  </a:lnTo>
                  <a:lnTo>
                    <a:pt x="0" y="290"/>
                  </a:lnTo>
                  <a:lnTo>
                    <a:pt x="17" y="290"/>
                  </a:lnTo>
                  <a:lnTo>
                    <a:pt x="23" y="284"/>
                  </a:lnTo>
                  <a:lnTo>
                    <a:pt x="23" y="273"/>
                  </a:lnTo>
                  <a:lnTo>
                    <a:pt x="23" y="267"/>
                  </a:lnTo>
                  <a:lnTo>
                    <a:pt x="23" y="261"/>
                  </a:lnTo>
                  <a:lnTo>
                    <a:pt x="29" y="261"/>
                  </a:lnTo>
                  <a:lnTo>
                    <a:pt x="34" y="255"/>
                  </a:lnTo>
                  <a:lnTo>
                    <a:pt x="46" y="249"/>
                  </a:lnTo>
                  <a:lnTo>
                    <a:pt x="52" y="244"/>
                  </a:lnTo>
                  <a:lnTo>
                    <a:pt x="69" y="244"/>
                  </a:lnTo>
                  <a:lnTo>
                    <a:pt x="87" y="226"/>
                  </a:lnTo>
                  <a:lnTo>
                    <a:pt x="98" y="215"/>
                  </a:lnTo>
                  <a:lnTo>
                    <a:pt x="110" y="215"/>
                  </a:lnTo>
                  <a:lnTo>
                    <a:pt x="110" y="209"/>
                  </a:lnTo>
                  <a:lnTo>
                    <a:pt x="116" y="203"/>
                  </a:lnTo>
                  <a:lnTo>
                    <a:pt x="116" y="197"/>
                  </a:lnTo>
                  <a:lnTo>
                    <a:pt x="116" y="191"/>
                  </a:lnTo>
                  <a:lnTo>
                    <a:pt x="127" y="186"/>
                  </a:lnTo>
                  <a:lnTo>
                    <a:pt x="139" y="174"/>
                  </a:lnTo>
                  <a:lnTo>
                    <a:pt x="139" y="180"/>
                  </a:lnTo>
                  <a:lnTo>
                    <a:pt x="139" y="186"/>
                  </a:lnTo>
                  <a:lnTo>
                    <a:pt x="150" y="186"/>
                  </a:lnTo>
                  <a:lnTo>
                    <a:pt x="156" y="180"/>
                  </a:lnTo>
                  <a:lnTo>
                    <a:pt x="156" y="17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29" name="Freeform 20"/>
            <p:cNvSpPr>
              <a:spLocks/>
            </p:cNvSpPr>
            <p:nvPr/>
          </p:nvSpPr>
          <p:spPr bwMode="auto">
            <a:xfrm>
              <a:off x="4361" y="3181"/>
              <a:ext cx="360" cy="569"/>
            </a:xfrm>
            <a:custGeom>
              <a:avLst/>
              <a:gdLst>
                <a:gd name="T0" fmla="*/ 23 w 360"/>
                <a:gd name="T1" fmla="*/ 482 h 569"/>
                <a:gd name="T2" fmla="*/ 29 w 360"/>
                <a:gd name="T3" fmla="*/ 540 h 569"/>
                <a:gd name="T4" fmla="*/ 46 w 360"/>
                <a:gd name="T5" fmla="*/ 551 h 569"/>
                <a:gd name="T6" fmla="*/ 58 w 360"/>
                <a:gd name="T7" fmla="*/ 534 h 569"/>
                <a:gd name="T8" fmla="*/ 75 w 360"/>
                <a:gd name="T9" fmla="*/ 534 h 569"/>
                <a:gd name="T10" fmla="*/ 133 w 360"/>
                <a:gd name="T11" fmla="*/ 534 h 569"/>
                <a:gd name="T12" fmla="*/ 104 w 360"/>
                <a:gd name="T13" fmla="*/ 493 h 569"/>
                <a:gd name="T14" fmla="*/ 145 w 360"/>
                <a:gd name="T15" fmla="*/ 470 h 569"/>
                <a:gd name="T16" fmla="*/ 186 w 360"/>
                <a:gd name="T17" fmla="*/ 464 h 569"/>
                <a:gd name="T18" fmla="*/ 209 w 360"/>
                <a:gd name="T19" fmla="*/ 464 h 569"/>
                <a:gd name="T20" fmla="*/ 238 w 360"/>
                <a:gd name="T21" fmla="*/ 459 h 569"/>
                <a:gd name="T22" fmla="*/ 255 w 360"/>
                <a:gd name="T23" fmla="*/ 459 h 569"/>
                <a:gd name="T24" fmla="*/ 313 w 360"/>
                <a:gd name="T25" fmla="*/ 453 h 569"/>
                <a:gd name="T26" fmla="*/ 360 w 360"/>
                <a:gd name="T27" fmla="*/ 447 h 569"/>
                <a:gd name="T28" fmla="*/ 348 w 360"/>
                <a:gd name="T29" fmla="*/ 418 h 569"/>
                <a:gd name="T30" fmla="*/ 348 w 360"/>
                <a:gd name="T31" fmla="*/ 389 h 569"/>
                <a:gd name="T32" fmla="*/ 337 w 360"/>
                <a:gd name="T33" fmla="*/ 360 h 569"/>
                <a:gd name="T34" fmla="*/ 337 w 360"/>
                <a:gd name="T35" fmla="*/ 325 h 569"/>
                <a:gd name="T36" fmla="*/ 348 w 360"/>
                <a:gd name="T37" fmla="*/ 302 h 569"/>
                <a:gd name="T38" fmla="*/ 337 w 360"/>
                <a:gd name="T39" fmla="*/ 273 h 569"/>
                <a:gd name="T40" fmla="*/ 325 w 360"/>
                <a:gd name="T41" fmla="*/ 250 h 569"/>
                <a:gd name="T42" fmla="*/ 313 w 360"/>
                <a:gd name="T43" fmla="*/ 232 h 569"/>
                <a:gd name="T44" fmla="*/ 308 w 360"/>
                <a:gd name="T45" fmla="*/ 209 h 569"/>
                <a:gd name="T46" fmla="*/ 296 w 360"/>
                <a:gd name="T47" fmla="*/ 180 h 569"/>
                <a:gd name="T48" fmla="*/ 296 w 360"/>
                <a:gd name="T49" fmla="*/ 163 h 569"/>
                <a:gd name="T50" fmla="*/ 284 w 360"/>
                <a:gd name="T51" fmla="*/ 128 h 569"/>
                <a:gd name="T52" fmla="*/ 279 w 360"/>
                <a:gd name="T53" fmla="*/ 111 h 569"/>
                <a:gd name="T54" fmla="*/ 273 w 360"/>
                <a:gd name="T55" fmla="*/ 93 h 569"/>
                <a:gd name="T56" fmla="*/ 267 w 360"/>
                <a:gd name="T57" fmla="*/ 64 h 569"/>
                <a:gd name="T58" fmla="*/ 255 w 360"/>
                <a:gd name="T59" fmla="*/ 41 h 569"/>
                <a:gd name="T60" fmla="*/ 250 w 360"/>
                <a:gd name="T61" fmla="*/ 12 h 569"/>
                <a:gd name="T62" fmla="*/ 220 w 360"/>
                <a:gd name="T63" fmla="*/ 0 h 569"/>
                <a:gd name="T64" fmla="*/ 180 w 360"/>
                <a:gd name="T65" fmla="*/ 6 h 569"/>
                <a:gd name="T66" fmla="*/ 133 w 360"/>
                <a:gd name="T67" fmla="*/ 12 h 569"/>
                <a:gd name="T68" fmla="*/ 93 w 360"/>
                <a:gd name="T69" fmla="*/ 12 h 569"/>
                <a:gd name="T70" fmla="*/ 52 w 360"/>
                <a:gd name="T71" fmla="*/ 18 h 569"/>
                <a:gd name="T72" fmla="*/ 0 w 360"/>
                <a:gd name="T73" fmla="*/ 24 h 569"/>
                <a:gd name="T74" fmla="*/ 12 w 360"/>
                <a:gd name="T75" fmla="*/ 58 h 569"/>
                <a:gd name="T76" fmla="*/ 12 w 360"/>
                <a:gd name="T77" fmla="*/ 87 h 569"/>
                <a:gd name="T78" fmla="*/ 12 w 360"/>
                <a:gd name="T79" fmla="*/ 116 h 569"/>
                <a:gd name="T80" fmla="*/ 12 w 360"/>
                <a:gd name="T81" fmla="*/ 157 h 569"/>
                <a:gd name="T82" fmla="*/ 12 w 360"/>
                <a:gd name="T83" fmla="*/ 198 h 569"/>
                <a:gd name="T84" fmla="*/ 12 w 360"/>
                <a:gd name="T85" fmla="*/ 227 h 569"/>
                <a:gd name="T86" fmla="*/ 12 w 360"/>
                <a:gd name="T87" fmla="*/ 285 h 569"/>
                <a:gd name="T88" fmla="*/ 12 w 360"/>
                <a:gd name="T89" fmla="*/ 319 h 569"/>
                <a:gd name="T90" fmla="*/ 6 w 360"/>
                <a:gd name="T91" fmla="*/ 337 h 569"/>
                <a:gd name="T92" fmla="*/ 6 w 360"/>
                <a:gd name="T93" fmla="*/ 377 h 569"/>
                <a:gd name="T94" fmla="*/ 12 w 360"/>
                <a:gd name="T95" fmla="*/ 424 h 569"/>
                <a:gd name="T96" fmla="*/ 17 w 360"/>
                <a:gd name="T97" fmla="*/ 441 h 5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0"/>
                <a:gd name="T148" fmla="*/ 0 h 569"/>
                <a:gd name="T149" fmla="*/ 360 w 360"/>
                <a:gd name="T150" fmla="*/ 569 h 5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0" h="569">
                  <a:moveTo>
                    <a:pt x="17" y="470"/>
                  </a:moveTo>
                  <a:lnTo>
                    <a:pt x="23" y="476"/>
                  </a:lnTo>
                  <a:lnTo>
                    <a:pt x="23" y="482"/>
                  </a:lnTo>
                  <a:lnTo>
                    <a:pt x="23" y="511"/>
                  </a:lnTo>
                  <a:lnTo>
                    <a:pt x="29" y="528"/>
                  </a:lnTo>
                  <a:lnTo>
                    <a:pt x="29" y="540"/>
                  </a:lnTo>
                  <a:lnTo>
                    <a:pt x="29" y="557"/>
                  </a:lnTo>
                  <a:lnTo>
                    <a:pt x="35" y="551"/>
                  </a:lnTo>
                  <a:lnTo>
                    <a:pt x="46" y="551"/>
                  </a:lnTo>
                  <a:lnTo>
                    <a:pt x="52" y="557"/>
                  </a:lnTo>
                  <a:lnTo>
                    <a:pt x="58" y="557"/>
                  </a:lnTo>
                  <a:lnTo>
                    <a:pt x="58" y="534"/>
                  </a:lnTo>
                  <a:lnTo>
                    <a:pt x="64" y="517"/>
                  </a:lnTo>
                  <a:lnTo>
                    <a:pt x="75" y="522"/>
                  </a:lnTo>
                  <a:lnTo>
                    <a:pt x="75" y="534"/>
                  </a:lnTo>
                  <a:lnTo>
                    <a:pt x="70" y="569"/>
                  </a:lnTo>
                  <a:lnTo>
                    <a:pt x="116" y="557"/>
                  </a:lnTo>
                  <a:lnTo>
                    <a:pt x="133" y="534"/>
                  </a:lnTo>
                  <a:lnTo>
                    <a:pt x="128" y="528"/>
                  </a:lnTo>
                  <a:lnTo>
                    <a:pt x="128" y="517"/>
                  </a:lnTo>
                  <a:lnTo>
                    <a:pt x="104" y="493"/>
                  </a:lnTo>
                  <a:lnTo>
                    <a:pt x="104" y="476"/>
                  </a:lnTo>
                  <a:lnTo>
                    <a:pt x="139" y="470"/>
                  </a:lnTo>
                  <a:lnTo>
                    <a:pt x="145" y="470"/>
                  </a:lnTo>
                  <a:lnTo>
                    <a:pt x="151" y="470"/>
                  </a:lnTo>
                  <a:lnTo>
                    <a:pt x="162" y="470"/>
                  </a:lnTo>
                  <a:lnTo>
                    <a:pt x="186" y="464"/>
                  </a:lnTo>
                  <a:lnTo>
                    <a:pt x="191" y="464"/>
                  </a:lnTo>
                  <a:lnTo>
                    <a:pt x="203" y="464"/>
                  </a:lnTo>
                  <a:lnTo>
                    <a:pt x="209" y="464"/>
                  </a:lnTo>
                  <a:lnTo>
                    <a:pt x="220" y="464"/>
                  </a:lnTo>
                  <a:lnTo>
                    <a:pt x="226" y="464"/>
                  </a:lnTo>
                  <a:lnTo>
                    <a:pt x="238" y="459"/>
                  </a:lnTo>
                  <a:lnTo>
                    <a:pt x="244" y="459"/>
                  </a:lnTo>
                  <a:lnTo>
                    <a:pt x="250" y="459"/>
                  </a:lnTo>
                  <a:lnTo>
                    <a:pt x="255" y="459"/>
                  </a:lnTo>
                  <a:lnTo>
                    <a:pt x="267" y="459"/>
                  </a:lnTo>
                  <a:lnTo>
                    <a:pt x="284" y="459"/>
                  </a:lnTo>
                  <a:lnTo>
                    <a:pt x="313" y="453"/>
                  </a:lnTo>
                  <a:lnTo>
                    <a:pt x="337" y="447"/>
                  </a:lnTo>
                  <a:lnTo>
                    <a:pt x="342" y="447"/>
                  </a:lnTo>
                  <a:lnTo>
                    <a:pt x="360" y="447"/>
                  </a:lnTo>
                  <a:lnTo>
                    <a:pt x="354" y="435"/>
                  </a:lnTo>
                  <a:lnTo>
                    <a:pt x="354" y="430"/>
                  </a:lnTo>
                  <a:lnTo>
                    <a:pt x="348" y="418"/>
                  </a:lnTo>
                  <a:lnTo>
                    <a:pt x="348" y="412"/>
                  </a:lnTo>
                  <a:lnTo>
                    <a:pt x="348" y="406"/>
                  </a:lnTo>
                  <a:lnTo>
                    <a:pt x="348" y="389"/>
                  </a:lnTo>
                  <a:lnTo>
                    <a:pt x="342" y="377"/>
                  </a:lnTo>
                  <a:lnTo>
                    <a:pt x="337" y="366"/>
                  </a:lnTo>
                  <a:lnTo>
                    <a:pt x="337" y="360"/>
                  </a:lnTo>
                  <a:lnTo>
                    <a:pt x="337" y="348"/>
                  </a:lnTo>
                  <a:lnTo>
                    <a:pt x="337" y="331"/>
                  </a:lnTo>
                  <a:lnTo>
                    <a:pt x="337" y="325"/>
                  </a:lnTo>
                  <a:lnTo>
                    <a:pt x="337" y="319"/>
                  </a:lnTo>
                  <a:lnTo>
                    <a:pt x="342" y="314"/>
                  </a:lnTo>
                  <a:lnTo>
                    <a:pt x="348" y="302"/>
                  </a:lnTo>
                  <a:lnTo>
                    <a:pt x="342" y="296"/>
                  </a:lnTo>
                  <a:lnTo>
                    <a:pt x="342" y="290"/>
                  </a:lnTo>
                  <a:lnTo>
                    <a:pt x="337" y="273"/>
                  </a:lnTo>
                  <a:lnTo>
                    <a:pt x="331" y="261"/>
                  </a:lnTo>
                  <a:lnTo>
                    <a:pt x="325" y="261"/>
                  </a:lnTo>
                  <a:lnTo>
                    <a:pt x="325" y="250"/>
                  </a:lnTo>
                  <a:lnTo>
                    <a:pt x="319" y="250"/>
                  </a:lnTo>
                  <a:lnTo>
                    <a:pt x="319" y="244"/>
                  </a:lnTo>
                  <a:lnTo>
                    <a:pt x="313" y="232"/>
                  </a:lnTo>
                  <a:lnTo>
                    <a:pt x="313" y="227"/>
                  </a:lnTo>
                  <a:lnTo>
                    <a:pt x="313" y="221"/>
                  </a:lnTo>
                  <a:lnTo>
                    <a:pt x="308" y="209"/>
                  </a:lnTo>
                  <a:lnTo>
                    <a:pt x="308" y="203"/>
                  </a:lnTo>
                  <a:lnTo>
                    <a:pt x="302" y="198"/>
                  </a:lnTo>
                  <a:lnTo>
                    <a:pt x="296" y="180"/>
                  </a:lnTo>
                  <a:lnTo>
                    <a:pt x="296" y="174"/>
                  </a:lnTo>
                  <a:lnTo>
                    <a:pt x="296" y="169"/>
                  </a:lnTo>
                  <a:lnTo>
                    <a:pt x="296" y="163"/>
                  </a:lnTo>
                  <a:lnTo>
                    <a:pt x="290" y="151"/>
                  </a:lnTo>
                  <a:lnTo>
                    <a:pt x="290" y="145"/>
                  </a:lnTo>
                  <a:lnTo>
                    <a:pt x="284" y="128"/>
                  </a:lnTo>
                  <a:lnTo>
                    <a:pt x="284" y="122"/>
                  </a:lnTo>
                  <a:lnTo>
                    <a:pt x="279" y="122"/>
                  </a:lnTo>
                  <a:lnTo>
                    <a:pt x="279" y="111"/>
                  </a:lnTo>
                  <a:lnTo>
                    <a:pt x="279" y="105"/>
                  </a:lnTo>
                  <a:lnTo>
                    <a:pt x="273" y="99"/>
                  </a:lnTo>
                  <a:lnTo>
                    <a:pt x="273" y="93"/>
                  </a:lnTo>
                  <a:lnTo>
                    <a:pt x="273" y="82"/>
                  </a:lnTo>
                  <a:lnTo>
                    <a:pt x="267" y="76"/>
                  </a:lnTo>
                  <a:lnTo>
                    <a:pt x="267" y="64"/>
                  </a:lnTo>
                  <a:lnTo>
                    <a:pt x="261" y="58"/>
                  </a:lnTo>
                  <a:lnTo>
                    <a:pt x="261" y="53"/>
                  </a:lnTo>
                  <a:lnTo>
                    <a:pt x="255" y="41"/>
                  </a:lnTo>
                  <a:lnTo>
                    <a:pt x="255" y="24"/>
                  </a:lnTo>
                  <a:lnTo>
                    <a:pt x="250" y="18"/>
                  </a:lnTo>
                  <a:lnTo>
                    <a:pt x="250" y="12"/>
                  </a:lnTo>
                  <a:lnTo>
                    <a:pt x="244" y="0"/>
                  </a:lnTo>
                  <a:lnTo>
                    <a:pt x="226" y="0"/>
                  </a:lnTo>
                  <a:lnTo>
                    <a:pt x="220" y="0"/>
                  </a:lnTo>
                  <a:lnTo>
                    <a:pt x="203" y="6"/>
                  </a:lnTo>
                  <a:lnTo>
                    <a:pt x="186" y="6"/>
                  </a:lnTo>
                  <a:lnTo>
                    <a:pt x="180" y="6"/>
                  </a:lnTo>
                  <a:lnTo>
                    <a:pt x="174" y="6"/>
                  </a:lnTo>
                  <a:lnTo>
                    <a:pt x="162" y="6"/>
                  </a:lnTo>
                  <a:lnTo>
                    <a:pt x="133" y="12"/>
                  </a:lnTo>
                  <a:lnTo>
                    <a:pt x="128" y="12"/>
                  </a:lnTo>
                  <a:lnTo>
                    <a:pt x="122" y="12"/>
                  </a:lnTo>
                  <a:lnTo>
                    <a:pt x="93" y="12"/>
                  </a:lnTo>
                  <a:lnTo>
                    <a:pt x="81" y="18"/>
                  </a:lnTo>
                  <a:lnTo>
                    <a:pt x="58" y="18"/>
                  </a:lnTo>
                  <a:lnTo>
                    <a:pt x="52" y="18"/>
                  </a:lnTo>
                  <a:lnTo>
                    <a:pt x="29" y="18"/>
                  </a:lnTo>
                  <a:lnTo>
                    <a:pt x="23" y="18"/>
                  </a:lnTo>
                  <a:lnTo>
                    <a:pt x="0" y="24"/>
                  </a:lnTo>
                  <a:lnTo>
                    <a:pt x="12" y="35"/>
                  </a:lnTo>
                  <a:lnTo>
                    <a:pt x="12" y="41"/>
                  </a:lnTo>
                  <a:lnTo>
                    <a:pt x="12" y="58"/>
                  </a:lnTo>
                  <a:lnTo>
                    <a:pt x="12" y="70"/>
                  </a:lnTo>
                  <a:lnTo>
                    <a:pt x="12" y="82"/>
                  </a:lnTo>
                  <a:lnTo>
                    <a:pt x="12" y="87"/>
                  </a:lnTo>
                  <a:lnTo>
                    <a:pt x="12" y="93"/>
                  </a:lnTo>
                  <a:lnTo>
                    <a:pt x="12" y="99"/>
                  </a:lnTo>
                  <a:lnTo>
                    <a:pt x="12" y="116"/>
                  </a:lnTo>
                  <a:lnTo>
                    <a:pt x="12" y="128"/>
                  </a:lnTo>
                  <a:lnTo>
                    <a:pt x="12" y="140"/>
                  </a:lnTo>
                  <a:lnTo>
                    <a:pt x="12" y="157"/>
                  </a:lnTo>
                  <a:lnTo>
                    <a:pt x="12" y="169"/>
                  </a:lnTo>
                  <a:lnTo>
                    <a:pt x="12" y="192"/>
                  </a:lnTo>
                  <a:lnTo>
                    <a:pt x="12" y="198"/>
                  </a:lnTo>
                  <a:lnTo>
                    <a:pt x="12" y="203"/>
                  </a:lnTo>
                  <a:lnTo>
                    <a:pt x="12" y="221"/>
                  </a:lnTo>
                  <a:lnTo>
                    <a:pt x="12" y="227"/>
                  </a:lnTo>
                  <a:lnTo>
                    <a:pt x="12" y="256"/>
                  </a:lnTo>
                  <a:lnTo>
                    <a:pt x="12" y="261"/>
                  </a:lnTo>
                  <a:lnTo>
                    <a:pt x="12" y="285"/>
                  </a:lnTo>
                  <a:lnTo>
                    <a:pt x="12" y="290"/>
                  </a:lnTo>
                  <a:lnTo>
                    <a:pt x="12" y="302"/>
                  </a:lnTo>
                  <a:lnTo>
                    <a:pt x="12" y="319"/>
                  </a:lnTo>
                  <a:lnTo>
                    <a:pt x="12" y="325"/>
                  </a:lnTo>
                  <a:lnTo>
                    <a:pt x="6" y="331"/>
                  </a:lnTo>
                  <a:lnTo>
                    <a:pt x="6" y="337"/>
                  </a:lnTo>
                  <a:lnTo>
                    <a:pt x="6" y="343"/>
                  </a:lnTo>
                  <a:lnTo>
                    <a:pt x="6" y="354"/>
                  </a:lnTo>
                  <a:lnTo>
                    <a:pt x="6" y="377"/>
                  </a:lnTo>
                  <a:lnTo>
                    <a:pt x="6" y="383"/>
                  </a:lnTo>
                  <a:lnTo>
                    <a:pt x="12" y="401"/>
                  </a:lnTo>
                  <a:lnTo>
                    <a:pt x="12" y="424"/>
                  </a:lnTo>
                  <a:lnTo>
                    <a:pt x="12" y="430"/>
                  </a:lnTo>
                  <a:lnTo>
                    <a:pt x="17" y="430"/>
                  </a:lnTo>
                  <a:lnTo>
                    <a:pt x="17" y="441"/>
                  </a:lnTo>
                  <a:lnTo>
                    <a:pt x="17" y="453"/>
                  </a:lnTo>
                  <a:lnTo>
                    <a:pt x="17" y="47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0" name="Freeform 21"/>
            <p:cNvSpPr>
              <a:spLocks/>
            </p:cNvSpPr>
            <p:nvPr/>
          </p:nvSpPr>
          <p:spPr bwMode="auto">
            <a:xfrm>
              <a:off x="4465" y="3605"/>
              <a:ext cx="842" cy="655"/>
            </a:xfrm>
            <a:custGeom>
              <a:avLst/>
              <a:gdLst>
                <a:gd name="T0" fmla="*/ 233 w 842"/>
                <a:gd name="T1" fmla="*/ 151 h 655"/>
                <a:gd name="T2" fmla="*/ 250 w 842"/>
                <a:gd name="T3" fmla="*/ 174 h 655"/>
                <a:gd name="T4" fmla="*/ 285 w 842"/>
                <a:gd name="T5" fmla="*/ 162 h 655"/>
                <a:gd name="T6" fmla="*/ 337 w 842"/>
                <a:gd name="T7" fmla="*/ 133 h 655"/>
                <a:gd name="T8" fmla="*/ 366 w 842"/>
                <a:gd name="T9" fmla="*/ 116 h 655"/>
                <a:gd name="T10" fmla="*/ 430 w 842"/>
                <a:gd name="T11" fmla="*/ 156 h 655"/>
                <a:gd name="T12" fmla="*/ 476 w 842"/>
                <a:gd name="T13" fmla="*/ 197 h 655"/>
                <a:gd name="T14" fmla="*/ 494 w 842"/>
                <a:gd name="T15" fmla="*/ 203 h 655"/>
                <a:gd name="T16" fmla="*/ 517 w 842"/>
                <a:gd name="T17" fmla="*/ 244 h 655"/>
                <a:gd name="T18" fmla="*/ 529 w 842"/>
                <a:gd name="T19" fmla="*/ 284 h 655"/>
                <a:gd name="T20" fmla="*/ 517 w 842"/>
                <a:gd name="T21" fmla="*/ 325 h 655"/>
                <a:gd name="T22" fmla="*/ 540 w 842"/>
                <a:gd name="T23" fmla="*/ 377 h 655"/>
                <a:gd name="T24" fmla="*/ 534 w 842"/>
                <a:gd name="T25" fmla="*/ 342 h 655"/>
                <a:gd name="T26" fmla="*/ 569 w 842"/>
                <a:gd name="T27" fmla="*/ 342 h 655"/>
                <a:gd name="T28" fmla="*/ 540 w 842"/>
                <a:gd name="T29" fmla="*/ 389 h 655"/>
                <a:gd name="T30" fmla="*/ 592 w 842"/>
                <a:gd name="T31" fmla="*/ 458 h 655"/>
                <a:gd name="T32" fmla="*/ 633 w 842"/>
                <a:gd name="T33" fmla="*/ 499 h 655"/>
                <a:gd name="T34" fmla="*/ 685 w 842"/>
                <a:gd name="T35" fmla="*/ 557 h 655"/>
                <a:gd name="T36" fmla="*/ 749 w 842"/>
                <a:gd name="T37" fmla="*/ 615 h 655"/>
                <a:gd name="T38" fmla="*/ 767 w 842"/>
                <a:gd name="T39" fmla="*/ 638 h 655"/>
                <a:gd name="T40" fmla="*/ 796 w 842"/>
                <a:gd name="T41" fmla="*/ 626 h 655"/>
                <a:gd name="T42" fmla="*/ 801 w 842"/>
                <a:gd name="T43" fmla="*/ 621 h 655"/>
                <a:gd name="T44" fmla="*/ 813 w 842"/>
                <a:gd name="T45" fmla="*/ 644 h 655"/>
                <a:gd name="T46" fmla="*/ 842 w 842"/>
                <a:gd name="T47" fmla="*/ 597 h 655"/>
                <a:gd name="T48" fmla="*/ 830 w 842"/>
                <a:gd name="T49" fmla="*/ 603 h 655"/>
                <a:gd name="T50" fmla="*/ 842 w 842"/>
                <a:gd name="T51" fmla="*/ 551 h 655"/>
                <a:gd name="T52" fmla="*/ 836 w 842"/>
                <a:gd name="T53" fmla="*/ 481 h 655"/>
                <a:gd name="T54" fmla="*/ 784 w 842"/>
                <a:gd name="T55" fmla="*/ 342 h 655"/>
                <a:gd name="T56" fmla="*/ 743 w 842"/>
                <a:gd name="T57" fmla="*/ 238 h 655"/>
                <a:gd name="T58" fmla="*/ 656 w 842"/>
                <a:gd name="T59" fmla="*/ 116 h 655"/>
                <a:gd name="T60" fmla="*/ 627 w 842"/>
                <a:gd name="T61" fmla="*/ 52 h 655"/>
                <a:gd name="T62" fmla="*/ 569 w 842"/>
                <a:gd name="T63" fmla="*/ 0 h 655"/>
                <a:gd name="T64" fmla="*/ 558 w 842"/>
                <a:gd name="T65" fmla="*/ 52 h 655"/>
                <a:gd name="T66" fmla="*/ 523 w 842"/>
                <a:gd name="T67" fmla="*/ 35 h 655"/>
                <a:gd name="T68" fmla="*/ 494 w 842"/>
                <a:gd name="T69" fmla="*/ 35 h 655"/>
                <a:gd name="T70" fmla="*/ 447 w 842"/>
                <a:gd name="T71" fmla="*/ 40 h 655"/>
                <a:gd name="T72" fmla="*/ 424 w 842"/>
                <a:gd name="T73" fmla="*/ 40 h 655"/>
                <a:gd name="T74" fmla="*/ 389 w 842"/>
                <a:gd name="T75" fmla="*/ 46 h 655"/>
                <a:gd name="T76" fmla="*/ 360 w 842"/>
                <a:gd name="T77" fmla="*/ 46 h 655"/>
                <a:gd name="T78" fmla="*/ 331 w 842"/>
                <a:gd name="T79" fmla="*/ 46 h 655"/>
                <a:gd name="T80" fmla="*/ 296 w 842"/>
                <a:gd name="T81" fmla="*/ 52 h 655"/>
                <a:gd name="T82" fmla="*/ 233 w 842"/>
                <a:gd name="T83" fmla="*/ 23 h 655"/>
                <a:gd name="T84" fmla="*/ 151 w 842"/>
                <a:gd name="T85" fmla="*/ 35 h 655"/>
                <a:gd name="T86" fmla="*/ 122 w 842"/>
                <a:gd name="T87" fmla="*/ 40 h 655"/>
                <a:gd name="T88" fmla="*/ 87 w 842"/>
                <a:gd name="T89" fmla="*/ 40 h 655"/>
                <a:gd name="T90" fmla="*/ 41 w 842"/>
                <a:gd name="T91" fmla="*/ 46 h 655"/>
                <a:gd name="T92" fmla="*/ 24 w 842"/>
                <a:gd name="T93" fmla="*/ 93 h 655"/>
                <a:gd name="T94" fmla="*/ 29 w 842"/>
                <a:gd name="T95" fmla="*/ 127 h 655"/>
                <a:gd name="T96" fmla="*/ 128 w 842"/>
                <a:gd name="T97" fmla="*/ 110 h 6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42"/>
                <a:gd name="T148" fmla="*/ 0 h 655"/>
                <a:gd name="T149" fmla="*/ 842 w 842"/>
                <a:gd name="T150" fmla="*/ 655 h 6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42" h="655">
                  <a:moveTo>
                    <a:pt x="169" y="116"/>
                  </a:moveTo>
                  <a:lnTo>
                    <a:pt x="209" y="133"/>
                  </a:lnTo>
                  <a:lnTo>
                    <a:pt x="221" y="145"/>
                  </a:lnTo>
                  <a:lnTo>
                    <a:pt x="233" y="151"/>
                  </a:lnTo>
                  <a:lnTo>
                    <a:pt x="238" y="174"/>
                  </a:lnTo>
                  <a:lnTo>
                    <a:pt x="233" y="156"/>
                  </a:lnTo>
                  <a:lnTo>
                    <a:pt x="238" y="180"/>
                  </a:lnTo>
                  <a:lnTo>
                    <a:pt x="250" y="174"/>
                  </a:lnTo>
                  <a:lnTo>
                    <a:pt x="262" y="180"/>
                  </a:lnTo>
                  <a:lnTo>
                    <a:pt x="262" y="168"/>
                  </a:lnTo>
                  <a:lnTo>
                    <a:pt x="273" y="168"/>
                  </a:lnTo>
                  <a:lnTo>
                    <a:pt x="285" y="162"/>
                  </a:lnTo>
                  <a:lnTo>
                    <a:pt x="285" y="168"/>
                  </a:lnTo>
                  <a:lnTo>
                    <a:pt x="320" y="139"/>
                  </a:lnTo>
                  <a:lnTo>
                    <a:pt x="331" y="139"/>
                  </a:lnTo>
                  <a:lnTo>
                    <a:pt x="337" y="133"/>
                  </a:lnTo>
                  <a:lnTo>
                    <a:pt x="331" y="127"/>
                  </a:lnTo>
                  <a:lnTo>
                    <a:pt x="343" y="116"/>
                  </a:lnTo>
                  <a:lnTo>
                    <a:pt x="360" y="116"/>
                  </a:lnTo>
                  <a:lnTo>
                    <a:pt x="366" y="116"/>
                  </a:lnTo>
                  <a:lnTo>
                    <a:pt x="372" y="116"/>
                  </a:lnTo>
                  <a:lnTo>
                    <a:pt x="407" y="133"/>
                  </a:lnTo>
                  <a:lnTo>
                    <a:pt x="412" y="145"/>
                  </a:lnTo>
                  <a:lnTo>
                    <a:pt x="430" y="156"/>
                  </a:lnTo>
                  <a:lnTo>
                    <a:pt x="442" y="174"/>
                  </a:lnTo>
                  <a:lnTo>
                    <a:pt x="453" y="180"/>
                  </a:lnTo>
                  <a:lnTo>
                    <a:pt x="465" y="191"/>
                  </a:lnTo>
                  <a:lnTo>
                    <a:pt x="476" y="197"/>
                  </a:lnTo>
                  <a:lnTo>
                    <a:pt x="476" y="209"/>
                  </a:lnTo>
                  <a:lnTo>
                    <a:pt x="482" y="209"/>
                  </a:lnTo>
                  <a:lnTo>
                    <a:pt x="482" y="203"/>
                  </a:lnTo>
                  <a:lnTo>
                    <a:pt x="494" y="203"/>
                  </a:lnTo>
                  <a:lnTo>
                    <a:pt x="505" y="209"/>
                  </a:lnTo>
                  <a:lnTo>
                    <a:pt x="511" y="220"/>
                  </a:lnTo>
                  <a:lnTo>
                    <a:pt x="523" y="232"/>
                  </a:lnTo>
                  <a:lnTo>
                    <a:pt x="517" y="244"/>
                  </a:lnTo>
                  <a:lnTo>
                    <a:pt x="523" y="249"/>
                  </a:lnTo>
                  <a:lnTo>
                    <a:pt x="517" y="249"/>
                  </a:lnTo>
                  <a:lnTo>
                    <a:pt x="523" y="255"/>
                  </a:lnTo>
                  <a:lnTo>
                    <a:pt x="529" y="284"/>
                  </a:lnTo>
                  <a:lnTo>
                    <a:pt x="523" y="307"/>
                  </a:lnTo>
                  <a:lnTo>
                    <a:pt x="523" y="313"/>
                  </a:lnTo>
                  <a:lnTo>
                    <a:pt x="523" y="319"/>
                  </a:lnTo>
                  <a:lnTo>
                    <a:pt x="517" y="325"/>
                  </a:lnTo>
                  <a:lnTo>
                    <a:pt x="523" y="348"/>
                  </a:lnTo>
                  <a:lnTo>
                    <a:pt x="534" y="365"/>
                  </a:lnTo>
                  <a:lnTo>
                    <a:pt x="534" y="377"/>
                  </a:lnTo>
                  <a:lnTo>
                    <a:pt x="540" y="377"/>
                  </a:lnTo>
                  <a:lnTo>
                    <a:pt x="546" y="360"/>
                  </a:lnTo>
                  <a:lnTo>
                    <a:pt x="546" y="348"/>
                  </a:lnTo>
                  <a:lnTo>
                    <a:pt x="546" y="342"/>
                  </a:lnTo>
                  <a:lnTo>
                    <a:pt x="534" y="342"/>
                  </a:lnTo>
                  <a:lnTo>
                    <a:pt x="540" y="336"/>
                  </a:lnTo>
                  <a:lnTo>
                    <a:pt x="558" y="348"/>
                  </a:lnTo>
                  <a:lnTo>
                    <a:pt x="558" y="342"/>
                  </a:lnTo>
                  <a:lnTo>
                    <a:pt x="569" y="342"/>
                  </a:lnTo>
                  <a:lnTo>
                    <a:pt x="558" y="371"/>
                  </a:lnTo>
                  <a:lnTo>
                    <a:pt x="552" y="377"/>
                  </a:lnTo>
                  <a:lnTo>
                    <a:pt x="552" y="383"/>
                  </a:lnTo>
                  <a:lnTo>
                    <a:pt x="540" y="389"/>
                  </a:lnTo>
                  <a:lnTo>
                    <a:pt x="552" y="400"/>
                  </a:lnTo>
                  <a:lnTo>
                    <a:pt x="563" y="418"/>
                  </a:lnTo>
                  <a:lnTo>
                    <a:pt x="587" y="452"/>
                  </a:lnTo>
                  <a:lnTo>
                    <a:pt x="592" y="458"/>
                  </a:lnTo>
                  <a:lnTo>
                    <a:pt x="598" y="464"/>
                  </a:lnTo>
                  <a:lnTo>
                    <a:pt x="616" y="499"/>
                  </a:lnTo>
                  <a:lnTo>
                    <a:pt x="621" y="505"/>
                  </a:lnTo>
                  <a:lnTo>
                    <a:pt x="633" y="499"/>
                  </a:lnTo>
                  <a:lnTo>
                    <a:pt x="650" y="510"/>
                  </a:lnTo>
                  <a:lnTo>
                    <a:pt x="662" y="534"/>
                  </a:lnTo>
                  <a:lnTo>
                    <a:pt x="679" y="563"/>
                  </a:lnTo>
                  <a:lnTo>
                    <a:pt x="685" y="557"/>
                  </a:lnTo>
                  <a:lnTo>
                    <a:pt x="703" y="568"/>
                  </a:lnTo>
                  <a:lnTo>
                    <a:pt x="708" y="568"/>
                  </a:lnTo>
                  <a:lnTo>
                    <a:pt x="732" y="586"/>
                  </a:lnTo>
                  <a:lnTo>
                    <a:pt x="749" y="615"/>
                  </a:lnTo>
                  <a:lnTo>
                    <a:pt x="743" y="615"/>
                  </a:lnTo>
                  <a:lnTo>
                    <a:pt x="743" y="626"/>
                  </a:lnTo>
                  <a:lnTo>
                    <a:pt x="755" y="638"/>
                  </a:lnTo>
                  <a:lnTo>
                    <a:pt x="767" y="638"/>
                  </a:lnTo>
                  <a:lnTo>
                    <a:pt x="778" y="626"/>
                  </a:lnTo>
                  <a:lnTo>
                    <a:pt x="784" y="626"/>
                  </a:lnTo>
                  <a:lnTo>
                    <a:pt x="784" y="632"/>
                  </a:lnTo>
                  <a:lnTo>
                    <a:pt x="796" y="626"/>
                  </a:lnTo>
                  <a:lnTo>
                    <a:pt x="796" y="644"/>
                  </a:lnTo>
                  <a:lnTo>
                    <a:pt x="807" y="644"/>
                  </a:lnTo>
                  <a:lnTo>
                    <a:pt x="801" y="626"/>
                  </a:lnTo>
                  <a:lnTo>
                    <a:pt x="801" y="621"/>
                  </a:lnTo>
                  <a:lnTo>
                    <a:pt x="807" y="621"/>
                  </a:lnTo>
                  <a:lnTo>
                    <a:pt x="819" y="615"/>
                  </a:lnTo>
                  <a:lnTo>
                    <a:pt x="819" y="638"/>
                  </a:lnTo>
                  <a:lnTo>
                    <a:pt x="813" y="644"/>
                  </a:lnTo>
                  <a:lnTo>
                    <a:pt x="807" y="655"/>
                  </a:lnTo>
                  <a:lnTo>
                    <a:pt x="813" y="650"/>
                  </a:lnTo>
                  <a:lnTo>
                    <a:pt x="830" y="626"/>
                  </a:lnTo>
                  <a:lnTo>
                    <a:pt x="842" y="597"/>
                  </a:lnTo>
                  <a:lnTo>
                    <a:pt x="842" y="580"/>
                  </a:lnTo>
                  <a:lnTo>
                    <a:pt x="842" y="574"/>
                  </a:lnTo>
                  <a:lnTo>
                    <a:pt x="836" y="597"/>
                  </a:lnTo>
                  <a:lnTo>
                    <a:pt x="830" y="603"/>
                  </a:lnTo>
                  <a:lnTo>
                    <a:pt x="830" y="597"/>
                  </a:lnTo>
                  <a:lnTo>
                    <a:pt x="825" y="580"/>
                  </a:lnTo>
                  <a:lnTo>
                    <a:pt x="830" y="557"/>
                  </a:lnTo>
                  <a:lnTo>
                    <a:pt x="842" y="551"/>
                  </a:lnTo>
                  <a:lnTo>
                    <a:pt x="842" y="557"/>
                  </a:lnTo>
                  <a:lnTo>
                    <a:pt x="842" y="522"/>
                  </a:lnTo>
                  <a:lnTo>
                    <a:pt x="842" y="516"/>
                  </a:lnTo>
                  <a:lnTo>
                    <a:pt x="836" y="481"/>
                  </a:lnTo>
                  <a:lnTo>
                    <a:pt x="830" y="423"/>
                  </a:lnTo>
                  <a:lnTo>
                    <a:pt x="825" y="406"/>
                  </a:lnTo>
                  <a:lnTo>
                    <a:pt x="807" y="377"/>
                  </a:lnTo>
                  <a:lnTo>
                    <a:pt x="784" y="342"/>
                  </a:lnTo>
                  <a:lnTo>
                    <a:pt x="767" y="313"/>
                  </a:lnTo>
                  <a:lnTo>
                    <a:pt x="749" y="284"/>
                  </a:lnTo>
                  <a:lnTo>
                    <a:pt x="743" y="261"/>
                  </a:lnTo>
                  <a:lnTo>
                    <a:pt x="743" y="238"/>
                  </a:lnTo>
                  <a:lnTo>
                    <a:pt x="720" y="209"/>
                  </a:lnTo>
                  <a:lnTo>
                    <a:pt x="685" y="168"/>
                  </a:lnTo>
                  <a:lnTo>
                    <a:pt x="668" y="145"/>
                  </a:lnTo>
                  <a:lnTo>
                    <a:pt x="656" y="116"/>
                  </a:lnTo>
                  <a:lnTo>
                    <a:pt x="650" y="116"/>
                  </a:lnTo>
                  <a:lnTo>
                    <a:pt x="650" y="110"/>
                  </a:lnTo>
                  <a:lnTo>
                    <a:pt x="645" y="93"/>
                  </a:lnTo>
                  <a:lnTo>
                    <a:pt x="627" y="52"/>
                  </a:lnTo>
                  <a:lnTo>
                    <a:pt x="616" y="29"/>
                  </a:lnTo>
                  <a:lnTo>
                    <a:pt x="610" y="6"/>
                  </a:lnTo>
                  <a:lnTo>
                    <a:pt x="581" y="6"/>
                  </a:lnTo>
                  <a:lnTo>
                    <a:pt x="569" y="0"/>
                  </a:lnTo>
                  <a:lnTo>
                    <a:pt x="563" y="0"/>
                  </a:lnTo>
                  <a:lnTo>
                    <a:pt x="552" y="6"/>
                  </a:lnTo>
                  <a:lnTo>
                    <a:pt x="558" y="35"/>
                  </a:lnTo>
                  <a:lnTo>
                    <a:pt x="558" y="52"/>
                  </a:lnTo>
                  <a:lnTo>
                    <a:pt x="546" y="52"/>
                  </a:lnTo>
                  <a:lnTo>
                    <a:pt x="540" y="40"/>
                  </a:lnTo>
                  <a:lnTo>
                    <a:pt x="534" y="35"/>
                  </a:lnTo>
                  <a:lnTo>
                    <a:pt x="523" y="35"/>
                  </a:lnTo>
                  <a:lnTo>
                    <a:pt x="517" y="35"/>
                  </a:lnTo>
                  <a:lnTo>
                    <a:pt x="511" y="35"/>
                  </a:lnTo>
                  <a:lnTo>
                    <a:pt x="500" y="35"/>
                  </a:lnTo>
                  <a:lnTo>
                    <a:pt x="494" y="35"/>
                  </a:lnTo>
                  <a:lnTo>
                    <a:pt x="488" y="35"/>
                  </a:lnTo>
                  <a:lnTo>
                    <a:pt x="482" y="35"/>
                  </a:lnTo>
                  <a:lnTo>
                    <a:pt x="471" y="35"/>
                  </a:lnTo>
                  <a:lnTo>
                    <a:pt x="447" y="40"/>
                  </a:lnTo>
                  <a:lnTo>
                    <a:pt x="442" y="40"/>
                  </a:lnTo>
                  <a:lnTo>
                    <a:pt x="436" y="40"/>
                  </a:lnTo>
                  <a:lnTo>
                    <a:pt x="430" y="40"/>
                  </a:lnTo>
                  <a:lnTo>
                    <a:pt x="424" y="40"/>
                  </a:lnTo>
                  <a:lnTo>
                    <a:pt x="418" y="40"/>
                  </a:lnTo>
                  <a:lnTo>
                    <a:pt x="407" y="40"/>
                  </a:lnTo>
                  <a:lnTo>
                    <a:pt x="395" y="46"/>
                  </a:lnTo>
                  <a:lnTo>
                    <a:pt x="389" y="46"/>
                  </a:lnTo>
                  <a:lnTo>
                    <a:pt x="383" y="46"/>
                  </a:lnTo>
                  <a:lnTo>
                    <a:pt x="372" y="46"/>
                  </a:lnTo>
                  <a:lnTo>
                    <a:pt x="366" y="46"/>
                  </a:lnTo>
                  <a:lnTo>
                    <a:pt x="360" y="46"/>
                  </a:lnTo>
                  <a:lnTo>
                    <a:pt x="354" y="46"/>
                  </a:lnTo>
                  <a:lnTo>
                    <a:pt x="349" y="46"/>
                  </a:lnTo>
                  <a:lnTo>
                    <a:pt x="337" y="46"/>
                  </a:lnTo>
                  <a:lnTo>
                    <a:pt x="331" y="46"/>
                  </a:lnTo>
                  <a:lnTo>
                    <a:pt x="325" y="46"/>
                  </a:lnTo>
                  <a:lnTo>
                    <a:pt x="320" y="52"/>
                  </a:lnTo>
                  <a:lnTo>
                    <a:pt x="314" y="52"/>
                  </a:lnTo>
                  <a:lnTo>
                    <a:pt x="296" y="52"/>
                  </a:lnTo>
                  <a:lnTo>
                    <a:pt x="273" y="52"/>
                  </a:lnTo>
                  <a:lnTo>
                    <a:pt x="256" y="23"/>
                  </a:lnTo>
                  <a:lnTo>
                    <a:pt x="238" y="23"/>
                  </a:lnTo>
                  <a:lnTo>
                    <a:pt x="233" y="23"/>
                  </a:lnTo>
                  <a:lnTo>
                    <a:pt x="209" y="29"/>
                  </a:lnTo>
                  <a:lnTo>
                    <a:pt x="180" y="35"/>
                  </a:lnTo>
                  <a:lnTo>
                    <a:pt x="163" y="35"/>
                  </a:lnTo>
                  <a:lnTo>
                    <a:pt x="151" y="35"/>
                  </a:lnTo>
                  <a:lnTo>
                    <a:pt x="146" y="35"/>
                  </a:lnTo>
                  <a:lnTo>
                    <a:pt x="140" y="35"/>
                  </a:lnTo>
                  <a:lnTo>
                    <a:pt x="134" y="35"/>
                  </a:lnTo>
                  <a:lnTo>
                    <a:pt x="122" y="40"/>
                  </a:lnTo>
                  <a:lnTo>
                    <a:pt x="116" y="40"/>
                  </a:lnTo>
                  <a:lnTo>
                    <a:pt x="105" y="40"/>
                  </a:lnTo>
                  <a:lnTo>
                    <a:pt x="99" y="40"/>
                  </a:lnTo>
                  <a:lnTo>
                    <a:pt x="87" y="40"/>
                  </a:lnTo>
                  <a:lnTo>
                    <a:pt x="82" y="40"/>
                  </a:lnTo>
                  <a:lnTo>
                    <a:pt x="58" y="46"/>
                  </a:lnTo>
                  <a:lnTo>
                    <a:pt x="47" y="46"/>
                  </a:lnTo>
                  <a:lnTo>
                    <a:pt x="41" y="46"/>
                  </a:lnTo>
                  <a:lnTo>
                    <a:pt x="35" y="46"/>
                  </a:lnTo>
                  <a:lnTo>
                    <a:pt x="0" y="52"/>
                  </a:lnTo>
                  <a:lnTo>
                    <a:pt x="0" y="69"/>
                  </a:lnTo>
                  <a:lnTo>
                    <a:pt x="24" y="93"/>
                  </a:lnTo>
                  <a:lnTo>
                    <a:pt x="24" y="104"/>
                  </a:lnTo>
                  <a:lnTo>
                    <a:pt x="29" y="110"/>
                  </a:lnTo>
                  <a:lnTo>
                    <a:pt x="12" y="133"/>
                  </a:lnTo>
                  <a:lnTo>
                    <a:pt x="29" y="127"/>
                  </a:lnTo>
                  <a:lnTo>
                    <a:pt x="82" y="116"/>
                  </a:lnTo>
                  <a:lnTo>
                    <a:pt x="87" y="116"/>
                  </a:lnTo>
                  <a:lnTo>
                    <a:pt x="116" y="110"/>
                  </a:lnTo>
                  <a:lnTo>
                    <a:pt x="128" y="110"/>
                  </a:lnTo>
                  <a:lnTo>
                    <a:pt x="169" y="11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1" name="Freeform 22"/>
            <p:cNvSpPr>
              <a:spLocks/>
            </p:cNvSpPr>
            <p:nvPr/>
          </p:nvSpPr>
          <p:spPr bwMode="auto">
            <a:xfrm>
              <a:off x="5156" y="4289"/>
              <a:ext cx="52" cy="35"/>
            </a:xfrm>
            <a:custGeom>
              <a:avLst/>
              <a:gdLst>
                <a:gd name="T0" fmla="*/ 0 w 52"/>
                <a:gd name="T1" fmla="*/ 35 h 35"/>
                <a:gd name="T2" fmla="*/ 29 w 52"/>
                <a:gd name="T3" fmla="*/ 24 h 35"/>
                <a:gd name="T4" fmla="*/ 29 w 52"/>
                <a:gd name="T5" fmla="*/ 18 h 35"/>
                <a:gd name="T6" fmla="*/ 41 w 52"/>
                <a:gd name="T7" fmla="*/ 18 h 35"/>
                <a:gd name="T8" fmla="*/ 52 w 52"/>
                <a:gd name="T9" fmla="*/ 12 h 35"/>
                <a:gd name="T10" fmla="*/ 41 w 52"/>
                <a:gd name="T11" fmla="*/ 6 h 35"/>
                <a:gd name="T12" fmla="*/ 29 w 52"/>
                <a:gd name="T13" fmla="*/ 0 h 35"/>
                <a:gd name="T14" fmla="*/ 29 w 52"/>
                <a:gd name="T15" fmla="*/ 6 h 35"/>
                <a:gd name="T16" fmla="*/ 29 w 52"/>
                <a:gd name="T17" fmla="*/ 12 h 35"/>
                <a:gd name="T18" fmla="*/ 17 w 52"/>
                <a:gd name="T19" fmla="*/ 6 h 35"/>
                <a:gd name="T20" fmla="*/ 6 w 52"/>
                <a:gd name="T21" fmla="*/ 18 h 35"/>
                <a:gd name="T22" fmla="*/ 6 w 52"/>
                <a:gd name="T23" fmla="*/ 29 h 35"/>
                <a:gd name="T24" fmla="*/ 0 w 52"/>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
                <a:gd name="T40" fmla="*/ 0 h 35"/>
                <a:gd name="T41" fmla="*/ 52 w 52"/>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 h="35">
                  <a:moveTo>
                    <a:pt x="0" y="35"/>
                  </a:moveTo>
                  <a:lnTo>
                    <a:pt x="29" y="24"/>
                  </a:lnTo>
                  <a:lnTo>
                    <a:pt x="29" y="18"/>
                  </a:lnTo>
                  <a:lnTo>
                    <a:pt x="41" y="18"/>
                  </a:lnTo>
                  <a:lnTo>
                    <a:pt x="52" y="12"/>
                  </a:lnTo>
                  <a:lnTo>
                    <a:pt x="41" y="6"/>
                  </a:lnTo>
                  <a:lnTo>
                    <a:pt x="29" y="0"/>
                  </a:lnTo>
                  <a:lnTo>
                    <a:pt x="29" y="6"/>
                  </a:lnTo>
                  <a:lnTo>
                    <a:pt x="29" y="12"/>
                  </a:lnTo>
                  <a:lnTo>
                    <a:pt x="17" y="6"/>
                  </a:lnTo>
                  <a:lnTo>
                    <a:pt x="6" y="18"/>
                  </a:lnTo>
                  <a:lnTo>
                    <a:pt x="6" y="29"/>
                  </a:lnTo>
                  <a:lnTo>
                    <a:pt x="0" y="3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2" name="Freeform 23"/>
            <p:cNvSpPr>
              <a:spLocks/>
            </p:cNvSpPr>
            <p:nvPr/>
          </p:nvSpPr>
          <p:spPr bwMode="auto">
            <a:xfrm>
              <a:off x="5226" y="4278"/>
              <a:ext cx="23" cy="17"/>
            </a:xfrm>
            <a:custGeom>
              <a:avLst/>
              <a:gdLst>
                <a:gd name="T0" fmla="*/ 0 w 23"/>
                <a:gd name="T1" fmla="*/ 17 h 17"/>
                <a:gd name="T2" fmla="*/ 23 w 23"/>
                <a:gd name="T3" fmla="*/ 0 h 17"/>
                <a:gd name="T4" fmla="*/ 11 w 23"/>
                <a:gd name="T5" fmla="*/ 6 h 17"/>
                <a:gd name="T6" fmla="*/ 0 w 23"/>
                <a:gd name="T7" fmla="*/ 17 h 17"/>
                <a:gd name="T8" fmla="*/ 0 60000 65536"/>
                <a:gd name="T9" fmla="*/ 0 60000 65536"/>
                <a:gd name="T10" fmla="*/ 0 60000 65536"/>
                <a:gd name="T11" fmla="*/ 0 60000 65536"/>
                <a:gd name="T12" fmla="*/ 0 w 23"/>
                <a:gd name="T13" fmla="*/ 0 h 17"/>
                <a:gd name="T14" fmla="*/ 23 w 23"/>
                <a:gd name="T15" fmla="*/ 17 h 17"/>
              </a:gdLst>
              <a:ahLst/>
              <a:cxnLst>
                <a:cxn ang="T8">
                  <a:pos x="T0" y="T1"/>
                </a:cxn>
                <a:cxn ang="T9">
                  <a:pos x="T2" y="T3"/>
                </a:cxn>
                <a:cxn ang="T10">
                  <a:pos x="T4" y="T5"/>
                </a:cxn>
                <a:cxn ang="T11">
                  <a:pos x="T6" y="T7"/>
                </a:cxn>
              </a:cxnLst>
              <a:rect l="T12" t="T13" r="T14" b="T15"/>
              <a:pathLst>
                <a:path w="23" h="17">
                  <a:moveTo>
                    <a:pt x="0" y="17"/>
                  </a:moveTo>
                  <a:lnTo>
                    <a:pt x="23" y="0"/>
                  </a:lnTo>
                  <a:lnTo>
                    <a:pt x="11" y="6"/>
                  </a:lnTo>
                  <a:lnTo>
                    <a:pt x="0" y="1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3" name="Freeform 24"/>
            <p:cNvSpPr>
              <a:spLocks/>
            </p:cNvSpPr>
            <p:nvPr/>
          </p:nvSpPr>
          <p:spPr bwMode="auto">
            <a:xfrm>
              <a:off x="5255" y="4272"/>
              <a:ext cx="6" cy="6"/>
            </a:xfrm>
            <a:custGeom>
              <a:avLst/>
              <a:gdLst>
                <a:gd name="T0" fmla="*/ 0 w 6"/>
                <a:gd name="T1" fmla="*/ 6 h 6"/>
                <a:gd name="T2" fmla="*/ 6 w 6"/>
                <a:gd name="T3" fmla="*/ 0 h 6"/>
                <a:gd name="T4" fmla="*/ 0 w 6"/>
                <a:gd name="T5" fmla="*/ 6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0" y="6"/>
                  </a:moveTo>
                  <a:lnTo>
                    <a:pt x="6"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4" name="Freeform 25"/>
            <p:cNvSpPr>
              <a:spLocks/>
            </p:cNvSpPr>
            <p:nvPr/>
          </p:nvSpPr>
          <p:spPr bwMode="auto">
            <a:xfrm>
              <a:off x="5203" y="4289"/>
              <a:ext cx="5" cy="6"/>
            </a:xfrm>
            <a:custGeom>
              <a:avLst/>
              <a:gdLst>
                <a:gd name="T0" fmla="*/ 0 w 5"/>
                <a:gd name="T1" fmla="*/ 0 h 6"/>
                <a:gd name="T2" fmla="*/ 0 w 5"/>
                <a:gd name="T3" fmla="*/ 6 h 6"/>
                <a:gd name="T4" fmla="*/ 5 w 5"/>
                <a:gd name="T5" fmla="*/ 0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0" y="0"/>
                  </a:moveTo>
                  <a:lnTo>
                    <a:pt x="0" y="6"/>
                  </a:lnTo>
                  <a:lnTo>
                    <a:pt x="5"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5" name="Freeform 26"/>
            <p:cNvSpPr>
              <a:spLocks/>
            </p:cNvSpPr>
            <p:nvPr/>
          </p:nvSpPr>
          <p:spPr bwMode="auto">
            <a:xfrm>
              <a:off x="5261" y="4266"/>
              <a:ext cx="5" cy="6"/>
            </a:xfrm>
            <a:custGeom>
              <a:avLst/>
              <a:gdLst>
                <a:gd name="T0" fmla="*/ 0 w 5"/>
                <a:gd name="T1" fmla="*/ 6 h 6"/>
                <a:gd name="T2" fmla="*/ 5 w 5"/>
                <a:gd name="T3" fmla="*/ 0 h 6"/>
                <a:gd name="T4" fmla="*/ 0 w 5"/>
                <a:gd name="T5" fmla="*/ 6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6"/>
                  </a:moveTo>
                  <a:lnTo>
                    <a:pt x="5" y="0"/>
                  </a:lnTo>
                  <a:lnTo>
                    <a:pt x="0"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6" name="Freeform 27"/>
            <p:cNvSpPr>
              <a:spLocks/>
            </p:cNvSpPr>
            <p:nvPr/>
          </p:nvSpPr>
          <p:spPr bwMode="auto">
            <a:xfrm>
              <a:off x="4605" y="3147"/>
              <a:ext cx="505" cy="510"/>
            </a:xfrm>
            <a:custGeom>
              <a:avLst/>
              <a:gdLst>
                <a:gd name="T0" fmla="*/ 87 w 505"/>
                <a:gd name="T1" fmla="*/ 23 h 510"/>
                <a:gd name="T2" fmla="*/ 116 w 505"/>
                <a:gd name="T3" fmla="*/ 17 h 510"/>
                <a:gd name="T4" fmla="*/ 139 w 505"/>
                <a:gd name="T5" fmla="*/ 17 h 510"/>
                <a:gd name="T6" fmla="*/ 185 w 505"/>
                <a:gd name="T7" fmla="*/ 11 h 510"/>
                <a:gd name="T8" fmla="*/ 214 w 505"/>
                <a:gd name="T9" fmla="*/ 5 h 510"/>
                <a:gd name="T10" fmla="*/ 232 w 505"/>
                <a:gd name="T11" fmla="*/ 5 h 510"/>
                <a:gd name="T12" fmla="*/ 220 w 505"/>
                <a:gd name="T13" fmla="*/ 40 h 510"/>
                <a:gd name="T14" fmla="*/ 243 w 505"/>
                <a:gd name="T15" fmla="*/ 52 h 510"/>
                <a:gd name="T16" fmla="*/ 267 w 505"/>
                <a:gd name="T17" fmla="*/ 58 h 510"/>
                <a:gd name="T18" fmla="*/ 278 w 505"/>
                <a:gd name="T19" fmla="*/ 81 h 510"/>
                <a:gd name="T20" fmla="*/ 296 w 505"/>
                <a:gd name="T21" fmla="*/ 98 h 510"/>
                <a:gd name="T22" fmla="*/ 325 w 505"/>
                <a:gd name="T23" fmla="*/ 121 h 510"/>
                <a:gd name="T24" fmla="*/ 342 w 505"/>
                <a:gd name="T25" fmla="*/ 145 h 510"/>
                <a:gd name="T26" fmla="*/ 371 w 505"/>
                <a:gd name="T27" fmla="*/ 168 h 510"/>
                <a:gd name="T28" fmla="*/ 394 w 505"/>
                <a:gd name="T29" fmla="*/ 185 h 510"/>
                <a:gd name="T30" fmla="*/ 406 w 505"/>
                <a:gd name="T31" fmla="*/ 191 h 510"/>
                <a:gd name="T32" fmla="*/ 423 w 505"/>
                <a:gd name="T33" fmla="*/ 208 h 510"/>
                <a:gd name="T34" fmla="*/ 441 w 505"/>
                <a:gd name="T35" fmla="*/ 249 h 510"/>
                <a:gd name="T36" fmla="*/ 470 w 505"/>
                <a:gd name="T37" fmla="*/ 284 h 510"/>
                <a:gd name="T38" fmla="*/ 499 w 505"/>
                <a:gd name="T39" fmla="*/ 301 h 510"/>
                <a:gd name="T40" fmla="*/ 493 w 505"/>
                <a:gd name="T41" fmla="*/ 324 h 510"/>
                <a:gd name="T42" fmla="*/ 481 w 505"/>
                <a:gd name="T43" fmla="*/ 342 h 510"/>
                <a:gd name="T44" fmla="*/ 481 w 505"/>
                <a:gd name="T45" fmla="*/ 353 h 510"/>
                <a:gd name="T46" fmla="*/ 470 w 505"/>
                <a:gd name="T47" fmla="*/ 365 h 510"/>
                <a:gd name="T48" fmla="*/ 476 w 505"/>
                <a:gd name="T49" fmla="*/ 382 h 510"/>
                <a:gd name="T50" fmla="*/ 470 w 505"/>
                <a:gd name="T51" fmla="*/ 411 h 510"/>
                <a:gd name="T52" fmla="*/ 464 w 505"/>
                <a:gd name="T53" fmla="*/ 429 h 510"/>
                <a:gd name="T54" fmla="*/ 441 w 505"/>
                <a:gd name="T55" fmla="*/ 464 h 510"/>
                <a:gd name="T56" fmla="*/ 412 w 505"/>
                <a:gd name="T57" fmla="*/ 464 h 510"/>
                <a:gd name="T58" fmla="*/ 406 w 505"/>
                <a:gd name="T59" fmla="*/ 510 h 510"/>
                <a:gd name="T60" fmla="*/ 383 w 505"/>
                <a:gd name="T61" fmla="*/ 493 h 510"/>
                <a:gd name="T62" fmla="*/ 360 w 505"/>
                <a:gd name="T63" fmla="*/ 493 h 510"/>
                <a:gd name="T64" fmla="*/ 342 w 505"/>
                <a:gd name="T65" fmla="*/ 493 h 510"/>
                <a:gd name="T66" fmla="*/ 302 w 505"/>
                <a:gd name="T67" fmla="*/ 498 h 510"/>
                <a:gd name="T68" fmla="*/ 284 w 505"/>
                <a:gd name="T69" fmla="*/ 498 h 510"/>
                <a:gd name="T70" fmla="*/ 255 w 505"/>
                <a:gd name="T71" fmla="*/ 504 h 510"/>
                <a:gd name="T72" fmla="*/ 232 w 505"/>
                <a:gd name="T73" fmla="*/ 504 h 510"/>
                <a:gd name="T74" fmla="*/ 214 w 505"/>
                <a:gd name="T75" fmla="*/ 504 h 510"/>
                <a:gd name="T76" fmla="*/ 191 w 505"/>
                <a:gd name="T77" fmla="*/ 504 h 510"/>
                <a:gd name="T78" fmla="*/ 174 w 505"/>
                <a:gd name="T79" fmla="*/ 510 h 510"/>
                <a:gd name="T80" fmla="*/ 116 w 505"/>
                <a:gd name="T81" fmla="*/ 481 h 510"/>
                <a:gd name="T82" fmla="*/ 104 w 505"/>
                <a:gd name="T83" fmla="*/ 452 h 510"/>
                <a:gd name="T84" fmla="*/ 104 w 505"/>
                <a:gd name="T85" fmla="*/ 423 h 510"/>
                <a:gd name="T86" fmla="*/ 93 w 505"/>
                <a:gd name="T87" fmla="*/ 394 h 510"/>
                <a:gd name="T88" fmla="*/ 93 w 505"/>
                <a:gd name="T89" fmla="*/ 359 h 510"/>
                <a:gd name="T90" fmla="*/ 104 w 505"/>
                <a:gd name="T91" fmla="*/ 336 h 510"/>
                <a:gd name="T92" fmla="*/ 93 w 505"/>
                <a:gd name="T93" fmla="*/ 307 h 510"/>
                <a:gd name="T94" fmla="*/ 81 w 505"/>
                <a:gd name="T95" fmla="*/ 284 h 510"/>
                <a:gd name="T96" fmla="*/ 69 w 505"/>
                <a:gd name="T97" fmla="*/ 266 h 510"/>
                <a:gd name="T98" fmla="*/ 64 w 505"/>
                <a:gd name="T99" fmla="*/ 243 h 510"/>
                <a:gd name="T100" fmla="*/ 52 w 505"/>
                <a:gd name="T101" fmla="*/ 214 h 510"/>
                <a:gd name="T102" fmla="*/ 52 w 505"/>
                <a:gd name="T103" fmla="*/ 197 h 510"/>
                <a:gd name="T104" fmla="*/ 40 w 505"/>
                <a:gd name="T105" fmla="*/ 162 h 510"/>
                <a:gd name="T106" fmla="*/ 35 w 505"/>
                <a:gd name="T107" fmla="*/ 145 h 510"/>
                <a:gd name="T108" fmla="*/ 29 w 505"/>
                <a:gd name="T109" fmla="*/ 127 h 510"/>
                <a:gd name="T110" fmla="*/ 23 w 505"/>
                <a:gd name="T111" fmla="*/ 98 h 510"/>
                <a:gd name="T112" fmla="*/ 11 w 505"/>
                <a:gd name="T113" fmla="*/ 75 h 510"/>
                <a:gd name="T114" fmla="*/ 6 w 505"/>
                <a:gd name="T115" fmla="*/ 46 h 510"/>
                <a:gd name="T116" fmla="*/ 23 w 505"/>
                <a:gd name="T117" fmla="*/ 29 h 510"/>
                <a:gd name="T118" fmla="*/ 58 w 505"/>
                <a:gd name="T119" fmla="*/ 29 h 5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05"/>
                <a:gd name="T181" fmla="*/ 0 h 510"/>
                <a:gd name="T182" fmla="*/ 505 w 505"/>
                <a:gd name="T183" fmla="*/ 510 h 5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05" h="510">
                  <a:moveTo>
                    <a:pt x="75" y="23"/>
                  </a:moveTo>
                  <a:lnTo>
                    <a:pt x="81" y="23"/>
                  </a:lnTo>
                  <a:lnTo>
                    <a:pt x="87" y="23"/>
                  </a:lnTo>
                  <a:lnTo>
                    <a:pt x="93" y="23"/>
                  </a:lnTo>
                  <a:lnTo>
                    <a:pt x="104" y="17"/>
                  </a:lnTo>
                  <a:lnTo>
                    <a:pt x="116" y="17"/>
                  </a:lnTo>
                  <a:lnTo>
                    <a:pt x="122" y="17"/>
                  </a:lnTo>
                  <a:lnTo>
                    <a:pt x="127" y="17"/>
                  </a:lnTo>
                  <a:lnTo>
                    <a:pt x="139" y="17"/>
                  </a:lnTo>
                  <a:lnTo>
                    <a:pt x="151" y="11"/>
                  </a:lnTo>
                  <a:lnTo>
                    <a:pt x="156" y="11"/>
                  </a:lnTo>
                  <a:lnTo>
                    <a:pt x="185" y="11"/>
                  </a:lnTo>
                  <a:lnTo>
                    <a:pt x="191" y="5"/>
                  </a:lnTo>
                  <a:lnTo>
                    <a:pt x="197" y="5"/>
                  </a:lnTo>
                  <a:lnTo>
                    <a:pt x="214" y="5"/>
                  </a:lnTo>
                  <a:lnTo>
                    <a:pt x="226" y="0"/>
                  </a:lnTo>
                  <a:lnTo>
                    <a:pt x="232" y="0"/>
                  </a:lnTo>
                  <a:lnTo>
                    <a:pt x="232" y="5"/>
                  </a:lnTo>
                  <a:lnTo>
                    <a:pt x="220" y="17"/>
                  </a:lnTo>
                  <a:lnTo>
                    <a:pt x="214" y="34"/>
                  </a:lnTo>
                  <a:lnTo>
                    <a:pt x="220" y="40"/>
                  </a:lnTo>
                  <a:lnTo>
                    <a:pt x="226" y="46"/>
                  </a:lnTo>
                  <a:lnTo>
                    <a:pt x="238" y="52"/>
                  </a:lnTo>
                  <a:lnTo>
                    <a:pt x="243" y="52"/>
                  </a:lnTo>
                  <a:lnTo>
                    <a:pt x="249" y="58"/>
                  </a:lnTo>
                  <a:lnTo>
                    <a:pt x="255" y="58"/>
                  </a:lnTo>
                  <a:lnTo>
                    <a:pt x="267" y="58"/>
                  </a:lnTo>
                  <a:lnTo>
                    <a:pt x="272" y="69"/>
                  </a:lnTo>
                  <a:lnTo>
                    <a:pt x="278" y="75"/>
                  </a:lnTo>
                  <a:lnTo>
                    <a:pt x="278" y="81"/>
                  </a:lnTo>
                  <a:lnTo>
                    <a:pt x="284" y="87"/>
                  </a:lnTo>
                  <a:lnTo>
                    <a:pt x="290" y="92"/>
                  </a:lnTo>
                  <a:lnTo>
                    <a:pt x="296" y="98"/>
                  </a:lnTo>
                  <a:lnTo>
                    <a:pt x="302" y="104"/>
                  </a:lnTo>
                  <a:lnTo>
                    <a:pt x="302" y="110"/>
                  </a:lnTo>
                  <a:lnTo>
                    <a:pt x="325" y="121"/>
                  </a:lnTo>
                  <a:lnTo>
                    <a:pt x="336" y="127"/>
                  </a:lnTo>
                  <a:lnTo>
                    <a:pt x="342" y="139"/>
                  </a:lnTo>
                  <a:lnTo>
                    <a:pt x="342" y="145"/>
                  </a:lnTo>
                  <a:lnTo>
                    <a:pt x="354" y="145"/>
                  </a:lnTo>
                  <a:lnTo>
                    <a:pt x="360" y="150"/>
                  </a:lnTo>
                  <a:lnTo>
                    <a:pt x="371" y="168"/>
                  </a:lnTo>
                  <a:lnTo>
                    <a:pt x="383" y="174"/>
                  </a:lnTo>
                  <a:lnTo>
                    <a:pt x="383" y="179"/>
                  </a:lnTo>
                  <a:lnTo>
                    <a:pt x="394" y="185"/>
                  </a:lnTo>
                  <a:lnTo>
                    <a:pt x="394" y="191"/>
                  </a:lnTo>
                  <a:lnTo>
                    <a:pt x="400" y="191"/>
                  </a:lnTo>
                  <a:lnTo>
                    <a:pt x="406" y="191"/>
                  </a:lnTo>
                  <a:lnTo>
                    <a:pt x="418" y="197"/>
                  </a:lnTo>
                  <a:lnTo>
                    <a:pt x="423" y="203"/>
                  </a:lnTo>
                  <a:lnTo>
                    <a:pt x="423" y="208"/>
                  </a:lnTo>
                  <a:lnTo>
                    <a:pt x="435" y="232"/>
                  </a:lnTo>
                  <a:lnTo>
                    <a:pt x="435" y="243"/>
                  </a:lnTo>
                  <a:lnTo>
                    <a:pt x="441" y="249"/>
                  </a:lnTo>
                  <a:lnTo>
                    <a:pt x="452" y="249"/>
                  </a:lnTo>
                  <a:lnTo>
                    <a:pt x="470" y="272"/>
                  </a:lnTo>
                  <a:lnTo>
                    <a:pt x="470" y="284"/>
                  </a:lnTo>
                  <a:lnTo>
                    <a:pt x="476" y="295"/>
                  </a:lnTo>
                  <a:lnTo>
                    <a:pt x="487" y="295"/>
                  </a:lnTo>
                  <a:lnTo>
                    <a:pt x="499" y="301"/>
                  </a:lnTo>
                  <a:lnTo>
                    <a:pt x="505" y="301"/>
                  </a:lnTo>
                  <a:lnTo>
                    <a:pt x="505" y="307"/>
                  </a:lnTo>
                  <a:lnTo>
                    <a:pt x="493" y="324"/>
                  </a:lnTo>
                  <a:lnTo>
                    <a:pt x="487" y="324"/>
                  </a:lnTo>
                  <a:lnTo>
                    <a:pt x="487" y="330"/>
                  </a:lnTo>
                  <a:lnTo>
                    <a:pt x="481" y="342"/>
                  </a:lnTo>
                  <a:lnTo>
                    <a:pt x="476" y="342"/>
                  </a:lnTo>
                  <a:lnTo>
                    <a:pt x="481" y="342"/>
                  </a:lnTo>
                  <a:lnTo>
                    <a:pt x="481" y="353"/>
                  </a:lnTo>
                  <a:lnTo>
                    <a:pt x="481" y="359"/>
                  </a:lnTo>
                  <a:lnTo>
                    <a:pt x="476" y="359"/>
                  </a:lnTo>
                  <a:lnTo>
                    <a:pt x="470" y="365"/>
                  </a:lnTo>
                  <a:lnTo>
                    <a:pt x="476" y="365"/>
                  </a:lnTo>
                  <a:lnTo>
                    <a:pt x="481" y="365"/>
                  </a:lnTo>
                  <a:lnTo>
                    <a:pt x="476" y="382"/>
                  </a:lnTo>
                  <a:lnTo>
                    <a:pt x="470" y="382"/>
                  </a:lnTo>
                  <a:lnTo>
                    <a:pt x="476" y="394"/>
                  </a:lnTo>
                  <a:lnTo>
                    <a:pt x="470" y="411"/>
                  </a:lnTo>
                  <a:lnTo>
                    <a:pt x="464" y="417"/>
                  </a:lnTo>
                  <a:lnTo>
                    <a:pt x="464" y="411"/>
                  </a:lnTo>
                  <a:lnTo>
                    <a:pt x="464" y="429"/>
                  </a:lnTo>
                  <a:lnTo>
                    <a:pt x="470" y="429"/>
                  </a:lnTo>
                  <a:lnTo>
                    <a:pt x="470" y="464"/>
                  </a:lnTo>
                  <a:lnTo>
                    <a:pt x="441" y="464"/>
                  </a:lnTo>
                  <a:lnTo>
                    <a:pt x="429" y="458"/>
                  </a:lnTo>
                  <a:lnTo>
                    <a:pt x="423" y="458"/>
                  </a:lnTo>
                  <a:lnTo>
                    <a:pt x="412" y="464"/>
                  </a:lnTo>
                  <a:lnTo>
                    <a:pt x="418" y="493"/>
                  </a:lnTo>
                  <a:lnTo>
                    <a:pt x="418" y="510"/>
                  </a:lnTo>
                  <a:lnTo>
                    <a:pt x="406" y="510"/>
                  </a:lnTo>
                  <a:lnTo>
                    <a:pt x="400" y="498"/>
                  </a:lnTo>
                  <a:lnTo>
                    <a:pt x="394" y="493"/>
                  </a:lnTo>
                  <a:lnTo>
                    <a:pt x="383" y="493"/>
                  </a:lnTo>
                  <a:lnTo>
                    <a:pt x="377" y="493"/>
                  </a:lnTo>
                  <a:lnTo>
                    <a:pt x="371" y="493"/>
                  </a:lnTo>
                  <a:lnTo>
                    <a:pt x="360" y="493"/>
                  </a:lnTo>
                  <a:lnTo>
                    <a:pt x="354" y="493"/>
                  </a:lnTo>
                  <a:lnTo>
                    <a:pt x="348" y="493"/>
                  </a:lnTo>
                  <a:lnTo>
                    <a:pt x="342" y="493"/>
                  </a:lnTo>
                  <a:lnTo>
                    <a:pt x="331" y="493"/>
                  </a:lnTo>
                  <a:lnTo>
                    <a:pt x="307" y="498"/>
                  </a:lnTo>
                  <a:lnTo>
                    <a:pt x="302" y="498"/>
                  </a:lnTo>
                  <a:lnTo>
                    <a:pt x="296" y="498"/>
                  </a:lnTo>
                  <a:lnTo>
                    <a:pt x="290" y="498"/>
                  </a:lnTo>
                  <a:lnTo>
                    <a:pt x="284" y="498"/>
                  </a:lnTo>
                  <a:lnTo>
                    <a:pt x="278" y="498"/>
                  </a:lnTo>
                  <a:lnTo>
                    <a:pt x="267" y="498"/>
                  </a:lnTo>
                  <a:lnTo>
                    <a:pt x="255" y="504"/>
                  </a:lnTo>
                  <a:lnTo>
                    <a:pt x="249" y="504"/>
                  </a:lnTo>
                  <a:lnTo>
                    <a:pt x="243" y="504"/>
                  </a:lnTo>
                  <a:lnTo>
                    <a:pt x="232" y="504"/>
                  </a:lnTo>
                  <a:lnTo>
                    <a:pt x="226" y="504"/>
                  </a:lnTo>
                  <a:lnTo>
                    <a:pt x="220" y="504"/>
                  </a:lnTo>
                  <a:lnTo>
                    <a:pt x="214" y="504"/>
                  </a:lnTo>
                  <a:lnTo>
                    <a:pt x="209" y="504"/>
                  </a:lnTo>
                  <a:lnTo>
                    <a:pt x="197" y="504"/>
                  </a:lnTo>
                  <a:lnTo>
                    <a:pt x="191" y="504"/>
                  </a:lnTo>
                  <a:lnTo>
                    <a:pt x="185" y="504"/>
                  </a:lnTo>
                  <a:lnTo>
                    <a:pt x="180" y="510"/>
                  </a:lnTo>
                  <a:lnTo>
                    <a:pt x="174" y="510"/>
                  </a:lnTo>
                  <a:lnTo>
                    <a:pt x="156" y="510"/>
                  </a:lnTo>
                  <a:lnTo>
                    <a:pt x="133" y="510"/>
                  </a:lnTo>
                  <a:lnTo>
                    <a:pt x="116" y="481"/>
                  </a:lnTo>
                  <a:lnTo>
                    <a:pt x="110" y="469"/>
                  </a:lnTo>
                  <a:lnTo>
                    <a:pt x="110" y="464"/>
                  </a:lnTo>
                  <a:lnTo>
                    <a:pt x="104" y="452"/>
                  </a:lnTo>
                  <a:lnTo>
                    <a:pt x="104" y="446"/>
                  </a:lnTo>
                  <a:lnTo>
                    <a:pt x="104" y="440"/>
                  </a:lnTo>
                  <a:lnTo>
                    <a:pt x="104" y="423"/>
                  </a:lnTo>
                  <a:lnTo>
                    <a:pt x="98" y="411"/>
                  </a:lnTo>
                  <a:lnTo>
                    <a:pt x="93" y="400"/>
                  </a:lnTo>
                  <a:lnTo>
                    <a:pt x="93" y="394"/>
                  </a:lnTo>
                  <a:lnTo>
                    <a:pt x="93" y="382"/>
                  </a:lnTo>
                  <a:lnTo>
                    <a:pt x="93" y="365"/>
                  </a:lnTo>
                  <a:lnTo>
                    <a:pt x="93" y="359"/>
                  </a:lnTo>
                  <a:lnTo>
                    <a:pt x="93" y="353"/>
                  </a:lnTo>
                  <a:lnTo>
                    <a:pt x="98" y="348"/>
                  </a:lnTo>
                  <a:lnTo>
                    <a:pt x="104" y="336"/>
                  </a:lnTo>
                  <a:lnTo>
                    <a:pt x="98" y="330"/>
                  </a:lnTo>
                  <a:lnTo>
                    <a:pt x="98" y="324"/>
                  </a:lnTo>
                  <a:lnTo>
                    <a:pt x="93" y="307"/>
                  </a:lnTo>
                  <a:lnTo>
                    <a:pt x="87" y="295"/>
                  </a:lnTo>
                  <a:lnTo>
                    <a:pt x="81" y="295"/>
                  </a:lnTo>
                  <a:lnTo>
                    <a:pt x="81" y="284"/>
                  </a:lnTo>
                  <a:lnTo>
                    <a:pt x="75" y="284"/>
                  </a:lnTo>
                  <a:lnTo>
                    <a:pt x="75" y="278"/>
                  </a:lnTo>
                  <a:lnTo>
                    <a:pt x="69" y="266"/>
                  </a:lnTo>
                  <a:lnTo>
                    <a:pt x="69" y="261"/>
                  </a:lnTo>
                  <a:lnTo>
                    <a:pt x="69" y="255"/>
                  </a:lnTo>
                  <a:lnTo>
                    <a:pt x="64" y="243"/>
                  </a:lnTo>
                  <a:lnTo>
                    <a:pt x="64" y="237"/>
                  </a:lnTo>
                  <a:lnTo>
                    <a:pt x="58" y="232"/>
                  </a:lnTo>
                  <a:lnTo>
                    <a:pt x="52" y="214"/>
                  </a:lnTo>
                  <a:lnTo>
                    <a:pt x="52" y="208"/>
                  </a:lnTo>
                  <a:lnTo>
                    <a:pt x="52" y="203"/>
                  </a:lnTo>
                  <a:lnTo>
                    <a:pt x="52" y="197"/>
                  </a:lnTo>
                  <a:lnTo>
                    <a:pt x="46" y="185"/>
                  </a:lnTo>
                  <a:lnTo>
                    <a:pt x="46" y="179"/>
                  </a:lnTo>
                  <a:lnTo>
                    <a:pt x="40" y="162"/>
                  </a:lnTo>
                  <a:lnTo>
                    <a:pt x="40" y="156"/>
                  </a:lnTo>
                  <a:lnTo>
                    <a:pt x="35" y="156"/>
                  </a:lnTo>
                  <a:lnTo>
                    <a:pt x="35" y="145"/>
                  </a:lnTo>
                  <a:lnTo>
                    <a:pt x="35" y="139"/>
                  </a:lnTo>
                  <a:lnTo>
                    <a:pt x="29" y="133"/>
                  </a:lnTo>
                  <a:lnTo>
                    <a:pt x="29" y="127"/>
                  </a:lnTo>
                  <a:lnTo>
                    <a:pt x="29" y="116"/>
                  </a:lnTo>
                  <a:lnTo>
                    <a:pt x="23" y="110"/>
                  </a:lnTo>
                  <a:lnTo>
                    <a:pt x="23" y="98"/>
                  </a:lnTo>
                  <a:lnTo>
                    <a:pt x="17" y="92"/>
                  </a:lnTo>
                  <a:lnTo>
                    <a:pt x="17" y="87"/>
                  </a:lnTo>
                  <a:lnTo>
                    <a:pt x="11" y="75"/>
                  </a:lnTo>
                  <a:lnTo>
                    <a:pt x="11" y="58"/>
                  </a:lnTo>
                  <a:lnTo>
                    <a:pt x="6" y="52"/>
                  </a:lnTo>
                  <a:lnTo>
                    <a:pt x="6" y="46"/>
                  </a:lnTo>
                  <a:lnTo>
                    <a:pt x="0" y="34"/>
                  </a:lnTo>
                  <a:lnTo>
                    <a:pt x="11" y="34"/>
                  </a:lnTo>
                  <a:lnTo>
                    <a:pt x="23" y="29"/>
                  </a:lnTo>
                  <a:lnTo>
                    <a:pt x="29" y="29"/>
                  </a:lnTo>
                  <a:lnTo>
                    <a:pt x="35" y="29"/>
                  </a:lnTo>
                  <a:lnTo>
                    <a:pt x="58" y="29"/>
                  </a:lnTo>
                  <a:lnTo>
                    <a:pt x="64" y="23"/>
                  </a:lnTo>
                  <a:lnTo>
                    <a:pt x="75" y="2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7" name="Freeform 28"/>
            <p:cNvSpPr>
              <a:spLocks/>
            </p:cNvSpPr>
            <p:nvPr/>
          </p:nvSpPr>
          <p:spPr bwMode="auto">
            <a:xfrm>
              <a:off x="4819" y="3100"/>
              <a:ext cx="471" cy="348"/>
            </a:xfrm>
            <a:custGeom>
              <a:avLst/>
              <a:gdLst>
                <a:gd name="T0" fmla="*/ 88 w 471"/>
                <a:gd name="T1" fmla="*/ 157 h 348"/>
                <a:gd name="T2" fmla="*/ 122 w 471"/>
                <a:gd name="T3" fmla="*/ 174 h 348"/>
                <a:gd name="T4" fmla="*/ 128 w 471"/>
                <a:gd name="T5" fmla="*/ 192 h 348"/>
                <a:gd name="T6" fmla="*/ 146 w 471"/>
                <a:gd name="T7" fmla="*/ 197 h 348"/>
                <a:gd name="T8" fmla="*/ 169 w 471"/>
                <a:gd name="T9" fmla="*/ 221 h 348"/>
                <a:gd name="T10" fmla="*/ 180 w 471"/>
                <a:gd name="T11" fmla="*/ 232 h 348"/>
                <a:gd name="T12" fmla="*/ 186 w 471"/>
                <a:gd name="T13" fmla="*/ 238 h 348"/>
                <a:gd name="T14" fmla="*/ 204 w 471"/>
                <a:gd name="T15" fmla="*/ 244 h 348"/>
                <a:gd name="T16" fmla="*/ 209 w 471"/>
                <a:gd name="T17" fmla="*/ 255 h 348"/>
                <a:gd name="T18" fmla="*/ 221 w 471"/>
                <a:gd name="T19" fmla="*/ 290 h 348"/>
                <a:gd name="T20" fmla="*/ 238 w 471"/>
                <a:gd name="T21" fmla="*/ 296 h 348"/>
                <a:gd name="T22" fmla="*/ 256 w 471"/>
                <a:gd name="T23" fmla="*/ 331 h 348"/>
                <a:gd name="T24" fmla="*/ 273 w 471"/>
                <a:gd name="T25" fmla="*/ 342 h 348"/>
                <a:gd name="T26" fmla="*/ 285 w 471"/>
                <a:gd name="T27" fmla="*/ 342 h 348"/>
                <a:gd name="T28" fmla="*/ 302 w 471"/>
                <a:gd name="T29" fmla="*/ 325 h 348"/>
                <a:gd name="T30" fmla="*/ 285 w 471"/>
                <a:gd name="T31" fmla="*/ 308 h 348"/>
                <a:gd name="T32" fmla="*/ 320 w 471"/>
                <a:gd name="T33" fmla="*/ 313 h 348"/>
                <a:gd name="T34" fmla="*/ 314 w 471"/>
                <a:gd name="T35" fmla="*/ 290 h 348"/>
                <a:gd name="T36" fmla="*/ 325 w 471"/>
                <a:gd name="T37" fmla="*/ 290 h 348"/>
                <a:gd name="T38" fmla="*/ 331 w 471"/>
                <a:gd name="T39" fmla="*/ 284 h 348"/>
                <a:gd name="T40" fmla="*/ 360 w 471"/>
                <a:gd name="T41" fmla="*/ 267 h 348"/>
                <a:gd name="T42" fmla="*/ 378 w 471"/>
                <a:gd name="T43" fmla="*/ 244 h 348"/>
                <a:gd name="T44" fmla="*/ 389 w 471"/>
                <a:gd name="T45" fmla="*/ 215 h 348"/>
                <a:gd name="T46" fmla="*/ 418 w 471"/>
                <a:gd name="T47" fmla="*/ 197 h 348"/>
                <a:gd name="T48" fmla="*/ 430 w 471"/>
                <a:gd name="T49" fmla="*/ 139 h 348"/>
                <a:gd name="T50" fmla="*/ 453 w 471"/>
                <a:gd name="T51" fmla="*/ 116 h 348"/>
                <a:gd name="T52" fmla="*/ 465 w 471"/>
                <a:gd name="T53" fmla="*/ 99 h 348"/>
                <a:gd name="T54" fmla="*/ 430 w 471"/>
                <a:gd name="T55" fmla="*/ 76 h 348"/>
                <a:gd name="T56" fmla="*/ 413 w 471"/>
                <a:gd name="T57" fmla="*/ 64 h 348"/>
                <a:gd name="T58" fmla="*/ 378 w 471"/>
                <a:gd name="T59" fmla="*/ 41 h 348"/>
                <a:gd name="T60" fmla="*/ 366 w 471"/>
                <a:gd name="T61" fmla="*/ 29 h 348"/>
                <a:gd name="T62" fmla="*/ 343 w 471"/>
                <a:gd name="T63" fmla="*/ 18 h 348"/>
                <a:gd name="T64" fmla="*/ 325 w 471"/>
                <a:gd name="T65" fmla="*/ 18 h 348"/>
                <a:gd name="T66" fmla="*/ 314 w 471"/>
                <a:gd name="T67" fmla="*/ 23 h 348"/>
                <a:gd name="T68" fmla="*/ 279 w 471"/>
                <a:gd name="T69" fmla="*/ 23 h 348"/>
                <a:gd name="T70" fmla="*/ 262 w 471"/>
                <a:gd name="T71" fmla="*/ 29 h 348"/>
                <a:gd name="T72" fmla="*/ 238 w 471"/>
                <a:gd name="T73" fmla="*/ 18 h 348"/>
                <a:gd name="T74" fmla="*/ 227 w 471"/>
                <a:gd name="T75" fmla="*/ 12 h 348"/>
                <a:gd name="T76" fmla="*/ 215 w 471"/>
                <a:gd name="T77" fmla="*/ 6 h 348"/>
                <a:gd name="T78" fmla="*/ 198 w 471"/>
                <a:gd name="T79" fmla="*/ 0 h 348"/>
                <a:gd name="T80" fmla="*/ 180 w 471"/>
                <a:gd name="T81" fmla="*/ 0 h 348"/>
                <a:gd name="T82" fmla="*/ 169 w 471"/>
                <a:gd name="T83" fmla="*/ 6 h 348"/>
                <a:gd name="T84" fmla="*/ 140 w 471"/>
                <a:gd name="T85" fmla="*/ 6 h 348"/>
                <a:gd name="T86" fmla="*/ 122 w 471"/>
                <a:gd name="T87" fmla="*/ 12 h 348"/>
                <a:gd name="T88" fmla="*/ 105 w 471"/>
                <a:gd name="T89" fmla="*/ 12 h 348"/>
                <a:gd name="T90" fmla="*/ 88 w 471"/>
                <a:gd name="T91" fmla="*/ 18 h 348"/>
                <a:gd name="T92" fmla="*/ 64 w 471"/>
                <a:gd name="T93" fmla="*/ 23 h 348"/>
                <a:gd name="T94" fmla="*/ 53 w 471"/>
                <a:gd name="T95" fmla="*/ 35 h 348"/>
                <a:gd name="T96" fmla="*/ 41 w 471"/>
                <a:gd name="T97" fmla="*/ 41 h 348"/>
                <a:gd name="T98" fmla="*/ 18 w 471"/>
                <a:gd name="T99" fmla="*/ 47 h 348"/>
                <a:gd name="T100" fmla="*/ 6 w 471"/>
                <a:gd name="T101" fmla="*/ 64 h 348"/>
                <a:gd name="T102" fmla="*/ 6 w 471"/>
                <a:gd name="T103" fmla="*/ 87 h 348"/>
                <a:gd name="T104" fmla="*/ 24 w 471"/>
                <a:gd name="T105" fmla="*/ 99 h 348"/>
                <a:gd name="T106" fmla="*/ 35 w 471"/>
                <a:gd name="T107" fmla="*/ 105 h 348"/>
                <a:gd name="T108" fmla="*/ 53 w 471"/>
                <a:gd name="T109" fmla="*/ 105 h 348"/>
                <a:gd name="T110" fmla="*/ 64 w 471"/>
                <a:gd name="T111" fmla="*/ 122 h 348"/>
                <a:gd name="T112" fmla="*/ 70 w 471"/>
                <a:gd name="T113" fmla="*/ 134 h 348"/>
                <a:gd name="T114" fmla="*/ 82 w 471"/>
                <a:gd name="T115" fmla="*/ 145 h 34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71"/>
                <a:gd name="T175" fmla="*/ 0 h 348"/>
                <a:gd name="T176" fmla="*/ 471 w 471"/>
                <a:gd name="T177" fmla="*/ 348 h 34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71" h="348">
                  <a:moveTo>
                    <a:pt x="88" y="151"/>
                  </a:moveTo>
                  <a:lnTo>
                    <a:pt x="88" y="157"/>
                  </a:lnTo>
                  <a:lnTo>
                    <a:pt x="111" y="168"/>
                  </a:lnTo>
                  <a:lnTo>
                    <a:pt x="122" y="174"/>
                  </a:lnTo>
                  <a:lnTo>
                    <a:pt x="128" y="186"/>
                  </a:lnTo>
                  <a:lnTo>
                    <a:pt x="128" y="192"/>
                  </a:lnTo>
                  <a:lnTo>
                    <a:pt x="140" y="192"/>
                  </a:lnTo>
                  <a:lnTo>
                    <a:pt x="146" y="197"/>
                  </a:lnTo>
                  <a:lnTo>
                    <a:pt x="157" y="215"/>
                  </a:lnTo>
                  <a:lnTo>
                    <a:pt x="169" y="221"/>
                  </a:lnTo>
                  <a:lnTo>
                    <a:pt x="169" y="226"/>
                  </a:lnTo>
                  <a:lnTo>
                    <a:pt x="180" y="232"/>
                  </a:lnTo>
                  <a:lnTo>
                    <a:pt x="180" y="238"/>
                  </a:lnTo>
                  <a:lnTo>
                    <a:pt x="186" y="238"/>
                  </a:lnTo>
                  <a:lnTo>
                    <a:pt x="192" y="238"/>
                  </a:lnTo>
                  <a:lnTo>
                    <a:pt x="204" y="244"/>
                  </a:lnTo>
                  <a:lnTo>
                    <a:pt x="209" y="250"/>
                  </a:lnTo>
                  <a:lnTo>
                    <a:pt x="209" y="255"/>
                  </a:lnTo>
                  <a:lnTo>
                    <a:pt x="221" y="279"/>
                  </a:lnTo>
                  <a:lnTo>
                    <a:pt x="221" y="290"/>
                  </a:lnTo>
                  <a:lnTo>
                    <a:pt x="227" y="296"/>
                  </a:lnTo>
                  <a:lnTo>
                    <a:pt x="238" y="296"/>
                  </a:lnTo>
                  <a:lnTo>
                    <a:pt x="256" y="319"/>
                  </a:lnTo>
                  <a:lnTo>
                    <a:pt x="256" y="331"/>
                  </a:lnTo>
                  <a:lnTo>
                    <a:pt x="262" y="342"/>
                  </a:lnTo>
                  <a:lnTo>
                    <a:pt x="273" y="342"/>
                  </a:lnTo>
                  <a:lnTo>
                    <a:pt x="285" y="348"/>
                  </a:lnTo>
                  <a:lnTo>
                    <a:pt x="285" y="342"/>
                  </a:lnTo>
                  <a:lnTo>
                    <a:pt x="296" y="337"/>
                  </a:lnTo>
                  <a:lnTo>
                    <a:pt x="302" y="325"/>
                  </a:lnTo>
                  <a:lnTo>
                    <a:pt x="291" y="319"/>
                  </a:lnTo>
                  <a:lnTo>
                    <a:pt x="285" y="308"/>
                  </a:lnTo>
                  <a:lnTo>
                    <a:pt x="308" y="319"/>
                  </a:lnTo>
                  <a:lnTo>
                    <a:pt x="320" y="313"/>
                  </a:lnTo>
                  <a:lnTo>
                    <a:pt x="320" y="302"/>
                  </a:lnTo>
                  <a:lnTo>
                    <a:pt x="314" y="290"/>
                  </a:lnTo>
                  <a:lnTo>
                    <a:pt x="320" y="290"/>
                  </a:lnTo>
                  <a:lnTo>
                    <a:pt x="325" y="290"/>
                  </a:lnTo>
                  <a:lnTo>
                    <a:pt x="331" y="290"/>
                  </a:lnTo>
                  <a:lnTo>
                    <a:pt x="331" y="284"/>
                  </a:lnTo>
                  <a:lnTo>
                    <a:pt x="349" y="273"/>
                  </a:lnTo>
                  <a:lnTo>
                    <a:pt x="360" y="267"/>
                  </a:lnTo>
                  <a:lnTo>
                    <a:pt x="366" y="250"/>
                  </a:lnTo>
                  <a:lnTo>
                    <a:pt x="378" y="244"/>
                  </a:lnTo>
                  <a:lnTo>
                    <a:pt x="395" y="226"/>
                  </a:lnTo>
                  <a:lnTo>
                    <a:pt x="389" y="215"/>
                  </a:lnTo>
                  <a:lnTo>
                    <a:pt x="407" y="215"/>
                  </a:lnTo>
                  <a:lnTo>
                    <a:pt x="418" y="197"/>
                  </a:lnTo>
                  <a:lnTo>
                    <a:pt x="424" y="168"/>
                  </a:lnTo>
                  <a:lnTo>
                    <a:pt x="430" y="139"/>
                  </a:lnTo>
                  <a:lnTo>
                    <a:pt x="447" y="116"/>
                  </a:lnTo>
                  <a:lnTo>
                    <a:pt x="453" y="116"/>
                  </a:lnTo>
                  <a:lnTo>
                    <a:pt x="471" y="105"/>
                  </a:lnTo>
                  <a:lnTo>
                    <a:pt x="465" y="99"/>
                  </a:lnTo>
                  <a:lnTo>
                    <a:pt x="459" y="93"/>
                  </a:lnTo>
                  <a:lnTo>
                    <a:pt x="430" y="76"/>
                  </a:lnTo>
                  <a:lnTo>
                    <a:pt x="418" y="64"/>
                  </a:lnTo>
                  <a:lnTo>
                    <a:pt x="413" y="64"/>
                  </a:lnTo>
                  <a:lnTo>
                    <a:pt x="389" y="47"/>
                  </a:lnTo>
                  <a:lnTo>
                    <a:pt x="378" y="41"/>
                  </a:lnTo>
                  <a:lnTo>
                    <a:pt x="366" y="35"/>
                  </a:lnTo>
                  <a:lnTo>
                    <a:pt x="366" y="29"/>
                  </a:lnTo>
                  <a:lnTo>
                    <a:pt x="349" y="23"/>
                  </a:lnTo>
                  <a:lnTo>
                    <a:pt x="343" y="18"/>
                  </a:lnTo>
                  <a:lnTo>
                    <a:pt x="337" y="18"/>
                  </a:lnTo>
                  <a:lnTo>
                    <a:pt x="325" y="18"/>
                  </a:lnTo>
                  <a:lnTo>
                    <a:pt x="320" y="18"/>
                  </a:lnTo>
                  <a:lnTo>
                    <a:pt x="314" y="23"/>
                  </a:lnTo>
                  <a:lnTo>
                    <a:pt x="285" y="23"/>
                  </a:lnTo>
                  <a:lnTo>
                    <a:pt x="279" y="23"/>
                  </a:lnTo>
                  <a:lnTo>
                    <a:pt x="267" y="29"/>
                  </a:lnTo>
                  <a:lnTo>
                    <a:pt x="262" y="29"/>
                  </a:lnTo>
                  <a:lnTo>
                    <a:pt x="238" y="35"/>
                  </a:lnTo>
                  <a:lnTo>
                    <a:pt x="238" y="18"/>
                  </a:lnTo>
                  <a:lnTo>
                    <a:pt x="233" y="12"/>
                  </a:lnTo>
                  <a:lnTo>
                    <a:pt x="227" y="12"/>
                  </a:lnTo>
                  <a:lnTo>
                    <a:pt x="221" y="6"/>
                  </a:lnTo>
                  <a:lnTo>
                    <a:pt x="215" y="6"/>
                  </a:lnTo>
                  <a:lnTo>
                    <a:pt x="209" y="0"/>
                  </a:lnTo>
                  <a:lnTo>
                    <a:pt x="198" y="0"/>
                  </a:lnTo>
                  <a:lnTo>
                    <a:pt x="192" y="0"/>
                  </a:lnTo>
                  <a:lnTo>
                    <a:pt x="180" y="0"/>
                  </a:lnTo>
                  <a:lnTo>
                    <a:pt x="180" y="6"/>
                  </a:lnTo>
                  <a:lnTo>
                    <a:pt x="169" y="6"/>
                  </a:lnTo>
                  <a:lnTo>
                    <a:pt x="146" y="6"/>
                  </a:lnTo>
                  <a:lnTo>
                    <a:pt x="140" y="6"/>
                  </a:lnTo>
                  <a:lnTo>
                    <a:pt x="134" y="12"/>
                  </a:lnTo>
                  <a:lnTo>
                    <a:pt x="122" y="12"/>
                  </a:lnTo>
                  <a:lnTo>
                    <a:pt x="117" y="12"/>
                  </a:lnTo>
                  <a:lnTo>
                    <a:pt x="105" y="12"/>
                  </a:lnTo>
                  <a:lnTo>
                    <a:pt x="99" y="12"/>
                  </a:lnTo>
                  <a:lnTo>
                    <a:pt x="88" y="18"/>
                  </a:lnTo>
                  <a:lnTo>
                    <a:pt x="76" y="18"/>
                  </a:lnTo>
                  <a:lnTo>
                    <a:pt x="64" y="23"/>
                  </a:lnTo>
                  <a:lnTo>
                    <a:pt x="58" y="29"/>
                  </a:lnTo>
                  <a:lnTo>
                    <a:pt x="53" y="35"/>
                  </a:lnTo>
                  <a:lnTo>
                    <a:pt x="41" y="35"/>
                  </a:lnTo>
                  <a:lnTo>
                    <a:pt x="41" y="41"/>
                  </a:lnTo>
                  <a:lnTo>
                    <a:pt x="29" y="41"/>
                  </a:lnTo>
                  <a:lnTo>
                    <a:pt x="18" y="47"/>
                  </a:lnTo>
                  <a:lnTo>
                    <a:pt x="18" y="52"/>
                  </a:lnTo>
                  <a:lnTo>
                    <a:pt x="6" y="64"/>
                  </a:lnTo>
                  <a:lnTo>
                    <a:pt x="0" y="81"/>
                  </a:lnTo>
                  <a:lnTo>
                    <a:pt x="6" y="87"/>
                  </a:lnTo>
                  <a:lnTo>
                    <a:pt x="12" y="93"/>
                  </a:lnTo>
                  <a:lnTo>
                    <a:pt x="24" y="99"/>
                  </a:lnTo>
                  <a:lnTo>
                    <a:pt x="29" y="99"/>
                  </a:lnTo>
                  <a:lnTo>
                    <a:pt x="35" y="105"/>
                  </a:lnTo>
                  <a:lnTo>
                    <a:pt x="41" y="105"/>
                  </a:lnTo>
                  <a:lnTo>
                    <a:pt x="53" y="105"/>
                  </a:lnTo>
                  <a:lnTo>
                    <a:pt x="58" y="116"/>
                  </a:lnTo>
                  <a:lnTo>
                    <a:pt x="64" y="122"/>
                  </a:lnTo>
                  <a:lnTo>
                    <a:pt x="64" y="128"/>
                  </a:lnTo>
                  <a:lnTo>
                    <a:pt x="70" y="134"/>
                  </a:lnTo>
                  <a:lnTo>
                    <a:pt x="76" y="139"/>
                  </a:lnTo>
                  <a:lnTo>
                    <a:pt x="82" y="145"/>
                  </a:lnTo>
                  <a:lnTo>
                    <a:pt x="88" y="15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8" name="Freeform 29"/>
            <p:cNvSpPr>
              <a:spLocks/>
            </p:cNvSpPr>
            <p:nvPr/>
          </p:nvSpPr>
          <p:spPr bwMode="auto">
            <a:xfrm>
              <a:off x="4761" y="2572"/>
              <a:ext cx="708" cy="401"/>
            </a:xfrm>
            <a:custGeom>
              <a:avLst/>
              <a:gdLst>
                <a:gd name="T0" fmla="*/ 656 w 708"/>
                <a:gd name="T1" fmla="*/ 232 h 401"/>
                <a:gd name="T2" fmla="*/ 674 w 708"/>
                <a:gd name="T3" fmla="*/ 238 h 401"/>
                <a:gd name="T4" fmla="*/ 685 w 708"/>
                <a:gd name="T5" fmla="*/ 279 h 401"/>
                <a:gd name="T6" fmla="*/ 650 w 708"/>
                <a:gd name="T7" fmla="*/ 290 h 401"/>
                <a:gd name="T8" fmla="*/ 610 w 708"/>
                <a:gd name="T9" fmla="*/ 296 h 401"/>
                <a:gd name="T10" fmla="*/ 558 w 708"/>
                <a:gd name="T11" fmla="*/ 308 h 401"/>
                <a:gd name="T12" fmla="*/ 523 w 708"/>
                <a:gd name="T13" fmla="*/ 319 h 401"/>
                <a:gd name="T14" fmla="*/ 488 w 708"/>
                <a:gd name="T15" fmla="*/ 325 h 401"/>
                <a:gd name="T16" fmla="*/ 459 w 708"/>
                <a:gd name="T17" fmla="*/ 331 h 401"/>
                <a:gd name="T18" fmla="*/ 412 w 708"/>
                <a:gd name="T19" fmla="*/ 337 h 401"/>
                <a:gd name="T20" fmla="*/ 378 w 708"/>
                <a:gd name="T21" fmla="*/ 348 h 401"/>
                <a:gd name="T22" fmla="*/ 343 w 708"/>
                <a:gd name="T23" fmla="*/ 354 h 401"/>
                <a:gd name="T24" fmla="*/ 308 w 708"/>
                <a:gd name="T25" fmla="*/ 360 h 401"/>
                <a:gd name="T26" fmla="*/ 279 w 708"/>
                <a:gd name="T27" fmla="*/ 360 h 401"/>
                <a:gd name="T28" fmla="*/ 250 w 708"/>
                <a:gd name="T29" fmla="*/ 366 h 401"/>
                <a:gd name="T30" fmla="*/ 204 w 708"/>
                <a:gd name="T31" fmla="*/ 372 h 401"/>
                <a:gd name="T32" fmla="*/ 186 w 708"/>
                <a:gd name="T33" fmla="*/ 372 h 401"/>
                <a:gd name="T34" fmla="*/ 140 w 708"/>
                <a:gd name="T35" fmla="*/ 383 h 401"/>
                <a:gd name="T36" fmla="*/ 105 w 708"/>
                <a:gd name="T37" fmla="*/ 389 h 401"/>
                <a:gd name="T38" fmla="*/ 70 w 708"/>
                <a:gd name="T39" fmla="*/ 395 h 401"/>
                <a:gd name="T40" fmla="*/ 18 w 708"/>
                <a:gd name="T41" fmla="*/ 401 h 401"/>
                <a:gd name="T42" fmla="*/ 12 w 708"/>
                <a:gd name="T43" fmla="*/ 395 h 401"/>
                <a:gd name="T44" fmla="*/ 64 w 708"/>
                <a:gd name="T45" fmla="*/ 360 h 401"/>
                <a:gd name="T46" fmla="*/ 76 w 708"/>
                <a:gd name="T47" fmla="*/ 331 h 401"/>
                <a:gd name="T48" fmla="*/ 105 w 708"/>
                <a:gd name="T49" fmla="*/ 308 h 401"/>
                <a:gd name="T50" fmla="*/ 140 w 708"/>
                <a:gd name="T51" fmla="*/ 273 h 401"/>
                <a:gd name="T52" fmla="*/ 169 w 708"/>
                <a:gd name="T53" fmla="*/ 308 h 401"/>
                <a:gd name="T54" fmla="*/ 209 w 708"/>
                <a:gd name="T55" fmla="*/ 296 h 401"/>
                <a:gd name="T56" fmla="*/ 238 w 708"/>
                <a:gd name="T57" fmla="*/ 273 h 401"/>
                <a:gd name="T58" fmla="*/ 285 w 708"/>
                <a:gd name="T59" fmla="*/ 250 h 401"/>
                <a:gd name="T60" fmla="*/ 291 w 708"/>
                <a:gd name="T61" fmla="*/ 221 h 401"/>
                <a:gd name="T62" fmla="*/ 308 w 708"/>
                <a:gd name="T63" fmla="*/ 186 h 401"/>
                <a:gd name="T64" fmla="*/ 320 w 708"/>
                <a:gd name="T65" fmla="*/ 145 h 401"/>
                <a:gd name="T66" fmla="*/ 354 w 708"/>
                <a:gd name="T67" fmla="*/ 134 h 401"/>
                <a:gd name="T68" fmla="*/ 360 w 708"/>
                <a:gd name="T69" fmla="*/ 122 h 401"/>
                <a:gd name="T70" fmla="*/ 395 w 708"/>
                <a:gd name="T71" fmla="*/ 70 h 401"/>
                <a:gd name="T72" fmla="*/ 418 w 708"/>
                <a:gd name="T73" fmla="*/ 41 h 401"/>
                <a:gd name="T74" fmla="*/ 424 w 708"/>
                <a:gd name="T75" fmla="*/ 6 h 401"/>
                <a:gd name="T76" fmla="*/ 447 w 708"/>
                <a:gd name="T77" fmla="*/ 18 h 401"/>
                <a:gd name="T78" fmla="*/ 471 w 708"/>
                <a:gd name="T79" fmla="*/ 6 h 401"/>
                <a:gd name="T80" fmla="*/ 494 w 708"/>
                <a:gd name="T81" fmla="*/ 6 h 401"/>
                <a:gd name="T82" fmla="*/ 517 w 708"/>
                <a:gd name="T83" fmla="*/ 24 h 401"/>
                <a:gd name="T84" fmla="*/ 546 w 708"/>
                <a:gd name="T85" fmla="*/ 41 h 401"/>
                <a:gd name="T86" fmla="*/ 540 w 708"/>
                <a:gd name="T87" fmla="*/ 64 h 401"/>
                <a:gd name="T88" fmla="*/ 529 w 708"/>
                <a:gd name="T89" fmla="*/ 87 h 401"/>
                <a:gd name="T90" fmla="*/ 558 w 708"/>
                <a:gd name="T91" fmla="*/ 93 h 401"/>
                <a:gd name="T92" fmla="*/ 575 w 708"/>
                <a:gd name="T93" fmla="*/ 116 h 401"/>
                <a:gd name="T94" fmla="*/ 633 w 708"/>
                <a:gd name="T95" fmla="*/ 151 h 401"/>
                <a:gd name="T96" fmla="*/ 616 w 708"/>
                <a:gd name="T97" fmla="*/ 157 h 401"/>
                <a:gd name="T98" fmla="*/ 604 w 708"/>
                <a:gd name="T99" fmla="*/ 157 h 401"/>
                <a:gd name="T100" fmla="*/ 639 w 708"/>
                <a:gd name="T101" fmla="*/ 180 h 401"/>
                <a:gd name="T102" fmla="*/ 633 w 708"/>
                <a:gd name="T103" fmla="*/ 198 h 401"/>
                <a:gd name="T104" fmla="*/ 645 w 708"/>
                <a:gd name="T105" fmla="*/ 209 h 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08"/>
                <a:gd name="T160" fmla="*/ 0 h 401"/>
                <a:gd name="T161" fmla="*/ 708 w 708"/>
                <a:gd name="T162" fmla="*/ 401 h 4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08" h="401">
                  <a:moveTo>
                    <a:pt x="645" y="215"/>
                  </a:moveTo>
                  <a:lnTo>
                    <a:pt x="645" y="221"/>
                  </a:lnTo>
                  <a:lnTo>
                    <a:pt x="656" y="221"/>
                  </a:lnTo>
                  <a:lnTo>
                    <a:pt x="656" y="232"/>
                  </a:lnTo>
                  <a:lnTo>
                    <a:pt x="656" y="238"/>
                  </a:lnTo>
                  <a:lnTo>
                    <a:pt x="662" y="238"/>
                  </a:lnTo>
                  <a:lnTo>
                    <a:pt x="668" y="238"/>
                  </a:lnTo>
                  <a:lnTo>
                    <a:pt x="674" y="238"/>
                  </a:lnTo>
                  <a:lnTo>
                    <a:pt x="685" y="238"/>
                  </a:lnTo>
                  <a:lnTo>
                    <a:pt x="708" y="273"/>
                  </a:lnTo>
                  <a:lnTo>
                    <a:pt x="697" y="279"/>
                  </a:lnTo>
                  <a:lnTo>
                    <a:pt x="685" y="279"/>
                  </a:lnTo>
                  <a:lnTo>
                    <a:pt x="674" y="285"/>
                  </a:lnTo>
                  <a:lnTo>
                    <a:pt x="668" y="285"/>
                  </a:lnTo>
                  <a:lnTo>
                    <a:pt x="662" y="285"/>
                  </a:lnTo>
                  <a:lnTo>
                    <a:pt x="650" y="290"/>
                  </a:lnTo>
                  <a:lnTo>
                    <a:pt x="645" y="290"/>
                  </a:lnTo>
                  <a:lnTo>
                    <a:pt x="627" y="296"/>
                  </a:lnTo>
                  <a:lnTo>
                    <a:pt x="616" y="296"/>
                  </a:lnTo>
                  <a:lnTo>
                    <a:pt x="610" y="296"/>
                  </a:lnTo>
                  <a:lnTo>
                    <a:pt x="598" y="302"/>
                  </a:lnTo>
                  <a:lnTo>
                    <a:pt x="592" y="302"/>
                  </a:lnTo>
                  <a:lnTo>
                    <a:pt x="581" y="302"/>
                  </a:lnTo>
                  <a:lnTo>
                    <a:pt x="558" y="308"/>
                  </a:lnTo>
                  <a:lnTo>
                    <a:pt x="552" y="308"/>
                  </a:lnTo>
                  <a:lnTo>
                    <a:pt x="534" y="314"/>
                  </a:lnTo>
                  <a:lnTo>
                    <a:pt x="529" y="314"/>
                  </a:lnTo>
                  <a:lnTo>
                    <a:pt x="523" y="319"/>
                  </a:lnTo>
                  <a:lnTo>
                    <a:pt x="517" y="319"/>
                  </a:lnTo>
                  <a:lnTo>
                    <a:pt x="511" y="319"/>
                  </a:lnTo>
                  <a:lnTo>
                    <a:pt x="494" y="325"/>
                  </a:lnTo>
                  <a:lnTo>
                    <a:pt x="488" y="325"/>
                  </a:lnTo>
                  <a:lnTo>
                    <a:pt x="482" y="325"/>
                  </a:lnTo>
                  <a:lnTo>
                    <a:pt x="476" y="325"/>
                  </a:lnTo>
                  <a:lnTo>
                    <a:pt x="471" y="325"/>
                  </a:lnTo>
                  <a:lnTo>
                    <a:pt x="459" y="331"/>
                  </a:lnTo>
                  <a:lnTo>
                    <a:pt x="447" y="331"/>
                  </a:lnTo>
                  <a:lnTo>
                    <a:pt x="442" y="331"/>
                  </a:lnTo>
                  <a:lnTo>
                    <a:pt x="442" y="337"/>
                  </a:lnTo>
                  <a:lnTo>
                    <a:pt x="412" y="337"/>
                  </a:lnTo>
                  <a:lnTo>
                    <a:pt x="407" y="343"/>
                  </a:lnTo>
                  <a:lnTo>
                    <a:pt x="401" y="343"/>
                  </a:lnTo>
                  <a:lnTo>
                    <a:pt x="389" y="343"/>
                  </a:lnTo>
                  <a:lnTo>
                    <a:pt x="378" y="348"/>
                  </a:lnTo>
                  <a:lnTo>
                    <a:pt x="372" y="348"/>
                  </a:lnTo>
                  <a:lnTo>
                    <a:pt x="366" y="348"/>
                  </a:lnTo>
                  <a:lnTo>
                    <a:pt x="360" y="348"/>
                  </a:lnTo>
                  <a:lnTo>
                    <a:pt x="343" y="354"/>
                  </a:lnTo>
                  <a:lnTo>
                    <a:pt x="337" y="354"/>
                  </a:lnTo>
                  <a:lnTo>
                    <a:pt x="331" y="354"/>
                  </a:lnTo>
                  <a:lnTo>
                    <a:pt x="325" y="354"/>
                  </a:lnTo>
                  <a:lnTo>
                    <a:pt x="308" y="360"/>
                  </a:lnTo>
                  <a:lnTo>
                    <a:pt x="296" y="360"/>
                  </a:lnTo>
                  <a:lnTo>
                    <a:pt x="291" y="360"/>
                  </a:lnTo>
                  <a:lnTo>
                    <a:pt x="285" y="360"/>
                  </a:lnTo>
                  <a:lnTo>
                    <a:pt x="279" y="360"/>
                  </a:lnTo>
                  <a:lnTo>
                    <a:pt x="267" y="366"/>
                  </a:lnTo>
                  <a:lnTo>
                    <a:pt x="262" y="366"/>
                  </a:lnTo>
                  <a:lnTo>
                    <a:pt x="256" y="366"/>
                  </a:lnTo>
                  <a:lnTo>
                    <a:pt x="250" y="366"/>
                  </a:lnTo>
                  <a:lnTo>
                    <a:pt x="238" y="366"/>
                  </a:lnTo>
                  <a:lnTo>
                    <a:pt x="215" y="372"/>
                  </a:lnTo>
                  <a:lnTo>
                    <a:pt x="209" y="372"/>
                  </a:lnTo>
                  <a:lnTo>
                    <a:pt x="204" y="372"/>
                  </a:lnTo>
                  <a:lnTo>
                    <a:pt x="198" y="372"/>
                  </a:lnTo>
                  <a:lnTo>
                    <a:pt x="186" y="377"/>
                  </a:lnTo>
                  <a:lnTo>
                    <a:pt x="180" y="377"/>
                  </a:lnTo>
                  <a:lnTo>
                    <a:pt x="186" y="372"/>
                  </a:lnTo>
                  <a:lnTo>
                    <a:pt x="175" y="372"/>
                  </a:lnTo>
                  <a:lnTo>
                    <a:pt x="169" y="377"/>
                  </a:lnTo>
                  <a:lnTo>
                    <a:pt x="157" y="377"/>
                  </a:lnTo>
                  <a:lnTo>
                    <a:pt x="140" y="383"/>
                  </a:lnTo>
                  <a:lnTo>
                    <a:pt x="134" y="383"/>
                  </a:lnTo>
                  <a:lnTo>
                    <a:pt x="128" y="383"/>
                  </a:lnTo>
                  <a:lnTo>
                    <a:pt x="116" y="383"/>
                  </a:lnTo>
                  <a:lnTo>
                    <a:pt x="105" y="389"/>
                  </a:lnTo>
                  <a:lnTo>
                    <a:pt x="99" y="389"/>
                  </a:lnTo>
                  <a:lnTo>
                    <a:pt x="93" y="389"/>
                  </a:lnTo>
                  <a:lnTo>
                    <a:pt x="76" y="389"/>
                  </a:lnTo>
                  <a:lnTo>
                    <a:pt x="70" y="395"/>
                  </a:lnTo>
                  <a:lnTo>
                    <a:pt x="64" y="395"/>
                  </a:lnTo>
                  <a:lnTo>
                    <a:pt x="35" y="401"/>
                  </a:lnTo>
                  <a:lnTo>
                    <a:pt x="35" y="395"/>
                  </a:lnTo>
                  <a:lnTo>
                    <a:pt x="18" y="401"/>
                  </a:lnTo>
                  <a:lnTo>
                    <a:pt x="6" y="401"/>
                  </a:lnTo>
                  <a:lnTo>
                    <a:pt x="0" y="401"/>
                  </a:lnTo>
                  <a:lnTo>
                    <a:pt x="6" y="401"/>
                  </a:lnTo>
                  <a:lnTo>
                    <a:pt x="12" y="395"/>
                  </a:lnTo>
                  <a:lnTo>
                    <a:pt x="18" y="395"/>
                  </a:lnTo>
                  <a:lnTo>
                    <a:pt x="47" y="377"/>
                  </a:lnTo>
                  <a:lnTo>
                    <a:pt x="47" y="372"/>
                  </a:lnTo>
                  <a:lnTo>
                    <a:pt x="64" y="360"/>
                  </a:lnTo>
                  <a:lnTo>
                    <a:pt x="70" y="360"/>
                  </a:lnTo>
                  <a:lnTo>
                    <a:pt x="64" y="348"/>
                  </a:lnTo>
                  <a:lnTo>
                    <a:pt x="76" y="343"/>
                  </a:lnTo>
                  <a:lnTo>
                    <a:pt x="76" y="331"/>
                  </a:lnTo>
                  <a:lnTo>
                    <a:pt x="87" y="319"/>
                  </a:lnTo>
                  <a:lnTo>
                    <a:pt x="93" y="319"/>
                  </a:lnTo>
                  <a:lnTo>
                    <a:pt x="99" y="314"/>
                  </a:lnTo>
                  <a:lnTo>
                    <a:pt x="105" y="308"/>
                  </a:lnTo>
                  <a:lnTo>
                    <a:pt x="111" y="308"/>
                  </a:lnTo>
                  <a:lnTo>
                    <a:pt x="122" y="296"/>
                  </a:lnTo>
                  <a:lnTo>
                    <a:pt x="128" y="285"/>
                  </a:lnTo>
                  <a:lnTo>
                    <a:pt x="140" y="273"/>
                  </a:lnTo>
                  <a:lnTo>
                    <a:pt x="140" y="279"/>
                  </a:lnTo>
                  <a:lnTo>
                    <a:pt x="146" y="290"/>
                  </a:lnTo>
                  <a:lnTo>
                    <a:pt x="163" y="302"/>
                  </a:lnTo>
                  <a:lnTo>
                    <a:pt x="169" y="308"/>
                  </a:lnTo>
                  <a:lnTo>
                    <a:pt x="192" y="296"/>
                  </a:lnTo>
                  <a:lnTo>
                    <a:pt x="198" y="285"/>
                  </a:lnTo>
                  <a:lnTo>
                    <a:pt x="198" y="290"/>
                  </a:lnTo>
                  <a:lnTo>
                    <a:pt x="209" y="296"/>
                  </a:lnTo>
                  <a:lnTo>
                    <a:pt x="221" y="290"/>
                  </a:lnTo>
                  <a:lnTo>
                    <a:pt x="233" y="285"/>
                  </a:lnTo>
                  <a:lnTo>
                    <a:pt x="244" y="279"/>
                  </a:lnTo>
                  <a:lnTo>
                    <a:pt x="238" y="273"/>
                  </a:lnTo>
                  <a:lnTo>
                    <a:pt x="238" y="267"/>
                  </a:lnTo>
                  <a:lnTo>
                    <a:pt x="250" y="273"/>
                  </a:lnTo>
                  <a:lnTo>
                    <a:pt x="273" y="261"/>
                  </a:lnTo>
                  <a:lnTo>
                    <a:pt x="285" y="250"/>
                  </a:lnTo>
                  <a:lnTo>
                    <a:pt x="291" y="238"/>
                  </a:lnTo>
                  <a:lnTo>
                    <a:pt x="291" y="232"/>
                  </a:lnTo>
                  <a:lnTo>
                    <a:pt x="285" y="232"/>
                  </a:lnTo>
                  <a:lnTo>
                    <a:pt x="291" y="221"/>
                  </a:lnTo>
                  <a:lnTo>
                    <a:pt x="291" y="209"/>
                  </a:lnTo>
                  <a:lnTo>
                    <a:pt x="302" y="198"/>
                  </a:lnTo>
                  <a:lnTo>
                    <a:pt x="302" y="192"/>
                  </a:lnTo>
                  <a:lnTo>
                    <a:pt x="308" y="186"/>
                  </a:lnTo>
                  <a:lnTo>
                    <a:pt x="308" y="174"/>
                  </a:lnTo>
                  <a:lnTo>
                    <a:pt x="308" y="163"/>
                  </a:lnTo>
                  <a:lnTo>
                    <a:pt x="314" y="157"/>
                  </a:lnTo>
                  <a:lnTo>
                    <a:pt x="320" y="145"/>
                  </a:lnTo>
                  <a:lnTo>
                    <a:pt x="320" y="116"/>
                  </a:lnTo>
                  <a:lnTo>
                    <a:pt x="331" y="122"/>
                  </a:lnTo>
                  <a:lnTo>
                    <a:pt x="343" y="134"/>
                  </a:lnTo>
                  <a:lnTo>
                    <a:pt x="354" y="134"/>
                  </a:lnTo>
                  <a:lnTo>
                    <a:pt x="360" y="128"/>
                  </a:lnTo>
                  <a:lnTo>
                    <a:pt x="360" y="122"/>
                  </a:lnTo>
                  <a:lnTo>
                    <a:pt x="366" y="122"/>
                  </a:lnTo>
                  <a:lnTo>
                    <a:pt x="360" y="122"/>
                  </a:lnTo>
                  <a:lnTo>
                    <a:pt x="372" y="87"/>
                  </a:lnTo>
                  <a:lnTo>
                    <a:pt x="372" y="82"/>
                  </a:lnTo>
                  <a:lnTo>
                    <a:pt x="389" y="87"/>
                  </a:lnTo>
                  <a:lnTo>
                    <a:pt x="395" y="70"/>
                  </a:lnTo>
                  <a:lnTo>
                    <a:pt x="407" y="53"/>
                  </a:lnTo>
                  <a:lnTo>
                    <a:pt x="407" y="47"/>
                  </a:lnTo>
                  <a:lnTo>
                    <a:pt x="412" y="47"/>
                  </a:lnTo>
                  <a:lnTo>
                    <a:pt x="418" y="41"/>
                  </a:lnTo>
                  <a:lnTo>
                    <a:pt x="418" y="18"/>
                  </a:lnTo>
                  <a:lnTo>
                    <a:pt x="418" y="0"/>
                  </a:lnTo>
                  <a:lnTo>
                    <a:pt x="424" y="0"/>
                  </a:lnTo>
                  <a:lnTo>
                    <a:pt x="424" y="6"/>
                  </a:lnTo>
                  <a:lnTo>
                    <a:pt x="430" y="6"/>
                  </a:lnTo>
                  <a:lnTo>
                    <a:pt x="436" y="12"/>
                  </a:lnTo>
                  <a:lnTo>
                    <a:pt x="442" y="12"/>
                  </a:lnTo>
                  <a:lnTo>
                    <a:pt x="447" y="18"/>
                  </a:lnTo>
                  <a:lnTo>
                    <a:pt x="453" y="18"/>
                  </a:lnTo>
                  <a:lnTo>
                    <a:pt x="471" y="29"/>
                  </a:lnTo>
                  <a:lnTo>
                    <a:pt x="471" y="12"/>
                  </a:lnTo>
                  <a:lnTo>
                    <a:pt x="471" y="6"/>
                  </a:lnTo>
                  <a:lnTo>
                    <a:pt x="476" y="6"/>
                  </a:lnTo>
                  <a:lnTo>
                    <a:pt x="476" y="0"/>
                  </a:lnTo>
                  <a:lnTo>
                    <a:pt x="482" y="6"/>
                  </a:lnTo>
                  <a:lnTo>
                    <a:pt x="494" y="6"/>
                  </a:lnTo>
                  <a:lnTo>
                    <a:pt x="500" y="12"/>
                  </a:lnTo>
                  <a:lnTo>
                    <a:pt x="494" y="24"/>
                  </a:lnTo>
                  <a:lnTo>
                    <a:pt x="511" y="24"/>
                  </a:lnTo>
                  <a:lnTo>
                    <a:pt x="517" y="24"/>
                  </a:lnTo>
                  <a:lnTo>
                    <a:pt x="523" y="29"/>
                  </a:lnTo>
                  <a:lnTo>
                    <a:pt x="534" y="35"/>
                  </a:lnTo>
                  <a:lnTo>
                    <a:pt x="540" y="41"/>
                  </a:lnTo>
                  <a:lnTo>
                    <a:pt x="546" y="41"/>
                  </a:lnTo>
                  <a:lnTo>
                    <a:pt x="546" y="47"/>
                  </a:lnTo>
                  <a:lnTo>
                    <a:pt x="546" y="53"/>
                  </a:lnTo>
                  <a:lnTo>
                    <a:pt x="546" y="58"/>
                  </a:lnTo>
                  <a:lnTo>
                    <a:pt x="540" y="64"/>
                  </a:lnTo>
                  <a:lnTo>
                    <a:pt x="540" y="70"/>
                  </a:lnTo>
                  <a:lnTo>
                    <a:pt x="534" y="70"/>
                  </a:lnTo>
                  <a:lnTo>
                    <a:pt x="534" y="82"/>
                  </a:lnTo>
                  <a:lnTo>
                    <a:pt x="529" y="87"/>
                  </a:lnTo>
                  <a:lnTo>
                    <a:pt x="529" y="93"/>
                  </a:lnTo>
                  <a:lnTo>
                    <a:pt x="534" y="105"/>
                  </a:lnTo>
                  <a:lnTo>
                    <a:pt x="540" y="105"/>
                  </a:lnTo>
                  <a:lnTo>
                    <a:pt x="558" y="93"/>
                  </a:lnTo>
                  <a:lnTo>
                    <a:pt x="563" y="105"/>
                  </a:lnTo>
                  <a:lnTo>
                    <a:pt x="563" y="111"/>
                  </a:lnTo>
                  <a:lnTo>
                    <a:pt x="569" y="111"/>
                  </a:lnTo>
                  <a:lnTo>
                    <a:pt x="575" y="116"/>
                  </a:lnTo>
                  <a:lnTo>
                    <a:pt x="598" y="111"/>
                  </a:lnTo>
                  <a:lnTo>
                    <a:pt x="610" y="122"/>
                  </a:lnTo>
                  <a:lnTo>
                    <a:pt x="639" y="134"/>
                  </a:lnTo>
                  <a:lnTo>
                    <a:pt x="633" y="151"/>
                  </a:lnTo>
                  <a:lnTo>
                    <a:pt x="639" y="157"/>
                  </a:lnTo>
                  <a:lnTo>
                    <a:pt x="639" y="163"/>
                  </a:lnTo>
                  <a:lnTo>
                    <a:pt x="621" y="169"/>
                  </a:lnTo>
                  <a:lnTo>
                    <a:pt x="616" y="157"/>
                  </a:lnTo>
                  <a:lnTo>
                    <a:pt x="604" y="151"/>
                  </a:lnTo>
                  <a:lnTo>
                    <a:pt x="592" y="145"/>
                  </a:lnTo>
                  <a:lnTo>
                    <a:pt x="598" y="151"/>
                  </a:lnTo>
                  <a:lnTo>
                    <a:pt x="604" y="157"/>
                  </a:lnTo>
                  <a:lnTo>
                    <a:pt x="610" y="157"/>
                  </a:lnTo>
                  <a:lnTo>
                    <a:pt x="616" y="169"/>
                  </a:lnTo>
                  <a:lnTo>
                    <a:pt x="639" y="174"/>
                  </a:lnTo>
                  <a:lnTo>
                    <a:pt x="639" y="180"/>
                  </a:lnTo>
                  <a:lnTo>
                    <a:pt x="645" y="180"/>
                  </a:lnTo>
                  <a:lnTo>
                    <a:pt x="650" y="192"/>
                  </a:lnTo>
                  <a:lnTo>
                    <a:pt x="639" y="192"/>
                  </a:lnTo>
                  <a:lnTo>
                    <a:pt x="633" y="198"/>
                  </a:lnTo>
                  <a:lnTo>
                    <a:pt x="645" y="203"/>
                  </a:lnTo>
                  <a:lnTo>
                    <a:pt x="633" y="209"/>
                  </a:lnTo>
                  <a:lnTo>
                    <a:pt x="633" y="215"/>
                  </a:lnTo>
                  <a:lnTo>
                    <a:pt x="645" y="209"/>
                  </a:lnTo>
                  <a:lnTo>
                    <a:pt x="645" y="21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39" name="Freeform 30"/>
            <p:cNvSpPr>
              <a:spLocks/>
            </p:cNvSpPr>
            <p:nvPr/>
          </p:nvSpPr>
          <p:spPr bwMode="auto">
            <a:xfrm>
              <a:off x="5435" y="2671"/>
              <a:ext cx="46" cy="116"/>
            </a:xfrm>
            <a:custGeom>
              <a:avLst/>
              <a:gdLst>
                <a:gd name="T0" fmla="*/ 0 w 46"/>
                <a:gd name="T1" fmla="*/ 70 h 116"/>
                <a:gd name="T2" fmla="*/ 0 w 46"/>
                <a:gd name="T3" fmla="*/ 104 h 116"/>
                <a:gd name="T4" fmla="*/ 11 w 46"/>
                <a:gd name="T5" fmla="*/ 116 h 116"/>
                <a:gd name="T6" fmla="*/ 23 w 46"/>
                <a:gd name="T7" fmla="*/ 99 h 116"/>
                <a:gd name="T8" fmla="*/ 29 w 46"/>
                <a:gd name="T9" fmla="*/ 70 h 116"/>
                <a:gd name="T10" fmla="*/ 29 w 46"/>
                <a:gd name="T11" fmla="*/ 29 h 116"/>
                <a:gd name="T12" fmla="*/ 34 w 46"/>
                <a:gd name="T13" fmla="*/ 23 h 116"/>
                <a:gd name="T14" fmla="*/ 40 w 46"/>
                <a:gd name="T15" fmla="*/ 23 h 116"/>
                <a:gd name="T16" fmla="*/ 46 w 46"/>
                <a:gd name="T17" fmla="*/ 0 h 116"/>
                <a:gd name="T18" fmla="*/ 34 w 46"/>
                <a:gd name="T19" fmla="*/ 6 h 116"/>
                <a:gd name="T20" fmla="*/ 29 w 46"/>
                <a:gd name="T21" fmla="*/ 6 h 116"/>
                <a:gd name="T22" fmla="*/ 17 w 46"/>
                <a:gd name="T23" fmla="*/ 12 h 116"/>
                <a:gd name="T24" fmla="*/ 11 w 46"/>
                <a:gd name="T25" fmla="*/ 17 h 116"/>
                <a:gd name="T26" fmla="*/ 5 w 46"/>
                <a:gd name="T27" fmla="*/ 23 h 116"/>
                <a:gd name="T28" fmla="*/ 11 w 46"/>
                <a:gd name="T29" fmla="*/ 23 h 116"/>
                <a:gd name="T30" fmla="*/ 0 w 46"/>
                <a:gd name="T31" fmla="*/ 58 h 116"/>
                <a:gd name="T32" fmla="*/ 0 w 46"/>
                <a:gd name="T33" fmla="*/ 70 h 1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16"/>
                <a:gd name="T53" fmla="*/ 46 w 46"/>
                <a:gd name="T54" fmla="*/ 116 h 1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16">
                  <a:moveTo>
                    <a:pt x="0" y="70"/>
                  </a:moveTo>
                  <a:lnTo>
                    <a:pt x="0" y="104"/>
                  </a:lnTo>
                  <a:lnTo>
                    <a:pt x="11" y="116"/>
                  </a:lnTo>
                  <a:lnTo>
                    <a:pt x="23" y="99"/>
                  </a:lnTo>
                  <a:lnTo>
                    <a:pt x="29" y="70"/>
                  </a:lnTo>
                  <a:lnTo>
                    <a:pt x="29" y="29"/>
                  </a:lnTo>
                  <a:lnTo>
                    <a:pt x="34" y="23"/>
                  </a:lnTo>
                  <a:lnTo>
                    <a:pt x="40" y="23"/>
                  </a:lnTo>
                  <a:lnTo>
                    <a:pt x="46" y="0"/>
                  </a:lnTo>
                  <a:lnTo>
                    <a:pt x="34" y="6"/>
                  </a:lnTo>
                  <a:lnTo>
                    <a:pt x="29" y="6"/>
                  </a:lnTo>
                  <a:lnTo>
                    <a:pt x="17" y="12"/>
                  </a:lnTo>
                  <a:lnTo>
                    <a:pt x="11" y="17"/>
                  </a:lnTo>
                  <a:lnTo>
                    <a:pt x="5" y="23"/>
                  </a:lnTo>
                  <a:lnTo>
                    <a:pt x="11" y="23"/>
                  </a:lnTo>
                  <a:lnTo>
                    <a:pt x="0" y="58"/>
                  </a:lnTo>
                  <a:lnTo>
                    <a:pt x="0" y="7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0" name="Freeform 31"/>
            <p:cNvSpPr>
              <a:spLocks/>
            </p:cNvSpPr>
            <p:nvPr/>
          </p:nvSpPr>
          <p:spPr bwMode="auto">
            <a:xfrm>
              <a:off x="4825" y="2474"/>
              <a:ext cx="412" cy="406"/>
            </a:xfrm>
            <a:custGeom>
              <a:avLst/>
              <a:gdLst>
                <a:gd name="T0" fmla="*/ 105 w 412"/>
                <a:gd name="T1" fmla="*/ 151 h 406"/>
                <a:gd name="T2" fmla="*/ 116 w 412"/>
                <a:gd name="T3" fmla="*/ 133 h 406"/>
                <a:gd name="T4" fmla="*/ 128 w 412"/>
                <a:gd name="T5" fmla="*/ 122 h 406"/>
                <a:gd name="T6" fmla="*/ 128 w 412"/>
                <a:gd name="T7" fmla="*/ 93 h 406"/>
                <a:gd name="T8" fmla="*/ 134 w 412"/>
                <a:gd name="T9" fmla="*/ 75 h 406"/>
                <a:gd name="T10" fmla="*/ 140 w 412"/>
                <a:gd name="T11" fmla="*/ 46 h 406"/>
                <a:gd name="T12" fmla="*/ 140 w 412"/>
                <a:gd name="T13" fmla="*/ 29 h 406"/>
                <a:gd name="T14" fmla="*/ 134 w 412"/>
                <a:gd name="T15" fmla="*/ 6 h 406"/>
                <a:gd name="T16" fmla="*/ 140 w 412"/>
                <a:gd name="T17" fmla="*/ 6 h 406"/>
                <a:gd name="T18" fmla="*/ 145 w 412"/>
                <a:gd name="T19" fmla="*/ 29 h 406"/>
                <a:gd name="T20" fmla="*/ 151 w 412"/>
                <a:gd name="T21" fmla="*/ 64 h 406"/>
                <a:gd name="T22" fmla="*/ 157 w 412"/>
                <a:gd name="T23" fmla="*/ 75 h 406"/>
                <a:gd name="T24" fmla="*/ 169 w 412"/>
                <a:gd name="T25" fmla="*/ 104 h 406"/>
                <a:gd name="T26" fmla="*/ 215 w 412"/>
                <a:gd name="T27" fmla="*/ 93 h 406"/>
                <a:gd name="T28" fmla="*/ 238 w 412"/>
                <a:gd name="T29" fmla="*/ 93 h 406"/>
                <a:gd name="T30" fmla="*/ 256 w 412"/>
                <a:gd name="T31" fmla="*/ 110 h 406"/>
                <a:gd name="T32" fmla="*/ 273 w 412"/>
                <a:gd name="T33" fmla="*/ 127 h 406"/>
                <a:gd name="T34" fmla="*/ 290 w 412"/>
                <a:gd name="T35" fmla="*/ 110 h 406"/>
                <a:gd name="T36" fmla="*/ 325 w 412"/>
                <a:gd name="T37" fmla="*/ 93 h 406"/>
                <a:gd name="T38" fmla="*/ 348 w 412"/>
                <a:gd name="T39" fmla="*/ 81 h 406"/>
                <a:gd name="T40" fmla="*/ 366 w 412"/>
                <a:gd name="T41" fmla="*/ 69 h 406"/>
                <a:gd name="T42" fmla="*/ 395 w 412"/>
                <a:gd name="T43" fmla="*/ 87 h 406"/>
                <a:gd name="T44" fmla="*/ 412 w 412"/>
                <a:gd name="T45" fmla="*/ 104 h 406"/>
                <a:gd name="T46" fmla="*/ 407 w 412"/>
                <a:gd name="T47" fmla="*/ 127 h 406"/>
                <a:gd name="T48" fmla="*/ 378 w 412"/>
                <a:gd name="T49" fmla="*/ 110 h 406"/>
                <a:gd name="T50" fmla="*/ 360 w 412"/>
                <a:gd name="T51" fmla="*/ 104 h 406"/>
                <a:gd name="T52" fmla="*/ 354 w 412"/>
                <a:gd name="T53" fmla="*/ 116 h 406"/>
                <a:gd name="T54" fmla="*/ 343 w 412"/>
                <a:gd name="T55" fmla="*/ 145 h 406"/>
                <a:gd name="T56" fmla="*/ 325 w 412"/>
                <a:gd name="T57" fmla="*/ 185 h 406"/>
                <a:gd name="T58" fmla="*/ 296 w 412"/>
                <a:gd name="T59" fmla="*/ 220 h 406"/>
                <a:gd name="T60" fmla="*/ 296 w 412"/>
                <a:gd name="T61" fmla="*/ 226 h 406"/>
                <a:gd name="T62" fmla="*/ 267 w 412"/>
                <a:gd name="T63" fmla="*/ 220 h 406"/>
                <a:gd name="T64" fmla="*/ 250 w 412"/>
                <a:gd name="T65" fmla="*/ 255 h 406"/>
                <a:gd name="T66" fmla="*/ 244 w 412"/>
                <a:gd name="T67" fmla="*/ 284 h 406"/>
                <a:gd name="T68" fmla="*/ 227 w 412"/>
                <a:gd name="T69" fmla="*/ 307 h 406"/>
                <a:gd name="T70" fmla="*/ 227 w 412"/>
                <a:gd name="T71" fmla="*/ 330 h 406"/>
                <a:gd name="T72" fmla="*/ 209 w 412"/>
                <a:gd name="T73" fmla="*/ 359 h 406"/>
                <a:gd name="T74" fmla="*/ 174 w 412"/>
                <a:gd name="T75" fmla="*/ 371 h 406"/>
                <a:gd name="T76" fmla="*/ 157 w 412"/>
                <a:gd name="T77" fmla="*/ 388 h 406"/>
                <a:gd name="T78" fmla="*/ 134 w 412"/>
                <a:gd name="T79" fmla="*/ 383 h 406"/>
                <a:gd name="T80" fmla="*/ 99 w 412"/>
                <a:gd name="T81" fmla="*/ 400 h 406"/>
                <a:gd name="T82" fmla="*/ 76 w 412"/>
                <a:gd name="T83" fmla="*/ 371 h 406"/>
                <a:gd name="T84" fmla="*/ 35 w 412"/>
                <a:gd name="T85" fmla="*/ 348 h 406"/>
                <a:gd name="T86" fmla="*/ 18 w 412"/>
                <a:gd name="T87" fmla="*/ 330 h 406"/>
                <a:gd name="T88" fmla="*/ 6 w 412"/>
                <a:gd name="T89" fmla="*/ 301 h 406"/>
                <a:gd name="T90" fmla="*/ 12 w 412"/>
                <a:gd name="T91" fmla="*/ 278 h 406"/>
                <a:gd name="T92" fmla="*/ 29 w 412"/>
                <a:gd name="T93" fmla="*/ 261 h 406"/>
                <a:gd name="T94" fmla="*/ 29 w 412"/>
                <a:gd name="T95" fmla="*/ 238 h 406"/>
                <a:gd name="T96" fmla="*/ 41 w 412"/>
                <a:gd name="T97" fmla="*/ 203 h 406"/>
                <a:gd name="T98" fmla="*/ 64 w 412"/>
                <a:gd name="T99" fmla="*/ 209 h 406"/>
                <a:gd name="T100" fmla="*/ 64 w 412"/>
                <a:gd name="T101" fmla="*/ 180 h 406"/>
                <a:gd name="T102" fmla="*/ 82 w 412"/>
                <a:gd name="T103" fmla="*/ 156 h 4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2"/>
                <a:gd name="T157" fmla="*/ 0 h 406"/>
                <a:gd name="T158" fmla="*/ 412 w 412"/>
                <a:gd name="T159" fmla="*/ 406 h 4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2" h="406">
                  <a:moveTo>
                    <a:pt x="93" y="162"/>
                  </a:moveTo>
                  <a:lnTo>
                    <a:pt x="99" y="156"/>
                  </a:lnTo>
                  <a:lnTo>
                    <a:pt x="105" y="151"/>
                  </a:lnTo>
                  <a:lnTo>
                    <a:pt x="111" y="145"/>
                  </a:lnTo>
                  <a:lnTo>
                    <a:pt x="116" y="139"/>
                  </a:lnTo>
                  <a:lnTo>
                    <a:pt x="116" y="133"/>
                  </a:lnTo>
                  <a:lnTo>
                    <a:pt x="122" y="127"/>
                  </a:lnTo>
                  <a:lnTo>
                    <a:pt x="122" y="122"/>
                  </a:lnTo>
                  <a:lnTo>
                    <a:pt x="128" y="122"/>
                  </a:lnTo>
                  <a:lnTo>
                    <a:pt x="134" y="110"/>
                  </a:lnTo>
                  <a:lnTo>
                    <a:pt x="128" y="104"/>
                  </a:lnTo>
                  <a:lnTo>
                    <a:pt x="128" y="93"/>
                  </a:lnTo>
                  <a:lnTo>
                    <a:pt x="134" y="87"/>
                  </a:lnTo>
                  <a:lnTo>
                    <a:pt x="134" y="81"/>
                  </a:lnTo>
                  <a:lnTo>
                    <a:pt x="134" y="75"/>
                  </a:lnTo>
                  <a:lnTo>
                    <a:pt x="134" y="64"/>
                  </a:lnTo>
                  <a:lnTo>
                    <a:pt x="134" y="58"/>
                  </a:lnTo>
                  <a:lnTo>
                    <a:pt x="140" y="46"/>
                  </a:lnTo>
                  <a:lnTo>
                    <a:pt x="140" y="35"/>
                  </a:lnTo>
                  <a:lnTo>
                    <a:pt x="134" y="29"/>
                  </a:lnTo>
                  <a:lnTo>
                    <a:pt x="140" y="29"/>
                  </a:lnTo>
                  <a:lnTo>
                    <a:pt x="134" y="17"/>
                  </a:lnTo>
                  <a:lnTo>
                    <a:pt x="128" y="11"/>
                  </a:lnTo>
                  <a:lnTo>
                    <a:pt x="134" y="6"/>
                  </a:lnTo>
                  <a:lnTo>
                    <a:pt x="140" y="6"/>
                  </a:lnTo>
                  <a:lnTo>
                    <a:pt x="140" y="0"/>
                  </a:lnTo>
                  <a:lnTo>
                    <a:pt x="140" y="6"/>
                  </a:lnTo>
                  <a:lnTo>
                    <a:pt x="145" y="17"/>
                  </a:lnTo>
                  <a:lnTo>
                    <a:pt x="145" y="23"/>
                  </a:lnTo>
                  <a:lnTo>
                    <a:pt x="145" y="29"/>
                  </a:lnTo>
                  <a:lnTo>
                    <a:pt x="151" y="46"/>
                  </a:lnTo>
                  <a:lnTo>
                    <a:pt x="151" y="58"/>
                  </a:lnTo>
                  <a:lnTo>
                    <a:pt x="151" y="64"/>
                  </a:lnTo>
                  <a:lnTo>
                    <a:pt x="151" y="69"/>
                  </a:lnTo>
                  <a:lnTo>
                    <a:pt x="151" y="75"/>
                  </a:lnTo>
                  <a:lnTo>
                    <a:pt x="157" y="75"/>
                  </a:lnTo>
                  <a:lnTo>
                    <a:pt x="157" y="104"/>
                  </a:lnTo>
                  <a:lnTo>
                    <a:pt x="163" y="104"/>
                  </a:lnTo>
                  <a:lnTo>
                    <a:pt x="169" y="104"/>
                  </a:lnTo>
                  <a:lnTo>
                    <a:pt x="174" y="104"/>
                  </a:lnTo>
                  <a:lnTo>
                    <a:pt x="209" y="93"/>
                  </a:lnTo>
                  <a:lnTo>
                    <a:pt x="215" y="93"/>
                  </a:lnTo>
                  <a:lnTo>
                    <a:pt x="221" y="93"/>
                  </a:lnTo>
                  <a:lnTo>
                    <a:pt x="227" y="93"/>
                  </a:lnTo>
                  <a:lnTo>
                    <a:pt x="238" y="93"/>
                  </a:lnTo>
                  <a:lnTo>
                    <a:pt x="244" y="87"/>
                  </a:lnTo>
                  <a:lnTo>
                    <a:pt x="250" y="87"/>
                  </a:lnTo>
                  <a:lnTo>
                    <a:pt x="256" y="110"/>
                  </a:lnTo>
                  <a:lnTo>
                    <a:pt x="261" y="145"/>
                  </a:lnTo>
                  <a:lnTo>
                    <a:pt x="267" y="139"/>
                  </a:lnTo>
                  <a:lnTo>
                    <a:pt x="273" y="127"/>
                  </a:lnTo>
                  <a:lnTo>
                    <a:pt x="279" y="127"/>
                  </a:lnTo>
                  <a:lnTo>
                    <a:pt x="279" y="122"/>
                  </a:lnTo>
                  <a:lnTo>
                    <a:pt x="290" y="110"/>
                  </a:lnTo>
                  <a:lnTo>
                    <a:pt x="296" y="110"/>
                  </a:lnTo>
                  <a:lnTo>
                    <a:pt x="308" y="87"/>
                  </a:lnTo>
                  <a:lnTo>
                    <a:pt x="325" y="93"/>
                  </a:lnTo>
                  <a:lnTo>
                    <a:pt x="337" y="93"/>
                  </a:lnTo>
                  <a:lnTo>
                    <a:pt x="343" y="93"/>
                  </a:lnTo>
                  <a:lnTo>
                    <a:pt x="348" y="81"/>
                  </a:lnTo>
                  <a:lnTo>
                    <a:pt x="348" y="75"/>
                  </a:lnTo>
                  <a:lnTo>
                    <a:pt x="354" y="75"/>
                  </a:lnTo>
                  <a:lnTo>
                    <a:pt x="366" y="69"/>
                  </a:lnTo>
                  <a:lnTo>
                    <a:pt x="378" y="75"/>
                  </a:lnTo>
                  <a:lnTo>
                    <a:pt x="389" y="69"/>
                  </a:lnTo>
                  <a:lnTo>
                    <a:pt x="395" y="87"/>
                  </a:lnTo>
                  <a:lnTo>
                    <a:pt x="407" y="93"/>
                  </a:lnTo>
                  <a:lnTo>
                    <a:pt x="407" y="98"/>
                  </a:lnTo>
                  <a:lnTo>
                    <a:pt x="412" y="104"/>
                  </a:lnTo>
                  <a:lnTo>
                    <a:pt x="407" y="104"/>
                  </a:lnTo>
                  <a:lnTo>
                    <a:pt x="407" y="110"/>
                  </a:lnTo>
                  <a:lnTo>
                    <a:pt x="407" y="127"/>
                  </a:lnTo>
                  <a:lnTo>
                    <a:pt x="389" y="116"/>
                  </a:lnTo>
                  <a:lnTo>
                    <a:pt x="383" y="116"/>
                  </a:lnTo>
                  <a:lnTo>
                    <a:pt x="378" y="110"/>
                  </a:lnTo>
                  <a:lnTo>
                    <a:pt x="372" y="110"/>
                  </a:lnTo>
                  <a:lnTo>
                    <a:pt x="366" y="104"/>
                  </a:lnTo>
                  <a:lnTo>
                    <a:pt x="360" y="104"/>
                  </a:lnTo>
                  <a:lnTo>
                    <a:pt x="360" y="98"/>
                  </a:lnTo>
                  <a:lnTo>
                    <a:pt x="354" y="98"/>
                  </a:lnTo>
                  <a:lnTo>
                    <a:pt x="354" y="116"/>
                  </a:lnTo>
                  <a:lnTo>
                    <a:pt x="354" y="139"/>
                  </a:lnTo>
                  <a:lnTo>
                    <a:pt x="348" y="145"/>
                  </a:lnTo>
                  <a:lnTo>
                    <a:pt x="343" y="145"/>
                  </a:lnTo>
                  <a:lnTo>
                    <a:pt x="343" y="151"/>
                  </a:lnTo>
                  <a:lnTo>
                    <a:pt x="331" y="168"/>
                  </a:lnTo>
                  <a:lnTo>
                    <a:pt x="325" y="185"/>
                  </a:lnTo>
                  <a:lnTo>
                    <a:pt x="308" y="180"/>
                  </a:lnTo>
                  <a:lnTo>
                    <a:pt x="308" y="185"/>
                  </a:lnTo>
                  <a:lnTo>
                    <a:pt x="296" y="220"/>
                  </a:lnTo>
                  <a:lnTo>
                    <a:pt x="302" y="220"/>
                  </a:lnTo>
                  <a:lnTo>
                    <a:pt x="296" y="220"/>
                  </a:lnTo>
                  <a:lnTo>
                    <a:pt x="296" y="226"/>
                  </a:lnTo>
                  <a:lnTo>
                    <a:pt x="290" y="232"/>
                  </a:lnTo>
                  <a:lnTo>
                    <a:pt x="279" y="232"/>
                  </a:lnTo>
                  <a:lnTo>
                    <a:pt x="267" y="220"/>
                  </a:lnTo>
                  <a:lnTo>
                    <a:pt x="256" y="214"/>
                  </a:lnTo>
                  <a:lnTo>
                    <a:pt x="256" y="243"/>
                  </a:lnTo>
                  <a:lnTo>
                    <a:pt x="250" y="255"/>
                  </a:lnTo>
                  <a:lnTo>
                    <a:pt x="244" y="261"/>
                  </a:lnTo>
                  <a:lnTo>
                    <a:pt x="244" y="272"/>
                  </a:lnTo>
                  <a:lnTo>
                    <a:pt x="244" y="284"/>
                  </a:lnTo>
                  <a:lnTo>
                    <a:pt x="238" y="290"/>
                  </a:lnTo>
                  <a:lnTo>
                    <a:pt x="238" y="296"/>
                  </a:lnTo>
                  <a:lnTo>
                    <a:pt x="227" y="307"/>
                  </a:lnTo>
                  <a:lnTo>
                    <a:pt x="227" y="319"/>
                  </a:lnTo>
                  <a:lnTo>
                    <a:pt x="221" y="330"/>
                  </a:lnTo>
                  <a:lnTo>
                    <a:pt x="227" y="330"/>
                  </a:lnTo>
                  <a:lnTo>
                    <a:pt x="227" y="336"/>
                  </a:lnTo>
                  <a:lnTo>
                    <a:pt x="221" y="348"/>
                  </a:lnTo>
                  <a:lnTo>
                    <a:pt x="209" y="359"/>
                  </a:lnTo>
                  <a:lnTo>
                    <a:pt x="186" y="371"/>
                  </a:lnTo>
                  <a:lnTo>
                    <a:pt x="174" y="365"/>
                  </a:lnTo>
                  <a:lnTo>
                    <a:pt x="174" y="371"/>
                  </a:lnTo>
                  <a:lnTo>
                    <a:pt x="180" y="377"/>
                  </a:lnTo>
                  <a:lnTo>
                    <a:pt x="169" y="383"/>
                  </a:lnTo>
                  <a:lnTo>
                    <a:pt x="157" y="388"/>
                  </a:lnTo>
                  <a:lnTo>
                    <a:pt x="145" y="394"/>
                  </a:lnTo>
                  <a:lnTo>
                    <a:pt x="134" y="388"/>
                  </a:lnTo>
                  <a:lnTo>
                    <a:pt x="134" y="383"/>
                  </a:lnTo>
                  <a:lnTo>
                    <a:pt x="128" y="394"/>
                  </a:lnTo>
                  <a:lnTo>
                    <a:pt x="105" y="406"/>
                  </a:lnTo>
                  <a:lnTo>
                    <a:pt x="99" y="400"/>
                  </a:lnTo>
                  <a:lnTo>
                    <a:pt x="82" y="388"/>
                  </a:lnTo>
                  <a:lnTo>
                    <a:pt x="76" y="377"/>
                  </a:lnTo>
                  <a:lnTo>
                    <a:pt x="76" y="371"/>
                  </a:lnTo>
                  <a:lnTo>
                    <a:pt x="58" y="371"/>
                  </a:lnTo>
                  <a:lnTo>
                    <a:pt x="35" y="354"/>
                  </a:lnTo>
                  <a:lnTo>
                    <a:pt x="35" y="348"/>
                  </a:lnTo>
                  <a:lnTo>
                    <a:pt x="29" y="342"/>
                  </a:lnTo>
                  <a:lnTo>
                    <a:pt x="18" y="336"/>
                  </a:lnTo>
                  <a:lnTo>
                    <a:pt x="18" y="330"/>
                  </a:lnTo>
                  <a:lnTo>
                    <a:pt x="18" y="325"/>
                  </a:lnTo>
                  <a:lnTo>
                    <a:pt x="6" y="313"/>
                  </a:lnTo>
                  <a:lnTo>
                    <a:pt x="6" y="301"/>
                  </a:lnTo>
                  <a:lnTo>
                    <a:pt x="0" y="284"/>
                  </a:lnTo>
                  <a:lnTo>
                    <a:pt x="0" y="278"/>
                  </a:lnTo>
                  <a:lnTo>
                    <a:pt x="12" y="278"/>
                  </a:lnTo>
                  <a:lnTo>
                    <a:pt x="23" y="278"/>
                  </a:lnTo>
                  <a:lnTo>
                    <a:pt x="29" y="267"/>
                  </a:lnTo>
                  <a:lnTo>
                    <a:pt x="29" y="261"/>
                  </a:lnTo>
                  <a:lnTo>
                    <a:pt x="29" y="255"/>
                  </a:lnTo>
                  <a:lnTo>
                    <a:pt x="35" y="255"/>
                  </a:lnTo>
                  <a:lnTo>
                    <a:pt x="29" y="238"/>
                  </a:lnTo>
                  <a:lnTo>
                    <a:pt x="35" y="214"/>
                  </a:lnTo>
                  <a:lnTo>
                    <a:pt x="41" y="209"/>
                  </a:lnTo>
                  <a:lnTo>
                    <a:pt x="41" y="203"/>
                  </a:lnTo>
                  <a:lnTo>
                    <a:pt x="52" y="220"/>
                  </a:lnTo>
                  <a:lnTo>
                    <a:pt x="58" y="220"/>
                  </a:lnTo>
                  <a:lnTo>
                    <a:pt x="64" y="209"/>
                  </a:lnTo>
                  <a:lnTo>
                    <a:pt x="64" y="191"/>
                  </a:lnTo>
                  <a:lnTo>
                    <a:pt x="64" y="185"/>
                  </a:lnTo>
                  <a:lnTo>
                    <a:pt x="64" y="180"/>
                  </a:lnTo>
                  <a:lnTo>
                    <a:pt x="64" y="174"/>
                  </a:lnTo>
                  <a:lnTo>
                    <a:pt x="76" y="174"/>
                  </a:lnTo>
                  <a:lnTo>
                    <a:pt x="82" y="156"/>
                  </a:lnTo>
                  <a:lnTo>
                    <a:pt x="93" y="16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1" name="Freeform 32"/>
            <p:cNvSpPr>
              <a:spLocks/>
            </p:cNvSpPr>
            <p:nvPr/>
          </p:nvSpPr>
          <p:spPr bwMode="auto">
            <a:xfrm>
              <a:off x="4581" y="2329"/>
              <a:ext cx="384" cy="423"/>
            </a:xfrm>
            <a:custGeom>
              <a:avLst/>
              <a:gdLst>
                <a:gd name="T0" fmla="*/ 128 w 384"/>
                <a:gd name="T1" fmla="*/ 406 h 423"/>
                <a:gd name="T2" fmla="*/ 111 w 384"/>
                <a:gd name="T3" fmla="*/ 406 h 423"/>
                <a:gd name="T4" fmla="*/ 93 w 384"/>
                <a:gd name="T5" fmla="*/ 394 h 423"/>
                <a:gd name="T6" fmla="*/ 82 w 384"/>
                <a:gd name="T7" fmla="*/ 383 h 423"/>
                <a:gd name="T8" fmla="*/ 64 w 384"/>
                <a:gd name="T9" fmla="*/ 377 h 423"/>
                <a:gd name="T10" fmla="*/ 41 w 384"/>
                <a:gd name="T11" fmla="*/ 377 h 423"/>
                <a:gd name="T12" fmla="*/ 35 w 384"/>
                <a:gd name="T13" fmla="*/ 336 h 423"/>
                <a:gd name="T14" fmla="*/ 30 w 384"/>
                <a:gd name="T15" fmla="*/ 319 h 423"/>
                <a:gd name="T16" fmla="*/ 30 w 384"/>
                <a:gd name="T17" fmla="*/ 290 h 423"/>
                <a:gd name="T18" fmla="*/ 24 w 384"/>
                <a:gd name="T19" fmla="*/ 272 h 423"/>
                <a:gd name="T20" fmla="*/ 24 w 384"/>
                <a:gd name="T21" fmla="*/ 243 h 423"/>
                <a:gd name="T22" fmla="*/ 18 w 384"/>
                <a:gd name="T23" fmla="*/ 220 h 423"/>
                <a:gd name="T24" fmla="*/ 18 w 384"/>
                <a:gd name="T25" fmla="*/ 191 h 423"/>
                <a:gd name="T26" fmla="*/ 12 w 384"/>
                <a:gd name="T27" fmla="*/ 162 h 423"/>
                <a:gd name="T28" fmla="*/ 6 w 384"/>
                <a:gd name="T29" fmla="*/ 122 h 423"/>
                <a:gd name="T30" fmla="*/ 0 w 384"/>
                <a:gd name="T31" fmla="*/ 87 h 423"/>
                <a:gd name="T32" fmla="*/ 35 w 384"/>
                <a:gd name="T33" fmla="*/ 81 h 423"/>
                <a:gd name="T34" fmla="*/ 82 w 384"/>
                <a:gd name="T35" fmla="*/ 69 h 423"/>
                <a:gd name="T36" fmla="*/ 105 w 384"/>
                <a:gd name="T37" fmla="*/ 64 h 423"/>
                <a:gd name="T38" fmla="*/ 134 w 384"/>
                <a:gd name="T39" fmla="*/ 69 h 423"/>
                <a:gd name="T40" fmla="*/ 180 w 384"/>
                <a:gd name="T41" fmla="*/ 75 h 423"/>
                <a:gd name="T42" fmla="*/ 204 w 384"/>
                <a:gd name="T43" fmla="*/ 93 h 423"/>
                <a:gd name="T44" fmla="*/ 233 w 384"/>
                <a:gd name="T45" fmla="*/ 75 h 423"/>
                <a:gd name="T46" fmla="*/ 262 w 384"/>
                <a:gd name="T47" fmla="*/ 69 h 423"/>
                <a:gd name="T48" fmla="*/ 320 w 384"/>
                <a:gd name="T49" fmla="*/ 17 h 423"/>
                <a:gd name="T50" fmla="*/ 366 w 384"/>
                <a:gd name="T51" fmla="*/ 29 h 423"/>
                <a:gd name="T52" fmla="*/ 372 w 384"/>
                <a:gd name="T53" fmla="*/ 64 h 423"/>
                <a:gd name="T54" fmla="*/ 378 w 384"/>
                <a:gd name="T55" fmla="*/ 104 h 423"/>
                <a:gd name="T56" fmla="*/ 378 w 384"/>
                <a:gd name="T57" fmla="*/ 122 h 423"/>
                <a:gd name="T58" fmla="*/ 384 w 384"/>
                <a:gd name="T59" fmla="*/ 145 h 423"/>
                <a:gd name="T60" fmla="*/ 372 w 384"/>
                <a:gd name="T61" fmla="*/ 156 h 423"/>
                <a:gd name="T62" fmla="*/ 378 w 384"/>
                <a:gd name="T63" fmla="*/ 174 h 423"/>
                <a:gd name="T64" fmla="*/ 378 w 384"/>
                <a:gd name="T65" fmla="*/ 203 h 423"/>
                <a:gd name="T66" fmla="*/ 378 w 384"/>
                <a:gd name="T67" fmla="*/ 226 h 423"/>
                <a:gd name="T68" fmla="*/ 372 w 384"/>
                <a:gd name="T69" fmla="*/ 249 h 423"/>
                <a:gd name="T70" fmla="*/ 366 w 384"/>
                <a:gd name="T71" fmla="*/ 267 h 423"/>
                <a:gd name="T72" fmla="*/ 360 w 384"/>
                <a:gd name="T73" fmla="*/ 284 h 423"/>
                <a:gd name="T74" fmla="*/ 343 w 384"/>
                <a:gd name="T75" fmla="*/ 301 h 423"/>
                <a:gd name="T76" fmla="*/ 320 w 384"/>
                <a:gd name="T77" fmla="*/ 319 h 423"/>
                <a:gd name="T78" fmla="*/ 308 w 384"/>
                <a:gd name="T79" fmla="*/ 330 h 423"/>
                <a:gd name="T80" fmla="*/ 302 w 384"/>
                <a:gd name="T81" fmla="*/ 365 h 423"/>
                <a:gd name="T82" fmla="*/ 285 w 384"/>
                <a:gd name="T83" fmla="*/ 354 h 423"/>
                <a:gd name="T84" fmla="*/ 279 w 384"/>
                <a:gd name="T85" fmla="*/ 400 h 423"/>
                <a:gd name="T86" fmla="*/ 273 w 384"/>
                <a:gd name="T87" fmla="*/ 412 h 423"/>
                <a:gd name="T88" fmla="*/ 244 w 384"/>
                <a:gd name="T89" fmla="*/ 423 h 423"/>
                <a:gd name="T90" fmla="*/ 233 w 384"/>
                <a:gd name="T91" fmla="*/ 412 h 423"/>
                <a:gd name="T92" fmla="*/ 215 w 384"/>
                <a:gd name="T93" fmla="*/ 394 h 423"/>
                <a:gd name="T94" fmla="*/ 186 w 384"/>
                <a:gd name="T95" fmla="*/ 412 h 423"/>
                <a:gd name="T96" fmla="*/ 175 w 384"/>
                <a:gd name="T97" fmla="*/ 412 h 423"/>
                <a:gd name="T98" fmla="*/ 151 w 384"/>
                <a:gd name="T99" fmla="*/ 417 h 4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4"/>
                <a:gd name="T151" fmla="*/ 0 h 423"/>
                <a:gd name="T152" fmla="*/ 384 w 384"/>
                <a:gd name="T153" fmla="*/ 423 h 4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4" h="423">
                  <a:moveTo>
                    <a:pt x="146" y="417"/>
                  </a:moveTo>
                  <a:lnTo>
                    <a:pt x="140" y="417"/>
                  </a:lnTo>
                  <a:lnTo>
                    <a:pt x="128" y="406"/>
                  </a:lnTo>
                  <a:lnTo>
                    <a:pt x="122" y="406"/>
                  </a:lnTo>
                  <a:lnTo>
                    <a:pt x="117" y="406"/>
                  </a:lnTo>
                  <a:lnTo>
                    <a:pt x="111" y="406"/>
                  </a:lnTo>
                  <a:lnTo>
                    <a:pt x="105" y="406"/>
                  </a:lnTo>
                  <a:lnTo>
                    <a:pt x="93" y="400"/>
                  </a:lnTo>
                  <a:lnTo>
                    <a:pt x="93" y="394"/>
                  </a:lnTo>
                  <a:lnTo>
                    <a:pt x="93" y="388"/>
                  </a:lnTo>
                  <a:lnTo>
                    <a:pt x="88" y="388"/>
                  </a:lnTo>
                  <a:lnTo>
                    <a:pt x="82" y="383"/>
                  </a:lnTo>
                  <a:lnTo>
                    <a:pt x="76" y="377"/>
                  </a:lnTo>
                  <a:lnTo>
                    <a:pt x="70" y="371"/>
                  </a:lnTo>
                  <a:lnTo>
                    <a:pt x="64" y="377"/>
                  </a:lnTo>
                  <a:lnTo>
                    <a:pt x="59" y="377"/>
                  </a:lnTo>
                  <a:lnTo>
                    <a:pt x="47" y="371"/>
                  </a:lnTo>
                  <a:lnTo>
                    <a:pt x="41" y="377"/>
                  </a:lnTo>
                  <a:lnTo>
                    <a:pt x="35" y="371"/>
                  </a:lnTo>
                  <a:lnTo>
                    <a:pt x="35" y="354"/>
                  </a:lnTo>
                  <a:lnTo>
                    <a:pt x="35" y="336"/>
                  </a:lnTo>
                  <a:lnTo>
                    <a:pt x="35" y="330"/>
                  </a:lnTo>
                  <a:lnTo>
                    <a:pt x="35" y="325"/>
                  </a:lnTo>
                  <a:lnTo>
                    <a:pt x="30" y="319"/>
                  </a:lnTo>
                  <a:lnTo>
                    <a:pt x="30" y="307"/>
                  </a:lnTo>
                  <a:lnTo>
                    <a:pt x="30" y="296"/>
                  </a:lnTo>
                  <a:lnTo>
                    <a:pt x="30" y="290"/>
                  </a:lnTo>
                  <a:lnTo>
                    <a:pt x="30" y="284"/>
                  </a:lnTo>
                  <a:lnTo>
                    <a:pt x="24" y="278"/>
                  </a:lnTo>
                  <a:lnTo>
                    <a:pt x="24" y="272"/>
                  </a:lnTo>
                  <a:lnTo>
                    <a:pt x="24" y="261"/>
                  </a:lnTo>
                  <a:lnTo>
                    <a:pt x="24" y="249"/>
                  </a:lnTo>
                  <a:lnTo>
                    <a:pt x="24" y="243"/>
                  </a:lnTo>
                  <a:lnTo>
                    <a:pt x="24" y="238"/>
                  </a:lnTo>
                  <a:lnTo>
                    <a:pt x="24" y="232"/>
                  </a:lnTo>
                  <a:lnTo>
                    <a:pt x="18" y="220"/>
                  </a:lnTo>
                  <a:lnTo>
                    <a:pt x="18" y="209"/>
                  </a:lnTo>
                  <a:lnTo>
                    <a:pt x="18" y="203"/>
                  </a:lnTo>
                  <a:lnTo>
                    <a:pt x="18" y="191"/>
                  </a:lnTo>
                  <a:lnTo>
                    <a:pt x="12" y="180"/>
                  </a:lnTo>
                  <a:lnTo>
                    <a:pt x="12" y="174"/>
                  </a:lnTo>
                  <a:lnTo>
                    <a:pt x="12" y="162"/>
                  </a:lnTo>
                  <a:lnTo>
                    <a:pt x="12" y="151"/>
                  </a:lnTo>
                  <a:lnTo>
                    <a:pt x="6" y="133"/>
                  </a:lnTo>
                  <a:lnTo>
                    <a:pt x="6" y="122"/>
                  </a:lnTo>
                  <a:lnTo>
                    <a:pt x="6" y="116"/>
                  </a:lnTo>
                  <a:lnTo>
                    <a:pt x="6" y="104"/>
                  </a:lnTo>
                  <a:lnTo>
                    <a:pt x="0" y="87"/>
                  </a:lnTo>
                  <a:lnTo>
                    <a:pt x="6" y="81"/>
                  </a:lnTo>
                  <a:lnTo>
                    <a:pt x="30" y="81"/>
                  </a:lnTo>
                  <a:lnTo>
                    <a:pt x="35" y="81"/>
                  </a:lnTo>
                  <a:lnTo>
                    <a:pt x="41" y="81"/>
                  </a:lnTo>
                  <a:lnTo>
                    <a:pt x="53" y="75"/>
                  </a:lnTo>
                  <a:lnTo>
                    <a:pt x="82" y="69"/>
                  </a:lnTo>
                  <a:lnTo>
                    <a:pt x="88" y="69"/>
                  </a:lnTo>
                  <a:lnTo>
                    <a:pt x="105" y="69"/>
                  </a:lnTo>
                  <a:lnTo>
                    <a:pt x="105" y="64"/>
                  </a:lnTo>
                  <a:lnTo>
                    <a:pt x="117" y="64"/>
                  </a:lnTo>
                  <a:lnTo>
                    <a:pt x="122" y="69"/>
                  </a:lnTo>
                  <a:lnTo>
                    <a:pt x="134" y="69"/>
                  </a:lnTo>
                  <a:lnTo>
                    <a:pt x="140" y="75"/>
                  </a:lnTo>
                  <a:lnTo>
                    <a:pt x="157" y="81"/>
                  </a:lnTo>
                  <a:lnTo>
                    <a:pt x="180" y="75"/>
                  </a:lnTo>
                  <a:lnTo>
                    <a:pt x="186" y="81"/>
                  </a:lnTo>
                  <a:lnTo>
                    <a:pt x="192" y="87"/>
                  </a:lnTo>
                  <a:lnTo>
                    <a:pt x="204" y="93"/>
                  </a:lnTo>
                  <a:lnTo>
                    <a:pt x="215" y="87"/>
                  </a:lnTo>
                  <a:lnTo>
                    <a:pt x="221" y="81"/>
                  </a:lnTo>
                  <a:lnTo>
                    <a:pt x="233" y="75"/>
                  </a:lnTo>
                  <a:lnTo>
                    <a:pt x="244" y="69"/>
                  </a:lnTo>
                  <a:lnTo>
                    <a:pt x="256" y="69"/>
                  </a:lnTo>
                  <a:lnTo>
                    <a:pt x="262" y="69"/>
                  </a:lnTo>
                  <a:lnTo>
                    <a:pt x="285" y="52"/>
                  </a:lnTo>
                  <a:lnTo>
                    <a:pt x="291" y="40"/>
                  </a:lnTo>
                  <a:lnTo>
                    <a:pt x="320" y="17"/>
                  </a:lnTo>
                  <a:lnTo>
                    <a:pt x="360" y="0"/>
                  </a:lnTo>
                  <a:lnTo>
                    <a:pt x="360" y="11"/>
                  </a:lnTo>
                  <a:lnTo>
                    <a:pt x="366" y="29"/>
                  </a:lnTo>
                  <a:lnTo>
                    <a:pt x="366" y="35"/>
                  </a:lnTo>
                  <a:lnTo>
                    <a:pt x="366" y="52"/>
                  </a:lnTo>
                  <a:lnTo>
                    <a:pt x="372" y="64"/>
                  </a:lnTo>
                  <a:lnTo>
                    <a:pt x="372" y="75"/>
                  </a:lnTo>
                  <a:lnTo>
                    <a:pt x="378" y="93"/>
                  </a:lnTo>
                  <a:lnTo>
                    <a:pt x="378" y="104"/>
                  </a:lnTo>
                  <a:lnTo>
                    <a:pt x="378" y="110"/>
                  </a:lnTo>
                  <a:lnTo>
                    <a:pt x="378" y="116"/>
                  </a:lnTo>
                  <a:lnTo>
                    <a:pt x="378" y="122"/>
                  </a:lnTo>
                  <a:lnTo>
                    <a:pt x="384" y="127"/>
                  </a:lnTo>
                  <a:lnTo>
                    <a:pt x="384" y="139"/>
                  </a:lnTo>
                  <a:lnTo>
                    <a:pt x="384" y="145"/>
                  </a:lnTo>
                  <a:lnTo>
                    <a:pt x="384" y="151"/>
                  </a:lnTo>
                  <a:lnTo>
                    <a:pt x="378" y="151"/>
                  </a:lnTo>
                  <a:lnTo>
                    <a:pt x="372" y="156"/>
                  </a:lnTo>
                  <a:lnTo>
                    <a:pt x="378" y="162"/>
                  </a:lnTo>
                  <a:lnTo>
                    <a:pt x="384" y="174"/>
                  </a:lnTo>
                  <a:lnTo>
                    <a:pt x="378" y="174"/>
                  </a:lnTo>
                  <a:lnTo>
                    <a:pt x="384" y="180"/>
                  </a:lnTo>
                  <a:lnTo>
                    <a:pt x="384" y="191"/>
                  </a:lnTo>
                  <a:lnTo>
                    <a:pt x="378" y="203"/>
                  </a:lnTo>
                  <a:lnTo>
                    <a:pt x="378" y="209"/>
                  </a:lnTo>
                  <a:lnTo>
                    <a:pt x="378" y="220"/>
                  </a:lnTo>
                  <a:lnTo>
                    <a:pt x="378" y="226"/>
                  </a:lnTo>
                  <a:lnTo>
                    <a:pt x="378" y="232"/>
                  </a:lnTo>
                  <a:lnTo>
                    <a:pt x="372" y="238"/>
                  </a:lnTo>
                  <a:lnTo>
                    <a:pt x="372" y="249"/>
                  </a:lnTo>
                  <a:lnTo>
                    <a:pt x="378" y="255"/>
                  </a:lnTo>
                  <a:lnTo>
                    <a:pt x="372" y="267"/>
                  </a:lnTo>
                  <a:lnTo>
                    <a:pt x="366" y="267"/>
                  </a:lnTo>
                  <a:lnTo>
                    <a:pt x="366" y="272"/>
                  </a:lnTo>
                  <a:lnTo>
                    <a:pt x="360" y="278"/>
                  </a:lnTo>
                  <a:lnTo>
                    <a:pt x="360" y="284"/>
                  </a:lnTo>
                  <a:lnTo>
                    <a:pt x="355" y="290"/>
                  </a:lnTo>
                  <a:lnTo>
                    <a:pt x="349" y="296"/>
                  </a:lnTo>
                  <a:lnTo>
                    <a:pt x="343" y="301"/>
                  </a:lnTo>
                  <a:lnTo>
                    <a:pt x="337" y="307"/>
                  </a:lnTo>
                  <a:lnTo>
                    <a:pt x="326" y="301"/>
                  </a:lnTo>
                  <a:lnTo>
                    <a:pt x="320" y="319"/>
                  </a:lnTo>
                  <a:lnTo>
                    <a:pt x="308" y="319"/>
                  </a:lnTo>
                  <a:lnTo>
                    <a:pt x="308" y="325"/>
                  </a:lnTo>
                  <a:lnTo>
                    <a:pt x="308" y="330"/>
                  </a:lnTo>
                  <a:lnTo>
                    <a:pt x="308" y="336"/>
                  </a:lnTo>
                  <a:lnTo>
                    <a:pt x="308" y="354"/>
                  </a:lnTo>
                  <a:lnTo>
                    <a:pt x="302" y="365"/>
                  </a:lnTo>
                  <a:lnTo>
                    <a:pt x="296" y="365"/>
                  </a:lnTo>
                  <a:lnTo>
                    <a:pt x="285" y="348"/>
                  </a:lnTo>
                  <a:lnTo>
                    <a:pt x="285" y="354"/>
                  </a:lnTo>
                  <a:lnTo>
                    <a:pt x="279" y="359"/>
                  </a:lnTo>
                  <a:lnTo>
                    <a:pt x="273" y="383"/>
                  </a:lnTo>
                  <a:lnTo>
                    <a:pt x="279" y="400"/>
                  </a:lnTo>
                  <a:lnTo>
                    <a:pt x="273" y="400"/>
                  </a:lnTo>
                  <a:lnTo>
                    <a:pt x="273" y="406"/>
                  </a:lnTo>
                  <a:lnTo>
                    <a:pt x="273" y="412"/>
                  </a:lnTo>
                  <a:lnTo>
                    <a:pt x="267" y="423"/>
                  </a:lnTo>
                  <a:lnTo>
                    <a:pt x="256" y="423"/>
                  </a:lnTo>
                  <a:lnTo>
                    <a:pt x="244" y="423"/>
                  </a:lnTo>
                  <a:lnTo>
                    <a:pt x="244" y="417"/>
                  </a:lnTo>
                  <a:lnTo>
                    <a:pt x="238" y="417"/>
                  </a:lnTo>
                  <a:lnTo>
                    <a:pt x="233" y="412"/>
                  </a:lnTo>
                  <a:lnTo>
                    <a:pt x="221" y="412"/>
                  </a:lnTo>
                  <a:lnTo>
                    <a:pt x="221" y="406"/>
                  </a:lnTo>
                  <a:lnTo>
                    <a:pt x="215" y="394"/>
                  </a:lnTo>
                  <a:lnTo>
                    <a:pt x="204" y="400"/>
                  </a:lnTo>
                  <a:lnTo>
                    <a:pt x="192" y="412"/>
                  </a:lnTo>
                  <a:lnTo>
                    <a:pt x="186" y="412"/>
                  </a:lnTo>
                  <a:lnTo>
                    <a:pt x="180" y="412"/>
                  </a:lnTo>
                  <a:lnTo>
                    <a:pt x="180" y="417"/>
                  </a:lnTo>
                  <a:lnTo>
                    <a:pt x="175" y="412"/>
                  </a:lnTo>
                  <a:lnTo>
                    <a:pt x="157" y="406"/>
                  </a:lnTo>
                  <a:lnTo>
                    <a:pt x="151" y="412"/>
                  </a:lnTo>
                  <a:lnTo>
                    <a:pt x="151" y="417"/>
                  </a:lnTo>
                  <a:lnTo>
                    <a:pt x="146" y="41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2" name="Freeform 33"/>
            <p:cNvSpPr>
              <a:spLocks/>
            </p:cNvSpPr>
            <p:nvPr/>
          </p:nvSpPr>
          <p:spPr bwMode="auto">
            <a:xfrm>
              <a:off x="4344" y="2404"/>
              <a:ext cx="284" cy="482"/>
            </a:xfrm>
            <a:custGeom>
              <a:avLst/>
              <a:gdLst>
                <a:gd name="T0" fmla="*/ 261 w 284"/>
                <a:gd name="T1" fmla="*/ 157 h 482"/>
                <a:gd name="T2" fmla="*/ 261 w 284"/>
                <a:gd name="T3" fmla="*/ 174 h 482"/>
                <a:gd name="T4" fmla="*/ 261 w 284"/>
                <a:gd name="T5" fmla="*/ 203 h 482"/>
                <a:gd name="T6" fmla="*/ 267 w 284"/>
                <a:gd name="T7" fmla="*/ 221 h 482"/>
                <a:gd name="T8" fmla="*/ 272 w 284"/>
                <a:gd name="T9" fmla="*/ 250 h 482"/>
                <a:gd name="T10" fmla="*/ 272 w 284"/>
                <a:gd name="T11" fmla="*/ 279 h 482"/>
                <a:gd name="T12" fmla="*/ 272 w 284"/>
                <a:gd name="T13" fmla="*/ 308 h 482"/>
                <a:gd name="T14" fmla="*/ 284 w 284"/>
                <a:gd name="T15" fmla="*/ 325 h 482"/>
                <a:gd name="T16" fmla="*/ 267 w 284"/>
                <a:gd name="T17" fmla="*/ 342 h 482"/>
                <a:gd name="T18" fmla="*/ 249 w 284"/>
                <a:gd name="T19" fmla="*/ 354 h 482"/>
                <a:gd name="T20" fmla="*/ 232 w 284"/>
                <a:gd name="T21" fmla="*/ 348 h 482"/>
                <a:gd name="T22" fmla="*/ 232 w 284"/>
                <a:gd name="T23" fmla="*/ 371 h 482"/>
                <a:gd name="T24" fmla="*/ 214 w 284"/>
                <a:gd name="T25" fmla="*/ 395 h 482"/>
                <a:gd name="T26" fmla="*/ 197 w 284"/>
                <a:gd name="T27" fmla="*/ 412 h 482"/>
                <a:gd name="T28" fmla="*/ 191 w 284"/>
                <a:gd name="T29" fmla="*/ 441 h 482"/>
                <a:gd name="T30" fmla="*/ 162 w 284"/>
                <a:gd name="T31" fmla="*/ 429 h 482"/>
                <a:gd name="T32" fmla="*/ 150 w 284"/>
                <a:gd name="T33" fmla="*/ 429 h 482"/>
                <a:gd name="T34" fmla="*/ 139 w 284"/>
                <a:gd name="T35" fmla="*/ 441 h 482"/>
                <a:gd name="T36" fmla="*/ 127 w 284"/>
                <a:gd name="T37" fmla="*/ 458 h 482"/>
                <a:gd name="T38" fmla="*/ 110 w 284"/>
                <a:gd name="T39" fmla="*/ 453 h 482"/>
                <a:gd name="T40" fmla="*/ 75 w 284"/>
                <a:gd name="T41" fmla="*/ 464 h 482"/>
                <a:gd name="T42" fmla="*/ 58 w 284"/>
                <a:gd name="T43" fmla="*/ 458 h 482"/>
                <a:gd name="T44" fmla="*/ 34 w 284"/>
                <a:gd name="T45" fmla="*/ 464 h 482"/>
                <a:gd name="T46" fmla="*/ 17 w 284"/>
                <a:gd name="T47" fmla="*/ 470 h 482"/>
                <a:gd name="T48" fmla="*/ 5 w 284"/>
                <a:gd name="T49" fmla="*/ 482 h 482"/>
                <a:gd name="T50" fmla="*/ 5 w 284"/>
                <a:gd name="T51" fmla="*/ 441 h 482"/>
                <a:gd name="T52" fmla="*/ 23 w 284"/>
                <a:gd name="T53" fmla="*/ 406 h 482"/>
                <a:gd name="T54" fmla="*/ 34 w 284"/>
                <a:gd name="T55" fmla="*/ 389 h 482"/>
                <a:gd name="T56" fmla="*/ 40 w 284"/>
                <a:gd name="T57" fmla="*/ 354 h 482"/>
                <a:gd name="T58" fmla="*/ 29 w 284"/>
                <a:gd name="T59" fmla="*/ 325 h 482"/>
                <a:gd name="T60" fmla="*/ 34 w 284"/>
                <a:gd name="T61" fmla="*/ 284 h 482"/>
                <a:gd name="T62" fmla="*/ 29 w 284"/>
                <a:gd name="T63" fmla="*/ 250 h 482"/>
                <a:gd name="T64" fmla="*/ 23 w 284"/>
                <a:gd name="T65" fmla="*/ 215 h 482"/>
                <a:gd name="T66" fmla="*/ 23 w 284"/>
                <a:gd name="T67" fmla="*/ 180 h 482"/>
                <a:gd name="T68" fmla="*/ 23 w 284"/>
                <a:gd name="T69" fmla="*/ 157 h 482"/>
                <a:gd name="T70" fmla="*/ 17 w 284"/>
                <a:gd name="T71" fmla="*/ 116 h 482"/>
                <a:gd name="T72" fmla="*/ 17 w 284"/>
                <a:gd name="T73" fmla="*/ 99 h 482"/>
                <a:gd name="T74" fmla="*/ 11 w 284"/>
                <a:gd name="T75" fmla="*/ 81 h 482"/>
                <a:gd name="T76" fmla="*/ 11 w 284"/>
                <a:gd name="T77" fmla="*/ 58 h 482"/>
                <a:gd name="T78" fmla="*/ 23 w 284"/>
                <a:gd name="T79" fmla="*/ 41 h 482"/>
                <a:gd name="T80" fmla="*/ 58 w 284"/>
                <a:gd name="T81" fmla="*/ 29 h 482"/>
                <a:gd name="T82" fmla="*/ 75 w 284"/>
                <a:gd name="T83" fmla="*/ 23 h 482"/>
                <a:gd name="T84" fmla="*/ 104 w 284"/>
                <a:gd name="T85" fmla="*/ 18 h 482"/>
                <a:gd name="T86" fmla="*/ 139 w 284"/>
                <a:gd name="T87" fmla="*/ 12 h 482"/>
                <a:gd name="T88" fmla="*/ 179 w 284"/>
                <a:gd name="T89" fmla="*/ 12 h 482"/>
                <a:gd name="T90" fmla="*/ 203 w 284"/>
                <a:gd name="T91" fmla="*/ 6 h 482"/>
                <a:gd name="T92" fmla="*/ 237 w 284"/>
                <a:gd name="T93" fmla="*/ 0 h 482"/>
                <a:gd name="T94" fmla="*/ 243 w 284"/>
                <a:gd name="T95" fmla="*/ 41 h 482"/>
                <a:gd name="T96" fmla="*/ 249 w 284"/>
                <a:gd name="T97" fmla="*/ 76 h 482"/>
                <a:gd name="T98" fmla="*/ 249 w 284"/>
                <a:gd name="T99" fmla="*/ 105 h 482"/>
                <a:gd name="T100" fmla="*/ 255 w 284"/>
                <a:gd name="T101" fmla="*/ 134 h 48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84"/>
                <a:gd name="T154" fmla="*/ 0 h 482"/>
                <a:gd name="T155" fmla="*/ 284 w 284"/>
                <a:gd name="T156" fmla="*/ 482 h 48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84" h="482">
                  <a:moveTo>
                    <a:pt x="255" y="134"/>
                  </a:moveTo>
                  <a:lnTo>
                    <a:pt x="255" y="145"/>
                  </a:lnTo>
                  <a:lnTo>
                    <a:pt x="261" y="157"/>
                  </a:lnTo>
                  <a:lnTo>
                    <a:pt x="261" y="163"/>
                  </a:lnTo>
                  <a:lnTo>
                    <a:pt x="261" y="168"/>
                  </a:lnTo>
                  <a:lnTo>
                    <a:pt x="261" y="174"/>
                  </a:lnTo>
                  <a:lnTo>
                    <a:pt x="261" y="186"/>
                  </a:lnTo>
                  <a:lnTo>
                    <a:pt x="261" y="197"/>
                  </a:lnTo>
                  <a:lnTo>
                    <a:pt x="261" y="203"/>
                  </a:lnTo>
                  <a:lnTo>
                    <a:pt x="267" y="209"/>
                  </a:lnTo>
                  <a:lnTo>
                    <a:pt x="267" y="215"/>
                  </a:lnTo>
                  <a:lnTo>
                    <a:pt x="267" y="221"/>
                  </a:lnTo>
                  <a:lnTo>
                    <a:pt x="267" y="232"/>
                  </a:lnTo>
                  <a:lnTo>
                    <a:pt x="267" y="244"/>
                  </a:lnTo>
                  <a:lnTo>
                    <a:pt x="272" y="250"/>
                  </a:lnTo>
                  <a:lnTo>
                    <a:pt x="272" y="255"/>
                  </a:lnTo>
                  <a:lnTo>
                    <a:pt x="272" y="261"/>
                  </a:lnTo>
                  <a:lnTo>
                    <a:pt x="272" y="279"/>
                  </a:lnTo>
                  <a:lnTo>
                    <a:pt x="272" y="296"/>
                  </a:lnTo>
                  <a:lnTo>
                    <a:pt x="278" y="302"/>
                  </a:lnTo>
                  <a:lnTo>
                    <a:pt x="272" y="308"/>
                  </a:lnTo>
                  <a:lnTo>
                    <a:pt x="272" y="313"/>
                  </a:lnTo>
                  <a:lnTo>
                    <a:pt x="272" y="325"/>
                  </a:lnTo>
                  <a:lnTo>
                    <a:pt x="284" y="325"/>
                  </a:lnTo>
                  <a:lnTo>
                    <a:pt x="284" y="331"/>
                  </a:lnTo>
                  <a:lnTo>
                    <a:pt x="278" y="337"/>
                  </a:lnTo>
                  <a:lnTo>
                    <a:pt x="267" y="342"/>
                  </a:lnTo>
                  <a:lnTo>
                    <a:pt x="261" y="342"/>
                  </a:lnTo>
                  <a:lnTo>
                    <a:pt x="255" y="348"/>
                  </a:lnTo>
                  <a:lnTo>
                    <a:pt x="249" y="354"/>
                  </a:lnTo>
                  <a:lnTo>
                    <a:pt x="243" y="348"/>
                  </a:lnTo>
                  <a:lnTo>
                    <a:pt x="237" y="348"/>
                  </a:lnTo>
                  <a:lnTo>
                    <a:pt x="232" y="348"/>
                  </a:lnTo>
                  <a:lnTo>
                    <a:pt x="226" y="366"/>
                  </a:lnTo>
                  <a:lnTo>
                    <a:pt x="232" y="366"/>
                  </a:lnTo>
                  <a:lnTo>
                    <a:pt x="232" y="371"/>
                  </a:lnTo>
                  <a:lnTo>
                    <a:pt x="226" y="383"/>
                  </a:lnTo>
                  <a:lnTo>
                    <a:pt x="214" y="389"/>
                  </a:lnTo>
                  <a:lnTo>
                    <a:pt x="214" y="395"/>
                  </a:lnTo>
                  <a:lnTo>
                    <a:pt x="203" y="406"/>
                  </a:lnTo>
                  <a:lnTo>
                    <a:pt x="197" y="406"/>
                  </a:lnTo>
                  <a:lnTo>
                    <a:pt x="197" y="412"/>
                  </a:lnTo>
                  <a:lnTo>
                    <a:pt x="191" y="418"/>
                  </a:lnTo>
                  <a:lnTo>
                    <a:pt x="191" y="424"/>
                  </a:lnTo>
                  <a:lnTo>
                    <a:pt x="191" y="441"/>
                  </a:lnTo>
                  <a:lnTo>
                    <a:pt x="185" y="441"/>
                  </a:lnTo>
                  <a:lnTo>
                    <a:pt x="162" y="435"/>
                  </a:lnTo>
                  <a:lnTo>
                    <a:pt x="162" y="429"/>
                  </a:lnTo>
                  <a:lnTo>
                    <a:pt x="156" y="424"/>
                  </a:lnTo>
                  <a:lnTo>
                    <a:pt x="150" y="424"/>
                  </a:lnTo>
                  <a:lnTo>
                    <a:pt x="150" y="429"/>
                  </a:lnTo>
                  <a:lnTo>
                    <a:pt x="145" y="429"/>
                  </a:lnTo>
                  <a:lnTo>
                    <a:pt x="145" y="435"/>
                  </a:lnTo>
                  <a:lnTo>
                    <a:pt x="139" y="441"/>
                  </a:lnTo>
                  <a:lnTo>
                    <a:pt x="133" y="458"/>
                  </a:lnTo>
                  <a:lnTo>
                    <a:pt x="127" y="464"/>
                  </a:lnTo>
                  <a:lnTo>
                    <a:pt x="127" y="458"/>
                  </a:lnTo>
                  <a:lnTo>
                    <a:pt x="121" y="458"/>
                  </a:lnTo>
                  <a:lnTo>
                    <a:pt x="116" y="447"/>
                  </a:lnTo>
                  <a:lnTo>
                    <a:pt x="110" y="453"/>
                  </a:lnTo>
                  <a:lnTo>
                    <a:pt x="98" y="458"/>
                  </a:lnTo>
                  <a:lnTo>
                    <a:pt x="87" y="476"/>
                  </a:lnTo>
                  <a:lnTo>
                    <a:pt x="75" y="464"/>
                  </a:lnTo>
                  <a:lnTo>
                    <a:pt x="69" y="464"/>
                  </a:lnTo>
                  <a:lnTo>
                    <a:pt x="63" y="458"/>
                  </a:lnTo>
                  <a:lnTo>
                    <a:pt x="58" y="458"/>
                  </a:lnTo>
                  <a:lnTo>
                    <a:pt x="40" y="464"/>
                  </a:lnTo>
                  <a:lnTo>
                    <a:pt x="40" y="476"/>
                  </a:lnTo>
                  <a:lnTo>
                    <a:pt x="34" y="464"/>
                  </a:lnTo>
                  <a:lnTo>
                    <a:pt x="29" y="470"/>
                  </a:lnTo>
                  <a:lnTo>
                    <a:pt x="17" y="464"/>
                  </a:lnTo>
                  <a:lnTo>
                    <a:pt x="17" y="470"/>
                  </a:lnTo>
                  <a:lnTo>
                    <a:pt x="11" y="470"/>
                  </a:lnTo>
                  <a:lnTo>
                    <a:pt x="11" y="482"/>
                  </a:lnTo>
                  <a:lnTo>
                    <a:pt x="5" y="482"/>
                  </a:lnTo>
                  <a:lnTo>
                    <a:pt x="0" y="470"/>
                  </a:lnTo>
                  <a:lnTo>
                    <a:pt x="5" y="453"/>
                  </a:lnTo>
                  <a:lnTo>
                    <a:pt x="5" y="441"/>
                  </a:lnTo>
                  <a:lnTo>
                    <a:pt x="5" y="429"/>
                  </a:lnTo>
                  <a:lnTo>
                    <a:pt x="23" y="412"/>
                  </a:lnTo>
                  <a:lnTo>
                    <a:pt x="23" y="406"/>
                  </a:lnTo>
                  <a:lnTo>
                    <a:pt x="23" y="400"/>
                  </a:lnTo>
                  <a:lnTo>
                    <a:pt x="29" y="400"/>
                  </a:lnTo>
                  <a:lnTo>
                    <a:pt x="34" y="389"/>
                  </a:lnTo>
                  <a:lnTo>
                    <a:pt x="46" y="371"/>
                  </a:lnTo>
                  <a:lnTo>
                    <a:pt x="40" y="360"/>
                  </a:lnTo>
                  <a:lnTo>
                    <a:pt x="40" y="354"/>
                  </a:lnTo>
                  <a:lnTo>
                    <a:pt x="34" y="342"/>
                  </a:lnTo>
                  <a:lnTo>
                    <a:pt x="29" y="331"/>
                  </a:lnTo>
                  <a:lnTo>
                    <a:pt x="29" y="325"/>
                  </a:lnTo>
                  <a:lnTo>
                    <a:pt x="29" y="313"/>
                  </a:lnTo>
                  <a:lnTo>
                    <a:pt x="34" y="302"/>
                  </a:lnTo>
                  <a:lnTo>
                    <a:pt x="34" y="284"/>
                  </a:lnTo>
                  <a:lnTo>
                    <a:pt x="29" y="273"/>
                  </a:lnTo>
                  <a:lnTo>
                    <a:pt x="29" y="261"/>
                  </a:lnTo>
                  <a:lnTo>
                    <a:pt x="29" y="250"/>
                  </a:lnTo>
                  <a:lnTo>
                    <a:pt x="29" y="238"/>
                  </a:lnTo>
                  <a:lnTo>
                    <a:pt x="29" y="221"/>
                  </a:lnTo>
                  <a:lnTo>
                    <a:pt x="23" y="215"/>
                  </a:lnTo>
                  <a:lnTo>
                    <a:pt x="23" y="209"/>
                  </a:lnTo>
                  <a:lnTo>
                    <a:pt x="23" y="192"/>
                  </a:lnTo>
                  <a:lnTo>
                    <a:pt x="23" y="180"/>
                  </a:lnTo>
                  <a:lnTo>
                    <a:pt x="23" y="174"/>
                  </a:lnTo>
                  <a:lnTo>
                    <a:pt x="23" y="163"/>
                  </a:lnTo>
                  <a:lnTo>
                    <a:pt x="23" y="157"/>
                  </a:lnTo>
                  <a:lnTo>
                    <a:pt x="17" y="145"/>
                  </a:lnTo>
                  <a:lnTo>
                    <a:pt x="17" y="122"/>
                  </a:lnTo>
                  <a:lnTo>
                    <a:pt x="17" y="116"/>
                  </a:lnTo>
                  <a:lnTo>
                    <a:pt x="17" y="110"/>
                  </a:lnTo>
                  <a:lnTo>
                    <a:pt x="17" y="105"/>
                  </a:lnTo>
                  <a:lnTo>
                    <a:pt x="17" y="99"/>
                  </a:lnTo>
                  <a:lnTo>
                    <a:pt x="17" y="93"/>
                  </a:lnTo>
                  <a:lnTo>
                    <a:pt x="11" y="87"/>
                  </a:lnTo>
                  <a:lnTo>
                    <a:pt x="11" y="81"/>
                  </a:lnTo>
                  <a:lnTo>
                    <a:pt x="11" y="76"/>
                  </a:lnTo>
                  <a:lnTo>
                    <a:pt x="11" y="70"/>
                  </a:lnTo>
                  <a:lnTo>
                    <a:pt x="11" y="58"/>
                  </a:lnTo>
                  <a:lnTo>
                    <a:pt x="11" y="52"/>
                  </a:lnTo>
                  <a:lnTo>
                    <a:pt x="11" y="35"/>
                  </a:lnTo>
                  <a:lnTo>
                    <a:pt x="23" y="41"/>
                  </a:lnTo>
                  <a:lnTo>
                    <a:pt x="34" y="41"/>
                  </a:lnTo>
                  <a:lnTo>
                    <a:pt x="40" y="41"/>
                  </a:lnTo>
                  <a:lnTo>
                    <a:pt x="58" y="29"/>
                  </a:lnTo>
                  <a:lnTo>
                    <a:pt x="63" y="23"/>
                  </a:lnTo>
                  <a:lnTo>
                    <a:pt x="69" y="23"/>
                  </a:lnTo>
                  <a:lnTo>
                    <a:pt x="75" y="23"/>
                  </a:lnTo>
                  <a:lnTo>
                    <a:pt x="87" y="18"/>
                  </a:lnTo>
                  <a:lnTo>
                    <a:pt x="92" y="18"/>
                  </a:lnTo>
                  <a:lnTo>
                    <a:pt x="104" y="18"/>
                  </a:lnTo>
                  <a:lnTo>
                    <a:pt x="116" y="18"/>
                  </a:lnTo>
                  <a:lnTo>
                    <a:pt x="133" y="18"/>
                  </a:lnTo>
                  <a:lnTo>
                    <a:pt x="139" y="12"/>
                  </a:lnTo>
                  <a:lnTo>
                    <a:pt x="156" y="12"/>
                  </a:lnTo>
                  <a:lnTo>
                    <a:pt x="168" y="12"/>
                  </a:lnTo>
                  <a:lnTo>
                    <a:pt x="179" y="12"/>
                  </a:lnTo>
                  <a:lnTo>
                    <a:pt x="191" y="6"/>
                  </a:lnTo>
                  <a:lnTo>
                    <a:pt x="197" y="6"/>
                  </a:lnTo>
                  <a:lnTo>
                    <a:pt x="203" y="6"/>
                  </a:lnTo>
                  <a:lnTo>
                    <a:pt x="208" y="6"/>
                  </a:lnTo>
                  <a:lnTo>
                    <a:pt x="220" y="6"/>
                  </a:lnTo>
                  <a:lnTo>
                    <a:pt x="237" y="0"/>
                  </a:lnTo>
                  <a:lnTo>
                    <a:pt x="237" y="12"/>
                  </a:lnTo>
                  <a:lnTo>
                    <a:pt x="243" y="29"/>
                  </a:lnTo>
                  <a:lnTo>
                    <a:pt x="243" y="41"/>
                  </a:lnTo>
                  <a:lnTo>
                    <a:pt x="243" y="47"/>
                  </a:lnTo>
                  <a:lnTo>
                    <a:pt x="243" y="58"/>
                  </a:lnTo>
                  <a:lnTo>
                    <a:pt x="249" y="76"/>
                  </a:lnTo>
                  <a:lnTo>
                    <a:pt x="249" y="87"/>
                  </a:lnTo>
                  <a:lnTo>
                    <a:pt x="249" y="99"/>
                  </a:lnTo>
                  <a:lnTo>
                    <a:pt x="249" y="105"/>
                  </a:lnTo>
                  <a:lnTo>
                    <a:pt x="255" y="116"/>
                  </a:lnTo>
                  <a:lnTo>
                    <a:pt x="255" y="128"/>
                  </a:lnTo>
                  <a:lnTo>
                    <a:pt x="255" y="13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3" name="Freeform 34"/>
            <p:cNvSpPr>
              <a:spLocks/>
            </p:cNvSpPr>
            <p:nvPr/>
          </p:nvSpPr>
          <p:spPr bwMode="auto">
            <a:xfrm>
              <a:off x="4239" y="2700"/>
              <a:ext cx="662" cy="342"/>
            </a:xfrm>
            <a:custGeom>
              <a:avLst/>
              <a:gdLst>
                <a:gd name="T0" fmla="*/ 424 w 662"/>
                <a:gd name="T1" fmla="*/ 290 h 342"/>
                <a:gd name="T2" fmla="*/ 401 w 662"/>
                <a:gd name="T3" fmla="*/ 290 h 342"/>
                <a:gd name="T4" fmla="*/ 360 w 662"/>
                <a:gd name="T5" fmla="*/ 296 h 342"/>
                <a:gd name="T6" fmla="*/ 325 w 662"/>
                <a:gd name="T7" fmla="*/ 296 h 342"/>
                <a:gd name="T8" fmla="*/ 296 w 662"/>
                <a:gd name="T9" fmla="*/ 302 h 342"/>
                <a:gd name="T10" fmla="*/ 273 w 662"/>
                <a:gd name="T11" fmla="*/ 302 h 342"/>
                <a:gd name="T12" fmla="*/ 238 w 662"/>
                <a:gd name="T13" fmla="*/ 302 h 342"/>
                <a:gd name="T14" fmla="*/ 209 w 662"/>
                <a:gd name="T15" fmla="*/ 307 h 342"/>
                <a:gd name="T16" fmla="*/ 168 w 662"/>
                <a:gd name="T17" fmla="*/ 313 h 342"/>
                <a:gd name="T18" fmla="*/ 122 w 662"/>
                <a:gd name="T19" fmla="*/ 319 h 342"/>
                <a:gd name="T20" fmla="*/ 81 w 662"/>
                <a:gd name="T21" fmla="*/ 336 h 342"/>
                <a:gd name="T22" fmla="*/ 41 w 662"/>
                <a:gd name="T23" fmla="*/ 342 h 342"/>
                <a:gd name="T24" fmla="*/ 6 w 662"/>
                <a:gd name="T25" fmla="*/ 325 h 342"/>
                <a:gd name="T26" fmla="*/ 23 w 662"/>
                <a:gd name="T27" fmla="*/ 313 h 342"/>
                <a:gd name="T28" fmla="*/ 17 w 662"/>
                <a:gd name="T29" fmla="*/ 284 h 342"/>
                <a:gd name="T30" fmla="*/ 29 w 662"/>
                <a:gd name="T31" fmla="*/ 255 h 342"/>
                <a:gd name="T32" fmla="*/ 70 w 662"/>
                <a:gd name="T33" fmla="*/ 273 h 342"/>
                <a:gd name="T34" fmla="*/ 81 w 662"/>
                <a:gd name="T35" fmla="*/ 232 h 342"/>
                <a:gd name="T36" fmla="*/ 110 w 662"/>
                <a:gd name="T37" fmla="*/ 220 h 342"/>
                <a:gd name="T38" fmla="*/ 110 w 662"/>
                <a:gd name="T39" fmla="*/ 186 h 342"/>
                <a:gd name="T40" fmla="*/ 122 w 662"/>
                <a:gd name="T41" fmla="*/ 168 h 342"/>
                <a:gd name="T42" fmla="*/ 145 w 662"/>
                <a:gd name="T43" fmla="*/ 168 h 342"/>
                <a:gd name="T44" fmla="*/ 180 w 662"/>
                <a:gd name="T45" fmla="*/ 168 h 342"/>
                <a:gd name="T46" fmla="*/ 221 w 662"/>
                <a:gd name="T47" fmla="*/ 151 h 342"/>
                <a:gd name="T48" fmla="*/ 238 w 662"/>
                <a:gd name="T49" fmla="*/ 162 h 342"/>
                <a:gd name="T50" fmla="*/ 255 w 662"/>
                <a:gd name="T51" fmla="*/ 133 h 342"/>
                <a:gd name="T52" fmla="*/ 267 w 662"/>
                <a:gd name="T53" fmla="*/ 139 h 342"/>
                <a:gd name="T54" fmla="*/ 296 w 662"/>
                <a:gd name="T55" fmla="*/ 122 h 342"/>
                <a:gd name="T56" fmla="*/ 319 w 662"/>
                <a:gd name="T57" fmla="*/ 99 h 342"/>
                <a:gd name="T58" fmla="*/ 337 w 662"/>
                <a:gd name="T59" fmla="*/ 70 h 342"/>
                <a:gd name="T60" fmla="*/ 348 w 662"/>
                <a:gd name="T61" fmla="*/ 52 h 342"/>
                <a:gd name="T62" fmla="*/ 372 w 662"/>
                <a:gd name="T63" fmla="*/ 46 h 342"/>
                <a:gd name="T64" fmla="*/ 377 w 662"/>
                <a:gd name="T65" fmla="*/ 29 h 342"/>
                <a:gd name="T66" fmla="*/ 389 w 662"/>
                <a:gd name="T67" fmla="*/ 0 h 342"/>
                <a:gd name="T68" fmla="*/ 418 w 662"/>
                <a:gd name="T69" fmla="*/ 6 h 342"/>
                <a:gd name="T70" fmla="*/ 435 w 662"/>
                <a:gd name="T71" fmla="*/ 23 h 342"/>
                <a:gd name="T72" fmla="*/ 459 w 662"/>
                <a:gd name="T73" fmla="*/ 35 h 342"/>
                <a:gd name="T74" fmla="*/ 488 w 662"/>
                <a:gd name="T75" fmla="*/ 46 h 342"/>
                <a:gd name="T76" fmla="*/ 517 w 662"/>
                <a:gd name="T77" fmla="*/ 41 h 342"/>
                <a:gd name="T78" fmla="*/ 534 w 662"/>
                <a:gd name="T79" fmla="*/ 41 h 342"/>
                <a:gd name="T80" fmla="*/ 563 w 662"/>
                <a:gd name="T81" fmla="*/ 41 h 342"/>
                <a:gd name="T82" fmla="*/ 586 w 662"/>
                <a:gd name="T83" fmla="*/ 52 h 342"/>
                <a:gd name="T84" fmla="*/ 604 w 662"/>
                <a:gd name="T85" fmla="*/ 99 h 342"/>
                <a:gd name="T86" fmla="*/ 621 w 662"/>
                <a:gd name="T87" fmla="*/ 122 h 342"/>
                <a:gd name="T88" fmla="*/ 650 w 662"/>
                <a:gd name="T89" fmla="*/ 157 h 342"/>
                <a:gd name="T90" fmla="*/ 621 w 662"/>
                <a:gd name="T91" fmla="*/ 186 h 342"/>
                <a:gd name="T92" fmla="*/ 598 w 662"/>
                <a:gd name="T93" fmla="*/ 215 h 342"/>
                <a:gd name="T94" fmla="*/ 569 w 662"/>
                <a:gd name="T95" fmla="*/ 244 h 342"/>
                <a:gd name="T96" fmla="*/ 528 w 662"/>
                <a:gd name="T97" fmla="*/ 273 h 342"/>
                <a:gd name="T98" fmla="*/ 499 w 662"/>
                <a:gd name="T99" fmla="*/ 278 h 3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62"/>
                <a:gd name="T151" fmla="*/ 0 h 342"/>
                <a:gd name="T152" fmla="*/ 662 w 662"/>
                <a:gd name="T153" fmla="*/ 342 h 34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62" h="342">
                  <a:moveTo>
                    <a:pt x="470" y="284"/>
                  </a:moveTo>
                  <a:lnTo>
                    <a:pt x="453" y="284"/>
                  </a:lnTo>
                  <a:lnTo>
                    <a:pt x="441" y="284"/>
                  </a:lnTo>
                  <a:lnTo>
                    <a:pt x="424" y="290"/>
                  </a:lnTo>
                  <a:lnTo>
                    <a:pt x="418" y="290"/>
                  </a:lnTo>
                  <a:lnTo>
                    <a:pt x="412" y="290"/>
                  </a:lnTo>
                  <a:lnTo>
                    <a:pt x="406" y="290"/>
                  </a:lnTo>
                  <a:lnTo>
                    <a:pt x="401" y="290"/>
                  </a:lnTo>
                  <a:lnTo>
                    <a:pt x="389" y="290"/>
                  </a:lnTo>
                  <a:lnTo>
                    <a:pt x="377" y="290"/>
                  </a:lnTo>
                  <a:lnTo>
                    <a:pt x="372" y="290"/>
                  </a:lnTo>
                  <a:lnTo>
                    <a:pt x="360" y="296"/>
                  </a:lnTo>
                  <a:lnTo>
                    <a:pt x="354" y="296"/>
                  </a:lnTo>
                  <a:lnTo>
                    <a:pt x="342" y="296"/>
                  </a:lnTo>
                  <a:lnTo>
                    <a:pt x="331" y="296"/>
                  </a:lnTo>
                  <a:lnTo>
                    <a:pt x="325" y="296"/>
                  </a:lnTo>
                  <a:lnTo>
                    <a:pt x="319" y="296"/>
                  </a:lnTo>
                  <a:lnTo>
                    <a:pt x="313" y="296"/>
                  </a:lnTo>
                  <a:lnTo>
                    <a:pt x="308" y="296"/>
                  </a:lnTo>
                  <a:lnTo>
                    <a:pt x="296" y="302"/>
                  </a:lnTo>
                  <a:lnTo>
                    <a:pt x="290" y="302"/>
                  </a:lnTo>
                  <a:lnTo>
                    <a:pt x="284" y="302"/>
                  </a:lnTo>
                  <a:lnTo>
                    <a:pt x="279" y="302"/>
                  </a:lnTo>
                  <a:lnTo>
                    <a:pt x="273" y="302"/>
                  </a:lnTo>
                  <a:lnTo>
                    <a:pt x="261" y="302"/>
                  </a:lnTo>
                  <a:lnTo>
                    <a:pt x="255" y="302"/>
                  </a:lnTo>
                  <a:lnTo>
                    <a:pt x="244" y="302"/>
                  </a:lnTo>
                  <a:lnTo>
                    <a:pt x="238" y="302"/>
                  </a:lnTo>
                  <a:lnTo>
                    <a:pt x="232" y="307"/>
                  </a:lnTo>
                  <a:lnTo>
                    <a:pt x="226" y="307"/>
                  </a:lnTo>
                  <a:lnTo>
                    <a:pt x="215" y="307"/>
                  </a:lnTo>
                  <a:lnTo>
                    <a:pt x="209" y="307"/>
                  </a:lnTo>
                  <a:lnTo>
                    <a:pt x="197" y="307"/>
                  </a:lnTo>
                  <a:lnTo>
                    <a:pt x="186" y="307"/>
                  </a:lnTo>
                  <a:lnTo>
                    <a:pt x="174" y="313"/>
                  </a:lnTo>
                  <a:lnTo>
                    <a:pt x="168" y="313"/>
                  </a:lnTo>
                  <a:lnTo>
                    <a:pt x="157" y="313"/>
                  </a:lnTo>
                  <a:lnTo>
                    <a:pt x="139" y="313"/>
                  </a:lnTo>
                  <a:lnTo>
                    <a:pt x="122" y="313"/>
                  </a:lnTo>
                  <a:lnTo>
                    <a:pt x="122" y="319"/>
                  </a:lnTo>
                  <a:lnTo>
                    <a:pt x="122" y="331"/>
                  </a:lnTo>
                  <a:lnTo>
                    <a:pt x="105" y="336"/>
                  </a:lnTo>
                  <a:lnTo>
                    <a:pt x="93" y="336"/>
                  </a:lnTo>
                  <a:lnTo>
                    <a:pt x="81" y="336"/>
                  </a:lnTo>
                  <a:lnTo>
                    <a:pt x="76" y="336"/>
                  </a:lnTo>
                  <a:lnTo>
                    <a:pt x="58" y="336"/>
                  </a:lnTo>
                  <a:lnTo>
                    <a:pt x="52" y="336"/>
                  </a:lnTo>
                  <a:lnTo>
                    <a:pt x="41" y="342"/>
                  </a:lnTo>
                  <a:lnTo>
                    <a:pt x="6" y="342"/>
                  </a:lnTo>
                  <a:lnTo>
                    <a:pt x="0" y="342"/>
                  </a:lnTo>
                  <a:lnTo>
                    <a:pt x="0" y="331"/>
                  </a:lnTo>
                  <a:lnTo>
                    <a:pt x="6" y="325"/>
                  </a:lnTo>
                  <a:lnTo>
                    <a:pt x="12" y="336"/>
                  </a:lnTo>
                  <a:lnTo>
                    <a:pt x="17" y="325"/>
                  </a:lnTo>
                  <a:lnTo>
                    <a:pt x="17" y="313"/>
                  </a:lnTo>
                  <a:lnTo>
                    <a:pt x="23" y="313"/>
                  </a:lnTo>
                  <a:lnTo>
                    <a:pt x="23" y="307"/>
                  </a:lnTo>
                  <a:lnTo>
                    <a:pt x="23" y="296"/>
                  </a:lnTo>
                  <a:lnTo>
                    <a:pt x="23" y="290"/>
                  </a:lnTo>
                  <a:lnTo>
                    <a:pt x="17" y="284"/>
                  </a:lnTo>
                  <a:lnTo>
                    <a:pt x="12" y="278"/>
                  </a:lnTo>
                  <a:lnTo>
                    <a:pt x="17" y="278"/>
                  </a:lnTo>
                  <a:lnTo>
                    <a:pt x="17" y="273"/>
                  </a:lnTo>
                  <a:lnTo>
                    <a:pt x="29" y="255"/>
                  </a:lnTo>
                  <a:lnTo>
                    <a:pt x="35" y="255"/>
                  </a:lnTo>
                  <a:lnTo>
                    <a:pt x="52" y="261"/>
                  </a:lnTo>
                  <a:lnTo>
                    <a:pt x="64" y="267"/>
                  </a:lnTo>
                  <a:lnTo>
                    <a:pt x="70" y="273"/>
                  </a:lnTo>
                  <a:lnTo>
                    <a:pt x="76" y="273"/>
                  </a:lnTo>
                  <a:lnTo>
                    <a:pt x="81" y="267"/>
                  </a:lnTo>
                  <a:lnTo>
                    <a:pt x="76" y="249"/>
                  </a:lnTo>
                  <a:lnTo>
                    <a:pt x="81" y="232"/>
                  </a:lnTo>
                  <a:lnTo>
                    <a:pt x="87" y="232"/>
                  </a:lnTo>
                  <a:lnTo>
                    <a:pt x="93" y="226"/>
                  </a:lnTo>
                  <a:lnTo>
                    <a:pt x="105" y="220"/>
                  </a:lnTo>
                  <a:lnTo>
                    <a:pt x="110" y="220"/>
                  </a:lnTo>
                  <a:lnTo>
                    <a:pt x="105" y="209"/>
                  </a:lnTo>
                  <a:lnTo>
                    <a:pt x="105" y="203"/>
                  </a:lnTo>
                  <a:lnTo>
                    <a:pt x="105" y="197"/>
                  </a:lnTo>
                  <a:lnTo>
                    <a:pt x="110" y="186"/>
                  </a:lnTo>
                  <a:lnTo>
                    <a:pt x="116" y="186"/>
                  </a:lnTo>
                  <a:lnTo>
                    <a:pt x="116" y="174"/>
                  </a:lnTo>
                  <a:lnTo>
                    <a:pt x="122" y="174"/>
                  </a:lnTo>
                  <a:lnTo>
                    <a:pt x="122" y="168"/>
                  </a:lnTo>
                  <a:lnTo>
                    <a:pt x="134" y="174"/>
                  </a:lnTo>
                  <a:lnTo>
                    <a:pt x="139" y="168"/>
                  </a:lnTo>
                  <a:lnTo>
                    <a:pt x="145" y="180"/>
                  </a:lnTo>
                  <a:lnTo>
                    <a:pt x="145" y="168"/>
                  </a:lnTo>
                  <a:lnTo>
                    <a:pt x="163" y="162"/>
                  </a:lnTo>
                  <a:lnTo>
                    <a:pt x="168" y="162"/>
                  </a:lnTo>
                  <a:lnTo>
                    <a:pt x="174" y="168"/>
                  </a:lnTo>
                  <a:lnTo>
                    <a:pt x="180" y="168"/>
                  </a:lnTo>
                  <a:lnTo>
                    <a:pt x="192" y="180"/>
                  </a:lnTo>
                  <a:lnTo>
                    <a:pt x="203" y="162"/>
                  </a:lnTo>
                  <a:lnTo>
                    <a:pt x="215" y="157"/>
                  </a:lnTo>
                  <a:lnTo>
                    <a:pt x="221" y="151"/>
                  </a:lnTo>
                  <a:lnTo>
                    <a:pt x="226" y="162"/>
                  </a:lnTo>
                  <a:lnTo>
                    <a:pt x="232" y="162"/>
                  </a:lnTo>
                  <a:lnTo>
                    <a:pt x="232" y="168"/>
                  </a:lnTo>
                  <a:lnTo>
                    <a:pt x="238" y="162"/>
                  </a:lnTo>
                  <a:lnTo>
                    <a:pt x="244" y="145"/>
                  </a:lnTo>
                  <a:lnTo>
                    <a:pt x="250" y="139"/>
                  </a:lnTo>
                  <a:lnTo>
                    <a:pt x="250" y="133"/>
                  </a:lnTo>
                  <a:lnTo>
                    <a:pt x="255" y="133"/>
                  </a:lnTo>
                  <a:lnTo>
                    <a:pt x="255" y="128"/>
                  </a:lnTo>
                  <a:lnTo>
                    <a:pt x="261" y="128"/>
                  </a:lnTo>
                  <a:lnTo>
                    <a:pt x="267" y="133"/>
                  </a:lnTo>
                  <a:lnTo>
                    <a:pt x="267" y="139"/>
                  </a:lnTo>
                  <a:lnTo>
                    <a:pt x="290" y="145"/>
                  </a:lnTo>
                  <a:lnTo>
                    <a:pt x="296" y="145"/>
                  </a:lnTo>
                  <a:lnTo>
                    <a:pt x="296" y="128"/>
                  </a:lnTo>
                  <a:lnTo>
                    <a:pt x="296" y="122"/>
                  </a:lnTo>
                  <a:lnTo>
                    <a:pt x="302" y="116"/>
                  </a:lnTo>
                  <a:lnTo>
                    <a:pt x="302" y="110"/>
                  </a:lnTo>
                  <a:lnTo>
                    <a:pt x="308" y="110"/>
                  </a:lnTo>
                  <a:lnTo>
                    <a:pt x="319" y="99"/>
                  </a:lnTo>
                  <a:lnTo>
                    <a:pt x="319" y="93"/>
                  </a:lnTo>
                  <a:lnTo>
                    <a:pt x="331" y="87"/>
                  </a:lnTo>
                  <a:lnTo>
                    <a:pt x="337" y="75"/>
                  </a:lnTo>
                  <a:lnTo>
                    <a:pt x="337" y="70"/>
                  </a:lnTo>
                  <a:lnTo>
                    <a:pt x="331" y="70"/>
                  </a:lnTo>
                  <a:lnTo>
                    <a:pt x="337" y="52"/>
                  </a:lnTo>
                  <a:lnTo>
                    <a:pt x="342" y="52"/>
                  </a:lnTo>
                  <a:lnTo>
                    <a:pt x="348" y="52"/>
                  </a:lnTo>
                  <a:lnTo>
                    <a:pt x="354" y="58"/>
                  </a:lnTo>
                  <a:lnTo>
                    <a:pt x="360" y="52"/>
                  </a:lnTo>
                  <a:lnTo>
                    <a:pt x="366" y="46"/>
                  </a:lnTo>
                  <a:lnTo>
                    <a:pt x="372" y="46"/>
                  </a:lnTo>
                  <a:lnTo>
                    <a:pt x="383" y="41"/>
                  </a:lnTo>
                  <a:lnTo>
                    <a:pt x="389" y="35"/>
                  </a:lnTo>
                  <a:lnTo>
                    <a:pt x="389" y="29"/>
                  </a:lnTo>
                  <a:lnTo>
                    <a:pt x="377" y="29"/>
                  </a:lnTo>
                  <a:lnTo>
                    <a:pt x="377" y="17"/>
                  </a:lnTo>
                  <a:lnTo>
                    <a:pt x="377" y="12"/>
                  </a:lnTo>
                  <a:lnTo>
                    <a:pt x="383" y="6"/>
                  </a:lnTo>
                  <a:lnTo>
                    <a:pt x="389" y="0"/>
                  </a:lnTo>
                  <a:lnTo>
                    <a:pt x="401" y="6"/>
                  </a:lnTo>
                  <a:lnTo>
                    <a:pt x="406" y="6"/>
                  </a:lnTo>
                  <a:lnTo>
                    <a:pt x="412" y="0"/>
                  </a:lnTo>
                  <a:lnTo>
                    <a:pt x="418" y="6"/>
                  </a:lnTo>
                  <a:lnTo>
                    <a:pt x="424" y="12"/>
                  </a:lnTo>
                  <a:lnTo>
                    <a:pt x="430" y="17"/>
                  </a:lnTo>
                  <a:lnTo>
                    <a:pt x="435" y="17"/>
                  </a:lnTo>
                  <a:lnTo>
                    <a:pt x="435" y="23"/>
                  </a:lnTo>
                  <a:lnTo>
                    <a:pt x="435" y="29"/>
                  </a:lnTo>
                  <a:lnTo>
                    <a:pt x="447" y="35"/>
                  </a:lnTo>
                  <a:lnTo>
                    <a:pt x="453" y="35"/>
                  </a:lnTo>
                  <a:lnTo>
                    <a:pt x="459" y="35"/>
                  </a:lnTo>
                  <a:lnTo>
                    <a:pt x="464" y="35"/>
                  </a:lnTo>
                  <a:lnTo>
                    <a:pt x="470" y="35"/>
                  </a:lnTo>
                  <a:lnTo>
                    <a:pt x="482" y="46"/>
                  </a:lnTo>
                  <a:lnTo>
                    <a:pt x="488" y="46"/>
                  </a:lnTo>
                  <a:lnTo>
                    <a:pt x="493" y="46"/>
                  </a:lnTo>
                  <a:lnTo>
                    <a:pt x="493" y="41"/>
                  </a:lnTo>
                  <a:lnTo>
                    <a:pt x="499" y="35"/>
                  </a:lnTo>
                  <a:lnTo>
                    <a:pt x="517" y="41"/>
                  </a:lnTo>
                  <a:lnTo>
                    <a:pt x="522" y="46"/>
                  </a:lnTo>
                  <a:lnTo>
                    <a:pt x="522" y="41"/>
                  </a:lnTo>
                  <a:lnTo>
                    <a:pt x="528" y="41"/>
                  </a:lnTo>
                  <a:lnTo>
                    <a:pt x="534" y="41"/>
                  </a:lnTo>
                  <a:lnTo>
                    <a:pt x="546" y="29"/>
                  </a:lnTo>
                  <a:lnTo>
                    <a:pt x="557" y="23"/>
                  </a:lnTo>
                  <a:lnTo>
                    <a:pt x="563" y="35"/>
                  </a:lnTo>
                  <a:lnTo>
                    <a:pt x="563" y="41"/>
                  </a:lnTo>
                  <a:lnTo>
                    <a:pt x="575" y="41"/>
                  </a:lnTo>
                  <a:lnTo>
                    <a:pt x="580" y="46"/>
                  </a:lnTo>
                  <a:lnTo>
                    <a:pt x="586" y="46"/>
                  </a:lnTo>
                  <a:lnTo>
                    <a:pt x="586" y="52"/>
                  </a:lnTo>
                  <a:lnTo>
                    <a:pt x="586" y="58"/>
                  </a:lnTo>
                  <a:lnTo>
                    <a:pt x="592" y="75"/>
                  </a:lnTo>
                  <a:lnTo>
                    <a:pt x="592" y="87"/>
                  </a:lnTo>
                  <a:lnTo>
                    <a:pt x="604" y="99"/>
                  </a:lnTo>
                  <a:lnTo>
                    <a:pt x="604" y="104"/>
                  </a:lnTo>
                  <a:lnTo>
                    <a:pt x="604" y="110"/>
                  </a:lnTo>
                  <a:lnTo>
                    <a:pt x="615" y="116"/>
                  </a:lnTo>
                  <a:lnTo>
                    <a:pt x="621" y="122"/>
                  </a:lnTo>
                  <a:lnTo>
                    <a:pt x="621" y="128"/>
                  </a:lnTo>
                  <a:lnTo>
                    <a:pt x="644" y="145"/>
                  </a:lnTo>
                  <a:lnTo>
                    <a:pt x="662" y="145"/>
                  </a:lnTo>
                  <a:lnTo>
                    <a:pt x="650" y="157"/>
                  </a:lnTo>
                  <a:lnTo>
                    <a:pt x="644" y="168"/>
                  </a:lnTo>
                  <a:lnTo>
                    <a:pt x="633" y="180"/>
                  </a:lnTo>
                  <a:lnTo>
                    <a:pt x="627" y="180"/>
                  </a:lnTo>
                  <a:lnTo>
                    <a:pt x="621" y="186"/>
                  </a:lnTo>
                  <a:lnTo>
                    <a:pt x="615" y="191"/>
                  </a:lnTo>
                  <a:lnTo>
                    <a:pt x="609" y="191"/>
                  </a:lnTo>
                  <a:lnTo>
                    <a:pt x="598" y="203"/>
                  </a:lnTo>
                  <a:lnTo>
                    <a:pt x="598" y="215"/>
                  </a:lnTo>
                  <a:lnTo>
                    <a:pt x="586" y="220"/>
                  </a:lnTo>
                  <a:lnTo>
                    <a:pt x="592" y="232"/>
                  </a:lnTo>
                  <a:lnTo>
                    <a:pt x="586" y="232"/>
                  </a:lnTo>
                  <a:lnTo>
                    <a:pt x="569" y="244"/>
                  </a:lnTo>
                  <a:lnTo>
                    <a:pt x="569" y="249"/>
                  </a:lnTo>
                  <a:lnTo>
                    <a:pt x="540" y="267"/>
                  </a:lnTo>
                  <a:lnTo>
                    <a:pt x="534" y="267"/>
                  </a:lnTo>
                  <a:lnTo>
                    <a:pt x="528" y="273"/>
                  </a:lnTo>
                  <a:lnTo>
                    <a:pt x="522" y="273"/>
                  </a:lnTo>
                  <a:lnTo>
                    <a:pt x="522" y="278"/>
                  </a:lnTo>
                  <a:lnTo>
                    <a:pt x="511" y="278"/>
                  </a:lnTo>
                  <a:lnTo>
                    <a:pt x="499" y="278"/>
                  </a:lnTo>
                  <a:lnTo>
                    <a:pt x="493" y="278"/>
                  </a:lnTo>
                  <a:lnTo>
                    <a:pt x="482" y="278"/>
                  </a:lnTo>
                  <a:lnTo>
                    <a:pt x="470" y="28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4" name="Freeform 35"/>
            <p:cNvSpPr>
              <a:spLocks/>
            </p:cNvSpPr>
            <p:nvPr/>
          </p:nvSpPr>
          <p:spPr bwMode="auto">
            <a:xfrm>
              <a:off x="4227" y="3036"/>
              <a:ext cx="1" cy="6"/>
            </a:xfrm>
            <a:custGeom>
              <a:avLst/>
              <a:gdLst>
                <a:gd name="T0" fmla="*/ 0 w 1"/>
                <a:gd name="T1" fmla="*/ 0 h 6"/>
                <a:gd name="T2" fmla="*/ 0 w 1"/>
                <a:gd name="T3" fmla="*/ 6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5" name="Freeform 36"/>
            <p:cNvSpPr>
              <a:spLocks/>
            </p:cNvSpPr>
            <p:nvPr/>
          </p:nvSpPr>
          <p:spPr bwMode="auto">
            <a:xfrm>
              <a:off x="4407" y="1952"/>
              <a:ext cx="354" cy="475"/>
            </a:xfrm>
            <a:custGeom>
              <a:avLst/>
              <a:gdLst>
                <a:gd name="T0" fmla="*/ 238 w 354"/>
                <a:gd name="T1" fmla="*/ 168 h 475"/>
                <a:gd name="T2" fmla="*/ 227 w 354"/>
                <a:gd name="T3" fmla="*/ 191 h 475"/>
                <a:gd name="T4" fmla="*/ 215 w 354"/>
                <a:gd name="T5" fmla="*/ 220 h 475"/>
                <a:gd name="T6" fmla="*/ 244 w 354"/>
                <a:gd name="T7" fmla="*/ 232 h 475"/>
                <a:gd name="T8" fmla="*/ 262 w 354"/>
                <a:gd name="T9" fmla="*/ 203 h 475"/>
                <a:gd name="T10" fmla="*/ 267 w 354"/>
                <a:gd name="T11" fmla="*/ 191 h 475"/>
                <a:gd name="T12" fmla="*/ 291 w 354"/>
                <a:gd name="T13" fmla="*/ 174 h 475"/>
                <a:gd name="T14" fmla="*/ 320 w 354"/>
                <a:gd name="T15" fmla="*/ 191 h 475"/>
                <a:gd name="T16" fmla="*/ 343 w 354"/>
                <a:gd name="T17" fmla="*/ 261 h 475"/>
                <a:gd name="T18" fmla="*/ 354 w 354"/>
                <a:gd name="T19" fmla="*/ 330 h 475"/>
                <a:gd name="T20" fmla="*/ 343 w 354"/>
                <a:gd name="T21" fmla="*/ 325 h 475"/>
                <a:gd name="T22" fmla="*/ 325 w 354"/>
                <a:gd name="T23" fmla="*/ 348 h 475"/>
                <a:gd name="T24" fmla="*/ 320 w 354"/>
                <a:gd name="T25" fmla="*/ 371 h 475"/>
                <a:gd name="T26" fmla="*/ 296 w 354"/>
                <a:gd name="T27" fmla="*/ 423 h 475"/>
                <a:gd name="T28" fmla="*/ 279 w 354"/>
                <a:gd name="T29" fmla="*/ 446 h 475"/>
                <a:gd name="T30" fmla="*/ 227 w 354"/>
                <a:gd name="T31" fmla="*/ 452 h 475"/>
                <a:gd name="T32" fmla="*/ 204 w 354"/>
                <a:gd name="T33" fmla="*/ 458 h 475"/>
                <a:gd name="T34" fmla="*/ 174 w 354"/>
                <a:gd name="T35" fmla="*/ 452 h 475"/>
                <a:gd name="T36" fmla="*/ 140 w 354"/>
                <a:gd name="T37" fmla="*/ 458 h 475"/>
                <a:gd name="T38" fmla="*/ 116 w 354"/>
                <a:gd name="T39" fmla="*/ 464 h 475"/>
                <a:gd name="T40" fmla="*/ 76 w 354"/>
                <a:gd name="T41" fmla="*/ 464 h 475"/>
                <a:gd name="T42" fmla="*/ 41 w 354"/>
                <a:gd name="T43" fmla="*/ 470 h 475"/>
                <a:gd name="T44" fmla="*/ 12 w 354"/>
                <a:gd name="T45" fmla="*/ 475 h 475"/>
                <a:gd name="T46" fmla="*/ 29 w 354"/>
                <a:gd name="T47" fmla="*/ 435 h 475"/>
                <a:gd name="T48" fmla="*/ 47 w 354"/>
                <a:gd name="T49" fmla="*/ 354 h 475"/>
                <a:gd name="T50" fmla="*/ 35 w 354"/>
                <a:gd name="T51" fmla="*/ 313 h 475"/>
                <a:gd name="T52" fmla="*/ 12 w 354"/>
                <a:gd name="T53" fmla="*/ 249 h 475"/>
                <a:gd name="T54" fmla="*/ 0 w 354"/>
                <a:gd name="T55" fmla="*/ 214 h 475"/>
                <a:gd name="T56" fmla="*/ 18 w 354"/>
                <a:gd name="T57" fmla="*/ 168 h 475"/>
                <a:gd name="T58" fmla="*/ 18 w 354"/>
                <a:gd name="T59" fmla="*/ 139 h 475"/>
                <a:gd name="T60" fmla="*/ 35 w 354"/>
                <a:gd name="T61" fmla="*/ 110 h 475"/>
                <a:gd name="T62" fmla="*/ 64 w 354"/>
                <a:gd name="T63" fmla="*/ 98 h 475"/>
                <a:gd name="T64" fmla="*/ 76 w 354"/>
                <a:gd name="T65" fmla="*/ 110 h 475"/>
                <a:gd name="T66" fmla="*/ 76 w 354"/>
                <a:gd name="T67" fmla="*/ 110 h 475"/>
                <a:gd name="T68" fmla="*/ 76 w 354"/>
                <a:gd name="T69" fmla="*/ 64 h 475"/>
                <a:gd name="T70" fmla="*/ 105 w 354"/>
                <a:gd name="T71" fmla="*/ 46 h 475"/>
                <a:gd name="T72" fmla="*/ 99 w 354"/>
                <a:gd name="T73" fmla="*/ 17 h 475"/>
                <a:gd name="T74" fmla="*/ 116 w 354"/>
                <a:gd name="T75" fmla="*/ 5 h 475"/>
                <a:gd name="T76" fmla="*/ 140 w 354"/>
                <a:gd name="T77" fmla="*/ 11 h 475"/>
                <a:gd name="T78" fmla="*/ 198 w 354"/>
                <a:gd name="T79" fmla="*/ 23 h 475"/>
                <a:gd name="T80" fmla="*/ 238 w 354"/>
                <a:gd name="T81" fmla="*/ 52 h 475"/>
                <a:gd name="T82" fmla="*/ 238 w 354"/>
                <a:gd name="T83" fmla="*/ 75 h 475"/>
                <a:gd name="T84" fmla="*/ 256 w 354"/>
                <a:gd name="T85" fmla="*/ 98 h 4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4"/>
                <a:gd name="T130" fmla="*/ 0 h 475"/>
                <a:gd name="T131" fmla="*/ 354 w 354"/>
                <a:gd name="T132" fmla="*/ 475 h 47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4" h="475">
                  <a:moveTo>
                    <a:pt x="256" y="127"/>
                  </a:moveTo>
                  <a:lnTo>
                    <a:pt x="244" y="156"/>
                  </a:lnTo>
                  <a:lnTo>
                    <a:pt x="238" y="168"/>
                  </a:lnTo>
                  <a:lnTo>
                    <a:pt x="244" y="174"/>
                  </a:lnTo>
                  <a:lnTo>
                    <a:pt x="238" y="180"/>
                  </a:lnTo>
                  <a:lnTo>
                    <a:pt x="227" y="191"/>
                  </a:lnTo>
                  <a:lnTo>
                    <a:pt x="221" y="197"/>
                  </a:lnTo>
                  <a:lnTo>
                    <a:pt x="215" y="203"/>
                  </a:lnTo>
                  <a:lnTo>
                    <a:pt x="215" y="220"/>
                  </a:lnTo>
                  <a:lnTo>
                    <a:pt x="227" y="232"/>
                  </a:lnTo>
                  <a:lnTo>
                    <a:pt x="238" y="232"/>
                  </a:lnTo>
                  <a:lnTo>
                    <a:pt x="244" y="232"/>
                  </a:lnTo>
                  <a:lnTo>
                    <a:pt x="256" y="220"/>
                  </a:lnTo>
                  <a:lnTo>
                    <a:pt x="256" y="214"/>
                  </a:lnTo>
                  <a:lnTo>
                    <a:pt x="262" y="203"/>
                  </a:lnTo>
                  <a:lnTo>
                    <a:pt x="267" y="197"/>
                  </a:lnTo>
                  <a:lnTo>
                    <a:pt x="262" y="197"/>
                  </a:lnTo>
                  <a:lnTo>
                    <a:pt x="267" y="191"/>
                  </a:lnTo>
                  <a:lnTo>
                    <a:pt x="267" y="185"/>
                  </a:lnTo>
                  <a:lnTo>
                    <a:pt x="279" y="180"/>
                  </a:lnTo>
                  <a:lnTo>
                    <a:pt x="291" y="174"/>
                  </a:lnTo>
                  <a:lnTo>
                    <a:pt x="296" y="174"/>
                  </a:lnTo>
                  <a:lnTo>
                    <a:pt x="308" y="180"/>
                  </a:lnTo>
                  <a:lnTo>
                    <a:pt x="320" y="191"/>
                  </a:lnTo>
                  <a:lnTo>
                    <a:pt x="325" y="209"/>
                  </a:lnTo>
                  <a:lnTo>
                    <a:pt x="337" y="243"/>
                  </a:lnTo>
                  <a:lnTo>
                    <a:pt x="343" y="261"/>
                  </a:lnTo>
                  <a:lnTo>
                    <a:pt x="343" y="267"/>
                  </a:lnTo>
                  <a:lnTo>
                    <a:pt x="354" y="290"/>
                  </a:lnTo>
                  <a:lnTo>
                    <a:pt x="354" y="330"/>
                  </a:lnTo>
                  <a:lnTo>
                    <a:pt x="343" y="342"/>
                  </a:lnTo>
                  <a:lnTo>
                    <a:pt x="337" y="330"/>
                  </a:lnTo>
                  <a:lnTo>
                    <a:pt x="343" y="325"/>
                  </a:lnTo>
                  <a:lnTo>
                    <a:pt x="337" y="325"/>
                  </a:lnTo>
                  <a:lnTo>
                    <a:pt x="325" y="330"/>
                  </a:lnTo>
                  <a:lnTo>
                    <a:pt x="325" y="348"/>
                  </a:lnTo>
                  <a:lnTo>
                    <a:pt x="325" y="354"/>
                  </a:lnTo>
                  <a:lnTo>
                    <a:pt x="325" y="365"/>
                  </a:lnTo>
                  <a:lnTo>
                    <a:pt x="320" y="371"/>
                  </a:lnTo>
                  <a:lnTo>
                    <a:pt x="308" y="383"/>
                  </a:lnTo>
                  <a:lnTo>
                    <a:pt x="308" y="406"/>
                  </a:lnTo>
                  <a:lnTo>
                    <a:pt x="296" y="423"/>
                  </a:lnTo>
                  <a:lnTo>
                    <a:pt x="291" y="441"/>
                  </a:lnTo>
                  <a:lnTo>
                    <a:pt x="279" y="441"/>
                  </a:lnTo>
                  <a:lnTo>
                    <a:pt x="279" y="446"/>
                  </a:lnTo>
                  <a:lnTo>
                    <a:pt x="262" y="446"/>
                  </a:lnTo>
                  <a:lnTo>
                    <a:pt x="256" y="446"/>
                  </a:lnTo>
                  <a:lnTo>
                    <a:pt x="227" y="452"/>
                  </a:lnTo>
                  <a:lnTo>
                    <a:pt x="215" y="458"/>
                  </a:lnTo>
                  <a:lnTo>
                    <a:pt x="209" y="458"/>
                  </a:lnTo>
                  <a:lnTo>
                    <a:pt x="204" y="458"/>
                  </a:lnTo>
                  <a:lnTo>
                    <a:pt x="180" y="458"/>
                  </a:lnTo>
                  <a:lnTo>
                    <a:pt x="174" y="464"/>
                  </a:lnTo>
                  <a:lnTo>
                    <a:pt x="174" y="452"/>
                  </a:lnTo>
                  <a:lnTo>
                    <a:pt x="157" y="458"/>
                  </a:lnTo>
                  <a:lnTo>
                    <a:pt x="145" y="458"/>
                  </a:lnTo>
                  <a:lnTo>
                    <a:pt x="140" y="458"/>
                  </a:lnTo>
                  <a:lnTo>
                    <a:pt x="134" y="458"/>
                  </a:lnTo>
                  <a:lnTo>
                    <a:pt x="128" y="458"/>
                  </a:lnTo>
                  <a:lnTo>
                    <a:pt x="116" y="464"/>
                  </a:lnTo>
                  <a:lnTo>
                    <a:pt x="105" y="464"/>
                  </a:lnTo>
                  <a:lnTo>
                    <a:pt x="93" y="464"/>
                  </a:lnTo>
                  <a:lnTo>
                    <a:pt x="76" y="464"/>
                  </a:lnTo>
                  <a:lnTo>
                    <a:pt x="70" y="470"/>
                  </a:lnTo>
                  <a:lnTo>
                    <a:pt x="53" y="470"/>
                  </a:lnTo>
                  <a:lnTo>
                    <a:pt x="41" y="470"/>
                  </a:lnTo>
                  <a:lnTo>
                    <a:pt x="29" y="470"/>
                  </a:lnTo>
                  <a:lnTo>
                    <a:pt x="24" y="470"/>
                  </a:lnTo>
                  <a:lnTo>
                    <a:pt x="12" y="475"/>
                  </a:lnTo>
                  <a:lnTo>
                    <a:pt x="6" y="475"/>
                  </a:lnTo>
                  <a:lnTo>
                    <a:pt x="18" y="464"/>
                  </a:lnTo>
                  <a:lnTo>
                    <a:pt x="29" y="435"/>
                  </a:lnTo>
                  <a:lnTo>
                    <a:pt x="35" y="417"/>
                  </a:lnTo>
                  <a:lnTo>
                    <a:pt x="41" y="394"/>
                  </a:lnTo>
                  <a:lnTo>
                    <a:pt x="47" y="354"/>
                  </a:lnTo>
                  <a:lnTo>
                    <a:pt x="41" y="354"/>
                  </a:lnTo>
                  <a:lnTo>
                    <a:pt x="41" y="330"/>
                  </a:lnTo>
                  <a:lnTo>
                    <a:pt x="35" y="313"/>
                  </a:lnTo>
                  <a:lnTo>
                    <a:pt x="12" y="278"/>
                  </a:lnTo>
                  <a:lnTo>
                    <a:pt x="6" y="249"/>
                  </a:lnTo>
                  <a:lnTo>
                    <a:pt x="12" y="249"/>
                  </a:lnTo>
                  <a:lnTo>
                    <a:pt x="12" y="238"/>
                  </a:lnTo>
                  <a:lnTo>
                    <a:pt x="6" y="220"/>
                  </a:lnTo>
                  <a:lnTo>
                    <a:pt x="0" y="214"/>
                  </a:lnTo>
                  <a:lnTo>
                    <a:pt x="12" y="197"/>
                  </a:lnTo>
                  <a:lnTo>
                    <a:pt x="18" y="174"/>
                  </a:lnTo>
                  <a:lnTo>
                    <a:pt x="18" y="168"/>
                  </a:lnTo>
                  <a:lnTo>
                    <a:pt x="18" y="156"/>
                  </a:lnTo>
                  <a:lnTo>
                    <a:pt x="18" y="151"/>
                  </a:lnTo>
                  <a:lnTo>
                    <a:pt x="18" y="139"/>
                  </a:lnTo>
                  <a:lnTo>
                    <a:pt x="29" y="127"/>
                  </a:lnTo>
                  <a:lnTo>
                    <a:pt x="29" y="110"/>
                  </a:lnTo>
                  <a:lnTo>
                    <a:pt x="35" y="110"/>
                  </a:lnTo>
                  <a:lnTo>
                    <a:pt x="53" y="98"/>
                  </a:lnTo>
                  <a:lnTo>
                    <a:pt x="64" y="81"/>
                  </a:lnTo>
                  <a:lnTo>
                    <a:pt x="64" y="98"/>
                  </a:lnTo>
                  <a:lnTo>
                    <a:pt x="64" y="122"/>
                  </a:lnTo>
                  <a:lnTo>
                    <a:pt x="70" y="98"/>
                  </a:lnTo>
                  <a:lnTo>
                    <a:pt x="76" y="110"/>
                  </a:lnTo>
                  <a:lnTo>
                    <a:pt x="70" y="122"/>
                  </a:lnTo>
                  <a:lnTo>
                    <a:pt x="76" y="122"/>
                  </a:lnTo>
                  <a:lnTo>
                    <a:pt x="76" y="110"/>
                  </a:lnTo>
                  <a:lnTo>
                    <a:pt x="82" y="93"/>
                  </a:lnTo>
                  <a:lnTo>
                    <a:pt x="76" y="69"/>
                  </a:lnTo>
                  <a:lnTo>
                    <a:pt x="76" y="64"/>
                  </a:lnTo>
                  <a:lnTo>
                    <a:pt x="87" y="52"/>
                  </a:lnTo>
                  <a:lnTo>
                    <a:pt x="99" y="52"/>
                  </a:lnTo>
                  <a:lnTo>
                    <a:pt x="105" y="46"/>
                  </a:lnTo>
                  <a:lnTo>
                    <a:pt x="105" y="40"/>
                  </a:lnTo>
                  <a:lnTo>
                    <a:pt x="99" y="35"/>
                  </a:lnTo>
                  <a:lnTo>
                    <a:pt x="99" y="17"/>
                  </a:lnTo>
                  <a:lnTo>
                    <a:pt x="105" y="17"/>
                  </a:lnTo>
                  <a:lnTo>
                    <a:pt x="99" y="5"/>
                  </a:lnTo>
                  <a:lnTo>
                    <a:pt x="116" y="5"/>
                  </a:lnTo>
                  <a:lnTo>
                    <a:pt x="122" y="0"/>
                  </a:lnTo>
                  <a:lnTo>
                    <a:pt x="128" y="0"/>
                  </a:lnTo>
                  <a:lnTo>
                    <a:pt x="140" y="11"/>
                  </a:lnTo>
                  <a:lnTo>
                    <a:pt x="169" y="11"/>
                  </a:lnTo>
                  <a:lnTo>
                    <a:pt x="174" y="23"/>
                  </a:lnTo>
                  <a:lnTo>
                    <a:pt x="198" y="23"/>
                  </a:lnTo>
                  <a:lnTo>
                    <a:pt x="215" y="35"/>
                  </a:lnTo>
                  <a:lnTo>
                    <a:pt x="227" y="35"/>
                  </a:lnTo>
                  <a:lnTo>
                    <a:pt x="238" y="52"/>
                  </a:lnTo>
                  <a:lnTo>
                    <a:pt x="250" y="64"/>
                  </a:lnTo>
                  <a:lnTo>
                    <a:pt x="238" y="64"/>
                  </a:lnTo>
                  <a:lnTo>
                    <a:pt x="238" y="75"/>
                  </a:lnTo>
                  <a:lnTo>
                    <a:pt x="244" y="81"/>
                  </a:lnTo>
                  <a:lnTo>
                    <a:pt x="250" y="87"/>
                  </a:lnTo>
                  <a:lnTo>
                    <a:pt x="256" y="98"/>
                  </a:lnTo>
                  <a:lnTo>
                    <a:pt x="256" y="12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6" name="Freeform 37"/>
            <p:cNvSpPr>
              <a:spLocks/>
            </p:cNvSpPr>
            <p:nvPr/>
          </p:nvSpPr>
          <p:spPr bwMode="auto">
            <a:xfrm>
              <a:off x="4071" y="1783"/>
              <a:ext cx="551" cy="273"/>
            </a:xfrm>
            <a:custGeom>
              <a:avLst/>
              <a:gdLst>
                <a:gd name="T0" fmla="*/ 307 w 551"/>
                <a:gd name="T1" fmla="*/ 192 h 273"/>
                <a:gd name="T2" fmla="*/ 290 w 551"/>
                <a:gd name="T3" fmla="*/ 192 h 273"/>
                <a:gd name="T4" fmla="*/ 278 w 551"/>
                <a:gd name="T5" fmla="*/ 186 h 273"/>
                <a:gd name="T6" fmla="*/ 244 w 551"/>
                <a:gd name="T7" fmla="*/ 256 h 273"/>
                <a:gd name="T8" fmla="*/ 238 w 551"/>
                <a:gd name="T9" fmla="*/ 273 h 273"/>
                <a:gd name="T10" fmla="*/ 209 w 551"/>
                <a:gd name="T11" fmla="*/ 204 h 273"/>
                <a:gd name="T12" fmla="*/ 197 w 551"/>
                <a:gd name="T13" fmla="*/ 198 h 273"/>
                <a:gd name="T14" fmla="*/ 191 w 551"/>
                <a:gd name="T15" fmla="*/ 192 h 273"/>
                <a:gd name="T16" fmla="*/ 185 w 551"/>
                <a:gd name="T17" fmla="*/ 180 h 273"/>
                <a:gd name="T18" fmla="*/ 156 w 551"/>
                <a:gd name="T19" fmla="*/ 174 h 273"/>
                <a:gd name="T20" fmla="*/ 145 w 551"/>
                <a:gd name="T21" fmla="*/ 174 h 273"/>
                <a:gd name="T22" fmla="*/ 127 w 551"/>
                <a:gd name="T23" fmla="*/ 174 h 273"/>
                <a:gd name="T24" fmla="*/ 116 w 551"/>
                <a:gd name="T25" fmla="*/ 169 h 273"/>
                <a:gd name="T26" fmla="*/ 46 w 551"/>
                <a:gd name="T27" fmla="*/ 151 h 273"/>
                <a:gd name="T28" fmla="*/ 23 w 551"/>
                <a:gd name="T29" fmla="*/ 145 h 273"/>
                <a:gd name="T30" fmla="*/ 0 w 551"/>
                <a:gd name="T31" fmla="*/ 122 h 273"/>
                <a:gd name="T32" fmla="*/ 35 w 551"/>
                <a:gd name="T33" fmla="*/ 105 h 273"/>
                <a:gd name="T34" fmla="*/ 52 w 551"/>
                <a:gd name="T35" fmla="*/ 87 h 273"/>
                <a:gd name="T36" fmla="*/ 87 w 551"/>
                <a:gd name="T37" fmla="*/ 76 h 273"/>
                <a:gd name="T38" fmla="*/ 116 w 551"/>
                <a:gd name="T39" fmla="*/ 53 h 273"/>
                <a:gd name="T40" fmla="*/ 145 w 551"/>
                <a:gd name="T41" fmla="*/ 29 h 273"/>
                <a:gd name="T42" fmla="*/ 174 w 551"/>
                <a:gd name="T43" fmla="*/ 6 h 273"/>
                <a:gd name="T44" fmla="*/ 203 w 551"/>
                <a:gd name="T45" fmla="*/ 6 h 273"/>
                <a:gd name="T46" fmla="*/ 168 w 551"/>
                <a:gd name="T47" fmla="*/ 35 h 273"/>
                <a:gd name="T48" fmla="*/ 156 w 551"/>
                <a:gd name="T49" fmla="*/ 53 h 273"/>
                <a:gd name="T50" fmla="*/ 151 w 551"/>
                <a:gd name="T51" fmla="*/ 70 h 273"/>
                <a:gd name="T52" fmla="*/ 185 w 551"/>
                <a:gd name="T53" fmla="*/ 70 h 273"/>
                <a:gd name="T54" fmla="*/ 220 w 551"/>
                <a:gd name="T55" fmla="*/ 82 h 273"/>
                <a:gd name="T56" fmla="*/ 261 w 551"/>
                <a:gd name="T57" fmla="*/ 111 h 273"/>
                <a:gd name="T58" fmla="*/ 296 w 551"/>
                <a:gd name="T59" fmla="*/ 105 h 273"/>
                <a:gd name="T60" fmla="*/ 296 w 551"/>
                <a:gd name="T61" fmla="*/ 105 h 273"/>
                <a:gd name="T62" fmla="*/ 336 w 551"/>
                <a:gd name="T63" fmla="*/ 82 h 273"/>
                <a:gd name="T64" fmla="*/ 365 w 551"/>
                <a:gd name="T65" fmla="*/ 76 h 273"/>
                <a:gd name="T66" fmla="*/ 406 w 551"/>
                <a:gd name="T67" fmla="*/ 64 h 273"/>
                <a:gd name="T68" fmla="*/ 423 w 551"/>
                <a:gd name="T69" fmla="*/ 87 h 273"/>
                <a:gd name="T70" fmla="*/ 447 w 551"/>
                <a:gd name="T71" fmla="*/ 93 h 273"/>
                <a:gd name="T72" fmla="*/ 464 w 551"/>
                <a:gd name="T73" fmla="*/ 93 h 273"/>
                <a:gd name="T74" fmla="*/ 487 w 551"/>
                <a:gd name="T75" fmla="*/ 82 h 273"/>
                <a:gd name="T76" fmla="*/ 493 w 551"/>
                <a:gd name="T77" fmla="*/ 76 h 273"/>
                <a:gd name="T78" fmla="*/ 499 w 551"/>
                <a:gd name="T79" fmla="*/ 93 h 273"/>
                <a:gd name="T80" fmla="*/ 510 w 551"/>
                <a:gd name="T81" fmla="*/ 116 h 273"/>
                <a:gd name="T82" fmla="*/ 522 w 551"/>
                <a:gd name="T83" fmla="*/ 128 h 273"/>
                <a:gd name="T84" fmla="*/ 534 w 551"/>
                <a:gd name="T85" fmla="*/ 122 h 273"/>
                <a:gd name="T86" fmla="*/ 551 w 551"/>
                <a:gd name="T87" fmla="*/ 128 h 273"/>
                <a:gd name="T88" fmla="*/ 534 w 551"/>
                <a:gd name="T89" fmla="*/ 140 h 273"/>
                <a:gd name="T90" fmla="*/ 516 w 551"/>
                <a:gd name="T91" fmla="*/ 140 h 273"/>
                <a:gd name="T92" fmla="*/ 481 w 551"/>
                <a:gd name="T93" fmla="*/ 145 h 273"/>
                <a:gd name="T94" fmla="*/ 458 w 551"/>
                <a:gd name="T95" fmla="*/ 140 h 273"/>
                <a:gd name="T96" fmla="*/ 435 w 551"/>
                <a:gd name="T97" fmla="*/ 145 h 273"/>
                <a:gd name="T98" fmla="*/ 394 w 551"/>
                <a:gd name="T99" fmla="*/ 140 h 273"/>
                <a:gd name="T100" fmla="*/ 377 w 551"/>
                <a:gd name="T101" fmla="*/ 157 h 273"/>
                <a:gd name="T102" fmla="*/ 360 w 551"/>
                <a:gd name="T103" fmla="*/ 163 h 273"/>
                <a:gd name="T104" fmla="*/ 336 w 551"/>
                <a:gd name="T105" fmla="*/ 163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51"/>
                <a:gd name="T160" fmla="*/ 0 h 273"/>
                <a:gd name="T161" fmla="*/ 551 w 551"/>
                <a:gd name="T162" fmla="*/ 273 h 2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51" h="273">
                  <a:moveTo>
                    <a:pt x="319" y="186"/>
                  </a:moveTo>
                  <a:lnTo>
                    <a:pt x="307" y="192"/>
                  </a:lnTo>
                  <a:lnTo>
                    <a:pt x="296" y="174"/>
                  </a:lnTo>
                  <a:lnTo>
                    <a:pt x="290" y="192"/>
                  </a:lnTo>
                  <a:lnTo>
                    <a:pt x="278" y="192"/>
                  </a:lnTo>
                  <a:lnTo>
                    <a:pt x="278" y="186"/>
                  </a:lnTo>
                  <a:lnTo>
                    <a:pt x="261" y="215"/>
                  </a:lnTo>
                  <a:lnTo>
                    <a:pt x="244" y="256"/>
                  </a:lnTo>
                  <a:lnTo>
                    <a:pt x="238" y="267"/>
                  </a:lnTo>
                  <a:lnTo>
                    <a:pt x="238" y="273"/>
                  </a:lnTo>
                  <a:lnTo>
                    <a:pt x="232" y="267"/>
                  </a:lnTo>
                  <a:lnTo>
                    <a:pt x="209" y="204"/>
                  </a:lnTo>
                  <a:lnTo>
                    <a:pt x="209" y="198"/>
                  </a:lnTo>
                  <a:lnTo>
                    <a:pt x="197" y="198"/>
                  </a:lnTo>
                  <a:lnTo>
                    <a:pt x="191" y="198"/>
                  </a:lnTo>
                  <a:lnTo>
                    <a:pt x="191" y="192"/>
                  </a:lnTo>
                  <a:lnTo>
                    <a:pt x="191" y="186"/>
                  </a:lnTo>
                  <a:lnTo>
                    <a:pt x="185" y="180"/>
                  </a:lnTo>
                  <a:lnTo>
                    <a:pt x="180" y="180"/>
                  </a:lnTo>
                  <a:lnTo>
                    <a:pt x="156" y="174"/>
                  </a:lnTo>
                  <a:lnTo>
                    <a:pt x="145" y="180"/>
                  </a:lnTo>
                  <a:lnTo>
                    <a:pt x="145" y="174"/>
                  </a:lnTo>
                  <a:lnTo>
                    <a:pt x="139" y="174"/>
                  </a:lnTo>
                  <a:lnTo>
                    <a:pt x="127" y="174"/>
                  </a:lnTo>
                  <a:lnTo>
                    <a:pt x="122" y="169"/>
                  </a:lnTo>
                  <a:lnTo>
                    <a:pt x="116" y="169"/>
                  </a:lnTo>
                  <a:lnTo>
                    <a:pt x="110" y="163"/>
                  </a:lnTo>
                  <a:lnTo>
                    <a:pt x="46" y="151"/>
                  </a:lnTo>
                  <a:lnTo>
                    <a:pt x="40" y="151"/>
                  </a:lnTo>
                  <a:lnTo>
                    <a:pt x="23" y="145"/>
                  </a:lnTo>
                  <a:lnTo>
                    <a:pt x="17" y="128"/>
                  </a:lnTo>
                  <a:lnTo>
                    <a:pt x="0" y="122"/>
                  </a:lnTo>
                  <a:lnTo>
                    <a:pt x="11" y="116"/>
                  </a:lnTo>
                  <a:lnTo>
                    <a:pt x="35" y="105"/>
                  </a:lnTo>
                  <a:lnTo>
                    <a:pt x="40" y="99"/>
                  </a:lnTo>
                  <a:lnTo>
                    <a:pt x="52" y="87"/>
                  </a:lnTo>
                  <a:lnTo>
                    <a:pt x="58" y="87"/>
                  </a:lnTo>
                  <a:lnTo>
                    <a:pt x="87" y="76"/>
                  </a:lnTo>
                  <a:lnTo>
                    <a:pt x="110" y="58"/>
                  </a:lnTo>
                  <a:lnTo>
                    <a:pt x="116" y="53"/>
                  </a:lnTo>
                  <a:lnTo>
                    <a:pt x="133" y="35"/>
                  </a:lnTo>
                  <a:lnTo>
                    <a:pt x="145" y="29"/>
                  </a:lnTo>
                  <a:lnTo>
                    <a:pt x="151" y="18"/>
                  </a:lnTo>
                  <a:lnTo>
                    <a:pt x="174" y="6"/>
                  </a:lnTo>
                  <a:lnTo>
                    <a:pt x="180" y="0"/>
                  </a:lnTo>
                  <a:lnTo>
                    <a:pt x="203" y="6"/>
                  </a:lnTo>
                  <a:lnTo>
                    <a:pt x="185" y="24"/>
                  </a:lnTo>
                  <a:lnTo>
                    <a:pt x="168" y="35"/>
                  </a:lnTo>
                  <a:lnTo>
                    <a:pt x="162" y="41"/>
                  </a:lnTo>
                  <a:lnTo>
                    <a:pt x="156" y="53"/>
                  </a:lnTo>
                  <a:lnTo>
                    <a:pt x="156" y="58"/>
                  </a:lnTo>
                  <a:lnTo>
                    <a:pt x="151" y="70"/>
                  </a:lnTo>
                  <a:lnTo>
                    <a:pt x="168" y="70"/>
                  </a:lnTo>
                  <a:lnTo>
                    <a:pt x="185" y="70"/>
                  </a:lnTo>
                  <a:lnTo>
                    <a:pt x="209" y="70"/>
                  </a:lnTo>
                  <a:lnTo>
                    <a:pt x="220" y="82"/>
                  </a:lnTo>
                  <a:lnTo>
                    <a:pt x="244" y="111"/>
                  </a:lnTo>
                  <a:lnTo>
                    <a:pt x="261" y="111"/>
                  </a:lnTo>
                  <a:lnTo>
                    <a:pt x="290" y="105"/>
                  </a:lnTo>
                  <a:lnTo>
                    <a:pt x="296" y="105"/>
                  </a:lnTo>
                  <a:lnTo>
                    <a:pt x="290" y="99"/>
                  </a:lnTo>
                  <a:lnTo>
                    <a:pt x="296" y="105"/>
                  </a:lnTo>
                  <a:lnTo>
                    <a:pt x="307" y="105"/>
                  </a:lnTo>
                  <a:lnTo>
                    <a:pt x="336" y="82"/>
                  </a:lnTo>
                  <a:lnTo>
                    <a:pt x="354" y="76"/>
                  </a:lnTo>
                  <a:lnTo>
                    <a:pt x="365" y="76"/>
                  </a:lnTo>
                  <a:lnTo>
                    <a:pt x="383" y="76"/>
                  </a:lnTo>
                  <a:lnTo>
                    <a:pt x="406" y="64"/>
                  </a:lnTo>
                  <a:lnTo>
                    <a:pt x="423" y="58"/>
                  </a:lnTo>
                  <a:lnTo>
                    <a:pt x="423" y="87"/>
                  </a:lnTo>
                  <a:lnTo>
                    <a:pt x="429" y="93"/>
                  </a:lnTo>
                  <a:lnTo>
                    <a:pt x="447" y="93"/>
                  </a:lnTo>
                  <a:lnTo>
                    <a:pt x="458" y="87"/>
                  </a:lnTo>
                  <a:lnTo>
                    <a:pt x="464" y="93"/>
                  </a:lnTo>
                  <a:lnTo>
                    <a:pt x="470" y="82"/>
                  </a:lnTo>
                  <a:lnTo>
                    <a:pt x="487" y="82"/>
                  </a:lnTo>
                  <a:lnTo>
                    <a:pt x="487" y="76"/>
                  </a:lnTo>
                  <a:lnTo>
                    <a:pt x="493" y="76"/>
                  </a:lnTo>
                  <a:lnTo>
                    <a:pt x="499" y="82"/>
                  </a:lnTo>
                  <a:lnTo>
                    <a:pt x="499" y="93"/>
                  </a:lnTo>
                  <a:lnTo>
                    <a:pt x="505" y="116"/>
                  </a:lnTo>
                  <a:lnTo>
                    <a:pt x="510" y="116"/>
                  </a:lnTo>
                  <a:lnTo>
                    <a:pt x="516" y="128"/>
                  </a:lnTo>
                  <a:lnTo>
                    <a:pt x="522" y="128"/>
                  </a:lnTo>
                  <a:lnTo>
                    <a:pt x="522" y="122"/>
                  </a:lnTo>
                  <a:lnTo>
                    <a:pt x="534" y="122"/>
                  </a:lnTo>
                  <a:lnTo>
                    <a:pt x="540" y="122"/>
                  </a:lnTo>
                  <a:lnTo>
                    <a:pt x="551" y="128"/>
                  </a:lnTo>
                  <a:lnTo>
                    <a:pt x="545" y="140"/>
                  </a:lnTo>
                  <a:lnTo>
                    <a:pt x="534" y="140"/>
                  </a:lnTo>
                  <a:lnTo>
                    <a:pt x="522" y="140"/>
                  </a:lnTo>
                  <a:lnTo>
                    <a:pt x="516" y="140"/>
                  </a:lnTo>
                  <a:lnTo>
                    <a:pt x="505" y="140"/>
                  </a:lnTo>
                  <a:lnTo>
                    <a:pt x="481" y="145"/>
                  </a:lnTo>
                  <a:lnTo>
                    <a:pt x="464" y="140"/>
                  </a:lnTo>
                  <a:lnTo>
                    <a:pt x="458" y="140"/>
                  </a:lnTo>
                  <a:lnTo>
                    <a:pt x="458" y="163"/>
                  </a:lnTo>
                  <a:lnTo>
                    <a:pt x="435" y="145"/>
                  </a:lnTo>
                  <a:lnTo>
                    <a:pt x="423" y="140"/>
                  </a:lnTo>
                  <a:lnTo>
                    <a:pt x="394" y="140"/>
                  </a:lnTo>
                  <a:lnTo>
                    <a:pt x="383" y="151"/>
                  </a:lnTo>
                  <a:lnTo>
                    <a:pt x="377" y="157"/>
                  </a:lnTo>
                  <a:lnTo>
                    <a:pt x="365" y="157"/>
                  </a:lnTo>
                  <a:lnTo>
                    <a:pt x="360" y="163"/>
                  </a:lnTo>
                  <a:lnTo>
                    <a:pt x="348" y="163"/>
                  </a:lnTo>
                  <a:lnTo>
                    <a:pt x="336" y="163"/>
                  </a:lnTo>
                  <a:lnTo>
                    <a:pt x="319" y="18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7" name="Freeform 38"/>
            <p:cNvSpPr>
              <a:spLocks/>
            </p:cNvSpPr>
            <p:nvPr/>
          </p:nvSpPr>
          <p:spPr bwMode="auto">
            <a:xfrm>
              <a:off x="4535" y="1940"/>
              <a:ext cx="23" cy="12"/>
            </a:xfrm>
            <a:custGeom>
              <a:avLst/>
              <a:gdLst>
                <a:gd name="T0" fmla="*/ 0 w 23"/>
                <a:gd name="T1" fmla="*/ 0 h 12"/>
                <a:gd name="T2" fmla="*/ 23 w 23"/>
                <a:gd name="T3" fmla="*/ 12 h 12"/>
                <a:gd name="T4" fmla="*/ 17 w 23"/>
                <a:gd name="T5" fmla="*/ 12 h 12"/>
                <a:gd name="T6" fmla="*/ 0 w 23"/>
                <a:gd name="T7" fmla="*/ 0 h 12"/>
                <a:gd name="T8" fmla="*/ 0 60000 65536"/>
                <a:gd name="T9" fmla="*/ 0 60000 65536"/>
                <a:gd name="T10" fmla="*/ 0 60000 65536"/>
                <a:gd name="T11" fmla="*/ 0 60000 65536"/>
                <a:gd name="T12" fmla="*/ 0 w 23"/>
                <a:gd name="T13" fmla="*/ 0 h 12"/>
                <a:gd name="T14" fmla="*/ 23 w 23"/>
                <a:gd name="T15" fmla="*/ 12 h 12"/>
              </a:gdLst>
              <a:ahLst/>
              <a:cxnLst>
                <a:cxn ang="T8">
                  <a:pos x="T0" y="T1"/>
                </a:cxn>
                <a:cxn ang="T9">
                  <a:pos x="T2" y="T3"/>
                </a:cxn>
                <a:cxn ang="T10">
                  <a:pos x="T4" y="T5"/>
                </a:cxn>
                <a:cxn ang="T11">
                  <a:pos x="T6" y="T7"/>
                </a:cxn>
              </a:cxnLst>
              <a:rect l="T12" t="T13" r="T14" b="T15"/>
              <a:pathLst>
                <a:path w="23" h="12">
                  <a:moveTo>
                    <a:pt x="0" y="0"/>
                  </a:moveTo>
                  <a:lnTo>
                    <a:pt x="23" y="12"/>
                  </a:lnTo>
                  <a:lnTo>
                    <a:pt x="17" y="12"/>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8" name="Freeform 39"/>
            <p:cNvSpPr>
              <a:spLocks/>
            </p:cNvSpPr>
            <p:nvPr/>
          </p:nvSpPr>
          <p:spPr bwMode="auto">
            <a:xfrm>
              <a:off x="4169" y="1731"/>
              <a:ext cx="24" cy="6"/>
            </a:xfrm>
            <a:custGeom>
              <a:avLst/>
              <a:gdLst>
                <a:gd name="T0" fmla="*/ 0 w 24"/>
                <a:gd name="T1" fmla="*/ 0 h 6"/>
                <a:gd name="T2" fmla="*/ 24 w 24"/>
                <a:gd name="T3" fmla="*/ 0 h 6"/>
                <a:gd name="T4" fmla="*/ 18 w 24"/>
                <a:gd name="T5" fmla="*/ 0 h 6"/>
                <a:gd name="T6" fmla="*/ 12 w 24"/>
                <a:gd name="T7" fmla="*/ 6 h 6"/>
                <a:gd name="T8" fmla="*/ 0 w 24"/>
                <a:gd name="T9" fmla="*/ 0 h 6"/>
                <a:gd name="T10" fmla="*/ 0 60000 65536"/>
                <a:gd name="T11" fmla="*/ 0 60000 65536"/>
                <a:gd name="T12" fmla="*/ 0 60000 65536"/>
                <a:gd name="T13" fmla="*/ 0 60000 65536"/>
                <a:gd name="T14" fmla="*/ 0 60000 65536"/>
                <a:gd name="T15" fmla="*/ 0 w 24"/>
                <a:gd name="T16" fmla="*/ 0 h 6"/>
                <a:gd name="T17" fmla="*/ 24 w 24"/>
                <a:gd name="T18" fmla="*/ 6 h 6"/>
              </a:gdLst>
              <a:ahLst/>
              <a:cxnLst>
                <a:cxn ang="T10">
                  <a:pos x="T0" y="T1"/>
                </a:cxn>
                <a:cxn ang="T11">
                  <a:pos x="T2" y="T3"/>
                </a:cxn>
                <a:cxn ang="T12">
                  <a:pos x="T4" y="T5"/>
                </a:cxn>
                <a:cxn ang="T13">
                  <a:pos x="T6" y="T7"/>
                </a:cxn>
                <a:cxn ang="T14">
                  <a:pos x="T8" y="T9"/>
                </a:cxn>
              </a:cxnLst>
              <a:rect l="T15" t="T16" r="T17" b="T18"/>
              <a:pathLst>
                <a:path w="24" h="6">
                  <a:moveTo>
                    <a:pt x="0" y="0"/>
                  </a:moveTo>
                  <a:lnTo>
                    <a:pt x="24" y="0"/>
                  </a:lnTo>
                  <a:lnTo>
                    <a:pt x="18" y="0"/>
                  </a:lnTo>
                  <a:lnTo>
                    <a:pt x="12" y="6"/>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49" name="Freeform 40"/>
            <p:cNvSpPr>
              <a:spLocks/>
            </p:cNvSpPr>
            <p:nvPr/>
          </p:nvSpPr>
          <p:spPr bwMode="auto">
            <a:xfrm>
              <a:off x="4164" y="2944"/>
              <a:ext cx="783" cy="278"/>
            </a:xfrm>
            <a:custGeom>
              <a:avLst/>
              <a:gdLst>
                <a:gd name="T0" fmla="*/ 81 w 783"/>
                <a:gd name="T1" fmla="*/ 98 h 278"/>
                <a:gd name="T2" fmla="*/ 63 w 783"/>
                <a:gd name="T3" fmla="*/ 116 h 278"/>
                <a:gd name="T4" fmla="*/ 58 w 783"/>
                <a:gd name="T5" fmla="*/ 139 h 278"/>
                <a:gd name="T6" fmla="*/ 58 w 783"/>
                <a:gd name="T7" fmla="*/ 168 h 278"/>
                <a:gd name="T8" fmla="*/ 34 w 783"/>
                <a:gd name="T9" fmla="*/ 214 h 278"/>
                <a:gd name="T10" fmla="*/ 17 w 783"/>
                <a:gd name="T11" fmla="*/ 226 h 278"/>
                <a:gd name="T12" fmla="*/ 17 w 783"/>
                <a:gd name="T13" fmla="*/ 226 h 278"/>
                <a:gd name="T14" fmla="*/ 17 w 783"/>
                <a:gd name="T15" fmla="*/ 261 h 278"/>
                <a:gd name="T16" fmla="*/ 46 w 783"/>
                <a:gd name="T17" fmla="*/ 272 h 278"/>
                <a:gd name="T18" fmla="*/ 75 w 783"/>
                <a:gd name="T19" fmla="*/ 272 h 278"/>
                <a:gd name="T20" fmla="*/ 98 w 783"/>
                <a:gd name="T21" fmla="*/ 272 h 278"/>
                <a:gd name="T22" fmla="*/ 116 w 783"/>
                <a:gd name="T23" fmla="*/ 266 h 278"/>
                <a:gd name="T24" fmla="*/ 133 w 783"/>
                <a:gd name="T25" fmla="*/ 266 h 278"/>
                <a:gd name="T26" fmla="*/ 151 w 783"/>
                <a:gd name="T27" fmla="*/ 266 h 278"/>
                <a:gd name="T28" fmla="*/ 197 w 783"/>
                <a:gd name="T29" fmla="*/ 261 h 278"/>
                <a:gd name="T30" fmla="*/ 249 w 783"/>
                <a:gd name="T31" fmla="*/ 255 h 278"/>
                <a:gd name="T32" fmla="*/ 290 w 783"/>
                <a:gd name="T33" fmla="*/ 249 h 278"/>
                <a:gd name="T34" fmla="*/ 330 w 783"/>
                <a:gd name="T35" fmla="*/ 249 h 278"/>
                <a:gd name="T36" fmla="*/ 377 w 783"/>
                <a:gd name="T37" fmla="*/ 243 h 278"/>
                <a:gd name="T38" fmla="*/ 417 w 783"/>
                <a:gd name="T39" fmla="*/ 237 h 278"/>
                <a:gd name="T40" fmla="*/ 452 w 783"/>
                <a:gd name="T41" fmla="*/ 237 h 278"/>
                <a:gd name="T42" fmla="*/ 476 w 783"/>
                <a:gd name="T43" fmla="*/ 232 h 278"/>
                <a:gd name="T44" fmla="*/ 516 w 783"/>
                <a:gd name="T45" fmla="*/ 226 h 278"/>
                <a:gd name="T46" fmla="*/ 534 w 783"/>
                <a:gd name="T47" fmla="*/ 226 h 278"/>
                <a:gd name="T48" fmla="*/ 563 w 783"/>
                <a:gd name="T49" fmla="*/ 220 h 278"/>
                <a:gd name="T50" fmla="*/ 563 w 783"/>
                <a:gd name="T51" fmla="*/ 191 h 278"/>
                <a:gd name="T52" fmla="*/ 586 w 783"/>
                <a:gd name="T53" fmla="*/ 174 h 278"/>
                <a:gd name="T54" fmla="*/ 592 w 783"/>
                <a:gd name="T55" fmla="*/ 162 h 278"/>
                <a:gd name="T56" fmla="*/ 615 w 783"/>
                <a:gd name="T57" fmla="*/ 145 h 278"/>
                <a:gd name="T58" fmla="*/ 661 w 783"/>
                <a:gd name="T59" fmla="*/ 116 h 278"/>
                <a:gd name="T60" fmla="*/ 679 w 783"/>
                <a:gd name="T61" fmla="*/ 104 h 278"/>
                <a:gd name="T62" fmla="*/ 690 w 783"/>
                <a:gd name="T63" fmla="*/ 87 h 278"/>
                <a:gd name="T64" fmla="*/ 702 w 783"/>
                <a:gd name="T65" fmla="*/ 87 h 278"/>
                <a:gd name="T66" fmla="*/ 719 w 783"/>
                <a:gd name="T67" fmla="*/ 75 h 278"/>
                <a:gd name="T68" fmla="*/ 737 w 783"/>
                <a:gd name="T69" fmla="*/ 58 h 278"/>
                <a:gd name="T70" fmla="*/ 754 w 783"/>
                <a:gd name="T71" fmla="*/ 63 h 278"/>
                <a:gd name="T72" fmla="*/ 766 w 783"/>
                <a:gd name="T73" fmla="*/ 34 h 278"/>
                <a:gd name="T74" fmla="*/ 777 w 783"/>
                <a:gd name="T75" fmla="*/ 11 h 278"/>
                <a:gd name="T76" fmla="*/ 772 w 783"/>
                <a:gd name="T77" fmla="*/ 0 h 278"/>
                <a:gd name="T78" fmla="*/ 737 w 783"/>
                <a:gd name="T79" fmla="*/ 11 h 278"/>
                <a:gd name="T80" fmla="*/ 713 w 783"/>
                <a:gd name="T81" fmla="*/ 11 h 278"/>
                <a:gd name="T82" fmla="*/ 690 w 783"/>
                <a:gd name="T83" fmla="*/ 17 h 278"/>
                <a:gd name="T84" fmla="*/ 661 w 783"/>
                <a:gd name="T85" fmla="*/ 23 h 278"/>
                <a:gd name="T86" fmla="*/ 615 w 783"/>
                <a:gd name="T87" fmla="*/ 29 h 278"/>
                <a:gd name="T88" fmla="*/ 597 w 783"/>
                <a:gd name="T89" fmla="*/ 34 h 278"/>
                <a:gd name="T90" fmla="*/ 568 w 783"/>
                <a:gd name="T91" fmla="*/ 34 h 278"/>
                <a:gd name="T92" fmla="*/ 528 w 783"/>
                <a:gd name="T93" fmla="*/ 40 h 278"/>
                <a:gd name="T94" fmla="*/ 493 w 783"/>
                <a:gd name="T95" fmla="*/ 46 h 278"/>
                <a:gd name="T96" fmla="*/ 476 w 783"/>
                <a:gd name="T97" fmla="*/ 46 h 278"/>
                <a:gd name="T98" fmla="*/ 447 w 783"/>
                <a:gd name="T99" fmla="*/ 46 h 278"/>
                <a:gd name="T100" fmla="*/ 417 w 783"/>
                <a:gd name="T101" fmla="*/ 52 h 278"/>
                <a:gd name="T102" fmla="*/ 394 w 783"/>
                <a:gd name="T103" fmla="*/ 52 h 278"/>
                <a:gd name="T104" fmla="*/ 371 w 783"/>
                <a:gd name="T105" fmla="*/ 58 h 278"/>
                <a:gd name="T106" fmla="*/ 354 w 783"/>
                <a:gd name="T107" fmla="*/ 58 h 278"/>
                <a:gd name="T108" fmla="*/ 330 w 783"/>
                <a:gd name="T109" fmla="*/ 58 h 278"/>
                <a:gd name="T110" fmla="*/ 307 w 783"/>
                <a:gd name="T111" fmla="*/ 63 h 278"/>
                <a:gd name="T112" fmla="*/ 284 w 783"/>
                <a:gd name="T113" fmla="*/ 63 h 278"/>
                <a:gd name="T114" fmla="*/ 249 w 783"/>
                <a:gd name="T115" fmla="*/ 69 h 278"/>
                <a:gd name="T116" fmla="*/ 214 w 783"/>
                <a:gd name="T117" fmla="*/ 69 h 278"/>
                <a:gd name="T118" fmla="*/ 197 w 783"/>
                <a:gd name="T119" fmla="*/ 87 h 278"/>
                <a:gd name="T120" fmla="*/ 156 w 783"/>
                <a:gd name="T121" fmla="*/ 92 h 278"/>
                <a:gd name="T122" fmla="*/ 127 w 783"/>
                <a:gd name="T123" fmla="*/ 92 h 27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83"/>
                <a:gd name="T187" fmla="*/ 0 h 278"/>
                <a:gd name="T188" fmla="*/ 783 w 783"/>
                <a:gd name="T189" fmla="*/ 278 h 27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83" h="278">
                  <a:moveTo>
                    <a:pt x="127" y="92"/>
                  </a:moveTo>
                  <a:lnTo>
                    <a:pt x="116" y="98"/>
                  </a:lnTo>
                  <a:lnTo>
                    <a:pt x="81" y="98"/>
                  </a:lnTo>
                  <a:lnTo>
                    <a:pt x="75" y="98"/>
                  </a:lnTo>
                  <a:lnTo>
                    <a:pt x="63" y="98"/>
                  </a:lnTo>
                  <a:lnTo>
                    <a:pt x="63" y="116"/>
                  </a:lnTo>
                  <a:lnTo>
                    <a:pt x="63" y="127"/>
                  </a:lnTo>
                  <a:lnTo>
                    <a:pt x="46" y="127"/>
                  </a:lnTo>
                  <a:lnTo>
                    <a:pt x="58" y="139"/>
                  </a:lnTo>
                  <a:lnTo>
                    <a:pt x="58" y="145"/>
                  </a:lnTo>
                  <a:lnTo>
                    <a:pt x="46" y="156"/>
                  </a:lnTo>
                  <a:lnTo>
                    <a:pt x="58" y="168"/>
                  </a:lnTo>
                  <a:lnTo>
                    <a:pt x="46" y="168"/>
                  </a:lnTo>
                  <a:lnTo>
                    <a:pt x="34" y="185"/>
                  </a:lnTo>
                  <a:lnTo>
                    <a:pt x="34" y="214"/>
                  </a:lnTo>
                  <a:lnTo>
                    <a:pt x="29" y="208"/>
                  </a:lnTo>
                  <a:lnTo>
                    <a:pt x="23" y="214"/>
                  </a:lnTo>
                  <a:lnTo>
                    <a:pt x="17" y="226"/>
                  </a:lnTo>
                  <a:lnTo>
                    <a:pt x="11" y="232"/>
                  </a:lnTo>
                  <a:lnTo>
                    <a:pt x="17" y="232"/>
                  </a:lnTo>
                  <a:lnTo>
                    <a:pt x="17" y="226"/>
                  </a:lnTo>
                  <a:lnTo>
                    <a:pt x="17" y="232"/>
                  </a:lnTo>
                  <a:lnTo>
                    <a:pt x="23" y="261"/>
                  </a:lnTo>
                  <a:lnTo>
                    <a:pt x="17" y="261"/>
                  </a:lnTo>
                  <a:lnTo>
                    <a:pt x="0" y="278"/>
                  </a:lnTo>
                  <a:lnTo>
                    <a:pt x="29" y="272"/>
                  </a:lnTo>
                  <a:lnTo>
                    <a:pt x="46" y="272"/>
                  </a:lnTo>
                  <a:lnTo>
                    <a:pt x="58" y="272"/>
                  </a:lnTo>
                  <a:lnTo>
                    <a:pt x="63" y="272"/>
                  </a:lnTo>
                  <a:lnTo>
                    <a:pt x="75" y="272"/>
                  </a:lnTo>
                  <a:lnTo>
                    <a:pt x="81" y="272"/>
                  </a:lnTo>
                  <a:lnTo>
                    <a:pt x="92" y="272"/>
                  </a:lnTo>
                  <a:lnTo>
                    <a:pt x="98" y="272"/>
                  </a:lnTo>
                  <a:lnTo>
                    <a:pt x="98" y="266"/>
                  </a:lnTo>
                  <a:lnTo>
                    <a:pt x="104" y="266"/>
                  </a:lnTo>
                  <a:lnTo>
                    <a:pt x="116" y="266"/>
                  </a:lnTo>
                  <a:lnTo>
                    <a:pt x="121" y="266"/>
                  </a:lnTo>
                  <a:lnTo>
                    <a:pt x="127" y="266"/>
                  </a:lnTo>
                  <a:lnTo>
                    <a:pt x="133" y="266"/>
                  </a:lnTo>
                  <a:lnTo>
                    <a:pt x="139" y="266"/>
                  </a:lnTo>
                  <a:lnTo>
                    <a:pt x="145" y="266"/>
                  </a:lnTo>
                  <a:lnTo>
                    <a:pt x="151" y="266"/>
                  </a:lnTo>
                  <a:lnTo>
                    <a:pt x="162" y="266"/>
                  </a:lnTo>
                  <a:lnTo>
                    <a:pt x="185" y="261"/>
                  </a:lnTo>
                  <a:lnTo>
                    <a:pt x="197" y="261"/>
                  </a:lnTo>
                  <a:lnTo>
                    <a:pt x="220" y="255"/>
                  </a:lnTo>
                  <a:lnTo>
                    <a:pt x="226" y="255"/>
                  </a:lnTo>
                  <a:lnTo>
                    <a:pt x="249" y="255"/>
                  </a:lnTo>
                  <a:lnTo>
                    <a:pt x="255" y="255"/>
                  </a:lnTo>
                  <a:lnTo>
                    <a:pt x="278" y="255"/>
                  </a:lnTo>
                  <a:lnTo>
                    <a:pt x="290" y="249"/>
                  </a:lnTo>
                  <a:lnTo>
                    <a:pt x="319" y="249"/>
                  </a:lnTo>
                  <a:lnTo>
                    <a:pt x="325" y="249"/>
                  </a:lnTo>
                  <a:lnTo>
                    <a:pt x="330" y="249"/>
                  </a:lnTo>
                  <a:lnTo>
                    <a:pt x="359" y="243"/>
                  </a:lnTo>
                  <a:lnTo>
                    <a:pt x="371" y="243"/>
                  </a:lnTo>
                  <a:lnTo>
                    <a:pt x="377" y="243"/>
                  </a:lnTo>
                  <a:lnTo>
                    <a:pt x="383" y="243"/>
                  </a:lnTo>
                  <a:lnTo>
                    <a:pt x="400" y="243"/>
                  </a:lnTo>
                  <a:lnTo>
                    <a:pt x="417" y="237"/>
                  </a:lnTo>
                  <a:lnTo>
                    <a:pt x="423" y="237"/>
                  </a:lnTo>
                  <a:lnTo>
                    <a:pt x="441" y="237"/>
                  </a:lnTo>
                  <a:lnTo>
                    <a:pt x="452" y="237"/>
                  </a:lnTo>
                  <a:lnTo>
                    <a:pt x="464" y="232"/>
                  </a:lnTo>
                  <a:lnTo>
                    <a:pt x="470" y="232"/>
                  </a:lnTo>
                  <a:lnTo>
                    <a:pt x="476" y="232"/>
                  </a:lnTo>
                  <a:lnTo>
                    <a:pt x="499" y="232"/>
                  </a:lnTo>
                  <a:lnTo>
                    <a:pt x="505" y="226"/>
                  </a:lnTo>
                  <a:lnTo>
                    <a:pt x="516" y="226"/>
                  </a:lnTo>
                  <a:lnTo>
                    <a:pt x="522" y="226"/>
                  </a:lnTo>
                  <a:lnTo>
                    <a:pt x="528" y="226"/>
                  </a:lnTo>
                  <a:lnTo>
                    <a:pt x="534" y="226"/>
                  </a:lnTo>
                  <a:lnTo>
                    <a:pt x="545" y="220"/>
                  </a:lnTo>
                  <a:lnTo>
                    <a:pt x="557" y="220"/>
                  </a:lnTo>
                  <a:lnTo>
                    <a:pt x="563" y="220"/>
                  </a:lnTo>
                  <a:lnTo>
                    <a:pt x="563" y="203"/>
                  </a:lnTo>
                  <a:lnTo>
                    <a:pt x="563" y="197"/>
                  </a:lnTo>
                  <a:lnTo>
                    <a:pt x="563" y="191"/>
                  </a:lnTo>
                  <a:lnTo>
                    <a:pt x="580" y="191"/>
                  </a:lnTo>
                  <a:lnTo>
                    <a:pt x="586" y="185"/>
                  </a:lnTo>
                  <a:lnTo>
                    <a:pt x="586" y="174"/>
                  </a:lnTo>
                  <a:lnTo>
                    <a:pt x="586" y="168"/>
                  </a:lnTo>
                  <a:lnTo>
                    <a:pt x="586" y="162"/>
                  </a:lnTo>
                  <a:lnTo>
                    <a:pt x="592" y="162"/>
                  </a:lnTo>
                  <a:lnTo>
                    <a:pt x="597" y="156"/>
                  </a:lnTo>
                  <a:lnTo>
                    <a:pt x="609" y="150"/>
                  </a:lnTo>
                  <a:lnTo>
                    <a:pt x="615" y="145"/>
                  </a:lnTo>
                  <a:lnTo>
                    <a:pt x="632" y="145"/>
                  </a:lnTo>
                  <a:lnTo>
                    <a:pt x="650" y="127"/>
                  </a:lnTo>
                  <a:lnTo>
                    <a:pt x="661" y="116"/>
                  </a:lnTo>
                  <a:lnTo>
                    <a:pt x="673" y="116"/>
                  </a:lnTo>
                  <a:lnTo>
                    <a:pt x="673" y="110"/>
                  </a:lnTo>
                  <a:lnTo>
                    <a:pt x="679" y="104"/>
                  </a:lnTo>
                  <a:lnTo>
                    <a:pt x="679" y="98"/>
                  </a:lnTo>
                  <a:lnTo>
                    <a:pt x="679" y="92"/>
                  </a:lnTo>
                  <a:lnTo>
                    <a:pt x="690" y="87"/>
                  </a:lnTo>
                  <a:lnTo>
                    <a:pt x="702" y="75"/>
                  </a:lnTo>
                  <a:lnTo>
                    <a:pt x="702" y="81"/>
                  </a:lnTo>
                  <a:lnTo>
                    <a:pt x="702" y="87"/>
                  </a:lnTo>
                  <a:lnTo>
                    <a:pt x="713" y="87"/>
                  </a:lnTo>
                  <a:lnTo>
                    <a:pt x="719" y="81"/>
                  </a:lnTo>
                  <a:lnTo>
                    <a:pt x="719" y="75"/>
                  </a:lnTo>
                  <a:lnTo>
                    <a:pt x="725" y="69"/>
                  </a:lnTo>
                  <a:lnTo>
                    <a:pt x="737" y="63"/>
                  </a:lnTo>
                  <a:lnTo>
                    <a:pt x="737" y="58"/>
                  </a:lnTo>
                  <a:lnTo>
                    <a:pt x="743" y="63"/>
                  </a:lnTo>
                  <a:lnTo>
                    <a:pt x="748" y="63"/>
                  </a:lnTo>
                  <a:lnTo>
                    <a:pt x="754" y="63"/>
                  </a:lnTo>
                  <a:lnTo>
                    <a:pt x="760" y="46"/>
                  </a:lnTo>
                  <a:lnTo>
                    <a:pt x="760" y="40"/>
                  </a:lnTo>
                  <a:lnTo>
                    <a:pt x="766" y="34"/>
                  </a:lnTo>
                  <a:lnTo>
                    <a:pt x="777" y="34"/>
                  </a:lnTo>
                  <a:lnTo>
                    <a:pt x="777" y="29"/>
                  </a:lnTo>
                  <a:lnTo>
                    <a:pt x="777" y="11"/>
                  </a:lnTo>
                  <a:lnTo>
                    <a:pt x="777" y="5"/>
                  </a:lnTo>
                  <a:lnTo>
                    <a:pt x="783" y="0"/>
                  </a:lnTo>
                  <a:lnTo>
                    <a:pt x="772" y="0"/>
                  </a:lnTo>
                  <a:lnTo>
                    <a:pt x="766" y="5"/>
                  </a:lnTo>
                  <a:lnTo>
                    <a:pt x="754" y="5"/>
                  </a:lnTo>
                  <a:lnTo>
                    <a:pt x="737" y="11"/>
                  </a:lnTo>
                  <a:lnTo>
                    <a:pt x="731" y="11"/>
                  </a:lnTo>
                  <a:lnTo>
                    <a:pt x="725" y="11"/>
                  </a:lnTo>
                  <a:lnTo>
                    <a:pt x="713" y="11"/>
                  </a:lnTo>
                  <a:lnTo>
                    <a:pt x="702" y="17"/>
                  </a:lnTo>
                  <a:lnTo>
                    <a:pt x="696" y="17"/>
                  </a:lnTo>
                  <a:lnTo>
                    <a:pt x="690" y="17"/>
                  </a:lnTo>
                  <a:lnTo>
                    <a:pt x="673" y="17"/>
                  </a:lnTo>
                  <a:lnTo>
                    <a:pt x="667" y="23"/>
                  </a:lnTo>
                  <a:lnTo>
                    <a:pt x="661" y="23"/>
                  </a:lnTo>
                  <a:lnTo>
                    <a:pt x="632" y="29"/>
                  </a:lnTo>
                  <a:lnTo>
                    <a:pt x="632" y="23"/>
                  </a:lnTo>
                  <a:lnTo>
                    <a:pt x="615" y="29"/>
                  </a:lnTo>
                  <a:lnTo>
                    <a:pt x="603" y="29"/>
                  </a:lnTo>
                  <a:lnTo>
                    <a:pt x="597" y="29"/>
                  </a:lnTo>
                  <a:lnTo>
                    <a:pt x="597" y="34"/>
                  </a:lnTo>
                  <a:lnTo>
                    <a:pt x="586" y="34"/>
                  </a:lnTo>
                  <a:lnTo>
                    <a:pt x="574" y="34"/>
                  </a:lnTo>
                  <a:lnTo>
                    <a:pt x="568" y="34"/>
                  </a:lnTo>
                  <a:lnTo>
                    <a:pt x="557" y="34"/>
                  </a:lnTo>
                  <a:lnTo>
                    <a:pt x="545" y="40"/>
                  </a:lnTo>
                  <a:lnTo>
                    <a:pt x="528" y="40"/>
                  </a:lnTo>
                  <a:lnTo>
                    <a:pt x="516" y="40"/>
                  </a:lnTo>
                  <a:lnTo>
                    <a:pt x="499" y="46"/>
                  </a:lnTo>
                  <a:lnTo>
                    <a:pt x="493" y="46"/>
                  </a:lnTo>
                  <a:lnTo>
                    <a:pt x="487" y="46"/>
                  </a:lnTo>
                  <a:lnTo>
                    <a:pt x="481" y="46"/>
                  </a:lnTo>
                  <a:lnTo>
                    <a:pt x="476" y="46"/>
                  </a:lnTo>
                  <a:lnTo>
                    <a:pt x="464" y="46"/>
                  </a:lnTo>
                  <a:lnTo>
                    <a:pt x="452" y="46"/>
                  </a:lnTo>
                  <a:lnTo>
                    <a:pt x="447" y="46"/>
                  </a:lnTo>
                  <a:lnTo>
                    <a:pt x="435" y="52"/>
                  </a:lnTo>
                  <a:lnTo>
                    <a:pt x="429" y="52"/>
                  </a:lnTo>
                  <a:lnTo>
                    <a:pt x="417" y="52"/>
                  </a:lnTo>
                  <a:lnTo>
                    <a:pt x="406" y="52"/>
                  </a:lnTo>
                  <a:lnTo>
                    <a:pt x="400" y="52"/>
                  </a:lnTo>
                  <a:lnTo>
                    <a:pt x="394" y="52"/>
                  </a:lnTo>
                  <a:lnTo>
                    <a:pt x="388" y="52"/>
                  </a:lnTo>
                  <a:lnTo>
                    <a:pt x="383" y="52"/>
                  </a:lnTo>
                  <a:lnTo>
                    <a:pt x="371" y="58"/>
                  </a:lnTo>
                  <a:lnTo>
                    <a:pt x="365" y="58"/>
                  </a:lnTo>
                  <a:lnTo>
                    <a:pt x="359" y="58"/>
                  </a:lnTo>
                  <a:lnTo>
                    <a:pt x="354" y="58"/>
                  </a:lnTo>
                  <a:lnTo>
                    <a:pt x="348" y="58"/>
                  </a:lnTo>
                  <a:lnTo>
                    <a:pt x="336" y="58"/>
                  </a:lnTo>
                  <a:lnTo>
                    <a:pt x="330" y="58"/>
                  </a:lnTo>
                  <a:lnTo>
                    <a:pt x="319" y="58"/>
                  </a:lnTo>
                  <a:lnTo>
                    <a:pt x="313" y="58"/>
                  </a:lnTo>
                  <a:lnTo>
                    <a:pt x="307" y="63"/>
                  </a:lnTo>
                  <a:lnTo>
                    <a:pt x="301" y="63"/>
                  </a:lnTo>
                  <a:lnTo>
                    <a:pt x="290" y="63"/>
                  </a:lnTo>
                  <a:lnTo>
                    <a:pt x="284" y="63"/>
                  </a:lnTo>
                  <a:lnTo>
                    <a:pt x="272" y="63"/>
                  </a:lnTo>
                  <a:lnTo>
                    <a:pt x="261" y="63"/>
                  </a:lnTo>
                  <a:lnTo>
                    <a:pt x="249" y="69"/>
                  </a:lnTo>
                  <a:lnTo>
                    <a:pt x="243" y="69"/>
                  </a:lnTo>
                  <a:lnTo>
                    <a:pt x="232" y="69"/>
                  </a:lnTo>
                  <a:lnTo>
                    <a:pt x="214" y="69"/>
                  </a:lnTo>
                  <a:lnTo>
                    <a:pt x="197" y="69"/>
                  </a:lnTo>
                  <a:lnTo>
                    <a:pt x="197" y="75"/>
                  </a:lnTo>
                  <a:lnTo>
                    <a:pt x="197" y="87"/>
                  </a:lnTo>
                  <a:lnTo>
                    <a:pt x="180" y="92"/>
                  </a:lnTo>
                  <a:lnTo>
                    <a:pt x="168" y="92"/>
                  </a:lnTo>
                  <a:lnTo>
                    <a:pt x="156" y="92"/>
                  </a:lnTo>
                  <a:lnTo>
                    <a:pt x="151" y="92"/>
                  </a:lnTo>
                  <a:lnTo>
                    <a:pt x="133" y="92"/>
                  </a:lnTo>
                  <a:lnTo>
                    <a:pt x="127" y="9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0" name="Freeform 41"/>
            <p:cNvSpPr>
              <a:spLocks/>
            </p:cNvSpPr>
            <p:nvPr/>
          </p:nvSpPr>
          <p:spPr bwMode="auto">
            <a:xfrm>
              <a:off x="4024" y="2352"/>
              <a:ext cx="366" cy="632"/>
            </a:xfrm>
            <a:custGeom>
              <a:avLst/>
              <a:gdLst>
                <a:gd name="T0" fmla="*/ 6 w 366"/>
                <a:gd name="T1" fmla="*/ 261 h 632"/>
                <a:gd name="T2" fmla="*/ 24 w 366"/>
                <a:gd name="T3" fmla="*/ 232 h 632"/>
                <a:gd name="T4" fmla="*/ 41 w 366"/>
                <a:gd name="T5" fmla="*/ 191 h 632"/>
                <a:gd name="T6" fmla="*/ 24 w 366"/>
                <a:gd name="T7" fmla="*/ 162 h 632"/>
                <a:gd name="T8" fmla="*/ 35 w 366"/>
                <a:gd name="T9" fmla="*/ 139 h 632"/>
                <a:gd name="T10" fmla="*/ 87 w 366"/>
                <a:gd name="T11" fmla="*/ 122 h 632"/>
                <a:gd name="T12" fmla="*/ 99 w 366"/>
                <a:gd name="T13" fmla="*/ 99 h 632"/>
                <a:gd name="T14" fmla="*/ 105 w 366"/>
                <a:gd name="T15" fmla="*/ 70 h 632"/>
                <a:gd name="T16" fmla="*/ 87 w 366"/>
                <a:gd name="T17" fmla="*/ 52 h 632"/>
                <a:gd name="T18" fmla="*/ 58 w 366"/>
                <a:gd name="T19" fmla="*/ 23 h 632"/>
                <a:gd name="T20" fmla="*/ 70 w 366"/>
                <a:gd name="T21" fmla="*/ 17 h 632"/>
                <a:gd name="T22" fmla="*/ 105 w 366"/>
                <a:gd name="T23" fmla="*/ 12 h 632"/>
                <a:gd name="T24" fmla="*/ 128 w 366"/>
                <a:gd name="T25" fmla="*/ 12 h 632"/>
                <a:gd name="T26" fmla="*/ 163 w 366"/>
                <a:gd name="T27" fmla="*/ 12 h 632"/>
                <a:gd name="T28" fmla="*/ 203 w 366"/>
                <a:gd name="T29" fmla="*/ 6 h 632"/>
                <a:gd name="T30" fmla="*/ 221 w 366"/>
                <a:gd name="T31" fmla="*/ 6 h 632"/>
                <a:gd name="T32" fmla="*/ 256 w 366"/>
                <a:gd name="T33" fmla="*/ 0 h 632"/>
                <a:gd name="T34" fmla="*/ 279 w 366"/>
                <a:gd name="T35" fmla="*/ 0 h 632"/>
                <a:gd name="T36" fmla="*/ 296 w 366"/>
                <a:gd name="T37" fmla="*/ 29 h 632"/>
                <a:gd name="T38" fmla="*/ 320 w 366"/>
                <a:gd name="T39" fmla="*/ 70 h 632"/>
                <a:gd name="T40" fmla="*/ 331 w 366"/>
                <a:gd name="T41" fmla="*/ 110 h 632"/>
                <a:gd name="T42" fmla="*/ 331 w 366"/>
                <a:gd name="T43" fmla="*/ 133 h 632"/>
                <a:gd name="T44" fmla="*/ 337 w 366"/>
                <a:gd name="T45" fmla="*/ 151 h 632"/>
                <a:gd name="T46" fmla="*/ 337 w 366"/>
                <a:gd name="T47" fmla="*/ 168 h 632"/>
                <a:gd name="T48" fmla="*/ 343 w 366"/>
                <a:gd name="T49" fmla="*/ 209 h 632"/>
                <a:gd name="T50" fmla="*/ 343 w 366"/>
                <a:gd name="T51" fmla="*/ 232 h 632"/>
                <a:gd name="T52" fmla="*/ 343 w 366"/>
                <a:gd name="T53" fmla="*/ 267 h 632"/>
                <a:gd name="T54" fmla="*/ 349 w 366"/>
                <a:gd name="T55" fmla="*/ 302 h 632"/>
                <a:gd name="T56" fmla="*/ 354 w 366"/>
                <a:gd name="T57" fmla="*/ 336 h 632"/>
                <a:gd name="T58" fmla="*/ 349 w 366"/>
                <a:gd name="T59" fmla="*/ 377 h 632"/>
                <a:gd name="T60" fmla="*/ 360 w 366"/>
                <a:gd name="T61" fmla="*/ 406 h 632"/>
                <a:gd name="T62" fmla="*/ 354 w 366"/>
                <a:gd name="T63" fmla="*/ 441 h 632"/>
                <a:gd name="T64" fmla="*/ 343 w 366"/>
                <a:gd name="T65" fmla="*/ 458 h 632"/>
                <a:gd name="T66" fmla="*/ 325 w 366"/>
                <a:gd name="T67" fmla="*/ 493 h 632"/>
                <a:gd name="T68" fmla="*/ 325 w 366"/>
                <a:gd name="T69" fmla="*/ 534 h 632"/>
                <a:gd name="T70" fmla="*/ 320 w 366"/>
                <a:gd name="T71" fmla="*/ 557 h 632"/>
                <a:gd name="T72" fmla="*/ 308 w 366"/>
                <a:gd name="T73" fmla="*/ 574 h 632"/>
                <a:gd name="T74" fmla="*/ 291 w 366"/>
                <a:gd name="T75" fmla="*/ 597 h 632"/>
                <a:gd name="T76" fmla="*/ 285 w 366"/>
                <a:gd name="T77" fmla="*/ 621 h 632"/>
                <a:gd name="T78" fmla="*/ 250 w 366"/>
                <a:gd name="T79" fmla="*/ 603 h 632"/>
                <a:gd name="T80" fmla="*/ 232 w 366"/>
                <a:gd name="T81" fmla="*/ 626 h 632"/>
                <a:gd name="T82" fmla="*/ 221 w 366"/>
                <a:gd name="T83" fmla="*/ 626 h 632"/>
                <a:gd name="T84" fmla="*/ 209 w 366"/>
                <a:gd name="T85" fmla="*/ 632 h 632"/>
                <a:gd name="T86" fmla="*/ 198 w 366"/>
                <a:gd name="T87" fmla="*/ 597 h 632"/>
                <a:gd name="T88" fmla="*/ 192 w 366"/>
                <a:gd name="T89" fmla="*/ 568 h 632"/>
                <a:gd name="T90" fmla="*/ 180 w 366"/>
                <a:gd name="T91" fmla="*/ 545 h 632"/>
                <a:gd name="T92" fmla="*/ 151 w 366"/>
                <a:gd name="T93" fmla="*/ 539 h 632"/>
                <a:gd name="T94" fmla="*/ 128 w 366"/>
                <a:gd name="T95" fmla="*/ 516 h 632"/>
                <a:gd name="T96" fmla="*/ 116 w 366"/>
                <a:gd name="T97" fmla="*/ 481 h 632"/>
                <a:gd name="T98" fmla="*/ 122 w 366"/>
                <a:gd name="T99" fmla="*/ 464 h 632"/>
                <a:gd name="T100" fmla="*/ 128 w 366"/>
                <a:gd name="T101" fmla="*/ 435 h 632"/>
                <a:gd name="T102" fmla="*/ 111 w 366"/>
                <a:gd name="T103" fmla="*/ 418 h 632"/>
                <a:gd name="T104" fmla="*/ 93 w 366"/>
                <a:gd name="T105" fmla="*/ 429 h 632"/>
                <a:gd name="T106" fmla="*/ 82 w 366"/>
                <a:gd name="T107" fmla="*/ 418 h 632"/>
                <a:gd name="T108" fmla="*/ 70 w 366"/>
                <a:gd name="T109" fmla="*/ 383 h 632"/>
                <a:gd name="T110" fmla="*/ 47 w 366"/>
                <a:gd name="T111" fmla="*/ 365 h 632"/>
                <a:gd name="T112" fmla="*/ 24 w 366"/>
                <a:gd name="T113" fmla="*/ 342 h 632"/>
                <a:gd name="T114" fmla="*/ 12 w 366"/>
                <a:gd name="T115" fmla="*/ 325 h 632"/>
                <a:gd name="T116" fmla="*/ 0 w 366"/>
                <a:gd name="T117" fmla="*/ 307 h 63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6"/>
                <a:gd name="T178" fmla="*/ 0 h 632"/>
                <a:gd name="T179" fmla="*/ 366 w 366"/>
                <a:gd name="T180" fmla="*/ 632 h 63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6" h="632">
                  <a:moveTo>
                    <a:pt x="0" y="284"/>
                  </a:moveTo>
                  <a:lnTo>
                    <a:pt x="0" y="278"/>
                  </a:lnTo>
                  <a:lnTo>
                    <a:pt x="6" y="261"/>
                  </a:lnTo>
                  <a:lnTo>
                    <a:pt x="12" y="261"/>
                  </a:lnTo>
                  <a:lnTo>
                    <a:pt x="6" y="238"/>
                  </a:lnTo>
                  <a:lnTo>
                    <a:pt x="24" y="232"/>
                  </a:lnTo>
                  <a:lnTo>
                    <a:pt x="29" y="226"/>
                  </a:lnTo>
                  <a:lnTo>
                    <a:pt x="29" y="220"/>
                  </a:lnTo>
                  <a:lnTo>
                    <a:pt x="41" y="191"/>
                  </a:lnTo>
                  <a:lnTo>
                    <a:pt x="41" y="180"/>
                  </a:lnTo>
                  <a:lnTo>
                    <a:pt x="35" y="168"/>
                  </a:lnTo>
                  <a:lnTo>
                    <a:pt x="24" y="162"/>
                  </a:lnTo>
                  <a:lnTo>
                    <a:pt x="29" y="151"/>
                  </a:lnTo>
                  <a:lnTo>
                    <a:pt x="29" y="145"/>
                  </a:lnTo>
                  <a:lnTo>
                    <a:pt x="35" y="139"/>
                  </a:lnTo>
                  <a:lnTo>
                    <a:pt x="53" y="139"/>
                  </a:lnTo>
                  <a:lnTo>
                    <a:pt x="76" y="128"/>
                  </a:lnTo>
                  <a:lnTo>
                    <a:pt x="87" y="122"/>
                  </a:lnTo>
                  <a:lnTo>
                    <a:pt x="93" y="104"/>
                  </a:lnTo>
                  <a:lnTo>
                    <a:pt x="93" y="99"/>
                  </a:lnTo>
                  <a:lnTo>
                    <a:pt x="99" y="99"/>
                  </a:lnTo>
                  <a:lnTo>
                    <a:pt x="105" y="87"/>
                  </a:lnTo>
                  <a:lnTo>
                    <a:pt x="105" y="81"/>
                  </a:lnTo>
                  <a:lnTo>
                    <a:pt x="105" y="70"/>
                  </a:lnTo>
                  <a:lnTo>
                    <a:pt x="99" y="58"/>
                  </a:lnTo>
                  <a:lnTo>
                    <a:pt x="93" y="52"/>
                  </a:lnTo>
                  <a:lnTo>
                    <a:pt x="87" y="52"/>
                  </a:lnTo>
                  <a:lnTo>
                    <a:pt x="82" y="46"/>
                  </a:lnTo>
                  <a:lnTo>
                    <a:pt x="76" y="29"/>
                  </a:lnTo>
                  <a:lnTo>
                    <a:pt x="58" y="23"/>
                  </a:lnTo>
                  <a:lnTo>
                    <a:pt x="58" y="17"/>
                  </a:lnTo>
                  <a:lnTo>
                    <a:pt x="64" y="17"/>
                  </a:lnTo>
                  <a:lnTo>
                    <a:pt x="70" y="17"/>
                  </a:lnTo>
                  <a:lnTo>
                    <a:pt x="76" y="17"/>
                  </a:lnTo>
                  <a:lnTo>
                    <a:pt x="99" y="12"/>
                  </a:lnTo>
                  <a:lnTo>
                    <a:pt x="105" y="12"/>
                  </a:lnTo>
                  <a:lnTo>
                    <a:pt x="116" y="12"/>
                  </a:lnTo>
                  <a:lnTo>
                    <a:pt x="122" y="12"/>
                  </a:lnTo>
                  <a:lnTo>
                    <a:pt x="128" y="12"/>
                  </a:lnTo>
                  <a:lnTo>
                    <a:pt x="145" y="12"/>
                  </a:lnTo>
                  <a:lnTo>
                    <a:pt x="151" y="12"/>
                  </a:lnTo>
                  <a:lnTo>
                    <a:pt x="163" y="12"/>
                  </a:lnTo>
                  <a:lnTo>
                    <a:pt x="174" y="12"/>
                  </a:lnTo>
                  <a:lnTo>
                    <a:pt x="192" y="6"/>
                  </a:lnTo>
                  <a:lnTo>
                    <a:pt x="203" y="6"/>
                  </a:lnTo>
                  <a:lnTo>
                    <a:pt x="209" y="6"/>
                  </a:lnTo>
                  <a:lnTo>
                    <a:pt x="215" y="6"/>
                  </a:lnTo>
                  <a:lnTo>
                    <a:pt x="221" y="6"/>
                  </a:lnTo>
                  <a:lnTo>
                    <a:pt x="227" y="6"/>
                  </a:lnTo>
                  <a:lnTo>
                    <a:pt x="256" y="6"/>
                  </a:lnTo>
                  <a:lnTo>
                    <a:pt x="256" y="0"/>
                  </a:lnTo>
                  <a:lnTo>
                    <a:pt x="261" y="0"/>
                  </a:lnTo>
                  <a:lnTo>
                    <a:pt x="267" y="0"/>
                  </a:lnTo>
                  <a:lnTo>
                    <a:pt x="279" y="0"/>
                  </a:lnTo>
                  <a:lnTo>
                    <a:pt x="296" y="0"/>
                  </a:lnTo>
                  <a:lnTo>
                    <a:pt x="296" y="12"/>
                  </a:lnTo>
                  <a:lnTo>
                    <a:pt x="296" y="29"/>
                  </a:lnTo>
                  <a:lnTo>
                    <a:pt x="302" y="35"/>
                  </a:lnTo>
                  <a:lnTo>
                    <a:pt x="314" y="52"/>
                  </a:lnTo>
                  <a:lnTo>
                    <a:pt x="320" y="70"/>
                  </a:lnTo>
                  <a:lnTo>
                    <a:pt x="331" y="87"/>
                  </a:lnTo>
                  <a:lnTo>
                    <a:pt x="331" y="104"/>
                  </a:lnTo>
                  <a:lnTo>
                    <a:pt x="331" y="110"/>
                  </a:lnTo>
                  <a:lnTo>
                    <a:pt x="331" y="122"/>
                  </a:lnTo>
                  <a:lnTo>
                    <a:pt x="331" y="128"/>
                  </a:lnTo>
                  <a:lnTo>
                    <a:pt x="331" y="133"/>
                  </a:lnTo>
                  <a:lnTo>
                    <a:pt x="331" y="139"/>
                  </a:lnTo>
                  <a:lnTo>
                    <a:pt x="337" y="145"/>
                  </a:lnTo>
                  <a:lnTo>
                    <a:pt x="337" y="151"/>
                  </a:lnTo>
                  <a:lnTo>
                    <a:pt x="337" y="157"/>
                  </a:lnTo>
                  <a:lnTo>
                    <a:pt x="337" y="162"/>
                  </a:lnTo>
                  <a:lnTo>
                    <a:pt x="337" y="168"/>
                  </a:lnTo>
                  <a:lnTo>
                    <a:pt x="337" y="174"/>
                  </a:lnTo>
                  <a:lnTo>
                    <a:pt x="337" y="197"/>
                  </a:lnTo>
                  <a:lnTo>
                    <a:pt x="343" y="209"/>
                  </a:lnTo>
                  <a:lnTo>
                    <a:pt x="343" y="215"/>
                  </a:lnTo>
                  <a:lnTo>
                    <a:pt x="343" y="226"/>
                  </a:lnTo>
                  <a:lnTo>
                    <a:pt x="343" y="232"/>
                  </a:lnTo>
                  <a:lnTo>
                    <a:pt x="343" y="244"/>
                  </a:lnTo>
                  <a:lnTo>
                    <a:pt x="343" y="261"/>
                  </a:lnTo>
                  <a:lnTo>
                    <a:pt x="343" y="267"/>
                  </a:lnTo>
                  <a:lnTo>
                    <a:pt x="349" y="273"/>
                  </a:lnTo>
                  <a:lnTo>
                    <a:pt x="349" y="290"/>
                  </a:lnTo>
                  <a:lnTo>
                    <a:pt x="349" y="302"/>
                  </a:lnTo>
                  <a:lnTo>
                    <a:pt x="349" y="313"/>
                  </a:lnTo>
                  <a:lnTo>
                    <a:pt x="349" y="325"/>
                  </a:lnTo>
                  <a:lnTo>
                    <a:pt x="354" y="336"/>
                  </a:lnTo>
                  <a:lnTo>
                    <a:pt x="354" y="354"/>
                  </a:lnTo>
                  <a:lnTo>
                    <a:pt x="349" y="365"/>
                  </a:lnTo>
                  <a:lnTo>
                    <a:pt x="349" y="377"/>
                  </a:lnTo>
                  <a:lnTo>
                    <a:pt x="349" y="383"/>
                  </a:lnTo>
                  <a:lnTo>
                    <a:pt x="354" y="394"/>
                  </a:lnTo>
                  <a:lnTo>
                    <a:pt x="360" y="406"/>
                  </a:lnTo>
                  <a:lnTo>
                    <a:pt x="360" y="412"/>
                  </a:lnTo>
                  <a:lnTo>
                    <a:pt x="366" y="423"/>
                  </a:lnTo>
                  <a:lnTo>
                    <a:pt x="354" y="441"/>
                  </a:lnTo>
                  <a:lnTo>
                    <a:pt x="349" y="452"/>
                  </a:lnTo>
                  <a:lnTo>
                    <a:pt x="343" y="452"/>
                  </a:lnTo>
                  <a:lnTo>
                    <a:pt x="343" y="458"/>
                  </a:lnTo>
                  <a:lnTo>
                    <a:pt x="343" y="464"/>
                  </a:lnTo>
                  <a:lnTo>
                    <a:pt x="325" y="481"/>
                  </a:lnTo>
                  <a:lnTo>
                    <a:pt x="325" y="493"/>
                  </a:lnTo>
                  <a:lnTo>
                    <a:pt x="325" y="505"/>
                  </a:lnTo>
                  <a:lnTo>
                    <a:pt x="320" y="522"/>
                  </a:lnTo>
                  <a:lnTo>
                    <a:pt x="325" y="534"/>
                  </a:lnTo>
                  <a:lnTo>
                    <a:pt x="320" y="545"/>
                  </a:lnTo>
                  <a:lnTo>
                    <a:pt x="320" y="551"/>
                  </a:lnTo>
                  <a:lnTo>
                    <a:pt x="320" y="557"/>
                  </a:lnTo>
                  <a:lnTo>
                    <a:pt x="325" y="568"/>
                  </a:lnTo>
                  <a:lnTo>
                    <a:pt x="320" y="568"/>
                  </a:lnTo>
                  <a:lnTo>
                    <a:pt x="308" y="574"/>
                  </a:lnTo>
                  <a:lnTo>
                    <a:pt x="302" y="580"/>
                  </a:lnTo>
                  <a:lnTo>
                    <a:pt x="296" y="580"/>
                  </a:lnTo>
                  <a:lnTo>
                    <a:pt x="291" y="597"/>
                  </a:lnTo>
                  <a:lnTo>
                    <a:pt x="296" y="615"/>
                  </a:lnTo>
                  <a:lnTo>
                    <a:pt x="291" y="621"/>
                  </a:lnTo>
                  <a:lnTo>
                    <a:pt x="285" y="621"/>
                  </a:lnTo>
                  <a:lnTo>
                    <a:pt x="279" y="615"/>
                  </a:lnTo>
                  <a:lnTo>
                    <a:pt x="267" y="609"/>
                  </a:lnTo>
                  <a:lnTo>
                    <a:pt x="250" y="603"/>
                  </a:lnTo>
                  <a:lnTo>
                    <a:pt x="244" y="603"/>
                  </a:lnTo>
                  <a:lnTo>
                    <a:pt x="232" y="621"/>
                  </a:lnTo>
                  <a:lnTo>
                    <a:pt x="232" y="626"/>
                  </a:lnTo>
                  <a:lnTo>
                    <a:pt x="227" y="626"/>
                  </a:lnTo>
                  <a:lnTo>
                    <a:pt x="232" y="632"/>
                  </a:lnTo>
                  <a:lnTo>
                    <a:pt x="221" y="626"/>
                  </a:lnTo>
                  <a:lnTo>
                    <a:pt x="221" y="632"/>
                  </a:lnTo>
                  <a:lnTo>
                    <a:pt x="215" y="632"/>
                  </a:lnTo>
                  <a:lnTo>
                    <a:pt x="209" y="632"/>
                  </a:lnTo>
                  <a:lnTo>
                    <a:pt x="203" y="603"/>
                  </a:lnTo>
                  <a:lnTo>
                    <a:pt x="198" y="603"/>
                  </a:lnTo>
                  <a:lnTo>
                    <a:pt x="198" y="597"/>
                  </a:lnTo>
                  <a:lnTo>
                    <a:pt x="203" y="597"/>
                  </a:lnTo>
                  <a:lnTo>
                    <a:pt x="203" y="592"/>
                  </a:lnTo>
                  <a:lnTo>
                    <a:pt x="192" y="568"/>
                  </a:lnTo>
                  <a:lnTo>
                    <a:pt x="198" y="563"/>
                  </a:lnTo>
                  <a:lnTo>
                    <a:pt x="180" y="551"/>
                  </a:lnTo>
                  <a:lnTo>
                    <a:pt x="180" y="545"/>
                  </a:lnTo>
                  <a:lnTo>
                    <a:pt x="169" y="539"/>
                  </a:lnTo>
                  <a:lnTo>
                    <a:pt x="157" y="539"/>
                  </a:lnTo>
                  <a:lnTo>
                    <a:pt x="151" y="539"/>
                  </a:lnTo>
                  <a:lnTo>
                    <a:pt x="145" y="528"/>
                  </a:lnTo>
                  <a:lnTo>
                    <a:pt x="134" y="516"/>
                  </a:lnTo>
                  <a:lnTo>
                    <a:pt x="128" y="516"/>
                  </a:lnTo>
                  <a:lnTo>
                    <a:pt x="122" y="510"/>
                  </a:lnTo>
                  <a:lnTo>
                    <a:pt x="111" y="499"/>
                  </a:lnTo>
                  <a:lnTo>
                    <a:pt x="116" y="481"/>
                  </a:lnTo>
                  <a:lnTo>
                    <a:pt x="116" y="470"/>
                  </a:lnTo>
                  <a:lnTo>
                    <a:pt x="122" y="470"/>
                  </a:lnTo>
                  <a:lnTo>
                    <a:pt x="122" y="464"/>
                  </a:lnTo>
                  <a:lnTo>
                    <a:pt x="128" y="452"/>
                  </a:lnTo>
                  <a:lnTo>
                    <a:pt x="128" y="441"/>
                  </a:lnTo>
                  <a:lnTo>
                    <a:pt x="128" y="435"/>
                  </a:lnTo>
                  <a:lnTo>
                    <a:pt x="128" y="429"/>
                  </a:lnTo>
                  <a:lnTo>
                    <a:pt x="116" y="423"/>
                  </a:lnTo>
                  <a:lnTo>
                    <a:pt x="111" y="418"/>
                  </a:lnTo>
                  <a:lnTo>
                    <a:pt x="105" y="418"/>
                  </a:lnTo>
                  <a:lnTo>
                    <a:pt x="99" y="418"/>
                  </a:lnTo>
                  <a:lnTo>
                    <a:pt x="93" y="429"/>
                  </a:lnTo>
                  <a:lnTo>
                    <a:pt x="87" y="429"/>
                  </a:lnTo>
                  <a:lnTo>
                    <a:pt x="82" y="423"/>
                  </a:lnTo>
                  <a:lnTo>
                    <a:pt x="82" y="418"/>
                  </a:lnTo>
                  <a:lnTo>
                    <a:pt x="76" y="400"/>
                  </a:lnTo>
                  <a:lnTo>
                    <a:pt x="76" y="389"/>
                  </a:lnTo>
                  <a:lnTo>
                    <a:pt x="70" y="383"/>
                  </a:lnTo>
                  <a:lnTo>
                    <a:pt x="64" y="377"/>
                  </a:lnTo>
                  <a:lnTo>
                    <a:pt x="53" y="371"/>
                  </a:lnTo>
                  <a:lnTo>
                    <a:pt x="47" y="365"/>
                  </a:lnTo>
                  <a:lnTo>
                    <a:pt x="35" y="354"/>
                  </a:lnTo>
                  <a:lnTo>
                    <a:pt x="29" y="348"/>
                  </a:lnTo>
                  <a:lnTo>
                    <a:pt x="24" y="342"/>
                  </a:lnTo>
                  <a:lnTo>
                    <a:pt x="18" y="342"/>
                  </a:lnTo>
                  <a:lnTo>
                    <a:pt x="12" y="331"/>
                  </a:lnTo>
                  <a:lnTo>
                    <a:pt x="12" y="325"/>
                  </a:lnTo>
                  <a:lnTo>
                    <a:pt x="6" y="319"/>
                  </a:lnTo>
                  <a:lnTo>
                    <a:pt x="6" y="313"/>
                  </a:lnTo>
                  <a:lnTo>
                    <a:pt x="0" y="307"/>
                  </a:lnTo>
                  <a:lnTo>
                    <a:pt x="0" y="290"/>
                  </a:lnTo>
                  <a:lnTo>
                    <a:pt x="0" y="28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1" name="Freeform 42"/>
            <p:cNvSpPr>
              <a:spLocks/>
            </p:cNvSpPr>
            <p:nvPr/>
          </p:nvSpPr>
          <p:spPr bwMode="auto">
            <a:xfrm>
              <a:off x="3577" y="2259"/>
              <a:ext cx="552" cy="354"/>
            </a:xfrm>
            <a:custGeom>
              <a:avLst/>
              <a:gdLst>
                <a:gd name="T0" fmla="*/ 233 w 552"/>
                <a:gd name="T1" fmla="*/ 6 h 354"/>
                <a:gd name="T2" fmla="*/ 186 w 552"/>
                <a:gd name="T3" fmla="*/ 6 h 354"/>
                <a:gd name="T4" fmla="*/ 157 w 552"/>
                <a:gd name="T5" fmla="*/ 12 h 354"/>
                <a:gd name="T6" fmla="*/ 128 w 552"/>
                <a:gd name="T7" fmla="*/ 12 h 354"/>
                <a:gd name="T8" fmla="*/ 99 w 552"/>
                <a:gd name="T9" fmla="*/ 12 h 354"/>
                <a:gd name="T10" fmla="*/ 58 w 552"/>
                <a:gd name="T11" fmla="*/ 12 h 354"/>
                <a:gd name="T12" fmla="*/ 35 w 552"/>
                <a:gd name="T13" fmla="*/ 12 h 354"/>
                <a:gd name="T14" fmla="*/ 12 w 552"/>
                <a:gd name="T15" fmla="*/ 12 h 354"/>
                <a:gd name="T16" fmla="*/ 6 w 552"/>
                <a:gd name="T17" fmla="*/ 35 h 354"/>
                <a:gd name="T18" fmla="*/ 18 w 552"/>
                <a:gd name="T19" fmla="*/ 58 h 354"/>
                <a:gd name="T20" fmla="*/ 6 w 552"/>
                <a:gd name="T21" fmla="*/ 76 h 354"/>
                <a:gd name="T22" fmla="*/ 12 w 552"/>
                <a:gd name="T23" fmla="*/ 116 h 354"/>
                <a:gd name="T24" fmla="*/ 24 w 552"/>
                <a:gd name="T25" fmla="*/ 151 h 354"/>
                <a:gd name="T26" fmla="*/ 29 w 552"/>
                <a:gd name="T27" fmla="*/ 174 h 354"/>
                <a:gd name="T28" fmla="*/ 41 w 552"/>
                <a:gd name="T29" fmla="*/ 197 h 354"/>
                <a:gd name="T30" fmla="*/ 47 w 552"/>
                <a:gd name="T31" fmla="*/ 226 h 354"/>
                <a:gd name="T32" fmla="*/ 53 w 552"/>
                <a:gd name="T33" fmla="*/ 244 h 354"/>
                <a:gd name="T34" fmla="*/ 58 w 552"/>
                <a:gd name="T35" fmla="*/ 267 h 354"/>
                <a:gd name="T36" fmla="*/ 64 w 552"/>
                <a:gd name="T37" fmla="*/ 279 h 354"/>
                <a:gd name="T38" fmla="*/ 70 w 552"/>
                <a:gd name="T39" fmla="*/ 308 h 354"/>
                <a:gd name="T40" fmla="*/ 76 w 552"/>
                <a:gd name="T41" fmla="*/ 337 h 354"/>
                <a:gd name="T42" fmla="*/ 111 w 552"/>
                <a:gd name="T43" fmla="*/ 342 h 354"/>
                <a:gd name="T44" fmla="*/ 140 w 552"/>
                <a:gd name="T45" fmla="*/ 342 h 354"/>
                <a:gd name="T46" fmla="*/ 175 w 552"/>
                <a:gd name="T47" fmla="*/ 342 h 354"/>
                <a:gd name="T48" fmla="*/ 209 w 552"/>
                <a:gd name="T49" fmla="*/ 342 h 354"/>
                <a:gd name="T50" fmla="*/ 250 w 552"/>
                <a:gd name="T51" fmla="*/ 342 h 354"/>
                <a:gd name="T52" fmla="*/ 279 w 552"/>
                <a:gd name="T53" fmla="*/ 337 h 354"/>
                <a:gd name="T54" fmla="*/ 314 w 552"/>
                <a:gd name="T55" fmla="*/ 337 h 354"/>
                <a:gd name="T56" fmla="*/ 354 w 552"/>
                <a:gd name="T57" fmla="*/ 337 h 354"/>
                <a:gd name="T58" fmla="*/ 383 w 552"/>
                <a:gd name="T59" fmla="*/ 331 h 354"/>
                <a:gd name="T60" fmla="*/ 407 w 552"/>
                <a:gd name="T61" fmla="*/ 331 h 354"/>
                <a:gd name="T62" fmla="*/ 447 w 552"/>
                <a:gd name="T63" fmla="*/ 354 h 354"/>
                <a:gd name="T64" fmla="*/ 453 w 552"/>
                <a:gd name="T65" fmla="*/ 331 h 354"/>
                <a:gd name="T66" fmla="*/ 476 w 552"/>
                <a:gd name="T67" fmla="*/ 313 h 354"/>
                <a:gd name="T68" fmla="*/ 482 w 552"/>
                <a:gd name="T69" fmla="*/ 261 h 354"/>
                <a:gd name="T70" fmla="*/ 476 w 552"/>
                <a:gd name="T71" fmla="*/ 238 h 354"/>
                <a:gd name="T72" fmla="*/ 523 w 552"/>
                <a:gd name="T73" fmla="*/ 221 h 354"/>
                <a:gd name="T74" fmla="*/ 540 w 552"/>
                <a:gd name="T75" fmla="*/ 192 h 354"/>
                <a:gd name="T76" fmla="*/ 552 w 552"/>
                <a:gd name="T77" fmla="*/ 174 h 354"/>
                <a:gd name="T78" fmla="*/ 540 w 552"/>
                <a:gd name="T79" fmla="*/ 145 h 354"/>
                <a:gd name="T80" fmla="*/ 523 w 552"/>
                <a:gd name="T81" fmla="*/ 122 h 354"/>
                <a:gd name="T82" fmla="*/ 500 w 552"/>
                <a:gd name="T83" fmla="*/ 99 h 354"/>
                <a:gd name="T84" fmla="*/ 471 w 552"/>
                <a:gd name="T85" fmla="*/ 81 h 354"/>
                <a:gd name="T86" fmla="*/ 459 w 552"/>
                <a:gd name="T87" fmla="*/ 47 h 354"/>
                <a:gd name="T88" fmla="*/ 453 w 552"/>
                <a:gd name="T89" fmla="*/ 6 h 354"/>
                <a:gd name="T90" fmla="*/ 442 w 552"/>
                <a:gd name="T91" fmla="*/ 0 h 354"/>
                <a:gd name="T92" fmla="*/ 378 w 552"/>
                <a:gd name="T93" fmla="*/ 0 h 354"/>
                <a:gd name="T94" fmla="*/ 302 w 552"/>
                <a:gd name="T95" fmla="*/ 6 h 354"/>
                <a:gd name="T96" fmla="*/ 267 w 552"/>
                <a:gd name="T97" fmla="*/ 6 h 3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52"/>
                <a:gd name="T148" fmla="*/ 0 h 354"/>
                <a:gd name="T149" fmla="*/ 552 w 552"/>
                <a:gd name="T150" fmla="*/ 354 h 3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52" h="354">
                  <a:moveTo>
                    <a:pt x="262" y="6"/>
                  </a:moveTo>
                  <a:lnTo>
                    <a:pt x="250" y="6"/>
                  </a:lnTo>
                  <a:lnTo>
                    <a:pt x="233" y="6"/>
                  </a:lnTo>
                  <a:lnTo>
                    <a:pt x="221" y="6"/>
                  </a:lnTo>
                  <a:lnTo>
                    <a:pt x="198" y="6"/>
                  </a:lnTo>
                  <a:lnTo>
                    <a:pt x="186" y="6"/>
                  </a:lnTo>
                  <a:lnTo>
                    <a:pt x="180" y="12"/>
                  </a:lnTo>
                  <a:lnTo>
                    <a:pt x="163" y="12"/>
                  </a:lnTo>
                  <a:lnTo>
                    <a:pt x="157" y="12"/>
                  </a:lnTo>
                  <a:lnTo>
                    <a:pt x="151" y="12"/>
                  </a:lnTo>
                  <a:lnTo>
                    <a:pt x="146" y="12"/>
                  </a:lnTo>
                  <a:lnTo>
                    <a:pt x="128" y="12"/>
                  </a:lnTo>
                  <a:lnTo>
                    <a:pt x="117" y="12"/>
                  </a:lnTo>
                  <a:lnTo>
                    <a:pt x="105" y="12"/>
                  </a:lnTo>
                  <a:lnTo>
                    <a:pt x="99" y="12"/>
                  </a:lnTo>
                  <a:lnTo>
                    <a:pt x="76" y="12"/>
                  </a:lnTo>
                  <a:lnTo>
                    <a:pt x="64" y="12"/>
                  </a:lnTo>
                  <a:lnTo>
                    <a:pt x="58" y="12"/>
                  </a:lnTo>
                  <a:lnTo>
                    <a:pt x="53" y="12"/>
                  </a:lnTo>
                  <a:lnTo>
                    <a:pt x="47" y="12"/>
                  </a:lnTo>
                  <a:lnTo>
                    <a:pt x="35" y="12"/>
                  </a:lnTo>
                  <a:lnTo>
                    <a:pt x="24" y="12"/>
                  </a:lnTo>
                  <a:lnTo>
                    <a:pt x="18" y="12"/>
                  </a:lnTo>
                  <a:lnTo>
                    <a:pt x="12" y="12"/>
                  </a:lnTo>
                  <a:lnTo>
                    <a:pt x="6" y="12"/>
                  </a:lnTo>
                  <a:lnTo>
                    <a:pt x="12" y="23"/>
                  </a:lnTo>
                  <a:lnTo>
                    <a:pt x="6" y="35"/>
                  </a:lnTo>
                  <a:lnTo>
                    <a:pt x="12" y="41"/>
                  </a:lnTo>
                  <a:lnTo>
                    <a:pt x="18" y="52"/>
                  </a:lnTo>
                  <a:lnTo>
                    <a:pt x="18" y="58"/>
                  </a:lnTo>
                  <a:lnTo>
                    <a:pt x="12" y="64"/>
                  </a:lnTo>
                  <a:lnTo>
                    <a:pt x="12" y="70"/>
                  </a:lnTo>
                  <a:lnTo>
                    <a:pt x="6" y="76"/>
                  </a:lnTo>
                  <a:lnTo>
                    <a:pt x="0" y="99"/>
                  </a:lnTo>
                  <a:lnTo>
                    <a:pt x="12" y="110"/>
                  </a:lnTo>
                  <a:lnTo>
                    <a:pt x="12" y="116"/>
                  </a:lnTo>
                  <a:lnTo>
                    <a:pt x="12" y="122"/>
                  </a:lnTo>
                  <a:lnTo>
                    <a:pt x="18" y="128"/>
                  </a:lnTo>
                  <a:lnTo>
                    <a:pt x="24" y="151"/>
                  </a:lnTo>
                  <a:lnTo>
                    <a:pt x="24" y="157"/>
                  </a:lnTo>
                  <a:lnTo>
                    <a:pt x="29" y="168"/>
                  </a:lnTo>
                  <a:lnTo>
                    <a:pt x="29" y="174"/>
                  </a:lnTo>
                  <a:lnTo>
                    <a:pt x="35" y="180"/>
                  </a:lnTo>
                  <a:lnTo>
                    <a:pt x="41" y="180"/>
                  </a:lnTo>
                  <a:lnTo>
                    <a:pt x="41" y="197"/>
                  </a:lnTo>
                  <a:lnTo>
                    <a:pt x="47" y="209"/>
                  </a:lnTo>
                  <a:lnTo>
                    <a:pt x="41" y="215"/>
                  </a:lnTo>
                  <a:lnTo>
                    <a:pt x="47" y="226"/>
                  </a:lnTo>
                  <a:lnTo>
                    <a:pt x="53" y="232"/>
                  </a:lnTo>
                  <a:lnTo>
                    <a:pt x="53" y="238"/>
                  </a:lnTo>
                  <a:lnTo>
                    <a:pt x="53" y="244"/>
                  </a:lnTo>
                  <a:lnTo>
                    <a:pt x="58" y="250"/>
                  </a:lnTo>
                  <a:lnTo>
                    <a:pt x="64" y="261"/>
                  </a:lnTo>
                  <a:lnTo>
                    <a:pt x="58" y="267"/>
                  </a:lnTo>
                  <a:lnTo>
                    <a:pt x="58" y="273"/>
                  </a:lnTo>
                  <a:lnTo>
                    <a:pt x="64" y="273"/>
                  </a:lnTo>
                  <a:lnTo>
                    <a:pt x="64" y="279"/>
                  </a:lnTo>
                  <a:lnTo>
                    <a:pt x="64" y="290"/>
                  </a:lnTo>
                  <a:lnTo>
                    <a:pt x="64" y="296"/>
                  </a:lnTo>
                  <a:lnTo>
                    <a:pt x="70" y="308"/>
                  </a:lnTo>
                  <a:lnTo>
                    <a:pt x="70" y="319"/>
                  </a:lnTo>
                  <a:lnTo>
                    <a:pt x="64" y="325"/>
                  </a:lnTo>
                  <a:lnTo>
                    <a:pt x="76" y="337"/>
                  </a:lnTo>
                  <a:lnTo>
                    <a:pt x="76" y="342"/>
                  </a:lnTo>
                  <a:lnTo>
                    <a:pt x="99" y="342"/>
                  </a:lnTo>
                  <a:lnTo>
                    <a:pt x="111" y="342"/>
                  </a:lnTo>
                  <a:lnTo>
                    <a:pt x="117" y="342"/>
                  </a:lnTo>
                  <a:lnTo>
                    <a:pt x="122" y="342"/>
                  </a:lnTo>
                  <a:lnTo>
                    <a:pt x="140" y="342"/>
                  </a:lnTo>
                  <a:lnTo>
                    <a:pt x="146" y="342"/>
                  </a:lnTo>
                  <a:lnTo>
                    <a:pt x="163" y="342"/>
                  </a:lnTo>
                  <a:lnTo>
                    <a:pt x="175" y="342"/>
                  </a:lnTo>
                  <a:lnTo>
                    <a:pt x="186" y="342"/>
                  </a:lnTo>
                  <a:lnTo>
                    <a:pt x="204" y="342"/>
                  </a:lnTo>
                  <a:lnTo>
                    <a:pt x="209" y="342"/>
                  </a:lnTo>
                  <a:lnTo>
                    <a:pt x="227" y="342"/>
                  </a:lnTo>
                  <a:lnTo>
                    <a:pt x="244" y="342"/>
                  </a:lnTo>
                  <a:lnTo>
                    <a:pt x="250" y="342"/>
                  </a:lnTo>
                  <a:lnTo>
                    <a:pt x="267" y="337"/>
                  </a:lnTo>
                  <a:lnTo>
                    <a:pt x="273" y="337"/>
                  </a:lnTo>
                  <a:lnTo>
                    <a:pt x="279" y="337"/>
                  </a:lnTo>
                  <a:lnTo>
                    <a:pt x="291" y="337"/>
                  </a:lnTo>
                  <a:lnTo>
                    <a:pt x="308" y="337"/>
                  </a:lnTo>
                  <a:lnTo>
                    <a:pt x="314" y="337"/>
                  </a:lnTo>
                  <a:lnTo>
                    <a:pt x="337" y="337"/>
                  </a:lnTo>
                  <a:lnTo>
                    <a:pt x="343" y="337"/>
                  </a:lnTo>
                  <a:lnTo>
                    <a:pt x="354" y="337"/>
                  </a:lnTo>
                  <a:lnTo>
                    <a:pt x="372" y="337"/>
                  </a:lnTo>
                  <a:lnTo>
                    <a:pt x="378" y="331"/>
                  </a:lnTo>
                  <a:lnTo>
                    <a:pt x="383" y="331"/>
                  </a:lnTo>
                  <a:lnTo>
                    <a:pt x="395" y="331"/>
                  </a:lnTo>
                  <a:lnTo>
                    <a:pt x="401" y="331"/>
                  </a:lnTo>
                  <a:lnTo>
                    <a:pt x="407" y="331"/>
                  </a:lnTo>
                  <a:lnTo>
                    <a:pt x="424" y="331"/>
                  </a:lnTo>
                  <a:lnTo>
                    <a:pt x="436" y="337"/>
                  </a:lnTo>
                  <a:lnTo>
                    <a:pt x="447" y="354"/>
                  </a:lnTo>
                  <a:lnTo>
                    <a:pt x="453" y="354"/>
                  </a:lnTo>
                  <a:lnTo>
                    <a:pt x="459" y="354"/>
                  </a:lnTo>
                  <a:lnTo>
                    <a:pt x="453" y="331"/>
                  </a:lnTo>
                  <a:lnTo>
                    <a:pt x="471" y="325"/>
                  </a:lnTo>
                  <a:lnTo>
                    <a:pt x="476" y="319"/>
                  </a:lnTo>
                  <a:lnTo>
                    <a:pt x="476" y="313"/>
                  </a:lnTo>
                  <a:lnTo>
                    <a:pt x="488" y="284"/>
                  </a:lnTo>
                  <a:lnTo>
                    <a:pt x="488" y="273"/>
                  </a:lnTo>
                  <a:lnTo>
                    <a:pt x="482" y="261"/>
                  </a:lnTo>
                  <a:lnTo>
                    <a:pt x="471" y="255"/>
                  </a:lnTo>
                  <a:lnTo>
                    <a:pt x="476" y="244"/>
                  </a:lnTo>
                  <a:lnTo>
                    <a:pt x="476" y="238"/>
                  </a:lnTo>
                  <a:lnTo>
                    <a:pt x="482" y="232"/>
                  </a:lnTo>
                  <a:lnTo>
                    <a:pt x="500" y="232"/>
                  </a:lnTo>
                  <a:lnTo>
                    <a:pt x="523" y="221"/>
                  </a:lnTo>
                  <a:lnTo>
                    <a:pt x="534" y="215"/>
                  </a:lnTo>
                  <a:lnTo>
                    <a:pt x="540" y="197"/>
                  </a:lnTo>
                  <a:lnTo>
                    <a:pt x="540" y="192"/>
                  </a:lnTo>
                  <a:lnTo>
                    <a:pt x="546" y="192"/>
                  </a:lnTo>
                  <a:lnTo>
                    <a:pt x="552" y="180"/>
                  </a:lnTo>
                  <a:lnTo>
                    <a:pt x="552" y="174"/>
                  </a:lnTo>
                  <a:lnTo>
                    <a:pt x="552" y="163"/>
                  </a:lnTo>
                  <a:lnTo>
                    <a:pt x="546" y="151"/>
                  </a:lnTo>
                  <a:lnTo>
                    <a:pt x="540" y="145"/>
                  </a:lnTo>
                  <a:lnTo>
                    <a:pt x="534" y="145"/>
                  </a:lnTo>
                  <a:lnTo>
                    <a:pt x="529" y="139"/>
                  </a:lnTo>
                  <a:lnTo>
                    <a:pt x="523" y="122"/>
                  </a:lnTo>
                  <a:lnTo>
                    <a:pt x="505" y="116"/>
                  </a:lnTo>
                  <a:lnTo>
                    <a:pt x="505" y="110"/>
                  </a:lnTo>
                  <a:lnTo>
                    <a:pt x="500" y="99"/>
                  </a:lnTo>
                  <a:lnTo>
                    <a:pt x="494" y="93"/>
                  </a:lnTo>
                  <a:lnTo>
                    <a:pt x="482" y="93"/>
                  </a:lnTo>
                  <a:lnTo>
                    <a:pt x="471" y="81"/>
                  </a:lnTo>
                  <a:lnTo>
                    <a:pt x="465" y="70"/>
                  </a:lnTo>
                  <a:lnTo>
                    <a:pt x="459" y="58"/>
                  </a:lnTo>
                  <a:lnTo>
                    <a:pt x="459" y="47"/>
                  </a:lnTo>
                  <a:lnTo>
                    <a:pt x="465" y="29"/>
                  </a:lnTo>
                  <a:lnTo>
                    <a:pt x="453" y="12"/>
                  </a:lnTo>
                  <a:lnTo>
                    <a:pt x="453" y="6"/>
                  </a:lnTo>
                  <a:lnTo>
                    <a:pt x="453" y="0"/>
                  </a:lnTo>
                  <a:lnTo>
                    <a:pt x="447" y="0"/>
                  </a:lnTo>
                  <a:lnTo>
                    <a:pt x="442" y="0"/>
                  </a:lnTo>
                  <a:lnTo>
                    <a:pt x="418" y="0"/>
                  </a:lnTo>
                  <a:lnTo>
                    <a:pt x="407" y="0"/>
                  </a:lnTo>
                  <a:lnTo>
                    <a:pt x="378" y="0"/>
                  </a:lnTo>
                  <a:lnTo>
                    <a:pt x="349" y="6"/>
                  </a:lnTo>
                  <a:lnTo>
                    <a:pt x="337" y="6"/>
                  </a:lnTo>
                  <a:lnTo>
                    <a:pt x="302" y="6"/>
                  </a:lnTo>
                  <a:lnTo>
                    <a:pt x="296" y="6"/>
                  </a:lnTo>
                  <a:lnTo>
                    <a:pt x="273" y="6"/>
                  </a:lnTo>
                  <a:lnTo>
                    <a:pt x="267" y="6"/>
                  </a:lnTo>
                  <a:lnTo>
                    <a:pt x="262"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2" name="Freeform 43"/>
            <p:cNvSpPr>
              <a:spLocks/>
            </p:cNvSpPr>
            <p:nvPr/>
          </p:nvSpPr>
          <p:spPr bwMode="auto">
            <a:xfrm>
              <a:off x="3078" y="2648"/>
              <a:ext cx="679" cy="359"/>
            </a:xfrm>
            <a:custGeom>
              <a:avLst/>
              <a:gdLst>
                <a:gd name="T0" fmla="*/ 679 w 679"/>
                <a:gd name="T1" fmla="*/ 145 h 359"/>
                <a:gd name="T2" fmla="*/ 679 w 679"/>
                <a:gd name="T3" fmla="*/ 174 h 359"/>
                <a:gd name="T4" fmla="*/ 679 w 679"/>
                <a:gd name="T5" fmla="*/ 220 h 359"/>
                <a:gd name="T6" fmla="*/ 679 w 679"/>
                <a:gd name="T7" fmla="*/ 243 h 359"/>
                <a:gd name="T8" fmla="*/ 679 w 679"/>
                <a:gd name="T9" fmla="*/ 284 h 359"/>
                <a:gd name="T10" fmla="*/ 679 w 679"/>
                <a:gd name="T11" fmla="*/ 342 h 359"/>
                <a:gd name="T12" fmla="*/ 679 w 679"/>
                <a:gd name="T13" fmla="*/ 359 h 359"/>
                <a:gd name="T14" fmla="*/ 639 w 679"/>
                <a:gd name="T15" fmla="*/ 359 h 359"/>
                <a:gd name="T16" fmla="*/ 610 w 679"/>
                <a:gd name="T17" fmla="*/ 359 h 359"/>
                <a:gd name="T18" fmla="*/ 581 w 679"/>
                <a:gd name="T19" fmla="*/ 359 h 359"/>
                <a:gd name="T20" fmla="*/ 557 w 679"/>
                <a:gd name="T21" fmla="*/ 359 h 359"/>
                <a:gd name="T22" fmla="*/ 511 w 679"/>
                <a:gd name="T23" fmla="*/ 359 h 359"/>
                <a:gd name="T24" fmla="*/ 482 w 679"/>
                <a:gd name="T25" fmla="*/ 359 h 359"/>
                <a:gd name="T26" fmla="*/ 447 w 679"/>
                <a:gd name="T27" fmla="*/ 359 h 359"/>
                <a:gd name="T28" fmla="*/ 401 w 679"/>
                <a:gd name="T29" fmla="*/ 359 h 359"/>
                <a:gd name="T30" fmla="*/ 366 w 679"/>
                <a:gd name="T31" fmla="*/ 359 h 359"/>
                <a:gd name="T32" fmla="*/ 337 w 679"/>
                <a:gd name="T33" fmla="*/ 359 h 359"/>
                <a:gd name="T34" fmla="*/ 302 w 679"/>
                <a:gd name="T35" fmla="*/ 359 h 359"/>
                <a:gd name="T36" fmla="*/ 250 w 679"/>
                <a:gd name="T37" fmla="*/ 354 h 359"/>
                <a:gd name="T38" fmla="*/ 232 w 679"/>
                <a:gd name="T39" fmla="*/ 354 h 359"/>
                <a:gd name="T40" fmla="*/ 186 w 679"/>
                <a:gd name="T41" fmla="*/ 354 h 359"/>
                <a:gd name="T42" fmla="*/ 134 w 679"/>
                <a:gd name="T43" fmla="*/ 348 h 359"/>
                <a:gd name="T44" fmla="*/ 93 w 679"/>
                <a:gd name="T45" fmla="*/ 348 h 359"/>
                <a:gd name="T46" fmla="*/ 64 w 679"/>
                <a:gd name="T47" fmla="*/ 348 h 359"/>
                <a:gd name="T48" fmla="*/ 24 w 679"/>
                <a:gd name="T49" fmla="*/ 342 h 359"/>
                <a:gd name="T50" fmla="*/ 0 w 679"/>
                <a:gd name="T51" fmla="*/ 313 h 359"/>
                <a:gd name="T52" fmla="*/ 6 w 679"/>
                <a:gd name="T53" fmla="*/ 272 h 359"/>
                <a:gd name="T54" fmla="*/ 6 w 679"/>
                <a:gd name="T55" fmla="*/ 226 h 359"/>
                <a:gd name="T56" fmla="*/ 12 w 679"/>
                <a:gd name="T57" fmla="*/ 185 h 359"/>
                <a:gd name="T58" fmla="*/ 12 w 679"/>
                <a:gd name="T59" fmla="*/ 151 h 359"/>
                <a:gd name="T60" fmla="*/ 18 w 679"/>
                <a:gd name="T61" fmla="*/ 110 h 359"/>
                <a:gd name="T62" fmla="*/ 18 w 679"/>
                <a:gd name="T63" fmla="*/ 69 h 359"/>
                <a:gd name="T64" fmla="*/ 24 w 679"/>
                <a:gd name="T65" fmla="*/ 0 h 359"/>
                <a:gd name="T66" fmla="*/ 105 w 679"/>
                <a:gd name="T67" fmla="*/ 6 h 359"/>
                <a:gd name="T68" fmla="*/ 140 w 679"/>
                <a:gd name="T69" fmla="*/ 6 h 359"/>
                <a:gd name="T70" fmla="*/ 186 w 679"/>
                <a:gd name="T71" fmla="*/ 11 h 359"/>
                <a:gd name="T72" fmla="*/ 238 w 679"/>
                <a:gd name="T73" fmla="*/ 11 h 359"/>
                <a:gd name="T74" fmla="*/ 273 w 679"/>
                <a:gd name="T75" fmla="*/ 11 h 359"/>
                <a:gd name="T76" fmla="*/ 302 w 679"/>
                <a:gd name="T77" fmla="*/ 17 h 359"/>
                <a:gd name="T78" fmla="*/ 331 w 679"/>
                <a:gd name="T79" fmla="*/ 17 h 359"/>
                <a:gd name="T80" fmla="*/ 366 w 679"/>
                <a:gd name="T81" fmla="*/ 17 h 359"/>
                <a:gd name="T82" fmla="*/ 389 w 679"/>
                <a:gd name="T83" fmla="*/ 17 h 359"/>
                <a:gd name="T84" fmla="*/ 430 w 679"/>
                <a:gd name="T85" fmla="*/ 17 h 359"/>
                <a:gd name="T86" fmla="*/ 453 w 679"/>
                <a:gd name="T87" fmla="*/ 17 h 359"/>
                <a:gd name="T88" fmla="*/ 482 w 679"/>
                <a:gd name="T89" fmla="*/ 17 h 359"/>
                <a:gd name="T90" fmla="*/ 523 w 679"/>
                <a:gd name="T91" fmla="*/ 17 h 359"/>
                <a:gd name="T92" fmla="*/ 540 w 679"/>
                <a:gd name="T93" fmla="*/ 17 h 359"/>
                <a:gd name="T94" fmla="*/ 569 w 679"/>
                <a:gd name="T95" fmla="*/ 17 h 359"/>
                <a:gd name="T96" fmla="*/ 627 w 679"/>
                <a:gd name="T97" fmla="*/ 35 h 359"/>
                <a:gd name="T98" fmla="*/ 645 w 679"/>
                <a:gd name="T99" fmla="*/ 35 h 359"/>
                <a:gd name="T100" fmla="*/ 639 w 679"/>
                <a:gd name="T101" fmla="*/ 58 h 359"/>
                <a:gd name="T102" fmla="*/ 639 w 679"/>
                <a:gd name="T103" fmla="*/ 75 h 359"/>
                <a:gd name="T104" fmla="*/ 650 w 679"/>
                <a:gd name="T105" fmla="*/ 93 h 359"/>
                <a:gd name="T106" fmla="*/ 674 w 679"/>
                <a:gd name="T107" fmla="*/ 116 h 359"/>
                <a:gd name="T108" fmla="*/ 674 w 679"/>
                <a:gd name="T109" fmla="*/ 122 h 3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79"/>
                <a:gd name="T166" fmla="*/ 0 h 359"/>
                <a:gd name="T167" fmla="*/ 679 w 679"/>
                <a:gd name="T168" fmla="*/ 359 h 3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79" h="359">
                  <a:moveTo>
                    <a:pt x="674" y="127"/>
                  </a:moveTo>
                  <a:lnTo>
                    <a:pt x="679" y="133"/>
                  </a:lnTo>
                  <a:lnTo>
                    <a:pt x="679" y="145"/>
                  </a:lnTo>
                  <a:lnTo>
                    <a:pt x="679" y="151"/>
                  </a:lnTo>
                  <a:lnTo>
                    <a:pt x="679" y="162"/>
                  </a:lnTo>
                  <a:lnTo>
                    <a:pt x="679" y="174"/>
                  </a:lnTo>
                  <a:lnTo>
                    <a:pt x="679" y="191"/>
                  </a:lnTo>
                  <a:lnTo>
                    <a:pt x="679" y="203"/>
                  </a:lnTo>
                  <a:lnTo>
                    <a:pt x="679" y="220"/>
                  </a:lnTo>
                  <a:lnTo>
                    <a:pt x="679" y="226"/>
                  </a:lnTo>
                  <a:lnTo>
                    <a:pt x="679" y="238"/>
                  </a:lnTo>
                  <a:lnTo>
                    <a:pt x="679" y="243"/>
                  </a:lnTo>
                  <a:lnTo>
                    <a:pt x="679" y="255"/>
                  </a:lnTo>
                  <a:lnTo>
                    <a:pt x="679" y="272"/>
                  </a:lnTo>
                  <a:lnTo>
                    <a:pt x="679" y="284"/>
                  </a:lnTo>
                  <a:lnTo>
                    <a:pt x="679" y="301"/>
                  </a:lnTo>
                  <a:lnTo>
                    <a:pt x="679" y="319"/>
                  </a:lnTo>
                  <a:lnTo>
                    <a:pt x="679" y="342"/>
                  </a:lnTo>
                  <a:lnTo>
                    <a:pt x="679" y="348"/>
                  </a:lnTo>
                  <a:lnTo>
                    <a:pt x="679" y="354"/>
                  </a:lnTo>
                  <a:lnTo>
                    <a:pt x="679" y="359"/>
                  </a:lnTo>
                  <a:lnTo>
                    <a:pt x="668" y="359"/>
                  </a:lnTo>
                  <a:lnTo>
                    <a:pt x="645" y="359"/>
                  </a:lnTo>
                  <a:lnTo>
                    <a:pt x="639" y="359"/>
                  </a:lnTo>
                  <a:lnTo>
                    <a:pt x="621" y="359"/>
                  </a:lnTo>
                  <a:lnTo>
                    <a:pt x="616" y="359"/>
                  </a:lnTo>
                  <a:lnTo>
                    <a:pt x="610" y="359"/>
                  </a:lnTo>
                  <a:lnTo>
                    <a:pt x="598" y="359"/>
                  </a:lnTo>
                  <a:lnTo>
                    <a:pt x="586" y="359"/>
                  </a:lnTo>
                  <a:lnTo>
                    <a:pt x="581" y="359"/>
                  </a:lnTo>
                  <a:lnTo>
                    <a:pt x="575" y="359"/>
                  </a:lnTo>
                  <a:lnTo>
                    <a:pt x="563" y="359"/>
                  </a:lnTo>
                  <a:lnTo>
                    <a:pt x="557" y="359"/>
                  </a:lnTo>
                  <a:lnTo>
                    <a:pt x="552" y="359"/>
                  </a:lnTo>
                  <a:lnTo>
                    <a:pt x="540" y="359"/>
                  </a:lnTo>
                  <a:lnTo>
                    <a:pt x="511" y="359"/>
                  </a:lnTo>
                  <a:lnTo>
                    <a:pt x="505" y="359"/>
                  </a:lnTo>
                  <a:lnTo>
                    <a:pt x="494" y="359"/>
                  </a:lnTo>
                  <a:lnTo>
                    <a:pt x="482" y="359"/>
                  </a:lnTo>
                  <a:lnTo>
                    <a:pt x="470" y="359"/>
                  </a:lnTo>
                  <a:lnTo>
                    <a:pt x="459" y="359"/>
                  </a:lnTo>
                  <a:lnTo>
                    <a:pt x="447" y="359"/>
                  </a:lnTo>
                  <a:lnTo>
                    <a:pt x="430" y="359"/>
                  </a:lnTo>
                  <a:lnTo>
                    <a:pt x="418" y="359"/>
                  </a:lnTo>
                  <a:lnTo>
                    <a:pt x="401" y="359"/>
                  </a:lnTo>
                  <a:lnTo>
                    <a:pt x="389" y="359"/>
                  </a:lnTo>
                  <a:lnTo>
                    <a:pt x="372" y="359"/>
                  </a:lnTo>
                  <a:lnTo>
                    <a:pt x="366" y="359"/>
                  </a:lnTo>
                  <a:lnTo>
                    <a:pt x="360" y="359"/>
                  </a:lnTo>
                  <a:lnTo>
                    <a:pt x="343" y="359"/>
                  </a:lnTo>
                  <a:lnTo>
                    <a:pt x="337" y="359"/>
                  </a:lnTo>
                  <a:lnTo>
                    <a:pt x="325" y="359"/>
                  </a:lnTo>
                  <a:lnTo>
                    <a:pt x="320" y="359"/>
                  </a:lnTo>
                  <a:lnTo>
                    <a:pt x="302" y="359"/>
                  </a:lnTo>
                  <a:lnTo>
                    <a:pt x="296" y="359"/>
                  </a:lnTo>
                  <a:lnTo>
                    <a:pt x="279" y="354"/>
                  </a:lnTo>
                  <a:lnTo>
                    <a:pt x="250" y="354"/>
                  </a:lnTo>
                  <a:lnTo>
                    <a:pt x="244" y="354"/>
                  </a:lnTo>
                  <a:lnTo>
                    <a:pt x="238" y="354"/>
                  </a:lnTo>
                  <a:lnTo>
                    <a:pt x="232" y="354"/>
                  </a:lnTo>
                  <a:lnTo>
                    <a:pt x="227" y="354"/>
                  </a:lnTo>
                  <a:lnTo>
                    <a:pt x="192" y="354"/>
                  </a:lnTo>
                  <a:lnTo>
                    <a:pt x="186" y="354"/>
                  </a:lnTo>
                  <a:lnTo>
                    <a:pt x="180" y="354"/>
                  </a:lnTo>
                  <a:lnTo>
                    <a:pt x="174" y="354"/>
                  </a:lnTo>
                  <a:lnTo>
                    <a:pt x="134" y="348"/>
                  </a:lnTo>
                  <a:lnTo>
                    <a:pt x="128" y="348"/>
                  </a:lnTo>
                  <a:lnTo>
                    <a:pt x="99" y="348"/>
                  </a:lnTo>
                  <a:lnTo>
                    <a:pt x="93" y="348"/>
                  </a:lnTo>
                  <a:lnTo>
                    <a:pt x="87" y="348"/>
                  </a:lnTo>
                  <a:lnTo>
                    <a:pt x="82" y="348"/>
                  </a:lnTo>
                  <a:lnTo>
                    <a:pt x="64" y="348"/>
                  </a:lnTo>
                  <a:lnTo>
                    <a:pt x="47" y="348"/>
                  </a:lnTo>
                  <a:lnTo>
                    <a:pt x="29" y="342"/>
                  </a:lnTo>
                  <a:lnTo>
                    <a:pt x="24" y="342"/>
                  </a:lnTo>
                  <a:lnTo>
                    <a:pt x="0" y="342"/>
                  </a:lnTo>
                  <a:lnTo>
                    <a:pt x="0" y="325"/>
                  </a:lnTo>
                  <a:lnTo>
                    <a:pt x="0" y="313"/>
                  </a:lnTo>
                  <a:lnTo>
                    <a:pt x="6" y="296"/>
                  </a:lnTo>
                  <a:lnTo>
                    <a:pt x="6" y="284"/>
                  </a:lnTo>
                  <a:lnTo>
                    <a:pt x="6" y="272"/>
                  </a:lnTo>
                  <a:lnTo>
                    <a:pt x="6" y="267"/>
                  </a:lnTo>
                  <a:lnTo>
                    <a:pt x="6" y="255"/>
                  </a:lnTo>
                  <a:lnTo>
                    <a:pt x="6" y="226"/>
                  </a:lnTo>
                  <a:lnTo>
                    <a:pt x="12" y="214"/>
                  </a:lnTo>
                  <a:lnTo>
                    <a:pt x="12" y="197"/>
                  </a:lnTo>
                  <a:lnTo>
                    <a:pt x="12" y="185"/>
                  </a:lnTo>
                  <a:lnTo>
                    <a:pt x="12" y="180"/>
                  </a:lnTo>
                  <a:lnTo>
                    <a:pt x="12" y="156"/>
                  </a:lnTo>
                  <a:lnTo>
                    <a:pt x="12" y="151"/>
                  </a:lnTo>
                  <a:lnTo>
                    <a:pt x="12" y="139"/>
                  </a:lnTo>
                  <a:lnTo>
                    <a:pt x="18" y="116"/>
                  </a:lnTo>
                  <a:lnTo>
                    <a:pt x="18" y="110"/>
                  </a:lnTo>
                  <a:lnTo>
                    <a:pt x="18" y="104"/>
                  </a:lnTo>
                  <a:lnTo>
                    <a:pt x="18" y="98"/>
                  </a:lnTo>
                  <a:lnTo>
                    <a:pt x="18" y="69"/>
                  </a:lnTo>
                  <a:lnTo>
                    <a:pt x="18" y="58"/>
                  </a:lnTo>
                  <a:lnTo>
                    <a:pt x="18" y="52"/>
                  </a:lnTo>
                  <a:lnTo>
                    <a:pt x="24" y="0"/>
                  </a:lnTo>
                  <a:lnTo>
                    <a:pt x="82" y="6"/>
                  </a:lnTo>
                  <a:lnTo>
                    <a:pt x="87" y="6"/>
                  </a:lnTo>
                  <a:lnTo>
                    <a:pt x="105" y="6"/>
                  </a:lnTo>
                  <a:lnTo>
                    <a:pt x="128" y="6"/>
                  </a:lnTo>
                  <a:lnTo>
                    <a:pt x="134" y="6"/>
                  </a:lnTo>
                  <a:lnTo>
                    <a:pt x="140" y="6"/>
                  </a:lnTo>
                  <a:lnTo>
                    <a:pt x="151" y="11"/>
                  </a:lnTo>
                  <a:lnTo>
                    <a:pt x="169" y="11"/>
                  </a:lnTo>
                  <a:lnTo>
                    <a:pt x="186" y="11"/>
                  </a:lnTo>
                  <a:lnTo>
                    <a:pt x="192" y="11"/>
                  </a:lnTo>
                  <a:lnTo>
                    <a:pt x="221" y="11"/>
                  </a:lnTo>
                  <a:lnTo>
                    <a:pt x="238" y="11"/>
                  </a:lnTo>
                  <a:lnTo>
                    <a:pt x="256" y="11"/>
                  </a:lnTo>
                  <a:lnTo>
                    <a:pt x="261" y="11"/>
                  </a:lnTo>
                  <a:lnTo>
                    <a:pt x="273" y="11"/>
                  </a:lnTo>
                  <a:lnTo>
                    <a:pt x="279" y="11"/>
                  </a:lnTo>
                  <a:lnTo>
                    <a:pt x="285" y="17"/>
                  </a:lnTo>
                  <a:lnTo>
                    <a:pt x="302" y="17"/>
                  </a:lnTo>
                  <a:lnTo>
                    <a:pt x="314" y="17"/>
                  </a:lnTo>
                  <a:lnTo>
                    <a:pt x="325" y="17"/>
                  </a:lnTo>
                  <a:lnTo>
                    <a:pt x="331" y="17"/>
                  </a:lnTo>
                  <a:lnTo>
                    <a:pt x="343" y="17"/>
                  </a:lnTo>
                  <a:lnTo>
                    <a:pt x="354" y="17"/>
                  </a:lnTo>
                  <a:lnTo>
                    <a:pt x="366" y="17"/>
                  </a:lnTo>
                  <a:lnTo>
                    <a:pt x="378" y="17"/>
                  </a:lnTo>
                  <a:lnTo>
                    <a:pt x="383" y="17"/>
                  </a:lnTo>
                  <a:lnTo>
                    <a:pt x="389" y="17"/>
                  </a:lnTo>
                  <a:lnTo>
                    <a:pt x="395" y="17"/>
                  </a:lnTo>
                  <a:lnTo>
                    <a:pt x="412" y="17"/>
                  </a:lnTo>
                  <a:lnTo>
                    <a:pt x="430" y="17"/>
                  </a:lnTo>
                  <a:lnTo>
                    <a:pt x="436" y="17"/>
                  </a:lnTo>
                  <a:lnTo>
                    <a:pt x="441" y="17"/>
                  </a:lnTo>
                  <a:lnTo>
                    <a:pt x="453" y="17"/>
                  </a:lnTo>
                  <a:lnTo>
                    <a:pt x="470" y="17"/>
                  </a:lnTo>
                  <a:lnTo>
                    <a:pt x="476" y="17"/>
                  </a:lnTo>
                  <a:lnTo>
                    <a:pt x="482" y="17"/>
                  </a:lnTo>
                  <a:lnTo>
                    <a:pt x="488" y="17"/>
                  </a:lnTo>
                  <a:lnTo>
                    <a:pt x="511" y="17"/>
                  </a:lnTo>
                  <a:lnTo>
                    <a:pt x="523" y="17"/>
                  </a:lnTo>
                  <a:lnTo>
                    <a:pt x="528" y="17"/>
                  </a:lnTo>
                  <a:lnTo>
                    <a:pt x="534" y="17"/>
                  </a:lnTo>
                  <a:lnTo>
                    <a:pt x="540" y="17"/>
                  </a:lnTo>
                  <a:lnTo>
                    <a:pt x="552" y="17"/>
                  </a:lnTo>
                  <a:lnTo>
                    <a:pt x="563" y="17"/>
                  </a:lnTo>
                  <a:lnTo>
                    <a:pt x="569" y="17"/>
                  </a:lnTo>
                  <a:lnTo>
                    <a:pt x="610" y="17"/>
                  </a:lnTo>
                  <a:lnTo>
                    <a:pt x="616" y="17"/>
                  </a:lnTo>
                  <a:lnTo>
                    <a:pt x="627" y="35"/>
                  </a:lnTo>
                  <a:lnTo>
                    <a:pt x="639" y="35"/>
                  </a:lnTo>
                  <a:lnTo>
                    <a:pt x="639" y="29"/>
                  </a:lnTo>
                  <a:lnTo>
                    <a:pt x="645" y="35"/>
                  </a:lnTo>
                  <a:lnTo>
                    <a:pt x="650" y="40"/>
                  </a:lnTo>
                  <a:lnTo>
                    <a:pt x="650" y="52"/>
                  </a:lnTo>
                  <a:lnTo>
                    <a:pt x="639" y="58"/>
                  </a:lnTo>
                  <a:lnTo>
                    <a:pt x="639" y="64"/>
                  </a:lnTo>
                  <a:lnTo>
                    <a:pt x="633" y="69"/>
                  </a:lnTo>
                  <a:lnTo>
                    <a:pt x="639" y="75"/>
                  </a:lnTo>
                  <a:lnTo>
                    <a:pt x="639" y="81"/>
                  </a:lnTo>
                  <a:lnTo>
                    <a:pt x="645" y="87"/>
                  </a:lnTo>
                  <a:lnTo>
                    <a:pt x="650" y="93"/>
                  </a:lnTo>
                  <a:lnTo>
                    <a:pt x="650" y="98"/>
                  </a:lnTo>
                  <a:lnTo>
                    <a:pt x="662" y="110"/>
                  </a:lnTo>
                  <a:lnTo>
                    <a:pt x="674" y="116"/>
                  </a:lnTo>
                  <a:lnTo>
                    <a:pt x="679" y="116"/>
                  </a:lnTo>
                  <a:lnTo>
                    <a:pt x="674" y="116"/>
                  </a:lnTo>
                  <a:lnTo>
                    <a:pt x="674" y="122"/>
                  </a:lnTo>
                  <a:lnTo>
                    <a:pt x="674" y="12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3" name="Freeform 44"/>
            <p:cNvSpPr>
              <a:spLocks/>
            </p:cNvSpPr>
            <p:nvPr/>
          </p:nvSpPr>
          <p:spPr bwMode="auto">
            <a:xfrm>
              <a:off x="3537" y="1598"/>
              <a:ext cx="592" cy="673"/>
            </a:xfrm>
            <a:custGeom>
              <a:avLst/>
              <a:gdLst>
                <a:gd name="T0" fmla="*/ 58 w 592"/>
                <a:gd name="T1" fmla="*/ 470 h 673"/>
                <a:gd name="T2" fmla="*/ 46 w 592"/>
                <a:gd name="T3" fmla="*/ 452 h 673"/>
                <a:gd name="T4" fmla="*/ 40 w 592"/>
                <a:gd name="T5" fmla="*/ 412 h 673"/>
                <a:gd name="T6" fmla="*/ 46 w 592"/>
                <a:gd name="T7" fmla="*/ 383 h 673"/>
                <a:gd name="T8" fmla="*/ 35 w 592"/>
                <a:gd name="T9" fmla="*/ 313 h 673"/>
                <a:gd name="T10" fmla="*/ 29 w 592"/>
                <a:gd name="T11" fmla="*/ 272 h 673"/>
                <a:gd name="T12" fmla="*/ 29 w 592"/>
                <a:gd name="T13" fmla="*/ 243 h 673"/>
                <a:gd name="T14" fmla="*/ 29 w 592"/>
                <a:gd name="T15" fmla="*/ 214 h 673"/>
                <a:gd name="T16" fmla="*/ 17 w 592"/>
                <a:gd name="T17" fmla="*/ 168 h 673"/>
                <a:gd name="T18" fmla="*/ 6 w 592"/>
                <a:gd name="T19" fmla="*/ 110 h 673"/>
                <a:gd name="T20" fmla="*/ 0 w 592"/>
                <a:gd name="T21" fmla="*/ 40 h 673"/>
                <a:gd name="T22" fmla="*/ 157 w 592"/>
                <a:gd name="T23" fmla="*/ 40 h 673"/>
                <a:gd name="T24" fmla="*/ 186 w 592"/>
                <a:gd name="T25" fmla="*/ 6 h 673"/>
                <a:gd name="T26" fmla="*/ 215 w 592"/>
                <a:gd name="T27" fmla="*/ 75 h 673"/>
                <a:gd name="T28" fmla="*/ 261 w 592"/>
                <a:gd name="T29" fmla="*/ 81 h 673"/>
                <a:gd name="T30" fmla="*/ 290 w 592"/>
                <a:gd name="T31" fmla="*/ 87 h 673"/>
                <a:gd name="T32" fmla="*/ 313 w 592"/>
                <a:gd name="T33" fmla="*/ 81 h 673"/>
                <a:gd name="T34" fmla="*/ 348 w 592"/>
                <a:gd name="T35" fmla="*/ 87 h 673"/>
                <a:gd name="T36" fmla="*/ 371 w 592"/>
                <a:gd name="T37" fmla="*/ 127 h 673"/>
                <a:gd name="T38" fmla="*/ 394 w 592"/>
                <a:gd name="T39" fmla="*/ 110 h 673"/>
                <a:gd name="T40" fmla="*/ 418 w 592"/>
                <a:gd name="T41" fmla="*/ 127 h 673"/>
                <a:gd name="T42" fmla="*/ 476 w 592"/>
                <a:gd name="T43" fmla="*/ 122 h 673"/>
                <a:gd name="T44" fmla="*/ 505 w 592"/>
                <a:gd name="T45" fmla="*/ 133 h 673"/>
                <a:gd name="T46" fmla="*/ 563 w 592"/>
                <a:gd name="T47" fmla="*/ 139 h 673"/>
                <a:gd name="T48" fmla="*/ 557 w 592"/>
                <a:gd name="T49" fmla="*/ 162 h 673"/>
                <a:gd name="T50" fmla="*/ 482 w 592"/>
                <a:gd name="T51" fmla="*/ 209 h 673"/>
                <a:gd name="T52" fmla="*/ 423 w 592"/>
                <a:gd name="T53" fmla="*/ 272 h 673"/>
                <a:gd name="T54" fmla="*/ 406 w 592"/>
                <a:gd name="T55" fmla="*/ 296 h 673"/>
                <a:gd name="T56" fmla="*/ 389 w 592"/>
                <a:gd name="T57" fmla="*/ 301 h 673"/>
                <a:gd name="T58" fmla="*/ 389 w 592"/>
                <a:gd name="T59" fmla="*/ 330 h 673"/>
                <a:gd name="T60" fmla="*/ 354 w 592"/>
                <a:gd name="T61" fmla="*/ 400 h 673"/>
                <a:gd name="T62" fmla="*/ 354 w 592"/>
                <a:gd name="T63" fmla="*/ 429 h 673"/>
                <a:gd name="T64" fmla="*/ 354 w 592"/>
                <a:gd name="T65" fmla="*/ 470 h 673"/>
                <a:gd name="T66" fmla="*/ 354 w 592"/>
                <a:gd name="T67" fmla="*/ 510 h 673"/>
                <a:gd name="T68" fmla="*/ 377 w 592"/>
                <a:gd name="T69" fmla="*/ 545 h 673"/>
                <a:gd name="T70" fmla="*/ 400 w 592"/>
                <a:gd name="T71" fmla="*/ 557 h 673"/>
                <a:gd name="T72" fmla="*/ 423 w 592"/>
                <a:gd name="T73" fmla="*/ 563 h 673"/>
                <a:gd name="T74" fmla="*/ 447 w 592"/>
                <a:gd name="T75" fmla="*/ 592 h 673"/>
                <a:gd name="T76" fmla="*/ 464 w 592"/>
                <a:gd name="T77" fmla="*/ 603 h 673"/>
                <a:gd name="T78" fmla="*/ 482 w 592"/>
                <a:gd name="T79" fmla="*/ 621 h 673"/>
                <a:gd name="T80" fmla="*/ 487 w 592"/>
                <a:gd name="T81" fmla="*/ 650 h 673"/>
                <a:gd name="T82" fmla="*/ 482 w 592"/>
                <a:gd name="T83" fmla="*/ 661 h 673"/>
                <a:gd name="T84" fmla="*/ 418 w 592"/>
                <a:gd name="T85" fmla="*/ 661 h 673"/>
                <a:gd name="T86" fmla="*/ 342 w 592"/>
                <a:gd name="T87" fmla="*/ 667 h 673"/>
                <a:gd name="T88" fmla="*/ 307 w 592"/>
                <a:gd name="T89" fmla="*/ 667 h 673"/>
                <a:gd name="T90" fmla="*/ 273 w 592"/>
                <a:gd name="T91" fmla="*/ 667 h 673"/>
                <a:gd name="T92" fmla="*/ 226 w 592"/>
                <a:gd name="T93" fmla="*/ 667 h 673"/>
                <a:gd name="T94" fmla="*/ 197 w 592"/>
                <a:gd name="T95" fmla="*/ 673 h 673"/>
                <a:gd name="T96" fmla="*/ 168 w 592"/>
                <a:gd name="T97" fmla="*/ 673 h 673"/>
                <a:gd name="T98" fmla="*/ 139 w 592"/>
                <a:gd name="T99" fmla="*/ 673 h 673"/>
                <a:gd name="T100" fmla="*/ 98 w 592"/>
                <a:gd name="T101" fmla="*/ 673 h 673"/>
                <a:gd name="T102" fmla="*/ 75 w 592"/>
                <a:gd name="T103" fmla="*/ 673 h 673"/>
                <a:gd name="T104" fmla="*/ 58 w 592"/>
                <a:gd name="T105" fmla="*/ 655 h 673"/>
                <a:gd name="T106" fmla="*/ 58 w 592"/>
                <a:gd name="T107" fmla="*/ 615 h 673"/>
                <a:gd name="T108" fmla="*/ 58 w 592"/>
                <a:gd name="T109" fmla="*/ 551 h 673"/>
                <a:gd name="T110" fmla="*/ 58 w 592"/>
                <a:gd name="T111" fmla="*/ 522 h 67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2"/>
                <a:gd name="T169" fmla="*/ 0 h 673"/>
                <a:gd name="T170" fmla="*/ 592 w 592"/>
                <a:gd name="T171" fmla="*/ 673 h 67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2" h="673">
                  <a:moveTo>
                    <a:pt x="58" y="522"/>
                  </a:moveTo>
                  <a:lnTo>
                    <a:pt x="58" y="505"/>
                  </a:lnTo>
                  <a:lnTo>
                    <a:pt x="58" y="470"/>
                  </a:lnTo>
                  <a:lnTo>
                    <a:pt x="58" y="464"/>
                  </a:lnTo>
                  <a:lnTo>
                    <a:pt x="52" y="458"/>
                  </a:lnTo>
                  <a:lnTo>
                    <a:pt x="46" y="452"/>
                  </a:lnTo>
                  <a:lnTo>
                    <a:pt x="29" y="435"/>
                  </a:lnTo>
                  <a:lnTo>
                    <a:pt x="23" y="429"/>
                  </a:lnTo>
                  <a:lnTo>
                    <a:pt x="40" y="412"/>
                  </a:lnTo>
                  <a:lnTo>
                    <a:pt x="46" y="394"/>
                  </a:lnTo>
                  <a:lnTo>
                    <a:pt x="46" y="389"/>
                  </a:lnTo>
                  <a:lnTo>
                    <a:pt x="46" y="383"/>
                  </a:lnTo>
                  <a:lnTo>
                    <a:pt x="46" y="348"/>
                  </a:lnTo>
                  <a:lnTo>
                    <a:pt x="35" y="330"/>
                  </a:lnTo>
                  <a:lnTo>
                    <a:pt x="35" y="313"/>
                  </a:lnTo>
                  <a:lnTo>
                    <a:pt x="29" y="313"/>
                  </a:lnTo>
                  <a:lnTo>
                    <a:pt x="35" y="284"/>
                  </a:lnTo>
                  <a:lnTo>
                    <a:pt x="29" y="272"/>
                  </a:lnTo>
                  <a:lnTo>
                    <a:pt x="29" y="255"/>
                  </a:lnTo>
                  <a:lnTo>
                    <a:pt x="29" y="249"/>
                  </a:lnTo>
                  <a:lnTo>
                    <a:pt x="29" y="243"/>
                  </a:lnTo>
                  <a:lnTo>
                    <a:pt x="29" y="232"/>
                  </a:lnTo>
                  <a:lnTo>
                    <a:pt x="29" y="226"/>
                  </a:lnTo>
                  <a:lnTo>
                    <a:pt x="29" y="214"/>
                  </a:lnTo>
                  <a:lnTo>
                    <a:pt x="29" y="203"/>
                  </a:lnTo>
                  <a:lnTo>
                    <a:pt x="23" y="191"/>
                  </a:lnTo>
                  <a:lnTo>
                    <a:pt x="17" y="168"/>
                  </a:lnTo>
                  <a:lnTo>
                    <a:pt x="6" y="139"/>
                  </a:lnTo>
                  <a:lnTo>
                    <a:pt x="6" y="133"/>
                  </a:lnTo>
                  <a:lnTo>
                    <a:pt x="6" y="110"/>
                  </a:lnTo>
                  <a:lnTo>
                    <a:pt x="6" y="93"/>
                  </a:lnTo>
                  <a:lnTo>
                    <a:pt x="6" y="58"/>
                  </a:lnTo>
                  <a:lnTo>
                    <a:pt x="0" y="40"/>
                  </a:lnTo>
                  <a:lnTo>
                    <a:pt x="64" y="40"/>
                  </a:lnTo>
                  <a:lnTo>
                    <a:pt x="145" y="40"/>
                  </a:lnTo>
                  <a:lnTo>
                    <a:pt x="157" y="40"/>
                  </a:lnTo>
                  <a:lnTo>
                    <a:pt x="157" y="0"/>
                  </a:lnTo>
                  <a:lnTo>
                    <a:pt x="174" y="0"/>
                  </a:lnTo>
                  <a:lnTo>
                    <a:pt x="186" y="6"/>
                  </a:lnTo>
                  <a:lnTo>
                    <a:pt x="191" y="64"/>
                  </a:lnTo>
                  <a:lnTo>
                    <a:pt x="203" y="75"/>
                  </a:lnTo>
                  <a:lnTo>
                    <a:pt x="215" y="75"/>
                  </a:lnTo>
                  <a:lnTo>
                    <a:pt x="226" y="75"/>
                  </a:lnTo>
                  <a:lnTo>
                    <a:pt x="226" y="81"/>
                  </a:lnTo>
                  <a:lnTo>
                    <a:pt x="261" y="81"/>
                  </a:lnTo>
                  <a:lnTo>
                    <a:pt x="261" y="93"/>
                  </a:lnTo>
                  <a:lnTo>
                    <a:pt x="278" y="93"/>
                  </a:lnTo>
                  <a:lnTo>
                    <a:pt x="290" y="87"/>
                  </a:lnTo>
                  <a:lnTo>
                    <a:pt x="284" y="87"/>
                  </a:lnTo>
                  <a:lnTo>
                    <a:pt x="307" y="81"/>
                  </a:lnTo>
                  <a:lnTo>
                    <a:pt x="313" y="81"/>
                  </a:lnTo>
                  <a:lnTo>
                    <a:pt x="325" y="81"/>
                  </a:lnTo>
                  <a:lnTo>
                    <a:pt x="342" y="93"/>
                  </a:lnTo>
                  <a:lnTo>
                    <a:pt x="348" y="87"/>
                  </a:lnTo>
                  <a:lnTo>
                    <a:pt x="354" y="104"/>
                  </a:lnTo>
                  <a:lnTo>
                    <a:pt x="360" y="98"/>
                  </a:lnTo>
                  <a:lnTo>
                    <a:pt x="371" y="127"/>
                  </a:lnTo>
                  <a:lnTo>
                    <a:pt x="377" y="122"/>
                  </a:lnTo>
                  <a:lnTo>
                    <a:pt x="377" y="110"/>
                  </a:lnTo>
                  <a:lnTo>
                    <a:pt x="394" y="110"/>
                  </a:lnTo>
                  <a:lnTo>
                    <a:pt x="400" y="116"/>
                  </a:lnTo>
                  <a:lnTo>
                    <a:pt x="400" y="122"/>
                  </a:lnTo>
                  <a:lnTo>
                    <a:pt x="418" y="127"/>
                  </a:lnTo>
                  <a:lnTo>
                    <a:pt x="441" y="139"/>
                  </a:lnTo>
                  <a:lnTo>
                    <a:pt x="458" y="139"/>
                  </a:lnTo>
                  <a:lnTo>
                    <a:pt x="476" y="122"/>
                  </a:lnTo>
                  <a:lnTo>
                    <a:pt x="487" y="116"/>
                  </a:lnTo>
                  <a:lnTo>
                    <a:pt x="499" y="133"/>
                  </a:lnTo>
                  <a:lnTo>
                    <a:pt x="505" y="133"/>
                  </a:lnTo>
                  <a:lnTo>
                    <a:pt x="528" y="133"/>
                  </a:lnTo>
                  <a:lnTo>
                    <a:pt x="545" y="127"/>
                  </a:lnTo>
                  <a:lnTo>
                    <a:pt x="563" y="139"/>
                  </a:lnTo>
                  <a:lnTo>
                    <a:pt x="574" y="139"/>
                  </a:lnTo>
                  <a:lnTo>
                    <a:pt x="592" y="139"/>
                  </a:lnTo>
                  <a:lnTo>
                    <a:pt x="557" y="162"/>
                  </a:lnTo>
                  <a:lnTo>
                    <a:pt x="522" y="174"/>
                  </a:lnTo>
                  <a:lnTo>
                    <a:pt x="499" y="191"/>
                  </a:lnTo>
                  <a:lnTo>
                    <a:pt x="482" y="209"/>
                  </a:lnTo>
                  <a:lnTo>
                    <a:pt x="464" y="226"/>
                  </a:lnTo>
                  <a:lnTo>
                    <a:pt x="452" y="238"/>
                  </a:lnTo>
                  <a:lnTo>
                    <a:pt x="423" y="272"/>
                  </a:lnTo>
                  <a:lnTo>
                    <a:pt x="406" y="284"/>
                  </a:lnTo>
                  <a:lnTo>
                    <a:pt x="400" y="296"/>
                  </a:lnTo>
                  <a:lnTo>
                    <a:pt x="406" y="296"/>
                  </a:lnTo>
                  <a:lnTo>
                    <a:pt x="400" y="296"/>
                  </a:lnTo>
                  <a:lnTo>
                    <a:pt x="389" y="307"/>
                  </a:lnTo>
                  <a:lnTo>
                    <a:pt x="389" y="301"/>
                  </a:lnTo>
                  <a:lnTo>
                    <a:pt x="389" y="307"/>
                  </a:lnTo>
                  <a:lnTo>
                    <a:pt x="389" y="325"/>
                  </a:lnTo>
                  <a:lnTo>
                    <a:pt x="389" y="330"/>
                  </a:lnTo>
                  <a:lnTo>
                    <a:pt x="389" y="359"/>
                  </a:lnTo>
                  <a:lnTo>
                    <a:pt x="389" y="371"/>
                  </a:lnTo>
                  <a:lnTo>
                    <a:pt x="354" y="400"/>
                  </a:lnTo>
                  <a:lnTo>
                    <a:pt x="348" y="412"/>
                  </a:lnTo>
                  <a:lnTo>
                    <a:pt x="342" y="423"/>
                  </a:lnTo>
                  <a:lnTo>
                    <a:pt x="354" y="429"/>
                  </a:lnTo>
                  <a:lnTo>
                    <a:pt x="360" y="441"/>
                  </a:lnTo>
                  <a:lnTo>
                    <a:pt x="354" y="464"/>
                  </a:lnTo>
                  <a:lnTo>
                    <a:pt x="354" y="470"/>
                  </a:lnTo>
                  <a:lnTo>
                    <a:pt x="360" y="481"/>
                  </a:lnTo>
                  <a:lnTo>
                    <a:pt x="354" y="493"/>
                  </a:lnTo>
                  <a:lnTo>
                    <a:pt x="354" y="510"/>
                  </a:lnTo>
                  <a:lnTo>
                    <a:pt x="354" y="522"/>
                  </a:lnTo>
                  <a:lnTo>
                    <a:pt x="360" y="528"/>
                  </a:lnTo>
                  <a:lnTo>
                    <a:pt x="377" y="545"/>
                  </a:lnTo>
                  <a:lnTo>
                    <a:pt x="394" y="545"/>
                  </a:lnTo>
                  <a:lnTo>
                    <a:pt x="394" y="551"/>
                  </a:lnTo>
                  <a:lnTo>
                    <a:pt x="400" y="557"/>
                  </a:lnTo>
                  <a:lnTo>
                    <a:pt x="412" y="557"/>
                  </a:lnTo>
                  <a:lnTo>
                    <a:pt x="412" y="563"/>
                  </a:lnTo>
                  <a:lnTo>
                    <a:pt x="423" y="563"/>
                  </a:lnTo>
                  <a:lnTo>
                    <a:pt x="429" y="580"/>
                  </a:lnTo>
                  <a:lnTo>
                    <a:pt x="435" y="586"/>
                  </a:lnTo>
                  <a:lnTo>
                    <a:pt x="447" y="592"/>
                  </a:lnTo>
                  <a:lnTo>
                    <a:pt x="452" y="597"/>
                  </a:lnTo>
                  <a:lnTo>
                    <a:pt x="458" y="603"/>
                  </a:lnTo>
                  <a:lnTo>
                    <a:pt x="464" y="603"/>
                  </a:lnTo>
                  <a:lnTo>
                    <a:pt x="470" y="603"/>
                  </a:lnTo>
                  <a:lnTo>
                    <a:pt x="476" y="609"/>
                  </a:lnTo>
                  <a:lnTo>
                    <a:pt x="482" y="621"/>
                  </a:lnTo>
                  <a:lnTo>
                    <a:pt x="487" y="626"/>
                  </a:lnTo>
                  <a:lnTo>
                    <a:pt x="487" y="632"/>
                  </a:lnTo>
                  <a:lnTo>
                    <a:pt x="487" y="650"/>
                  </a:lnTo>
                  <a:lnTo>
                    <a:pt x="493" y="661"/>
                  </a:lnTo>
                  <a:lnTo>
                    <a:pt x="487" y="661"/>
                  </a:lnTo>
                  <a:lnTo>
                    <a:pt x="482" y="661"/>
                  </a:lnTo>
                  <a:lnTo>
                    <a:pt x="458" y="661"/>
                  </a:lnTo>
                  <a:lnTo>
                    <a:pt x="447" y="661"/>
                  </a:lnTo>
                  <a:lnTo>
                    <a:pt x="418" y="661"/>
                  </a:lnTo>
                  <a:lnTo>
                    <a:pt x="389" y="667"/>
                  </a:lnTo>
                  <a:lnTo>
                    <a:pt x="377" y="667"/>
                  </a:lnTo>
                  <a:lnTo>
                    <a:pt x="342" y="667"/>
                  </a:lnTo>
                  <a:lnTo>
                    <a:pt x="336" y="667"/>
                  </a:lnTo>
                  <a:lnTo>
                    <a:pt x="313" y="667"/>
                  </a:lnTo>
                  <a:lnTo>
                    <a:pt x="307" y="667"/>
                  </a:lnTo>
                  <a:lnTo>
                    <a:pt x="302" y="667"/>
                  </a:lnTo>
                  <a:lnTo>
                    <a:pt x="290" y="667"/>
                  </a:lnTo>
                  <a:lnTo>
                    <a:pt x="273" y="667"/>
                  </a:lnTo>
                  <a:lnTo>
                    <a:pt x="261" y="667"/>
                  </a:lnTo>
                  <a:lnTo>
                    <a:pt x="238" y="667"/>
                  </a:lnTo>
                  <a:lnTo>
                    <a:pt x="226" y="667"/>
                  </a:lnTo>
                  <a:lnTo>
                    <a:pt x="220" y="673"/>
                  </a:lnTo>
                  <a:lnTo>
                    <a:pt x="203" y="673"/>
                  </a:lnTo>
                  <a:lnTo>
                    <a:pt x="197" y="673"/>
                  </a:lnTo>
                  <a:lnTo>
                    <a:pt x="191" y="673"/>
                  </a:lnTo>
                  <a:lnTo>
                    <a:pt x="186" y="673"/>
                  </a:lnTo>
                  <a:lnTo>
                    <a:pt x="168" y="673"/>
                  </a:lnTo>
                  <a:lnTo>
                    <a:pt x="157" y="673"/>
                  </a:lnTo>
                  <a:lnTo>
                    <a:pt x="145" y="673"/>
                  </a:lnTo>
                  <a:lnTo>
                    <a:pt x="139" y="673"/>
                  </a:lnTo>
                  <a:lnTo>
                    <a:pt x="116" y="673"/>
                  </a:lnTo>
                  <a:lnTo>
                    <a:pt x="104" y="673"/>
                  </a:lnTo>
                  <a:lnTo>
                    <a:pt x="98" y="673"/>
                  </a:lnTo>
                  <a:lnTo>
                    <a:pt x="93" y="673"/>
                  </a:lnTo>
                  <a:lnTo>
                    <a:pt x="87" y="673"/>
                  </a:lnTo>
                  <a:lnTo>
                    <a:pt x="75" y="673"/>
                  </a:lnTo>
                  <a:lnTo>
                    <a:pt x="64" y="673"/>
                  </a:lnTo>
                  <a:lnTo>
                    <a:pt x="58" y="673"/>
                  </a:lnTo>
                  <a:lnTo>
                    <a:pt x="58" y="655"/>
                  </a:lnTo>
                  <a:lnTo>
                    <a:pt x="58" y="644"/>
                  </a:lnTo>
                  <a:lnTo>
                    <a:pt x="58" y="632"/>
                  </a:lnTo>
                  <a:lnTo>
                    <a:pt x="58" y="615"/>
                  </a:lnTo>
                  <a:lnTo>
                    <a:pt x="58" y="597"/>
                  </a:lnTo>
                  <a:lnTo>
                    <a:pt x="58" y="592"/>
                  </a:lnTo>
                  <a:lnTo>
                    <a:pt x="58" y="551"/>
                  </a:lnTo>
                  <a:lnTo>
                    <a:pt x="58" y="545"/>
                  </a:lnTo>
                  <a:lnTo>
                    <a:pt x="58" y="539"/>
                  </a:lnTo>
                  <a:lnTo>
                    <a:pt x="58" y="52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4" name="Freeform 45"/>
            <p:cNvSpPr>
              <a:spLocks/>
            </p:cNvSpPr>
            <p:nvPr/>
          </p:nvSpPr>
          <p:spPr bwMode="auto">
            <a:xfrm>
              <a:off x="3653" y="2590"/>
              <a:ext cx="609" cy="516"/>
            </a:xfrm>
            <a:custGeom>
              <a:avLst/>
              <a:gdLst>
                <a:gd name="T0" fmla="*/ 174 w 609"/>
                <a:gd name="T1" fmla="*/ 11 h 516"/>
                <a:gd name="T2" fmla="*/ 215 w 609"/>
                <a:gd name="T3" fmla="*/ 6 h 516"/>
                <a:gd name="T4" fmla="*/ 267 w 609"/>
                <a:gd name="T5" fmla="*/ 6 h 516"/>
                <a:gd name="T6" fmla="*/ 307 w 609"/>
                <a:gd name="T7" fmla="*/ 0 h 516"/>
                <a:gd name="T8" fmla="*/ 348 w 609"/>
                <a:gd name="T9" fmla="*/ 0 h 516"/>
                <a:gd name="T10" fmla="*/ 371 w 609"/>
                <a:gd name="T11" fmla="*/ 40 h 516"/>
                <a:gd name="T12" fmla="*/ 377 w 609"/>
                <a:gd name="T13" fmla="*/ 75 h 516"/>
                <a:gd name="T14" fmla="*/ 389 w 609"/>
                <a:gd name="T15" fmla="*/ 104 h 516"/>
                <a:gd name="T16" fmla="*/ 418 w 609"/>
                <a:gd name="T17" fmla="*/ 127 h 516"/>
                <a:gd name="T18" fmla="*/ 447 w 609"/>
                <a:gd name="T19" fmla="*/ 151 h 516"/>
                <a:gd name="T20" fmla="*/ 458 w 609"/>
                <a:gd name="T21" fmla="*/ 191 h 516"/>
                <a:gd name="T22" fmla="*/ 482 w 609"/>
                <a:gd name="T23" fmla="*/ 180 h 516"/>
                <a:gd name="T24" fmla="*/ 499 w 609"/>
                <a:gd name="T25" fmla="*/ 203 h 516"/>
                <a:gd name="T26" fmla="*/ 487 w 609"/>
                <a:gd name="T27" fmla="*/ 232 h 516"/>
                <a:gd name="T28" fmla="*/ 499 w 609"/>
                <a:gd name="T29" fmla="*/ 278 h 516"/>
                <a:gd name="T30" fmla="*/ 528 w 609"/>
                <a:gd name="T31" fmla="*/ 301 h 516"/>
                <a:gd name="T32" fmla="*/ 569 w 609"/>
                <a:gd name="T33" fmla="*/ 325 h 516"/>
                <a:gd name="T34" fmla="*/ 569 w 609"/>
                <a:gd name="T35" fmla="*/ 359 h 516"/>
                <a:gd name="T36" fmla="*/ 586 w 609"/>
                <a:gd name="T37" fmla="*/ 394 h 516"/>
                <a:gd name="T38" fmla="*/ 609 w 609"/>
                <a:gd name="T39" fmla="*/ 400 h 516"/>
                <a:gd name="T40" fmla="*/ 603 w 609"/>
                <a:gd name="T41" fmla="*/ 423 h 516"/>
                <a:gd name="T42" fmla="*/ 586 w 609"/>
                <a:gd name="T43" fmla="*/ 441 h 516"/>
                <a:gd name="T44" fmla="*/ 574 w 609"/>
                <a:gd name="T45" fmla="*/ 452 h 516"/>
                <a:gd name="T46" fmla="*/ 569 w 609"/>
                <a:gd name="T47" fmla="*/ 493 h 516"/>
                <a:gd name="T48" fmla="*/ 516 w 609"/>
                <a:gd name="T49" fmla="*/ 516 h 516"/>
                <a:gd name="T50" fmla="*/ 505 w 609"/>
                <a:gd name="T51" fmla="*/ 504 h 516"/>
                <a:gd name="T52" fmla="*/ 516 w 609"/>
                <a:gd name="T53" fmla="*/ 458 h 516"/>
                <a:gd name="T54" fmla="*/ 464 w 609"/>
                <a:gd name="T55" fmla="*/ 464 h 516"/>
                <a:gd name="T56" fmla="*/ 429 w 609"/>
                <a:gd name="T57" fmla="*/ 464 h 516"/>
                <a:gd name="T58" fmla="*/ 389 w 609"/>
                <a:gd name="T59" fmla="*/ 464 h 516"/>
                <a:gd name="T60" fmla="*/ 336 w 609"/>
                <a:gd name="T61" fmla="*/ 470 h 516"/>
                <a:gd name="T62" fmla="*/ 296 w 609"/>
                <a:gd name="T63" fmla="*/ 470 h 516"/>
                <a:gd name="T64" fmla="*/ 249 w 609"/>
                <a:gd name="T65" fmla="*/ 470 h 516"/>
                <a:gd name="T66" fmla="*/ 215 w 609"/>
                <a:gd name="T67" fmla="*/ 470 h 516"/>
                <a:gd name="T68" fmla="*/ 174 w 609"/>
                <a:gd name="T69" fmla="*/ 475 h 516"/>
                <a:gd name="T70" fmla="*/ 128 w 609"/>
                <a:gd name="T71" fmla="*/ 475 h 516"/>
                <a:gd name="T72" fmla="*/ 104 w 609"/>
                <a:gd name="T73" fmla="*/ 458 h 516"/>
                <a:gd name="T74" fmla="*/ 104 w 609"/>
                <a:gd name="T75" fmla="*/ 423 h 516"/>
                <a:gd name="T76" fmla="*/ 104 w 609"/>
                <a:gd name="T77" fmla="*/ 400 h 516"/>
                <a:gd name="T78" fmla="*/ 104 w 609"/>
                <a:gd name="T79" fmla="*/ 330 h 516"/>
                <a:gd name="T80" fmla="*/ 104 w 609"/>
                <a:gd name="T81" fmla="*/ 284 h 516"/>
                <a:gd name="T82" fmla="*/ 104 w 609"/>
                <a:gd name="T83" fmla="*/ 232 h 516"/>
                <a:gd name="T84" fmla="*/ 104 w 609"/>
                <a:gd name="T85" fmla="*/ 191 h 516"/>
                <a:gd name="T86" fmla="*/ 104 w 609"/>
                <a:gd name="T87" fmla="*/ 174 h 516"/>
                <a:gd name="T88" fmla="*/ 75 w 609"/>
                <a:gd name="T89" fmla="*/ 151 h 516"/>
                <a:gd name="T90" fmla="*/ 58 w 609"/>
                <a:gd name="T91" fmla="*/ 127 h 516"/>
                <a:gd name="T92" fmla="*/ 75 w 609"/>
                <a:gd name="T93" fmla="*/ 98 h 516"/>
                <a:gd name="T94" fmla="*/ 52 w 609"/>
                <a:gd name="T95" fmla="*/ 93 h 516"/>
                <a:gd name="T96" fmla="*/ 17 w 609"/>
                <a:gd name="T97" fmla="*/ 46 h 516"/>
                <a:gd name="T98" fmla="*/ 0 w 609"/>
                <a:gd name="T99" fmla="*/ 17 h 516"/>
                <a:gd name="T100" fmla="*/ 41 w 609"/>
                <a:gd name="T101" fmla="*/ 11 h 516"/>
                <a:gd name="T102" fmla="*/ 87 w 609"/>
                <a:gd name="T103" fmla="*/ 11 h 516"/>
                <a:gd name="T104" fmla="*/ 133 w 609"/>
                <a:gd name="T105" fmla="*/ 11 h 5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09"/>
                <a:gd name="T160" fmla="*/ 0 h 516"/>
                <a:gd name="T161" fmla="*/ 609 w 609"/>
                <a:gd name="T162" fmla="*/ 516 h 5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09" h="516">
                  <a:moveTo>
                    <a:pt x="133" y="11"/>
                  </a:moveTo>
                  <a:lnTo>
                    <a:pt x="151" y="11"/>
                  </a:lnTo>
                  <a:lnTo>
                    <a:pt x="168" y="11"/>
                  </a:lnTo>
                  <a:lnTo>
                    <a:pt x="174" y="11"/>
                  </a:lnTo>
                  <a:lnTo>
                    <a:pt x="191" y="6"/>
                  </a:lnTo>
                  <a:lnTo>
                    <a:pt x="197" y="6"/>
                  </a:lnTo>
                  <a:lnTo>
                    <a:pt x="203" y="6"/>
                  </a:lnTo>
                  <a:lnTo>
                    <a:pt x="215" y="6"/>
                  </a:lnTo>
                  <a:lnTo>
                    <a:pt x="232" y="6"/>
                  </a:lnTo>
                  <a:lnTo>
                    <a:pt x="238" y="6"/>
                  </a:lnTo>
                  <a:lnTo>
                    <a:pt x="261" y="6"/>
                  </a:lnTo>
                  <a:lnTo>
                    <a:pt x="267" y="6"/>
                  </a:lnTo>
                  <a:lnTo>
                    <a:pt x="278" y="6"/>
                  </a:lnTo>
                  <a:lnTo>
                    <a:pt x="296" y="6"/>
                  </a:lnTo>
                  <a:lnTo>
                    <a:pt x="302" y="0"/>
                  </a:lnTo>
                  <a:lnTo>
                    <a:pt x="307" y="0"/>
                  </a:lnTo>
                  <a:lnTo>
                    <a:pt x="319" y="0"/>
                  </a:lnTo>
                  <a:lnTo>
                    <a:pt x="325" y="0"/>
                  </a:lnTo>
                  <a:lnTo>
                    <a:pt x="331" y="0"/>
                  </a:lnTo>
                  <a:lnTo>
                    <a:pt x="348" y="0"/>
                  </a:lnTo>
                  <a:lnTo>
                    <a:pt x="360" y="6"/>
                  </a:lnTo>
                  <a:lnTo>
                    <a:pt x="371" y="23"/>
                  </a:lnTo>
                  <a:lnTo>
                    <a:pt x="377" y="23"/>
                  </a:lnTo>
                  <a:lnTo>
                    <a:pt x="371" y="40"/>
                  </a:lnTo>
                  <a:lnTo>
                    <a:pt x="371" y="46"/>
                  </a:lnTo>
                  <a:lnTo>
                    <a:pt x="371" y="52"/>
                  </a:lnTo>
                  <a:lnTo>
                    <a:pt x="371" y="69"/>
                  </a:lnTo>
                  <a:lnTo>
                    <a:pt x="377" y="75"/>
                  </a:lnTo>
                  <a:lnTo>
                    <a:pt x="377" y="81"/>
                  </a:lnTo>
                  <a:lnTo>
                    <a:pt x="383" y="87"/>
                  </a:lnTo>
                  <a:lnTo>
                    <a:pt x="383" y="93"/>
                  </a:lnTo>
                  <a:lnTo>
                    <a:pt x="389" y="104"/>
                  </a:lnTo>
                  <a:lnTo>
                    <a:pt x="395" y="104"/>
                  </a:lnTo>
                  <a:lnTo>
                    <a:pt x="400" y="110"/>
                  </a:lnTo>
                  <a:lnTo>
                    <a:pt x="406" y="116"/>
                  </a:lnTo>
                  <a:lnTo>
                    <a:pt x="418" y="127"/>
                  </a:lnTo>
                  <a:lnTo>
                    <a:pt x="424" y="133"/>
                  </a:lnTo>
                  <a:lnTo>
                    <a:pt x="435" y="139"/>
                  </a:lnTo>
                  <a:lnTo>
                    <a:pt x="441" y="145"/>
                  </a:lnTo>
                  <a:lnTo>
                    <a:pt x="447" y="151"/>
                  </a:lnTo>
                  <a:lnTo>
                    <a:pt x="447" y="162"/>
                  </a:lnTo>
                  <a:lnTo>
                    <a:pt x="453" y="180"/>
                  </a:lnTo>
                  <a:lnTo>
                    <a:pt x="453" y="185"/>
                  </a:lnTo>
                  <a:lnTo>
                    <a:pt x="458" y="191"/>
                  </a:lnTo>
                  <a:lnTo>
                    <a:pt x="464" y="191"/>
                  </a:lnTo>
                  <a:lnTo>
                    <a:pt x="470" y="180"/>
                  </a:lnTo>
                  <a:lnTo>
                    <a:pt x="476" y="180"/>
                  </a:lnTo>
                  <a:lnTo>
                    <a:pt x="482" y="180"/>
                  </a:lnTo>
                  <a:lnTo>
                    <a:pt x="487" y="185"/>
                  </a:lnTo>
                  <a:lnTo>
                    <a:pt x="499" y="191"/>
                  </a:lnTo>
                  <a:lnTo>
                    <a:pt x="499" y="197"/>
                  </a:lnTo>
                  <a:lnTo>
                    <a:pt x="499" y="203"/>
                  </a:lnTo>
                  <a:lnTo>
                    <a:pt x="499" y="214"/>
                  </a:lnTo>
                  <a:lnTo>
                    <a:pt x="493" y="226"/>
                  </a:lnTo>
                  <a:lnTo>
                    <a:pt x="493" y="232"/>
                  </a:lnTo>
                  <a:lnTo>
                    <a:pt x="487" y="232"/>
                  </a:lnTo>
                  <a:lnTo>
                    <a:pt x="487" y="243"/>
                  </a:lnTo>
                  <a:lnTo>
                    <a:pt x="482" y="261"/>
                  </a:lnTo>
                  <a:lnTo>
                    <a:pt x="493" y="272"/>
                  </a:lnTo>
                  <a:lnTo>
                    <a:pt x="499" y="278"/>
                  </a:lnTo>
                  <a:lnTo>
                    <a:pt x="505" y="278"/>
                  </a:lnTo>
                  <a:lnTo>
                    <a:pt x="516" y="290"/>
                  </a:lnTo>
                  <a:lnTo>
                    <a:pt x="522" y="301"/>
                  </a:lnTo>
                  <a:lnTo>
                    <a:pt x="528" y="301"/>
                  </a:lnTo>
                  <a:lnTo>
                    <a:pt x="540" y="301"/>
                  </a:lnTo>
                  <a:lnTo>
                    <a:pt x="551" y="307"/>
                  </a:lnTo>
                  <a:lnTo>
                    <a:pt x="551" y="313"/>
                  </a:lnTo>
                  <a:lnTo>
                    <a:pt x="569" y="325"/>
                  </a:lnTo>
                  <a:lnTo>
                    <a:pt x="563" y="330"/>
                  </a:lnTo>
                  <a:lnTo>
                    <a:pt x="574" y="354"/>
                  </a:lnTo>
                  <a:lnTo>
                    <a:pt x="574" y="359"/>
                  </a:lnTo>
                  <a:lnTo>
                    <a:pt x="569" y="359"/>
                  </a:lnTo>
                  <a:lnTo>
                    <a:pt x="569" y="365"/>
                  </a:lnTo>
                  <a:lnTo>
                    <a:pt x="574" y="365"/>
                  </a:lnTo>
                  <a:lnTo>
                    <a:pt x="580" y="394"/>
                  </a:lnTo>
                  <a:lnTo>
                    <a:pt x="586" y="394"/>
                  </a:lnTo>
                  <a:lnTo>
                    <a:pt x="592" y="394"/>
                  </a:lnTo>
                  <a:lnTo>
                    <a:pt x="592" y="388"/>
                  </a:lnTo>
                  <a:lnTo>
                    <a:pt x="603" y="394"/>
                  </a:lnTo>
                  <a:lnTo>
                    <a:pt x="609" y="400"/>
                  </a:lnTo>
                  <a:lnTo>
                    <a:pt x="609" y="406"/>
                  </a:lnTo>
                  <a:lnTo>
                    <a:pt x="609" y="417"/>
                  </a:lnTo>
                  <a:lnTo>
                    <a:pt x="609" y="423"/>
                  </a:lnTo>
                  <a:lnTo>
                    <a:pt x="603" y="423"/>
                  </a:lnTo>
                  <a:lnTo>
                    <a:pt x="603" y="435"/>
                  </a:lnTo>
                  <a:lnTo>
                    <a:pt x="598" y="446"/>
                  </a:lnTo>
                  <a:lnTo>
                    <a:pt x="592" y="435"/>
                  </a:lnTo>
                  <a:lnTo>
                    <a:pt x="586" y="441"/>
                  </a:lnTo>
                  <a:lnTo>
                    <a:pt x="586" y="452"/>
                  </a:lnTo>
                  <a:lnTo>
                    <a:pt x="574" y="452"/>
                  </a:lnTo>
                  <a:lnTo>
                    <a:pt x="574" y="446"/>
                  </a:lnTo>
                  <a:lnTo>
                    <a:pt x="574" y="452"/>
                  </a:lnTo>
                  <a:lnTo>
                    <a:pt x="574" y="470"/>
                  </a:lnTo>
                  <a:lnTo>
                    <a:pt x="574" y="481"/>
                  </a:lnTo>
                  <a:lnTo>
                    <a:pt x="557" y="481"/>
                  </a:lnTo>
                  <a:lnTo>
                    <a:pt x="569" y="493"/>
                  </a:lnTo>
                  <a:lnTo>
                    <a:pt x="569" y="499"/>
                  </a:lnTo>
                  <a:lnTo>
                    <a:pt x="557" y="510"/>
                  </a:lnTo>
                  <a:lnTo>
                    <a:pt x="540" y="516"/>
                  </a:lnTo>
                  <a:lnTo>
                    <a:pt x="516" y="516"/>
                  </a:lnTo>
                  <a:lnTo>
                    <a:pt x="511" y="516"/>
                  </a:lnTo>
                  <a:lnTo>
                    <a:pt x="505" y="516"/>
                  </a:lnTo>
                  <a:lnTo>
                    <a:pt x="499" y="516"/>
                  </a:lnTo>
                  <a:lnTo>
                    <a:pt x="505" y="504"/>
                  </a:lnTo>
                  <a:lnTo>
                    <a:pt x="511" y="504"/>
                  </a:lnTo>
                  <a:lnTo>
                    <a:pt x="516" y="493"/>
                  </a:lnTo>
                  <a:lnTo>
                    <a:pt x="522" y="487"/>
                  </a:lnTo>
                  <a:lnTo>
                    <a:pt x="516" y="458"/>
                  </a:lnTo>
                  <a:lnTo>
                    <a:pt x="511" y="458"/>
                  </a:lnTo>
                  <a:lnTo>
                    <a:pt x="505" y="458"/>
                  </a:lnTo>
                  <a:lnTo>
                    <a:pt x="476" y="458"/>
                  </a:lnTo>
                  <a:lnTo>
                    <a:pt x="464" y="464"/>
                  </a:lnTo>
                  <a:lnTo>
                    <a:pt x="458" y="464"/>
                  </a:lnTo>
                  <a:lnTo>
                    <a:pt x="447" y="464"/>
                  </a:lnTo>
                  <a:lnTo>
                    <a:pt x="441" y="464"/>
                  </a:lnTo>
                  <a:lnTo>
                    <a:pt x="429" y="464"/>
                  </a:lnTo>
                  <a:lnTo>
                    <a:pt x="418" y="464"/>
                  </a:lnTo>
                  <a:lnTo>
                    <a:pt x="400" y="464"/>
                  </a:lnTo>
                  <a:lnTo>
                    <a:pt x="395" y="464"/>
                  </a:lnTo>
                  <a:lnTo>
                    <a:pt x="389" y="464"/>
                  </a:lnTo>
                  <a:lnTo>
                    <a:pt x="377" y="464"/>
                  </a:lnTo>
                  <a:lnTo>
                    <a:pt x="371" y="464"/>
                  </a:lnTo>
                  <a:lnTo>
                    <a:pt x="348" y="470"/>
                  </a:lnTo>
                  <a:lnTo>
                    <a:pt x="336" y="470"/>
                  </a:lnTo>
                  <a:lnTo>
                    <a:pt x="331" y="470"/>
                  </a:lnTo>
                  <a:lnTo>
                    <a:pt x="313" y="470"/>
                  </a:lnTo>
                  <a:lnTo>
                    <a:pt x="307" y="470"/>
                  </a:lnTo>
                  <a:lnTo>
                    <a:pt x="296" y="470"/>
                  </a:lnTo>
                  <a:lnTo>
                    <a:pt x="278" y="470"/>
                  </a:lnTo>
                  <a:lnTo>
                    <a:pt x="273" y="470"/>
                  </a:lnTo>
                  <a:lnTo>
                    <a:pt x="267" y="470"/>
                  </a:lnTo>
                  <a:lnTo>
                    <a:pt x="249" y="470"/>
                  </a:lnTo>
                  <a:lnTo>
                    <a:pt x="238" y="470"/>
                  </a:lnTo>
                  <a:lnTo>
                    <a:pt x="226" y="470"/>
                  </a:lnTo>
                  <a:lnTo>
                    <a:pt x="220" y="470"/>
                  </a:lnTo>
                  <a:lnTo>
                    <a:pt x="215" y="470"/>
                  </a:lnTo>
                  <a:lnTo>
                    <a:pt x="203" y="475"/>
                  </a:lnTo>
                  <a:lnTo>
                    <a:pt x="191" y="475"/>
                  </a:lnTo>
                  <a:lnTo>
                    <a:pt x="180" y="475"/>
                  </a:lnTo>
                  <a:lnTo>
                    <a:pt x="174" y="475"/>
                  </a:lnTo>
                  <a:lnTo>
                    <a:pt x="168" y="475"/>
                  </a:lnTo>
                  <a:lnTo>
                    <a:pt x="162" y="475"/>
                  </a:lnTo>
                  <a:lnTo>
                    <a:pt x="157" y="475"/>
                  </a:lnTo>
                  <a:lnTo>
                    <a:pt x="128" y="475"/>
                  </a:lnTo>
                  <a:lnTo>
                    <a:pt x="116" y="475"/>
                  </a:lnTo>
                  <a:lnTo>
                    <a:pt x="104" y="475"/>
                  </a:lnTo>
                  <a:lnTo>
                    <a:pt x="104" y="464"/>
                  </a:lnTo>
                  <a:lnTo>
                    <a:pt x="104" y="458"/>
                  </a:lnTo>
                  <a:lnTo>
                    <a:pt x="104" y="452"/>
                  </a:lnTo>
                  <a:lnTo>
                    <a:pt x="104" y="446"/>
                  </a:lnTo>
                  <a:lnTo>
                    <a:pt x="104" y="435"/>
                  </a:lnTo>
                  <a:lnTo>
                    <a:pt x="104" y="423"/>
                  </a:lnTo>
                  <a:lnTo>
                    <a:pt x="104" y="417"/>
                  </a:lnTo>
                  <a:lnTo>
                    <a:pt x="104" y="412"/>
                  </a:lnTo>
                  <a:lnTo>
                    <a:pt x="104" y="406"/>
                  </a:lnTo>
                  <a:lnTo>
                    <a:pt x="104" y="400"/>
                  </a:lnTo>
                  <a:lnTo>
                    <a:pt x="104" y="377"/>
                  </a:lnTo>
                  <a:lnTo>
                    <a:pt x="104" y="359"/>
                  </a:lnTo>
                  <a:lnTo>
                    <a:pt x="104" y="342"/>
                  </a:lnTo>
                  <a:lnTo>
                    <a:pt x="104" y="330"/>
                  </a:lnTo>
                  <a:lnTo>
                    <a:pt x="104" y="313"/>
                  </a:lnTo>
                  <a:lnTo>
                    <a:pt x="104" y="301"/>
                  </a:lnTo>
                  <a:lnTo>
                    <a:pt x="104" y="296"/>
                  </a:lnTo>
                  <a:lnTo>
                    <a:pt x="104" y="284"/>
                  </a:lnTo>
                  <a:lnTo>
                    <a:pt x="104" y="278"/>
                  </a:lnTo>
                  <a:lnTo>
                    <a:pt x="104" y="261"/>
                  </a:lnTo>
                  <a:lnTo>
                    <a:pt x="104" y="249"/>
                  </a:lnTo>
                  <a:lnTo>
                    <a:pt x="104" y="232"/>
                  </a:lnTo>
                  <a:lnTo>
                    <a:pt x="104" y="220"/>
                  </a:lnTo>
                  <a:lnTo>
                    <a:pt x="104" y="209"/>
                  </a:lnTo>
                  <a:lnTo>
                    <a:pt x="104" y="203"/>
                  </a:lnTo>
                  <a:lnTo>
                    <a:pt x="104" y="191"/>
                  </a:lnTo>
                  <a:lnTo>
                    <a:pt x="99" y="185"/>
                  </a:lnTo>
                  <a:lnTo>
                    <a:pt x="99" y="180"/>
                  </a:lnTo>
                  <a:lnTo>
                    <a:pt x="99" y="174"/>
                  </a:lnTo>
                  <a:lnTo>
                    <a:pt x="104" y="174"/>
                  </a:lnTo>
                  <a:lnTo>
                    <a:pt x="99" y="174"/>
                  </a:lnTo>
                  <a:lnTo>
                    <a:pt x="87" y="168"/>
                  </a:lnTo>
                  <a:lnTo>
                    <a:pt x="75" y="156"/>
                  </a:lnTo>
                  <a:lnTo>
                    <a:pt x="75" y="151"/>
                  </a:lnTo>
                  <a:lnTo>
                    <a:pt x="70" y="145"/>
                  </a:lnTo>
                  <a:lnTo>
                    <a:pt x="64" y="139"/>
                  </a:lnTo>
                  <a:lnTo>
                    <a:pt x="64" y="133"/>
                  </a:lnTo>
                  <a:lnTo>
                    <a:pt x="58" y="127"/>
                  </a:lnTo>
                  <a:lnTo>
                    <a:pt x="64" y="122"/>
                  </a:lnTo>
                  <a:lnTo>
                    <a:pt x="64" y="116"/>
                  </a:lnTo>
                  <a:lnTo>
                    <a:pt x="75" y="110"/>
                  </a:lnTo>
                  <a:lnTo>
                    <a:pt x="75" y="98"/>
                  </a:lnTo>
                  <a:lnTo>
                    <a:pt x="70" y="93"/>
                  </a:lnTo>
                  <a:lnTo>
                    <a:pt x="64" y="87"/>
                  </a:lnTo>
                  <a:lnTo>
                    <a:pt x="64" y="93"/>
                  </a:lnTo>
                  <a:lnTo>
                    <a:pt x="52" y="93"/>
                  </a:lnTo>
                  <a:lnTo>
                    <a:pt x="41" y="75"/>
                  </a:lnTo>
                  <a:lnTo>
                    <a:pt x="35" y="75"/>
                  </a:lnTo>
                  <a:lnTo>
                    <a:pt x="23" y="46"/>
                  </a:lnTo>
                  <a:lnTo>
                    <a:pt x="17" y="46"/>
                  </a:lnTo>
                  <a:lnTo>
                    <a:pt x="11" y="40"/>
                  </a:lnTo>
                  <a:lnTo>
                    <a:pt x="6" y="11"/>
                  </a:lnTo>
                  <a:lnTo>
                    <a:pt x="6" y="17"/>
                  </a:lnTo>
                  <a:lnTo>
                    <a:pt x="0" y="17"/>
                  </a:lnTo>
                  <a:lnTo>
                    <a:pt x="0" y="11"/>
                  </a:lnTo>
                  <a:lnTo>
                    <a:pt x="23" y="11"/>
                  </a:lnTo>
                  <a:lnTo>
                    <a:pt x="35" y="11"/>
                  </a:lnTo>
                  <a:lnTo>
                    <a:pt x="41" y="11"/>
                  </a:lnTo>
                  <a:lnTo>
                    <a:pt x="46" y="11"/>
                  </a:lnTo>
                  <a:lnTo>
                    <a:pt x="64" y="11"/>
                  </a:lnTo>
                  <a:lnTo>
                    <a:pt x="70" y="11"/>
                  </a:lnTo>
                  <a:lnTo>
                    <a:pt x="87" y="11"/>
                  </a:lnTo>
                  <a:lnTo>
                    <a:pt x="99" y="11"/>
                  </a:lnTo>
                  <a:lnTo>
                    <a:pt x="110" y="11"/>
                  </a:lnTo>
                  <a:lnTo>
                    <a:pt x="128" y="11"/>
                  </a:lnTo>
                  <a:lnTo>
                    <a:pt x="133" y="1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5" name="Freeform 46"/>
            <p:cNvSpPr>
              <a:spLocks/>
            </p:cNvSpPr>
            <p:nvPr/>
          </p:nvSpPr>
          <p:spPr bwMode="auto">
            <a:xfrm>
              <a:off x="2991" y="1609"/>
              <a:ext cx="592" cy="383"/>
            </a:xfrm>
            <a:custGeom>
              <a:avLst/>
              <a:gdLst>
                <a:gd name="T0" fmla="*/ 221 w 592"/>
                <a:gd name="T1" fmla="*/ 366 h 383"/>
                <a:gd name="T2" fmla="*/ 279 w 592"/>
                <a:gd name="T3" fmla="*/ 372 h 383"/>
                <a:gd name="T4" fmla="*/ 331 w 592"/>
                <a:gd name="T5" fmla="*/ 378 h 383"/>
                <a:gd name="T6" fmla="*/ 348 w 592"/>
                <a:gd name="T7" fmla="*/ 378 h 383"/>
                <a:gd name="T8" fmla="*/ 401 w 592"/>
                <a:gd name="T9" fmla="*/ 378 h 383"/>
                <a:gd name="T10" fmla="*/ 424 w 592"/>
                <a:gd name="T11" fmla="*/ 378 h 383"/>
                <a:gd name="T12" fmla="*/ 459 w 592"/>
                <a:gd name="T13" fmla="*/ 378 h 383"/>
                <a:gd name="T14" fmla="*/ 482 w 592"/>
                <a:gd name="T15" fmla="*/ 383 h 383"/>
                <a:gd name="T16" fmla="*/ 540 w 592"/>
                <a:gd name="T17" fmla="*/ 383 h 383"/>
                <a:gd name="T18" fmla="*/ 581 w 592"/>
                <a:gd name="T19" fmla="*/ 383 h 383"/>
                <a:gd name="T20" fmla="*/ 592 w 592"/>
                <a:gd name="T21" fmla="*/ 378 h 383"/>
                <a:gd name="T22" fmla="*/ 592 w 592"/>
                <a:gd name="T23" fmla="*/ 337 h 383"/>
                <a:gd name="T24" fmla="*/ 581 w 592"/>
                <a:gd name="T25" fmla="*/ 302 h 383"/>
                <a:gd name="T26" fmla="*/ 581 w 592"/>
                <a:gd name="T27" fmla="*/ 273 h 383"/>
                <a:gd name="T28" fmla="*/ 575 w 592"/>
                <a:gd name="T29" fmla="*/ 244 h 383"/>
                <a:gd name="T30" fmla="*/ 575 w 592"/>
                <a:gd name="T31" fmla="*/ 232 h 383"/>
                <a:gd name="T32" fmla="*/ 575 w 592"/>
                <a:gd name="T33" fmla="*/ 215 h 383"/>
                <a:gd name="T34" fmla="*/ 575 w 592"/>
                <a:gd name="T35" fmla="*/ 192 h 383"/>
                <a:gd name="T36" fmla="*/ 563 w 592"/>
                <a:gd name="T37" fmla="*/ 157 h 383"/>
                <a:gd name="T38" fmla="*/ 552 w 592"/>
                <a:gd name="T39" fmla="*/ 122 h 383"/>
                <a:gd name="T40" fmla="*/ 552 w 592"/>
                <a:gd name="T41" fmla="*/ 82 h 383"/>
                <a:gd name="T42" fmla="*/ 546 w 592"/>
                <a:gd name="T43" fmla="*/ 29 h 383"/>
                <a:gd name="T44" fmla="*/ 412 w 592"/>
                <a:gd name="T45" fmla="*/ 29 h 383"/>
                <a:gd name="T46" fmla="*/ 325 w 592"/>
                <a:gd name="T47" fmla="*/ 24 h 383"/>
                <a:gd name="T48" fmla="*/ 227 w 592"/>
                <a:gd name="T49" fmla="*/ 18 h 383"/>
                <a:gd name="T50" fmla="*/ 116 w 592"/>
                <a:gd name="T51" fmla="*/ 12 h 383"/>
                <a:gd name="T52" fmla="*/ 29 w 592"/>
                <a:gd name="T53" fmla="*/ 29 h 383"/>
                <a:gd name="T54" fmla="*/ 29 w 592"/>
                <a:gd name="T55" fmla="*/ 47 h 383"/>
                <a:gd name="T56" fmla="*/ 23 w 592"/>
                <a:gd name="T57" fmla="*/ 70 h 383"/>
                <a:gd name="T58" fmla="*/ 23 w 592"/>
                <a:gd name="T59" fmla="*/ 116 h 383"/>
                <a:gd name="T60" fmla="*/ 18 w 592"/>
                <a:gd name="T61" fmla="*/ 145 h 383"/>
                <a:gd name="T62" fmla="*/ 12 w 592"/>
                <a:gd name="T63" fmla="*/ 192 h 383"/>
                <a:gd name="T64" fmla="*/ 6 w 592"/>
                <a:gd name="T65" fmla="*/ 261 h 383"/>
                <a:gd name="T66" fmla="*/ 6 w 592"/>
                <a:gd name="T67" fmla="*/ 285 h 383"/>
                <a:gd name="T68" fmla="*/ 0 w 592"/>
                <a:gd name="T69" fmla="*/ 314 h 383"/>
                <a:gd name="T70" fmla="*/ 0 w 592"/>
                <a:gd name="T71" fmla="*/ 337 h 383"/>
                <a:gd name="T72" fmla="*/ 35 w 592"/>
                <a:gd name="T73" fmla="*/ 354 h 383"/>
                <a:gd name="T74" fmla="*/ 87 w 592"/>
                <a:gd name="T75" fmla="*/ 360 h 383"/>
                <a:gd name="T76" fmla="*/ 151 w 592"/>
                <a:gd name="T77" fmla="*/ 366 h 3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2"/>
                <a:gd name="T118" fmla="*/ 0 h 383"/>
                <a:gd name="T119" fmla="*/ 592 w 592"/>
                <a:gd name="T120" fmla="*/ 383 h 3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2" h="383">
                  <a:moveTo>
                    <a:pt x="163" y="366"/>
                  </a:moveTo>
                  <a:lnTo>
                    <a:pt x="221" y="366"/>
                  </a:lnTo>
                  <a:lnTo>
                    <a:pt x="232" y="372"/>
                  </a:lnTo>
                  <a:lnTo>
                    <a:pt x="279" y="372"/>
                  </a:lnTo>
                  <a:lnTo>
                    <a:pt x="319" y="372"/>
                  </a:lnTo>
                  <a:lnTo>
                    <a:pt x="331" y="378"/>
                  </a:lnTo>
                  <a:lnTo>
                    <a:pt x="343" y="378"/>
                  </a:lnTo>
                  <a:lnTo>
                    <a:pt x="348" y="378"/>
                  </a:lnTo>
                  <a:lnTo>
                    <a:pt x="383" y="378"/>
                  </a:lnTo>
                  <a:lnTo>
                    <a:pt x="401" y="378"/>
                  </a:lnTo>
                  <a:lnTo>
                    <a:pt x="418" y="378"/>
                  </a:lnTo>
                  <a:lnTo>
                    <a:pt x="424" y="378"/>
                  </a:lnTo>
                  <a:lnTo>
                    <a:pt x="453" y="378"/>
                  </a:lnTo>
                  <a:lnTo>
                    <a:pt x="459" y="378"/>
                  </a:lnTo>
                  <a:lnTo>
                    <a:pt x="482" y="378"/>
                  </a:lnTo>
                  <a:lnTo>
                    <a:pt x="482" y="383"/>
                  </a:lnTo>
                  <a:lnTo>
                    <a:pt x="523" y="383"/>
                  </a:lnTo>
                  <a:lnTo>
                    <a:pt x="540" y="383"/>
                  </a:lnTo>
                  <a:lnTo>
                    <a:pt x="557" y="383"/>
                  </a:lnTo>
                  <a:lnTo>
                    <a:pt x="581" y="383"/>
                  </a:lnTo>
                  <a:lnTo>
                    <a:pt x="592" y="383"/>
                  </a:lnTo>
                  <a:lnTo>
                    <a:pt x="592" y="378"/>
                  </a:lnTo>
                  <a:lnTo>
                    <a:pt x="592" y="372"/>
                  </a:lnTo>
                  <a:lnTo>
                    <a:pt x="592" y="337"/>
                  </a:lnTo>
                  <a:lnTo>
                    <a:pt x="581" y="319"/>
                  </a:lnTo>
                  <a:lnTo>
                    <a:pt x="581" y="302"/>
                  </a:lnTo>
                  <a:lnTo>
                    <a:pt x="575" y="302"/>
                  </a:lnTo>
                  <a:lnTo>
                    <a:pt x="581" y="273"/>
                  </a:lnTo>
                  <a:lnTo>
                    <a:pt x="575" y="261"/>
                  </a:lnTo>
                  <a:lnTo>
                    <a:pt x="575" y="244"/>
                  </a:lnTo>
                  <a:lnTo>
                    <a:pt x="575" y="238"/>
                  </a:lnTo>
                  <a:lnTo>
                    <a:pt x="575" y="232"/>
                  </a:lnTo>
                  <a:lnTo>
                    <a:pt x="575" y="221"/>
                  </a:lnTo>
                  <a:lnTo>
                    <a:pt x="575" y="215"/>
                  </a:lnTo>
                  <a:lnTo>
                    <a:pt x="575" y="203"/>
                  </a:lnTo>
                  <a:lnTo>
                    <a:pt x="575" y="192"/>
                  </a:lnTo>
                  <a:lnTo>
                    <a:pt x="569" y="180"/>
                  </a:lnTo>
                  <a:lnTo>
                    <a:pt x="563" y="157"/>
                  </a:lnTo>
                  <a:lnTo>
                    <a:pt x="552" y="128"/>
                  </a:lnTo>
                  <a:lnTo>
                    <a:pt x="552" y="122"/>
                  </a:lnTo>
                  <a:lnTo>
                    <a:pt x="552" y="99"/>
                  </a:lnTo>
                  <a:lnTo>
                    <a:pt x="552" y="82"/>
                  </a:lnTo>
                  <a:lnTo>
                    <a:pt x="552" y="47"/>
                  </a:lnTo>
                  <a:lnTo>
                    <a:pt x="546" y="29"/>
                  </a:lnTo>
                  <a:lnTo>
                    <a:pt x="494" y="29"/>
                  </a:lnTo>
                  <a:lnTo>
                    <a:pt x="412" y="29"/>
                  </a:lnTo>
                  <a:lnTo>
                    <a:pt x="372" y="24"/>
                  </a:lnTo>
                  <a:lnTo>
                    <a:pt x="325" y="24"/>
                  </a:lnTo>
                  <a:lnTo>
                    <a:pt x="232" y="18"/>
                  </a:lnTo>
                  <a:lnTo>
                    <a:pt x="227" y="18"/>
                  </a:lnTo>
                  <a:lnTo>
                    <a:pt x="186" y="18"/>
                  </a:lnTo>
                  <a:lnTo>
                    <a:pt x="116" y="12"/>
                  </a:lnTo>
                  <a:lnTo>
                    <a:pt x="29" y="0"/>
                  </a:lnTo>
                  <a:lnTo>
                    <a:pt x="29" y="29"/>
                  </a:lnTo>
                  <a:lnTo>
                    <a:pt x="29" y="41"/>
                  </a:lnTo>
                  <a:lnTo>
                    <a:pt x="29" y="47"/>
                  </a:lnTo>
                  <a:lnTo>
                    <a:pt x="23" y="58"/>
                  </a:lnTo>
                  <a:lnTo>
                    <a:pt x="23" y="70"/>
                  </a:lnTo>
                  <a:lnTo>
                    <a:pt x="23" y="105"/>
                  </a:lnTo>
                  <a:lnTo>
                    <a:pt x="23" y="116"/>
                  </a:lnTo>
                  <a:lnTo>
                    <a:pt x="18" y="134"/>
                  </a:lnTo>
                  <a:lnTo>
                    <a:pt x="18" y="145"/>
                  </a:lnTo>
                  <a:lnTo>
                    <a:pt x="12" y="186"/>
                  </a:lnTo>
                  <a:lnTo>
                    <a:pt x="12" y="192"/>
                  </a:lnTo>
                  <a:lnTo>
                    <a:pt x="12" y="215"/>
                  </a:lnTo>
                  <a:lnTo>
                    <a:pt x="6" y="261"/>
                  </a:lnTo>
                  <a:lnTo>
                    <a:pt x="6" y="273"/>
                  </a:lnTo>
                  <a:lnTo>
                    <a:pt x="6" y="285"/>
                  </a:lnTo>
                  <a:lnTo>
                    <a:pt x="6" y="290"/>
                  </a:lnTo>
                  <a:lnTo>
                    <a:pt x="0" y="314"/>
                  </a:lnTo>
                  <a:lnTo>
                    <a:pt x="0" y="319"/>
                  </a:lnTo>
                  <a:lnTo>
                    <a:pt x="0" y="337"/>
                  </a:lnTo>
                  <a:lnTo>
                    <a:pt x="0" y="354"/>
                  </a:lnTo>
                  <a:lnTo>
                    <a:pt x="35" y="354"/>
                  </a:lnTo>
                  <a:lnTo>
                    <a:pt x="81" y="360"/>
                  </a:lnTo>
                  <a:lnTo>
                    <a:pt x="87" y="360"/>
                  </a:lnTo>
                  <a:lnTo>
                    <a:pt x="122" y="360"/>
                  </a:lnTo>
                  <a:lnTo>
                    <a:pt x="151" y="366"/>
                  </a:lnTo>
                  <a:lnTo>
                    <a:pt x="163" y="36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6" name="Freeform 47"/>
            <p:cNvSpPr>
              <a:spLocks/>
            </p:cNvSpPr>
            <p:nvPr/>
          </p:nvSpPr>
          <p:spPr bwMode="auto">
            <a:xfrm>
              <a:off x="2939" y="2294"/>
              <a:ext cx="755" cy="371"/>
            </a:xfrm>
            <a:custGeom>
              <a:avLst/>
              <a:gdLst>
                <a:gd name="T0" fmla="*/ 424 w 755"/>
                <a:gd name="T1" fmla="*/ 371 h 371"/>
                <a:gd name="T2" fmla="*/ 400 w 755"/>
                <a:gd name="T3" fmla="*/ 365 h 371"/>
                <a:gd name="T4" fmla="*/ 360 w 755"/>
                <a:gd name="T5" fmla="*/ 365 h 371"/>
                <a:gd name="T6" fmla="*/ 308 w 755"/>
                <a:gd name="T7" fmla="*/ 365 h 371"/>
                <a:gd name="T8" fmla="*/ 273 w 755"/>
                <a:gd name="T9" fmla="*/ 360 h 371"/>
                <a:gd name="T10" fmla="*/ 226 w 755"/>
                <a:gd name="T11" fmla="*/ 360 h 371"/>
                <a:gd name="T12" fmla="*/ 163 w 755"/>
                <a:gd name="T13" fmla="*/ 313 h 371"/>
                <a:gd name="T14" fmla="*/ 168 w 755"/>
                <a:gd name="T15" fmla="*/ 284 h 371"/>
                <a:gd name="T16" fmla="*/ 168 w 755"/>
                <a:gd name="T17" fmla="*/ 244 h 371"/>
                <a:gd name="T18" fmla="*/ 58 w 755"/>
                <a:gd name="T19" fmla="*/ 232 h 371"/>
                <a:gd name="T20" fmla="*/ 0 w 755"/>
                <a:gd name="T21" fmla="*/ 226 h 371"/>
                <a:gd name="T22" fmla="*/ 0 w 755"/>
                <a:gd name="T23" fmla="*/ 186 h 371"/>
                <a:gd name="T24" fmla="*/ 6 w 755"/>
                <a:gd name="T25" fmla="*/ 157 h 371"/>
                <a:gd name="T26" fmla="*/ 6 w 755"/>
                <a:gd name="T27" fmla="*/ 128 h 371"/>
                <a:gd name="T28" fmla="*/ 12 w 755"/>
                <a:gd name="T29" fmla="*/ 87 h 371"/>
                <a:gd name="T30" fmla="*/ 17 w 755"/>
                <a:gd name="T31" fmla="*/ 6 h 371"/>
                <a:gd name="T32" fmla="*/ 64 w 755"/>
                <a:gd name="T33" fmla="*/ 6 h 371"/>
                <a:gd name="T34" fmla="*/ 116 w 755"/>
                <a:gd name="T35" fmla="*/ 12 h 371"/>
                <a:gd name="T36" fmla="*/ 168 w 755"/>
                <a:gd name="T37" fmla="*/ 12 h 371"/>
                <a:gd name="T38" fmla="*/ 215 w 755"/>
                <a:gd name="T39" fmla="*/ 17 h 371"/>
                <a:gd name="T40" fmla="*/ 313 w 755"/>
                <a:gd name="T41" fmla="*/ 23 h 371"/>
                <a:gd name="T42" fmla="*/ 418 w 755"/>
                <a:gd name="T43" fmla="*/ 29 h 371"/>
                <a:gd name="T44" fmla="*/ 499 w 755"/>
                <a:gd name="T45" fmla="*/ 41 h 371"/>
                <a:gd name="T46" fmla="*/ 522 w 755"/>
                <a:gd name="T47" fmla="*/ 58 h 371"/>
                <a:gd name="T48" fmla="*/ 569 w 755"/>
                <a:gd name="T49" fmla="*/ 46 h 371"/>
                <a:gd name="T50" fmla="*/ 598 w 755"/>
                <a:gd name="T51" fmla="*/ 58 h 371"/>
                <a:gd name="T52" fmla="*/ 633 w 755"/>
                <a:gd name="T53" fmla="*/ 75 h 371"/>
                <a:gd name="T54" fmla="*/ 656 w 755"/>
                <a:gd name="T55" fmla="*/ 93 h 371"/>
                <a:gd name="T56" fmla="*/ 667 w 755"/>
                <a:gd name="T57" fmla="*/ 133 h 371"/>
                <a:gd name="T58" fmla="*/ 679 w 755"/>
                <a:gd name="T59" fmla="*/ 145 h 371"/>
                <a:gd name="T60" fmla="*/ 679 w 755"/>
                <a:gd name="T61" fmla="*/ 180 h 371"/>
                <a:gd name="T62" fmla="*/ 691 w 755"/>
                <a:gd name="T63" fmla="*/ 203 h 371"/>
                <a:gd name="T64" fmla="*/ 702 w 755"/>
                <a:gd name="T65" fmla="*/ 226 h 371"/>
                <a:gd name="T66" fmla="*/ 702 w 755"/>
                <a:gd name="T67" fmla="*/ 238 h 371"/>
                <a:gd name="T68" fmla="*/ 702 w 755"/>
                <a:gd name="T69" fmla="*/ 261 h 371"/>
                <a:gd name="T70" fmla="*/ 702 w 755"/>
                <a:gd name="T71" fmla="*/ 290 h 371"/>
                <a:gd name="T72" fmla="*/ 714 w 755"/>
                <a:gd name="T73" fmla="*/ 313 h 371"/>
                <a:gd name="T74" fmla="*/ 725 w 755"/>
                <a:gd name="T75" fmla="*/ 336 h 371"/>
                <a:gd name="T76" fmla="*/ 749 w 755"/>
                <a:gd name="T77" fmla="*/ 371 h 371"/>
                <a:gd name="T78" fmla="*/ 708 w 755"/>
                <a:gd name="T79" fmla="*/ 371 h 371"/>
                <a:gd name="T80" fmla="*/ 679 w 755"/>
                <a:gd name="T81" fmla="*/ 371 h 371"/>
                <a:gd name="T82" fmla="*/ 662 w 755"/>
                <a:gd name="T83" fmla="*/ 371 h 371"/>
                <a:gd name="T84" fmla="*/ 621 w 755"/>
                <a:gd name="T85" fmla="*/ 371 h 371"/>
                <a:gd name="T86" fmla="*/ 592 w 755"/>
                <a:gd name="T87" fmla="*/ 371 h 371"/>
                <a:gd name="T88" fmla="*/ 569 w 755"/>
                <a:gd name="T89" fmla="*/ 371 h 371"/>
                <a:gd name="T90" fmla="*/ 528 w 755"/>
                <a:gd name="T91" fmla="*/ 371 h 371"/>
                <a:gd name="T92" fmla="*/ 505 w 755"/>
                <a:gd name="T93" fmla="*/ 371 h 371"/>
                <a:gd name="T94" fmla="*/ 470 w 755"/>
                <a:gd name="T95" fmla="*/ 371 h 3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5"/>
                <a:gd name="T145" fmla="*/ 0 h 371"/>
                <a:gd name="T146" fmla="*/ 755 w 755"/>
                <a:gd name="T147" fmla="*/ 371 h 3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5" h="371">
                  <a:moveTo>
                    <a:pt x="453" y="371"/>
                  </a:moveTo>
                  <a:lnTo>
                    <a:pt x="441" y="371"/>
                  </a:lnTo>
                  <a:lnTo>
                    <a:pt x="424" y="371"/>
                  </a:lnTo>
                  <a:lnTo>
                    <a:pt x="418" y="365"/>
                  </a:lnTo>
                  <a:lnTo>
                    <a:pt x="412" y="365"/>
                  </a:lnTo>
                  <a:lnTo>
                    <a:pt x="400" y="365"/>
                  </a:lnTo>
                  <a:lnTo>
                    <a:pt x="395" y="365"/>
                  </a:lnTo>
                  <a:lnTo>
                    <a:pt x="377" y="365"/>
                  </a:lnTo>
                  <a:lnTo>
                    <a:pt x="360" y="365"/>
                  </a:lnTo>
                  <a:lnTo>
                    <a:pt x="331" y="365"/>
                  </a:lnTo>
                  <a:lnTo>
                    <a:pt x="325" y="365"/>
                  </a:lnTo>
                  <a:lnTo>
                    <a:pt x="308" y="365"/>
                  </a:lnTo>
                  <a:lnTo>
                    <a:pt x="290" y="365"/>
                  </a:lnTo>
                  <a:lnTo>
                    <a:pt x="279" y="360"/>
                  </a:lnTo>
                  <a:lnTo>
                    <a:pt x="273" y="360"/>
                  </a:lnTo>
                  <a:lnTo>
                    <a:pt x="267" y="360"/>
                  </a:lnTo>
                  <a:lnTo>
                    <a:pt x="244" y="360"/>
                  </a:lnTo>
                  <a:lnTo>
                    <a:pt x="226" y="360"/>
                  </a:lnTo>
                  <a:lnTo>
                    <a:pt x="221" y="360"/>
                  </a:lnTo>
                  <a:lnTo>
                    <a:pt x="163" y="354"/>
                  </a:lnTo>
                  <a:lnTo>
                    <a:pt x="163" y="313"/>
                  </a:lnTo>
                  <a:lnTo>
                    <a:pt x="168" y="307"/>
                  </a:lnTo>
                  <a:lnTo>
                    <a:pt x="168" y="296"/>
                  </a:lnTo>
                  <a:lnTo>
                    <a:pt x="168" y="284"/>
                  </a:lnTo>
                  <a:lnTo>
                    <a:pt x="168" y="278"/>
                  </a:lnTo>
                  <a:lnTo>
                    <a:pt x="168" y="273"/>
                  </a:lnTo>
                  <a:lnTo>
                    <a:pt x="168" y="244"/>
                  </a:lnTo>
                  <a:lnTo>
                    <a:pt x="122" y="238"/>
                  </a:lnTo>
                  <a:lnTo>
                    <a:pt x="116" y="238"/>
                  </a:lnTo>
                  <a:lnTo>
                    <a:pt x="58" y="232"/>
                  </a:lnTo>
                  <a:lnTo>
                    <a:pt x="41" y="232"/>
                  </a:lnTo>
                  <a:lnTo>
                    <a:pt x="35" y="232"/>
                  </a:lnTo>
                  <a:lnTo>
                    <a:pt x="0" y="226"/>
                  </a:lnTo>
                  <a:lnTo>
                    <a:pt x="0" y="215"/>
                  </a:lnTo>
                  <a:lnTo>
                    <a:pt x="0" y="191"/>
                  </a:lnTo>
                  <a:lnTo>
                    <a:pt x="0" y="186"/>
                  </a:lnTo>
                  <a:lnTo>
                    <a:pt x="6" y="168"/>
                  </a:lnTo>
                  <a:lnTo>
                    <a:pt x="6" y="162"/>
                  </a:lnTo>
                  <a:lnTo>
                    <a:pt x="6" y="157"/>
                  </a:lnTo>
                  <a:lnTo>
                    <a:pt x="6" y="151"/>
                  </a:lnTo>
                  <a:lnTo>
                    <a:pt x="6" y="145"/>
                  </a:lnTo>
                  <a:lnTo>
                    <a:pt x="6" y="128"/>
                  </a:lnTo>
                  <a:lnTo>
                    <a:pt x="12" y="116"/>
                  </a:lnTo>
                  <a:lnTo>
                    <a:pt x="12" y="99"/>
                  </a:lnTo>
                  <a:lnTo>
                    <a:pt x="12" y="87"/>
                  </a:lnTo>
                  <a:lnTo>
                    <a:pt x="17" y="46"/>
                  </a:lnTo>
                  <a:lnTo>
                    <a:pt x="17" y="23"/>
                  </a:lnTo>
                  <a:lnTo>
                    <a:pt x="17" y="6"/>
                  </a:lnTo>
                  <a:lnTo>
                    <a:pt x="17" y="0"/>
                  </a:lnTo>
                  <a:lnTo>
                    <a:pt x="23" y="0"/>
                  </a:lnTo>
                  <a:lnTo>
                    <a:pt x="64" y="6"/>
                  </a:lnTo>
                  <a:lnTo>
                    <a:pt x="87" y="6"/>
                  </a:lnTo>
                  <a:lnTo>
                    <a:pt x="104" y="6"/>
                  </a:lnTo>
                  <a:lnTo>
                    <a:pt x="116" y="12"/>
                  </a:lnTo>
                  <a:lnTo>
                    <a:pt x="122" y="12"/>
                  </a:lnTo>
                  <a:lnTo>
                    <a:pt x="151" y="12"/>
                  </a:lnTo>
                  <a:lnTo>
                    <a:pt x="168" y="12"/>
                  </a:lnTo>
                  <a:lnTo>
                    <a:pt x="186" y="12"/>
                  </a:lnTo>
                  <a:lnTo>
                    <a:pt x="209" y="17"/>
                  </a:lnTo>
                  <a:lnTo>
                    <a:pt x="215" y="17"/>
                  </a:lnTo>
                  <a:lnTo>
                    <a:pt x="255" y="17"/>
                  </a:lnTo>
                  <a:lnTo>
                    <a:pt x="290" y="23"/>
                  </a:lnTo>
                  <a:lnTo>
                    <a:pt x="313" y="23"/>
                  </a:lnTo>
                  <a:lnTo>
                    <a:pt x="342" y="23"/>
                  </a:lnTo>
                  <a:lnTo>
                    <a:pt x="395" y="29"/>
                  </a:lnTo>
                  <a:lnTo>
                    <a:pt x="418" y="29"/>
                  </a:lnTo>
                  <a:lnTo>
                    <a:pt x="482" y="29"/>
                  </a:lnTo>
                  <a:lnTo>
                    <a:pt x="493" y="41"/>
                  </a:lnTo>
                  <a:lnTo>
                    <a:pt x="499" y="41"/>
                  </a:lnTo>
                  <a:lnTo>
                    <a:pt x="505" y="46"/>
                  </a:lnTo>
                  <a:lnTo>
                    <a:pt x="511" y="46"/>
                  </a:lnTo>
                  <a:lnTo>
                    <a:pt x="522" y="58"/>
                  </a:lnTo>
                  <a:lnTo>
                    <a:pt x="534" y="46"/>
                  </a:lnTo>
                  <a:lnTo>
                    <a:pt x="557" y="46"/>
                  </a:lnTo>
                  <a:lnTo>
                    <a:pt x="569" y="46"/>
                  </a:lnTo>
                  <a:lnTo>
                    <a:pt x="586" y="46"/>
                  </a:lnTo>
                  <a:lnTo>
                    <a:pt x="592" y="52"/>
                  </a:lnTo>
                  <a:lnTo>
                    <a:pt x="598" y="58"/>
                  </a:lnTo>
                  <a:lnTo>
                    <a:pt x="609" y="58"/>
                  </a:lnTo>
                  <a:lnTo>
                    <a:pt x="627" y="64"/>
                  </a:lnTo>
                  <a:lnTo>
                    <a:pt x="633" y="75"/>
                  </a:lnTo>
                  <a:lnTo>
                    <a:pt x="638" y="87"/>
                  </a:lnTo>
                  <a:lnTo>
                    <a:pt x="650" y="87"/>
                  </a:lnTo>
                  <a:lnTo>
                    <a:pt x="656" y="93"/>
                  </a:lnTo>
                  <a:lnTo>
                    <a:pt x="662" y="116"/>
                  </a:lnTo>
                  <a:lnTo>
                    <a:pt x="662" y="122"/>
                  </a:lnTo>
                  <a:lnTo>
                    <a:pt x="667" y="133"/>
                  </a:lnTo>
                  <a:lnTo>
                    <a:pt x="667" y="139"/>
                  </a:lnTo>
                  <a:lnTo>
                    <a:pt x="673" y="145"/>
                  </a:lnTo>
                  <a:lnTo>
                    <a:pt x="679" y="145"/>
                  </a:lnTo>
                  <a:lnTo>
                    <a:pt x="679" y="162"/>
                  </a:lnTo>
                  <a:lnTo>
                    <a:pt x="685" y="174"/>
                  </a:lnTo>
                  <a:lnTo>
                    <a:pt x="679" y="180"/>
                  </a:lnTo>
                  <a:lnTo>
                    <a:pt x="685" y="191"/>
                  </a:lnTo>
                  <a:lnTo>
                    <a:pt x="691" y="197"/>
                  </a:lnTo>
                  <a:lnTo>
                    <a:pt x="691" y="203"/>
                  </a:lnTo>
                  <a:lnTo>
                    <a:pt x="691" y="209"/>
                  </a:lnTo>
                  <a:lnTo>
                    <a:pt x="696" y="215"/>
                  </a:lnTo>
                  <a:lnTo>
                    <a:pt x="702" y="226"/>
                  </a:lnTo>
                  <a:lnTo>
                    <a:pt x="696" y="232"/>
                  </a:lnTo>
                  <a:lnTo>
                    <a:pt x="696" y="238"/>
                  </a:lnTo>
                  <a:lnTo>
                    <a:pt x="702" y="238"/>
                  </a:lnTo>
                  <a:lnTo>
                    <a:pt x="702" y="244"/>
                  </a:lnTo>
                  <a:lnTo>
                    <a:pt x="702" y="255"/>
                  </a:lnTo>
                  <a:lnTo>
                    <a:pt x="702" y="261"/>
                  </a:lnTo>
                  <a:lnTo>
                    <a:pt x="708" y="273"/>
                  </a:lnTo>
                  <a:lnTo>
                    <a:pt x="708" y="284"/>
                  </a:lnTo>
                  <a:lnTo>
                    <a:pt x="702" y="290"/>
                  </a:lnTo>
                  <a:lnTo>
                    <a:pt x="714" y="302"/>
                  </a:lnTo>
                  <a:lnTo>
                    <a:pt x="714" y="307"/>
                  </a:lnTo>
                  <a:lnTo>
                    <a:pt x="714" y="313"/>
                  </a:lnTo>
                  <a:lnTo>
                    <a:pt x="720" y="313"/>
                  </a:lnTo>
                  <a:lnTo>
                    <a:pt x="720" y="307"/>
                  </a:lnTo>
                  <a:lnTo>
                    <a:pt x="725" y="336"/>
                  </a:lnTo>
                  <a:lnTo>
                    <a:pt x="731" y="342"/>
                  </a:lnTo>
                  <a:lnTo>
                    <a:pt x="737" y="342"/>
                  </a:lnTo>
                  <a:lnTo>
                    <a:pt x="749" y="371"/>
                  </a:lnTo>
                  <a:lnTo>
                    <a:pt x="755" y="371"/>
                  </a:lnTo>
                  <a:lnTo>
                    <a:pt x="749" y="371"/>
                  </a:lnTo>
                  <a:lnTo>
                    <a:pt x="708" y="371"/>
                  </a:lnTo>
                  <a:lnTo>
                    <a:pt x="702" y="371"/>
                  </a:lnTo>
                  <a:lnTo>
                    <a:pt x="691" y="371"/>
                  </a:lnTo>
                  <a:lnTo>
                    <a:pt x="679" y="371"/>
                  </a:lnTo>
                  <a:lnTo>
                    <a:pt x="673" y="371"/>
                  </a:lnTo>
                  <a:lnTo>
                    <a:pt x="667" y="371"/>
                  </a:lnTo>
                  <a:lnTo>
                    <a:pt x="662" y="371"/>
                  </a:lnTo>
                  <a:lnTo>
                    <a:pt x="650" y="371"/>
                  </a:lnTo>
                  <a:lnTo>
                    <a:pt x="627" y="371"/>
                  </a:lnTo>
                  <a:lnTo>
                    <a:pt x="621" y="371"/>
                  </a:lnTo>
                  <a:lnTo>
                    <a:pt x="615" y="371"/>
                  </a:lnTo>
                  <a:lnTo>
                    <a:pt x="609" y="371"/>
                  </a:lnTo>
                  <a:lnTo>
                    <a:pt x="592" y="371"/>
                  </a:lnTo>
                  <a:lnTo>
                    <a:pt x="580" y="371"/>
                  </a:lnTo>
                  <a:lnTo>
                    <a:pt x="575" y="371"/>
                  </a:lnTo>
                  <a:lnTo>
                    <a:pt x="569" y="371"/>
                  </a:lnTo>
                  <a:lnTo>
                    <a:pt x="551" y="371"/>
                  </a:lnTo>
                  <a:lnTo>
                    <a:pt x="534" y="371"/>
                  </a:lnTo>
                  <a:lnTo>
                    <a:pt x="528" y="371"/>
                  </a:lnTo>
                  <a:lnTo>
                    <a:pt x="522" y="371"/>
                  </a:lnTo>
                  <a:lnTo>
                    <a:pt x="517" y="371"/>
                  </a:lnTo>
                  <a:lnTo>
                    <a:pt x="505" y="371"/>
                  </a:lnTo>
                  <a:lnTo>
                    <a:pt x="493" y="371"/>
                  </a:lnTo>
                  <a:lnTo>
                    <a:pt x="482" y="371"/>
                  </a:lnTo>
                  <a:lnTo>
                    <a:pt x="470" y="371"/>
                  </a:lnTo>
                  <a:lnTo>
                    <a:pt x="464" y="371"/>
                  </a:lnTo>
                  <a:lnTo>
                    <a:pt x="453" y="37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7" name="Freeform 48"/>
            <p:cNvSpPr>
              <a:spLocks/>
            </p:cNvSpPr>
            <p:nvPr/>
          </p:nvSpPr>
          <p:spPr bwMode="auto">
            <a:xfrm>
              <a:off x="2956" y="1963"/>
              <a:ext cx="639" cy="424"/>
            </a:xfrm>
            <a:custGeom>
              <a:avLst/>
              <a:gdLst>
                <a:gd name="T0" fmla="*/ 581 w 639"/>
                <a:gd name="T1" fmla="*/ 389 h 424"/>
                <a:gd name="T2" fmla="*/ 610 w 639"/>
                <a:gd name="T3" fmla="*/ 395 h 424"/>
                <a:gd name="T4" fmla="*/ 621 w 639"/>
                <a:gd name="T5" fmla="*/ 418 h 424"/>
                <a:gd name="T6" fmla="*/ 639 w 639"/>
                <a:gd name="T7" fmla="*/ 424 h 424"/>
                <a:gd name="T8" fmla="*/ 633 w 639"/>
                <a:gd name="T9" fmla="*/ 412 h 424"/>
                <a:gd name="T10" fmla="*/ 621 w 639"/>
                <a:gd name="T11" fmla="*/ 395 h 424"/>
                <a:gd name="T12" fmla="*/ 633 w 639"/>
                <a:gd name="T13" fmla="*/ 366 h 424"/>
                <a:gd name="T14" fmla="*/ 639 w 639"/>
                <a:gd name="T15" fmla="*/ 354 h 424"/>
                <a:gd name="T16" fmla="*/ 633 w 639"/>
                <a:gd name="T17" fmla="*/ 337 h 424"/>
                <a:gd name="T18" fmla="*/ 633 w 639"/>
                <a:gd name="T19" fmla="*/ 319 h 424"/>
                <a:gd name="T20" fmla="*/ 633 w 639"/>
                <a:gd name="T21" fmla="*/ 308 h 424"/>
                <a:gd name="T22" fmla="*/ 639 w 639"/>
                <a:gd name="T23" fmla="*/ 290 h 424"/>
                <a:gd name="T24" fmla="*/ 639 w 639"/>
                <a:gd name="T25" fmla="*/ 267 h 424"/>
                <a:gd name="T26" fmla="*/ 639 w 639"/>
                <a:gd name="T27" fmla="*/ 232 h 424"/>
                <a:gd name="T28" fmla="*/ 639 w 639"/>
                <a:gd name="T29" fmla="*/ 186 h 424"/>
                <a:gd name="T30" fmla="*/ 639 w 639"/>
                <a:gd name="T31" fmla="*/ 174 h 424"/>
                <a:gd name="T32" fmla="*/ 639 w 639"/>
                <a:gd name="T33" fmla="*/ 140 h 424"/>
                <a:gd name="T34" fmla="*/ 639 w 639"/>
                <a:gd name="T35" fmla="*/ 99 h 424"/>
                <a:gd name="T36" fmla="*/ 627 w 639"/>
                <a:gd name="T37" fmla="*/ 87 h 424"/>
                <a:gd name="T38" fmla="*/ 604 w 639"/>
                <a:gd name="T39" fmla="*/ 64 h 424"/>
                <a:gd name="T40" fmla="*/ 627 w 639"/>
                <a:gd name="T41" fmla="*/ 29 h 424"/>
                <a:gd name="T42" fmla="*/ 592 w 639"/>
                <a:gd name="T43" fmla="*/ 29 h 424"/>
                <a:gd name="T44" fmla="*/ 558 w 639"/>
                <a:gd name="T45" fmla="*/ 29 h 424"/>
                <a:gd name="T46" fmla="*/ 517 w 639"/>
                <a:gd name="T47" fmla="*/ 24 h 424"/>
                <a:gd name="T48" fmla="*/ 488 w 639"/>
                <a:gd name="T49" fmla="*/ 24 h 424"/>
                <a:gd name="T50" fmla="*/ 453 w 639"/>
                <a:gd name="T51" fmla="*/ 24 h 424"/>
                <a:gd name="T52" fmla="*/ 418 w 639"/>
                <a:gd name="T53" fmla="*/ 24 h 424"/>
                <a:gd name="T54" fmla="*/ 378 w 639"/>
                <a:gd name="T55" fmla="*/ 24 h 424"/>
                <a:gd name="T56" fmla="*/ 354 w 639"/>
                <a:gd name="T57" fmla="*/ 18 h 424"/>
                <a:gd name="T58" fmla="*/ 267 w 639"/>
                <a:gd name="T59" fmla="*/ 18 h 424"/>
                <a:gd name="T60" fmla="*/ 198 w 639"/>
                <a:gd name="T61" fmla="*/ 12 h 424"/>
                <a:gd name="T62" fmla="*/ 157 w 639"/>
                <a:gd name="T63" fmla="*/ 6 h 424"/>
                <a:gd name="T64" fmla="*/ 116 w 639"/>
                <a:gd name="T65" fmla="*/ 6 h 424"/>
                <a:gd name="T66" fmla="*/ 35 w 639"/>
                <a:gd name="T67" fmla="*/ 0 h 424"/>
                <a:gd name="T68" fmla="*/ 29 w 639"/>
                <a:gd name="T69" fmla="*/ 18 h 424"/>
                <a:gd name="T70" fmla="*/ 29 w 639"/>
                <a:gd name="T71" fmla="*/ 82 h 424"/>
                <a:gd name="T72" fmla="*/ 18 w 639"/>
                <a:gd name="T73" fmla="*/ 134 h 424"/>
                <a:gd name="T74" fmla="*/ 18 w 639"/>
                <a:gd name="T75" fmla="*/ 163 h 424"/>
                <a:gd name="T76" fmla="*/ 12 w 639"/>
                <a:gd name="T77" fmla="*/ 198 h 424"/>
                <a:gd name="T78" fmla="*/ 12 w 639"/>
                <a:gd name="T79" fmla="*/ 221 h 424"/>
                <a:gd name="T80" fmla="*/ 12 w 639"/>
                <a:gd name="T81" fmla="*/ 250 h 424"/>
                <a:gd name="T82" fmla="*/ 6 w 639"/>
                <a:gd name="T83" fmla="*/ 273 h 424"/>
                <a:gd name="T84" fmla="*/ 6 w 639"/>
                <a:gd name="T85" fmla="*/ 290 h 424"/>
                <a:gd name="T86" fmla="*/ 0 w 639"/>
                <a:gd name="T87" fmla="*/ 331 h 424"/>
                <a:gd name="T88" fmla="*/ 47 w 639"/>
                <a:gd name="T89" fmla="*/ 337 h 424"/>
                <a:gd name="T90" fmla="*/ 87 w 639"/>
                <a:gd name="T91" fmla="*/ 337 h 424"/>
                <a:gd name="T92" fmla="*/ 105 w 639"/>
                <a:gd name="T93" fmla="*/ 343 h 424"/>
                <a:gd name="T94" fmla="*/ 151 w 639"/>
                <a:gd name="T95" fmla="*/ 343 h 424"/>
                <a:gd name="T96" fmla="*/ 192 w 639"/>
                <a:gd name="T97" fmla="*/ 348 h 424"/>
                <a:gd name="T98" fmla="*/ 238 w 639"/>
                <a:gd name="T99" fmla="*/ 348 h 424"/>
                <a:gd name="T100" fmla="*/ 296 w 639"/>
                <a:gd name="T101" fmla="*/ 354 h 424"/>
                <a:gd name="T102" fmla="*/ 378 w 639"/>
                <a:gd name="T103" fmla="*/ 360 h 424"/>
                <a:gd name="T104" fmla="*/ 465 w 639"/>
                <a:gd name="T105" fmla="*/ 360 h 424"/>
                <a:gd name="T106" fmla="*/ 482 w 639"/>
                <a:gd name="T107" fmla="*/ 372 h 424"/>
                <a:gd name="T108" fmla="*/ 494 w 639"/>
                <a:gd name="T109" fmla="*/ 377 h 424"/>
                <a:gd name="T110" fmla="*/ 517 w 639"/>
                <a:gd name="T111" fmla="*/ 377 h 424"/>
                <a:gd name="T112" fmla="*/ 552 w 639"/>
                <a:gd name="T113" fmla="*/ 377 h 424"/>
                <a:gd name="T114" fmla="*/ 575 w 639"/>
                <a:gd name="T115" fmla="*/ 383 h 42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39"/>
                <a:gd name="T175" fmla="*/ 0 h 424"/>
                <a:gd name="T176" fmla="*/ 639 w 639"/>
                <a:gd name="T177" fmla="*/ 424 h 42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39" h="424">
                  <a:moveTo>
                    <a:pt x="575" y="383"/>
                  </a:moveTo>
                  <a:lnTo>
                    <a:pt x="581" y="389"/>
                  </a:lnTo>
                  <a:lnTo>
                    <a:pt x="592" y="389"/>
                  </a:lnTo>
                  <a:lnTo>
                    <a:pt x="610" y="395"/>
                  </a:lnTo>
                  <a:lnTo>
                    <a:pt x="616" y="406"/>
                  </a:lnTo>
                  <a:lnTo>
                    <a:pt x="621" y="418"/>
                  </a:lnTo>
                  <a:lnTo>
                    <a:pt x="633" y="418"/>
                  </a:lnTo>
                  <a:lnTo>
                    <a:pt x="639" y="424"/>
                  </a:lnTo>
                  <a:lnTo>
                    <a:pt x="633" y="418"/>
                  </a:lnTo>
                  <a:lnTo>
                    <a:pt x="633" y="412"/>
                  </a:lnTo>
                  <a:lnTo>
                    <a:pt x="633" y="406"/>
                  </a:lnTo>
                  <a:lnTo>
                    <a:pt x="621" y="395"/>
                  </a:lnTo>
                  <a:lnTo>
                    <a:pt x="627" y="372"/>
                  </a:lnTo>
                  <a:lnTo>
                    <a:pt x="633" y="366"/>
                  </a:lnTo>
                  <a:lnTo>
                    <a:pt x="633" y="360"/>
                  </a:lnTo>
                  <a:lnTo>
                    <a:pt x="639" y="354"/>
                  </a:lnTo>
                  <a:lnTo>
                    <a:pt x="639" y="348"/>
                  </a:lnTo>
                  <a:lnTo>
                    <a:pt x="633" y="337"/>
                  </a:lnTo>
                  <a:lnTo>
                    <a:pt x="627" y="331"/>
                  </a:lnTo>
                  <a:lnTo>
                    <a:pt x="633" y="319"/>
                  </a:lnTo>
                  <a:lnTo>
                    <a:pt x="627" y="308"/>
                  </a:lnTo>
                  <a:lnTo>
                    <a:pt x="633" y="308"/>
                  </a:lnTo>
                  <a:lnTo>
                    <a:pt x="639" y="308"/>
                  </a:lnTo>
                  <a:lnTo>
                    <a:pt x="639" y="290"/>
                  </a:lnTo>
                  <a:lnTo>
                    <a:pt x="639" y="279"/>
                  </a:lnTo>
                  <a:lnTo>
                    <a:pt x="639" y="267"/>
                  </a:lnTo>
                  <a:lnTo>
                    <a:pt x="639" y="250"/>
                  </a:lnTo>
                  <a:lnTo>
                    <a:pt x="639" y="232"/>
                  </a:lnTo>
                  <a:lnTo>
                    <a:pt x="639" y="227"/>
                  </a:lnTo>
                  <a:lnTo>
                    <a:pt x="639" y="186"/>
                  </a:lnTo>
                  <a:lnTo>
                    <a:pt x="639" y="180"/>
                  </a:lnTo>
                  <a:lnTo>
                    <a:pt x="639" y="174"/>
                  </a:lnTo>
                  <a:lnTo>
                    <a:pt x="639" y="157"/>
                  </a:lnTo>
                  <a:lnTo>
                    <a:pt x="639" y="140"/>
                  </a:lnTo>
                  <a:lnTo>
                    <a:pt x="639" y="105"/>
                  </a:lnTo>
                  <a:lnTo>
                    <a:pt x="639" y="99"/>
                  </a:lnTo>
                  <a:lnTo>
                    <a:pt x="633" y="93"/>
                  </a:lnTo>
                  <a:lnTo>
                    <a:pt x="627" y="87"/>
                  </a:lnTo>
                  <a:lnTo>
                    <a:pt x="610" y="70"/>
                  </a:lnTo>
                  <a:lnTo>
                    <a:pt x="604" y="64"/>
                  </a:lnTo>
                  <a:lnTo>
                    <a:pt x="621" y="47"/>
                  </a:lnTo>
                  <a:lnTo>
                    <a:pt x="627" y="29"/>
                  </a:lnTo>
                  <a:lnTo>
                    <a:pt x="616" y="29"/>
                  </a:lnTo>
                  <a:lnTo>
                    <a:pt x="592" y="29"/>
                  </a:lnTo>
                  <a:lnTo>
                    <a:pt x="575" y="29"/>
                  </a:lnTo>
                  <a:lnTo>
                    <a:pt x="558" y="29"/>
                  </a:lnTo>
                  <a:lnTo>
                    <a:pt x="517" y="29"/>
                  </a:lnTo>
                  <a:lnTo>
                    <a:pt x="517" y="24"/>
                  </a:lnTo>
                  <a:lnTo>
                    <a:pt x="494" y="24"/>
                  </a:lnTo>
                  <a:lnTo>
                    <a:pt x="488" y="24"/>
                  </a:lnTo>
                  <a:lnTo>
                    <a:pt x="459" y="24"/>
                  </a:lnTo>
                  <a:lnTo>
                    <a:pt x="453" y="24"/>
                  </a:lnTo>
                  <a:lnTo>
                    <a:pt x="436" y="24"/>
                  </a:lnTo>
                  <a:lnTo>
                    <a:pt x="418" y="24"/>
                  </a:lnTo>
                  <a:lnTo>
                    <a:pt x="383" y="24"/>
                  </a:lnTo>
                  <a:lnTo>
                    <a:pt x="378" y="24"/>
                  </a:lnTo>
                  <a:lnTo>
                    <a:pt x="366" y="24"/>
                  </a:lnTo>
                  <a:lnTo>
                    <a:pt x="354" y="18"/>
                  </a:lnTo>
                  <a:lnTo>
                    <a:pt x="314" y="18"/>
                  </a:lnTo>
                  <a:lnTo>
                    <a:pt x="267" y="18"/>
                  </a:lnTo>
                  <a:lnTo>
                    <a:pt x="256" y="12"/>
                  </a:lnTo>
                  <a:lnTo>
                    <a:pt x="198" y="12"/>
                  </a:lnTo>
                  <a:lnTo>
                    <a:pt x="186" y="12"/>
                  </a:lnTo>
                  <a:lnTo>
                    <a:pt x="157" y="6"/>
                  </a:lnTo>
                  <a:lnTo>
                    <a:pt x="122" y="6"/>
                  </a:lnTo>
                  <a:lnTo>
                    <a:pt x="116" y="6"/>
                  </a:lnTo>
                  <a:lnTo>
                    <a:pt x="70" y="0"/>
                  </a:lnTo>
                  <a:lnTo>
                    <a:pt x="35" y="0"/>
                  </a:lnTo>
                  <a:lnTo>
                    <a:pt x="35" y="6"/>
                  </a:lnTo>
                  <a:lnTo>
                    <a:pt x="29" y="18"/>
                  </a:lnTo>
                  <a:lnTo>
                    <a:pt x="29" y="76"/>
                  </a:lnTo>
                  <a:lnTo>
                    <a:pt x="29" y="82"/>
                  </a:lnTo>
                  <a:lnTo>
                    <a:pt x="24" y="105"/>
                  </a:lnTo>
                  <a:lnTo>
                    <a:pt x="18" y="134"/>
                  </a:lnTo>
                  <a:lnTo>
                    <a:pt x="18" y="151"/>
                  </a:lnTo>
                  <a:lnTo>
                    <a:pt x="18" y="163"/>
                  </a:lnTo>
                  <a:lnTo>
                    <a:pt x="18" y="192"/>
                  </a:lnTo>
                  <a:lnTo>
                    <a:pt x="12" y="198"/>
                  </a:lnTo>
                  <a:lnTo>
                    <a:pt x="12" y="203"/>
                  </a:lnTo>
                  <a:lnTo>
                    <a:pt x="12" y="221"/>
                  </a:lnTo>
                  <a:lnTo>
                    <a:pt x="12" y="232"/>
                  </a:lnTo>
                  <a:lnTo>
                    <a:pt x="12" y="250"/>
                  </a:lnTo>
                  <a:lnTo>
                    <a:pt x="6" y="261"/>
                  </a:lnTo>
                  <a:lnTo>
                    <a:pt x="6" y="273"/>
                  </a:lnTo>
                  <a:lnTo>
                    <a:pt x="6" y="279"/>
                  </a:lnTo>
                  <a:lnTo>
                    <a:pt x="6" y="290"/>
                  </a:lnTo>
                  <a:lnTo>
                    <a:pt x="6" y="319"/>
                  </a:lnTo>
                  <a:lnTo>
                    <a:pt x="0" y="331"/>
                  </a:lnTo>
                  <a:lnTo>
                    <a:pt x="6" y="331"/>
                  </a:lnTo>
                  <a:lnTo>
                    <a:pt x="47" y="337"/>
                  </a:lnTo>
                  <a:lnTo>
                    <a:pt x="70" y="337"/>
                  </a:lnTo>
                  <a:lnTo>
                    <a:pt x="87" y="337"/>
                  </a:lnTo>
                  <a:lnTo>
                    <a:pt x="99" y="343"/>
                  </a:lnTo>
                  <a:lnTo>
                    <a:pt x="105" y="343"/>
                  </a:lnTo>
                  <a:lnTo>
                    <a:pt x="134" y="343"/>
                  </a:lnTo>
                  <a:lnTo>
                    <a:pt x="151" y="343"/>
                  </a:lnTo>
                  <a:lnTo>
                    <a:pt x="169" y="343"/>
                  </a:lnTo>
                  <a:lnTo>
                    <a:pt x="192" y="348"/>
                  </a:lnTo>
                  <a:lnTo>
                    <a:pt x="198" y="348"/>
                  </a:lnTo>
                  <a:lnTo>
                    <a:pt x="238" y="348"/>
                  </a:lnTo>
                  <a:lnTo>
                    <a:pt x="273" y="354"/>
                  </a:lnTo>
                  <a:lnTo>
                    <a:pt x="296" y="354"/>
                  </a:lnTo>
                  <a:lnTo>
                    <a:pt x="325" y="354"/>
                  </a:lnTo>
                  <a:lnTo>
                    <a:pt x="378" y="360"/>
                  </a:lnTo>
                  <a:lnTo>
                    <a:pt x="401" y="360"/>
                  </a:lnTo>
                  <a:lnTo>
                    <a:pt x="465" y="360"/>
                  </a:lnTo>
                  <a:lnTo>
                    <a:pt x="476" y="372"/>
                  </a:lnTo>
                  <a:lnTo>
                    <a:pt x="482" y="372"/>
                  </a:lnTo>
                  <a:lnTo>
                    <a:pt x="488" y="377"/>
                  </a:lnTo>
                  <a:lnTo>
                    <a:pt x="494" y="377"/>
                  </a:lnTo>
                  <a:lnTo>
                    <a:pt x="505" y="389"/>
                  </a:lnTo>
                  <a:lnTo>
                    <a:pt x="517" y="377"/>
                  </a:lnTo>
                  <a:lnTo>
                    <a:pt x="540" y="377"/>
                  </a:lnTo>
                  <a:lnTo>
                    <a:pt x="552" y="377"/>
                  </a:lnTo>
                  <a:lnTo>
                    <a:pt x="569" y="377"/>
                  </a:lnTo>
                  <a:lnTo>
                    <a:pt x="575" y="38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8" name="Freeform 49"/>
            <p:cNvSpPr>
              <a:spLocks/>
            </p:cNvSpPr>
            <p:nvPr/>
          </p:nvSpPr>
          <p:spPr bwMode="auto">
            <a:xfrm>
              <a:off x="3879" y="1865"/>
              <a:ext cx="476" cy="504"/>
            </a:xfrm>
            <a:custGeom>
              <a:avLst/>
              <a:gdLst>
                <a:gd name="T0" fmla="*/ 348 w 476"/>
                <a:gd name="T1" fmla="*/ 493 h 504"/>
                <a:gd name="T2" fmla="*/ 308 w 476"/>
                <a:gd name="T3" fmla="*/ 499 h 504"/>
                <a:gd name="T4" fmla="*/ 273 w 476"/>
                <a:gd name="T5" fmla="*/ 499 h 504"/>
                <a:gd name="T6" fmla="*/ 250 w 476"/>
                <a:gd name="T7" fmla="*/ 499 h 504"/>
                <a:gd name="T8" fmla="*/ 215 w 476"/>
                <a:gd name="T9" fmla="*/ 504 h 504"/>
                <a:gd name="T10" fmla="*/ 198 w 476"/>
                <a:gd name="T11" fmla="*/ 493 h 504"/>
                <a:gd name="T12" fmla="*/ 169 w 476"/>
                <a:gd name="T13" fmla="*/ 475 h 504"/>
                <a:gd name="T14" fmla="*/ 157 w 476"/>
                <a:gd name="T15" fmla="*/ 441 h 504"/>
                <a:gd name="T16" fmla="*/ 151 w 476"/>
                <a:gd name="T17" fmla="*/ 400 h 504"/>
                <a:gd name="T18" fmla="*/ 145 w 476"/>
                <a:gd name="T19" fmla="*/ 365 h 504"/>
                <a:gd name="T20" fmla="*/ 134 w 476"/>
                <a:gd name="T21" fmla="*/ 342 h 504"/>
                <a:gd name="T22" fmla="*/ 116 w 476"/>
                <a:gd name="T23" fmla="*/ 336 h 504"/>
                <a:gd name="T24" fmla="*/ 93 w 476"/>
                <a:gd name="T25" fmla="*/ 319 h 504"/>
                <a:gd name="T26" fmla="*/ 70 w 476"/>
                <a:gd name="T27" fmla="*/ 296 h 504"/>
                <a:gd name="T28" fmla="*/ 52 w 476"/>
                <a:gd name="T29" fmla="*/ 284 h 504"/>
                <a:gd name="T30" fmla="*/ 18 w 476"/>
                <a:gd name="T31" fmla="*/ 261 h 504"/>
                <a:gd name="T32" fmla="*/ 12 w 476"/>
                <a:gd name="T33" fmla="*/ 226 h 504"/>
                <a:gd name="T34" fmla="*/ 12 w 476"/>
                <a:gd name="T35" fmla="*/ 197 h 504"/>
                <a:gd name="T36" fmla="*/ 0 w 476"/>
                <a:gd name="T37" fmla="*/ 156 h 504"/>
                <a:gd name="T38" fmla="*/ 47 w 476"/>
                <a:gd name="T39" fmla="*/ 104 h 504"/>
                <a:gd name="T40" fmla="*/ 47 w 476"/>
                <a:gd name="T41" fmla="*/ 58 h 504"/>
                <a:gd name="T42" fmla="*/ 47 w 476"/>
                <a:gd name="T43" fmla="*/ 40 h 504"/>
                <a:gd name="T44" fmla="*/ 64 w 476"/>
                <a:gd name="T45" fmla="*/ 34 h 504"/>
                <a:gd name="T46" fmla="*/ 116 w 476"/>
                <a:gd name="T47" fmla="*/ 17 h 504"/>
                <a:gd name="T48" fmla="*/ 151 w 476"/>
                <a:gd name="T49" fmla="*/ 0 h 504"/>
                <a:gd name="T50" fmla="*/ 157 w 476"/>
                <a:gd name="T51" fmla="*/ 29 h 504"/>
                <a:gd name="T52" fmla="*/ 163 w 476"/>
                <a:gd name="T53" fmla="*/ 34 h 504"/>
                <a:gd name="T54" fmla="*/ 186 w 476"/>
                <a:gd name="T55" fmla="*/ 40 h 504"/>
                <a:gd name="T56" fmla="*/ 215 w 476"/>
                <a:gd name="T57" fmla="*/ 63 h 504"/>
                <a:gd name="T58" fmla="*/ 302 w 476"/>
                <a:gd name="T59" fmla="*/ 81 h 504"/>
                <a:gd name="T60" fmla="*/ 319 w 476"/>
                <a:gd name="T61" fmla="*/ 92 h 504"/>
                <a:gd name="T62" fmla="*/ 337 w 476"/>
                <a:gd name="T63" fmla="*/ 98 h 504"/>
                <a:gd name="T64" fmla="*/ 377 w 476"/>
                <a:gd name="T65" fmla="*/ 98 h 504"/>
                <a:gd name="T66" fmla="*/ 383 w 476"/>
                <a:gd name="T67" fmla="*/ 116 h 504"/>
                <a:gd name="T68" fmla="*/ 401 w 476"/>
                <a:gd name="T69" fmla="*/ 122 h 504"/>
                <a:gd name="T70" fmla="*/ 430 w 476"/>
                <a:gd name="T71" fmla="*/ 197 h 504"/>
                <a:gd name="T72" fmla="*/ 406 w 476"/>
                <a:gd name="T73" fmla="*/ 232 h 504"/>
                <a:gd name="T74" fmla="*/ 412 w 476"/>
                <a:gd name="T75" fmla="*/ 249 h 504"/>
                <a:gd name="T76" fmla="*/ 424 w 476"/>
                <a:gd name="T77" fmla="*/ 232 h 504"/>
                <a:gd name="T78" fmla="*/ 459 w 476"/>
                <a:gd name="T79" fmla="*/ 185 h 504"/>
                <a:gd name="T80" fmla="*/ 476 w 476"/>
                <a:gd name="T81" fmla="*/ 162 h 504"/>
                <a:gd name="T82" fmla="*/ 447 w 476"/>
                <a:gd name="T83" fmla="*/ 255 h 504"/>
                <a:gd name="T84" fmla="*/ 436 w 476"/>
                <a:gd name="T85" fmla="*/ 313 h 504"/>
                <a:gd name="T86" fmla="*/ 436 w 476"/>
                <a:gd name="T87" fmla="*/ 359 h 504"/>
                <a:gd name="T88" fmla="*/ 424 w 476"/>
                <a:gd name="T89" fmla="*/ 388 h 504"/>
                <a:gd name="T90" fmla="*/ 424 w 476"/>
                <a:gd name="T91" fmla="*/ 417 h 504"/>
                <a:gd name="T92" fmla="*/ 441 w 476"/>
                <a:gd name="T93" fmla="*/ 458 h 504"/>
                <a:gd name="T94" fmla="*/ 441 w 476"/>
                <a:gd name="T95" fmla="*/ 487 h 504"/>
                <a:gd name="T96" fmla="*/ 406 w 476"/>
                <a:gd name="T97" fmla="*/ 487 h 504"/>
                <a:gd name="T98" fmla="*/ 372 w 476"/>
                <a:gd name="T99" fmla="*/ 493 h 5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6"/>
                <a:gd name="T151" fmla="*/ 0 h 504"/>
                <a:gd name="T152" fmla="*/ 476 w 476"/>
                <a:gd name="T153" fmla="*/ 504 h 5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6" h="504">
                  <a:moveTo>
                    <a:pt x="360" y="493"/>
                  </a:moveTo>
                  <a:lnTo>
                    <a:pt x="354" y="493"/>
                  </a:lnTo>
                  <a:lnTo>
                    <a:pt x="348" y="493"/>
                  </a:lnTo>
                  <a:lnTo>
                    <a:pt x="337" y="493"/>
                  </a:lnTo>
                  <a:lnTo>
                    <a:pt x="319" y="499"/>
                  </a:lnTo>
                  <a:lnTo>
                    <a:pt x="308" y="499"/>
                  </a:lnTo>
                  <a:lnTo>
                    <a:pt x="296" y="499"/>
                  </a:lnTo>
                  <a:lnTo>
                    <a:pt x="290" y="499"/>
                  </a:lnTo>
                  <a:lnTo>
                    <a:pt x="273" y="499"/>
                  </a:lnTo>
                  <a:lnTo>
                    <a:pt x="267" y="499"/>
                  </a:lnTo>
                  <a:lnTo>
                    <a:pt x="261" y="499"/>
                  </a:lnTo>
                  <a:lnTo>
                    <a:pt x="250" y="499"/>
                  </a:lnTo>
                  <a:lnTo>
                    <a:pt x="244" y="499"/>
                  </a:lnTo>
                  <a:lnTo>
                    <a:pt x="221" y="504"/>
                  </a:lnTo>
                  <a:lnTo>
                    <a:pt x="215" y="504"/>
                  </a:lnTo>
                  <a:lnTo>
                    <a:pt x="209" y="504"/>
                  </a:lnTo>
                  <a:lnTo>
                    <a:pt x="203" y="504"/>
                  </a:lnTo>
                  <a:lnTo>
                    <a:pt x="198" y="493"/>
                  </a:lnTo>
                  <a:lnTo>
                    <a:pt x="192" y="487"/>
                  </a:lnTo>
                  <a:lnTo>
                    <a:pt x="180" y="487"/>
                  </a:lnTo>
                  <a:lnTo>
                    <a:pt x="169" y="475"/>
                  </a:lnTo>
                  <a:lnTo>
                    <a:pt x="163" y="464"/>
                  </a:lnTo>
                  <a:lnTo>
                    <a:pt x="157" y="452"/>
                  </a:lnTo>
                  <a:lnTo>
                    <a:pt x="157" y="441"/>
                  </a:lnTo>
                  <a:lnTo>
                    <a:pt x="163" y="423"/>
                  </a:lnTo>
                  <a:lnTo>
                    <a:pt x="151" y="406"/>
                  </a:lnTo>
                  <a:lnTo>
                    <a:pt x="151" y="400"/>
                  </a:lnTo>
                  <a:lnTo>
                    <a:pt x="151" y="394"/>
                  </a:lnTo>
                  <a:lnTo>
                    <a:pt x="145" y="383"/>
                  </a:lnTo>
                  <a:lnTo>
                    <a:pt x="145" y="365"/>
                  </a:lnTo>
                  <a:lnTo>
                    <a:pt x="145" y="359"/>
                  </a:lnTo>
                  <a:lnTo>
                    <a:pt x="140" y="354"/>
                  </a:lnTo>
                  <a:lnTo>
                    <a:pt x="134" y="342"/>
                  </a:lnTo>
                  <a:lnTo>
                    <a:pt x="128" y="336"/>
                  </a:lnTo>
                  <a:lnTo>
                    <a:pt x="122" y="336"/>
                  </a:lnTo>
                  <a:lnTo>
                    <a:pt x="116" y="336"/>
                  </a:lnTo>
                  <a:lnTo>
                    <a:pt x="110" y="330"/>
                  </a:lnTo>
                  <a:lnTo>
                    <a:pt x="105" y="325"/>
                  </a:lnTo>
                  <a:lnTo>
                    <a:pt x="93" y="319"/>
                  </a:lnTo>
                  <a:lnTo>
                    <a:pt x="87" y="313"/>
                  </a:lnTo>
                  <a:lnTo>
                    <a:pt x="81" y="296"/>
                  </a:lnTo>
                  <a:lnTo>
                    <a:pt x="70" y="296"/>
                  </a:lnTo>
                  <a:lnTo>
                    <a:pt x="70" y="290"/>
                  </a:lnTo>
                  <a:lnTo>
                    <a:pt x="58" y="290"/>
                  </a:lnTo>
                  <a:lnTo>
                    <a:pt x="52" y="284"/>
                  </a:lnTo>
                  <a:lnTo>
                    <a:pt x="52" y="278"/>
                  </a:lnTo>
                  <a:lnTo>
                    <a:pt x="35" y="278"/>
                  </a:lnTo>
                  <a:lnTo>
                    <a:pt x="18" y="261"/>
                  </a:lnTo>
                  <a:lnTo>
                    <a:pt x="12" y="255"/>
                  </a:lnTo>
                  <a:lnTo>
                    <a:pt x="12" y="243"/>
                  </a:lnTo>
                  <a:lnTo>
                    <a:pt x="12" y="226"/>
                  </a:lnTo>
                  <a:lnTo>
                    <a:pt x="18" y="214"/>
                  </a:lnTo>
                  <a:lnTo>
                    <a:pt x="12" y="203"/>
                  </a:lnTo>
                  <a:lnTo>
                    <a:pt x="12" y="197"/>
                  </a:lnTo>
                  <a:lnTo>
                    <a:pt x="18" y="174"/>
                  </a:lnTo>
                  <a:lnTo>
                    <a:pt x="12" y="162"/>
                  </a:lnTo>
                  <a:lnTo>
                    <a:pt x="0" y="156"/>
                  </a:lnTo>
                  <a:lnTo>
                    <a:pt x="6" y="145"/>
                  </a:lnTo>
                  <a:lnTo>
                    <a:pt x="12" y="133"/>
                  </a:lnTo>
                  <a:lnTo>
                    <a:pt x="47" y="104"/>
                  </a:lnTo>
                  <a:lnTo>
                    <a:pt x="47" y="92"/>
                  </a:lnTo>
                  <a:lnTo>
                    <a:pt x="47" y="63"/>
                  </a:lnTo>
                  <a:lnTo>
                    <a:pt x="47" y="58"/>
                  </a:lnTo>
                  <a:lnTo>
                    <a:pt x="47" y="40"/>
                  </a:lnTo>
                  <a:lnTo>
                    <a:pt x="47" y="34"/>
                  </a:lnTo>
                  <a:lnTo>
                    <a:pt x="47" y="40"/>
                  </a:lnTo>
                  <a:lnTo>
                    <a:pt x="58" y="29"/>
                  </a:lnTo>
                  <a:lnTo>
                    <a:pt x="64" y="29"/>
                  </a:lnTo>
                  <a:lnTo>
                    <a:pt x="64" y="34"/>
                  </a:lnTo>
                  <a:lnTo>
                    <a:pt x="81" y="34"/>
                  </a:lnTo>
                  <a:lnTo>
                    <a:pt x="99" y="23"/>
                  </a:lnTo>
                  <a:lnTo>
                    <a:pt x="116" y="17"/>
                  </a:lnTo>
                  <a:lnTo>
                    <a:pt x="128" y="11"/>
                  </a:lnTo>
                  <a:lnTo>
                    <a:pt x="134" y="11"/>
                  </a:lnTo>
                  <a:lnTo>
                    <a:pt x="151" y="0"/>
                  </a:lnTo>
                  <a:lnTo>
                    <a:pt x="163" y="5"/>
                  </a:lnTo>
                  <a:lnTo>
                    <a:pt x="157" y="23"/>
                  </a:lnTo>
                  <a:lnTo>
                    <a:pt x="157" y="29"/>
                  </a:lnTo>
                  <a:lnTo>
                    <a:pt x="151" y="34"/>
                  </a:lnTo>
                  <a:lnTo>
                    <a:pt x="151" y="40"/>
                  </a:lnTo>
                  <a:lnTo>
                    <a:pt x="163" y="34"/>
                  </a:lnTo>
                  <a:lnTo>
                    <a:pt x="163" y="29"/>
                  </a:lnTo>
                  <a:lnTo>
                    <a:pt x="180" y="40"/>
                  </a:lnTo>
                  <a:lnTo>
                    <a:pt x="186" y="40"/>
                  </a:lnTo>
                  <a:lnTo>
                    <a:pt x="192" y="40"/>
                  </a:lnTo>
                  <a:lnTo>
                    <a:pt x="209" y="46"/>
                  </a:lnTo>
                  <a:lnTo>
                    <a:pt x="215" y="63"/>
                  </a:lnTo>
                  <a:lnTo>
                    <a:pt x="232" y="69"/>
                  </a:lnTo>
                  <a:lnTo>
                    <a:pt x="238" y="69"/>
                  </a:lnTo>
                  <a:lnTo>
                    <a:pt x="302" y="81"/>
                  </a:lnTo>
                  <a:lnTo>
                    <a:pt x="308" y="87"/>
                  </a:lnTo>
                  <a:lnTo>
                    <a:pt x="314" y="87"/>
                  </a:lnTo>
                  <a:lnTo>
                    <a:pt x="319" y="92"/>
                  </a:lnTo>
                  <a:lnTo>
                    <a:pt x="331" y="92"/>
                  </a:lnTo>
                  <a:lnTo>
                    <a:pt x="337" y="92"/>
                  </a:lnTo>
                  <a:lnTo>
                    <a:pt x="337" y="98"/>
                  </a:lnTo>
                  <a:lnTo>
                    <a:pt x="348" y="92"/>
                  </a:lnTo>
                  <a:lnTo>
                    <a:pt x="372" y="98"/>
                  </a:lnTo>
                  <a:lnTo>
                    <a:pt x="377" y="98"/>
                  </a:lnTo>
                  <a:lnTo>
                    <a:pt x="383" y="104"/>
                  </a:lnTo>
                  <a:lnTo>
                    <a:pt x="383" y="110"/>
                  </a:lnTo>
                  <a:lnTo>
                    <a:pt x="383" y="116"/>
                  </a:lnTo>
                  <a:lnTo>
                    <a:pt x="389" y="116"/>
                  </a:lnTo>
                  <a:lnTo>
                    <a:pt x="401" y="116"/>
                  </a:lnTo>
                  <a:lnTo>
                    <a:pt x="401" y="122"/>
                  </a:lnTo>
                  <a:lnTo>
                    <a:pt x="424" y="185"/>
                  </a:lnTo>
                  <a:lnTo>
                    <a:pt x="430" y="191"/>
                  </a:lnTo>
                  <a:lnTo>
                    <a:pt x="430" y="197"/>
                  </a:lnTo>
                  <a:lnTo>
                    <a:pt x="430" y="203"/>
                  </a:lnTo>
                  <a:lnTo>
                    <a:pt x="418" y="203"/>
                  </a:lnTo>
                  <a:lnTo>
                    <a:pt x="406" y="232"/>
                  </a:lnTo>
                  <a:lnTo>
                    <a:pt x="401" y="238"/>
                  </a:lnTo>
                  <a:lnTo>
                    <a:pt x="401" y="249"/>
                  </a:lnTo>
                  <a:lnTo>
                    <a:pt x="412" y="249"/>
                  </a:lnTo>
                  <a:lnTo>
                    <a:pt x="424" y="243"/>
                  </a:lnTo>
                  <a:lnTo>
                    <a:pt x="424" y="238"/>
                  </a:lnTo>
                  <a:lnTo>
                    <a:pt x="424" y="232"/>
                  </a:lnTo>
                  <a:lnTo>
                    <a:pt x="441" y="214"/>
                  </a:lnTo>
                  <a:lnTo>
                    <a:pt x="459" y="191"/>
                  </a:lnTo>
                  <a:lnTo>
                    <a:pt x="459" y="185"/>
                  </a:lnTo>
                  <a:lnTo>
                    <a:pt x="465" y="174"/>
                  </a:lnTo>
                  <a:lnTo>
                    <a:pt x="470" y="168"/>
                  </a:lnTo>
                  <a:lnTo>
                    <a:pt x="476" y="162"/>
                  </a:lnTo>
                  <a:lnTo>
                    <a:pt x="476" y="168"/>
                  </a:lnTo>
                  <a:lnTo>
                    <a:pt x="453" y="238"/>
                  </a:lnTo>
                  <a:lnTo>
                    <a:pt x="447" y="255"/>
                  </a:lnTo>
                  <a:lnTo>
                    <a:pt x="441" y="278"/>
                  </a:lnTo>
                  <a:lnTo>
                    <a:pt x="447" y="284"/>
                  </a:lnTo>
                  <a:lnTo>
                    <a:pt x="436" y="313"/>
                  </a:lnTo>
                  <a:lnTo>
                    <a:pt x="430" y="325"/>
                  </a:lnTo>
                  <a:lnTo>
                    <a:pt x="436" y="342"/>
                  </a:lnTo>
                  <a:lnTo>
                    <a:pt x="436" y="359"/>
                  </a:lnTo>
                  <a:lnTo>
                    <a:pt x="430" y="365"/>
                  </a:lnTo>
                  <a:lnTo>
                    <a:pt x="430" y="371"/>
                  </a:lnTo>
                  <a:lnTo>
                    <a:pt x="424" y="388"/>
                  </a:lnTo>
                  <a:lnTo>
                    <a:pt x="424" y="400"/>
                  </a:lnTo>
                  <a:lnTo>
                    <a:pt x="424" y="406"/>
                  </a:lnTo>
                  <a:lnTo>
                    <a:pt x="424" y="417"/>
                  </a:lnTo>
                  <a:lnTo>
                    <a:pt x="430" y="429"/>
                  </a:lnTo>
                  <a:lnTo>
                    <a:pt x="436" y="446"/>
                  </a:lnTo>
                  <a:lnTo>
                    <a:pt x="441" y="458"/>
                  </a:lnTo>
                  <a:lnTo>
                    <a:pt x="441" y="464"/>
                  </a:lnTo>
                  <a:lnTo>
                    <a:pt x="441" y="470"/>
                  </a:lnTo>
                  <a:lnTo>
                    <a:pt x="441" y="487"/>
                  </a:lnTo>
                  <a:lnTo>
                    <a:pt x="424" y="487"/>
                  </a:lnTo>
                  <a:lnTo>
                    <a:pt x="412" y="487"/>
                  </a:lnTo>
                  <a:lnTo>
                    <a:pt x="406" y="487"/>
                  </a:lnTo>
                  <a:lnTo>
                    <a:pt x="401" y="487"/>
                  </a:lnTo>
                  <a:lnTo>
                    <a:pt x="401" y="493"/>
                  </a:lnTo>
                  <a:lnTo>
                    <a:pt x="372" y="493"/>
                  </a:lnTo>
                  <a:lnTo>
                    <a:pt x="366" y="493"/>
                  </a:lnTo>
                  <a:lnTo>
                    <a:pt x="360" y="493"/>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59" name="Freeform 50"/>
            <p:cNvSpPr>
              <a:spLocks/>
            </p:cNvSpPr>
            <p:nvPr/>
          </p:nvSpPr>
          <p:spPr bwMode="auto">
            <a:xfrm>
              <a:off x="2591" y="3042"/>
              <a:ext cx="1282" cy="1247"/>
            </a:xfrm>
            <a:custGeom>
              <a:avLst/>
              <a:gdLst>
                <a:gd name="T0" fmla="*/ 603 w 1282"/>
                <a:gd name="T1" fmla="*/ 963 h 1247"/>
                <a:gd name="T2" fmla="*/ 557 w 1282"/>
                <a:gd name="T3" fmla="*/ 853 h 1247"/>
                <a:gd name="T4" fmla="*/ 511 w 1282"/>
                <a:gd name="T5" fmla="*/ 807 h 1247"/>
                <a:gd name="T6" fmla="*/ 435 w 1282"/>
                <a:gd name="T7" fmla="*/ 772 h 1247"/>
                <a:gd name="T8" fmla="*/ 354 w 1282"/>
                <a:gd name="T9" fmla="*/ 789 h 1247"/>
                <a:gd name="T10" fmla="*/ 273 w 1282"/>
                <a:gd name="T11" fmla="*/ 836 h 1247"/>
                <a:gd name="T12" fmla="*/ 203 w 1282"/>
                <a:gd name="T13" fmla="*/ 789 h 1247"/>
                <a:gd name="T14" fmla="*/ 145 w 1282"/>
                <a:gd name="T15" fmla="*/ 650 h 1247"/>
                <a:gd name="T16" fmla="*/ 52 w 1282"/>
                <a:gd name="T17" fmla="*/ 551 h 1247"/>
                <a:gd name="T18" fmla="*/ 6 w 1282"/>
                <a:gd name="T19" fmla="*/ 499 h 1247"/>
                <a:gd name="T20" fmla="*/ 52 w 1282"/>
                <a:gd name="T21" fmla="*/ 482 h 1247"/>
                <a:gd name="T22" fmla="*/ 174 w 1282"/>
                <a:gd name="T23" fmla="*/ 493 h 1247"/>
                <a:gd name="T24" fmla="*/ 278 w 1282"/>
                <a:gd name="T25" fmla="*/ 505 h 1247"/>
                <a:gd name="T26" fmla="*/ 342 w 1282"/>
                <a:gd name="T27" fmla="*/ 511 h 1247"/>
                <a:gd name="T28" fmla="*/ 354 w 1282"/>
                <a:gd name="T29" fmla="*/ 453 h 1247"/>
                <a:gd name="T30" fmla="*/ 360 w 1282"/>
                <a:gd name="T31" fmla="*/ 354 h 1247"/>
                <a:gd name="T32" fmla="*/ 365 w 1282"/>
                <a:gd name="T33" fmla="*/ 302 h 1247"/>
                <a:gd name="T34" fmla="*/ 371 w 1282"/>
                <a:gd name="T35" fmla="*/ 232 h 1247"/>
                <a:gd name="T36" fmla="*/ 377 w 1282"/>
                <a:gd name="T37" fmla="*/ 174 h 1247"/>
                <a:gd name="T38" fmla="*/ 383 w 1282"/>
                <a:gd name="T39" fmla="*/ 128 h 1247"/>
                <a:gd name="T40" fmla="*/ 429 w 1282"/>
                <a:gd name="T41" fmla="*/ 0 h 1247"/>
                <a:gd name="T42" fmla="*/ 499 w 1282"/>
                <a:gd name="T43" fmla="*/ 6 h 1247"/>
                <a:gd name="T44" fmla="*/ 580 w 1282"/>
                <a:gd name="T45" fmla="*/ 12 h 1247"/>
                <a:gd name="T46" fmla="*/ 638 w 1282"/>
                <a:gd name="T47" fmla="*/ 12 h 1247"/>
                <a:gd name="T48" fmla="*/ 667 w 1282"/>
                <a:gd name="T49" fmla="*/ 81 h 1247"/>
                <a:gd name="T50" fmla="*/ 667 w 1282"/>
                <a:gd name="T51" fmla="*/ 128 h 1247"/>
                <a:gd name="T52" fmla="*/ 667 w 1282"/>
                <a:gd name="T53" fmla="*/ 163 h 1247"/>
                <a:gd name="T54" fmla="*/ 661 w 1282"/>
                <a:gd name="T55" fmla="*/ 215 h 1247"/>
                <a:gd name="T56" fmla="*/ 708 w 1282"/>
                <a:gd name="T57" fmla="*/ 255 h 1247"/>
                <a:gd name="T58" fmla="*/ 748 w 1282"/>
                <a:gd name="T59" fmla="*/ 279 h 1247"/>
                <a:gd name="T60" fmla="*/ 801 w 1282"/>
                <a:gd name="T61" fmla="*/ 296 h 1247"/>
                <a:gd name="T62" fmla="*/ 841 w 1282"/>
                <a:gd name="T63" fmla="*/ 290 h 1247"/>
                <a:gd name="T64" fmla="*/ 882 w 1282"/>
                <a:gd name="T65" fmla="*/ 313 h 1247"/>
                <a:gd name="T66" fmla="*/ 928 w 1282"/>
                <a:gd name="T67" fmla="*/ 337 h 1247"/>
                <a:gd name="T68" fmla="*/ 986 w 1282"/>
                <a:gd name="T69" fmla="*/ 319 h 1247"/>
                <a:gd name="T70" fmla="*/ 1015 w 1282"/>
                <a:gd name="T71" fmla="*/ 337 h 1247"/>
                <a:gd name="T72" fmla="*/ 1079 w 1282"/>
                <a:gd name="T73" fmla="*/ 319 h 1247"/>
                <a:gd name="T74" fmla="*/ 1108 w 1282"/>
                <a:gd name="T75" fmla="*/ 325 h 1247"/>
                <a:gd name="T76" fmla="*/ 1137 w 1282"/>
                <a:gd name="T77" fmla="*/ 325 h 1247"/>
                <a:gd name="T78" fmla="*/ 1172 w 1282"/>
                <a:gd name="T79" fmla="*/ 342 h 1247"/>
                <a:gd name="T80" fmla="*/ 1230 w 1282"/>
                <a:gd name="T81" fmla="*/ 360 h 1247"/>
                <a:gd name="T82" fmla="*/ 1230 w 1282"/>
                <a:gd name="T83" fmla="*/ 418 h 1247"/>
                <a:gd name="T84" fmla="*/ 1230 w 1282"/>
                <a:gd name="T85" fmla="*/ 464 h 1247"/>
                <a:gd name="T86" fmla="*/ 1230 w 1282"/>
                <a:gd name="T87" fmla="*/ 534 h 1247"/>
                <a:gd name="T88" fmla="*/ 1265 w 1282"/>
                <a:gd name="T89" fmla="*/ 592 h 1247"/>
                <a:gd name="T90" fmla="*/ 1282 w 1282"/>
                <a:gd name="T91" fmla="*/ 667 h 1247"/>
                <a:gd name="T92" fmla="*/ 1271 w 1282"/>
                <a:gd name="T93" fmla="*/ 737 h 1247"/>
                <a:gd name="T94" fmla="*/ 1253 w 1282"/>
                <a:gd name="T95" fmla="*/ 783 h 1247"/>
                <a:gd name="T96" fmla="*/ 1207 w 1282"/>
                <a:gd name="T97" fmla="*/ 818 h 1247"/>
                <a:gd name="T98" fmla="*/ 1190 w 1282"/>
                <a:gd name="T99" fmla="*/ 818 h 1247"/>
                <a:gd name="T100" fmla="*/ 1155 w 1282"/>
                <a:gd name="T101" fmla="*/ 807 h 1247"/>
                <a:gd name="T102" fmla="*/ 1137 w 1282"/>
                <a:gd name="T103" fmla="*/ 818 h 1247"/>
                <a:gd name="T104" fmla="*/ 1132 w 1282"/>
                <a:gd name="T105" fmla="*/ 876 h 1247"/>
                <a:gd name="T106" fmla="*/ 998 w 1282"/>
                <a:gd name="T107" fmla="*/ 957 h 1247"/>
                <a:gd name="T108" fmla="*/ 934 w 1282"/>
                <a:gd name="T109" fmla="*/ 1021 h 1247"/>
                <a:gd name="T110" fmla="*/ 905 w 1282"/>
                <a:gd name="T111" fmla="*/ 1166 h 1247"/>
                <a:gd name="T112" fmla="*/ 870 w 1282"/>
                <a:gd name="T113" fmla="*/ 1236 h 1247"/>
                <a:gd name="T114" fmla="*/ 766 w 1282"/>
                <a:gd name="T115" fmla="*/ 1201 h 1247"/>
                <a:gd name="T116" fmla="*/ 708 w 1282"/>
                <a:gd name="T117" fmla="*/ 1160 h 1247"/>
                <a:gd name="T118" fmla="*/ 661 w 1282"/>
                <a:gd name="T119" fmla="*/ 1033 h 124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82"/>
                <a:gd name="T181" fmla="*/ 0 h 1247"/>
                <a:gd name="T182" fmla="*/ 1282 w 1282"/>
                <a:gd name="T183" fmla="*/ 1247 h 124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82" h="1247">
                  <a:moveTo>
                    <a:pt x="650" y="1021"/>
                  </a:moveTo>
                  <a:lnTo>
                    <a:pt x="638" y="1010"/>
                  </a:lnTo>
                  <a:lnTo>
                    <a:pt x="627" y="992"/>
                  </a:lnTo>
                  <a:lnTo>
                    <a:pt x="603" y="969"/>
                  </a:lnTo>
                  <a:lnTo>
                    <a:pt x="603" y="963"/>
                  </a:lnTo>
                  <a:lnTo>
                    <a:pt x="592" y="934"/>
                  </a:lnTo>
                  <a:lnTo>
                    <a:pt x="598" y="934"/>
                  </a:lnTo>
                  <a:lnTo>
                    <a:pt x="569" y="882"/>
                  </a:lnTo>
                  <a:lnTo>
                    <a:pt x="563" y="865"/>
                  </a:lnTo>
                  <a:lnTo>
                    <a:pt x="557" y="853"/>
                  </a:lnTo>
                  <a:lnTo>
                    <a:pt x="551" y="841"/>
                  </a:lnTo>
                  <a:lnTo>
                    <a:pt x="534" y="830"/>
                  </a:lnTo>
                  <a:lnTo>
                    <a:pt x="528" y="818"/>
                  </a:lnTo>
                  <a:lnTo>
                    <a:pt x="516" y="812"/>
                  </a:lnTo>
                  <a:lnTo>
                    <a:pt x="511" y="807"/>
                  </a:lnTo>
                  <a:lnTo>
                    <a:pt x="505" y="795"/>
                  </a:lnTo>
                  <a:lnTo>
                    <a:pt x="493" y="783"/>
                  </a:lnTo>
                  <a:lnTo>
                    <a:pt x="481" y="778"/>
                  </a:lnTo>
                  <a:lnTo>
                    <a:pt x="458" y="778"/>
                  </a:lnTo>
                  <a:lnTo>
                    <a:pt x="435" y="772"/>
                  </a:lnTo>
                  <a:lnTo>
                    <a:pt x="429" y="772"/>
                  </a:lnTo>
                  <a:lnTo>
                    <a:pt x="400" y="760"/>
                  </a:lnTo>
                  <a:lnTo>
                    <a:pt x="383" y="772"/>
                  </a:lnTo>
                  <a:lnTo>
                    <a:pt x="371" y="772"/>
                  </a:lnTo>
                  <a:lnTo>
                    <a:pt x="354" y="789"/>
                  </a:lnTo>
                  <a:lnTo>
                    <a:pt x="342" y="830"/>
                  </a:lnTo>
                  <a:lnTo>
                    <a:pt x="319" y="847"/>
                  </a:lnTo>
                  <a:lnTo>
                    <a:pt x="313" y="859"/>
                  </a:lnTo>
                  <a:lnTo>
                    <a:pt x="290" y="853"/>
                  </a:lnTo>
                  <a:lnTo>
                    <a:pt x="273" y="836"/>
                  </a:lnTo>
                  <a:lnTo>
                    <a:pt x="255" y="824"/>
                  </a:lnTo>
                  <a:lnTo>
                    <a:pt x="249" y="818"/>
                  </a:lnTo>
                  <a:lnTo>
                    <a:pt x="226" y="812"/>
                  </a:lnTo>
                  <a:lnTo>
                    <a:pt x="215" y="801"/>
                  </a:lnTo>
                  <a:lnTo>
                    <a:pt x="203" y="789"/>
                  </a:lnTo>
                  <a:lnTo>
                    <a:pt x="180" y="772"/>
                  </a:lnTo>
                  <a:lnTo>
                    <a:pt x="168" y="725"/>
                  </a:lnTo>
                  <a:lnTo>
                    <a:pt x="168" y="696"/>
                  </a:lnTo>
                  <a:lnTo>
                    <a:pt x="151" y="661"/>
                  </a:lnTo>
                  <a:lnTo>
                    <a:pt x="145" y="650"/>
                  </a:lnTo>
                  <a:lnTo>
                    <a:pt x="145" y="644"/>
                  </a:lnTo>
                  <a:lnTo>
                    <a:pt x="110" y="621"/>
                  </a:lnTo>
                  <a:lnTo>
                    <a:pt x="87" y="592"/>
                  </a:lnTo>
                  <a:lnTo>
                    <a:pt x="75" y="580"/>
                  </a:lnTo>
                  <a:lnTo>
                    <a:pt x="52" y="551"/>
                  </a:lnTo>
                  <a:lnTo>
                    <a:pt x="40" y="545"/>
                  </a:lnTo>
                  <a:lnTo>
                    <a:pt x="35" y="540"/>
                  </a:lnTo>
                  <a:lnTo>
                    <a:pt x="17" y="505"/>
                  </a:lnTo>
                  <a:lnTo>
                    <a:pt x="11" y="505"/>
                  </a:lnTo>
                  <a:lnTo>
                    <a:pt x="6" y="499"/>
                  </a:lnTo>
                  <a:lnTo>
                    <a:pt x="0" y="487"/>
                  </a:lnTo>
                  <a:lnTo>
                    <a:pt x="0" y="476"/>
                  </a:lnTo>
                  <a:lnTo>
                    <a:pt x="23" y="476"/>
                  </a:lnTo>
                  <a:lnTo>
                    <a:pt x="40" y="482"/>
                  </a:lnTo>
                  <a:lnTo>
                    <a:pt x="52" y="482"/>
                  </a:lnTo>
                  <a:lnTo>
                    <a:pt x="64" y="482"/>
                  </a:lnTo>
                  <a:lnTo>
                    <a:pt x="122" y="487"/>
                  </a:lnTo>
                  <a:lnTo>
                    <a:pt x="151" y="493"/>
                  </a:lnTo>
                  <a:lnTo>
                    <a:pt x="168" y="493"/>
                  </a:lnTo>
                  <a:lnTo>
                    <a:pt x="174" y="493"/>
                  </a:lnTo>
                  <a:lnTo>
                    <a:pt x="220" y="499"/>
                  </a:lnTo>
                  <a:lnTo>
                    <a:pt x="232" y="499"/>
                  </a:lnTo>
                  <a:lnTo>
                    <a:pt x="255" y="505"/>
                  </a:lnTo>
                  <a:lnTo>
                    <a:pt x="261" y="505"/>
                  </a:lnTo>
                  <a:lnTo>
                    <a:pt x="278" y="505"/>
                  </a:lnTo>
                  <a:lnTo>
                    <a:pt x="284" y="505"/>
                  </a:lnTo>
                  <a:lnTo>
                    <a:pt x="296" y="505"/>
                  </a:lnTo>
                  <a:lnTo>
                    <a:pt x="319" y="511"/>
                  </a:lnTo>
                  <a:lnTo>
                    <a:pt x="325" y="511"/>
                  </a:lnTo>
                  <a:lnTo>
                    <a:pt x="342" y="511"/>
                  </a:lnTo>
                  <a:lnTo>
                    <a:pt x="348" y="511"/>
                  </a:lnTo>
                  <a:lnTo>
                    <a:pt x="348" y="499"/>
                  </a:lnTo>
                  <a:lnTo>
                    <a:pt x="348" y="482"/>
                  </a:lnTo>
                  <a:lnTo>
                    <a:pt x="354" y="458"/>
                  </a:lnTo>
                  <a:lnTo>
                    <a:pt x="354" y="453"/>
                  </a:lnTo>
                  <a:lnTo>
                    <a:pt x="354" y="441"/>
                  </a:lnTo>
                  <a:lnTo>
                    <a:pt x="354" y="418"/>
                  </a:lnTo>
                  <a:lnTo>
                    <a:pt x="360" y="400"/>
                  </a:lnTo>
                  <a:lnTo>
                    <a:pt x="360" y="383"/>
                  </a:lnTo>
                  <a:lnTo>
                    <a:pt x="360" y="354"/>
                  </a:lnTo>
                  <a:lnTo>
                    <a:pt x="365" y="337"/>
                  </a:lnTo>
                  <a:lnTo>
                    <a:pt x="365" y="331"/>
                  </a:lnTo>
                  <a:lnTo>
                    <a:pt x="365" y="319"/>
                  </a:lnTo>
                  <a:lnTo>
                    <a:pt x="365" y="313"/>
                  </a:lnTo>
                  <a:lnTo>
                    <a:pt x="365" y="302"/>
                  </a:lnTo>
                  <a:lnTo>
                    <a:pt x="371" y="284"/>
                  </a:lnTo>
                  <a:lnTo>
                    <a:pt x="371" y="255"/>
                  </a:lnTo>
                  <a:lnTo>
                    <a:pt x="371" y="250"/>
                  </a:lnTo>
                  <a:lnTo>
                    <a:pt x="371" y="244"/>
                  </a:lnTo>
                  <a:lnTo>
                    <a:pt x="371" y="232"/>
                  </a:lnTo>
                  <a:lnTo>
                    <a:pt x="371" y="226"/>
                  </a:lnTo>
                  <a:lnTo>
                    <a:pt x="377" y="197"/>
                  </a:lnTo>
                  <a:lnTo>
                    <a:pt x="377" y="186"/>
                  </a:lnTo>
                  <a:lnTo>
                    <a:pt x="377" y="180"/>
                  </a:lnTo>
                  <a:lnTo>
                    <a:pt x="377" y="174"/>
                  </a:lnTo>
                  <a:lnTo>
                    <a:pt x="377" y="168"/>
                  </a:lnTo>
                  <a:lnTo>
                    <a:pt x="377" y="157"/>
                  </a:lnTo>
                  <a:lnTo>
                    <a:pt x="377" y="145"/>
                  </a:lnTo>
                  <a:lnTo>
                    <a:pt x="383" y="139"/>
                  </a:lnTo>
                  <a:lnTo>
                    <a:pt x="383" y="128"/>
                  </a:lnTo>
                  <a:lnTo>
                    <a:pt x="383" y="99"/>
                  </a:lnTo>
                  <a:lnTo>
                    <a:pt x="383" y="81"/>
                  </a:lnTo>
                  <a:lnTo>
                    <a:pt x="389" y="47"/>
                  </a:lnTo>
                  <a:lnTo>
                    <a:pt x="394" y="0"/>
                  </a:lnTo>
                  <a:lnTo>
                    <a:pt x="429" y="0"/>
                  </a:lnTo>
                  <a:lnTo>
                    <a:pt x="452" y="0"/>
                  </a:lnTo>
                  <a:lnTo>
                    <a:pt x="470" y="6"/>
                  </a:lnTo>
                  <a:lnTo>
                    <a:pt x="476" y="6"/>
                  </a:lnTo>
                  <a:lnTo>
                    <a:pt x="487" y="6"/>
                  </a:lnTo>
                  <a:lnTo>
                    <a:pt x="499" y="6"/>
                  </a:lnTo>
                  <a:lnTo>
                    <a:pt x="522" y="6"/>
                  </a:lnTo>
                  <a:lnTo>
                    <a:pt x="545" y="6"/>
                  </a:lnTo>
                  <a:lnTo>
                    <a:pt x="557" y="12"/>
                  </a:lnTo>
                  <a:lnTo>
                    <a:pt x="574" y="12"/>
                  </a:lnTo>
                  <a:lnTo>
                    <a:pt x="580" y="12"/>
                  </a:lnTo>
                  <a:lnTo>
                    <a:pt x="586" y="12"/>
                  </a:lnTo>
                  <a:lnTo>
                    <a:pt x="592" y="12"/>
                  </a:lnTo>
                  <a:lnTo>
                    <a:pt x="615" y="12"/>
                  </a:lnTo>
                  <a:lnTo>
                    <a:pt x="621" y="12"/>
                  </a:lnTo>
                  <a:lnTo>
                    <a:pt x="638" y="12"/>
                  </a:lnTo>
                  <a:lnTo>
                    <a:pt x="673" y="18"/>
                  </a:lnTo>
                  <a:lnTo>
                    <a:pt x="673" y="29"/>
                  </a:lnTo>
                  <a:lnTo>
                    <a:pt x="667" y="64"/>
                  </a:lnTo>
                  <a:lnTo>
                    <a:pt x="667" y="70"/>
                  </a:lnTo>
                  <a:lnTo>
                    <a:pt x="667" y="81"/>
                  </a:lnTo>
                  <a:lnTo>
                    <a:pt x="667" y="87"/>
                  </a:lnTo>
                  <a:lnTo>
                    <a:pt x="667" y="93"/>
                  </a:lnTo>
                  <a:lnTo>
                    <a:pt x="667" y="99"/>
                  </a:lnTo>
                  <a:lnTo>
                    <a:pt x="667" y="116"/>
                  </a:lnTo>
                  <a:lnTo>
                    <a:pt x="667" y="128"/>
                  </a:lnTo>
                  <a:lnTo>
                    <a:pt x="667" y="134"/>
                  </a:lnTo>
                  <a:lnTo>
                    <a:pt x="667" y="139"/>
                  </a:lnTo>
                  <a:lnTo>
                    <a:pt x="667" y="151"/>
                  </a:lnTo>
                  <a:lnTo>
                    <a:pt x="667" y="157"/>
                  </a:lnTo>
                  <a:lnTo>
                    <a:pt x="667" y="163"/>
                  </a:lnTo>
                  <a:lnTo>
                    <a:pt x="667" y="174"/>
                  </a:lnTo>
                  <a:lnTo>
                    <a:pt x="661" y="180"/>
                  </a:lnTo>
                  <a:lnTo>
                    <a:pt x="661" y="203"/>
                  </a:lnTo>
                  <a:lnTo>
                    <a:pt x="661" y="209"/>
                  </a:lnTo>
                  <a:lnTo>
                    <a:pt x="661" y="215"/>
                  </a:lnTo>
                  <a:lnTo>
                    <a:pt x="661" y="238"/>
                  </a:lnTo>
                  <a:lnTo>
                    <a:pt x="667" y="238"/>
                  </a:lnTo>
                  <a:lnTo>
                    <a:pt x="673" y="244"/>
                  </a:lnTo>
                  <a:lnTo>
                    <a:pt x="685" y="255"/>
                  </a:lnTo>
                  <a:lnTo>
                    <a:pt x="708" y="255"/>
                  </a:lnTo>
                  <a:lnTo>
                    <a:pt x="731" y="261"/>
                  </a:lnTo>
                  <a:lnTo>
                    <a:pt x="737" y="267"/>
                  </a:lnTo>
                  <a:lnTo>
                    <a:pt x="737" y="279"/>
                  </a:lnTo>
                  <a:lnTo>
                    <a:pt x="743" y="284"/>
                  </a:lnTo>
                  <a:lnTo>
                    <a:pt x="748" y="279"/>
                  </a:lnTo>
                  <a:lnTo>
                    <a:pt x="760" y="284"/>
                  </a:lnTo>
                  <a:lnTo>
                    <a:pt x="777" y="290"/>
                  </a:lnTo>
                  <a:lnTo>
                    <a:pt x="789" y="290"/>
                  </a:lnTo>
                  <a:lnTo>
                    <a:pt x="795" y="290"/>
                  </a:lnTo>
                  <a:lnTo>
                    <a:pt x="801" y="296"/>
                  </a:lnTo>
                  <a:lnTo>
                    <a:pt x="807" y="296"/>
                  </a:lnTo>
                  <a:lnTo>
                    <a:pt x="824" y="290"/>
                  </a:lnTo>
                  <a:lnTo>
                    <a:pt x="836" y="296"/>
                  </a:lnTo>
                  <a:lnTo>
                    <a:pt x="836" y="290"/>
                  </a:lnTo>
                  <a:lnTo>
                    <a:pt x="841" y="290"/>
                  </a:lnTo>
                  <a:lnTo>
                    <a:pt x="841" y="308"/>
                  </a:lnTo>
                  <a:lnTo>
                    <a:pt x="853" y="308"/>
                  </a:lnTo>
                  <a:lnTo>
                    <a:pt x="853" y="319"/>
                  </a:lnTo>
                  <a:lnTo>
                    <a:pt x="859" y="325"/>
                  </a:lnTo>
                  <a:lnTo>
                    <a:pt x="882" y="313"/>
                  </a:lnTo>
                  <a:lnTo>
                    <a:pt x="894" y="319"/>
                  </a:lnTo>
                  <a:lnTo>
                    <a:pt x="899" y="319"/>
                  </a:lnTo>
                  <a:lnTo>
                    <a:pt x="911" y="331"/>
                  </a:lnTo>
                  <a:lnTo>
                    <a:pt x="928" y="325"/>
                  </a:lnTo>
                  <a:lnTo>
                    <a:pt x="928" y="337"/>
                  </a:lnTo>
                  <a:lnTo>
                    <a:pt x="934" y="342"/>
                  </a:lnTo>
                  <a:lnTo>
                    <a:pt x="952" y="313"/>
                  </a:lnTo>
                  <a:lnTo>
                    <a:pt x="969" y="331"/>
                  </a:lnTo>
                  <a:lnTo>
                    <a:pt x="981" y="319"/>
                  </a:lnTo>
                  <a:lnTo>
                    <a:pt x="986" y="319"/>
                  </a:lnTo>
                  <a:lnTo>
                    <a:pt x="981" y="325"/>
                  </a:lnTo>
                  <a:lnTo>
                    <a:pt x="992" y="337"/>
                  </a:lnTo>
                  <a:lnTo>
                    <a:pt x="998" y="337"/>
                  </a:lnTo>
                  <a:lnTo>
                    <a:pt x="1004" y="342"/>
                  </a:lnTo>
                  <a:lnTo>
                    <a:pt x="1015" y="337"/>
                  </a:lnTo>
                  <a:lnTo>
                    <a:pt x="1039" y="325"/>
                  </a:lnTo>
                  <a:lnTo>
                    <a:pt x="1056" y="325"/>
                  </a:lnTo>
                  <a:lnTo>
                    <a:pt x="1062" y="325"/>
                  </a:lnTo>
                  <a:lnTo>
                    <a:pt x="1062" y="319"/>
                  </a:lnTo>
                  <a:lnTo>
                    <a:pt x="1079" y="319"/>
                  </a:lnTo>
                  <a:lnTo>
                    <a:pt x="1079" y="313"/>
                  </a:lnTo>
                  <a:lnTo>
                    <a:pt x="1079" y="319"/>
                  </a:lnTo>
                  <a:lnTo>
                    <a:pt x="1085" y="319"/>
                  </a:lnTo>
                  <a:lnTo>
                    <a:pt x="1085" y="325"/>
                  </a:lnTo>
                  <a:lnTo>
                    <a:pt x="1108" y="325"/>
                  </a:lnTo>
                  <a:lnTo>
                    <a:pt x="1114" y="319"/>
                  </a:lnTo>
                  <a:lnTo>
                    <a:pt x="1120" y="313"/>
                  </a:lnTo>
                  <a:lnTo>
                    <a:pt x="1126" y="313"/>
                  </a:lnTo>
                  <a:lnTo>
                    <a:pt x="1126" y="319"/>
                  </a:lnTo>
                  <a:lnTo>
                    <a:pt x="1137" y="325"/>
                  </a:lnTo>
                  <a:lnTo>
                    <a:pt x="1149" y="337"/>
                  </a:lnTo>
                  <a:lnTo>
                    <a:pt x="1155" y="337"/>
                  </a:lnTo>
                  <a:lnTo>
                    <a:pt x="1161" y="337"/>
                  </a:lnTo>
                  <a:lnTo>
                    <a:pt x="1161" y="342"/>
                  </a:lnTo>
                  <a:lnTo>
                    <a:pt x="1172" y="342"/>
                  </a:lnTo>
                  <a:lnTo>
                    <a:pt x="1184" y="354"/>
                  </a:lnTo>
                  <a:lnTo>
                    <a:pt x="1184" y="348"/>
                  </a:lnTo>
                  <a:lnTo>
                    <a:pt x="1195" y="360"/>
                  </a:lnTo>
                  <a:lnTo>
                    <a:pt x="1207" y="354"/>
                  </a:lnTo>
                  <a:lnTo>
                    <a:pt x="1230" y="360"/>
                  </a:lnTo>
                  <a:lnTo>
                    <a:pt x="1230" y="377"/>
                  </a:lnTo>
                  <a:lnTo>
                    <a:pt x="1230" y="389"/>
                  </a:lnTo>
                  <a:lnTo>
                    <a:pt x="1230" y="395"/>
                  </a:lnTo>
                  <a:lnTo>
                    <a:pt x="1230" y="406"/>
                  </a:lnTo>
                  <a:lnTo>
                    <a:pt x="1230" y="418"/>
                  </a:lnTo>
                  <a:lnTo>
                    <a:pt x="1230" y="424"/>
                  </a:lnTo>
                  <a:lnTo>
                    <a:pt x="1230" y="435"/>
                  </a:lnTo>
                  <a:lnTo>
                    <a:pt x="1230" y="453"/>
                  </a:lnTo>
                  <a:lnTo>
                    <a:pt x="1230" y="458"/>
                  </a:lnTo>
                  <a:lnTo>
                    <a:pt x="1230" y="464"/>
                  </a:lnTo>
                  <a:lnTo>
                    <a:pt x="1230" y="482"/>
                  </a:lnTo>
                  <a:lnTo>
                    <a:pt x="1230" y="493"/>
                  </a:lnTo>
                  <a:lnTo>
                    <a:pt x="1230" y="511"/>
                  </a:lnTo>
                  <a:lnTo>
                    <a:pt x="1230" y="516"/>
                  </a:lnTo>
                  <a:lnTo>
                    <a:pt x="1230" y="534"/>
                  </a:lnTo>
                  <a:lnTo>
                    <a:pt x="1236" y="540"/>
                  </a:lnTo>
                  <a:lnTo>
                    <a:pt x="1248" y="551"/>
                  </a:lnTo>
                  <a:lnTo>
                    <a:pt x="1253" y="563"/>
                  </a:lnTo>
                  <a:lnTo>
                    <a:pt x="1253" y="586"/>
                  </a:lnTo>
                  <a:lnTo>
                    <a:pt x="1265" y="592"/>
                  </a:lnTo>
                  <a:lnTo>
                    <a:pt x="1259" y="598"/>
                  </a:lnTo>
                  <a:lnTo>
                    <a:pt x="1277" y="632"/>
                  </a:lnTo>
                  <a:lnTo>
                    <a:pt x="1282" y="627"/>
                  </a:lnTo>
                  <a:lnTo>
                    <a:pt x="1282" y="650"/>
                  </a:lnTo>
                  <a:lnTo>
                    <a:pt x="1282" y="667"/>
                  </a:lnTo>
                  <a:lnTo>
                    <a:pt x="1277" y="679"/>
                  </a:lnTo>
                  <a:lnTo>
                    <a:pt x="1271" y="708"/>
                  </a:lnTo>
                  <a:lnTo>
                    <a:pt x="1265" y="719"/>
                  </a:lnTo>
                  <a:lnTo>
                    <a:pt x="1265" y="731"/>
                  </a:lnTo>
                  <a:lnTo>
                    <a:pt x="1271" y="737"/>
                  </a:lnTo>
                  <a:lnTo>
                    <a:pt x="1271" y="754"/>
                  </a:lnTo>
                  <a:lnTo>
                    <a:pt x="1271" y="760"/>
                  </a:lnTo>
                  <a:lnTo>
                    <a:pt x="1265" y="760"/>
                  </a:lnTo>
                  <a:lnTo>
                    <a:pt x="1265" y="766"/>
                  </a:lnTo>
                  <a:lnTo>
                    <a:pt x="1253" y="783"/>
                  </a:lnTo>
                  <a:lnTo>
                    <a:pt x="1253" y="795"/>
                  </a:lnTo>
                  <a:lnTo>
                    <a:pt x="1259" y="807"/>
                  </a:lnTo>
                  <a:lnTo>
                    <a:pt x="1253" y="807"/>
                  </a:lnTo>
                  <a:lnTo>
                    <a:pt x="1236" y="807"/>
                  </a:lnTo>
                  <a:lnTo>
                    <a:pt x="1207" y="818"/>
                  </a:lnTo>
                  <a:lnTo>
                    <a:pt x="1166" y="841"/>
                  </a:lnTo>
                  <a:lnTo>
                    <a:pt x="1161" y="841"/>
                  </a:lnTo>
                  <a:lnTo>
                    <a:pt x="1184" y="824"/>
                  </a:lnTo>
                  <a:lnTo>
                    <a:pt x="1190" y="824"/>
                  </a:lnTo>
                  <a:lnTo>
                    <a:pt x="1190" y="818"/>
                  </a:lnTo>
                  <a:lnTo>
                    <a:pt x="1178" y="818"/>
                  </a:lnTo>
                  <a:lnTo>
                    <a:pt x="1166" y="824"/>
                  </a:lnTo>
                  <a:lnTo>
                    <a:pt x="1166" y="795"/>
                  </a:lnTo>
                  <a:lnTo>
                    <a:pt x="1161" y="795"/>
                  </a:lnTo>
                  <a:lnTo>
                    <a:pt x="1155" y="807"/>
                  </a:lnTo>
                  <a:lnTo>
                    <a:pt x="1149" y="807"/>
                  </a:lnTo>
                  <a:lnTo>
                    <a:pt x="1143" y="807"/>
                  </a:lnTo>
                  <a:lnTo>
                    <a:pt x="1137" y="812"/>
                  </a:lnTo>
                  <a:lnTo>
                    <a:pt x="1143" y="818"/>
                  </a:lnTo>
                  <a:lnTo>
                    <a:pt x="1137" y="818"/>
                  </a:lnTo>
                  <a:lnTo>
                    <a:pt x="1143" y="824"/>
                  </a:lnTo>
                  <a:lnTo>
                    <a:pt x="1149" y="824"/>
                  </a:lnTo>
                  <a:lnTo>
                    <a:pt x="1155" y="841"/>
                  </a:lnTo>
                  <a:lnTo>
                    <a:pt x="1166" y="847"/>
                  </a:lnTo>
                  <a:lnTo>
                    <a:pt x="1132" y="876"/>
                  </a:lnTo>
                  <a:lnTo>
                    <a:pt x="1103" y="899"/>
                  </a:lnTo>
                  <a:lnTo>
                    <a:pt x="1091" y="905"/>
                  </a:lnTo>
                  <a:lnTo>
                    <a:pt x="1050" y="928"/>
                  </a:lnTo>
                  <a:lnTo>
                    <a:pt x="1015" y="946"/>
                  </a:lnTo>
                  <a:lnTo>
                    <a:pt x="998" y="957"/>
                  </a:lnTo>
                  <a:lnTo>
                    <a:pt x="986" y="969"/>
                  </a:lnTo>
                  <a:lnTo>
                    <a:pt x="975" y="975"/>
                  </a:lnTo>
                  <a:lnTo>
                    <a:pt x="952" y="992"/>
                  </a:lnTo>
                  <a:lnTo>
                    <a:pt x="934" y="1015"/>
                  </a:lnTo>
                  <a:lnTo>
                    <a:pt x="934" y="1021"/>
                  </a:lnTo>
                  <a:lnTo>
                    <a:pt x="923" y="1033"/>
                  </a:lnTo>
                  <a:lnTo>
                    <a:pt x="911" y="1050"/>
                  </a:lnTo>
                  <a:lnTo>
                    <a:pt x="899" y="1085"/>
                  </a:lnTo>
                  <a:lnTo>
                    <a:pt x="894" y="1114"/>
                  </a:lnTo>
                  <a:lnTo>
                    <a:pt x="905" y="1166"/>
                  </a:lnTo>
                  <a:lnTo>
                    <a:pt x="911" y="1184"/>
                  </a:lnTo>
                  <a:lnTo>
                    <a:pt x="917" y="1236"/>
                  </a:lnTo>
                  <a:lnTo>
                    <a:pt x="894" y="1247"/>
                  </a:lnTo>
                  <a:lnTo>
                    <a:pt x="882" y="1247"/>
                  </a:lnTo>
                  <a:lnTo>
                    <a:pt x="870" y="1236"/>
                  </a:lnTo>
                  <a:lnTo>
                    <a:pt x="841" y="1224"/>
                  </a:lnTo>
                  <a:lnTo>
                    <a:pt x="801" y="1224"/>
                  </a:lnTo>
                  <a:lnTo>
                    <a:pt x="801" y="1218"/>
                  </a:lnTo>
                  <a:lnTo>
                    <a:pt x="795" y="1218"/>
                  </a:lnTo>
                  <a:lnTo>
                    <a:pt x="766" y="1201"/>
                  </a:lnTo>
                  <a:lnTo>
                    <a:pt x="754" y="1201"/>
                  </a:lnTo>
                  <a:lnTo>
                    <a:pt x="748" y="1195"/>
                  </a:lnTo>
                  <a:lnTo>
                    <a:pt x="748" y="1189"/>
                  </a:lnTo>
                  <a:lnTo>
                    <a:pt x="725" y="1184"/>
                  </a:lnTo>
                  <a:lnTo>
                    <a:pt x="708" y="1160"/>
                  </a:lnTo>
                  <a:lnTo>
                    <a:pt x="696" y="1131"/>
                  </a:lnTo>
                  <a:lnTo>
                    <a:pt x="685" y="1108"/>
                  </a:lnTo>
                  <a:lnTo>
                    <a:pt x="679" y="1079"/>
                  </a:lnTo>
                  <a:lnTo>
                    <a:pt x="679" y="1050"/>
                  </a:lnTo>
                  <a:lnTo>
                    <a:pt x="661" y="1033"/>
                  </a:lnTo>
                  <a:lnTo>
                    <a:pt x="650" y="1027"/>
                  </a:lnTo>
                  <a:lnTo>
                    <a:pt x="650" y="102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0" name="Freeform 51"/>
            <p:cNvSpPr>
              <a:spLocks/>
            </p:cNvSpPr>
            <p:nvPr/>
          </p:nvSpPr>
          <p:spPr bwMode="auto">
            <a:xfrm>
              <a:off x="3821" y="3454"/>
              <a:ext cx="517" cy="453"/>
            </a:xfrm>
            <a:custGeom>
              <a:avLst/>
              <a:gdLst>
                <a:gd name="T0" fmla="*/ 308 w 517"/>
                <a:gd name="T1" fmla="*/ 226 h 453"/>
                <a:gd name="T2" fmla="*/ 337 w 517"/>
                <a:gd name="T3" fmla="*/ 226 h 453"/>
                <a:gd name="T4" fmla="*/ 366 w 517"/>
                <a:gd name="T5" fmla="*/ 226 h 453"/>
                <a:gd name="T6" fmla="*/ 383 w 517"/>
                <a:gd name="T7" fmla="*/ 220 h 453"/>
                <a:gd name="T8" fmla="*/ 430 w 517"/>
                <a:gd name="T9" fmla="*/ 220 h 453"/>
                <a:gd name="T10" fmla="*/ 424 w 517"/>
                <a:gd name="T11" fmla="*/ 261 h 453"/>
                <a:gd name="T12" fmla="*/ 441 w 517"/>
                <a:gd name="T13" fmla="*/ 284 h 453"/>
                <a:gd name="T14" fmla="*/ 447 w 517"/>
                <a:gd name="T15" fmla="*/ 313 h 453"/>
                <a:gd name="T16" fmla="*/ 441 w 517"/>
                <a:gd name="T17" fmla="*/ 342 h 453"/>
                <a:gd name="T18" fmla="*/ 459 w 517"/>
                <a:gd name="T19" fmla="*/ 331 h 453"/>
                <a:gd name="T20" fmla="*/ 494 w 517"/>
                <a:gd name="T21" fmla="*/ 313 h 453"/>
                <a:gd name="T22" fmla="*/ 488 w 517"/>
                <a:gd name="T23" fmla="*/ 348 h 453"/>
                <a:gd name="T24" fmla="*/ 464 w 517"/>
                <a:gd name="T25" fmla="*/ 366 h 453"/>
                <a:gd name="T26" fmla="*/ 464 w 517"/>
                <a:gd name="T27" fmla="*/ 377 h 453"/>
                <a:gd name="T28" fmla="*/ 459 w 517"/>
                <a:gd name="T29" fmla="*/ 389 h 453"/>
                <a:gd name="T30" fmla="*/ 494 w 517"/>
                <a:gd name="T31" fmla="*/ 412 h 453"/>
                <a:gd name="T32" fmla="*/ 517 w 517"/>
                <a:gd name="T33" fmla="*/ 418 h 453"/>
                <a:gd name="T34" fmla="*/ 505 w 517"/>
                <a:gd name="T35" fmla="*/ 447 h 453"/>
                <a:gd name="T36" fmla="*/ 482 w 517"/>
                <a:gd name="T37" fmla="*/ 453 h 453"/>
                <a:gd name="T38" fmla="*/ 470 w 517"/>
                <a:gd name="T39" fmla="*/ 424 h 453"/>
                <a:gd name="T40" fmla="*/ 412 w 517"/>
                <a:gd name="T41" fmla="*/ 435 h 453"/>
                <a:gd name="T42" fmla="*/ 395 w 517"/>
                <a:gd name="T43" fmla="*/ 447 h 453"/>
                <a:gd name="T44" fmla="*/ 383 w 517"/>
                <a:gd name="T45" fmla="*/ 424 h 453"/>
                <a:gd name="T46" fmla="*/ 354 w 517"/>
                <a:gd name="T47" fmla="*/ 441 h 453"/>
                <a:gd name="T48" fmla="*/ 308 w 517"/>
                <a:gd name="T49" fmla="*/ 441 h 453"/>
                <a:gd name="T50" fmla="*/ 290 w 517"/>
                <a:gd name="T51" fmla="*/ 418 h 453"/>
                <a:gd name="T52" fmla="*/ 261 w 517"/>
                <a:gd name="T53" fmla="*/ 400 h 453"/>
                <a:gd name="T54" fmla="*/ 250 w 517"/>
                <a:gd name="T55" fmla="*/ 377 h 453"/>
                <a:gd name="T56" fmla="*/ 227 w 517"/>
                <a:gd name="T57" fmla="*/ 366 h 453"/>
                <a:gd name="T58" fmla="*/ 198 w 517"/>
                <a:gd name="T59" fmla="*/ 377 h 453"/>
                <a:gd name="T60" fmla="*/ 238 w 517"/>
                <a:gd name="T61" fmla="*/ 395 h 453"/>
                <a:gd name="T62" fmla="*/ 209 w 517"/>
                <a:gd name="T63" fmla="*/ 395 h 453"/>
                <a:gd name="T64" fmla="*/ 151 w 517"/>
                <a:gd name="T65" fmla="*/ 400 h 453"/>
                <a:gd name="T66" fmla="*/ 35 w 517"/>
                <a:gd name="T67" fmla="*/ 383 h 453"/>
                <a:gd name="T68" fmla="*/ 23 w 517"/>
                <a:gd name="T69" fmla="*/ 371 h 453"/>
                <a:gd name="T70" fmla="*/ 41 w 517"/>
                <a:gd name="T71" fmla="*/ 348 h 453"/>
                <a:gd name="T72" fmla="*/ 35 w 517"/>
                <a:gd name="T73" fmla="*/ 319 h 453"/>
                <a:gd name="T74" fmla="*/ 47 w 517"/>
                <a:gd name="T75" fmla="*/ 267 h 453"/>
                <a:gd name="T76" fmla="*/ 52 w 517"/>
                <a:gd name="T77" fmla="*/ 215 h 453"/>
                <a:gd name="T78" fmla="*/ 35 w 517"/>
                <a:gd name="T79" fmla="*/ 180 h 453"/>
                <a:gd name="T80" fmla="*/ 18 w 517"/>
                <a:gd name="T81" fmla="*/ 139 h 453"/>
                <a:gd name="T82" fmla="*/ 0 w 517"/>
                <a:gd name="T83" fmla="*/ 104 h 453"/>
                <a:gd name="T84" fmla="*/ 0 w 517"/>
                <a:gd name="T85" fmla="*/ 70 h 453"/>
                <a:gd name="T86" fmla="*/ 0 w 517"/>
                <a:gd name="T87" fmla="*/ 41 h 453"/>
                <a:gd name="T88" fmla="*/ 0 w 517"/>
                <a:gd name="T89" fmla="*/ 6 h 453"/>
                <a:gd name="T90" fmla="*/ 23 w 517"/>
                <a:gd name="T91" fmla="*/ 6 h 453"/>
                <a:gd name="T92" fmla="*/ 52 w 517"/>
                <a:gd name="T93" fmla="*/ 6 h 453"/>
                <a:gd name="T94" fmla="*/ 81 w 517"/>
                <a:gd name="T95" fmla="*/ 6 h 453"/>
                <a:gd name="T96" fmla="*/ 128 w 517"/>
                <a:gd name="T97" fmla="*/ 6 h 453"/>
                <a:gd name="T98" fmla="*/ 192 w 517"/>
                <a:gd name="T99" fmla="*/ 0 h 453"/>
                <a:gd name="T100" fmla="*/ 256 w 517"/>
                <a:gd name="T101" fmla="*/ 0 h 453"/>
                <a:gd name="T102" fmla="*/ 279 w 517"/>
                <a:gd name="T103" fmla="*/ 0 h 453"/>
                <a:gd name="T104" fmla="*/ 290 w 517"/>
                <a:gd name="T105" fmla="*/ 46 h 453"/>
                <a:gd name="T106" fmla="*/ 296 w 517"/>
                <a:gd name="T107" fmla="*/ 64 h 453"/>
                <a:gd name="T108" fmla="*/ 285 w 517"/>
                <a:gd name="T109" fmla="*/ 99 h 453"/>
                <a:gd name="T110" fmla="*/ 290 w 517"/>
                <a:gd name="T111" fmla="*/ 110 h 453"/>
                <a:gd name="T112" fmla="*/ 267 w 517"/>
                <a:gd name="T113" fmla="*/ 145 h 453"/>
                <a:gd name="T114" fmla="*/ 256 w 517"/>
                <a:gd name="T115" fmla="*/ 186 h 453"/>
                <a:gd name="T116" fmla="*/ 244 w 517"/>
                <a:gd name="T117" fmla="*/ 232 h 453"/>
                <a:gd name="T118" fmla="*/ 290 w 517"/>
                <a:gd name="T119" fmla="*/ 226 h 4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7"/>
                <a:gd name="T181" fmla="*/ 0 h 453"/>
                <a:gd name="T182" fmla="*/ 517 w 517"/>
                <a:gd name="T183" fmla="*/ 453 h 4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7" h="453">
                  <a:moveTo>
                    <a:pt x="290" y="226"/>
                  </a:moveTo>
                  <a:lnTo>
                    <a:pt x="302" y="226"/>
                  </a:lnTo>
                  <a:lnTo>
                    <a:pt x="308" y="226"/>
                  </a:lnTo>
                  <a:lnTo>
                    <a:pt x="325" y="226"/>
                  </a:lnTo>
                  <a:lnTo>
                    <a:pt x="331" y="226"/>
                  </a:lnTo>
                  <a:lnTo>
                    <a:pt x="337" y="226"/>
                  </a:lnTo>
                  <a:lnTo>
                    <a:pt x="348" y="226"/>
                  </a:lnTo>
                  <a:lnTo>
                    <a:pt x="354" y="226"/>
                  </a:lnTo>
                  <a:lnTo>
                    <a:pt x="366" y="226"/>
                  </a:lnTo>
                  <a:lnTo>
                    <a:pt x="372" y="226"/>
                  </a:lnTo>
                  <a:lnTo>
                    <a:pt x="377" y="220"/>
                  </a:lnTo>
                  <a:lnTo>
                    <a:pt x="383" y="220"/>
                  </a:lnTo>
                  <a:lnTo>
                    <a:pt x="395" y="220"/>
                  </a:lnTo>
                  <a:lnTo>
                    <a:pt x="424" y="220"/>
                  </a:lnTo>
                  <a:lnTo>
                    <a:pt x="430" y="220"/>
                  </a:lnTo>
                  <a:lnTo>
                    <a:pt x="430" y="226"/>
                  </a:lnTo>
                  <a:lnTo>
                    <a:pt x="424" y="249"/>
                  </a:lnTo>
                  <a:lnTo>
                    <a:pt x="424" y="261"/>
                  </a:lnTo>
                  <a:lnTo>
                    <a:pt x="435" y="278"/>
                  </a:lnTo>
                  <a:lnTo>
                    <a:pt x="441" y="278"/>
                  </a:lnTo>
                  <a:lnTo>
                    <a:pt x="441" y="284"/>
                  </a:lnTo>
                  <a:lnTo>
                    <a:pt x="447" y="307"/>
                  </a:lnTo>
                  <a:lnTo>
                    <a:pt x="459" y="313"/>
                  </a:lnTo>
                  <a:lnTo>
                    <a:pt x="447" y="313"/>
                  </a:lnTo>
                  <a:lnTo>
                    <a:pt x="435" y="331"/>
                  </a:lnTo>
                  <a:lnTo>
                    <a:pt x="430" y="337"/>
                  </a:lnTo>
                  <a:lnTo>
                    <a:pt x="441" y="342"/>
                  </a:lnTo>
                  <a:lnTo>
                    <a:pt x="441" y="348"/>
                  </a:lnTo>
                  <a:lnTo>
                    <a:pt x="453" y="348"/>
                  </a:lnTo>
                  <a:lnTo>
                    <a:pt x="459" y="331"/>
                  </a:lnTo>
                  <a:lnTo>
                    <a:pt x="464" y="331"/>
                  </a:lnTo>
                  <a:lnTo>
                    <a:pt x="476" y="325"/>
                  </a:lnTo>
                  <a:lnTo>
                    <a:pt x="494" y="313"/>
                  </a:lnTo>
                  <a:lnTo>
                    <a:pt x="494" y="337"/>
                  </a:lnTo>
                  <a:lnTo>
                    <a:pt x="488" y="342"/>
                  </a:lnTo>
                  <a:lnTo>
                    <a:pt x="488" y="348"/>
                  </a:lnTo>
                  <a:lnTo>
                    <a:pt x="476" y="360"/>
                  </a:lnTo>
                  <a:lnTo>
                    <a:pt x="470" y="371"/>
                  </a:lnTo>
                  <a:lnTo>
                    <a:pt x="464" y="366"/>
                  </a:lnTo>
                  <a:lnTo>
                    <a:pt x="464" y="377"/>
                  </a:lnTo>
                  <a:lnTo>
                    <a:pt x="453" y="371"/>
                  </a:lnTo>
                  <a:lnTo>
                    <a:pt x="464" y="377"/>
                  </a:lnTo>
                  <a:lnTo>
                    <a:pt x="453" y="377"/>
                  </a:lnTo>
                  <a:lnTo>
                    <a:pt x="464" y="389"/>
                  </a:lnTo>
                  <a:lnTo>
                    <a:pt x="459" y="389"/>
                  </a:lnTo>
                  <a:lnTo>
                    <a:pt x="470" y="406"/>
                  </a:lnTo>
                  <a:lnTo>
                    <a:pt x="482" y="400"/>
                  </a:lnTo>
                  <a:lnTo>
                    <a:pt x="494" y="412"/>
                  </a:lnTo>
                  <a:lnTo>
                    <a:pt x="505" y="406"/>
                  </a:lnTo>
                  <a:lnTo>
                    <a:pt x="511" y="418"/>
                  </a:lnTo>
                  <a:lnTo>
                    <a:pt x="517" y="418"/>
                  </a:lnTo>
                  <a:lnTo>
                    <a:pt x="517" y="435"/>
                  </a:lnTo>
                  <a:lnTo>
                    <a:pt x="511" y="441"/>
                  </a:lnTo>
                  <a:lnTo>
                    <a:pt x="505" y="447"/>
                  </a:lnTo>
                  <a:lnTo>
                    <a:pt x="499" y="435"/>
                  </a:lnTo>
                  <a:lnTo>
                    <a:pt x="488" y="453"/>
                  </a:lnTo>
                  <a:lnTo>
                    <a:pt x="482" y="453"/>
                  </a:lnTo>
                  <a:lnTo>
                    <a:pt x="488" y="447"/>
                  </a:lnTo>
                  <a:lnTo>
                    <a:pt x="482" y="435"/>
                  </a:lnTo>
                  <a:lnTo>
                    <a:pt x="470" y="424"/>
                  </a:lnTo>
                  <a:lnTo>
                    <a:pt x="441" y="412"/>
                  </a:lnTo>
                  <a:lnTo>
                    <a:pt x="430" y="418"/>
                  </a:lnTo>
                  <a:lnTo>
                    <a:pt x="412" y="435"/>
                  </a:lnTo>
                  <a:lnTo>
                    <a:pt x="395" y="447"/>
                  </a:lnTo>
                  <a:lnTo>
                    <a:pt x="383" y="447"/>
                  </a:lnTo>
                  <a:lnTo>
                    <a:pt x="395" y="447"/>
                  </a:lnTo>
                  <a:lnTo>
                    <a:pt x="395" y="441"/>
                  </a:lnTo>
                  <a:lnTo>
                    <a:pt x="389" y="424"/>
                  </a:lnTo>
                  <a:lnTo>
                    <a:pt x="383" y="424"/>
                  </a:lnTo>
                  <a:lnTo>
                    <a:pt x="377" y="429"/>
                  </a:lnTo>
                  <a:lnTo>
                    <a:pt x="372" y="429"/>
                  </a:lnTo>
                  <a:lnTo>
                    <a:pt x="354" y="441"/>
                  </a:lnTo>
                  <a:lnTo>
                    <a:pt x="337" y="453"/>
                  </a:lnTo>
                  <a:lnTo>
                    <a:pt x="325" y="441"/>
                  </a:lnTo>
                  <a:lnTo>
                    <a:pt x="308" y="441"/>
                  </a:lnTo>
                  <a:lnTo>
                    <a:pt x="279" y="424"/>
                  </a:lnTo>
                  <a:lnTo>
                    <a:pt x="285" y="424"/>
                  </a:lnTo>
                  <a:lnTo>
                    <a:pt x="290" y="418"/>
                  </a:lnTo>
                  <a:lnTo>
                    <a:pt x="290" y="406"/>
                  </a:lnTo>
                  <a:lnTo>
                    <a:pt x="267" y="400"/>
                  </a:lnTo>
                  <a:lnTo>
                    <a:pt x="261" y="400"/>
                  </a:lnTo>
                  <a:lnTo>
                    <a:pt x="261" y="389"/>
                  </a:lnTo>
                  <a:lnTo>
                    <a:pt x="250" y="389"/>
                  </a:lnTo>
                  <a:lnTo>
                    <a:pt x="250" y="377"/>
                  </a:lnTo>
                  <a:lnTo>
                    <a:pt x="238" y="377"/>
                  </a:lnTo>
                  <a:lnTo>
                    <a:pt x="227" y="377"/>
                  </a:lnTo>
                  <a:lnTo>
                    <a:pt x="227" y="366"/>
                  </a:lnTo>
                  <a:lnTo>
                    <a:pt x="215" y="366"/>
                  </a:lnTo>
                  <a:lnTo>
                    <a:pt x="215" y="371"/>
                  </a:lnTo>
                  <a:lnTo>
                    <a:pt x="198" y="377"/>
                  </a:lnTo>
                  <a:lnTo>
                    <a:pt x="215" y="395"/>
                  </a:lnTo>
                  <a:lnTo>
                    <a:pt x="232" y="389"/>
                  </a:lnTo>
                  <a:lnTo>
                    <a:pt x="238" y="395"/>
                  </a:lnTo>
                  <a:lnTo>
                    <a:pt x="238" y="406"/>
                  </a:lnTo>
                  <a:lnTo>
                    <a:pt x="227" y="406"/>
                  </a:lnTo>
                  <a:lnTo>
                    <a:pt x="209" y="395"/>
                  </a:lnTo>
                  <a:lnTo>
                    <a:pt x="198" y="395"/>
                  </a:lnTo>
                  <a:lnTo>
                    <a:pt x="192" y="400"/>
                  </a:lnTo>
                  <a:lnTo>
                    <a:pt x="151" y="400"/>
                  </a:lnTo>
                  <a:lnTo>
                    <a:pt x="116" y="383"/>
                  </a:lnTo>
                  <a:lnTo>
                    <a:pt x="87" y="377"/>
                  </a:lnTo>
                  <a:lnTo>
                    <a:pt x="35" y="383"/>
                  </a:lnTo>
                  <a:lnTo>
                    <a:pt x="29" y="395"/>
                  </a:lnTo>
                  <a:lnTo>
                    <a:pt x="23" y="383"/>
                  </a:lnTo>
                  <a:lnTo>
                    <a:pt x="23" y="371"/>
                  </a:lnTo>
                  <a:lnTo>
                    <a:pt x="35" y="354"/>
                  </a:lnTo>
                  <a:lnTo>
                    <a:pt x="35" y="348"/>
                  </a:lnTo>
                  <a:lnTo>
                    <a:pt x="41" y="348"/>
                  </a:lnTo>
                  <a:lnTo>
                    <a:pt x="41" y="342"/>
                  </a:lnTo>
                  <a:lnTo>
                    <a:pt x="41" y="325"/>
                  </a:lnTo>
                  <a:lnTo>
                    <a:pt x="35" y="319"/>
                  </a:lnTo>
                  <a:lnTo>
                    <a:pt x="35" y="307"/>
                  </a:lnTo>
                  <a:lnTo>
                    <a:pt x="41" y="296"/>
                  </a:lnTo>
                  <a:lnTo>
                    <a:pt x="47" y="267"/>
                  </a:lnTo>
                  <a:lnTo>
                    <a:pt x="52" y="255"/>
                  </a:lnTo>
                  <a:lnTo>
                    <a:pt x="52" y="238"/>
                  </a:lnTo>
                  <a:lnTo>
                    <a:pt x="52" y="215"/>
                  </a:lnTo>
                  <a:lnTo>
                    <a:pt x="47" y="220"/>
                  </a:lnTo>
                  <a:lnTo>
                    <a:pt x="29" y="186"/>
                  </a:lnTo>
                  <a:lnTo>
                    <a:pt x="35" y="180"/>
                  </a:lnTo>
                  <a:lnTo>
                    <a:pt x="23" y="174"/>
                  </a:lnTo>
                  <a:lnTo>
                    <a:pt x="23" y="151"/>
                  </a:lnTo>
                  <a:lnTo>
                    <a:pt x="18" y="139"/>
                  </a:lnTo>
                  <a:lnTo>
                    <a:pt x="6" y="128"/>
                  </a:lnTo>
                  <a:lnTo>
                    <a:pt x="0" y="122"/>
                  </a:lnTo>
                  <a:lnTo>
                    <a:pt x="0" y="104"/>
                  </a:lnTo>
                  <a:lnTo>
                    <a:pt x="0" y="99"/>
                  </a:lnTo>
                  <a:lnTo>
                    <a:pt x="0" y="81"/>
                  </a:lnTo>
                  <a:lnTo>
                    <a:pt x="0" y="70"/>
                  </a:lnTo>
                  <a:lnTo>
                    <a:pt x="0" y="52"/>
                  </a:lnTo>
                  <a:lnTo>
                    <a:pt x="0" y="46"/>
                  </a:lnTo>
                  <a:lnTo>
                    <a:pt x="0" y="41"/>
                  </a:lnTo>
                  <a:lnTo>
                    <a:pt x="0" y="23"/>
                  </a:lnTo>
                  <a:lnTo>
                    <a:pt x="0" y="12"/>
                  </a:lnTo>
                  <a:lnTo>
                    <a:pt x="0" y="6"/>
                  </a:lnTo>
                  <a:lnTo>
                    <a:pt x="6" y="6"/>
                  </a:lnTo>
                  <a:lnTo>
                    <a:pt x="12" y="6"/>
                  </a:lnTo>
                  <a:lnTo>
                    <a:pt x="23" y="6"/>
                  </a:lnTo>
                  <a:lnTo>
                    <a:pt x="35" y="6"/>
                  </a:lnTo>
                  <a:lnTo>
                    <a:pt x="47" y="6"/>
                  </a:lnTo>
                  <a:lnTo>
                    <a:pt x="52" y="6"/>
                  </a:lnTo>
                  <a:lnTo>
                    <a:pt x="70" y="6"/>
                  </a:lnTo>
                  <a:lnTo>
                    <a:pt x="76" y="6"/>
                  </a:lnTo>
                  <a:lnTo>
                    <a:pt x="81" y="6"/>
                  </a:lnTo>
                  <a:lnTo>
                    <a:pt x="99" y="6"/>
                  </a:lnTo>
                  <a:lnTo>
                    <a:pt x="116" y="6"/>
                  </a:lnTo>
                  <a:lnTo>
                    <a:pt x="128" y="6"/>
                  </a:lnTo>
                  <a:lnTo>
                    <a:pt x="145" y="6"/>
                  </a:lnTo>
                  <a:lnTo>
                    <a:pt x="180" y="0"/>
                  </a:lnTo>
                  <a:lnTo>
                    <a:pt x="192" y="0"/>
                  </a:lnTo>
                  <a:lnTo>
                    <a:pt x="238" y="0"/>
                  </a:lnTo>
                  <a:lnTo>
                    <a:pt x="250" y="0"/>
                  </a:lnTo>
                  <a:lnTo>
                    <a:pt x="256" y="0"/>
                  </a:lnTo>
                  <a:lnTo>
                    <a:pt x="267" y="0"/>
                  </a:lnTo>
                  <a:lnTo>
                    <a:pt x="273" y="0"/>
                  </a:lnTo>
                  <a:lnTo>
                    <a:pt x="279" y="0"/>
                  </a:lnTo>
                  <a:lnTo>
                    <a:pt x="285" y="46"/>
                  </a:lnTo>
                  <a:lnTo>
                    <a:pt x="296" y="41"/>
                  </a:lnTo>
                  <a:lnTo>
                    <a:pt x="290" y="46"/>
                  </a:lnTo>
                  <a:lnTo>
                    <a:pt x="296" y="58"/>
                  </a:lnTo>
                  <a:lnTo>
                    <a:pt x="285" y="58"/>
                  </a:lnTo>
                  <a:lnTo>
                    <a:pt x="296" y="64"/>
                  </a:lnTo>
                  <a:lnTo>
                    <a:pt x="296" y="93"/>
                  </a:lnTo>
                  <a:lnTo>
                    <a:pt x="285" y="87"/>
                  </a:lnTo>
                  <a:lnTo>
                    <a:pt x="285" y="99"/>
                  </a:lnTo>
                  <a:lnTo>
                    <a:pt x="296" y="99"/>
                  </a:lnTo>
                  <a:lnTo>
                    <a:pt x="285" y="104"/>
                  </a:lnTo>
                  <a:lnTo>
                    <a:pt x="290" y="110"/>
                  </a:lnTo>
                  <a:lnTo>
                    <a:pt x="279" y="128"/>
                  </a:lnTo>
                  <a:lnTo>
                    <a:pt x="273" y="145"/>
                  </a:lnTo>
                  <a:lnTo>
                    <a:pt x="267" y="145"/>
                  </a:lnTo>
                  <a:lnTo>
                    <a:pt x="261" y="145"/>
                  </a:lnTo>
                  <a:lnTo>
                    <a:pt x="256" y="157"/>
                  </a:lnTo>
                  <a:lnTo>
                    <a:pt x="256" y="186"/>
                  </a:lnTo>
                  <a:lnTo>
                    <a:pt x="244" y="209"/>
                  </a:lnTo>
                  <a:lnTo>
                    <a:pt x="244" y="215"/>
                  </a:lnTo>
                  <a:lnTo>
                    <a:pt x="244" y="232"/>
                  </a:lnTo>
                  <a:lnTo>
                    <a:pt x="267" y="232"/>
                  </a:lnTo>
                  <a:lnTo>
                    <a:pt x="279" y="226"/>
                  </a:lnTo>
                  <a:lnTo>
                    <a:pt x="290" y="22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1" name="Freeform 52"/>
            <p:cNvSpPr>
              <a:spLocks/>
            </p:cNvSpPr>
            <p:nvPr/>
          </p:nvSpPr>
          <p:spPr bwMode="auto">
            <a:xfrm>
              <a:off x="3757" y="3048"/>
              <a:ext cx="465" cy="412"/>
            </a:xfrm>
            <a:custGeom>
              <a:avLst/>
              <a:gdLst>
                <a:gd name="T0" fmla="*/ 18 w 465"/>
                <a:gd name="T1" fmla="*/ 110 h 412"/>
                <a:gd name="T2" fmla="*/ 18 w 465"/>
                <a:gd name="T3" fmla="*/ 133 h 412"/>
                <a:gd name="T4" fmla="*/ 18 w 465"/>
                <a:gd name="T5" fmla="*/ 157 h 412"/>
                <a:gd name="T6" fmla="*/ 18 w 465"/>
                <a:gd name="T7" fmla="*/ 220 h 412"/>
                <a:gd name="T8" fmla="*/ 18 w 465"/>
                <a:gd name="T9" fmla="*/ 249 h 412"/>
                <a:gd name="T10" fmla="*/ 18 w 465"/>
                <a:gd name="T11" fmla="*/ 290 h 412"/>
                <a:gd name="T12" fmla="*/ 18 w 465"/>
                <a:gd name="T13" fmla="*/ 342 h 412"/>
                <a:gd name="T14" fmla="*/ 64 w 465"/>
                <a:gd name="T15" fmla="*/ 354 h 412"/>
                <a:gd name="T16" fmla="*/ 64 w 465"/>
                <a:gd name="T17" fmla="*/ 389 h 412"/>
                <a:gd name="T18" fmla="*/ 70 w 465"/>
                <a:gd name="T19" fmla="*/ 412 h 412"/>
                <a:gd name="T20" fmla="*/ 99 w 465"/>
                <a:gd name="T21" fmla="*/ 412 h 412"/>
                <a:gd name="T22" fmla="*/ 134 w 465"/>
                <a:gd name="T23" fmla="*/ 412 h 412"/>
                <a:gd name="T24" fmla="*/ 163 w 465"/>
                <a:gd name="T25" fmla="*/ 412 h 412"/>
                <a:gd name="T26" fmla="*/ 209 w 465"/>
                <a:gd name="T27" fmla="*/ 412 h 412"/>
                <a:gd name="T28" fmla="*/ 302 w 465"/>
                <a:gd name="T29" fmla="*/ 406 h 412"/>
                <a:gd name="T30" fmla="*/ 331 w 465"/>
                <a:gd name="T31" fmla="*/ 406 h 412"/>
                <a:gd name="T32" fmla="*/ 343 w 465"/>
                <a:gd name="T33" fmla="*/ 360 h 412"/>
                <a:gd name="T34" fmla="*/ 331 w 465"/>
                <a:gd name="T35" fmla="*/ 354 h 412"/>
                <a:gd name="T36" fmla="*/ 343 w 465"/>
                <a:gd name="T37" fmla="*/ 325 h 412"/>
                <a:gd name="T38" fmla="*/ 343 w 465"/>
                <a:gd name="T39" fmla="*/ 290 h 412"/>
                <a:gd name="T40" fmla="*/ 366 w 465"/>
                <a:gd name="T41" fmla="*/ 261 h 412"/>
                <a:gd name="T42" fmla="*/ 378 w 465"/>
                <a:gd name="T43" fmla="*/ 244 h 412"/>
                <a:gd name="T44" fmla="*/ 383 w 465"/>
                <a:gd name="T45" fmla="*/ 215 h 412"/>
                <a:gd name="T46" fmla="*/ 395 w 465"/>
                <a:gd name="T47" fmla="*/ 209 h 412"/>
                <a:gd name="T48" fmla="*/ 395 w 465"/>
                <a:gd name="T49" fmla="*/ 197 h 412"/>
                <a:gd name="T50" fmla="*/ 412 w 465"/>
                <a:gd name="T51" fmla="*/ 180 h 412"/>
                <a:gd name="T52" fmla="*/ 430 w 465"/>
                <a:gd name="T53" fmla="*/ 157 h 412"/>
                <a:gd name="T54" fmla="*/ 424 w 465"/>
                <a:gd name="T55" fmla="*/ 128 h 412"/>
                <a:gd name="T56" fmla="*/ 430 w 465"/>
                <a:gd name="T57" fmla="*/ 110 h 412"/>
                <a:gd name="T58" fmla="*/ 441 w 465"/>
                <a:gd name="T59" fmla="*/ 81 h 412"/>
                <a:gd name="T60" fmla="*/ 453 w 465"/>
                <a:gd name="T61" fmla="*/ 52 h 412"/>
                <a:gd name="T62" fmla="*/ 407 w 465"/>
                <a:gd name="T63" fmla="*/ 58 h 412"/>
                <a:gd name="T64" fmla="*/ 401 w 465"/>
                <a:gd name="T65" fmla="*/ 46 h 412"/>
                <a:gd name="T66" fmla="*/ 418 w 465"/>
                <a:gd name="T67" fmla="*/ 29 h 412"/>
                <a:gd name="T68" fmla="*/ 401 w 465"/>
                <a:gd name="T69" fmla="*/ 0 h 412"/>
                <a:gd name="T70" fmla="*/ 354 w 465"/>
                <a:gd name="T71" fmla="*/ 6 h 412"/>
                <a:gd name="T72" fmla="*/ 325 w 465"/>
                <a:gd name="T73" fmla="*/ 6 h 412"/>
                <a:gd name="T74" fmla="*/ 291 w 465"/>
                <a:gd name="T75" fmla="*/ 6 h 412"/>
                <a:gd name="T76" fmla="*/ 267 w 465"/>
                <a:gd name="T77" fmla="*/ 6 h 412"/>
                <a:gd name="T78" fmla="*/ 227 w 465"/>
                <a:gd name="T79" fmla="*/ 12 h 412"/>
                <a:gd name="T80" fmla="*/ 192 w 465"/>
                <a:gd name="T81" fmla="*/ 12 h 412"/>
                <a:gd name="T82" fmla="*/ 163 w 465"/>
                <a:gd name="T83" fmla="*/ 12 h 412"/>
                <a:gd name="T84" fmla="*/ 122 w 465"/>
                <a:gd name="T85" fmla="*/ 12 h 412"/>
                <a:gd name="T86" fmla="*/ 99 w 465"/>
                <a:gd name="T87" fmla="*/ 17 h 412"/>
                <a:gd name="T88" fmla="*/ 70 w 465"/>
                <a:gd name="T89" fmla="*/ 17 h 412"/>
                <a:gd name="T90" fmla="*/ 53 w 465"/>
                <a:gd name="T91" fmla="*/ 17 h 412"/>
                <a:gd name="T92" fmla="*/ 0 w 465"/>
                <a:gd name="T93" fmla="*/ 17 h 412"/>
                <a:gd name="T94" fmla="*/ 6 w 465"/>
                <a:gd name="T95" fmla="*/ 58 h 412"/>
                <a:gd name="T96" fmla="*/ 12 w 465"/>
                <a:gd name="T97" fmla="*/ 99 h 4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5"/>
                <a:gd name="T148" fmla="*/ 0 h 412"/>
                <a:gd name="T149" fmla="*/ 465 w 465"/>
                <a:gd name="T150" fmla="*/ 412 h 4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5" h="412">
                  <a:moveTo>
                    <a:pt x="12" y="99"/>
                  </a:moveTo>
                  <a:lnTo>
                    <a:pt x="18" y="104"/>
                  </a:lnTo>
                  <a:lnTo>
                    <a:pt x="18" y="110"/>
                  </a:lnTo>
                  <a:lnTo>
                    <a:pt x="18" y="116"/>
                  </a:lnTo>
                  <a:lnTo>
                    <a:pt x="18" y="128"/>
                  </a:lnTo>
                  <a:lnTo>
                    <a:pt x="18" y="133"/>
                  </a:lnTo>
                  <a:lnTo>
                    <a:pt x="18" y="139"/>
                  </a:lnTo>
                  <a:lnTo>
                    <a:pt x="18" y="145"/>
                  </a:lnTo>
                  <a:lnTo>
                    <a:pt x="18" y="157"/>
                  </a:lnTo>
                  <a:lnTo>
                    <a:pt x="18" y="197"/>
                  </a:lnTo>
                  <a:lnTo>
                    <a:pt x="18" y="203"/>
                  </a:lnTo>
                  <a:lnTo>
                    <a:pt x="18" y="220"/>
                  </a:lnTo>
                  <a:lnTo>
                    <a:pt x="18" y="226"/>
                  </a:lnTo>
                  <a:lnTo>
                    <a:pt x="18" y="244"/>
                  </a:lnTo>
                  <a:lnTo>
                    <a:pt x="18" y="249"/>
                  </a:lnTo>
                  <a:lnTo>
                    <a:pt x="18" y="273"/>
                  </a:lnTo>
                  <a:lnTo>
                    <a:pt x="18" y="278"/>
                  </a:lnTo>
                  <a:lnTo>
                    <a:pt x="18" y="290"/>
                  </a:lnTo>
                  <a:lnTo>
                    <a:pt x="18" y="307"/>
                  </a:lnTo>
                  <a:lnTo>
                    <a:pt x="18" y="313"/>
                  </a:lnTo>
                  <a:lnTo>
                    <a:pt x="18" y="342"/>
                  </a:lnTo>
                  <a:lnTo>
                    <a:pt x="29" y="354"/>
                  </a:lnTo>
                  <a:lnTo>
                    <a:pt x="41" y="348"/>
                  </a:lnTo>
                  <a:lnTo>
                    <a:pt x="64" y="354"/>
                  </a:lnTo>
                  <a:lnTo>
                    <a:pt x="64" y="371"/>
                  </a:lnTo>
                  <a:lnTo>
                    <a:pt x="64" y="383"/>
                  </a:lnTo>
                  <a:lnTo>
                    <a:pt x="64" y="389"/>
                  </a:lnTo>
                  <a:lnTo>
                    <a:pt x="64" y="400"/>
                  </a:lnTo>
                  <a:lnTo>
                    <a:pt x="64" y="412"/>
                  </a:lnTo>
                  <a:lnTo>
                    <a:pt x="70" y="412"/>
                  </a:lnTo>
                  <a:lnTo>
                    <a:pt x="76" y="412"/>
                  </a:lnTo>
                  <a:lnTo>
                    <a:pt x="87" y="412"/>
                  </a:lnTo>
                  <a:lnTo>
                    <a:pt x="99" y="412"/>
                  </a:lnTo>
                  <a:lnTo>
                    <a:pt x="111" y="412"/>
                  </a:lnTo>
                  <a:lnTo>
                    <a:pt x="116" y="412"/>
                  </a:lnTo>
                  <a:lnTo>
                    <a:pt x="134" y="412"/>
                  </a:lnTo>
                  <a:lnTo>
                    <a:pt x="140" y="412"/>
                  </a:lnTo>
                  <a:lnTo>
                    <a:pt x="145" y="412"/>
                  </a:lnTo>
                  <a:lnTo>
                    <a:pt x="163" y="412"/>
                  </a:lnTo>
                  <a:lnTo>
                    <a:pt x="180" y="412"/>
                  </a:lnTo>
                  <a:lnTo>
                    <a:pt x="192" y="412"/>
                  </a:lnTo>
                  <a:lnTo>
                    <a:pt x="209" y="412"/>
                  </a:lnTo>
                  <a:lnTo>
                    <a:pt x="244" y="406"/>
                  </a:lnTo>
                  <a:lnTo>
                    <a:pt x="256" y="406"/>
                  </a:lnTo>
                  <a:lnTo>
                    <a:pt x="302" y="406"/>
                  </a:lnTo>
                  <a:lnTo>
                    <a:pt x="314" y="406"/>
                  </a:lnTo>
                  <a:lnTo>
                    <a:pt x="320" y="406"/>
                  </a:lnTo>
                  <a:lnTo>
                    <a:pt x="331" y="406"/>
                  </a:lnTo>
                  <a:lnTo>
                    <a:pt x="337" y="406"/>
                  </a:lnTo>
                  <a:lnTo>
                    <a:pt x="343" y="406"/>
                  </a:lnTo>
                  <a:lnTo>
                    <a:pt x="343" y="360"/>
                  </a:lnTo>
                  <a:lnTo>
                    <a:pt x="337" y="360"/>
                  </a:lnTo>
                  <a:lnTo>
                    <a:pt x="343" y="348"/>
                  </a:lnTo>
                  <a:lnTo>
                    <a:pt x="331" y="354"/>
                  </a:lnTo>
                  <a:lnTo>
                    <a:pt x="337" y="348"/>
                  </a:lnTo>
                  <a:lnTo>
                    <a:pt x="331" y="342"/>
                  </a:lnTo>
                  <a:lnTo>
                    <a:pt x="343" y="325"/>
                  </a:lnTo>
                  <a:lnTo>
                    <a:pt x="343" y="313"/>
                  </a:lnTo>
                  <a:lnTo>
                    <a:pt x="354" y="319"/>
                  </a:lnTo>
                  <a:lnTo>
                    <a:pt x="343" y="290"/>
                  </a:lnTo>
                  <a:lnTo>
                    <a:pt x="349" y="290"/>
                  </a:lnTo>
                  <a:lnTo>
                    <a:pt x="354" y="278"/>
                  </a:lnTo>
                  <a:lnTo>
                    <a:pt x="366" y="261"/>
                  </a:lnTo>
                  <a:lnTo>
                    <a:pt x="372" y="255"/>
                  </a:lnTo>
                  <a:lnTo>
                    <a:pt x="372" y="249"/>
                  </a:lnTo>
                  <a:lnTo>
                    <a:pt x="378" y="244"/>
                  </a:lnTo>
                  <a:lnTo>
                    <a:pt x="378" y="249"/>
                  </a:lnTo>
                  <a:lnTo>
                    <a:pt x="389" y="226"/>
                  </a:lnTo>
                  <a:lnTo>
                    <a:pt x="383" y="215"/>
                  </a:lnTo>
                  <a:lnTo>
                    <a:pt x="389" y="209"/>
                  </a:lnTo>
                  <a:lnTo>
                    <a:pt x="389" y="215"/>
                  </a:lnTo>
                  <a:lnTo>
                    <a:pt x="395" y="209"/>
                  </a:lnTo>
                  <a:lnTo>
                    <a:pt x="389" y="203"/>
                  </a:lnTo>
                  <a:lnTo>
                    <a:pt x="395" y="203"/>
                  </a:lnTo>
                  <a:lnTo>
                    <a:pt x="395" y="197"/>
                  </a:lnTo>
                  <a:lnTo>
                    <a:pt x="401" y="191"/>
                  </a:lnTo>
                  <a:lnTo>
                    <a:pt x="412" y="186"/>
                  </a:lnTo>
                  <a:lnTo>
                    <a:pt x="412" y="180"/>
                  </a:lnTo>
                  <a:lnTo>
                    <a:pt x="407" y="174"/>
                  </a:lnTo>
                  <a:lnTo>
                    <a:pt x="424" y="157"/>
                  </a:lnTo>
                  <a:lnTo>
                    <a:pt x="430" y="157"/>
                  </a:lnTo>
                  <a:lnTo>
                    <a:pt x="424" y="128"/>
                  </a:lnTo>
                  <a:lnTo>
                    <a:pt x="424" y="122"/>
                  </a:lnTo>
                  <a:lnTo>
                    <a:pt x="424" y="128"/>
                  </a:lnTo>
                  <a:lnTo>
                    <a:pt x="418" y="128"/>
                  </a:lnTo>
                  <a:lnTo>
                    <a:pt x="424" y="122"/>
                  </a:lnTo>
                  <a:lnTo>
                    <a:pt x="430" y="110"/>
                  </a:lnTo>
                  <a:lnTo>
                    <a:pt x="436" y="104"/>
                  </a:lnTo>
                  <a:lnTo>
                    <a:pt x="441" y="110"/>
                  </a:lnTo>
                  <a:lnTo>
                    <a:pt x="441" y="81"/>
                  </a:lnTo>
                  <a:lnTo>
                    <a:pt x="453" y="64"/>
                  </a:lnTo>
                  <a:lnTo>
                    <a:pt x="465" y="64"/>
                  </a:lnTo>
                  <a:lnTo>
                    <a:pt x="453" y="52"/>
                  </a:lnTo>
                  <a:lnTo>
                    <a:pt x="436" y="58"/>
                  </a:lnTo>
                  <a:lnTo>
                    <a:pt x="412" y="58"/>
                  </a:lnTo>
                  <a:lnTo>
                    <a:pt x="407" y="58"/>
                  </a:lnTo>
                  <a:lnTo>
                    <a:pt x="401" y="58"/>
                  </a:lnTo>
                  <a:lnTo>
                    <a:pt x="395" y="58"/>
                  </a:lnTo>
                  <a:lnTo>
                    <a:pt x="401" y="46"/>
                  </a:lnTo>
                  <a:lnTo>
                    <a:pt x="407" y="46"/>
                  </a:lnTo>
                  <a:lnTo>
                    <a:pt x="412" y="35"/>
                  </a:lnTo>
                  <a:lnTo>
                    <a:pt x="418" y="29"/>
                  </a:lnTo>
                  <a:lnTo>
                    <a:pt x="412" y="0"/>
                  </a:lnTo>
                  <a:lnTo>
                    <a:pt x="407" y="0"/>
                  </a:lnTo>
                  <a:lnTo>
                    <a:pt x="401" y="0"/>
                  </a:lnTo>
                  <a:lnTo>
                    <a:pt x="372" y="0"/>
                  </a:lnTo>
                  <a:lnTo>
                    <a:pt x="360" y="6"/>
                  </a:lnTo>
                  <a:lnTo>
                    <a:pt x="354" y="6"/>
                  </a:lnTo>
                  <a:lnTo>
                    <a:pt x="343" y="6"/>
                  </a:lnTo>
                  <a:lnTo>
                    <a:pt x="337" y="6"/>
                  </a:lnTo>
                  <a:lnTo>
                    <a:pt x="325" y="6"/>
                  </a:lnTo>
                  <a:lnTo>
                    <a:pt x="314" y="6"/>
                  </a:lnTo>
                  <a:lnTo>
                    <a:pt x="296" y="6"/>
                  </a:lnTo>
                  <a:lnTo>
                    <a:pt x="291" y="6"/>
                  </a:lnTo>
                  <a:lnTo>
                    <a:pt x="285" y="6"/>
                  </a:lnTo>
                  <a:lnTo>
                    <a:pt x="273" y="6"/>
                  </a:lnTo>
                  <a:lnTo>
                    <a:pt x="267" y="6"/>
                  </a:lnTo>
                  <a:lnTo>
                    <a:pt x="244" y="12"/>
                  </a:lnTo>
                  <a:lnTo>
                    <a:pt x="232" y="12"/>
                  </a:lnTo>
                  <a:lnTo>
                    <a:pt x="227" y="12"/>
                  </a:lnTo>
                  <a:lnTo>
                    <a:pt x="209" y="12"/>
                  </a:lnTo>
                  <a:lnTo>
                    <a:pt x="203" y="12"/>
                  </a:lnTo>
                  <a:lnTo>
                    <a:pt x="192" y="12"/>
                  </a:lnTo>
                  <a:lnTo>
                    <a:pt x="174" y="12"/>
                  </a:lnTo>
                  <a:lnTo>
                    <a:pt x="169" y="12"/>
                  </a:lnTo>
                  <a:lnTo>
                    <a:pt x="163" y="12"/>
                  </a:lnTo>
                  <a:lnTo>
                    <a:pt x="145" y="12"/>
                  </a:lnTo>
                  <a:lnTo>
                    <a:pt x="134" y="12"/>
                  </a:lnTo>
                  <a:lnTo>
                    <a:pt x="122" y="12"/>
                  </a:lnTo>
                  <a:lnTo>
                    <a:pt x="116" y="12"/>
                  </a:lnTo>
                  <a:lnTo>
                    <a:pt x="111" y="12"/>
                  </a:lnTo>
                  <a:lnTo>
                    <a:pt x="99" y="17"/>
                  </a:lnTo>
                  <a:lnTo>
                    <a:pt x="87" y="17"/>
                  </a:lnTo>
                  <a:lnTo>
                    <a:pt x="76" y="17"/>
                  </a:lnTo>
                  <a:lnTo>
                    <a:pt x="70" y="17"/>
                  </a:lnTo>
                  <a:lnTo>
                    <a:pt x="64" y="17"/>
                  </a:lnTo>
                  <a:lnTo>
                    <a:pt x="58" y="17"/>
                  </a:lnTo>
                  <a:lnTo>
                    <a:pt x="53" y="17"/>
                  </a:lnTo>
                  <a:lnTo>
                    <a:pt x="24" y="17"/>
                  </a:lnTo>
                  <a:lnTo>
                    <a:pt x="12" y="17"/>
                  </a:lnTo>
                  <a:lnTo>
                    <a:pt x="0" y="17"/>
                  </a:lnTo>
                  <a:lnTo>
                    <a:pt x="0" y="29"/>
                  </a:lnTo>
                  <a:lnTo>
                    <a:pt x="6" y="41"/>
                  </a:lnTo>
                  <a:lnTo>
                    <a:pt x="6" y="58"/>
                  </a:lnTo>
                  <a:lnTo>
                    <a:pt x="6" y="64"/>
                  </a:lnTo>
                  <a:lnTo>
                    <a:pt x="12" y="87"/>
                  </a:lnTo>
                  <a:lnTo>
                    <a:pt x="12" y="9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2" name="Freeform 53"/>
            <p:cNvSpPr>
              <a:spLocks/>
            </p:cNvSpPr>
            <p:nvPr/>
          </p:nvSpPr>
          <p:spPr bwMode="auto">
            <a:xfrm>
              <a:off x="4065" y="3205"/>
              <a:ext cx="325" cy="562"/>
            </a:xfrm>
            <a:custGeom>
              <a:avLst/>
              <a:gdLst>
                <a:gd name="T0" fmla="*/ 35 w 325"/>
                <a:gd name="T1" fmla="*/ 377 h 562"/>
                <a:gd name="T2" fmla="*/ 52 w 325"/>
                <a:gd name="T3" fmla="*/ 348 h 562"/>
                <a:gd name="T4" fmla="*/ 52 w 325"/>
                <a:gd name="T5" fmla="*/ 342 h 562"/>
                <a:gd name="T6" fmla="*/ 52 w 325"/>
                <a:gd name="T7" fmla="*/ 307 h 562"/>
                <a:gd name="T8" fmla="*/ 41 w 325"/>
                <a:gd name="T9" fmla="*/ 295 h 562"/>
                <a:gd name="T10" fmla="*/ 29 w 325"/>
                <a:gd name="T11" fmla="*/ 203 h 562"/>
                <a:gd name="T12" fmla="*/ 29 w 325"/>
                <a:gd name="T13" fmla="*/ 191 h 562"/>
                <a:gd name="T14" fmla="*/ 35 w 325"/>
                <a:gd name="T15" fmla="*/ 156 h 562"/>
                <a:gd name="T16" fmla="*/ 41 w 325"/>
                <a:gd name="T17" fmla="*/ 133 h 562"/>
                <a:gd name="T18" fmla="*/ 64 w 325"/>
                <a:gd name="T19" fmla="*/ 98 h 562"/>
                <a:gd name="T20" fmla="*/ 70 w 325"/>
                <a:gd name="T21" fmla="*/ 92 h 562"/>
                <a:gd name="T22" fmla="*/ 81 w 325"/>
                <a:gd name="T23" fmla="*/ 52 h 562"/>
                <a:gd name="T24" fmla="*/ 81 w 325"/>
                <a:gd name="T25" fmla="*/ 46 h 562"/>
                <a:gd name="T26" fmla="*/ 93 w 325"/>
                <a:gd name="T27" fmla="*/ 34 h 562"/>
                <a:gd name="T28" fmla="*/ 99 w 325"/>
                <a:gd name="T29" fmla="*/ 17 h 562"/>
                <a:gd name="T30" fmla="*/ 157 w 325"/>
                <a:gd name="T31" fmla="*/ 11 h 562"/>
                <a:gd name="T32" fmla="*/ 180 w 325"/>
                <a:gd name="T33" fmla="*/ 11 h 562"/>
                <a:gd name="T34" fmla="*/ 197 w 325"/>
                <a:gd name="T35" fmla="*/ 5 h 562"/>
                <a:gd name="T36" fmla="*/ 220 w 325"/>
                <a:gd name="T37" fmla="*/ 5 h 562"/>
                <a:gd name="T38" fmla="*/ 238 w 325"/>
                <a:gd name="T39" fmla="*/ 5 h 562"/>
                <a:gd name="T40" fmla="*/ 261 w 325"/>
                <a:gd name="T41" fmla="*/ 5 h 562"/>
                <a:gd name="T42" fmla="*/ 308 w 325"/>
                <a:gd name="T43" fmla="*/ 11 h 562"/>
                <a:gd name="T44" fmla="*/ 308 w 325"/>
                <a:gd name="T45" fmla="*/ 46 h 562"/>
                <a:gd name="T46" fmla="*/ 308 w 325"/>
                <a:gd name="T47" fmla="*/ 69 h 562"/>
                <a:gd name="T48" fmla="*/ 308 w 325"/>
                <a:gd name="T49" fmla="*/ 104 h 562"/>
                <a:gd name="T50" fmla="*/ 308 w 325"/>
                <a:gd name="T51" fmla="*/ 145 h 562"/>
                <a:gd name="T52" fmla="*/ 308 w 325"/>
                <a:gd name="T53" fmla="*/ 179 h 562"/>
                <a:gd name="T54" fmla="*/ 308 w 325"/>
                <a:gd name="T55" fmla="*/ 232 h 562"/>
                <a:gd name="T56" fmla="*/ 308 w 325"/>
                <a:gd name="T57" fmla="*/ 266 h 562"/>
                <a:gd name="T58" fmla="*/ 308 w 325"/>
                <a:gd name="T59" fmla="*/ 301 h 562"/>
                <a:gd name="T60" fmla="*/ 302 w 325"/>
                <a:gd name="T61" fmla="*/ 319 h 562"/>
                <a:gd name="T62" fmla="*/ 302 w 325"/>
                <a:gd name="T63" fmla="*/ 359 h 562"/>
                <a:gd name="T64" fmla="*/ 308 w 325"/>
                <a:gd name="T65" fmla="*/ 406 h 562"/>
                <a:gd name="T66" fmla="*/ 313 w 325"/>
                <a:gd name="T67" fmla="*/ 429 h 562"/>
                <a:gd name="T68" fmla="*/ 319 w 325"/>
                <a:gd name="T69" fmla="*/ 458 h 562"/>
                <a:gd name="T70" fmla="*/ 325 w 325"/>
                <a:gd name="T71" fmla="*/ 516 h 562"/>
                <a:gd name="T72" fmla="*/ 290 w 325"/>
                <a:gd name="T73" fmla="*/ 533 h 562"/>
                <a:gd name="T74" fmla="*/ 267 w 325"/>
                <a:gd name="T75" fmla="*/ 533 h 562"/>
                <a:gd name="T76" fmla="*/ 232 w 325"/>
                <a:gd name="T77" fmla="*/ 545 h 562"/>
                <a:gd name="T78" fmla="*/ 203 w 325"/>
                <a:gd name="T79" fmla="*/ 556 h 562"/>
                <a:gd name="T80" fmla="*/ 191 w 325"/>
                <a:gd name="T81" fmla="*/ 527 h 562"/>
                <a:gd name="T82" fmla="*/ 186 w 325"/>
                <a:gd name="T83" fmla="*/ 475 h 562"/>
                <a:gd name="T84" fmla="*/ 151 w 325"/>
                <a:gd name="T85" fmla="*/ 469 h 562"/>
                <a:gd name="T86" fmla="*/ 128 w 325"/>
                <a:gd name="T87" fmla="*/ 475 h 562"/>
                <a:gd name="T88" fmla="*/ 104 w 325"/>
                <a:gd name="T89" fmla="*/ 475 h 562"/>
                <a:gd name="T90" fmla="*/ 81 w 325"/>
                <a:gd name="T91" fmla="*/ 475 h 562"/>
                <a:gd name="T92" fmla="*/ 46 w 325"/>
                <a:gd name="T93" fmla="*/ 475 h 562"/>
                <a:gd name="T94" fmla="*/ 0 w 325"/>
                <a:gd name="T95" fmla="*/ 481 h 562"/>
                <a:gd name="T96" fmla="*/ 12 w 325"/>
                <a:gd name="T97" fmla="*/ 435 h 562"/>
                <a:gd name="T98" fmla="*/ 23 w 325"/>
                <a:gd name="T99" fmla="*/ 394 h 5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5"/>
                <a:gd name="T151" fmla="*/ 0 h 562"/>
                <a:gd name="T152" fmla="*/ 325 w 325"/>
                <a:gd name="T153" fmla="*/ 562 h 5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5" h="562">
                  <a:moveTo>
                    <a:pt x="23" y="394"/>
                  </a:moveTo>
                  <a:lnTo>
                    <a:pt x="29" y="394"/>
                  </a:lnTo>
                  <a:lnTo>
                    <a:pt x="35" y="377"/>
                  </a:lnTo>
                  <a:lnTo>
                    <a:pt x="46" y="359"/>
                  </a:lnTo>
                  <a:lnTo>
                    <a:pt x="41" y="353"/>
                  </a:lnTo>
                  <a:lnTo>
                    <a:pt x="52" y="348"/>
                  </a:lnTo>
                  <a:lnTo>
                    <a:pt x="41" y="348"/>
                  </a:lnTo>
                  <a:lnTo>
                    <a:pt x="41" y="336"/>
                  </a:lnTo>
                  <a:lnTo>
                    <a:pt x="52" y="342"/>
                  </a:lnTo>
                  <a:lnTo>
                    <a:pt x="52" y="313"/>
                  </a:lnTo>
                  <a:lnTo>
                    <a:pt x="41" y="307"/>
                  </a:lnTo>
                  <a:lnTo>
                    <a:pt x="52" y="307"/>
                  </a:lnTo>
                  <a:lnTo>
                    <a:pt x="46" y="295"/>
                  </a:lnTo>
                  <a:lnTo>
                    <a:pt x="52" y="290"/>
                  </a:lnTo>
                  <a:lnTo>
                    <a:pt x="41" y="295"/>
                  </a:lnTo>
                  <a:lnTo>
                    <a:pt x="35" y="249"/>
                  </a:lnTo>
                  <a:lnTo>
                    <a:pt x="35" y="203"/>
                  </a:lnTo>
                  <a:lnTo>
                    <a:pt x="29" y="203"/>
                  </a:lnTo>
                  <a:lnTo>
                    <a:pt x="35" y="191"/>
                  </a:lnTo>
                  <a:lnTo>
                    <a:pt x="23" y="197"/>
                  </a:lnTo>
                  <a:lnTo>
                    <a:pt x="29" y="191"/>
                  </a:lnTo>
                  <a:lnTo>
                    <a:pt x="23" y="185"/>
                  </a:lnTo>
                  <a:lnTo>
                    <a:pt x="35" y="168"/>
                  </a:lnTo>
                  <a:lnTo>
                    <a:pt x="35" y="156"/>
                  </a:lnTo>
                  <a:lnTo>
                    <a:pt x="46" y="162"/>
                  </a:lnTo>
                  <a:lnTo>
                    <a:pt x="35" y="133"/>
                  </a:lnTo>
                  <a:lnTo>
                    <a:pt x="41" y="133"/>
                  </a:lnTo>
                  <a:lnTo>
                    <a:pt x="46" y="121"/>
                  </a:lnTo>
                  <a:lnTo>
                    <a:pt x="58" y="104"/>
                  </a:lnTo>
                  <a:lnTo>
                    <a:pt x="64" y="98"/>
                  </a:lnTo>
                  <a:lnTo>
                    <a:pt x="64" y="92"/>
                  </a:lnTo>
                  <a:lnTo>
                    <a:pt x="70" y="87"/>
                  </a:lnTo>
                  <a:lnTo>
                    <a:pt x="70" y="92"/>
                  </a:lnTo>
                  <a:lnTo>
                    <a:pt x="81" y="69"/>
                  </a:lnTo>
                  <a:lnTo>
                    <a:pt x="75" y="58"/>
                  </a:lnTo>
                  <a:lnTo>
                    <a:pt x="81" y="52"/>
                  </a:lnTo>
                  <a:lnTo>
                    <a:pt x="81" y="58"/>
                  </a:lnTo>
                  <a:lnTo>
                    <a:pt x="87" y="52"/>
                  </a:lnTo>
                  <a:lnTo>
                    <a:pt x="81" y="46"/>
                  </a:lnTo>
                  <a:lnTo>
                    <a:pt x="87" y="46"/>
                  </a:lnTo>
                  <a:lnTo>
                    <a:pt x="87" y="40"/>
                  </a:lnTo>
                  <a:lnTo>
                    <a:pt x="93" y="34"/>
                  </a:lnTo>
                  <a:lnTo>
                    <a:pt x="104" y="29"/>
                  </a:lnTo>
                  <a:lnTo>
                    <a:pt x="104" y="23"/>
                  </a:lnTo>
                  <a:lnTo>
                    <a:pt x="99" y="17"/>
                  </a:lnTo>
                  <a:lnTo>
                    <a:pt x="128" y="11"/>
                  </a:lnTo>
                  <a:lnTo>
                    <a:pt x="145" y="11"/>
                  </a:lnTo>
                  <a:lnTo>
                    <a:pt x="157" y="11"/>
                  </a:lnTo>
                  <a:lnTo>
                    <a:pt x="162" y="11"/>
                  </a:lnTo>
                  <a:lnTo>
                    <a:pt x="174" y="11"/>
                  </a:lnTo>
                  <a:lnTo>
                    <a:pt x="180" y="11"/>
                  </a:lnTo>
                  <a:lnTo>
                    <a:pt x="191" y="11"/>
                  </a:lnTo>
                  <a:lnTo>
                    <a:pt x="197" y="11"/>
                  </a:lnTo>
                  <a:lnTo>
                    <a:pt x="197" y="5"/>
                  </a:lnTo>
                  <a:lnTo>
                    <a:pt x="203" y="5"/>
                  </a:lnTo>
                  <a:lnTo>
                    <a:pt x="215" y="5"/>
                  </a:lnTo>
                  <a:lnTo>
                    <a:pt x="220" y="5"/>
                  </a:lnTo>
                  <a:lnTo>
                    <a:pt x="226" y="5"/>
                  </a:lnTo>
                  <a:lnTo>
                    <a:pt x="232" y="5"/>
                  </a:lnTo>
                  <a:lnTo>
                    <a:pt x="238" y="5"/>
                  </a:lnTo>
                  <a:lnTo>
                    <a:pt x="244" y="5"/>
                  </a:lnTo>
                  <a:lnTo>
                    <a:pt x="250" y="5"/>
                  </a:lnTo>
                  <a:lnTo>
                    <a:pt x="261" y="5"/>
                  </a:lnTo>
                  <a:lnTo>
                    <a:pt x="284" y="0"/>
                  </a:lnTo>
                  <a:lnTo>
                    <a:pt x="296" y="0"/>
                  </a:lnTo>
                  <a:lnTo>
                    <a:pt x="308" y="11"/>
                  </a:lnTo>
                  <a:lnTo>
                    <a:pt x="308" y="17"/>
                  </a:lnTo>
                  <a:lnTo>
                    <a:pt x="308" y="34"/>
                  </a:lnTo>
                  <a:lnTo>
                    <a:pt x="308" y="46"/>
                  </a:lnTo>
                  <a:lnTo>
                    <a:pt x="308" y="58"/>
                  </a:lnTo>
                  <a:lnTo>
                    <a:pt x="308" y="63"/>
                  </a:lnTo>
                  <a:lnTo>
                    <a:pt x="308" y="69"/>
                  </a:lnTo>
                  <a:lnTo>
                    <a:pt x="308" y="75"/>
                  </a:lnTo>
                  <a:lnTo>
                    <a:pt x="308" y="92"/>
                  </a:lnTo>
                  <a:lnTo>
                    <a:pt x="308" y="104"/>
                  </a:lnTo>
                  <a:lnTo>
                    <a:pt x="308" y="116"/>
                  </a:lnTo>
                  <a:lnTo>
                    <a:pt x="308" y="133"/>
                  </a:lnTo>
                  <a:lnTo>
                    <a:pt x="308" y="145"/>
                  </a:lnTo>
                  <a:lnTo>
                    <a:pt x="308" y="168"/>
                  </a:lnTo>
                  <a:lnTo>
                    <a:pt x="308" y="174"/>
                  </a:lnTo>
                  <a:lnTo>
                    <a:pt x="308" y="179"/>
                  </a:lnTo>
                  <a:lnTo>
                    <a:pt x="308" y="197"/>
                  </a:lnTo>
                  <a:lnTo>
                    <a:pt x="308" y="203"/>
                  </a:lnTo>
                  <a:lnTo>
                    <a:pt x="308" y="232"/>
                  </a:lnTo>
                  <a:lnTo>
                    <a:pt x="308" y="237"/>
                  </a:lnTo>
                  <a:lnTo>
                    <a:pt x="308" y="261"/>
                  </a:lnTo>
                  <a:lnTo>
                    <a:pt x="308" y="266"/>
                  </a:lnTo>
                  <a:lnTo>
                    <a:pt x="308" y="278"/>
                  </a:lnTo>
                  <a:lnTo>
                    <a:pt x="308" y="295"/>
                  </a:lnTo>
                  <a:lnTo>
                    <a:pt x="308" y="301"/>
                  </a:lnTo>
                  <a:lnTo>
                    <a:pt x="302" y="307"/>
                  </a:lnTo>
                  <a:lnTo>
                    <a:pt x="302" y="313"/>
                  </a:lnTo>
                  <a:lnTo>
                    <a:pt x="302" y="319"/>
                  </a:lnTo>
                  <a:lnTo>
                    <a:pt x="302" y="330"/>
                  </a:lnTo>
                  <a:lnTo>
                    <a:pt x="302" y="353"/>
                  </a:lnTo>
                  <a:lnTo>
                    <a:pt x="302" y="359"/>
                  </a:lnTo>
                  <a:lnTo>
                    <a:pt x="308" y="377"/>
                  </a:lnTo>
                  <a:lnTo>
                    <a:pt x="308" y="400"/>
                  </a:lnTo>
                  <a:lnTo>
                    <a:pt x="308" y="406"/>
                  </a:lnTo>
                  <a:lnTo>
                    <a:pt x="313" y="406"/>
                  </a:lnTo>
                  <a:lnTo>
                    <a:pt x="313" y="417"/>
                  </a:lnTo>
                  <a:lnTo>
                    <a:pt x="313" y="429"/>
                  </a:lnTo>
                  <a:lnTo>
                    <a:pt x="313" y="446"/>
                  </a:lnTo>
                  <a:lnTo>
                    <a:pt x="319" y="452"/>
                  </a:lnTo>
                  <a:lnTo>
                    <a:pt x="319" y="458"/>
                  </a:lnTo>
                  <a:lnTo>
                    <a:pt x="319" y="487"/>
                  </a:lnTo>
                  <a:lnTo>
                    <a:pt x="325" y="504"/>
                  </a:lnTo>
                  <a:lnTo>
                    <a:pt x="325" y="516"/>
                  </a:lnTo>
                  <a:lnTo>
                    <a:pt x="325" y="533"/>
                  </a:lnTo>
                  <a:lnTo>
                    <a:pt x="319" y="539"/>
                  </a:lnTo>
                  <a:lnTo>
                    <a:pt x="290" y="533"/>
                  </a:lnTo>
                  <a:lnTo>
                    <a:pt x="279" y="527"/>
                  </a:lnTo>
                  <a:lnTo>
                    <a:pt x="279" y="533"/>
                  </a:lnTo>
                  <a:lnTo>
                    <a:pt x="267" y="533"/>
                  </a:lnTo>
                  <a:lnTo>
                    <a:pt x="238" y="545"/>
                  </a:lnTo>
                  <a:lnTo>
                    <a:pt x="232" y="539"/>
                  </a:lnTo>
                  <a:lnTo>
                    <a:pt x="232" y="545"/>
                  </a:lnTo>
                  <a:lnTo>
                    <a:pt x="220" y="562"/>
                  </a:lnTo>
                  <a:lnTo>
                    <a:pt x="215" y="562"/>
                  </a:lnTo>
                  <a:lnTo>
                    <a:pt x="203" y="556"/>
                  </a:lnTo>
                  <a:lnTo>
                    <a:pt x="197" y="533"/>
                  </a:lnTo>
                  <a:lnTo>
                    <a:pt x="197" y="527"/>
                  </a:lnTo>
                  <a:lnTo>
                    <a:pt x="191" y="527"/>
                  </a:lnTo>
                  <a:lnTo>
                    <a:pt x="180" y="510"/>
                  </a:lnTo>
                  <a:lnTo>
                    <a:pt x="180" y="498"/>
                  </a:lnTo>
                  <a:lnTo>
                    <a:pt x="186" y="475"/>
                  </a:lnTo>
                  <a:lnTo>
                    <a:pt x="186" y="469"/>
                  </a:lnTo>
                  <a:lnTo>
                    <a:pt x="180" y="469"/>
                  </a:lnTo>
                  <a:lnTo>
                    <a:pt x="151" y="469"/>
                  </a:lnTo>
                  <a:lnTo>
                    <a:pt x="139" y="469"/>
                  </a:lnTo>
                  <a:lnTo>
                    <a:pt x="133" y="469"/>
                  </a:lnTo>
                  <a:lnTo>
                    <a:pt x="128" y="475"/>
                  </a:lnTo>
                  <a:lnTo>
                    <a:pt x="122" y="475"/>
                  </a:lnTo>
                  <a:lnTo>
                    <a:pt x="110" y="475"/>
                  </a:lnTo>
                  <a:lnTo>
                    <a:pt x="104" y="475"/>
                  </a:lnTo>
                  <a:lnTo>
                    <a:pt x="93" y="475"/>
                  </a:lnTo>
                  <a:lnTo>
                    <a:pt x="87" y="475"/>
                  </a:lnTo>
                  <a:lnTo>
                    <a:pt x="81" y="475"/>
                  </a:lnTo>
                  <a:lnTo>
                    <a:pt x="64" y="475"/>
                  </a:lnTo>
                  <a:lnTo>
                    <a:pt x="58" y="475"/>
                  </a:lnTo>
                  <a:lnTo>
                    <a:pt x="46" y="475"/>
                  </a:lnTo>
                  <a:lnTo>
                    <a:pt x="35" y="475"/>
                  </a:lnTo>
                  <a:lnTo>
                    <a:pt x="23" y="481"/>
                  </a:lnTo>
                  <a:lnTo>
                    <a:pt x="0" y="481"/>
                  </a:lnTo>
                  <a:lnTo>
                    <a:pt x="0" y="464"/>
                  </a:lnTo>
                  <a:lnTo>
                    <a:pt x="0" y="458"/>
                  </a:lnTo>
                  <a:lnTo>
                    <a:pt x="12" y="435"/>
                  </a:lnTo>
                  <a:lnTo>
                    <a:pt x="12" y="406"/>
                  </a:lnTo>
                  <a:lnTo>
                    <a:pt x="17" y="394"/>
                  </a:lnTo>
                  <a:lnTo>
                    <a:pt x="23" y="39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3" name="Freeform 54"/>
            <p:cNvSpPr>
              <a:spLocks/>
            </p:cNvSpPr>
            <p:nvPr/>
          </p:nvSpPr>
          <p:spPr bwMode="auto">
            <a:xfrm>
              <a:off x="2985" y="2984"/>
              <a:ext cx="790" cy="412"/>
            </a:xfrm>
            <a:custGeom>
              <a:avLst/>
              <a:gdLst>
                <a:gd name="T0" fmla="*/ 772 w 790"/>
                <a:gd name="T1" fmla="*/ 81 h 412"/>
                <a:gd name="T2" fmla="*/ 772 w 790"/>
                <a:gd name="T3" fmla="*/ 52 h 412"/>
                <a:gd name="T4" fmla="*/ 761 w 790"/>
                <a:gd name="T5" fmla="*/ 23 h 412"/>
                <a:gd name="T6" fmla="*/ 709 w 790"/>
                <a:gd name="T7" fmla="*/ 23 h 412"/>
                <a:gd name="T8" fmla="*/ 674 w 790"/>
                <a:gd name="T9" fmla="*/ 23 h 412"/>
                <a:gd name="T10" fmla="*/ 645 w 790"/>
                <a:gd name="T11" fmla="*/ 23 h 412"/>
                <a:gd name="T12" fmla="*/ 587 w 790"/>
                <a:gd name="T13" fmla="*/ 23 h 412"/>
                <a:gd name="T14" fmla="*/ 540 w 790"/>
                <a:gd name="T15" fmla="*/ 23 h 412"/>
                <a:gd name="T16" fmla="*/ 482 w 790"/>
                <a:gd name="T17" fmla="*/ 23 h 412"/>
                <a:gd name="T18" fmla="*/ 436 w 790"/>
                <a:gd name="T19" fmla="*/ 23 h 412"/>
                <a:gd name="T20" fmla="*/ 395 w 790"/>
                <a:gd name="T21" fmla="*/ 23 h 412"/>
                <a:gd name="T22" fmla="*/ 337 w 790"/>
                <a:gd name="T23" fmla="*/ 18 h 412"/>
                <a:gd name="T24" fmla="*/ 285 w 790"/>
                <a:gd name="T25" fmla="*/ 18 h 412"/>
                <a:gd name="T26" fmla="*/ 227 w 790"/>
                <a:gd name="T27" fmla="*/ 12 h 412"/>
                <a:gd name="T28" fmla="*/ 180 w 790"/>
                <a:gd name="T29" fmla="*/ 12 h 412"/>
                <a:gd name="T30" fmla="*/ 122 w 790"/>
                <a:gd name="T31" fmla="*/ 6 h 412"/>
                <a:gd name="T32" fmla="*/ 29 w 790"/>
                <a:gd name="T33" fmla="*/ 0 h 412"/>
                <a:gd name="T34" fmla="*/ 0 w 790"/>
                <a:gd name="T35" fmla="*/ 58 h 412"/>
                <a:gd name="T36" fmla="*/ 82 w 790"/>
                <a:gd name="T37" fmla="*/ 64 h 412"/>
                <a:gd name="T38" fmla="*/ 151 w 790"/>
                <a:gd name="T39" fmla="*/ 64 h 412"/>
                <a:gd name="T40" fmla="*/ 192 w 790"/>
                <a:gd name="T41" fmla="*/ 70 h 412"/>
                <a:gd name="T42" fmla="*/ 244 w 790"/>
                <a:gd name="T43" fmla="*/ 70 h 412"/>
                <a:gd name="T44" fmla="*/ 273 w 790"/>
                <a:gd name="T45" fmla="*/ 128 h 412"/>
                <a:gd name="T46" fmla="*/ 273 w 790"/>
                <a:gd name="T47" fmla="*/ 157 h 412"/>
                <a:gd name="T48" fmla="*/ 273 w 790"/>
                <a:gd name="T49" fmla="*/ 197 h 412"/>
                <a:gd name="T50" fmla="*/ 273 w 790"/>
                <a:gd name="T51" fmla="*/ 232 h 412"/>
                <a:gd name="T52" fmla="*/ 267 w 790"/>
                <a:gd name="T53" fmla="*/ 273 h 412"/>
                <a:gd name="T54" fmla="*/ 291 w 790"/>
                <a:gd name="T55" fmla="*/ 313 h 412"/>
                <a:gd name="T56" fmla="*/ 343 w 790"/>
                <a:gd name="T57" fmla="*/ 337 h 412"/>
                <a:gd name="T58" fmla="*/ 383 w 790"/>
                <a:gd name="T59" fmla="*/ 348 h 412"/>
                <a:gd name="T60" fmla="*/ 413 w 790"/>
                <a:gd name="T61" fmla="*/ 354 h 412"/>
                <a:gd name="T62" fmla="*/ 447 w 790"/>
                <a:gd name="T63" fmla="*/ 348 h 412"/>
                <a:gd name="T64" fmla="*/ 465 w 790"/>
                <a:gd name="T65" fmla="*/ 383 h 412"/>
                <a:gd name="T66" fmla="*/ 517 w 790"/>
                <a:gd name="T67" fmla="*/ 389 h 412"/>
                <a:gd name="T68" fmla="*/ 558 w 790"/>
                <a:gd name="T69" fmla="*/ 371 h 412"/>
                <a:gd name="T70" fmla="*/ 587 w 790"/>
                <a:gd name="T71" fmla="*/ 383 h 412"/>
                <a:gd name="T72" fmla="*/ 621 w 790"/>
                <a:gd name="T73" fmla="*/ 395 h 412"/>
                <a:gd name="T74" fmla="*/ 668 w 790"/>
                <a:gd name="T75" fmla="*/ 377 h 412"/>
                <a:gd name="T76" fmla="*/ 691 w 790"/>
                <a:gd name="T77" fmla="*/ 377 h 412"/>
                <a:gd name="T78" fmla="*/ 726 w 790"/>
                <a:gd name="T79" fmla="*/ 371 h 412"/>
                <a:gd name="T80" fmla="*/ 755 w 790"/>
                <a:gd name="T81" fmla="*/ 395 h 412"/>
                <a:gd name="T82" fmla="*/ 778 w 790"/>
                <a:gd name="T83" fmla="*/ 400 h 412"/>
                <a:gd name="T84" fmla="*/ 790 w 790"/>
                <a:gd name="T85" fmla="*/ 371 h 412"/>
                <a:gd name="T86" fmla="*/ 790 w 790"/>
                <a:gd name="T87" fmla="*/ 313 h 412"/>
                <a:gd name="T88" fmla="*/ 790 w 790"/>
                <a:gd name="T89" fmla="*/ 267 h 412"/>
                <a:gd name="T90" fmla="*/ 790 w 790"/>
                <a:gd name="T91" fmla="*/ 203 h 412"/>
                <a:gd name="T92" fmla="*/ 790 w 790"/>
                <a:gd name="T93" fmla="*/ 174 h 412"/>
                <a:gd name="T94" fmla="*/ 778 w 790"/>
                <a:gd name="T95" fmla="*/ 128 h 4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0"/>
                <a:gd name="T145" fmla="*/ 0 h 412"/>
                <a:gd name="T146" fmla="*/ 790 w 790"/>
                <a:gd name="T147" fmla="*/ 412 h 4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0" h="412">
                  <a:moveTo>
                    <a:pt x="778" y="122"/>
                  </a:moveTo>
                  <a:lnTo>
                    <a:pt x="778" y="105"/>
                  </a:lnTo>
                  <a:lnTo>
                    <a:pt x="772" y="93"/>
                  </a:lnTo>
                  <a:lnTo>
                    <a:pt x="772" y="81"/>
                  </a:lnTo>
                  <a:lnTo>
                    <a:pt x="772" y="70"/>
                  </a:lnTo>
                  <a:lnTo>
                    <a:pt x="772" y="64"/>
                  </a:lnTo>
                  <a:lnTo>
                    <a:pt x="772" y="58"/>
                  </a:lnTo>
                  <a:lnTo>
                    <a:pt x="772" y="52"/>
                  </a:lnTo>
                  <a:lnTo>
                    <a:pt x="772" y="41"/>
                  </a:lnTo>
                  <a:lnTo>
                    <a:pt x="772" y="29"/>
                  </a:lnTo>
                  <a:lnTo>
                    <a:pt x="772" y="23"/>
                  </a:lnTo>
                  <a:lnTo>
                    <a:pt x="761" y="23"/>
                  </a:lnTo>
                  <a:lnTo>
                    <a:pt x="738" y="23"/>
                  </a:lnTo>
                  <a:lnTo>
                    <a:pt x="732" y="23"/>
                  </a:lnTo>
                  <a:lnTo>
                    <a:pt x="714" y="23"/>
                  </a:lnTo>
                  <a:lnTo>
                    <a:pt x="709" y="23"/>
                  </a:lnTo>
                  <a:lnTo>
                    <a:pt x="703" y="23"/>
                  </a:lnTo>
                  <a:lnTo>
                    <a:pt x="691" y="23"/>
                  </a:lnTo>
                  <a:lnTo>
                    <a:pt x="679" y="23"/>
                  </a:lnTo>
                  <a:lnTo>
                    <a:pt x="674" y="23"/>
                  </a:lnTo>
                  <a:lnTo>
                    <a:pt x="668" y="23"/>
                  </a:lnTo>
                  <a:lnTo>
                    <a:pt x="656" y="23"/>
                  </a:lnTo>
                  <a:lnTo>
                    <a:pt x="650" y="23"/>
                  </a:lnTo>
                  <a:lnTo>
                    <a:pt x="645" y="23"/>
                  </a:lnTo>
                  <a:lnTo>
                    <a:pt x="633" y="23"/>
                  </a:lnTo>
                  <a:lnTo>
                    <a:pt x="604" y="23"/>
                  </a:lnTo>
                  <a:lnTo>
                    <a:pt x="598" y="23"/>
                  </a:lnTo>
                  <a:lnTo>
                    <a:pt x="587" y="23"/>
                  </a:lnTo>
                  <a:lnTo>
                    <a:pt x="575" y="23"/>
                  </a:lnTo>
                  <a:lnTo>
                    <a:pt x="563" y="23"/>
                  </a:lnTo>
                  <a:lnTo>
                    <a:pt x="552" y="23"/>
                  </a:lnTo>
                  <a:lnTo>
                    <a:pt x="540" y="23"/>
                  </a:lnTo>
                  <a:lnTo>
                    <a:pt x="523" y="23"/>
                  </a:lnTo>
                  <a:lnTo>
                    <a:pt x="511" y="23"/>
                  </a:lnTo>
                  <a:lnTo>
                    <a:pt x="494" y="23"/>
                  </a:lnTo>
                  <a:lnTo>
                    <a:pt x="482" y="23"/>
                  </a:lnTo>
                  <a:lnTo>
                    <a:pt x="465" y="23"/>
                  </a:lnTo>
                  <a:lnTo>
                    <a:pt x="459" y="23"/>
                  </a:lnTo>
                  <a:lnTo>
                    <a:pt x="453" y="23"/>
                  </a:lnTo>
                  <a:lnTo>
                    <a:pt x="436" y="23"/>
                  </a:lnTo>
                  <a:lnTo>
                    <a:pt x="430" y="23"/>
                  </a:lnTo>
                  <a:lnTo>
                    <a:pt x="418" y="23"/>
                  </a:lnTo>
                  <a:lnTo>
                    <a:pt x="413" y="23"/>
                  </a:lnTo>
                  <a:lnTo>
                    <a:pt x="395" y="23"/>
                  </a:lnTo>
                  <a:lnTo>
                    <a:pt x="389" y="23"/>
                  </a:lnTo>
                  <a:lnTo>
                    <a:pt x="372" y="18"/>
                  </a:lnTo>
                  <a:lnTo>
                    <a:pt x="343" y="18"/>
                  </a:lnTo>
                  <a:lnTo>
                    <a:pt x="337" y="18"/>
                  </a:lnTo>
                  <a:lnTo>
                    <a:pt x="331" y="18"/>
                  </a:lnTo>
                  <a:lnTo>
                    <a:pt x="325" y="18"/>
                  </a:lnTo>
                  <a:lnTo>
                    <a:pt x="320" y="18"/>
                  </a:lnTo>
                  <a:lnTo>
                    <a:pt x="285" y="18"/>
                  </a:lnTo>
                  <a:lnTo>
                    <a:pt x="279" y="18"/>
                  </a:lnTo>
                  <a:lnTo>
                    <a:pt x="273" y="18"/>
                  </a:lnTo>
                  <a:lnTo>
                    <a:pt x="267" y="18"/>
                  </a:lnTo>
                  <a:lnTo>
                    <a:pt x="227" y="12"/>
                  </a:lnTo>
                  <a:lnTo>
                    <a:pt x="221" y="12"/>
                  </a:lnTo>
                  <a:lnTo>
                    <a:pt x="192" y="12"/>
                  </a:lnTo>
                  <a:lnTo>
                    <a:pt x="186" y="12"/>
                  </a:lnTo>
                  <a:lnTo>
                    <a:pt x="180" y="12"/>
                  </a:lnTo>
                  <a:lnTo>
                    <a:pt x="175" y="12"/>
                  </a:lnTo>
                  <a:lnTo>
                    <a:pt x="157" y="12"/>
                  </a:lnTo>
                  <a:lnTo>
                    <a:pt x="140" y="12"/>
                  </a:lnTo>
                  <a:lnTo>
                    <a:pt x="122" y="6"/>
                  </a:lnTo>
                  <a:lnTo>
                    <a:pt x="117" y="6"/>
                  </a:lnTo>
                  <a:lnTo>
                    <a:pt x="93" y="6"/>
                  </a:lnTo>
                  <a:lnTo>
                    <a:pt x="41" y="0"/>
                  </a:lnTo>
                  <a:lnTo>
                    <a:pt x="29" y="0"/>
                  </a:lnTo>
                  <a:lnTo>
                    <a:pt x="6" y="0"/>
                  </a:lnTo>
                  <a:lnTo>
                    <a:pt x="6" y="12"/>
                  </a:lnTo>
                  <a:lnTo>
                    <a:pt x="6" y="29"/>
                  </a:lnTo>
                  <a:lnTo>
                    <a:pt x="0" y="58"/>
                  </a:lnTo>
                  <a:lnTo>
                    <a:pt x="35" y="58"/>
                  </a:lnTo>
                  <a:lnTo>
                    <a:pt x="58" y="58"/>
                  </a:lnTo>
                  <a:lnTo>
                    <a:pt x="76" y="64"/>
                  </a:lnTo>
                  <a:lnTo>
                    <a:pt x="82" y="64"/>
                  </a:lnTo>
                  <a:lnTo>
                    <a:pt x="93" y="64"/>
                  </a:lnTo>
                  <a:lnTo>
                    <a:pt x="105" y="64"/>
                  </a:lnTo>
                  <a:lnTo>
                    <a:pt x="128" y="64"/>
                  </a:lnTo>
                  <a:lnTo>
                    <a:pt x="151" y="64"/>
                  </a:lnTo>
                  <a:lnTo>
                    <a:pt x="163" y="70"/>
                  </a:lnTo>
                  <a:lnTo>
                    <a:pt x="180" y="70"/>
                  </a:lnTo>
                  <a:lnTo>
                    <a:pt x="186" y="70"/>
                  </a:lnTo>
                  <a:lnTo>
                    <a:pt x="192" y="70"/>
                  </a:lnTo>
                  <a:lnTo>
                    <a:pt x="198" y="70"/>
                  </a:lnTo>
                  <a:lnTo>
                    <a:pt x="221" y="70"/>
                  </a:lnTo>
                  <a:lnTo>
                    <a:pt x="227" y="70"/>
                  </a:lnTo>
                  <a:lnTo>
                    <a:pt x="244" y="70"/>
                  </a:lnTo>
                  <a:lnTo>
                    <a:pt x="279" y="76"/>
                  </a:lnTo>
                  <a:lnTo>
                    <a:pt x="279" y="87"/>
                  </a:lnTo>
                  <a:lnTo>
                    <a:pt x="273" y="122"/>
                  </a:lnTo>
                  <a:lnTo>
                    <a:pt x="273" y="128"/>
                  </a:lnTo>
                  <a:lnTo>
                    <a:pt x="273" y="139"/>
                  </a:lnTo>
                  <a:lnTo>
                    <a:pt x="273" y="145"/>
                  </a:lnTo>
                  <a:lnTo>
                    <a:pt x="273" y="151"/>
                  </a:lnTo>
                  <a:lnTo>
                    <a:pt x="273" y="157"/>
                  </a:lnTo>
                  <a:lnTo>
                    <a:pt x="273" y="174"/>
                  </a:lnTo>
                  <a:lnTo>
                    <a:pt x="273" y="186"/>
                  </a:lnTo>
                  <a:lnTo>
                    <a:pt x="273" y="192"/>
                  </a:lnTo>
                  <a:lnTo>
                    <a:pt x="273" y="197"/>
                  </a:lnTo>
                  <a:lnTo>
                    <a:pt x="273" y="209"/>
                  </a:lnTo>
                  <a:lnTo>
                    <a:pt x="273" y="215"/>
                  </a:lnTo>
                  <a:lnTo>
                    <a:pt x="273" y="221"/>
                  </a:lnTo>
                  <a:lnTo>
                    <a:pt x="273" y="232"/>
                  </a:lnTo>
                  <a:lnTo>
                    <a:pt x="267" y="238"/>
                  </a:lnTo>
                  <a:lnTo>
                    <a:pt x="267" y="261"/>
                  </a:lnTo>
                  <a:lnTo>
                    <a:pt x="267" y="267"/>
                  </a:lnTo>
                  <a:lnTo>
                    <a:pt x="267" y="273"/>
                  </a:lnTo>
                  <a:lnTo>
                    <a:pt x="267" y="296"/>
                  </a:lnTo>
                  <a:lnTo>
                    <a:pt x="273" y="296"/>
                  </a:lnTo>
                  <a:lnTo>
                    <a:pt x="279" y="302"/>
                  </a:lnTo>
                  <a:lnTo>
                    <a:pt x="291" y="313"/>
                  </a:lnTo>
                  <a:lnTo>
                    <a:pt x="314" y="313"/>
                  </a:lnTo>
                  <a:lnTo>
                    <a:pt x="337" y="319"/>
                  </a:lnTo>
                  <a:lnTo>
                    <a:pt x="343" y="325"/>
                  </a:lnTo>
                  <a:lnTo>
                    <a:pt x="343" y="337"/>
                  </a:lnTo>
                  <a:lnTo>
                    <a:pt x="349" y="342"/>
                  </a:lnTo>
                  <a:lnTo>
                    <a:pt x="354" y="337"/>
                  </a:lnTo>
                  <a:lnTo>
                    <a:pt x="366" y="342"/>
                  </a:lnTo>
                  <a:lnTo>
                    <a:pt x="383" y="348"/>
                  </a:lnTo>
                  <a:lnTo>
                    <a:pt x="395" y="348"/>
                  </a:lnTo>
                  <a:lnTo>
                    <a:pt x="401" y="348"/>
                  </a:lnTo>
                  <a:lnTo>
                    <a:pt x="407" y="354"/>
                  </a:lnTo>
                  <a:lnTo>
                    <a:pt x="413" y="354"/>
                  </a:lnTo>
                  <a:lnTo>
                    <a:pt x="430" y="348"/>
                  </a:lnTo>
                  <a:lnTo>
                    <a:pt x="442" y="354"/>
                  </a:lnTo>
                  <a:lnTo>
                    <a:pt x="442" y="348"/>
                  </a:lnTo>
                  <a:lnTo>
                    <a:pt x="447" y="348"/>
                  </a:lnTo>
                  <a:lnTo>
                    <a:pt x="447" y="366"/>
                  </a:lnTo>
                  <a:lnTo>
                    <a:pt x="459" y="366"/>
                  </a:lnTo>
                  <a:lnTo>
                    <a:pt x="459" y="377"/>
                  </a:lnTo>
                  <a:lnTo>
                    <a:pt x="465" y="383"/>
                  </a:lnTo>
                  <a:lnTo>
                    <a:pt x="488" y="371"/>
                  </a:lnTo>
                  <a:lnTo>
                    <a:pt x="500" y="377"/>
                  </a:lnTo>
                  <a:lnTo>
                    <a:pt x="505" y="377"/>
                  </a:lnTo>
                  <a:lnTo>
                    <a:pt x="517" y="389"/>
                  </a:lnTo>
                  <a:lnTo>
                    <a:pt x="534" y="383"/>
                  </a:lnTo>
                  <a:lnTo>
                    <a:pt x="534" y="395"/>
                  </a:lnTo>
                  <a:lnTo>
                    <a:pt x="540" y="400"/>
                  </a:lnTo>
                  <a:lnTo>
                    <a:pt x="558" y="371"/>
                  </a:lnTo>
                  <a:lnTo>
                    <a:pt x="575" y="389"/>
                  </a:lnTo>
                  <a:lnTo>
                    <a:pt x="587" y="377"/>
                  </a:lnTo>
                  <a:lnTo>
                    <a:pt x="592" y="377"/>
                  </a:lnTo>
                  <a:lnTo>
                    <a:pt x="587" y="383"/>
                  </a:lnTo>
                  <a:lnTo>
                    <a:pt x="598" y="395"/>
                  </a:lnTo>
                  <a:lnTo>
                    <a:pt x="604" y="395"/>
                  </a:lnTo>
                  <a:lnTo>
                    <a:pt x="610" y="400"/>
                  </a:lnTo>
                  <a:lnTo>
                    <a:pt x="621" y="395"/>
                  </a:lnTo>
                  <a:lnTo>
                    <a:pt x="645" y="383"/>
                  </a:lnTo>
                  <a:lnTo>
                    <a:pt x="662" y="383"/>
                  </a:lnTo>
                  <a:lnTo>
                    <a:pt x="668" y="383"/>
                  </a:lnTo>
                  <a:lnTo>
                    <a:pt x="668" y="377"/>
                  </a:lnTo>
                  <a:lnTo>
                    <a:pt x="685" y="377"/>
                  </a:lnTo>
                  <a:lnTo>
                    <a:pt x="685" y="371"/>
                  </a:lnTo>
                  <a:lnTo>
                    <a:pt x="685" y="377"/>
                  </a:lnTo>
                  <a:lnTo>
                    <a:pt x="691" y="377"/>
                  </a:lnTo>
                  <a:lnTo>
                    <a:pt x="691" y="383"/>
                  </a:lnTo>
                  <a:lnTo>
                    <a:pt x="714" y="383"/>
                  </a:lnTo>
                  <a:lnTo>
                    <a:pt x="720" y="377"/>
                  </a:lnTo>
                  <a:lnTo>
                    <a:pt x="726" y="371"/>
                  </a:lnTo>
                  <a:lnTo>
                    <a:pt x="732" y="371"/>
                  </a:lnTo>
                  <a:lnTo>
                    <a:pt x="732" y="377"/>
                  </a:lnTo>
                  <a:lnTo>
                    <a:pt x="743" y="383"/>
                  </a:lnTo>
                  <a:lnTo>
                    <a:pt x="755" y="395"/>
                  </a:lnTo>
                  <a:lnTo>
                    <a:pt x="761" y="395"/>
                  </a:lnTo>
                  <a:lnTo>
                    <a:pt x="767" y="395"/>
                  </a:lnTo>
                  <a:lnTo>
                    <a:pt x="767" y="400"/>
                  </a:lnTo>
                  <a:lnTo>
                    <a:pt x="778" y="400"/>
                  </a:lnTo>
                  <a:lnTo>
                    <a:pt x="790" y="412"/>
                  </a:lnTo>
                  <a:lnTo>
                    <a:pt x="790" y="406"/>
                  </a:lnTo>
                  <a:lnTo>
                    <a:pt x="790" y="377"/>
                  </a:lnTo>
                  <a:lnTo>
                    <a:pt x="790" y="371"/>
                  </a:lnTo>
                  <a:lnTo>
                    <a:pt x="790" y="354"/>
                  </a:lnTo>
                  <a:lnTo>
                    <a:pt x="790" y="342"/>
                  </a:lnTo>
                  <a:lnTo>
                    <a:pt x="790" y="337"/>
                  </a:lnTo>
                  <a:lnTo>
                    <a:pt x="790" y="313"/>
                  </a:lnTo>
                  <a:lnTo>
                    <a:pt x="790" y="308"/>
                  </a:lnTo>
                  <a:lnTo>
                    <a:pt x="790" y="290"/>
                  </a:lnTo>
                  <a:lnTo>
                    <a:pt x="790" y="284"/>
                  </a:lnTo>
                  <a:lnTo>
                    <a:pt x="790" y="267"/>
                  </a:lnTo>
                  <a:lnTo>
                    <a:pt x="790" y="261"/>
                  </a:lnTo>
                  <a:lnTo>
                    <a:pt x="790" y="221"/>
                  </a:lnTo>
                  <a:lnTo>
                    <a:pt x="790" y="209"/>
                  </a:lnTo>
                  <a:lnTo>
                    <a:pt x="790" y="203"/>
                  </a:lnTo>
                  <a:lnTo>
                    <a:pt x="790" y="197"/>
                  </a:lnTo>
                  <a:lnTo>
                    <a:pt x="790" y="192"/>
                  </a:lnTo>
                  <a:lnTo>
                    <a:pt x="790" y="180"/>
                  </a:lnTo>
                  <a:lnTo>
                    <a:pt x="790" y="174"/>
                  </a:lnTo>
                  <a:lnTo>
                    <a:pt x="790" y="168"/>
                  </a:lnTo>
                  <a:lnTo>
                    <a:pt x="784" y="163"/>
                  </a:lnTo>
                  <a:lnTo>
                    <a:pt x="784" y="151"/>
                  </a:lnTo>
                  <a:lnTo>
                    <a:pt x="778" y="128"/>
                  </a:lnTo>
                  <a:lnTo>
                    <a:pt x="778" y="12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4" name="Freeform 55"/>
            <p:cNvSpPr>
              <a:spLocks/>
            </p:cNvSpPr>
            <p:nvPr/>
          </p:nvSpPr>
          <p:spPr bwMode="auto">
            <a:xfrm>
              <a:off x="1813" y="2839"/>
              <a:ext cx="627" cy="719"/>
            </a:xfrm>
            <a:custGeom>
              <a:avLst/>
              <a:gdLst>
                <a:gd name="T0" fmla="*/ 17 w 627"/>
                <a:gd name="T1" fmla="*/ 464 h 719"/>
                <a:gd name="T2" fmla="*/ 41 w 627"/>
                <a:gd name="T3" fmla="*/ 435 h 719"/>
                <a:gd name="T4" fmla="*/ 23 w 627"/>
                <a:gd name="T5" fmla="*/ 424 h 719"/>
                <a:gd name="T6" fmla="*/ 41 w 627"/>
                <a:gd name="T7" fmla="*/ 389 h 719"/>
                <a:gd name="T8" fmla="*/ 64 w 627"/>
                <a:gd name="T9" fmla="*/ 331 h 719"/>
                <a:gd name="T10" fmla="*/ 76 w 627"/>
                <a:gd name="T11" fmla="*/ 319 h 719"/>
                <a:gd name="T12" fmla="*/ 105 w 627"/>
                <a:gd name="T13" fmla="*/ 302 h 719"/>
                <a:gd name="T14" fmla="*/ 87 w 627"/>
                <a:gd name="T15" fmla="*/ 279 h 719"/>
                <a:gd name="T16" fmla="*/ 81 w 627"/>
                <a:gd name="T17" fmla="*/ 244 h 719"/>
                <a:gd name="T18" fmla="*/ 81 w 627"/>
                <a:gd name="T19" fmla="*/ 209 h 719"/>
                <a:gd name="T20" fmla="*/ 93 w 627"/>
                <a:gd name="T21" fmla="*/ 128 h 719"/>
                <a:gd name="T22" fmla="*/ 93 w 627"/>
                <a:gd name="T23" fmla="*/ 87 h 719"/>
                <a:gd name="T24" fmla="*/ 139 w 627"/>
                <a:gd name="T25" fmla="*/ 105 h 719"/>
                <a:gd name="T26" fmla="*/ 174 w 627"/>
                <a:gd name="T27" fmla="*/ 18 h 719"/>
                <a:gd name="T28" fmla="*/ 209 w 627"/>
                <a:gd name="T29" fmla="*/ 6 h 719"/>
                <a:gd name="T30" fmla="*/ 284 w 627"/>
                <a:gd name="T31" fmla="*/ 23 h 719"/>
                <a:gd name="T32" fmla="*/ 313 w 627"/>
                <a:gd name="T33" fmla="*/ 29 h 719"/>
                <a:gd name="T34" fmla="*/ 406 w 627"/>
                <a:gd name="T35" fmla="*/ 47 h 719"/>
                <a:gd name="T36" fmla="*/ 430 w 627"/>
                <a:gd name="T37" fmla="*/ 47 h 719"/>
                <a:gd name="T38" fmla="*/ 476 w 627"/>
                <a:gd name="T39" fmla="*/ 58 h 719"/>
                <a:gd name="T40" fmla="*/ 546 w 627"/>
                <a:gd name="T41" fmla="*/ 70 h 719"/>
                <a:gd name="T42" fmla="*/ 586 w 627"/>
                <a:gd name="T43" fmla="*/ 76 h 719"/>
                <a:gd name="T44" fmla="*/ 627 w 627"/>
                <a:gd name="T45" fmla="*/ 110 h 719"/>
                <a:gd name="T46" fmla="*/ 609 w 627"/>
                <a:gd name="T47" fmla="*/ 192 h 719"/>
                <a:gd name="T48" fmla="*/ 604 w 627"/>
                <a:gd name="T49" fmla="*/ 250 h 719"/>
                <a:gd name="T50" fmla="*/ 592 w 627"/>
                <a:gd name="T51" fmla="*/ 331 h 719"/>
                <a:gd name="T52" fmla="*/ 586 w 627"/>
                <a:gd name="T53" fmla="*/ 377 h 719"/>
                <a:gd name="T54" fmla="*/ 575 w 627"/>
                <a:gd name="T55" fmla="*/ 447 h 719"/>
                <a:gd name="T56" fmla="*/ 563 w 627"/>
                <a:gd name="T57" fmla="*/ 516 h 719"/>
                <a:gd name="T58" fmla="*/ 557 w 627"/>
                <a:gd name="T59" fmla="*/ 557 h 719"/>
                <a:gd name="T60" fmla="*/ 551 w 627"/>
                <a:gd name="T61" fmla="*/ 592 h 719"/>
                <a:gd name="T62" fmla="*/ 534 w 627"/>
                <a:gd name="T63" fmla="*/ 696 h 719"/>
                <a:gd name="T64" fmla="*/ 534 w 627"/>
                <a:gd name="T65" fmla="*/ 719 h 719"/>
                <a:gd name="T66" fmla="*/ 337 w 627"/>
                <a:gd name="T67" fmla="*/ 690 h 719"/>
                <a:gd name="T68" fmla="*/ 308 w 627"/>
                <a:gd name="T69" fmla="*/ 673 h 719"/>
                <a:gd name="T70" fmla="*/ 134 w 627"/>
                <a:gd name="T71" fmla="*/ 569 h 719"/>
                <a:gd name="T72" fmla="*/ 0 w 627"/>
                <a:gd name="T73" fmla="*/ 482 h 71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7"/>
                <a:gd name="T112" fmla="*/ 0 h 719"/>
                <a:gd name="T113" fmla="*/ 627 w 627"/>
                <a:gd name="T114" fmla="*/ 719 h 71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7" h="719">
                  <a:moveTo>
                    <a:pt x="0" y="482"/>
                  </a:moveTo>
                  <a:lnTo>
                    <a:pt x="17" y="464"/>
                  </a:lnTo>
                  <a:lnTo>
                    <a:pt x="35" y="464"/>
                  </a:lnTo>
                  <a:lnTo>
                    <a:pt x="41" y="435"/>
                  </a:lnTo>
                  <a:lnTo>
                    <a:pt x="35" y="435"/>
                  </a:lnTo>
                  <a:lnTo>
                    <a:pt x="23" y="424"/>
                  </a:lnTo>
                  <a:lnTo>
                    <a:pt x="35" y="389"/>
                  </a:lnTo>
                  <a:lnTo>
                    <a:pt x="41" y="389"/>
                  </a:lnTo>
                  <a:lnTo>
                    <a:pt x="58" y="360"/>
                  </a:lnTo>
                  <a:lnTo>
                    <a:pt x="64" y="331"/>
                  </a:lnTo>
                  <a:lnTo>
                    <a:pt x="70" y="325"/>
                  </a:lnTo>
                  <a:lnTo>
                    <a:pt x="76" y="319"/>
                  </a:lnTo>
                  <a:lnTo>
                    <a:pt x="93" y="313"/>
                  </a:lnTo>
                  <a:lnTo>
                    <a:pt x="105" y="302"/>
                  </a:lnTo>
                  <a:lnTo>
                    <a:pt x="110" y="302"/>
                  </a:lnTo>
                  <a:lnTo>
                    <a:pt x="87" y="279"/>
                  </a:lnTo>
                  <a:lnTo>
                    <a:pt x="87" y="273"/>
                  </a:lnTo>
                  <a:lnTo>
                    <a:pt x="81" y="244"/>
                  </a:lnTo>
                  <a:lnTo>
                    <a:pt x="76" y="226"/>
                  </a:lnTo>
                  <a:lnTo>
                    <a:pt x="81" y="209"/>
                  </a:lnTo>
                  <a:lnTo>
                    <a:pt x="87" y="186"/>
                  </a:lnTo>
                  <a:lnTo>
                    <a:pt x="93" y="128"/>
                  </a:lnTo>
                  <a:lnTo>
                    <a:pt x="99" y="110"/>
                  </a:lnTo>
                  <a:lnTo>
                    <a:pt x="93" y="87"/>
                  </a:lnTo>
                  <a:lnTo>
                    <a:pt x="116" y="87"/>
                  </a:lnTo>
                  <a:lnTo>
                    <a:pt x="139" y="105"/>
                  </a:lnTo>
                  <a:lnTo>
                    <a:pt x="157" y="87"/>
                  </a:lnTo>
                  <a:lnTo>
                    <a:pt x="174" y="18"/>
                  </a:lnTo>
                  <a:lnTo>
                    <a:pt x="180" y="0"/>
                  </a:lnTo>
                  <a:lnTo>
                    <a:pt x="209" y="6"/>
                  </a:lnTo>
                  <a:lnTo>
                    <a:pt x="238" y="12"/>
                  </a:lnTo>
                  <a:lnTo>
                    <a:pt x="284" y="23"/>
                  </a:lnTo>
                  <a:lnTo>
                    <a:pt x="296" y="23"/>
                  </a:lnTo>
                  <a:lnTo>
                    <a:pt x="313" y="29"/>
                  </a:lnTo>
                  <a:lnTo>
                    <a:pt x="383" y="41"/>
                  </a:lnTo>
                  <a:lnTo>
                    <a:pt x="406" y="47"/>
                  </a:lnTo>
                  <a:lnTo>
                    <a:pt x="418" y="47"/>
                  </a:lnTo>
                  <a:lnTo>
                    <a:pt x="430" y="47"/>
                  </a:lnTo>
                  <a:lnTo>
                    <a:pt x="453" y="52"/>
                  </a:lnTo>
                  <a:lnTo>
                    <a:pt x="476" y="58"/>
                  </a:lnTo>
                  <a:lnTo>
                    <a:pt x="499" y="58"/>
                  </a:lnTo>
                  <a:lnTo>
                    <a:pt x="546" y="70"/>
                  </a:lnTo>
                  <a:lnTo>
                    <a:pt x="575" y="76"/>
                  </a:lnTo>
                  <a:lnTo>
                    <a:pt x="586" y="76"/>
                  </a:lnTo>
                  <a:lnTo>
                    <a:pt x="627" y="81"/>
                  </a:lnTo>
                  <a:lnTo>
                    <a:pt x="627" y="110"/>
                  </a:lnTo>
                  <a:lnTo>
                    <a:pt x="621" y="139"/>
                  </a:lnTo>
                  <a:lnTo>
                    <a:pt x="609" y="192"/>
                  </a:lnTo>
                  <a:lnTo>
                    <a:pt x="604" y="244"/>
                  </a:lnTo>
                  <a:lnTo>
                    <a:pt x="604" y="250"/>
                  </a:lnTo>
                  <a:lnTo>
                    <a:pt x="592" y="313"/>
                  </a:lnTo>
                  <a:lnTo>
                    <a:pt x="592" y="331"/>
                  </a:lnTo>
                  <a:lnTo>
                    <a:pt x="586" y="354"/>
                  </a:lnTo>
                  <a:lnTo>
                    <a:pt x="586" y="377"/>
                  </a:lnTo>
                  <a:lnTo>
                    <a:pt x="580" y="418"/>
                  </a:lnTo>
                  <a:lnTo>
                    <a:pt x="575" y="447"/>
                  </a:lnTo>
                  <a:lnTo>
                    <a:pt x="563" y="511"/>
                  </a:lnTo>
                  <a:lnTo>
                    <a:pt x="563" y="516"/>
                  </a:lnTo>
                  <a:lnTo>
                    <a:pt x="563" y="534"/>
                  </a:lnTo>
                  <a:lnTo>
                    <a:pt x="557" y="557"/>
                  </a:lnTo>
                  <a:lnTo>
                    <a:pt x="557" y="563"/>
                  </a:lnTo>
                  <a:lnTo>
                    <a:pt x="551" y="592"/>
                  </a:lnTo>
                  <a:lnTo>
                    <a:pt x="551" y="598"/>
                  </a:lnTo>
                  <a:lnTo>
                    <a:pt x="534" y="696"/>
                  </a:lnTo>
                  <a:lnTo>
                    <a:pt x="534" y="702"/>
                  </a:lnTo>
                  <a:lnTo>
                    <a:pt x="534" y="719"/>
                  </a:lnTo>
                  <a:lnTo>
                    <a:pt x="395" y="702"/>
                  </a:lnTo>
                  <a:lnTo>
                    <a:pt x="337" y="690"/>
                  </a:lnTo>
                  <a:lnTo>
                    <a:pt x="313" y="679"/>
                  </a:lnTo>
                  <a:lnTo>
                    <a:pt x="308" y="673"/>
                  </a:lnTo>
                  <a:lnTo>
                    <a:pt x="296" y="667"/>
                  </a:lnTo>
                  <a:lnTo>
                    <a:pt x="134" y="569"/>
                  </a:lnTo>
                  <a:lnTo>
                    <a:pt x="12" y="499"/>
                  </a:lnTo>
                  <a:lnTo>
                    <a:pt x="0" y="48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5" name="Freeform 56"/>
            <p:cNvSpPr>
              <a:spLocks/>
            </p:cNvSpPr>
            <p:nvPr/>
          </p:nvSpPr>
          <p:spPr bwMode="auto">
            <a:xfrm>
              <a:off x="1198" y="2056"/>
              <a:ext cx="725" cy="1247"/>
            </a:xfrm>
            <a:custGeom>
              <a:avLst/>
              <a:gdLst>
                <a:gd name="T0" fmla="*/ 650 w 725"/>
                <a:gd name="T1" fmla="*/ 1247 h 1247"/>
                <a:gd name="T2" fmla="*/ 638 w 725"/>
                <a:gd name="T3" fmla="*/ 1207 h 1247"/>
                <a:gd name="T4" fmla="*/ 673 w 725"/>
                <a:gd name="T5" fmla="*/ 1143 h 1247"/>
                <a:gd name="T6" fmla="*/ 691 w 725"/>
                <a:gd name="T7" fmla="*/ 1102 h 1247"/>
                <a:gd name="T8" fmla="*/ 725 w 725"/>
                <a:gd name="T9" fmla="*/ 1085 h 1247"/>
                <a:gd name="T10" fmla="*/ 696 w 725"/>
                <a:gd name="T11" fmla="*/ 1027 h 1247"/>
                <a:gd name="T12" fmla="*/ 673 w 725"/>
                <a:gd name="T13" fmla="*/ 963 h 1247"/>
                <a:gd name="T14" fmla="*/ 615 w 725"/>
                <a:gd name="T15" fmla="*/ 870 h 1247"/>
                <a:gd name="T16" fmla="*/ 557 w 725"/>
                <a:gd name="T17" fmla="*/ 789 h 1247"/>
                <a:gd name="T18" fmla="*/ 487 w 725"/>
                <a:gd name="T19" fmla="*/ 679 h 1247"/>
                <a:gd name="T20" fmla="*/ 458 w 725"/>
                <a:gd name="T21" fmla="*/ 632 h 1247"/>
                <a:gd name="T22" fmla="*/ 400 w 725"/>
                <a:gd name="T23" fmla="*/ 540 h 1247"/>
                <a:gd name="T24" fmla="*/ 377 w 725"/>
                <a:gd name="T25" fmla="*/ 505 h 1247"/>
                <a:gd name="T26" fmla="*/ 354 w 725"/>
                <a:gd name="T27" fmla="*/ 476 h 1247"/>
                <a:gd name="T28" fmla="*/ 336 w 725"/>
                <a:gd name="T29" fmla="*/ 441 h 1247"/>
                <a:gd name="T30" fmla="*/ 331 w 725"/>
                <a:gd name="T31" fmla="*/ 424 h 1247"/>
                <a:gd name="T32" fmla="*/ 336 w 725"/>
                <a:gd name="T33" fmla="*/ 400 h 1247"/>
                <a:gd name="T34" fmla="*/ 342 w 725"/>
                <a:gd name="T35" fmla="*/ 377 h 1247"/>
                <a:gd name="T36" fmla="*/ 360 w 725"/>
                <a:gd name="T37" fmla="*/ 331 h 1247"/>
                <a:gd name="T38" fmla="*/ 400 w 725"/>
                <a:gd name="T39" fmla="*/ 174 h 1247"/>
                <a:gd name="T40" fmla="*/ 406 w 725"/>
                <a:gd name="T41" fmla="*/ 99 h 1247"/>
                <a:gd name="T42" fmla="*/ 331 w 725"/>
                <a:gd name="T43" fmla="*/ 81 h 1247"/>
                <a:gd name="T44" fmla="*/ 255 w 725"/>
                <a:gd name="T45" fmla="*/ 58 h 1247"/>
                <a:gd name="T46" fmla="*/ 174 w 725"/>
                <a:gd name="T47" fmla="*/ 29 h 1247"/>
                <a:gd name="T48" fmla="*/ 151 w 725"/>
                <a:gd name="T49" fmla="*/ 23 h 1247"/>
                <a:gd name="T50" fmla="*/ 128 w 725"/>
                <a:gd name="T51" fmla="*/ 18 h 1247"/>
                <a:gd name="T52" fmla="*/ 93 w 725"/>
                <a:gd name="T53" fmla="*/ 6 h 1247"/>
                <a:gd name="T54" fmla="*/ 69 w 725"/>
                <a:gd name="T55" fmla="*/ 23 h 1247"/>
                <a:gd name="T56" fmla="*/ 69 w 725"/>
                <a:gd name="T57" fmla="*/ 70 h 1247"/>
                <a:gd name="T58" fmla="*/ 52 w 725"/>
                <a:gd name="T59" fmla="*/ 105 h 1247"/>
                <a:gd name="T60" fmla="*/ 11 w 725"/>
                <a:gd name="T61" fmla="*/ 157 h 1247"/>
                <a:gd name="T62" fmla="*/ 17 w 725"/>
                <a:gd name="T63" fmla="*/ 203 h 1247"/>
                <a:gd name="T64" fmla="*/ 29 w 725"/>
                <a:gd name="T65" fmla="*/ 267 h 1247"/>
                <a:gd name="T66" fmla="*/ 17 w 725"/>
                <a:gd name="T67" fmla="*/ 366 h 1247"/>
                <a:gd name="T68" fmla="*/ 40 w 725"/>
                <a:gd name="T69" fmla="*/ 429 h 1247"/>
                <a:gd name="T70" fmla="*/ 46 w 725"/>
                <a:gd name="T71" fmla="*/ 441 h 1247"/>
                <a:gd name="T72" fmla="*/ 46 w 725"/>
                <a:gd name="T73" fmla="*/ 464 h 1247"/>
                <a:gd name="T74" fmla="*/ 64 w 725"/>
                <a:gd name="T75" fmla="*/ 487 h 1247"/>
                <a:gd name="T76" fmla="*/ 75 w 725"/>
                <a:gd name="T77" fmla="*/ 505 h 1247"/>
                <a:gd name="T78" fmla="*/ 64 w 725"/>
                <a:gd name="T79" fmla="*/ 534 h 1247"/>
                <a:gd name="T80" fmla="*/ 64 w 725"/>
                <a:gd name="T81" fmla="*/ 580 h 1247"/>
                <a:gd name="T82" fmla="*/ 87 w 725"/>
                <a:gd name="T83" fmla="*/ 603 h 1247"/>
                <a:gd name="T84" fmla="*/ 93 w 725"/>
                <a:gd name="T85" fmla="*/ 644 h 1247"/>
                <a:gd name="T86" fmla="*/ 75 w 725"/>
                <a:gd name="T87" fmla="*/ 650 h 1247"/>
                <a:gd name="T88" fmla="*/ 99 w 725"/>
                <a:gd name="T89" fmla="*/ 725 h 1247"/>
                <a:gd name="T90" fmla="*/ 110 w 725"/>
                <a:gd name="T91" fmla="*/ 760 h 1247"/>
                <a:gd name="T92" fmla="*/ 139 w 725"/>
                <a:gd name="T93" fmla="*/ 801 h 1247"/>
                <a:gd name="T94" fmla="*/ 139 w 725"/>
                <a:gd name="T95" fmla="*/ 835 h 1247"/>
                <a:gd name="T96" fmla="*/ 145 w 725"/>
                <a:gd name="T97" fmla="*/ 870 h 1247"/>
                <a:gd name="T98" fmla="*/ 186 w 725"/>
                <a:gd name="T99" fmla="*/ 934 h 1247"/>
                <a:gd name="T100" fmla="*/ 232 w 725"/>
                <a:gd name="T101" fmla="*/ 957 h 1247"/>
                <a:gd name="T102" fmla="*/ 273 w 725"/>
                <a:gd name="T103" fmla="*/ 1004 h 1247"/>
                <a:gd name="T104" fmla="*/ 313 w 725"/>
                <a:gd name="T105" fmla="*/ 1033 h 1247"/>
                <a:gd name="T106" fmla="*/ 336 w 725"/>
                <a:gd name="T107" fmla="*/ 1056 h 1247"/>
                <a:gd name="T108" fmla="*/ 377 w 725"/>
                <a:gd name="T109" fmla="*/ 1108 h 1247"/>
                <a:gd name="T110" fmla="*/ 389 w 725"/>
                <a:gd name="T111" fmla="*/ 1189 h 1247"/>
                <a:gd name="T112" fmla="*/ 493 w 725"/>
                <a:gd name="T113" fmla="*/ 1230 h 12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5"/>
                <a:gd name="T172" fmla="*/ 0 h 1247"/>
                <a:gd name="T173" fmla="*/ 725 w 725"/>
                <a:gd name="T174" fmla="*/ 1247 h 12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5" h="1247">
                  <a:moveTo>
                    <a:pt x="627" y="1247"/>
                  </a:moveTo>
                  <a:lnTo>
                    <a:pt x="632" y="1247"/>
                  </a:lnTo>
                  <a:lnTo>
                    <a:pt x="650" y="1247"/>
                  </a:lnTo>
                  <a:lnTo>
                    <a:pt x="656" y="1218"/>
                  </a:lnTo>
                  <a:lnTo>
                    <a:pt x="650" y="1218"/>
                  </a:lnTo>
                  <a:lnTo>
                    <a:pt x="638" y="1207"/>
                  </a:lnTo>
                  <a:lnTo>
                    <a:pt x="650" y="1172"/>
                  </a:lnTo>
                  <a:lnTo>
                    <a:pt x="656" y="1172"/>
                  </a:lnTo>
                  <a:lnTo>
                    <a:pt x="673" y="1143"/>
                  </a:lnTo>
                  <a:lnTo>
                    <a:pt x="679" y="1114"/>
                  </a:lnTo>
                  <a:lnTo>
                    <a:pt x="685" y="1108"/>
                  </a:lnTo>
                  <a:lnTo>
                    <a:pt x="691" y="1102"/>
                  </a:lnTo>
                  <a:lnTo>
                    <a:pt x="708" y="1096"/>
                  </a:lnTo>
                  <a:lnTo>
                    <a:pt x="720" y="1085"/>
                  </a:lnTo>
                  <a:lnTo>
                    <a:pt x="725" y="1085"/>
                  </a:lnTo>
                  <a:lnTo>
                    <a:pt x="702" y="1062"/>
                  </a:lnTo>
                  <a:lnTo>
                    <a:pt x="702" y="1056"/>
                  </a:lnTo>
                  <a:lnTo>
                    <a:pt x="696" y="1027"/>
                  </a:lnTo>
                  <a:lnTo>
                    <a:pt x="691" y="1009"/>
                  </a:lnTo>
                  <a:lnTo>
                    <a:pt x="696" y="992"/>
                  </a:lnTo>
                  <a:lnTo>
                    <a:pt x="673" y="963"/>
                  </a:lnTo>
                  <a:lnTo>
                    <a:pt x="650" y="928"/>
                  </a:lnTo>
                  <a:lnTo>
                    <a:pt x="621" y="888"/>
                  </a:lnTo>
                  <a:lnTo>
                    <a:pt x="615" y="870"/>
                  </a:lnTo>
                  <a:lnTo>
                    <a:pt x="603" y="859"/>
                  </a:lnTo>
                  <a:lnTo>
                    <a:pt x="580" y="818"/>
                  </a:lnTo>
                  <a:lnTo>
                    <a:pt x="557" y="789"/>
                  </a:lnTo>
                  <a:lnTo>
                    <a:pt x="516" y="719"/>
                  </a:lnTo>
                  <a:lnTo>
                    <a:pt x="487" y="685"/>
                  </a:lnTo>
                  <a:lnTo>
                    <a:pt x="487" y="679"/>
                  </a:lnTo>
                  <a:lnTo>
                    <a:pt x="470" y="656"/>
                  </a:lnTo>
                  <a:lnTo>
                    <a:pt x="464" y="650"/>
                  </a:lnTo>
                  <a:lnTo>
                    <a:pt x="458" y="632"/>
                  </a:lnTo>
                  <a:lnTo>
                    <a:pt x="429" y="592"/>
                  </a:lnTo>
                  <a:lnTo>
                    <a:pt x="406" y="557"/>
                  </a:lnTo>
                  <a:lnTo>
                    <a:pt x="400" y="540"/>
                  </a:lnTo>
                  <a:lnTo>
                    <a:pt x="383" y="516"/>
                  </a:lnTo>
                  <a:lnTo>
                    <a:pt x="377" y="511"/>
                  </a:lnTo>
                  <a:lnTo>
                    <a:pt x="377" y="505"/>
                  </a:lnTo>
                  <a:lnTo>
                    <a:pt x="371" y="499"/>
                  </a:lnTo>
                  <a:lnTo>
                    <a:pt x="360" y="482"/>
                  </a:lnTo>
                  <a:lnTo>
                    <a:pt x="354" y="476"/>
                  </a:lnTo>
                  <a:lnTo>
                    <a:pt x="354" y="470"/>
                  </a:lnTo>
                  <a:lnTo>
                    <a:pt x="336" y="447"/>
                  </a:lnTo>
                  <a:lnTo>
                    <a:pt x="336" y="441"/>
                  </a:lnTo>
                  <a:lnTo>
                    <a:pt x="331" y="441"/>
                  </a:lnTo>
                  <a:lnTo>
                    <a:pt x="325" y="435"/>
                  </a:lnTo>
                  <a:lnTo>
                    <a:pt x="331" y="424"/>
                  </a:lnTo>
                  <a:lnTo>
                    <a:pt x="331" y="418"/>
                  </a:lnTo>
                  <a:lnTo>
                    <a:pt x="336" y="406"/>
                  </a:lnTo>
                  <a:lnTo>
                    <a:pt x="336" y="400"/>
                  </a:lnTo>
                  <a:lnTo>
                    <a:pt x="336" y="395"/>
                  </a:lnTo>
                  <a:lnTo>
                    <a:pt x="342" y="383"/>
                  </a:lnTo>
                  <a:lnTo>
                    <a:pt x="342" y="377"/>
                  </a:lnTo>
                  <a:lnTo>
                    <a:pt x="348" y="366"/>
                  </a:lnTo>
                  <a:lnTo>
                    <a:pt x="348" y="354"/>
                  </a:lnTo>
                  <a:lnTo>
                    <a:pt x="360" y="331"/>
                  </a:lnTo>
                  <a:lnTo>
                    <a:pt x="377" y="267"/>
                  </a:lnTo>
                  <a:lnTo>
                    <a:pt x="395" y="197"/>
                  </a:lnTo>
                  <a:lnTo>
                    <a:pt x="400" y="174"/>
                  </a:lnTo>
                  <a:lnTo>
                    <a:pt x="412" y="128"/>
                  </a:lnTo>
                  <a:lnTo>
                    <a:pt x="418" y="105"/>
                  </a:lnTo>
                  <a:lnTo>
                    <a:pt x="406" y="99"/>
                  </a:lnTo>
                  <a:lnTo>
                    <a:pt x="400" y="99"/>
                  </a:lnTo>
                  <a:lnTo>
                    <a:pt x="348" y="87"/>
                  </a:lnTo>
                  <a:lnTo>
                    <a:pt x="331" y="81"/>
                  </a:lnTo>
                  <a:lnTo>
                    <a:pt x="313" y="76"/>
                  </a:lnTo>
                  <a:lnTo>
                    <a:pt x="302" y="70"/>
                  </a:lnTo>
                  <a:lnTo>
                    <a:pt x="255" y="58"/>
                  </a:lnTo>
                  <a:lnTo>
                    <a:pt x="244" y="52"/>
                  </a:lnTo>
                  <a:lnTo>
                    <a:pt x="232" y="47"/>
                  </a:lnTo>
                  <a:lnTo>
                    <a:pt x="174" y="29"/>
                  </a:lnTo>
                  <a:lnTo>
                    <a:pt x="162" y="29"/>
                  </a:lnTo>
                  <a:lnTo>
                    <a:pt x="157" y="23"/>
                  </a:lnTo>
                  <a:lnTo>
                    <a:pt x="151" y="23"/>
                  </a:lnTo>
                  <a:lnTo>
                    <a:pt x="139" y="18"/>
                  </a:lnTo>
                  <a:lnTo>
                    <a:pt x="133" y="18"/>
                  </a:lnTo>
                  <a:lnTo>
                    <a:pt x="128" y="18"/>
                  </a:lnTo>
                  <a:lnTo>
                    <a:pt x="122" y="18"/>
                  </a:lnTo>
                  <a:lnTo>
                    <a:pt x="110" y="12"/>
                  </a:lnTo>
                  <a:lnTo>
                    <a:pt x="93" y="6"/>
                  </a:lnTo>
                  <a:lnTo>
                    <a:pt x="87" y="0"/>
                  </a:lnTo>
                  <a:lnTo>
                    <a:pt x="81" y="0"/>
                  </a:lnTo>
                  <a:lnTo>
                    <a:pt x="69" y="23"/>
                  </a:lnTo>
                  <a:lnTo>
                    <a:pt x="75" y="35"/>
                  </a:lnTo>
                  <a:lnTo>
                    <a:pt x="69" y="64"/>
                  </a:lnTo>
                  <a:lnTo>
                    <a:pt x="69" y="70"/>
                  </a:lnTo>
                  <a:lnTo>
                    <a:pt x="52" y="93"/>
                  </a:lnTo>
                  <a:lnTo>
                    <a:pt x="46" y="105"/>
                  </a:lnTo>
                  <a:lnTo>
                    <a:pt x="52" y="105"/>
                  </a:lnTo>
                  <a:lnTo>
                    <a:pt x="52" y="110"/>
                  </a:lnTo>
                  <a:lnTo>
                    <a:pt x="40" y="122"/>
                  </a:lnTo>
                  <a:lnTo>
                    <a:pt x="11" y="157"/>
                  </a:lnTo>
                  <a:lnTo>
                    <a:pt x="6" y="168"/>
                  </a:lnTo>
                  <a:lnTo>
                    <a:pt x="0" y="180"/>
                  </a:lnTo>
                  <a:lnTo>
                    <a:pt x="17" y="203"/>
                  </a:lnTo>
                  <a:lnTo>
                    <a:pt x="23" y="221"/>
                  </a:lnTo>
                  <a:lnTo>
                    <a:pt x="29" y="255"/>
                  </a:lnTo>
                  <a:lnTo>
                    <a:pt x="29" y="267"/>
                  </a:lnTo>
                  <a:lnTo>
                    <a:pt x="17" y="296"/>
                  </a:lnTo>
                  <a:lnTo>
                    <a:pt x="11" y="354"/>
                  </a:lnTo>
                  <a:lnTo>
                    <a:pt x="17" y="366"/>
                  </a:lnTo>
                  <a:lnTo>
                    <a:pt x="35" y="400"/>
                  </a:lnTo>
                  <a:lnTo>
                    <a:pt x="40" y="418"/>
                  </a:lnTo>
                  <a:lnTo>
                    <a:pt x="40" y="429"/>
                  </a:lnTo>
                  <a:lnTo>
                    <a:pt x="46" y="435"/>
                  </a:lnTo>
                  <a:lnTo>
                    <a:pt x="52" y="441"/>
                  </a:lnTo>
                  <a:lnTo>
                    <a:pt x="46" y="441"/>
                  </a:lnTo>
                  <a:lnTo>
                    <a:pt x="46" y="453"/>
                  </a:lnTo>
                  <a:lnTo>
                    <a:pt x="40" y="470"/>
                  </a:lnTo>
                  <a:lnTo>
                    <a:pt x="46" y="464"/>
                  </a:lnTo>
                  <a:lnTo>
                    <a:pt x="52" y="464"/>
                  </a:lnTo>
                  <a:lnTo>
                    <a:pt x="58" y="482"/>
                  </a:lnTo>
                  <a:lnTo>
                    <a:pt x="64" y="487"/>
                  </a:lnTo>
                  <a:lnTo>
                    <a:pt x="69" y="499"/>
                  </a:lnTo>
                  <a:lnTo>
                    <a:pt x="75" y="499"/>
                  </a:lnTo>
                  <a:lnTo>
                    <a:pt x="75" y="505"/>
                  </a:lnTo>
                  <a:lnTo>
                    <a:pt x="69" y="505"/>
                  </a:lnTo>
                  <a:lnTo>
                    <a:pt x="69" y="511"/>
                  </a:lnTo>
                  <a:lnTo>
                    <a:pt x="64" y="534"/>
                  </a:lnTo>
                  <a:lnTo>
                    <a:pt x="69" y="551"/>
                  </a:lnTo>
                  <a:lnTo>
                    <a:pt x="64" y="563"/>
                  </a:lnTo>
                  <a:lnTo>
                    <a:pt x="64" y="580"/>
                  </a:lnTo>
                  <a:lnTo>
                    <a:pt x="69" y="580"/>
                  </a:lnTo>
                  <a:lnTo>
                    <a:pt x="75" y="598"/>
                  </a:lnTo>
                  <a:lnTo>
                    <a:pt x="87" y="603"/>
                  </a:lnTo>
                  <a:lnTo>
                    <a:pt x="99" y="609"/>
                  </a:lnTo>
                  <a:lnTo>
                    <a:pt x="104" y="621"/>
                  </a:lnTo>
                  <a:lnTo>
                    <a:pt x="93" y="644"/>
                  </a:lnTo>
                  <a:lnTo>
                    <a:pt x="87" y="650"/>
                  </a:lnTo>
                  <a:lnTo>
                    <a:pt x="87" y="644"/>
                  </a:lnTo>
                  <a:lnTo>
                    <a:pt x="75" y="650"/>
                  </a:lnTo>
                  <a:lnTo>
                    <a:pt x="81" y="685"/>
                  </a:lnTo>
                  <a:lnTo>
                    <a:pt x="87" y="696"/>
                  </a:lnTo>
                  <a:lnTo>
                    <a:pt x="99" y="725"/>
                  </a:lnTo>
                  <a:lnTo>
                    <a:pt x="99" y="737"/>
                  </a:lnTo>
                  <a:lnTo>
                    <a:pt x="110" y="748"/>
                  </a:lnTo>
                  <a:lnTo>
                    <a:pt x="110" y="760"/>
                  </a:lnTo>
                  <a:lnTo>
                    <a:pt x="122" y="772"/>
                  </a:lnTo>
                  <a:lnTo>
                    <a:pt x="128" y="789"/>
                  </a:lnTo>
                  <a:lnTo>
                    <a:pt x="139" y="801"/>
                  </a:lnTo>
                  <a:lnTo>
                    <a:pt x="139" y="806"/>
                  </a:lnTo>
                  <a:lnTo>
                    <a:pt x="133" y="824"/>
                  </a:lnTo>
                  <a:lnTo>
                    <a:pt x="139" y="835"/>
                  </a:lnTo>
                  <a:lnTo>
                    <a:pt x="151" y="841"/>
                  </a:lnTo>
                  <a:lnTo>
                    <a:pt x="145" y="859"/>
                  </a:lnTo>
                  <a:lnTo>
                    <a:pt x="145" y="870"/>
                  </a:lnTo>
                  <a:lnTo>
                    <a:pt x="133" y="905"/>
                  </a:lnTo>
                  <a:lnTo>
                    <a:pt x="151" y="922"/>
                  </a:lnTo>
                  <a:lnTo>
                    <a:pt x="186" y="934"/>
                  </a:lnTo>
                  <a:lnTo>
                    <a:pt x="197" y="940"/>
                  </a:lnTo>
                  <a:lnTo>
                    <a:pt x="220" y="946"/>
                  </a:lnTo>
                  <a:lnTo>
                    <a:pt x="232" y="957"/>
                  </a:lnTo>
                  <a:lnTo>
                    <a:pt x="249" y="975"/>
                  </a:lnTo>
                  <a:lnTo>
                    <a:pt x="255" y="992"/>
                  </a:lnTo>
                  <a:lnTo>
                    <a:pt x="273" y="1004"/>
                  </a:lnTo>
                  <a:lnTo>
                    <a:pt x="302" y="1015"/>
                  </a:lnTo>
                  <a:lnTo>
                    <a:pt x="313" y="1021"/>
                  </a:lnTo>
                  <a:lnTo>
                    <a:pt x="313" y="1033"/>
                  </a:lnTo>
                  <a:lnTo>
                    <a:pt x="313" y="1050"/>
                  </a:lnTo>
                  <a:lnTo>
                    <a:pt x="325" y="1056"/>
                  </a:lnTo>
                  <a:lnTo>
                    <a:pt x="336" y="1056"/>
                  </a:lnTo>
                  <a:lnTo>
                    <a:pt x="348" y="1073"/>
                  </a:lnTo>
                  <a:lnTo>
                    <a:pt x="354" y="1079"/>
                  </a:lnTo>
                  <a:lnTo>
                    <a:pt x="377" y="1108"/>
                  </a:lnTo>
                  <a:lnTo>
                    <a:pt x="383" y="1120"/>
                  </a:lnTo>
                  <a:lnTo>
                    <a:pt x="395" y="1143"/>
                  </a:lnTo>
                  <a:lnTo>
                    <a:pt x="389" y="1189"/>
                  </a:lnTo>
                  <a:lnTo>
                    <a:pt x="400" y="1207"/>
                  </a:lnTo>
                  <a:lnTo>
                    <a:pt x="395" y="1218"/>
                  </a:lnTo>
                  <a:lnTo>
                    <a:pt x="493" y="1230"/>
                  </a:lnTo>
                  <a:lnTo>
                    <a:pt x="627" y="1247"/>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6" name="Freeform 57"/>
            <p:cNvSpPr>
              <a:spLocks/>
            </p:cNvSpPr>
            <p:nvPr/>
          </p:nvSpPr>
          <p:spPr bwMode="auto">
            <a:xfrm>
              <a:off x="1378" y="3031"/>
              <a:ext cx="35" cy="17"/>
            </a:xfrm>
            <a:custGeom>
              <a:avLst/>
              <a:gdLst>
                <a:gd name="T0" fmla="*/ 0 w 35"/>
                <a:gd name="T1" fmla="*/ 0 h 17"/>
                <a:gd name="T2" fmla="*/ 29 w 35"/>
                <a:gd name="T3" fmla="*/ 17 h 17"/>
                <a:gd name="T4" fmla="*/ 35 w 35"/>
                <a:gd name="T5" fmla="*/ 11 h 17"/>
                <a:gd name="T6" fmla="*/ 35 w 35"/>
                <a:gd name="T7" fmla="*/ 17 h 17"/>
                <a:gd name="T8" fmla="*/ 29 w 35"/>
                <a:gd name="T9" fmla="*/ 17 h 17"/>
                <a:gd name="T10" fmla="*/ 6 w 35"/>
                <a:gd name="T11" fmla="*/ 17 h 17"/>
                <a:gd name="T12" fmla="*/ 0 w 35"/>
                <a:gd name="T13" fmla="*/ 0 h 17"/>
                <a:gd name="T14" fmla="*/ 0 60000 65536"/>
                <a:gd name="T15" fmla="*/ 0 60000 65536"/>
                <a:gd name="T16" fmla="*/ 0 60000 65536"/>
                <a:gd name="T17" fmla="*/ 0 60000 65536"/>
                <a:gd name="T18" fmla="*/ 0 60000 65536"/>
                <a:gd name="T19" fmla="*/ 0 60000 65536"/>
                <a:gd name="T20" fmla="*/ 0 60000 65536"/>
                <a:gd name="T21" fmla="*/ 0 w 35"/>
                <a:gd name="T22" fmla="*/ 0 h 17"/>
                <a:gd name="T23" fmla="*/ 35 w 3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17">
                  <a:moveTo>
                    <a:pt x="0" y="0"/>
                  </a:moveTo>
                  <a:lnTo>
                    <a:pt x="29" y="17"/>
                  </a:lnTo>
                  <a:lnTo>
                    <a:pt x="35" y="11"/>
                  </a:lnTo>
                  <a:lnTo>
                    <a:pt x="35" y="17"/>
                  </a:lnTo>
                  <a:lnTo>
                    <a:pt x="29" y="17"/>
                  </a:lnTo>
                  <a:lnTo>
                    <a:pt x="6" y="17"/>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7" name="Freeform 58"/>
            <p:cNvSpPr>
              <a:spLocks/>
            </p:cNvSpPr>
            <p:nvPr/>
          </p:nvSpPr>
          <p:spPr bwMode="auto">
            <a:xfrm>
              <a:off x="1349" y="3031"/>
              <a:ext cx="23" cy="17"/>
            </a:xfrm>
            <a:custGeom>
              <a:avLst/>
              <a:gdLst>
                <a:gd name="T0" fmla="*/ 0 w 23"/>
                <a:gd name="T1" fmla="*/ 5 h 17"/>
                <a:gd name="T2" fmla="*/ 6 w 23"/>
                <a:gd name="T3" fmla="*/ 11 h 17"/>
                <a:gd name="T4" fmla="*/ 23 w 23"/>
                <a:gd name="T5" fmla="*/ 17 h 17"/>
                <a:gd name="T6" fmla="*/ 17 w 23"/>
                <a:gd name="T7" fmla="*/ 5 h 17"/>
                <a:gd name="T8" fmla="*/ 17 w 23"/>
                <a:gd name="T9" fmla="*/ 0 h 17"/>
                <a:gd name="T10" fmla="*/ 0 w 23"/>
                <a:gd name="T11" fmla="*/ 5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0" y="5"/>
                  </a:moveTo>
                  <a:lnTo>
                    <a:pt x="6" y="11"/>
                  </a:lnTo>
                  <a:lnTo>
                    <a:pt x="23" y="17"/>
                  </a:lnTo>
                  <a:lnTo>
                    <a:pt x="17" y="5"/>
                  </a:lnTo>
                  <a:lnTo>
                    <a:pt x="17" y="0"/>
                  </a:lnTo>
                  <a:lnTo>
                    <a:pt x="0" y="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8" name="Freeform 59"/>
            <p:cNvSpPr>
              <a:spLocks/>
            </p:cNvSpPr>
            <p:nvPr/>
          </p:nvSpPr>
          <p:spPr bwMode="auto">
            <a:xfrm>
              <a:off x="1488" y="3135"/>
              <a:ext cx="17" cy="17"/>
            </a:xfrm>
            <a:custGeom>
              <a:avLst/>
              <a:gdLst>
                <a:gd name="T0" fmla="*/ 0 w 17"/>
                <a:gd name="T1" fmla="*/ 0 h 17"/>
                <a:gd name="T2" fmla="*/ 6 w 17"/>
                <a:gd name="T3" fmla="*/ 6 h 17"/>
                <a:gd name="T4" fmla="*/ 6 w 17"/>
                <a:gd name="T5" fmla="*/ 17 h 17"/>
                <a:gd name="T6" fmla="*/ 17 w 17"/>
                <a:gd name="T7" fmla="*/ 17 h 17"/>
                <a:gd name="T8" fmla="*/ 17 w 17"/>
                <a:gd name="T9" fmla="*/ 12 h 17"/>
                <a:gd name="T10" fmla="*/ 0 w 17"/>
                <a:gd name="T11" fmla="*/ 0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0"/>
                  </a:moveTo>
                  <a:lnTo>
                    <a:pt x="6" y="6"/>
                  </a:lnTo>
                  <a:lnTo>
                    <a:pt x="6" y="17"/>
                  </a:lnTo>
                  <a:lnTo>
                    <a:pt x="17" y="17"/>
                  </a:lnTo>
                  <a:lnTo>
                    <a:pt x="17" y="12"/>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69" name="Freeform 60"/>
            <p:cNvSpPr>
              <a:spLocks/>
            </p:cNvSpPr>
            <p:nvPr/>
          </p:nvSpPr>
          <p:spPr bwMode="auto">
            <a:xfrm>
              <a:off x="1471" y="3181"/>
              <a:ext cx="17" cy="29"/>
            </a:xfrm>
            <a:custGeom>
              <a:avLst/>
              <a:gdLst>
                <a:gd name="T0" fmla="*/ 0 w 17"/>
                <a:gd name="T1" fmla="*/ 0 h 29"/>
                <a:gd name="T2" fmla="*/ 5 w 17"/>
                <a:gd name="T3" fmla="*/ 24 h 29"/>
                <a:gd name="T4" fmla="*/ 17 w 17"/>
                <a:gd name="T5" fmla="*/ 29 h 29"/>
                <a:gd name="T6" fmla="*/ 0 w 17"/>
                <a:gd name="T7" fmla="*/ 0 h 29"/>
                <a:gd name="T8" fmla="*/ 0 60000 65536"/>
                <a:gd name="T9" fmla="*/ 0 60000 65536"/>
                <a:gd name="T10" fmla="*/ 0 60000 65536"/>
                <a:gd name="T11" fmla="*/ 0 60000 65536"/>
                <a:gd name="T12" fmla="*/ 0 w 17"/>
                <a:gd name="T13" fmla="*/ 0 h 29"/>
                <a:gd name="T14" fmla="*/ 17 w 17"/>
                <a:gd name="T15" fmla="*/ 29 h 29"/>
              </a:gdLst>
              <a:ahLst/>
              <a:cxnLst>
                <a:cxn ang="T8">
                  <a:pos x="T0" y="T1"/>
                </a:cxn>
                <a:cxn ang="T9">
                  <a:pos x="T2" y="T3"/>
                </a:cxn>
                <a:cxn ang="T10">
                  <a:pos x="T4" y="T5"/>
                </a:cxn>
                <a:cxn ang="T11">
                  <a:pos x="T6" y="T7"/>
                </a:cxn>
              </a:cxnLst>
              <a:rect l="T12" t="T13" r="T14" b="T15"/>
              <a:pathLst>
                <a:path w="17" h="29">
                  <a:moveTo>
                    <a:pt x="0" y="0"/>
                  </a:moveTo>
                  <a:lnTo>
                    <a:pt x="5" y="24"/>
                  </a:lnTo>
                  <a:lnTo>
                    <a:pt x="17" y="29"/>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0" name="Freeform 61"/>
            <p:cNvSpPr>
              <a:spLocks/>
            </p:cNvSpPr>
            <p:nvPr/>
          </p:nvSpPr>
          <p:spPr bwMode="auto">
            <a:xfrm>
              <a:off x="2440" y="2468"/>
              <a:ext cx="667" cy="522"/>
            </a:xfrm>
            <a:custGeom>
              <a:avLst/>
              <a:gdLst>
                <a:gd name="T0" fmla="*/ 656 w 667"/>
                <a:gd name="T1" fmla="*/ 238 h 522"/>
                <a:gd name="T2" fmla="*/ 656 w 667"/>
                <a:gd name="T3" fmla="*/ 278 h 522"/>
                <a:gd name="T4" fmla="*/ 656 w 667"/>
                <a:gd name="T5" fmla="*/ 290 h 522"/>
                <a:gd name="T6" fmla="*/ 650 w 667"/>
                <a:gd name="T7" fmla="*/ 319 h 522"/>
                <a:gd name="T8" fmla="*/ 650 w 667"/>
                <a:gd name="T9" fmla="*/ 336 h 522"/>
                <a:gd name="T10" fmla="*/ 650 w 667"/>
                <a:gd name="T11" fmla="*/ 365 h 522"/>
                <a:gd name="T12" fmla="*/ 650 w 667"/>
                <a:gd name="T13" fmla="*/ 394 h 522"/>
                <a:gd name="T14" fmla="*/ 644 w 667"/>
                <a:gd name="T15" fmla="*/ 435 h 522"/>
                <a:gd name="T16" fmla="*/ 644 w 667"/>
                <a:gd name="T17" fmla="*/ 452 h 522"/>
                <a:gd name="T18" fmla="*/ 644 w 667"/>
                <a:gd name="T19" fmla="*/ 476 h 522"/>
                <a:gd name="T20" fmla="*/ 638 w 667"/>
                <a:gd name="T21" fmla="*/ 505 h 522"/>
                <a:gd name="T22" fmla="*/ 586 w 667"/>
                <a:gd name="T23" fmla="*/ 516 h 522"/>
                <a:gd name="T24" fmla="*/ 551 w 667"/>
                <a:gd name="T25" fmla="*/ 516 h 522"/>
                <a:gd name="T26" fmla="*/ 522 w 667"/>
                <a:gd name="T27" fmla="*/ 510 h 522"/>
                <a:gd name="T28" fmla="*/ 458 w 667"/>
                <a:gd name="T29" fmla="*/ 510 h 522"/>
                <a:gd name="T30" fmla="*/ 377 w 667"/>
                <a:gd name="T31" fmla="*/ 499 h 522"/>
                <a:gd name="T32" fmla="*/ 348 w 667"/>
                <a:gd name="T33" fmla="*/ 499 h 522"/>
                <a:gd name="T34" fmla="*/ 290 w 667"/>
                <a:gd name="T35" fmla="*/ 493 h 522"/>
                <a:gd name="T36" fmla="*/ 238 w 667"/>
                <a:gd name="T37" fmla="*/ 481 h 522"/>
                <a:gd name="T38" fmla="*/ 145 w 667"/>
                <a:gd name="T39" fmla="*/ 470 h 522"/>
                <a:gd name="T40" fmla="*/ 64 w 667"/>
                <a:gd name="T41" fmla="*/ 458 h 522"/>
                <a:gd name="T42" fmla="*/ 29 w 667"/>
                <a:gd name="T43" fmla="*/ 458 h 522"/>
                <a:gd name="T44" fmla="*/ 11 w 667"/>
                <a:gd name="T45" fmla="*/ 400 h 522"/>
                <a:gd name="T46" fmla="*/ 17 w 667"/>
                <a:gd name="T47" fmla="*/ 365 h 522"/>
                <a:gd name="T48" fmla="*/ 17 w 667"/>
                <a:gd name="T49" fmla="*/ 336 h 522"/>
                <a:gd name="T50" fmla="*/ 23 w 667"/>
                <a:gd name="T51" fmla="*/ 307 h 522"/>
                <a:gd name="T52" fmla="*/ 29 w 667"/>
                <a:gd name="T53" fmla="*/ 255 h 522"/>
                <a:gd name="T54" fmla="*/ 40 w 667"/>
                <a:gd name="T55" fmla="*/ 186 h 522"/>
                <a:gd name="T56" fmla="*/ 46 w 667"/>
                <a:gd name="T57" fmla="*/ 157 h 522"/>
                <a:gd name="T58" fmla="*/ 52 w 667"/>
                <a:gd name="T59" fmla="*/ 128 h 522"/>
                <a:gd name="T60" fmla="*/ 58 w 667"/>
                <a:gd name="T61" fmla="*/ 87 h 522"/>
                <a:gd name="T62" fmla="*/ 64 w 667"/>
                <a:gd name="T63" fmla="*/ 46 h 522"/>
                <a:gd name="T64" fmla="*/ 64 w 667"/>
                <a:gd name="T65" fmla="*/ 29 h 522"/>
                <a:gd name="T66" fmla="*/ 70 w 667"/>
                <a:gd name="T67" fmla="*/ 0 h 522"/>
                <a:gd name="T68" fmla="*/ 145 w 667"/>
                <a:gd name="T69" fmla="*/ 12 h 522"/>
                <a:gd name="T70" fmla="*/ 191 w 667"/>
                <a:gd name="T71" fmla="*/ 17 h 522"/>
                <a:gd name="T72" fmla="*/ 220 w 667"/>
                <a:gd name="T73" fmla="*/ 23 h 522"/>
                <a:gd name="T74" fmla="*/ 290 w 667"/>
                <a:gd name="T75" fmla="*/ 29 h 522"/>
                <a:gd name="T76" fmla="*/ 302 w 667"/>
                <a:gd name="T77" fmla="*/ 35 h 522"/>
                <a:gd name="T78" fmla="*/ 313 w 667"/>
                <a:gd name="T79" fmla="*/ 35 h 522"/>
                <a:gd name="T80" fmla="*/ 377 w 667"/>
                <a:gd name="T81" fmla="*/ 41 h 522"/>
                <a:gd name="T82" fmla="*/ 395 w 667"/>
                <a:gd name="T83" fmla="*/ 46 h 522"/>
                <a:gd name="T84" fmla="*/ 424 w 667"/>
                <a:gd name="T85" fmla="*/ 46 h 522"/>
                <a:gd name="T86" fmla="*/ 447 w 667"/>
                <a:gd name="T87" fmla="*/ 46 h 522"/>
                <a:gd name="T88" fmla="*/ 534 w 667"/>
                <a:gd name="T89" fmla="*/ 58 h 522"/>
                <a:gd name="T90" fmla="*/ 557 w 667"/>
                <a:gd name="T91" fmla="*/ 58 h 522"/>
                <a:gd name="T92" fmla="*/ 621 w 667"/>
                <a:gd name="T93" fmla="*/ 64 h 522"/>
                <a:gd name="T94" fmla="*/ 667 w 667"/>
                <a:gd name="T95" fmla="*/ 99 h 522"/>
                <a:gd name="T96" fmla="*/ 667 w 667"/>
                <a:gd name="T97" fmla="*/ 110 h 522"/>
                <a:gd name="T98" fmla="*/ 667 w 667"/>
                <a:gd name="T99" fmla="*/ 133 h 522"/>
                <a:gd name="T100" fmla="*/ 662 w 667"/>
                <a:gd name="T101" fmla="*/ 180 h 5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67"/>
                <a:gd name="T154" fmla="*/ 0 h 522"/>
                <a:gd name="T155" fmla="*/ 667 w 667"/>
                <a:gd name="T156" fmla="*/ 522 h 52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67" h="522">
                  <a:moveTo>
                    <a:pt x="656" y="232"/>
                  </a:moveTo>
                  <a:lnTo>
                    <a:pt x="656" y="238"/>
                  </a:lnTo>
                  <a:lnTo>
                    <a:pt x="656" y="249"/>
                  </a:lnTo>
                  <a:lnTo>
                    <a:pt x="656" y="278"/>
                  </a:lnTo>
                  <a:lnTo>
                    <a:pt x="656" y="284"/>
                  </a:lnTo>
                  <a:lnTo>
                    <a:pt x="656" y="290"/>
                  </a:lnTo>
                  <a:lnTo>
                    <a:pt x="656" y="296"/>
                  </a:lnTo>
                  <a:lnTo>
                    <a:pt x="650" y="319"/>
                  </a:lnTo>
                  <a:lnTo>
                    <a:pt x="650" y="331"/>
                  </a:lnTo>
                  <a:lnTo>
                    <a:pt x="650" y="336"/>
                  </a:lnTo>
                  <a:lnTo>
                    <a:pt x="650" y="360"/>
                  </a:lnTo>
                  <a:lnTo>
                    <a:pt x="650" y="365"/>
                  </a:lnTo>
                  <a:lnTo>
                    <a:pt x="650" y="377"/>
                  </a:lnTo>
                  <a:lnTo>
                    <a:pt x="650" y="394"/>
                  </a:lnTo>
                  <a:lnTo>
                    <a:pt x="644" y="406"/>
                  </a:lnTo>
                  <a:lnTo>
                    <a:pt x="644" y="435"/>
                  </a:lnTo>
                  <a:lnTo>
                    <a:pt x="644" y="447"/>
                  </a:lnTo>
                  <a:lnTo>
                    <a:pt x="644" y="452"/>
                  </a:lnTo>
                  <a:lnTo>
                    <a:pt x="644" y="464"/>
                  </a:lnTo>
                  <a:lnTo>
                    <a:pt x="644" y="476"/>
                  </a:lnTo>
                  <a:lnTo>
                    <a:pt x="638" y="493"/>
                  </a:lnTo>
                  <a:lnTo>
                    <a:pt x="638" y="505"/>
                  </a:lnTo>
                  <a:lnTo>
                    <a:pt x="638" y="522"/>
                  </a:lnTo>
                  <a:lnTo>
                    <a:pt x="586" y="516"/>
                  </a:lnTo>
                  <a:lnTo>
                    <a:pt x="574" y="516"/>
                  </a:lnTo>
                  <a:lnTo>
                    <a:pt x="551" y="516"/>
                  </a:lnTo>
                  <a:lnTo>
                    <a:pt x="545" y="516"/>
                  </a:lnTo>
                  <a:lnTo>
                    <a:pt x="522" y="510"/>
                  </a:lnTo>
                  <a:lnTo>
                    <a:pt x="516" y="510"/>
                  </a:lnTo>
                  <a:lnTo>
                    <a:pt x="458" y="510"/>
                  </a:lnTo>
                  <a:lnTo>
                    <a:pt x="424" y="505"/>
                  </a:lnTo>
                  <a:lnTo>
                    <a:pt x="377" y="499"/>
                  </a:lnTo>
                  <a:lnTo>
                    <a:pt x="354" y="499"/>
                  </a:lnTo>
                  <a:lnTo>
                    <a:pt x="348" y="499"/>
                  </a:lnTo>
                  <a:lnTo>
                    <a:pt x="302" y="493"/>
                  </a:lnTo>
                  <a:lnTo>
                    <a:pt x="290" y="493"/>
                  </a:lnTo>
                  <a:lnTo>
                    <a:pt x="278" y="487"/>
                  </a:lnTo>
                  <a:lnTo>
                    <a:pt x="238" y="481"/>
                  </a:lnTo>
                  <a:lnTo>
                    <a:pt x="151" y="470"/>
                  </a:lnTo>
                  <a:lnTo>
                    <a:pt x="145" y="470"/>
                  </a:lnTo>
                  <a:lnTo>
                    <a:pt x="87" y="464"/>
                  </a:lnTo>
                  <a:lnTo>
                    <a:pt x="64" y="458"/>
                  </a:lnTo>
                  <a:lnTo>
                    <a:pt x="35" y="458"/>
                  </a:lnTo>
                  <a:lnTo>
                    <a:pt x="29" y="458"/>
                  </a:lnTo>
                  <a:lnTo>
                    <a:pt x="0" y="452"/>
                  </a:lnTo>
                  <a:lnTo>
                    <a:pt x="11" y="400"/>
                  </a:lnTo>
                  <a:lnTo>
                    <a:pt x="11" y="394"/>
                  </a:lnTo>
                  <a:lnTo>
                    <a:pt x="17" y="365"/>
                  </a:lnTo>
                  <a:lnTo>
                    <a:pt x="17" y="354"/>
                  </a:lnTo>
                  <a:lnTo>
                    <a:pt x="17" y="336"/>
                  </a:lnTo>
                  <a:lnTo>
                    <a:pt x="23" y="319"/>
                  </a:lnTo>
                  <a:lnTo>
                    <a:pt x="23" y="307"/>
                  </a:lnTo>
                  <a:lnTo>
                    <a:pt x="29" y="284"/>
                  </a:lnTo>
                  <a:lnTo>
                    <a:pt x="29" y="255"/>
                  </a:lnTo>
                  <a:lnTo>
                    <a:pt x="35" y="226"/>
                  </a:lnTo>
                  <a:lnTo>
                    <a:pt x="40" y="186"/>
                  </a:lnTo>
                  <a:lnTo>
                    <a:pt x="46" y="168"/>
                  </a:lnTo>
                  <a:lnTo>
                    <a:pt x="46" y="157"/>
                  </a:lnTo>
                  <a:lnTo>
                    <a:pt x="46" y="151"/>
                  </a:lnTo>
                  <a:lnTo>
                    <a:pt x="52" y="128"/>
                  </a:lnTo>
                  <a:lnTo>
                    <a:pt x="52" y="116"/>
                  </a:lnTo>
                  <a:lnTo>
                    <a:pt x="58" y="87"/>
                  </a:lnTo>
                  <a:lnTo>
                    <a:pt x="58" y="64"/>
                  </a:lnTo>
                  <a:lnTo>
                    <a:pt x="64" y="46"/>
                  </a:lnTo>
                  <a:lnTo>
                    <a:pt x="64" y="41"/>
                  </a:lnTo>
                  <a:lnTo>
                    <a:pt x="64" y="29"/>
                  </a:lnTo>
                  <a:lnTo>
                    <a:pt x="70" y="17"/>
                  </a:lnTo>
                  <a:lnTo>
                    <a:pt x="70" y="0"/>
                  </a:lnTo>
                  <a:lnTo>
                    <a:pt x="93" y="6"/>
                  </a:lnTo>
                  <a:lnTo>
                    <a:pt x="145" y="12"/>
                  </a:lnTo>
                  <a:lnTo>
                    <a:pt x="168" y="17"/>
                  </a:lnTo>
                  <a:lnTo>
                    <a:pt x="191" y="17"/>
                  </a:lnTo>
                  <a:lnTo>
                    <a:pt x="215" y="23"/>
                  </a:lnTo>
                  <a:lnTo>
                    <a:pt x="220" y="23"/>
                  </a:lnTo>
                  <a:lnTo>
                    <a:pt x="255" y="29"/>
                  </a:lnTo>
                  <a:lnTo>
                    <a:pt x="290" y="29"/>
                  </a:lnTo>
                  <a:lnTo>
                    <a:pt x="296" y="35"/>
                  </a:lnTo>
                  <a:lnTo>
                    <a:pt x="302" y="35"/>
                  </a:lnTo>
                  <a:lnTo>
                    <a:pt x="307" y="35"/>
                  </a:lnTo>
                  <a:lnTo>
                    <a:pt x="313" y="35"/>
                  </a:lnTo>
                  <a:lnTo>
                    <a:pt x="325" y="35"/>
                  </a:lnTo>
                  <a:lnTo>
                    <a:pt x="377" y="41"/>
                  </a:lnTo>
                  <a:lnTo>
                    <a:pt x="395" y="41"/>
                  </a:lnTo>
                  <a:lnTo>
                    <a:pt x="395" y="46"/>
                  </a:lnTo>
                  <a:lnTo>
                    <a:pt x="406" y="46"/>
                  </a:lnTo>
                  <a:lnTo>
                    <a:pt x="424" y="46"/>
                  </a:lnTo>
                  <a:lnTo>
                    <a:pt x="429" y="46"/>
                  </a:lnTo>
                  <a:lnTo>
                    <a:pt x="447" y="46"/>
                  </a:lnTo>
                  <a:lnTo>
                    <a:pt x="499" y="52"/>
                  </a:lnTo>
                  <a:lnTo>
                    <a:pt x="534" y="58"/>
                  </a:lnTo>
                  <a:lnTo>
                    <a:pt x="540" y="58"/>
                  </a:lnTo>
                  <a:lnTo>
                    <a:pt x="557" y="58"/>
                  </a:lnTo>
                  <a:lnTo>
                    <a:pt x="615" y="64"/>
                  </a:lnTo>
                  <a:lnTo>
                    <a:pt x="621" y="64"/>
                  </a:lnTo>
                  <a:lnTo>
                    <a:pt x="667" y="70"/>
                  </a:lnTo>
                  <a:lnTo>
                    <a:pt x="667" y="99"/>
                  </a:lnTo>
                  <a:lnTo>
                    <a:pt x="667" y="104"/>
                  </a:lnTo>
                  <a:lnTo>
                    <a:pt x="667" y="110"/>
                  </a:lnTo>
                  <a:lnTo>
                    <a:pt x="667" y="122"/>
                  </a:lnTo>
                  <a:lnTo>
                    <a:pt x="667" y="133"/>
                  </a:lnTo>
                  <a:lnTo>
                    <a:pt x="662" y="139"/>
                  </a:lnTo>
                  <a:lnTo>
                    <a:pt x="662" y="180"/>
                  </a:lnTo>
                  <a:lnTo>
                    <a:pt x="656" y="232"/>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1" name="Freeform 62"/>
            <p:cNvSpPr>
              <a:spLocks/>
            </p:cNvSpPr>
            <p:nvPr/>
          </p:nvSpPr>
          <p:spPr bwMode="auto">
            <a:xfrm>
              <a:off x="1865" y="1447"/>
              <a:ext cx="540" cy="882"/>
            </a:xfrm>
            <a:custGeom>
              <a:avLst/>
              <a:gdLst>
                <a:gd name="T0" fmla="*/ 53 w 540"/>
                <a:gd name="T1" fmla="*/ 574 h 882"/>
                <a:gd name="T2" fmla="*/ 41 w 540"/>
                <a:gd name="T3" fmla="*/ 592 h 882"/>
                <a:gd name="T4" fmla="*/ 29 w 540"/>
                <a:gd name="T5" fmla="*/ 650 h 882"/>
                <a:gd name="T6" fmla="*/ 76 w 540"/>
                <a:gd name="T7" fmla="*/ 801 h 882"/>
                <a:gd name="T8" fmla="*/ 186 w 540"/>
                <a:gd name="T9" fmla="*/ 824 h 882"/>
                <a:gd name="T10" fmla="*/ 227 w 540"/>
                <a:gd name="T11" fmla="*/ 830 h 882"/>
                <a:gd name="T12" fmla="*/ 267 w 540"/>
                <a:gd name="T13" fmla="*/ 841 h 882"/>
                <a:gd name="T14" fmla="*/ 331 w 540"/>
                <a:gd name="T15" fmla="*/ 853 h 882"/>
                <a:gd name="T16" fmla="*/ 407 w 540"/>
                <a:gd name="T17" fmla="*/ 864 h 882"/>
                <a:gd name="T18" fmla="*/ 436 w 540"/>
                <a:gd name="T19" fmla="*/ 870 h 882"/>
                <a:gd name="T20" fmla="*/ 459 w 540"/>
                <a:gd name="T21" fmla="*/ 876 h 882"/>
                <a:gd name="T22" fmla="*/ 494 w 540"/>
                <a:gd name="T23" fmla="*/ 882 h 882"/>
                <a:gd name="T24" fmla="*/ 505 w 540"/>
                <a:gd name="T25" fmla="*/ 830 h 882"/>
                <a:gd name="T26" fmla="*/ 511 w 540"/>
                <a:gd name="T27" fmla="*/ 801 h 882"/>
                <a:gd name="T28" fmla="*/ 517 w 540"/>
                <a:gd name="T29" fmla="*/ 766 h 882"/>
                <a:gd name="T30" fmla="*/ 523 w 540"/>
                <a:gd name="T31" fmla="*/ 737 h 882"/>
                <a:gd name="T32" fmla="*/ 523 w 540"/>
                <a:gd name="T33" fmla="*/ 714 h 882"/>
                <a:gd name="T34" fmla="*/ 528 w 540"/>
                <a:gd name="T35" fmla="*/ 673 h 882"/>
                <a:gd name="T36" fmla="*/ 534 w 540"/>
                <a:gd name="T37" fmla="*/ 644 h 882"/>
                <a:gd name="T38" fmla="*/ 540 w 540"/>
                <a:gd name="T39" fmla="*/ 603 h 882"/>
                <a:gd name="T40" fmla="*/ 528 w 540"/>
                <a:gd name="T41" fmla="*/ 586 h 882"/>
                <a:gd name="T42" fmla="*/ 511 w 540"/>
                <a:gd name="T43" fmla="*/ 574 h 882"/>
                <a:gd name="T44" fmla="*/ 505 w 540"/>
                <a:gd name="T45" fmla="*/ 592 h 882"/>
                <a:gd name="T46" fmla="*/ 459 w 540"/>
                <a:gd name="T47" fmla="*/ 586 h 882"/>
                <a:gd name="T48" fmla="*/ 436 w 540"/>
                <a:gd name="T49" fmla="*/ 586 h 882"/>
                <a:gd name="T50" fmla="*/ 407 w 540"/>
                <a:gd name="T51" fmla="*/ 580 h 882"/>
                <a:gd name="T52" fmla="*/ 401 w 540"/>
                <a:gd name="T53" fmla="*/ 592 h 882"/>
                <a:gd name="T54" fmla="*/ 383 w 540"/>
                <a:gd name="T55" fmla="*/ 580 h 882"/>
                <a:gd name="T56" fmla="*/ 360 w 540"/>
                <a:gd name="T57" fmla="*/ 522 h 882"/>
                <a:gd name="T58" fmla="*/ 337 w 540"/>
                <a:gd name="T59" fmla="*/ 423 h 882"/>
                <a:gd name="T60" fmla="*/ 302 w 540"/>
                <a:gd name="T61" fmla="*/ 441 h 882"/>
                <a:gd name="T62" fmla="*/ 319 w 540"/>
                <a:gd name="T63" fmla="*/ 325 h 882"/>
                <a:gd name="T64" fmla="*/ 331 w 540"/>
                <a:gd name="T65" fmla="*/ 313 h 882"/>
                <a:gd name="T66" fmla="*/ 319 w 540"/>
                <a:gd name="T67" fmla="*/ 307 h 882"/>
                <a:gd name="T68" fmla="*/ 308 w 540"/>
                <a:gd name="T69" fmla="*/ 302 h 882"/>
                <a:gd name="T70" fmla="*/ 296 w 540"/>
                <a:gd name="T71" fmla="*/ 302 h 882"/>
                <a:gd name="T72" fmla="*/ 302 w 540"/>
                <a:gd name="T73" fmla="*/ 290 h 882"/>
                <a:gd name="T74" fmla="*/ 285 w 540"/>
                <a:gd name="T75" fmla="*/ 261 h 882"/>
                <a:gd name="T76" fmla="*/ 261 w 540"/>
                <a:gd name="T77" fmla="*/ 220 h 882"/>
                <a:gd name="T78" fmla="*/ 250 w 540"/>
                <a:gd name="T79" fmla="*/ 197 h 882"/>
                <a:gd name="T80" fmla="*/ 250 w 540"/>
                <a:gd name="T81" fmla="*/ 168 h 882"/>
                <a:gd name="T82" fmla="*/ 238 w 540"/>
                <a:gd name="T83" fmla="*/ 104 h 882"/>
                <a:gd name="T84" fmla="*/ 250 w 540"/>
                <a:gd name="T85" fmla="*/ 75 h 882"/>
                <a:gd name="T86" fmla="*/ 261 w 540"/>
                <a:gd name="T87" fmla="*/ 23 h 882"/>
                <a:gd name="T88" fmla="*/ 186 w 540"/>
                <a:gd name="T89" fmla="*/ 0 h 882"/>
                <a:gd name="T90" fmla="*/ 186 w 540"/>
                <a:gd name="T91" fmla="*/ 12 h 882"/>
                <a:gd name="T92" fmla="*/ 169 w 540"/>
                <a:gd name="T93" fmla="*/ 81 h 882"/>
                <a:gd name="T94" fmla="*/ 163 w 540"/>
                <a:gd name="T95" fmla="*/ 110 h 882"/>
                <a:gd name="T96" fmla="*/ 157 w 540"/>
                <a:gd name="T97" fmla="*/ 116 h 882"/>
                <a:gd name="T98" fmla="*/ 151 w 540"/>
                <a:gd name="T99" fmla="*/ 157 h 882"/>
                <a:gd name="T100" fmla="*/ 140 w 540"/>
                <a:gd name="T101" fmla="*/ 197 h 882"/>
                <a:gd name="T102" fmla="*/ 128 w 540"/>
                <a:gd name="T103" fmla="*/ 255 h 882"/>
                <a:gd name="T104" fmla="*/ 122 w 540"/>
                <a:gd name="T105" fmla="*/ 278 h 882"/>
                <a:gd name="T106" fmla="*/ 116 w 540"/>
                <a:gd name="T107" fmla="*/ 290 h 882"/>
                <a:gd name="T108" fmla="*/ 116 w 540"/>
                <a:gd name="T109" fmla="*/ 307 h 882"/>
                <a:gd name="T110" fmla="*/ 116 w 540"/>
                <a:gd name="T111" fmla="*/ 342 h 882"/>
                <a:gd name="T112" fmla="*/ 140 w 540"/>
                <a:gd name="T113" fmla="*/ 371 h 882"/>
                <a:gd name="T114" fmla="*/ 111 w 540"/>
                <a:gd name="T115" fmla="*/ 423 h 882"/>
                <a:gd name="T116" fmla="*/ 99 w 540"/>
                <a:gd name="T117" fmla="*/ 441 h 882"/>
                <a:gd name="T118" fmla="*/ 87 w 540"/>
                <a:gd name="T119" fmla="*/ 470 h 882"/>
                <a:gd name="T120" fmla="*/ 47 w 540"/>
                <a:gd name="T121" fmla="*/ 510 h 882"/>
                <a:gd name="T122" fmla="*/ 53 w 540"/>
                <a:gd name="T123" fmla="*/ 528 h 882"/>
                <a:gd name="T124" fmla="*/ 64 w 540"/>
                <a:gd name="T125" fmla="*/ 545 h 8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0"/>
                <a:gd name="T190" fmla="*/ 0 h 882"/>
                <a:gd name="T191" fmla="*/ 540 w 540"/>
                <a:gd name="T192" fmla="*/ 882 h 8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0" h="882">
                  <a:moveTo>
                    <a:pt x="64" y="545"/>
                  </a:moveTo>
                  <a:lnTo>
                    <a:pt x="53" y="574"/>
                  </a:lnTo>
                  <a:lnTo>
                    <a:pt x="47" y="580"/>
                  </a:lnTo>
                  <a:lnTo>
                    <a:pt x="41" y="592"/>
                  </a:lnTo>
                  <a:lnTo>
                    <a:pt x="41" y="603"/>
                  </a:lnTo>
                  <a:lnTo>
                    <a:pt x="29" y="650"/>
                  </a:lnTo>
                  <a:lnTo>
                    <a:pt x="0" y="777"/>
                  </a:lnTo>
                  <a:lnTo>
                    <a:pt x="76" y="801"/>
                  </a:lnTo>
                  <a:lnTo>
                    <a:pt x="163" y="818"/>
                  </a:lnTo>
                  <a:lnTo>
                    <a:pt x="186" y="824"/>
                  </a:lnTo>
                  <a:lnTo>
                    <a:pt x="198" y="824"/>
                  </a:lnTo>
                  <a:lnTo>
                    <a:pt x="227" y="830"/>
                  </a:lnTo>
                  <a:lnTo>
                    <a:pt x="244" y="835"/>
                  </a:lnTo>
                  <a:lnTo>
                    <a:pt x="267" y="841"/>
                  </a:lnTo>
                  <a:lnTo>
                    <a:pt x="308" y="847"/>
                  </a:lnTo>
                  <a:lnTo>
                    <a:pt x="331" y="853"/>
                  </a:lnTo>
                  <a:lnTo>
                    <a:pt x="401" y="864"/>
                  </a:lnTo>
                  <a:lnTo>
                    <a:pt x="407" y="864"/>
                  </a:lnTo>
                  <a:lnTo>
                    <a:pt x="412" y="870"/>
                  </a:lnTo>
                  <a:lnTo>
                    <a:pt x="436" y="870"/>
                  </a:lnTo>
                  <a:lnTo>
                    <a:pt x="453" y="876"/>
                  </a:lnTo>
                  <a:lnTo>
                    <a:pt x="459" y="876"/>
                  </a:lnTo>
                  <a:lnTo>
                    <a:pt x="465" y="876"/>
                  </a:lnTo>
                  <a:lnTo>
                    <a:pt x="494" y="882"/>
                  </a:lnTo>
                  <a:lnTo>
                    <a:pt x="499" y="870"/>
                  </a:lnTo>
                  <a:lnTo>
                    <a:pt x="505" y="830"/>
                  </a:lnTo>
                  <a:lnTo>
                    <a:pt x="505" y="824"/>
                  </a:lnTo>
                  <a:lnTo>
                    <a:pt x="511" y="801"/>
                  </a:lnTo>
                  <a:lnTo>
                    <a:pt x="517" y="772"/>
                  </a:lnTo>
                  <a:lnTo>
                    <a:pt x="517" y="766"/>
                  </a:lnTo>
                  <a:lnTo>
                    <a:pt x="517" y="743"/>
                  </a:lnTo>
                  <a:lnTo>
                    <a:pt x="523" y="737"/>
                  </a:lnTo>
                  <a:lnTo>
                    <a:pt x="523" y="719"/>
                  </a:lnTo>
                  <a:lnTo>
                    <a:pt x="523" y="714"/>
                  </a:lnTo>
                  <a:lnTo>
                    <a:pt x="528" y="685"/>
                  </a:lnTo>
                  <a:lnTo>
                    <a:pt x="528" y="673"/>
                  </a:lnTo>
                  <a:lnTo>
                    <a:pt x="534" y="661"/>
                  </a:lnTo>
                  <a:lnTo>
                    <a:pt x="534" y="644"/>
                  </a:lnTo>
                  <a:lnTo>
                    <a:pt x="540" y="632"/>
                  </a:lnTo>
                  <a:lnTo>
                    <a:pt x="540" y="603"/>
                  </a:lnTo>
                  <a:lnTo>
                    <a:pt x="534" y="603"/>
                  </a:lnTo>
                  <a:lnTo>
                    <a:pt x="528" y="586"/>
                  </a:lnTo>
                  <a:lnTo>
                    <a:pt x="523" y="569"/>
                  </a:lnTo>
                  <a:lnTo>
                    <a:pt x="511" y="574"/>
                  </a:lnTo>
                  <a:lnTo>
                    <a:pt x="511" y="580"/>
                  </a:lnTo>
                  <a:lnTo>
                    <a:pt x="505" y="592"/>
                  </a:lnTo>
                  <a:lnTo>
                    <a:pt x="499" y="586"/>
                  </a:lnTo>
                  <a:lnTo>
                    <a:pt x="459" y="586"/>
                  </a:lnTo>
                  <a:lnTo>
                    <a:pt x="447" y="580"/>
                  </a:lnTo>
                  <a:lnTo>
                    <a:pt x="436" y="586"/>
                  </a:lnTo>
                  <a:lnTo>
                    <a:pt x="424" y="586"/>
                  </a:lnTo>
                  <a:lnTo>
                    <a:pt x="407" y="580"/>
                  </a:lnTo>
                  <a:lnTo>
                    <a:pt x="395" y="586"/>
                  </a:lnTo>
                  <a:lnTo>
                    <a:pt x="401" y="592"/>
                  </a:lnTo>
                  <a:lnTo>
                    <a:pt x="395" y="592"/>
                  </a:lnTo>
                  <a:lnTo>
                    <a:pt x="383" y="580"/>
                  </a:lnTo>
                  <a:lnTo>
                    <a:pt x="383" y="540"/>
                  </a:lnTo>
                  <a:lnTo>
                    <a:pt x="360" y="522"/>
                  </a:lnTo>
                  <a:lnTo>
                    <a:pt x="360" y="510"/>
                  </a:lnTo>
                  <a:lnTo>
                    <a:pt x="337" y="423"/>
                  </a:lnTo>
                  <a:lnTo>
                    <a:pt x="308" y="441"/>
                  </a:lnTo>
                  <a:lnTo>
                    <a:pt x="302" y="441"/>
                  </a:lnTo>
                  <a:lnTo>
                    <a:pt x="285" y="429"/>
                  </a:lnTo>
                  <a:lnTo>
                    <a:pt x="319" y="325"/>
                  </a:lnTo>
                  <a:lnTo>
                    <a:pt x="325" y="325"/>
                  </a:lnTo>
                  <a:lnTo>
                    <a:pt x="331" y="313"/>
                  </a:lnTo>
                  <a:lnTo>
                    <a:pt x="331" y="307"/>
                  </a:lnTo>
                  <a:lnTo>
                    <a:pt x="319" y="307"/>
                  </a:lnTo>
                  <a:lnTo>
                    <a:pt x="308" y="307"/>
                  </a:lnTo>
                  <a:lnTo>
                    <a:pt x="308" y="302"/>
                  </a:lnTo>
                  <a:lnTo>
                    <a:pt x="308" y="296"/>
                  </a:lnTo>
                  <a:lnTo>
                    <a:pt x="296" y="302"/>
                  </a:lnTo>
                  <a:lnTo>
                    <a:pt x="296" y="296"/>
                  </a:lnTo>
                  <a:lnTo>
                    <a:pt x="302" y="290"/>
                  </a:lnTo>
                  <a:lnTo>
                    <a:pt x="290" y="267"/>
                  </a:lnTo>
                  <a:lnTo>
                    <a:pt x="285" y="261"/>
                  </a:lnTo>
                  <a:lnTo>
                    <a:pt x="267" y="226"/>
                  </a:lnTo>
                  <a:lnTo>
                    <a:pt x="261" y="220"/>
                  </a:lnTo>
                  <a:lnTo>
                    <a:pt x="244" y="197"/>
                  </a:lnTo>
                  <a:lnTo>
                    <a:pt x="250" y="197"/>
                  </a:lnTo>
                  <a:lnTo>
                    <a:pt x="244" y="186"/>
                  </a:lnTo>
                  <a:lnTo>
                    <a:pt x="250" y="168"/>
                  </a:lnTo>
                  <a:lnTo>
                    <a:pt x="232" y="133"/>
                  </a:lnTo>
                  <a:lnTo>
                    <a:pt x="238" y="104"/>
                  </a:lnTo>
                  <a:lnTo>
                    <a:pt x="244" y="81"/>
                  </a:lnTo>
                  <a:lnTo>
                    <a:pt x="250" y="75"/>
                  </a:lnTo>
                  <a:lnTo>
                    <a:pt x="256" y="35"/>
                  </a:lnTo>
                  <a:lnTo>
                    <a:pt x="261" y="23"/>
                  </a:lnTo>
                  <a:lnTo>
                    <a:pt x="261" y="17"/>
                  </a:lnTo>
                  <a:lnTo>
                    <a:pt x="186" y="0"/>
                  </a:lnTo>
                  <a:lnTo>
                    <a:pt x="186" y="6"/>
                  </a:lnTo>
                  <a:lnTo>
                    <a:pt x="186" y="12"/>
                  </a:lnTo>
                  <a:lnTo>
                    <a:pt x="186" y="17"/>
                  </a:lnTo>
                  <a:lnTo>
                    <a:pt x="169" y="81"/>
                  </a:lnTo>
                  <a:lnTo>
                    <a:pt x="163" y="99"/>
                  </a:lnTo>
                  <a:lnTo>
                    <a:pt x="163" y="110"/>
                  </a:lnTo>
                  <a:lnTo>
                    <a:pt x="163" y="116"/>
                  </a:lnTo>
                  <a:lnTo>
                    <a:pt x="157" y="116"/>
                  </a:lnTo>
                  <a:lnTo>
                    <a:pt x="151" y="139"/>
                  </a:lnTo>
                  <a:lnTo>
                    <a:pt x="151" y="157"/>
                  </a:lnTo>
                  <a:lnTo>
                    <a:pt x="145" y="186"/>
                  </a:lnTo>
                  <a:lnTo>
                    <a:pt x="140" y="197"/>
                  </a:lnTo>
                  <a:lnTo>
                    <a:pt x="134" y="209"/>
                  </a:lnTo>
                  <a:lnTo>
                    <a:pt x="128" y="255"/>
                  </a:lnTo>
                  <a:lnTo>
                    <a:pt x="122" y="255"/>
                  </a:lnTo>
                  <a:lnTo>
                    <a:pt x="122" y="278"/>
                  </a:lnTo>
                  <a:lnTo>
                    <a:pt x="116" y="278"/>
                  </a:lnTo>
                  <a:lnTo>
                    <a:pt x="116" y="290"/>
                  </a:lnTo>
                  <a:lnTo>
                    <a:pt x="116" y="296"/>
                  </a:lnTo>
                  <a:lnTo>
                    <a:pt x="116" y="307"/>
                  </a:lnTo>
                  <a:lnTo>
                    <a:pt x="116" y="336"/>
                  </a:lnTo>
                  <a:lnTo>
                    <a:pt x="116" y="342"/>
                  </a:lnTo>
                  <a:lnTo>
                    <a:pt x="122" y="354"/>
                  </a:lnTo>
                  <a:lnTo>
                    <a:pt x="140" y="371"/>
                  </a:lnTo>
                  <a:lnTo>
                    <a:pt x="140" y="389"/>
                  </a:lnTo>
                  <a:lnTo>
                    <a:pt x="111" y="423"/>
                  </a:lnTo>
                  <a:lnTo>
                    <a:pt x="105" y="441"/>
                  </a:lnTo>
                  <a:lnTo>
                    <a:pt x="99" y="441"/>
                  </a:lnTo>
                  <a:lnTo>
                    <a:pt x="93" y="452"/>
                  </a:lnTo>
                  <a:lnTo>
                    <a:pt x="87" y="470"/>
                  </a:lnTo>
                  <a:lnTo>
                    <a:pt x="70" y="476"/>
                  </a:lnTo>
                  <a:lnTo>
                    <a:pt x="47" y="510"/>
                  </a:lnTo>
                  <a:lnTo>
                    <a:pt x="47" y="522"/>
                  </a:lnTo>
                  <a:lnTo>
                    <a:pt x="53" y="528"/>
                  </a:lnTo>
                  <a:lnTo>
                    <a:pt x="58" y="534"/>
                  </a:lnTo>
                  <a:lnTo>
                    <a:pt x="64" y="54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2" name="Freeform 63"/>
            <p:cNvSpPr>
              <a:spLocks/>
            </p:cNvSpPr>
            <p:nvPr/>
          </p:nvSpPr>
          <p:spPr bwMode="auto">
            <a:xfrm>
              <a:off x="2097" y="1464"/>
              <a:ext cx="923" cy="604"/>
            </a:xfrm>
            <a:custGeom>
              <a:avLst/>
              <a:gdLst>
                <a:gd name="T0" fmla="*/ 76 w 923"/>
                <a:gd name="T1" fmla="*/ 424 h 604"/>
                <a:gd name="T2" fmla="*/ 53 w 923"/>
                <a:gd name="T3" fmla="*/ 412 h 604"/>
                <a:gd name="T4" fmla="*/ 93 w 923"/>
                <a:gd name="T5" fmla="*/ 308 h 604"/>
                <a:gd name="T6" fmla="*/ 99 w 923"/>
                <a:gd name="T7" fmla="*/ 290 h 604"/>
                <a:gd name="T8" fmla="*/ 76 w 923"/>
                <a:gd name="T9" fmla="*/ 290 h 604"/>
                <a:gd name="T10" fmla="*/ 76 w 923"/>
                <a:gd name="T11" fmla="*/ 279 h 604"/>
                <a:gd name="T12" fmla="*/ 64 w 923"/>
                <a:gd name="T13" fmla="*/ 279 h 604"/>
                <a:gd name="T14" fmla="*/ 58 w 923"/>
                <a:gd name="T15" fmla="*/ 250 h 604"/>
                <a:gd name="T16" fmla="*/ 35 w 923"/>
                <a:gd name="T17" fmla="*/ 209 h 604"/>
                <a:gd name="T18" fmla="*/ 12 w 923"/>
                <a:gd name="T19" fmla="*/ 180 h 604"/>
                <a:gd name="T20" fmla="*/ 12 w 923"/>
                <a:gd name="T21" fmla="*/ 169 h 604"/>
                <a:gd name="T22" fmla="*/ 0 w 923"/>
                <a:gd name="T23" fmla="*/ 116 h 604"/>
                <a:gd name="T24" fmla="*/ 12 w 923"/>
                <a:gd name="T25" fmla="*/ 64 h 604"/>
                <a:gd name="T26" fmla="*/ 24 w 923"/>
                <a:gd name="T27" fmla="*/ 18 h 604"/>
                <a:gd name="T28" fmla="*/ 29 w 923"/>
                <a:gd name="T29" fmla="*/ 0 h 604"/>
                <a:gd name="T30" fmla="*/ 175 w 923"/>
                <a:gd name="T31" fmla="*/ 35 h 604"/>
                <a:gd name="T32" fmla="*/ 383 w 923"/>
                <a:gd name="T33" fmla="*/ 76 h 604"/>
                <a:gd name="T34" fmla="*/ 476 w 923"/>
                <a:gd name="T35" fmla="*/ 93 h 604"/>
                <a:gd name="T36" fmla="*/ 610 w 923"/>
                <a:gd name="T37" fmla="*/ 111 h 604"/>
                <a:gd name="T38" fmla="*/ 772 w 923"/>
                <a:gd name="T39" fmla="*/ 134 h 604"/>
                <a:gd name="T40" fmla="*/ 923 w 923"/>
                <a:gd name="T41" fmla="*/ 145 h 604"/>
                <a:gd name="T42" fmla="*/ 923 w 923"/>
                <a:gd name="T43" fmla="*/ 186 h 604"/>
                <a:gd name="T44" fmla="*/ 917 w 923"/>
                <a:gd name="T45" fmla="*/ 203 h 604"/>
                <a:gd name="T46" fmla="*/ 917 w 923"/>
                <a:gd name="T47" fmla="*/ 250 h 604"/>
                <a:gd name="T48" fmla="*/ 912 w 923"/>
                <a:gd name="T49" fmla="*/ 279 h 604"/>
                <a:gd name="T50" fmla="*/ 906 w 923"/>
                <a:gd name="T51" fmla="*/ 331 h 604"/>
                <a:gd name="T52" fmla="*/ 906 w 923"/>
                <a:gd name="T53" fmla="*/ 360 h 604"/>
                <a:gd name="T54" fmla="*/ 900 w 923"/>
                <a:gd name="T55" fmla="*/ 418 h 604"/>
                <a:gd name="T56" fmla="*/ 900 w 923"/>
                <a:gd name="T57" fmla="*/ 435 h 604"/>
                <a:gd name="T58" fmla="*/ 894 w 923"/>
                <a:gd name="T59" fmla="*/ 464 h 604"/>
                <a:gd name="T60" fmla="*/ 894 w 923"/>
                <a:gd name="T61" fmla="*/ 499 h 604"/>
                <a:gd name="T62" fmla="*/ 888 w 923"/>
                <a:gd name="T63" fmla="*/ 517 h 604"/>
                <a:gd name="T64" fmla="*/ 888 w 923"/>
                <a:gd name="T65" fmla="*/ 581 h 604"/>
                <a:gd name="T66" fmla="*/ 830 w 923"/>
                <a:gd name="T67" fmla="*/ 598 h 604"/>
                <a:gd name="T68" fmla="*/ 801 w 923"/>
                <a:gd name="T69" fmla="*/ 598 h 604"/>
                <a:gd name="T70" fmla="*/ 726 w 923"/>
                <a:gd name="T71" fmla="*/ 586 h 604"/>
                <a:gd name="T72" fmla="*/ 703 w 923"/>
                <a:gd name="T73" fmla="*/ 586 h 604"/>
                <a:gd name="T74" fmla="*/ 633 w 923"/>
                <a:gd name="T75" fmla="*/ 575 h 604"/>
                <a:gd name="T76" fmla="*/ 546 w 923"/>
                <a:gd name="T77" fmla="*/ 563 h 604"/>
                <a:gd name="T78" fmla="*/ 523 w 923"/>
                <a:gd name="T79" fmla="*/ 563 h 604"/>
                <a:gd name="T80" fmla="*/ 482 w 923"/>
                <a:gd name="T81" fmla="*/ 557 h 604"/>
                <a:gd name="T82" fmla="*/ 418 w 923"/>
                <a:gd name="T83" fmla="*/ 546 h 604"/>
                <a:gd name="T84" fmla="*/ 372 w 923"/>
                <a:gd name="T85" fmla="*/ 540 h 604"/>
                <a:gd name="T86" fmla="*/ 314 w 923"/>
                <a:gd name="T87" fmla="*/ 569 h 604"/>
                <a:gd name="T88" fmla="*/ 302 w 923"/>
                <a:gd name="T89" fmla="*/ 586 h 604"/>
                <a:gd name="T90" fmla="*/ 291 w 923"/>
                <a:gd name="T91" fmla="*/ 552 h 604"/>
                <a:gd name="T92" fmla="*/ 279 w 923"/>
                <a:gd name="T93" fmla="*/ 563 h 604"/>
                <a:gd name="T94" fmla="*/ 267 w 923"/>
                <a:gd name="T95" fmla="*/ 569 h 604"/>
                <a:gd name="T96" fmla="*/ 215 w 923"/>
                <a:gd name="T97" fmla="*/ 563 h 604"/>
                <a:gd name="T98" fmla="*/ 192 w 923"/>
                <a:gd name="T99" fmla="*/ 569 h 604"/>
                <a:gd name="T100" fmla="*/ 163 w 923"/>
                <a:gd name="T101" fmla="*/ 569 h 604"/>
                <a:gd name="T102" fmla="*/ 163 w 923"/>
                <a:gd name="T103" fmla="*/ 575 h 604"/>
                <a:gd name="T104" fmla="*/ 151 w 923"/>
                <a:gd name="T105" fmla="*/ 523 h 604"/>
                <a:gd name="T106" fmla="*/ 128 w 923"/>
                <a:gd name="T107" fmla="*/ 493 h 60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3"/>
                <a:gd name="T163" fmla="*/ 0 h 604"/>
                <a:gd name="T164" fmla="*/ 923 w 923"/>
                <a:gd name="T165" fmla="*/ 604 h 60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3" h="604">
                  <a:moveTo>
                    <a:pt x="105" y="406"/>
                  </a:moveTo>
                  <a:lnTo>
                    <a:pt x="76" y="424"/>
                  </a:lnTo>
                  <a:lnTo>
                    <a:pt x="70" y="424"/>
                  </a:lnTo>
                  <a:lnTo>
                    <a:pt x="53" y="412"/>
                  </a:lnTo>
                  <a:lnTo>
                    <a:pt x="87" y="308"/>
                  </a:lnTo>
                  <a:lnTo>
                    <a:pt x="93" y="308"/>
                  </a:lnTo>
                  <a:lnTo>
                    <a:pt x="99" y="296"/>
                  </a:lnTo>
                  <a:lnTo>
                    <a:pt x="99" y="290"/>
                  </a:lnTo>
                  <a:lnTo>
                    <a:pt x="87" y="290"/>
                  </a:lnTo>
                  <a:lnTo>
                    <a:pt x="76" y="290"/>
                  </a:lnTo>
                  <a:lnTo>
                    <a:pt x="76" y="285"/>
                  </a:lnTo>
                  <a:lnTo>
                    <a:pt x="76" y="279"/>
                  </a:lnTo>
                  <a:lnTo>
                    <a:pt x="64" y="285"/>
                  </a:lnTo>
                  <a:lnTo>
                    <a:pt x="64" y="279"/>
                  </a:lnTo>
                  <a:lnTo>
                    <a:pt x="70" y="273"/>
                  </a:lnTo>
                  <a:lnTo>
                    <a:pt x="58" y="250"/>
                  </a:lnTo>
                  <a:lnTo>
                    <a:pt x="53" y="244"/>
                  </a:lnTo>
                  <a:lnTo>
                    <a:pt x="35" y="209"/>
                  </a:lnTo>
                  <a:lnTo>
                    <a:pt x="29" y="203"/>
                  </a:lnTo>
                  <a:lnTo>
                    <a:pt x="12" y="180"/>
                  </a:lnTo>
                  <a:lnTo>
                    <a:pt x="18" y="180"/>
                  </a:lnTo>
                  <a:lnTo>
                    <a:pt x="12" y="169"/>
                  </a:lnTo>
                  <a:lnTo>
                    <a:pt x="18" y="151"/>
                  </a:lnTo>
                  <a:lnTo>
                    <a:pt x="0" y="116"/>
                  </a:lnTo>
                  <a:lnTo>
                    <a:pt x="6" y="87"/>
                  </a:lnTo>
                  <a:lnTo>
                    <a:pt x="12" y="64"/>
                  </a:lnTo>
                  <a:lnTo>
                    <a:pt x="18" y="58"/>
                  </a:lnTo>
                  <a:lnTo>
                    <a:pt x="24" y="18"/>
                  </a:lnTo>
                  <a:lnTo>
                    <a:pt x="29" y="6"/>
                  </a:lnTo>
                  <a:lnTo>
                    <a:pt x="29" y="0"/>
                  </a:lnTo>
                  <a:lnTo>
                    <a:pt x="128" y="24"/>
                  </a:lnTo>
                  <a:lnTo>
                    <a:pt x="175" y="35"/>
                  </a:lnTo>
                  <a:lnTo>
                    <a:pt x="314" y="64"/>
                  </a:lnTo>
                  <a:lnTo>
                    <a:pt x="383" y="76"/>
                  </a:lnTo>
                  <a:lnTo>
                    <a:pt x="424" y="82"/>
                  </a:lnTo>
                  <a:lnTo>
                    <a:pt x="476" y="93"/>
                  </a:lnTo>
                  <a:lnTo>
                    <a:pt x="517" y="99"/>
                  </a:lnTo>
                  <a:lnTo>
                    <a:pt x="610" y="111"/>
                  </a:lnTo>
                  <a:lnTo>
                    <a:pt x="691" y="122"/>
                  </a:lnTo>
                  <a:lnTo>
                    <a:pt x="772" y="134"/>
                  </a:lnTo>
                  <a:lnTo>
                    <a:pt x="848" y="140"/>
                  </a:lnTo>
                  <a:lnTo>
                    <a:pt x="923" y="145"/>
                  </a:lnTo>
                  <a:lnTo>
                    <a:pt x="923" y="174"/>
                  </a:lnTo>
                  <a:lnTo>
                    <a:pt x="923" y="186"/>
                  </a:lnTo>
                  <a:lnTo>
                    <a:pt x="923" y="192"/>
                  </a:lnTo>
                  <a:lnTo>
                    <a:pt x="917" y="203"/>
                  </a:lnTo>
                  <a:lnTo>
                    <a:pt x="917" y="215"/>
                  </a:lnTo>
                  <a:lnTo>
                    <a:pt x="917" y="250"/>
                  </a:lnTo>
                  <a:lnTo>
                    <a:pt x="917" y="261"/>
                  </a:lnTo>
                  <a:lnTo>
                    <a:pt x="912" y="279"/>
                  </a:lnTo>
                  <a:lnTo>
                    <a:pt x="912" y="290"/>
                  </a:lnTo>
                  <a:lnTo>
                    <a:pt x="906" y="331"/>
                  </a:lnTo>
                  <a:lnTo>
                    <a:pt x="906" y="337"/>
                  </a:lnTo>
                  <a:lnTo>
                    <a:pt x="906" y="360"/>
                  </a:lnTo>
                  <a:lnTo>
                    <a:pt x="900" y="406"/>
                  </a:lnTo>
                  <a:lnTo>
                    <a:pt x="900" y="418"/>
                  </a:lnTo>
                  <a:lnTo>
                    <a:pt x="900" y="430"/>
                  </a:lnTo>
                  <a:lnTo>
                    <a:pt x="900" y="435"/>
                  </a:lnTo>
                  <a:lnTo>
                    <a:pt x="894" y="459"/>
                  </a:lnTo>
                  <a:lnTo>
                    <a:pt x="894" y="464"/>
                  </a:lnTo>
                  <a:lnTo>
                    <a:pt x="894" y="482"/>
                  </a:lnTo>
                  <a:lnTo>
                    <a:pt x="894" y="499"/>
                  </a:lnTo>
                  <a:lnTo>
                    <a:pt x="894" y="505"/>
                  </a:lnTo>
                  <a:lnTo>
                    <a:pt x="888" y="517"/>
                  </a:lnTo>
                  <a:lnTo>
                    <a:pt x="888" y="575"/>
                  </a:lnTo>
                  <a:lnTo>
                    <a:pt x="888" y="581"/>
                  </a:lnTo>
                  <a:lnTo>
                    <a:pt x="883" y="604"/>
                  </a:lnTo>
                  <a:lnTo>
                    <a:pt x="830" y="598"/>
                  </a:lnTo>
                  <a:lnTo>
                    <a:pt x="819" y="598"/>
                  </a:lnTo>
                  <a:lnTo>
                    <a:pt x="801" y="598"/>
                  </a:lnTo>
                  <a:lnTo>
                    <a:pt x="732" y="586"/>
                  </a:lnTo>
                  <a:lnTo>
                    <a:pt x="726" y="586"/>
                  </a:lnTo>
                  <a:lnTo>
                    <a:pt x="714" y="586"/>
                  </a:lnTo>
                  <a:lnTo>
                    <a:pt x="703" y="586"/>
                  </a:lnTo>
                  <a:lnTo>
                    <a:pt x="645" y="581"/>
                  </a:lnTo>
                  <a:lnTo>
                    <a:pt x="633" y="575"/>
                  </a:lnTo>
                  <a:lnTo>
                    <a:pt x="569" y="569"/>
                  </a:lnTo>
                  <a:lnTo>
                    <a:pt x="546" y="563"/>
                  </a:lnTo>
                  <a:lnTo>
                    <a:pt x="534" y="563"/>
                  </a:lnTo>
                  <a:lnTo>
                    <a:pt x="523" y="563"/>
                  </a:lnTo>
                  <a:lnTo>
                    <a:pt x="517" y="563"/>
                  </a:lnTo>
                  <a:lnTo>
                    <a:pt x="482" y="557"/>
                  </a:lnTo>
                  <a:lnTo>
                    <a:pt x="476" y="552"/>
                  </a:lnTo>
                  <a:lnTo>
                    <a:pt x="418" y="546"/>
                  </a:lnTo>
                  <a:lnTo>
                    <a:pt x="407" y="546"/>
                  </a:lnTo>
                  <a:lnTo>
                    <a:pt x="372" y="540"/>
                  </a:lnTo>
                  <a:lnTo>
                    <a:pt x="320" y="528"/>
                  </a:lnTo>
                  <a:lnTo>
                    <a:pt x="314" y="569"/>
                  </a:lnTo>
                  <a:lnTo>
                    <a:pt x="308" y="586"/>
                  </a:lnTo>
                  <a:lnTo>
                    <a:pt x="302" y="586"/>
                  </a:lnTo>
                  <a:lnTo>
                    <a:pt x="296" y="569"/>
                  </a:lnTo>
                  <a:lnTo>
                    <a:pt x="291" y="552"/>
                  </a:lnTo>
                  <a:lnTo>
                    <a:pt x="279" y="557"/>
                  </a:lnTo>
                  <a:lnTo>
                    <a:pt x="279" y="563"/>
                  </a:lnTo>
                  <a:lnTo>
                    <a:pt x="273" y="575"/>
                  </a:lnTo>
                  <a:lnTo>
                    <a:pt x="267" y="569"/>
                  </a:lnTo>
                  <a:lnTo>
                    <a:pt x="227" y="569"/>
                  </a:lnTo>
                  <a:lnTo>
                    <a:pt x="215" y="563"/>
                  </a:lnTo>
                  <a:lnTo>
                    <a:pt x="204" y="569"/>
                  </a:lnTo>
                  <a:lnTo>
                    <a:pt x="192" y="569"/>
                  </a:lnTo>
                  <a:lnTo>
                    <a:pt x="175" y="563"/>
                  </a:lnTo>
                  <a:lnTo>
                    <a:pt x="163" y="569"/>
                  </a:lnTo>
                  <a:lnTo>
                    <a:pt x="169" y="575"/>
                  </a:lnTo>
                  <a:lnTo>
                    <a:pt x="163" y="575"/>
                  </a:lnTo>
                  <a:lnTo>
                    <a:pt x="151" y="563"/>
                  </a:lnTo>
                  <a:lnTo>
                    <a:pt x="151" y="523"/>
                  </a:lnTo>
                  <a:lnTo>
                    <a:pt x="128" y="505"/>
                  </a:lnTo>
                  <a:lnTo>
                    <a:pt x="128" y="493"/>
                  </a:lnTo>
                  <a:lnTo>
                    <a:pt x="105" y="40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3" name="Freeform 64"/>
            <p:cNvSpPr>
              <a:spLocks/>
            </p:cNvSpPr>
            <p:nvPr/>
          </p:nvSpPr>
          <p:spPr bwMode="auto">
            <a:xfrm>
              <a:off x="2347" y="2920"/>
              <a:ext cx="644" cy="656"/>
            </a:xfrm>
            <a:custGeom>
              <a:avLst/>
              <a:gdLst>
                <a:gd name="T0" fmla="*/ 81 w 644"/>
                <a:gd name="T1" fmla="*/ 656 h 656"/>
                <a:gd name="T2" fmla="*/ 174 w 644"/>
                <a:gd name="T3" fmla="*/ 615 h 656"/>
                <a:gd name="T4" fmla="*/ 244 w 644"/>
                <a:gd name="T5" fmla="*/ 609 h 656"/>
                <a:gd name="T6" fmla="*/ 267 w 644"/>
                <a:gd name="T7" fmla="*/ 598 h 656"/>
                <a:gd name="T8" fmla="*/ 296 w 644"/>
                <a:gd name="T9" fmla="*/ 604 h 656"/>
                <a:gd name="T10" fmla="*/ 366 w 644"/>
                <a:gd name="T11" fmla="*/ 609 h 656"/>
                <a:gd name="T12" fmla="*/ 412 w 644"/>
                <a:gd name="T13" fmla="*/ 615 h 656"/>
                <a:gd name="T14" fmla="*/ 464 w 644"/>
                <a:gd name="T15" fmla="*/ 621 h 656"/>
                <a:gd name="T16" fmla="*/ 499 w 644"/>
                <a:gd name="T17" fmla="*/ 627 h 656"/>
                <a:gd name="T18" fmla="*/ 522 w 644"/>
                <a:gd name="T19" fmla="*/ 627 h 656"/>
                <a:gd name="T20" fmla="*/ 540 w 644"/>
                <a:gd name="T21" fmla="*/ 627 h 656"/>
                <a:gd name="T22" fmla="*/ 569 w 644"/>
                <a:gd name="T23" fmla="*/ 633 h 656"/>
                <a:gd name="T24" fmla="*/ 592 w 644"/>
                <a:gd name="T25" fmla="*/ 633 h 656"/>
                <a:gd name="T26" fmla="*/ 592 w 644"/>
                <a:gd name="T27" fmla="*/ 604 h 656"/>
                <a:gd name="T28" fmla="*/ 598 w 644"/>
                <a:gd name="T29" fmla="*/ 575 h 656"/>
                <a:gd name="T30" fmla="*/ 598 w 644"/>
                <a:gd name="T31" fmla="*/ 540 h 656"/>
                <a:gd name="T32" fmla="*/ 604 w 644"/>
                <a:gd name="T33" fmla="*/ 505 h 656"/>
                <a:gd name="T34" fmla="*/ 609 w 644"/>
                <a:gd name="T35" fmla="*/ 459 h 656"/>
                <a:gd name="T36" fmla="*/ 609 w 644"/>
                <a:gd name="T37" fmla="*/ 441 h 656"/>
                <a:gd name="T38" fmla="*/ 609 w 644"/>
                <a:gd name="T39" fmla="*/ 424 h 656"/>
                <a:gd name="T40" fmla="*/ 615 w 644"/>
                <a:gd name="T41" fmla="*/ 377 h 656"/>
                <a:gd name="T42" fmla="*/ 615 w 644"/>
                <a:gd name="T43" fmla="*/ 366 h 656"/>
                <a:gd name="T44" fmla="*/ 615 w 644"/>
                <a:gd name="T45" fmla="*/ 348 h 656"/>
                <a:gd name="T46" fmla="*/ 621 w 644"/>
                <a:gd name="T47" fmla="*/ 308 h 656"/>
                <a:gd name="T48" fmla="*/ 621 w 644"/>
                <a:gd name="T49" fmla="*/ 296 h 656"/>
                <a:gd name="T50" fmla="*/ 621 w 644"/>
                <a:gd name="T51" fmla="*/ 279 h 656"/>
                <a:gd name="T52" fmla="*/ 627 w 644"/>
                <a:gd name="T53" fmla="*/ 261 h 656"/>
                <a:gd name="T54" fmla="*/ 627 w 644"/>
                <a:gd name="T55" fmla="*/ 221 h 656"/>
                <a:gd name="T56" fmla="*/ 633 w 644"/>
                <a:gd name="T57" fmla="*/ 169 h 656"/>
                <a:gd name="T58" fmla="*/ 644 w 644"/>
                <a:gd name="T59" fmla="*/ 93 h 656"/>
                <a:gd name="T60" fmla="*/ 644 w 644"/>
                <a:gd name="T61" fmla="*/ 64 h 656"/>
                <a:gd name="T62" fmla="*/ 615 w 644"/>
                <a:gd name="T63" fmla="*/ 58 h 656"/>
                <a:gd name="T64" fmla="*/ 551 w 644"/>
                <a:gd name="T65" fmla="*/ 58 h 656"/>
                <a:gd name="T66" fmla="*/ 470 w 644"/>
                <a:gd name="T67" fmla="*/ 47 h 656"/>
                <a:gd name="T68" fmla="*/ 441 w 644"/>
                <a:gd name="T69" fmla="*/ 47 h 656"/>
                <a:gd name="T70" fmla="*/ 383 w 644"/>
                <a:gd name="T71" fmla="*/ 41 h 656"/>
                <a:gd name="T72" fmla="*/ 331 w 644"/>
                <a:gd name="T73" fmla="*/ 29 h 656"/>
                <a:gd name="T74" fmla="*/ 238 w 644"/>
                <a:gd name="T75" fmla="*/ 18 h 656"/>
                <a:gd name="T76" fmla="*/ 157 w 644"/>
                <a:gd name="T77" fmla="*/ 6 h 656"/>
                <a:gd name="T78" fmla="*/ 122 w 644"/>
                <a:gd name="T79" fmla="*/ 6 h 656"/>
                <a:gd name="T80" fmla="*/ 93 w 644"/>
                <a:gd name="T81" fmla="*/ 29 h 656"/>
                <a:gd name="T82" fmla="*/ 75 w 644"/>
                <a:gd name="T83" fmla="*/ 111 h 656"/>
                <a:gd name="T84" fmla="*/ 70 w 644"/>
                <a:gd name="T85" fmla="*/ 169 h 656"/>
                <a:gd name="T86" fmla="*/ 58 w 644"/>
                <a:gd name="T87" fmla="*/ 250 h 656"/>
                <a:gd name="T88" fmla="*/ 52 w 644"/>
                <a:gd name="T89" fmla="*/ 296 h 656"/>
                <a:gd name="T90" fmla="*/ 41 w 644"/>
                <a:gd name="T91" fmla="*/ 366 h 656"/>
                <a:gd name="T92" fmla="*/ 29 w 644"/>
                <a:gd name="T93" fmla="*/ 435 h 656"/>
                <a:gd name="T94" fmla="*/ 23 w 644"/>
                <a:gd name="T95" fmla="*/ 476 h 656"/>
                <a:gd name="T96" fmla="*/ 17 w 644"/>
                <a:gd name="T97" fmla="*/ 511 h 656"/>
                <a:gd name="T98" fmla="*/ 0 w 644"/>
                <a:gd name="T99" fmla="*/ 615 h 656"/>
                <a:gd name="T100" fmla="*/ 0 w 644"/>
                <a:gd name="T101" fmla="*/ 638 h 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44"/>
                <a:gd name="T154" fmla="*/ 0 h 656"/>
                <a:gd name="T155" fmla="*/ 644 w 644"/>
                <a:gd name="T156" fmla="*/ 656 h 6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44" h="656">
                  <a:moveTo>
                    <a:pt x="17" y="644"/>
                  </a:moveTo>
                  <a:lnTo>
                    <a:pt x="81" y="656"/>
                  </a:lnTo>
                  <a:lnTo>
                    <a:pt x="87" y="604"/>
                  </a:lnTo>
                  <a:lnTo>
                    <a:pt x="174" y="615"/>
                  </a:lnTo>
                  <a:lnTo>
                    <a:pt x="250" y="621"/>
                  </a:lnTo>
                  <a:lnTo>
                    <a:pt x="244" y="609"/>
                  </a:lnTo>
                  <a:lnTo>
                    <a:pt x="244" y="598"/>
                  </a:lnTo>
                  <a:lnTo>
                    <a:pt x="267" y="598"/>
                  </a:lnTo>
                  <a:lnTo>
                    <a:pt x="284" y="604"/>
                  </a:lnTo>
                  <a:lnTo>
                    <a:pt x="296" y="604"/>
                  </a:lnTo>
                  <a:lnTo>
                    <a:pt x="308" y="604"/>
                  </a:lnTo>
                  <a:lnTo>
                    <a:pt x="366" y="609"/>
                  </a:lnTo>
                  <a:lnTo>
                    <a:pt x="395" y="615"/>
                  </a:lnTo>
                  <a:lnTo>
                    <a:pt x="412" y="615"/>
                  </a:lnTo>
                  <a:lnTo>
                    <a:pt x="418" y="615"/>
                  </a:lnTo>
                  <a:lnTo>
                    <a:pt x="464" y="621"/>
                  </a:lnTo>
                  <a:lnTo>
                    <a:pt x="476" y="621"/>
                  </a:lnTo>
                  <a:lnTo>
                    <a:pt x="499" y="627"/>
                  </a:lnTo>
                  <a:lnTo>
                    <a:pt x="505" y="627"/>
                  </a:lnTo>
                  <a:lnTo>
                    <a:pt x="522" y="627"/>
                  </a:lnTo>
                  <a:lnTo>
                    <a:pt x="528" y="627"/>
                  </a:lnTo>
                  <a:lnTo>
                    <a:pt x="540" y="627"/>
                  </a:lnTo>
                  <a:lnTo>
                    <a:pt x="563" y="633"/>
                  </a:lnTo>
                  <a:lnTo>
                    <a:pt x="569" y="633"/>
                  </a:lnTo>
                  <a:lnTo>
                    <a:pt x="586" y="633"/>
                  </a:lnTo>
                  <a:lnTo>
                    <a:pt x="592" y="633"/>
                  </a:lnTo>
                  <a:lnTo>
                    <a:pt x="592" y="621"/>
                  </a:lnTo>
                  <a:lnTo>
                    <a:pt x="592" y="604"/>
                  </a:lnTo>
                  <a:lnTo>
                    <a:pt x="598" y="580"/>
                  </a:lnTo>
                  <a:lnTo>
                    <a:pt x="598" y="575"/>
                  </a:lnTo>
                  <a:lnTo>
                    <a:pt x="598" y="563"/>
                  </a:lnTo>
                  <a:lnTo>
                    <a:pt x="598" y="540"/>
                  </a:lnTo>
                  <a:lnTo>
                    <a:pt x="604" y="522"/>
                  </a:lnTo>
                  <a:lnTo>
                    <a:pt x="604" y="505"/>
                  </a:lnTo>
                  <a:lnTo>
                    <a:pt x="604" y="476"/>
                  </a:lnTo>
                  <a:lnTo>
                    <a:pt x="609" y="459"/>
                  </a:lnTo>
                  <a:lnTo>
                    <a:pt x="609" y="453"/>
                  </a:lnTo>
                  <a:lnTo>
                    <a:pt x="609" y="441"/>
                  </a:lnTo>
                  <a:lnTo>
                    <a:pt x="609" y="435"/>
                  </a:lnTo>
                  <a:lnTo>
                    <a:pt x="609" y="424"/>
                  </a:lnTo>
                  <a:lnTo>
                    <a:pt x="615" y="406"/>
                  </a:lnTo>
                  <a:lnTo>
                    <a:pt x="615" y="377"/>
                  </a:lnTo>
                  <a:lnTo>
                    <a:pt x="615" y="372"/>
                  </a:lnTo>
                  <a:lnTo>
                    <a:pt x="615" y="366"/>
                  </a:lnTo>
                  <a:lnTo>
                    <a:pt x="615" y="354"/>
                  </a:lnTo>
                  <a:lnTo>
                    <a:pt x="615" y="348"/>
                  </a:lnTo>
                  <a:lnTo>
                    <a:pt x="621" y="319"/>
                  </a:lnTo>
                  <a:lnTo>
                    <a:pt x="621" y="308"/>
                  </a:lnTo>
                  <a:lnTo>
                    <a:pt x="621" y="302"/>
                  </a:lnTo>
                  <a:lnTo>
                    <a:pt x="621" y="296"/>
                  </a:lnTo>
                  <a:lnTo>
                    <a:pt x="621" y="290"/>
                  </a:lnTo>
                  <a:lnTo>
                    <a:pt x="621" y="279"/>
                  </a:lnTo>
                  <a:lnTo>
                    <a:pt x="621" y="267"/>
                  </a:lnTo>
                  <a:lnTo>
                    <a:pt x="627" y="261"/>
                  </a:lnTo>
                  <a:lnTo>
                    <a:pt x="627" y="250"/>
                  </a:lnTo>
                  <a:lnTo>
                    <a:pt x="627" y="221"/>
                  </a:lnTo>
                  <a:lnTo>
                    <a:pt x="627" y="203"/>
                  </a:lnTo>
                  <a:lnTo>
                    <a:pt x="633" y="169"/>
                  </a:lnTo>
                  <a:lnTo>
                    <a:pt x="638" y="122"/>
                  </a:lnTo>
                  <a:lnTo>
                    <a:pt x="644" y="93"/>
                  </a:lnTo>
                  <a:lnTo>
                    <a:pt x="644" y="76"/>
                  </a:lnTo>
                  <a:lnTo>
                    <a:pt x="644" y="64"/>
                  </a:lnTo>
                  <a:lnTo>
                    <a:pt x="638" y="64"/>
                  </a:lnTo>
                  <a:lnTo>
                    <a:pt x="615" y="58"/>
                  </a:lnTo>
                  <a:lnTo>
                    <a:pt x="609" y="58"/>
                  </a:lnTo>
                  <a:lnTo>
                    <a:pt x="551" y="58"/>
                  </a:lnTo>
                  <a:lnTo>
                    <a:pt x="517" y="53"/>
                  </a:lnTo>
                  <a:lnTo>
                    <a:pt x="470" y="47"/>
                  </a:lnTo>
                  <a:lnTo>
                    <a:pt x="447" y="47"/>
                  </a:lnTo>
                  <a:lnTo>
                    <a:pt x="441" y="47"/>
                  </a:lnTo>
                  <a:lnTo>
                    <a:pt x="395" y="41"/>
                  </a:lnTo>
                  <a:lnTo>
                    <a:pt x="383" y="41"/>
                  </a:lnTo>
                  <a:lnTo>
                    <a:pt x="371" y="35"/>
                  </a:lnTo>
                  <a:lnTo>
                    <a:pt x="331" y="29"/>
                  </a:lnTo>
                  <a:lnTo>
                    <a:pt x="244" y="18"/>
                  </a:lnTo>
                  <a:lnTo>
                    <a:pt x="238" y="18"/>
                  </a:lnTo>
                  <a:lnTo>
                    <a:pt x="180" y="12"/>
                  </a:lnTo>
                  <a:lnTo>
                    <a:pt x="157" y="6"/>
                  </a:lnTo>
                  <a:lnTo>
                    <a:pt x="128" y="6"/>
                  </a:lnTo>
                  <a:lnTo>
                    <a:pt x="122" y="6"/>
                  </a:lnTo>
                  <a:lnTo>
                    <a:pt x="93" y="0"/>
                  </a:lnTo>
                  <a:lnTo>
                    <a:pt x="93" y="29"/>
                  </a:lnTo>
                  <a:lnTo>
                    <a:pt x="87" y="58"/>
                  </a:lnTo>
                  <a:lnTo>
                    <a:pt x="75" y="111"/>
                  </a:lnTo>
                  <a:lnTo>
                    <a:pt x="70" y="163"/>
                  </a:lnTo>
                  <a:lnTo>
                    <a:pt x="70" y="169"/>
                  </a:lnTo>
                  <a:lnTo>
                    <a:pt x="58" y="232"/>
                  </a:lnTo>
                  <a:lnTo>
                    <a:pt x="58" y="250"/>
                  </a:lnTo>
                  <a:lnTo>
                    <a:pt x="52" y="273"/>
                  </a:lnTo>
                  <a:lnTo>
                    <a:pt x="52" y="296"/>
                  </a:lnTo>
                  <a:lnTo>
                    <a:pt x="46" y="337"/>
                  </a:lnTo>
                  <a:lnTo>
                    <a:pt x="41" y="366"/>
                  </a:lnTo>
                  <a:lnTo>
                    <a:pt x="29" y="430"/>
                  </a:lnTo>
                  <a:lnTo>
                    <a:pt x="29" y="435"/>
                  </a:lnTo>
                  <a:lnTo>
                    <a:pt x="29" y="453"/>
                  </a:lnTo>
                  <a:lnTo>
                    <a:pt x="23" y="476"/>
                  </a:lnTo>
                  <a:lnTo>
                    <a:pt x="23" y="482"/>
                  </a:lnTo>
                  <a:lnTo>
                    <a:pt x="17" y="511"/>
                  </a:lnTo>
                  <a:lnTo>
                    <a:pt x="17" y="517"/>
                  </a:lnTo>
                  <a:lnTo>
                    <a:pt x="0" y="615"/>
                  </a:lnTo>
                  <a:lnTo>
                    <a:pt x="0" y="621"/>
                  </a:lnTo>
                  <a:lnTo>
                    <a:pt x="0" y="638"/>
                  </a:lnTo>
                  <a:lnTo>
                    <a:pt x="17" y="644"/>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4" name="Freeform 65"/>
            <p:cNvSpPr>
              <a:spLocks/>
            </p:cNvSpPr>
            <p:nvPr/>
          </p:nvSpPr>
          <p:spPr bwMode="auto">
            <a:xfrm>
              <a:off x="1523" y="2161"/>
              <a:ext cx="586" cy="887"/>
            </a:xfrm>
            <a:custGeom>
              <a:avLst/>
              <a:gdLst>
                <a:gd name="T0" fmla="*/ 0 w 586"/>
                <a:gd name="T1" fmla="*/ 330 h 887"/>
                <a:gd name="T2" fmla="*/ 11 w 586"/>
                <a:gd name="T3" fmla="*/ 336 h 887"/>
                <a:gd name="T4" fmla="*/ 29 w 586"/>
                <a:gd name="T5" fmla="*/ 365 h 887"/>
                <a:gd name="T6" fmla="*/ 35 w 586"/>
                <a:gd name="T7" fmla="*/ 377 h 887"/>
                <a:gd name="T8" fmla="*/ 52 w 586"/>
                <a:gd name="T9" fmla="*/ 400 h 887"/>
                <a:gd name="T10" fmla="*/ 58 w 586"/>
                <a:gd name="T11" fmla="*/ 411 h 887"/>
                <a:gd name="T12" fmla="*/ 81 w 586"/>
                <a:gd name="T13" fmla="*/ 452 h 887"/>
                <a:gd name="T14" fmla="*/ 133 w 586"/>
                <a:gd name="T15" fmla="*/ 527 h 887"/>
                <a:gd name="T16" fmla="*/ 145 w 586"/>
                <a:gd name="T17" fmla="*/ 551 h 887"/>
                <a:gd name="T18" fmla="*/ 162 w 586"/>
                <a:gd name="T19" fmla="*/ 580 h 887"/>
                <a:gd name="T20" fmla="*/ 232 w 586"/>
                <a:gd name="T21" fmla="*/ 684 h 887"/>
                <a:gd name="T22" fmla="*/ 278 w 586"/>
                <a:gd name="T23" fmla="*/ 754 h 887"/>
                <a:gd name="T24" fmla="*/ 296 w 586"/>
                <a:gd name="T25" fmla="*/ 783 h 887"/>
                <a:gd name="T26" fmla="*/ 348 w 586"/>
                <a:gd name="T27" fmla="*/ 858 h 887"/>
                <a:gd name="T28" fmla="*/ 377 w 586"/>
                <a:gd name="T29" fmla="*/ 864 h 887"/>
                <a:gd name="T30" fmla="*/ 389 w 586"/>
                <a:gd name="T31" fmla="*/ 788 h 887"/>
                <a:gd name="T32" fmla="*/ 406 w 586"/>
                <a:gd name="T33" fmla="*/ 765 h 887"/>
                <a:gd name="T34" fmla="*/ 447 w 586"/>
                <a:gd name="T35" fmla="*/ 765 h 887"/>
                <a:gd name="T36" fmla="*/ 470 w 586"/>
                <a:gd name="T37" fmla="*/ 678 h 887"/>
                <a:gd name="T38" fmla="*/ 482 w 586"/>
                <a:gd name="T39" fmla="*/ 632 h 887"/>
                <a:gd name="T40" fmla="*/ 487 w 586"/>
                <a:gd name="T41" fmla="*/ 591 h 887"/>
                <a:gd name="T42" fmla="*/ 499 w 586"/>
                <a:gd name="T43" fmla="*/ 533 h 887"/>
                <a:gd name="T44" fmla="*/ 505 w 586"/>
                <a:gd name="T45" fmla="*/ 504 h 887"/>
                <a:gd name="T46" fmla="*/ 511 w 586"/>
                <a:gd name="T47" fmla="*/ 493 h 887"/>
                <a:gd name="T48" fmla="*/ 528 w 586"/>
                <a:gd name="T49" fmla="*/ 400 h 887"/>
                <a:gd name="T50" fmla="*/ 534 w 586"/>
                <a:gd name="T51" fmla="*/ 371 h 887"/>
                <a:gd name="T52" fmla="*/ 540 w 586"/>
                <a:gd name="T53" fmla="*/ 342 h 887"/>
                <a:gd name="T54" fmla="*/ 545 w 586"/>
                <a:gd name="T55" fmla="*/ 307 h 887"/>
                <a:gd name="T56" fmla="*/ 563 w 586"/>
                <a:gd name="T57" fmla="*/ 232 h 887"/>
                <a:gd name="T58" fmla="*/ 586 w 586"/>
                <a:gd name="T59" fmla="*/ 133 h 887"/>
                <a:gd name="T60" fmla="*/ 569 w 586"/>
                <a:gd name="T61" fmla="*/ 116 h 887"/>
                <a:gd name="T62" fmla="*/ 528 w 586"/>
                <a:gd name="T63" fmla="*/ 110 h 887"/>
                <a:gd name="T64" fmla="*/ 418 w 586"/>
                <a:gd name="T65" fmla="*/ 87 h 887"/>
                <a:gd name="T66" fmla="*/ 319 w 586"/>
                <a:gd name="T67" fmla="*/ 58 h 887"/>
                <a:gd name="T68" fmla="*/ 220 w 586"/>
                <a:gd name="T69" fmla="*/ 34 h 887"/>
                <a:gd name="T70" fmla="*/ 151 w 586"/>
                <a:gd name="T71" fmla="*/ 17 h 887"/>
                <a:gd name="T72" fmla="*/ 133 w 586"/>
                <a:gd name="T73" fmla="*/ 11 h 887"/>
                <a:gd name="T74" fmla="*/ 93 w 586"/>
                <a:gd name="T75" fmla="*/ 0 h 887"/>
                <a:gd name="T76" fmla="*/ 75 w 586"/>
                <a:gd name="T77" fmla="*/ 69 h 887"/>
                <a:gd name="T78" fmla="*/ 52 w 586"/>
                <a:gd name="T79" fmla="*/ 162 h 887"/>
                <a:gd name="T80" fmla="*/ 23 w 586"/>
                <a:gd name="T81" fmla="*/ 249 h 887"/>
                <a:gd name="T82" fmla="*/ 17 w 586"/>
                <a:gd name="T83" fmla="*/ 272 h 887"/>
                <a:gd name="T84" fmla="*/ 11 w 586"/>
                <a:gd name="T85" fmla="*/ 290 h 887"/>
                <a:gd name="T86" fmla="*/ 11 w 586"/>
                <a:gd name="T87" fmla="*/ 301 h 887"/>
                <a:gd name="T88" fmla="*/ 6 w 586"/>
                <a:gd name="T89" fmla="*/ 319 h 8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6"/>
                <a:gd name="T136" fmla="*/ 0 h 887"/>
                <a:gd name="T137" fmla="*/ 586 w 586"/>
                <a:gd name="T138" fmla="*/ 887 h 8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6" h="887">
                  <a:moveTo>
                    <a:pt x="6" y="319"/>
                  </a:moveTo>
                  <a:lnTo>
                    <a:pt x="0" y="330"/>
                  </a:lnTo>
                  <a:lnTo>
                    <a:pt x="6" y="336"/>
                  </a:lnTo>
                  <a:lnTo>
                    <a:pt x="11" y="336"/>
                  </a:lnTo>
                  <a:lnTo>
                    <a:pt x="11" y="342"/>
                  </a:lnTo>
                  <a:lnTo>
                    <a:pt x="29" y="365"/>
                  </a:lnTo>
                  <a:lnTo>
                    <a:pt x="29" y="371"/>
                  </a:lnTo>
                  <a:lnTo>
                    <a:pt x="35" y="377"/>
                  </a:lnTo>
                  <a:lnTo>
                    <a:pt x="46" y="394"/>
                  </a:lnTo>
                  <a:lnTo>
                    <a:pt x="52" y="400"/>
                  </a:lnTo>
                  <a:lnTo>
                    <a:pt x="52" y="406"/>
                  </a:lnTo>
                  <a:lnTo>
                    <a:pt x="58" y="411"/>
                  </a:lnTo>
                  <a:lnTo>
                    <a:pt x="75" y="435"/>
                  </a:lnTo>
                  <a:lnTo>
                    <a:pt x="81" y="452"/>
                  </a:lnTo>
                  <a:lnTo>
                    <a:pt x="104" y="487"/>
                  </a:lnTo>
                  <a:lnTo>
                    <a:pt x="133" y="527"/>
                  </a:lnTo>
                  <a:lnTo>
                    <a:pt x="139" y="545"/>
                  </a:lnTo>
                  <a:lnTo>
                    <a:pt x="145" y="551"/>
                  </a:lnTo>
                  <a:lnTo>
                    <a:pt x="162" y="574"/>
                  </a:lnTo>
                  <a:lnTo>
                    <a:pt x="162" y="580"/>
                  </a:lnTo>
                  <a:lnTo>
                    <a:pt x="191" y="614"/>
                  </a:lnTo>
                  <a:lnTo>
                    <a:pt x="232" y="684"/>
                  </a:lnTo>
                  <a:lnTo>
                    <a:pt x="255" y="713"/>
                  </a:lnTo>
                  <a:lnTo>
                    <a:pt x="278" y="754"/>
                  </a:lnTo>
                  <a:lnTo>
                    <a:pt x="290" y="765"/>
                  </a:lnTo>
                  <a:lnTo>
                    <a:pt x="296" y="783"/>
                  </a:lnTo>
                  <a:lnTo>
                    <a:pt x="325" y="823"/>
                  </a:lnTo>
                  <a:lnTo>
                    <a:pt x="348" y="858"/>
                  </a:lnTo>
                  <a:lnTo>
                    <a:pt x="371" y="887"/>
                  </a:lnTo>
                  <a:lnTo>
                    <a:pt x="377" y="864"/>
                  </a:lnTo>
                  <a:lnTo>
                    <a:pt x="383" y="806"/>
                  </a:lnTo>
                  <a:lnTo>
                    <a:pt x="389" y="788"/>
                  </a:lnTo>
                  <a:lnTo>
                    <a:pt x="383" y="765"/>
                  </a:lnTo>
                  <a:lnTo>
                    <a:pt x="406" y="765"/>
                  </a:lnTo>
                  <a:lnTo>
                    <a:pt x="429" y="783"/>
                  </a:lnTo>
                  <a:lnTo>
                    <a:pt x="447" y="765"/>
                  </a:lnTo>
                  <a:lnTo>
                    <a:pt x="464" y="696"/>
                  </a:lnTo>
                  <a:lnTo>
                    <a:pt x="470" y="678"/>
                  </a:lnTo>
                  <a:lnTo>
                    <a:pt x="470" y="667"/>
                  </a:lnTo>
                  <a:lnTo>
                    <a:pt x="482" y="632"/>
                  </a:lnTo>
                  <a:lnTo>
                    <a:pt x="482" y="609"/>
                  </a:lnTo>
                  <a:lnTo>
                    <a:pt x="487" y="591"/>
                  </a:lnTo>
                  <a:lnTo>
                    <a:pt x="493" y="551"/>
                  </a:lnTo>
                  <a:lnTo>
                    <a:pt x="499" y="533"/>
                  </a:lnTo>
                  <a:lnTo>
                    <a:pt x="505" y="510"/>
                  </a:lnTo>
                  <a:lnTo>
                    <a:pt x="505" y="504"/>
                  </a:lnTo>
                  <a:lnTo>
                    <a:pt x="505" y="498"/>
                  </a:lnTo>
                  <a:lnTo>
                    <a:pt x="511" y="493"/>
                  </a:lnTo>
                  <a:lnTo>
                    <a:pt x="511" y="469"/>
                  </a:lnTo>
                  <a:lnTo>
                    <a:pt x="528" y="400"/>
                  </a:lnTo>
                  <a:lnTo>
                    <a:pt x="528" y="394"/>
                  </a:lnTo>
                  <a:lnTo>
                    <a:pt x="534" y="371"/>
                  </a:lnTo>
                  <a:lnTo>
                    <a:pt x="540" y="353"/>
                  </a:lnTo>
                  <a:lnTo>
                    <a:pt x="540" y="342"/>
                  </a:lnTo>
                  <a:lnTo>
                    <a:pt x="540" y="330"/>
                  </a:lnTo>
                  <a:lnTo>
                    <a:pt x="545" y="307"/>
                  </a:lnTo>
                  <a:lnTo>
                    <a:pt x="557" y="272"/>
                  </a:lnTo>
                  <a:lnTo>
                    <a:pt x="563" y="232"/>
                  </a:lnTo>
                  <a:lnTo>
                    <a:pt x="569" y="197"/>
                  </a:lnTo>
                  <a:lnTo>
                    <a:pt x="586" y="133"/>
                  </a:lnTo>
                  <a:lnTo>
                    <a:pt x="586" y="121"/>
                  </a:lnTo>
                  <a:lnTo>
                    <a:pt x="569" y="116"/>
                  </a:lnTo>
                  <a:lnTo>
                    <a:pt x="540" y="110"/>
                  </a:lnTo>
                  <a:lnTo>
                    <a:pt x="528" y="110"/>
                  </a:lnTo>
                  <a:lnTo>
                    <a:pt x="505" y="104"/>
                  </a:lnTo>
                  <a:lnTo>
                    <a:pt x="418" y="87"/>
                  </a:lnTo>
                  <a:lnTo>
                    <a:pt x="342" y="63"/>
                  </a:lnTo>
                  <a:lnTo>
                    <a:pt x="319" y="58"/>
                  </a:lnTo>
                  <a:lnTo>
                    <a:pt x="244" y="40"/>
                  </a:lnTo>
                  <a:lnTo>
                    <a:pt x="220" y="34"/>
                  </a:lnTo>
                  <a:lnTo>
                    <a:pt x="203" y="29"/>
                  </a:lnTo>
                  <a:lnTo>
                    <a:pt x="151" y="17"/>
                  </a:lnTo>
                  <a:lnTo>
                    <a:pt x="145" y="17"/>
                  </a:lnTo>
                  <a:lnTo>
                    <a:pt x="133" y="11"/>
                  </a:lnTo>
                  <a:lnTo>
                    <a:pt x="104" y="5"/>
                  </a:lnTo>
                  <a:lnTo>
                    <a:pt x="93" y="0"/>
                  </a:lnTo>
                  <a:lnTo>
                    <a:pt x="87" y="23"/>
                  </a:lnTo>
                  <a:lnTo>
                    <a:pt x="75" y="69"/>
                  </a:lnTo>
                  <a:lnTo>
                    <a:pt x="70" y="92"/>
                  </a:lnTo>
                  <a:lnTo>
                    <a:pt x="52" y="162"/>
                  </a:lnTo>
                  <a:lnTo>
                    <a:pt x="35" y="226"/>
                  </a:lnTo>
                  <a:lnTo>
                    <a:pt x="23" y="249"/>
                  </a:lnTo>
                  <a:lnTo>
                    <a:pt x="23" y="261"/>
                  </a:lnTo>
                  <a:lnTo>
                    <a:pt x="17" y="272"/>
                  </a:lnTo>
                  <a:lnTo>
                    <a:pt x="17" y="278"/>
                  </a:lnTo>
                  <a:lnTo>
                    <a:pt x="11" y="290"/>
                  </a:lnTo>
                  <a:lnTo>
                    <a:pt x="11" y="295"/>
                  </a:lnTo>
                  <a:lnTo>
                    <a:pt x="11" y="301"/>
                  </a:lnTo>
                  <a:lnTo>
                    <a:pt x="6" y="313"/>
                  </a:lnTo>
                  <a:lnTo>
                    <a:pt x="6" y="319"/>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5" name="Freeform 66"/>
            <p:cNvSpPr>
              <a:spLocks/>
            </p:cNvSpPr>
            <p:nvPr/>
          </p:nvSpPr>
          <p:spPr bwMode="auto">
            <a:xfrm>
              <a:off x="1267" y="1604"/>
              <a:ext cx="738" cy="620"/>
            </a:xfrm>
            <a:custGeom>
              <a:avLst/>
              <a:gdLst>
                <a:gd name="T0" fmla="*/ 651 w 738"/>
                <a:gd name="T1" fmla="*/ 371 h 620"/>
                <a:gd name="T2" fmla="*/ 662 w 738"/>
                <a:gd name="T3" fmla="*/ 388 h 620"/>
                <a:gd name="T4" fmla="*/ 645 w 738"/>
                <a:gd name="T5" fmla="*/ 423 h 620"/>
                <a:gd name="T6" fmla="*/ 639 w 738"/>
                <a:gd name="T7" fmla="*/ 446 h 620"/>
                <a:gd name="T8" fmla="*/ 598 w 738"/>
                <a:gd name="T9" fmla="*/ 620 h 620"/>
                <a:gd name="T10" fmla="*/ 500 w 738"/>
                <a:gd name="T11" fmla="*/ 597 h 620"/>
                <a:gd name="T12" fmla="*/ 459 w 738"/>
                <a:gd name="T13" fmla="*/ 586 h 620"/>
                <a:gd name="T14" fmla="*/ 401 w 738"/>
                <a:gd name="T15" fmla="*/ 574 h 620"/>
                <a:gd name="T16" fmla="*/ 360 w 738"/>
                <a:gd name="T17" fmla="*/ 562 h 620"/>
                <a:gd name="T18" fmla="*/ 337 w 738"/>
                <a:gd name="T19" fmla="*/ 551 h 620"/>
                <a:gd name="T20" fmla="*/ 279 w 738"/>
                <a:gd name="T21" fmla="*/ 539 h 620"/>
                <a:gd name="T22" fmla="*/ 244 w 738"/>
                <a:gd name="T23" fmla="*/ 528 h 620"/>
                <a:gd name="T24" fmla="*/ 186 w 738"/>
                <a:gd name="T25" fmla="*/ 510 h 620"/>
                <a:gd name="T26" fmla="*/ 163 w 738"/>
                <a:gd name="T27" fmla="*/ 499 h 620"/>
                <a:gd name="T28" fmla="*/ 93 w 738"/>
                <a:gd name="T29" fmla="*/ 481 h 620"/>
                <a:gd name="T30" fmla="*/ 82 w 738"/>
                <a:gd name="T31" fmla="*/ 475 h 620"/>
                <a:gd name="T32" fmla="*/ 64 w 738"/>
                <a:gd name="T33" fmla="*/ 470 h 620"/>
                <a:gd name="T34" fmla="*/ 53 w 738"/>
                <a:gd name="T35" fmla="*/ 470 h 620"/>
                <a:gd name="T36" fmla="*/ 24 w 738"/>
                <a:gd name="T37" fmla="*/ 458 h 620"/>
                <a:gd name="T38" fmla="*/ 12 w 738"/>
                <a:gd name="T39" fmla="*/ 452 h 620"/>
                <a:gd name="T40" fmla="*/ 18 w 738"/>
                <a:gd name="T41" fmla="*/ 377 h 620"/>
                <a:gd name="T42" fmla="*/ 24 w 738"/>
                <a:gd name="T43" fmla="*/ 342 h 620"/>
                <a:gd name="T44" fmla="*/ 53 w 738"/>
                <a:gd name="T45" fmla="*/ 301 h 620"/>
                <a:gd name="T46" fmla="*/ 82 w 738"/>
                <a:gd name="T47" fmla="*/ 255 h 620"/>
                <a:gd name="T48" fmla="*/ 99 w 738"/>
                <a:gd name="T49" fmla="*/ 208 h 620"/>
                <a:gd name="T50" fmla="*/ 146 w 738"/>
                <a:gd name="T51" fmla="*/ 110 h 620"/>
                <a:gd name="T52" fmla="*/ 180 w 738"/>
                <a:gd name="T53" fmla="*/ 11 h 620"/>
                <a:gd name="T54" fmla="*/ 180 w 738"/>
                <a:gd name="T55" fmla="*/ 0 h 620"/>
                <a:gd name="T56" fmla="*/ 198 w 738"/>
                <a:gd name="T57" fmla="*/ 11 h 620"/>
                <a:gd name="T58" fmla="*/ 221 w 738"/>
                <a:gd name="T59" fmla="*/ 11 h 620"/>
                <a:gd name="T60" fmla="*/ 233 w 738"/>
                <a:gd name="T61" fmla="*/ 29 h 620"/>
                <a:gd name="T62" fmla="*/ 250 w 738"/>
                <a:gd name="T63" fmla="*/ 34 h 620"/>
                <a:gd name="T64" fmla="*/ 256 w 738"/>
                <a:gd name="T65" fmla="*/ 69 h 620"/>
                <a:gd name="T66" fmla="*/ 256 w 738"/>
                <a:gd name="T67" fmla="*/ 87 h 620"/>
                <a:gd name="T68" fmla="*/ 273 w 738"/>
                <a:gd name="T69" fmla="*/ 110 h 620"/>
                <a:gd name="T70" fmla="*/ 296 w 738"/>
                <a:gd name="T71" fmla="*/ 116 h 620"/>
                <a:gd name="T72" fmla="*/ 314 w 738"/>
                <a:gd name="T73" fmla="*/ 116 h 620"/>
                <a:gd name="T74" fmla="*/ 331 w 738"/>
                <a:gd name="T75" fmla="*/ 116 h 620"/>
                <a:gd name="T76" fmla="*/ 355 w 738"/>
                <a:gd name="T77" fmla="*/ 121 h 620"/>
                <a:gd name="T78" fmla="*/ 372 w 738"/>
                <a:gd name="T79" fmla="*/ 133 h 620"/>
                <a:gd name="T80" fmla="*/ 401 w 738"/>
                <a:gd name="T81" fmla="*/ 133 h 620"/>
                <a:gd name="T82" fmla="*/ 418 w 738"/>
                <a:gd name="T83" fmla="*/ 133 h 620"/>
                <a:gd name="T84" fmla="*/ 453 w 738"/>
                <a:gd name="T85" fmla="*/ 145 h 620"/>
                <a:gd name="T86" fmla="*/ 476 w 738"/>
                <a:gd name="T87" fmla="*/ 139 h 620"/>
                <a:gd name="T88" fmla="*/ 494 w 738"/>
                <a:gd name="T89" fmla="*/ 139 h 620"/>
                <a:gd name="T90" fmla="*/ 517 w 738"/>
                <a:gd name="T91" fmla="*/ 139 h 620"/>
                <a:gd name="T92" fmla="*/ 540 w 738"/>
                <a:gd name="T93" fmla="*/ 145 h 620"/>
                <a:gd name="T94" fmla="*/ 569 w 738"/>
                <a:gd name="T95" fmla="*/ 145 h 620"/>
                <a:gd name="T96" fmla="*/ 627 w 738"/>
                <a:gd name="T97" fmla="*/ 162 h 620"/>
                <a:gd name="T98" fmla="*/ 651 w 738"/>
                <a:gd name="T99" fmla="*/ 168 h 620"/>
                <a:gd name="T100" fmla="*/ 662 w 738"/>
                <a:gd name="T101" fmla="*/ 168 h 620"/>
                <a:gd name="T102" fmla="*/ 680 w 738"/>
                <a:gd name="T103" fmla="*/ 174 h 620"/>
                <a:gd name="T104" fmla="*/ 714 w 738"/>
                <a:gd name="T105" fmla="*/ 185 h 620"/>
                <a:gd name="T106" fmla="*/ 738 w 738"/>
                <a:gd name="T107" fmla="*/ 214 h 620"/>
                <a:gd name="T108" fmla="*/ 709 w 738"/>
                <a:gd name="T109" fmla="*/ 266 h 620"/>
                <a:gd name="T110" fmla="*/ 697 w 738"/>
                <a:gd name="T111" fmla="*/ 284 h 620"/>
                <a:gd name="T112" fmla="*/ 685 w 738"/>
                <a:gd name="T113" fmla="*/ 313 h 620"/>
                <a:gd name="T114" fmla="*/ 645 w 738"/>
                <a:gd name="T115" fmla="*/ 353 h 6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620"/>
                <a:gd name="T176" fmla="*/ 738 w 738"/>
                <a:gd name="T177" fmla="*/ 620 h 6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620">
                  <a:moveTo>
                    <a:pt x="645" y="365"/>
                  </a:moveTo>
                  <a:lnTo>
                    <a:pt x="651" y="371"/>
                  </a:lnTo>
                  <a:lnTo>
                    <a:pt x="656" y="377"/>
                  </a:lnTo>
                  <a:lnTo>
                    <a:pt x="662" y="388"/>
                  </a:lnTo>
                  <a:lnTo>
                    <a:pt x="651" y="417"/>
                  </a:lnTo>
                  <a:lnTo>
                    <a:pt x="645" y="423"/>
                  </a:lnTo>
                  <a:lnTo>
                    <a:pt x="639" y="435"/>
                  </a:lnTo>
                  <a:lnTo>
                    <a:pt x="639" y="446"/>
                  </a:lnTo>
                  <a:lnTo>
                    <a:pt x="627" y="493"/>
                  </a:lnTo>
                  <a:lnTo>
                    <a:pt x="598" y="620"/>
                  </a:lnTo>
                  <a:lnTo>
                    <a:pt x="575" y="615"/>
                  </a:lnTo>
                  <a:lnTo>
                    <a:pt x="500" y="597"/>
                  </a:lnTo>
                  <a:lnTo>
                    <a:pt x="476" y="591"/>
                  </a:lnTo>
                  <a:lnTo>
                    <a:pt x="459" y="586"/>
                  </a:lnTo>
                  <a:lnTo>
                    <a:pt x="407" y="574"/>
                  </a:lnTo>
                  <a:lnTo>
                    <a:pt x="401" y="574"/>
                  </a:lnTo>
                  <a:lnTo>
                    <a:pt x="389" y="568"/>
                  </a:lnTo>
                  <a:lnTo>
                    <a:pt x="360" y="562"/>
                  </a:lnTo>
                  <a:lnTo>
                    <a:pt x="349" y="557"/>
                  </a:lnTo>
                  <a:lnTo>
                    <a:pt x="337" y="551"/>
                  </a:lnTo>
                  <a:lnTo>
                    <a:pt x="331" y="551"/>
                  </a:lnTo>
                  <a:lnTo>
                    <a:pt x="279" y="539"/>
                  </a:lnTo>
                  <a:lnTo>
                    <a:pt x="262" y="533"/>
                  </a:lnTo>
                  <a:lnTo>
                    <a:pt x="244" y="528"/>
                  </a:lnTo>
                  <a:lnTo>
                    <a:pt x="233" y="522"/>
                  </a:lnTo>
                  <a:lnTo>
                    <a:pt x="186" y="510"/>
                  </a:lnTo>
                  <a:lnTo>
                    <a:pt x="175" y="504"/>
                  </a:lnTo>
                  <a:lnTo>
                    <a:pt x="163" y="499"/>
                  </a:lnTo>
                  <a:lnTo>
                    <a:pt x="105" y="481"/>
                  </a:lnTo>
                  <a:lnTo>
                    <a:pt x="93" y="481"/>
                  </a:lnTo>
                  <a:lnTo>
                    <a:pt x="88" y="475"/>
                  </a:lnTo>
                  <a:lnTo>
                    <a:pt x="82" y="475"/>
                  </a:lnTo>
                  <a:lnTo>
                    <a:pt x="70" y="470"/>
                  </a:lnTo>
                  <a:lnTo>
                    <a:pt x="64" y="470"/>
                  </a:lnTo>
                  <a:lnTo>
                    <a:pt x="59" y="470"/>
                  </a:lnTo>
                  <a:lnTo>
                    <a:pt x="53" y="470"/>
                  </a:lnTo>
                  <a:lnTo>
                    <a:pt x="41" y="464"/>
                  </a:lnTo>
                  <a:lnTo>
                    <a:pt x="24" y="458"/>
                  </a:lnTo>
                  <a:lnTo>
                    <a:pt x="18" y="452"/>
                  </a:lnTo>
                  <a:lnTo>
                    <a:pt x="12" y="452"/>
                  </a:lnTo>
                  <a:lnTo>
                    <a:pt x="0" y="435"/>
                  </a:lnTo>
                  <a:lnTo>
                    <a:pt x="18" y="377"/>
                  </a:lnTo>
                  <a:lnTo>
                    <a:pt x="12" y="353"/>
                  </a:lnTo>
                  <a:lnTo>
                    <a:pt x="24" y="342"/>
                  </a:lnTo>
                  <a:lnTo>
                    <a:pt x="47" y="301"/>
                  </a:lnTo>
                  <a:lnTo>
                    <a:pt x="53" y="301"/>
                  </a:lnTo>
                  <a:lnTo>
                    <a:pt x="70" y="278"/>
                  </a:lnTo>
                  <a:lnTo>
                    <a:pt x="82" y="255"/>
                  </a:lnTo>
                  <a:lnTo>
                    <a:pt x="82" y="249"/>
                  </a:lnTo>
                  <a:lnTo>
                    <a:pt x="99" y="208"/>
                  </a:lnTo>
                  <a:lnTo>
                    <a:pt x="134" y="127"/>
                  </a:lnTo>
                  <a:lnTo>
                    <a:pt x="146" y="110"/>
                  </a:lnTo>
                  <a:lnTo>
                    <a:pt x="163" y="52"/>
                  </a:lnTo>
                  <a:lnTo>
                    <a:pt x="180" y="11"/>
                  </a:lnTo>
                  <a:lnTo>
                    <a:pt x="175" y="0"/>
                  </a:lnTo>
                  <a:lnTo>
                    <a:pt x="180" y="0"/>
                  </a:lnTo>
                  <a:lnTo>
                    <a:pt x="186" y="11"/>
                  </a:lnTo>
                  <a:lnTo>
                    <a:pt x="198" y="11"/>
                  </a:lnTo>
                  <a:lnTo>
                    <a:pt x="204" y="5"/>
                  </a:lnTo>
                  <a:lnTo>
                    <a:pt x="221" y="11"/>
                  </a:lnTo>
                  <a:lnTo>
                    <a:pt x="227" y="23"/>
                  </a:lnTo>
                  <a:lnTo>
                    <a:pt x="233" y="29"/>
                  </a:lnTo>
                  <a:lnTo>
                    <a:pt x="238" y="29"/>
                  </a:lnTo>
                  <a:lnTo>
                    <a:pt x="250" y="34"/>
                  </a:lnTo>
                  <a:lnTo>
                    <a:pt x="262" y="58"/>
                  </a:lnTo>
                  <a:lnTo>
                    <a:pt x="256" y="69"/>
                  </a:lnTo>
                  <a:lnTo>
                    <a:pt x="256" y="81"/>
                  </a:lnTo>
                  <a:lnTo>
                    <a:pt x="256" y="87"/>
                  </a:lnTo>
                  <a:lnTo>
                    <a:pt x="250" y="92"/>
                  </a:lnTo>
                  <a:lnTo>
                    <a:pt x="273" y="110"/>
                  </a:lnTo>
                  <a:lnTo>
                    <a:pt x="291" y="116"/>
                  </a:lnTo>
                  <a:lnTo>
                    <a:pt x="296" y="116"/>
                  </a:lnTo>
                  <a:lnTo>
                    <a:pt x="302" y="116"/>
                  </a:lnTo>
                  <a:lnTo>
                    <a:pt x="314" y="116"/>
                  </a:lnTo>
                  <a:lnTo>
                    <a:pt x="326" y="110"/>
                  </a:lnTo>
                  <a:lnTo>
                    <a:pt x="331" y="116"/>
                  </a:lnTo>
                  <a:lnTo>
                    <a:pt x="349" y="116"/>
                  </a:lnTo>
                  <a:lnTo>
                    <a:pt x="355" y="121"/>
                  </a:lnTo>
                  <a:lnTo>
                    <a:pt x="372" y="127"/>
                  </a:lnTo>
                  <a:lnTo>
                    <a:pt x="372" y="133"/>
                  </a:lnTo>
                  <a:lnTo>
                    <a:pt x="395" y="139"/>
                  </a:lnTo>
                  <a:lnTo>
                    <a:pt x="401" y="133"/>
                  </a:lnTo>
                  <a:lnTo>
                    <a:pt x="413" y="133"/>
                  </a:lnTo>
                  <a:lnTo>
                    <a:pt x="418" y="133"/>
                  </a:lnTo>
                  <a:lnTo>
                    <a:pt x="430" y="139"/>
                  </a:lnTo>
                  <a:lnTo>
                    <a:pt x="453" y="145"/>
                  </a:lnTo>
                  <a:lnTo>
                    <a:pt x="471" y="139"/>
                  </a:lnTo>
                  <a:lnTo>
                    <a:pt x="476" y="139"/>
                  </a:lnTo>
                  <a:lnTo>
                    <a:pt x="482" y="139"/>
                  </a:lnTo>
                  <a:lnTo>
                    <a:pt x="494" y="139"/>
                  </a:lnTo>
                  <a:lnTo>
                    <a:pt x="505" y="133"/>
                  </a:lnTo>
                  <a:lnTo>
                    <a:pt x="517" y="139"/>
                  </a:lnTo>
                  <a:lnTo>
                    <a:pt x="529" y="139"/>
                  </a:lnTo>
                  <a:lnTo>
                    <a:pt x="540" y="145"/>
                  </a:lnTo>
                  <a:lnTo>
                    <a:pt x="552" y="139"/>
                  </a:lnTo>
                  <a:lnTo>
                    <a:pt x="569" y="145"/>
                  </a:lnTo>
                  <a:lnTo>
                    <a:pt x="610" y="156"/>
                  </a:lnTo>
                  <a:lnTo>
                    <a:pt x="627" y="162"/>
                  </a:lnTo>
                  <a:lnTo>
                    <a:pt x="633" y="162"/>
                  </a:lnTo>
                  <a:lnTo>
                    <a:pt x="651" y="168"/>
                  </a:lnTo>
                  <a:lnTo>
                    <a:pt x="656" y="168"/>
                  </a:lnTo>
                  <a:lnTo>
                    <a:pt x="662" y="168"/>
                  </a:lnTo>
                  <a:lnTo>
                    <a:pt x="668" y="168"/>
                  </a:lnTo>
                  <a:lnTo>
                    <a:pt x="680" y="174"/>
                  </a:lnTo>
                  <a:lnTo>
                    <a:pt x="714" y="179"/>
                  </a:lnTo>
                  <a:lnTo>
                    <a:pt x="714" y="185"/>
                  </a:lnTo>
                  <a:lnTo>
                    <a:pt x="720" y="197"/>
                  </a:lnTo>
                  <a:lnTo>
                    <a:pt x="738" y="214"/>
                  </a:lnTo>
                  <a:lnTo>
                    <a:pt x="738" y="232"/>
                  </a:lnTo>
                  <a:lnTo>
                    <a:pt x="709" y="266"/>
                  </a:lnTo>
                  <a:lnTo>
                    <a:pt x="703" y="284"/>
                  </a:lnTo>
                  <a:lnTo>
                    <a:pt x="697" y="284"/>
                  </a:lnTo>
                  <a:lnTo>
                    <a:pt x="691" y="295"/>
                  </a:lnTo>
                  <a:lnTo>
                    <a:pt x="685" y="313"/>
                  </a:lnTo>
                  <a:lnTo>
                    <a:pt x="668" y="319"/>
                  </a:lnTo>
                  <a:lnTo>
                    <a:pt x="645" y="353"/>
                  </a:lnTo>
                  <a:lnTo>
                    <a:pt x="645" y="36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6" name="Freeform 67"/>
            <p:cNvSpPr>
              <a:spLocks/>
            </p:cNvSpPr>
            <p:nvPr/>
          </p:nvSpPr>
          <p:spPr bwMode="auto">
            <a:xfrm>
              <a:off x="1993" y="2282"/>
              <a:ext cx="517" cy="638"/>
            </a:xfrm>
            <a:custGeom>
              <a:avLst/>
              <a:gdLst>
                <a:gd name="T0" fmla="*/ 17 w 517"/>
                <a:gd name="T1" fmla="*/ 470 h 638"/>
                <a:gd name="T2" fmla="*/ 12 w 517"/>
                <a:gd name="T3" fmla="*/ 511 h 638"/>
                <a:gd name="T4" fmla="*/ 0 w 517"/>
                <a:gd name="T5" fmla="*/ 557 h 638"/>
                <a:gd name="T6" fmla="*/ 58 w 517"/>
                <a:gd name="T7" fmla="*/ 569 h 638"/>
                <a:gd name="T8" fmla="*/ 116 w 517"/>
                <a:gd name="T9" fmla="*/ 580 h 638"/>
                <a:gd name="T10" fmla="*/ 203 w 517"/>
                <a:gd name="T11" fmla="*/ 598 h 638"/>
                <a:gd name="T12" fmla="*/ 238 w 517"/>
                <a:gd name="T13" fmla="*/ 604 h 638"/>
                <a:gd name="T14" fmla="*/ 273 w 517"/>
                <a:gd name="T15" fmla="*/ 609 h 638"/>
                <a:gd name="T16" fmla="*/ 319 w 517"/>
                <a:gd name="T17" fmla="*/ 615 h 638"/>
                <a:gd name="T18" fmla="*/ 395 w 517"/>
                <a:gd name="T19" fmla="*/ 633 h 638"/>
                <a:gd name="T20" fmla="*/ 447 w 517"/>
                <a:gd name="T21" fmla="*/ 638 h 638"/>
                <a:gd name="T22" fmla="*/ 458 w 517"/>
                <a:gd name="T23" fmla="*/ 580 h 638"/>
                <a:gd name="T24" fmla="*/ 464 w 517"/>
                <a:gd name="T25" fmla="*/ 540 h 638"/>
                <a:gd name="T26" fmla="*/ 470 w 517"/>
                <a:gd name="T27" fmla="*/ 505 h 638"/>
                <a:gd name="T28" fmla="*/ 476 w 517"/>
                <a:gd name="T29" fmla="*/ 470 h 638"/>
                <a:gd name="T30" fmla="*/ 482 w 517"/>
                <a:gd name="T31" fmla="*/ 412 h 638"/>
                <a:gd name="T32" fmla="*/ 493 w 517"/>
                <a:gd name="T33" fmla="*/ 354 h 638"/>
                <a:gd name="T34" fmla="*/ 493 w 517"/>
                <a:gd name="T35" fmla="*/ 337 h 638"/>
                <a:gd name="T36" fmla="*/ 499 w 517"/>
                <a:gd name="T37" fmla="*/ 302 h 638"/>
                <a:gd name="T38" fmla="*/ 505 w 517"/>
                <a:gd name="T39" fmla="*/ 250 h 638"/>
                <a:gd name="T40" fmla="*/ 511 w 517"/>
                <a:gd name="T41" fmla="*/ 227 h 638"/>
                <a:gd name="T42" fmla="*/ 517 w 517"/>
                <a:gd name="T43" fmla="*/ 203 h 638"/>
                <a:gd name="T44" fmla="*/ 476 w 517"/>
                <a:gd name="T45" fmla="*/ 180 h 638"/>
                <a:gd name="T46" fmla="*/ 429 w 517"/>
                <a:gd name="T47" fmla="*/ 174 h 638"/>
                <a:gd name="T48" fmla="*/ 348 w 517"/>
                <a:gd name="T49" fmla="*/ 163 h 638"/>
                <a:gd name="T50" fmla="*/ 354 w 517"/>
                <a:gd name="T51" fmla="*/ 111 h 638"/>
                <a:gd name="T52" fmla="*/ 360 w 517"/>
                <a:gd name="T53" fmla="*/ 93 h 638"/>
                <a:gd name="T54" fmla="*/ 366 w 517"/>
                <a:gd name="T55" fmla="*/ 64 h 638"/>
                <a:gd name="T56" fmla="*/ 337 w 517"/>
                <a:gd name="T57" fmla="*/ 41 h 638"/>
                <a:gd name="T58" fmla="*/ 325 w 517"/>
                <a:gd name="T59" fmla="*/ 41 h 638"/>
                <a:gd name="T60" fmla="*/ 284 w 517"/>
                <a:gd name="T61" fmla="*/ 35 h 638"/>
                <a:gd name="T62" fmla="*/ 273 w 517"/>
                <a:gd name="T63" fmla="*/ 29 h 638"/>
                <a:gd name="T64" fmla="*/ 180 w 517"/>
                <a:gd name="T65" fmla="*/ 12 h 638"/>
                <a:gd name="T66" fmla="*/ 116 w 517"/>
                <a:gd name="T67" fmla="*/ 0 h 638"/>
                <a:gd name="T68" fmla="*/ 99 w 517"/>
                <a:gd name="T69" fmla="*/ 76 h 638"/>
                <a:gd name="T70" fmla="*/ 87 w 517"/>
                <a:gd name="T71" fmla="*/ 151 h 638"/>
                <a:gd name="T72" fmla="*/ 70 w 517"/>
                <a:gd name="T73" fmla="*/ 209 h 638"/>
                <a:gd name="T74" fmla="*/ 70 w 517"/>
                <a:gd name="T75" fmla="*/ 232 h 638"/>
                <a:gd name="T76" fmla="*/ 58 w 517"/>
                <a:gd name="T77" fmla="*/ 273 h 638"/>
                <a:gd name="T78" fmla="*/ 41 w 517"/>
                <a:gd name="T79" fmla="*/ 348 h 638"/>
                <a:gd name="T80" fmla="*/ 35 w 517"/>
                <a:gd name="T81" fmla="*/ 377 h 638"/>
                <a:gd name="T82" fmla="*/ 35 w 517"/>
                <a:gd name="T83" fmla="*/ 389 h 638"/>
                <a:gd name="T84" fmla="*/ 23 w 517"/>
                <a:gd name="T85" fmla="*/ 430 h 6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7"/>
                <a:gd name="T130" fmla="*/ 0 h 638"/>
                <a:gd name="T131" fmla="*/ 517 w 517"/>
                <a:gd name="T132" fmla="*/ 638 h 63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7" h="638">
                  <a:moveTo>
                    <a:pt x="23" y="430"/>
                  </a:moveTo>
                  <a:lnTo>
                    <a:pt x="17" y="470"/>
                  </a:lnTo>
                  <a:lnTo>
                    <a:pt x="12" y="488"/>
                  </a:lnTo>
                  <a:lnTo>
                    <a:pt x="12" y="511"/>
                  </a:lnTo>
                  <a:lnTo>
                    <a:pt x="0" y="546"/>
                  </a:lnTo>
                  <a:lnTo>
                    <a:pt x="0" y="557"/>
                  </a:lnTo>
                  <a:lnTo>
                    <a:pt x="29" y="563"/>
                  </a:lnTo>
                  <a:lnTo>
                    <a:pt x="58" y="569"/>
                  </a:lnTo>
                  <a:lnTo>
                    <a:pt x="104" y="580"/>
                  </a:lnTo>
                  <a:lnTo>
                    <a:pt x="116" y="580"/>
                  </a:lnTo>
                  <a:lnTo>
                    <a:pt x="133" y="586"/>
                  </a:lnTo>
                  <a:lnTo>
                    <a:pt x="203" y="598"/>
                  </a:lnTo>
                  <a:lnTo>
                    <a:pt x="226" y="604"/>
                  </a:lnTo>
                  <a:lnTo>
                    <a:pt x="238" y="604"/>
                  </a:lnTo>
                  <a:lnTo>
                    <a:pt x="250" y="604"/>
                  </a:lnTo>
                  <a:lnTo>
                    <a:pt x="273" y="609"/>
                  </a:lnTo>
                  <a:lnTo>
                    <a:pt x="296" y="615"/>
                  </a:lnTo>
                  <a:lnTo>
                    <a:pt x="319" y="615"/>
                  </a:lnTo>
                  <a:lnTo>
                    <a:pt x="366" y="627"/>
                  </a:lnTo>
                  <a:lnTo>
                    <a:pt x="395" y="633"/>
                  </a:lnTo>
                  <a:lnTo>
                    <a:pt x="406" y="633"/>
                  </a:lnTo>
                  <a:lnTo>
                    <a:pt x="447" y="638"/>
                  </a:lnTo>
                  <a:lnTo>
                    <a:pt x="458" y="586"/>
                  </a:lnTo>
                  <a:lnTo>
                    <a:pt x="458" y="580"/>
                  </a:lnTo>
                  <a:lnTo>
                    <a:pt x="464" y="551"/>
                  </a:lnTo>
                  <a:lnTo>
                    <a:pt x="464" y="540"/>
                  </a:lnTo>
                  <a:lnTo>
                    <a:pt x="464" y="522"/>
                  </a:lnTo>
                  <a:lnTo>
                    <a:pt x="470" y="505"/>
                  </a:lnTo>
                  <a:lnTo>
                    <a:pt x="470" y="493"/>
                  </a:lnTo>
                  <a:lnTo>
                    <a:pt x="476" y="470"/>
                  </a:lnTo>
                  <a:lnTo>
                    <a:pt x="476" y="441"/>
                  </a:lnTo>
                  <a:lnTo>
                    <a:pt x="482" y="412"/>
                  </a:lnTo>
                  <a:lnTo>
                    <a:pt x="487" y="372"/>
                  </a:lnTo>
                  <a:lnTo>
                    <a:pt x="493" y="354"/>
                  </a:lnTo>
                  <a:lnTo>
                    <a:pt x="493" y="343"/>
                  </a:lnTo>
                  <a:lnTo>
                    <a:pt x="493" y="337"/>
                  </a:lnTo>
                  <a:lnTo>
                    <a:pt x="499" y="314"/>
                  </a:lnTo>
                  <a:lnTo>
                    <a:pt x="499" y="302"/>
                  </a:lnTo>
                  <a:lnTo>
                    <a:pt x="505" y="273"/>
                  </a:lnTo>
                  <a:lnTo>
                    <a:pt x="505" y="250"/>
                  </a:lnTo>
                  <a:lnTo>
                    <a:pt x="511" y="232"/>
                  </a:lnTo>
                  <a:lnTo>
                    <a:pt x="511" y="227"/>
                  </a:lnTo>
                  <a:lnTo>
                    <a:pt x="511" y="215"/>
                  </a:lnTo>
                  <a:lnTo>
                    <a:pt x="517" y="203"/>
                  </a:lnTo>
                  <a:lnTo>
                    <a:pt x="517" y="186"/>
                  </a:lnTo>
                  <a:lnTo>
                    <a:pt x="476" y="180"/>
                  </a:lnTo>
                  <a:lnTo>
                    <a:pt x="435" y="174"/>
                  </a:lnTo>
                  <a:lnTo>
                    <a:pt x="429" y="174"/>
                  </a:lnTo>
                  <a:lnTo>
                    <a:pt x="412" y="174"/>
                  </a:lnTo>
                  <a:lnTo>
                    <a:pt x="348" y="163"/>
                  </a:lnTo>
                  <a:lnTo>
                    <a:pt x="354" y="134"/>
                  </a:lnTo>
                  <a:lnTo>
                    <a:pt x="354" y="111"/>
                  </a:lnTo>
                  <a:lnTo>
                    <a:pt x="354" y="105"/>
                  </a:lnTo>
                  <a:lnTo>
                    <a:pt x="360" y="93"/>
                  </a:lnTo>
                  <a:lnTo>
                    <a:pt x="360" y="76"/>
                  </a:lnTo>
                  <a:lnTo>
                    <a:pt x="366" y="64"/>
                  </a:lnTo>
                  <a:lnTo>
                    <a:pt x="366" y="47"/>
                  </a:lnTo>
                  <a:lnTo>
                    <a:pt x="337" y="41"/>
                  </a:lnTo>
                  <a:lnTo>
                    <a:pt x="331" y="41"/>
                  </a:lnTo>
                  <a:lnTo>
                    <a:pt x="325" y="41"/>
                  </a:lnTo>
                  <a:lnTo>
                    <a:pt x="308" y="35"/>
                  </a:lnTo>
                  <a:lnTo>
                    <a:pt x="284" y="35"/>
                  </a:lnTo>
                  <a:lnTo>
                    <a:pt x="279" y="29"/>
                  </a:lnTo>
                  <a:lnTo>
                    <a:pt x="273" y="29"/>
                  </a:lnTo>
                  <a:lnTo>
                    <a:pt x="203" y="18"/>
                  </a:lnTo>
                  <a:lnTo>
                    <a:pt x="180" y="12"/>
                  </a:lnTo>
                  <a:lnTo>
                    <a:pt x="139" y="6"/>
                  </a:lnTo>
                  <a:lnTo>
                    <a:pt x="116" y="0"/>
                  </a:lnTo>
                  <a:lnTo>
                    <a:pt x="116" y="12"/>
                  </a:lnTo>
                  <a:lnTo>
                    <a:pt x="99" y="76"/>
                  </a:lnTo>
                  <a:lnTo>
                    <a:pt x="93" y="111"/>
                  </a:lnTo>
                  <a:lnTo>
                    <a:pt x="87" y="151"/>
                  </a:lnTo>
                  <a:lnTo>
                    <a:pt x="75" y="186"/>
                  </a:lnTo>
                  <a:lnTo>
                    <a:pt x="70" y="209"/>
                  </a:lnTo>
                  <a:lnTo>
                    <a:pt x="70" y="221"/>
                  </a:lnTo>
                  <a:lnTo>
                    <a:pt x="70" y="232"/>
                  </a:lnTo>
                  <a:lnTo>
                    <a:pt x="64" y="250"/>
                  </a:lnTo>
                  <a:lnTo>
                    <a:pt x="58" y="273"/>
                  </a:lnTo>
                  <a:lnTo>
                    <a:pt x="58" y="279"/>
                  </a:lnTo>
                  <a:lnTo>
                    <a:pt x="41" y="348"/>
                  </a:lnTo>
                  <a:lnTo>
                    <a:pt x="41" y="372"/>
                  </a:lnTo>
                  <a:lnTo>
                    <a:pt x="35" y="377"/>
                  </a:lnTo>
                  <a:lnTo>
                    <a:pt x="35" y="383"/>
                  </a:lnTo>
                  <a:lnTo>
                    <a:pt x="35" y="389"/>
                  </a:lnTo>
                  <a:lnTo>
                    <a:pt x="29" y="412"/>
                  </a:lnTo>
                  <a:lnTo>
                    <a:pt x="23" y="43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7" name="Freeform 68"/>
            <p:cNvSpPr>
              <a:spLocks/>
            </p:cNvSpPr>
            <p:nvPr/>
          </p:nvSpPr>
          <p:spPr bwMode="auto">
            <a:xfrm>
              <a:off x="1442" y="1331"/>
              <a:ext cx="609" cy="452"/>
            </a:xfrm>
            <a:custGeom>
              <a:avLst/>
              <a:gdLst>
                <a:gd name="T0" fmla="*/ 539 w 609"/>
                <a:gd name="T1" fmla="*/ 423 h 452"/>
                <a:gd name="T2" fmla="*/ 493 w 609"/>
                <a:gd name="T3" fmla="*/ 441 h 452"/>
                <a:gd name="T4" fmla="*/ 476 w 609"/>
                <a:gd name="T5" fmla="*/ 441 h 452"/>
                <a:gd name="T6" fmla="*/ 435 w 609"/>
                <a:gd name="T7" fmla="*/ 429 h 452"/>
                <a:gd name="T8" fmla="*/ 365 w 609"/>
                <a:gd name="T9" fmla="*/ 418 h 452"/>
                <a:gd name="T10" fmla="*/ 330 w 609"/>
                <a:gd name="T11" fmla="*/ 406 h 452"/>
                <a:gd name="T12" fmla="*/ 301 w 609"/>
                <a:gd name="T13" fmla="*/ 412 h 452"/>
                <a:gd name="T14" fmla="*/ 255 w 609"/>
                <a:gd name="T15" fmla="*/ 412 h 452"/>
                <a:gd name="T16" fmla="*/ 226 w 609"/>
                <a:gd name="T17" fmla="*/ 406 h 452"/>
                <a:gd name="T18" fmla="*/ 197 w 609"/>
                <a:gd name="T19" fmla="*/ 400 h 452"/>
                <a:gd name="T20" fmla="*/ 156 w 609"/>
                <a:gd name="T21" fmla="*/ 389 h 452"/>
                <a:gd name="T22" fmla="*/ 127 w 609"/>
                <a:gd name="T23" fmla="*/ 389 h 452"/>
                <a:gd name="T24" fmla="*/ 98 w 609"/>
                <a:gd name="T25" fmla="*/ 383 h 452"/>
                <a:gd name="T26" fmla="*/ 81 w 609"/>
                <a:gd name="T27" fmla="*/ 354 h 452"/>
                <a:gd name="T28" fmla="*/ 75 w 609"/>
                <a:gd name="T29" fmla="*/ 307 h 452"/>
                <a:gd name="T30" fmla="*/ 52 w 609"/>
                <a:gd name="T31" fmla="*/ 296 h 452"/>
                <a:gd name="T32" fmla="*/ 29 w 609"/>
                <a:gd name="T33" fmla="*/ 273 h 452"/>
                <a:gd name="T34" fmla="*/ 5 w 609"/>
                <a:gd name="T35" fmla="*/ 261 h 452"/>
                <a:gd name="T36" fmla="*/ 17 w 609"/>
                <a:gd name="T37" fmla="*/ 226 h 452"/>
                <a:gd name="T38" fmla="*/ 23 w 609"/>
                <a:gd name="T39" fmla="*/ 244 h 452"/>
                <a:gd name="T40" fmla="*/ 29 w 609"/>
                <a:gd name="T41" fmla="*/ 220 h 452"/>
                <a:gd name="T42" fmla="*/ 17 w 609"/>
                <a:gd name="T43" fmla="*/ 209 h 452"/>
                <a:gd name="T44" fmla="*/ 40 w 609"/>
                <a:gd name="T45" fmla="*/ 197 h 452"/>
                <a:gd name="T46" fmla="*/ 23 w 609"/>
                <a:gd name="T47" fmla="*/ 191 h 452"/>
                <a:gd name="T48" fmla="*/ 23 w 609"/>
                <a:gd name="T49" fmla="*/ 151 h 452"/>
                <a:gd name="T50" fmla="*/ 23 w 609"/>
                <a:gd name="T51" fmla="*/ 93 h 452"/>
                <a:gd name="T52" fmla="*/ 17 w 609"/>
                <a:gd name="T53" fmla="*/ 58 h 452"/>
                <a:gd name="T54" fmla="*/ 29 w 609"/>
                <a:gd name="T55" fmla="*/ 17 h 452"/>
                <a:gd name="T56" fmla="*/ 116 w 609"/>
                <a:gd name="T57" fmla="*/ 81 h 452"/>
                <a:gd name="T58" fmla="*/ 156 w 609"/>
                <a:gd name="T59" fmla="*/ 104 h 452"/>
                <a:gd name="T60" fmla="*/ 156 w 609"/>
                <a:gd name="T61" fmla="*/ 99 h 452"/>
                <a:gd name="T62" fmla="*/ 151 w 609"/>
                <a:gd name="T63" fmla="*/ 133 h 452"/>
                <a:gd name="T64" fmla="*/ 174 w 609"/>
                <a:gd name="T65" fmla="*/ 128 h 452"/>
                <a:gd name="T66" fmla="*/ 162 w 609"/>
                <a:gd name="T67" fmla="*/ 180 h 452"/>
                <a:gd name="T68" fmla="*/ 151 w 609"/>
                <a:gd name="T69" fmla="*/ 186 h 452"/>
                <a:gd name="T70" fmla="*/ 168 w 609"/>
                <a:gd name="T71" fmla="*/ 191 h 452"/>
                <a:gd name="T72" fmla="*/ 191 w 609"/>
                <a:gd name="T73" fmla="*/ 128 h 452"/>
                <a:gd name="T74" fmla="*/ 191 w 609"/>
                <a:gd name="T75" fmla="*/ 104 h 452"/>
                <a:gd name="T76" fmla="*/ 191 w 609"/>
                <a:gd name="T77" fmla="*/ 110 h 452"/>
                <a:gd name="T78" fmla="*/ 185 w 609"/>
                <a:gd name="T79" fmla="*/ 87 h 452"/>
                <a:gd name="T80" fmla="*/ 191 w 609"/>
                <a:gd name="T81" fmla="*/ 75 h 452"/>
                <a:gd name="T82" fmla="*/ 174 w 609"/>
                <a:gd name="T83" fmla="*/ 110 h 452"/>
                <a:gd name="T84" fmla="*/ 191 w 609"/>
                <a:gd name="T85" fmla="*/ 116 h 452"/>
                <a:gd name="T86" fmla="*/ 174 w 609"/>
                <a:gd name="T87" fmla="*/ 110 h 452"/>
                <a:gd name="T88" fmla="*/ 180 w 609"/>
                <a:gd name="T89" fmla="*/ 70 h 452"/>
                <a:gd name="T90" fmla="*/ 203 w 609"/>
                <a:gd name="T91" fmla="*/ 46 h 452"/>
                <a:gd name="T92" fmla="*/ 191 w 609"/>
                <a:gd name="T93" fmla="*/ 41 h 452"/>
                <a:gd name="T94" fmla="*/ 330 w 609"/>
                <a:gd name="T95" fmla="*/ 41 h 452"/>
                <a:gd name="T96" fmla="*/ 580 w 609"/>
                <a:gd name="T97" fmla="*/ 110 h 452"/>
                <a:gd name="T98" fmla="*/ 609 w 609"/>
                <a:gd name="T99" fmla="*/ 128 h 452"/>
                <a:gd name="T100" fmla="*/ 586 w 609"/>
                <a:gd name="T101" fmla="*/ 215 h 452"/>
                <a:gd name="T102" fmla="*/ 580 w 609"/>
                <a:gd name="T103" fmla="*/ 232 h 452"/>
                <a:gd name="T104" fmla="*/ 568 w 609"/>
                <a:gd name="T105" fmla="*/ 302 h 452"/>
                <a:gd name="T106" fmla="*/ 551 w 609"/>
                <a:gd name="T107" fmla="*/ 371 h 452"/>
                <a:gd name="T108" fmla="*/ 539 w 609"/>
                <a:gd name="T109" fmla="*/ 394 h 4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9"/>
                <a:gd name="T166" fmla="*/ 0 h 452"/>
                <a:gd name="T167" fmla="*/ 609 w 609"/>
                <a:gd name="T168" fmla="*/ 452 h 4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9" h="452">
                  <a:moveTo>
                    <a:pt x="539" y="406"/>
                  </a:moveTo>
                  <a:lnTo>
                    <a:pt x="539" y="412"/>
                  </a:lnTo>
                  <a:lnTo>
                    <a:pt x="539" y="423"/>
                  </a:lnTo>
                  <a:lnTo>
                    <a:pt x="539" y="452"/>
                  </a:lnTo>
                  <a:lnTo>
                    <a:pt x="505" y="447"/>
                  </a:lnTo>
                  <a:lnTo>
                    <a:pt x="493" y="441"/>
                  </a:lnTo>
                  <a:lnTo>
                    <a:pt x="487" y="441"/>
                  </a:lnTo>
                  <a:lnTo>
                    <a:pt x="481" y="441"/>
                  </a:lnTo>
                  <a:lnTo>
                    <a:pt x="476" y="441"/>
                  </a:lnTo>
                  <a:lnTo>
                    <a:pt x="458" y="435"/>
                  </a:lnTo>
                  <a:lnTo>
                    <a:pt x="452" y="435"/>
                  </a:lnTo>
                  <a:lnTo>
                    <a:pt x="435" y="429"/>
                  </a:lnTo>
                  <a:lnTo>
                    <a:pt x="394" y="418"/>
                  </a:lnTo>
                  <a:lnTo>
                    <a:pt x="377" y="412"/>
                  </a:lnTo>
                  <a:lnTo>
                    <a:pt x="365" y="418"/>
                  </a:lnTo>
                  <a:lnTo>
                    <a:pt x="354" y="412"/>
                  </a:lnTo>
                  <a:lnTo>
                    <a:pt x="342" y="412"/>
                  </a:lnTo>
                  <a:lnTo>
                    <a:pt x="330" y="406"/>
                  </a:lnTo>
                  <a:lnTo>
                    <a:pt x="319" y="412"/>
                  </a:lnTo>
                  <a:lnTo>
                    <a:pt x="307" y="412"/>
                  </a:lnTo>
                  <a:lnTo>
                    <a:pt x="301" y="412"/>
                  </a:lnTo>
                  <a:lnTo>
                    <a:pt x="296" y="412"/>
                  </a:lnTo>
                  <a:lnTo>
                    <a:pt x="278" y="418"/>
                  </a:lnTo>
                  <a:lnTo>
                    <a:pt x="255" y="412"/>
                  </a:lnTo>
                  <a:lnTo>
                    <a:pt x="243" y="406"/>
                  </a:lnTo>
                  <a:lnTo>
                    <a:pt x="238" y="406"/>
                  </a:lnTo>
                  <a:lnTo>
                    <a:pt x="226" y="406"/>
                  </a:lnTo>
                  <a:lnTo>
                    <a:pt x="220" y="412"/>
                  </a:lnTo>
                  <a:lnTo>
                    <a:pt x="197" y="406"/>
                  </a:lnTo>
                  <a:lnTo>
                    <a:pt x="197" y="400"/>
                  </a:lnTo>
                  <a:lnTo>
                    <a:pt x="180" y="394"/>
                  </a:lnTo>
                  <a:lnTo>
                    <a:pt x="174" y="389"/>
                  </a:lnTo>
                  <a:lnTo>
                    <a:pt x="156" y="389"/>
                  </a:lnTo>
                  <a:lnTo>
                    <a:pt x="151" y="383"/>
                  </a:lnTo>
                  <a:lnTo>
                    <a:pt x="139" y="389"/>
                  </a:lnTo>
                  <a:lnTo>
                    <a:pt x="127" y="389"/>
                  </a:lnTo>
                  <a:lnTo>
                    <a:pt x="121" y="389"/>
                  </a:lnTo>
                  <a:lnTo>
                    <a:pt x="116" y="389"/>
                  </a:lnTo>
                  <a:lnTo>
                    <a:pt x="98" y="383"/>
                  </a:lnTo>
                  <a:lnTo>
                    <a:pt x="75" y="365"/>
                  </a:lnTo>
                  <a:lnTo>
                    <a:pt x="81" y="360"/>
                  </a:lnTo>
                  <a:lnTo>
                    <a:pt x="81" y="354"/>
                  </a:lnTo>
                  <a:lnTo>
                    <a:pt x="81" y="342"/>
                  </a:lnTo>
                  <a:lnTo>
                    <a:pt x="87" y="331"/>
                  </a:lnTo>
                  <a:lnTo>
                    <a:pt x="75" y="307"/>
                  </a:lnTo>
                  <a:lnTo>
                    <a:pt x="63" y="302"/>
                  </a:lnTo>
                  <a:lnTo>
                    <a:pt x="58" y="302"/>
                  </a:lnTo>
                  <a:lnTo>
                    <a:pt x="52" y="296"/>
                  </a:lnTo>
                  <a:lnTo>
                    <a:pt x="46" y="284"/>
                  </a:lnTo>
                  <a:lnTo>
                    <a:pt x="29" y="278"/>
                  </a:lnTo>
                  <a:lnTo>
                    <a:pt x="29" y="273"/>
                  </a:lnTo>
                  <a:lnTo>
                    <a:pt x="11" y="273"/>
                  </a:lnTo>
                  <a:lnTo>
                    <a:pt x="5" y="267"/>
                  </a:lnTo>
                  <a:lnTo>
                    <a:pt x="5" y="261"/>
                  </a:lnTo>
                  <a:lnTo>
                    <a:pt x="5" y="267"/>
                  </a:lnTo>
                  <a:lnTo>
                    <a:pt x="0" y="267"/>
                  </a:lnTo>
                  <a:lnTo>
                    <a:pt x="17" y="226"/>
                  </a:lnTo>
                  <a:lnTo>
                    <a:pt x="11" y="249"/>
                  </a:lnTo>
                  <a:lnTo>
                    <a:pt x="17" y="244"/>
                  </a:lnTo>
                  <a:lnTo>
                    <a:pt x="23" y="244"/>
                  </a:lnTo>
                  <a:lnTo>
                    <a:pt x="23" y="232"/>
                  </a:lnTo>
                  <a:lnTo>
                    <a:pt x="29" y="226"/>
                  </a:lnTo>
                  <a:lnTo>
                    <a:pt x="29" y="220"/>
                  </a:lnTo>
                  <a:lnTo>
                    <a:pt x="23" y="220"/>
                  </a:lnTo>
                  <a:lnTo>
                    <a:pt x="17" y="215"/>
                  </a:lnTo>
                  <a:lnTo>
                    <a:pt x="17" y="209"/>
                  </a:lnTo>
                  <a:lnTo>
                    <a:pt x="17" y="197"/>
                  </a:lnTo>
                  <a:lnTo>
                    <a:pt x="23" y="203"/>
                  </a:lnTo>
                  <a:lnTo>
                    <a:pt x="40" y="197"/>
                  </a:lnTo>
                  <a:lnTo>
                    <a:pt x="29" y="191"/>
                  </a:lnTo>
                  <a:lnTo>
                    <a:pt x="23" y="180"/>
                  </a:lnTo>
                  <a:lnTo>
                    <a:pt x="23" y="191"/>
                  </a:lnTo>
                  <a:lnTo>
                    <a:pt x="17" y="191"/>
                  </a:lnTo>
                  <a:lnTo>
                    <a:pt x="23" y="162"/>
                  </a:lnTo>
                  <a:lnTo>
                    <a:pt x="23" y="151"/>
                  </a:lnTo>
                  <a:lnTo>
                    <a:pt x="23" y="145"/>
                  </a:lnTo>
                  <a:lnTo>
                    <a:pt x="23" y="122"/>
                  </a:lnTo>
                  <a:lnTo>
                    <a:pt x="23" y="93"/>
                  </a:lnTo>
                  <a:lnTo>
                    <a:pt x="17" y="75"/>
                  </a:lnTo>
                  <a:lnTo>
                    <a:pt x="17" y="64"/>
                  </a:lnTo>
                  <a:lnTo>
                    <a:pt x="17" y="58"/>
                  </a:lnTo>
                  <a:lnTo>
                    <a:pt x="17" y="46"/>
                  </a:lnTo>
                  <a:lnTo>
                    <a:pt x="29" y="29"/>
                  </a:lnTo>
                  <a:lnTo>
                    <a:pt x="29" y="17"/>
                  </a:lnTo>
                  <a:lnTo>
                    <a:pt x="34" y="23"/>
                  </a:lnTo>
                  <a:lnTo>
                    <a:pt x="75" y="64"/>
                  </a:lnTo>
                  <a:lnTo>
                    <a:pt x="116" y="81"/>
                  </a:lnTo>
                  <a:lnTo>
                    <a:pt x="139" y="87"/>
                  </a:lnTo>
                  <a:lnTo>
                    <a:pt x="151" y="99"/>
                  </a:lnTo>
                  <a:lnTo>
                    <a:pt x="156" y="104"/>
                  </a:lnTo>
                  <a:lnTo>
                    <a:pt x="156" y="93"/>
                  </a:lnTo>
                  <a:lnTo>
                    <a:pt x="162" y="99"/>
                  </a:lnTo>
                  <a:lnTo>
                    <a:pt x="156" y="99"/>
                  </a:lnTo>
                  <a:lnTo>
                    <a:pt x="162" y="104"/>
                  </a:lnTo>
                  <a:lnTo>
                    <a:pt x="162" y="128"/>
                  </a:lnTo>
                  <a:lnTo>
                    <a:pt x="151" y="133"/>
                  </a:lnTo>
                  <a:lnTo>
                    <a:pt x="151" y="139"/>
                  </a:lnTo>
                  <a:lnTo>
                    <a:pt x="168" y="128"/>
                  </a:lnTo>
                  <a:lnTo>
                    <a:pt x="174" y="128"/>
                  </a:lnTo>
                  <a:lnTo>
                    <a:pt x="168" y="145"/>
                  </a:lnTo>
                  <a:lnTo>
                    <a:pt x="162" y="168"/>
                  </a:lnTo>
                  <a:lnTo>
                    <a:pt x="162" y="180"/>
                  </a:lnTo>
                  <a:lnTo>
                    <a:pt x="168" y="186"/>
                  </a:lnTo>
                  <a:lnTo>
                    <a:pt x="156" y="191"/>
                  </a:lnTo>
                  <a:lnTo>
                    <a:pt x="151" y="186"/>
                  </a:lnTo>
                  <a:lnTo>
                    <a:pt x="156" y="191"/>
                  </a:lnTo>
                  <a:lnTo>
                    <a:pt x="162" y="191"/>
                  </a:lnTo>
                  <a:lnTo>
                    <a:pt x="168" y="191"/>
                  </a:lnTo>
                  <a:lnTo>
                    <a:pt x="168" y="180"/>
                  </a:lnTo>
                  <a:lnTo>
                    <a:pt x="180" y="145"/>
                  </a:lnTo>
                  <a:lnTo>
                    <a:pt x="191" y="128"/>
                  </a:lnTo>
                  <a:lnTo>
                    <a:pt x="197" y="128"/>
                  </a:lnTo>
                  <a:lnTo>
                    <a:pt x="197" y="122"/>
                  </a:lnTo>
                  <a:lnTo>
                    <a:pt x="191" y="104"/>
                  </a:lnTo>
                  <a:lnTo>
                    <a:pt x="191" y="93"/>
                  </a:lnTo>
                  <a:lnTo>
                    <a:pt x="185" y="104"/>
                  </a:lnTo>
                  <a:lnTo>
                    <a:pt x="191" y="110"/>
                  </a:lnTo>
                  <a:lnTo>
                    <a:pt x="185" y="104"/>
                  </a:lnTo>
                  <a:lnTo>
                    <a:pt x="180" y="104"/>
                  </a:lnTo>
                  <a:lnTo>
                    <a:pt x="185" y="87"/>
                  </a:lnTo>
                  <a:lnTo>
                    <a:pt x="191" y="93"/>
                  </a:lnTo>
                  <a:lnTo>
                    <a:pt x="197" y="87"/>
                  </a:lnTo>
                  <a:lnTo>
                    <a:pt x="191" y="75"/>
                  </a:lnTo>
                  <a:lnTo>
                    <a:pt x="185" y="70"/>
                  </a:lnTo>
                  <a:lnTo>
                    <a:pt x="174" y="87"/>
                  </a:lnTo>
                  <a:lnTo>
                    <a:pt x="174" y="110"/>
                  </a:lnTo>
                  <a:lnTo>
                    <a:pt x="180" y="110"/>
                  </a:lnTo>
                  <a:lnTo>
                    <a:pt x="180" y="104"/>
                  </a:lnTo>
                  <a:lnTo>
                    <a:pt x="191" y="116"/>
                  </a:lnTo>
                  <a:lnTo>
                    <a:pt x="185" y="128"/>
                  </a:lnTo>
                  <a:lnTo>
                    <a:pt x="180" y="116"/>
                  </a:lnTo>
                  <a:lnTo>
                    <a:pt x="174" y="110"/>
                  </a:lnTo>
                  <a:lnTo>
                    <a:pt x="174" y="93"/>
                  </a:lnTo>
                  <a:lnTo>
                    <a:pt x="168" y="87"/>
                  </a:lnTo>
                  <a:lnTo>
                    <a:pt x="180" y="70"/>
                  </a:lnTo>
                  <a:lnTo>
                    <a:pt x="185" y="46"/>
                  </a:lnTo>
                  <a:lnTo>
                    <a:pt x="191" y="64"/>
                  </a:lnTo>
                  <a:lnTo>
                    <a:pt x="203" y="46"/>
                  </a:lnTo>
                  <a:lnTo>
                    <a:pt x="203" y="35"/>
                  </a:lnTo>
                  <a:lnTo>
                    <a:pt x="197" y="29"/>
                  </a:lnTo>
                  <a:lnTo>
                    <a:pt x="191" y="41"/>
                  </a:lnTo>
                  <a:lnTo>
                    <a:pt x="191" y="17"/>
                  </a:lnTo>
                  <a:lnTo>
                    <a:pt x="191" y="0"/>
                  </a:lnTo>
                  <a:lnTo>
                    <a:pt x="330" y="41"/>
                  </a:lnTo>
                  <a:lnTo>
                    <a:pt x="481" y="81"/>
                  </a:lnTo>
                  <a:lnTo>
                    <a:pt x="528" y="99"/>
                  </a:lnTo>
                  <a:lnTo>
                    <a:pt x="580" y="110"/>
                  </a:lnTo>
                  <a:lnTo>
                    <a:pt x="609" y="116"/>
                  </a:lnTo>
                  <a:lnTo>
                    <a:pt x="609" y="122"/>
                  </a:lnTo>
                  <a:lnTo>
                    <a:pt x="609" y="128"/>
                  </a:lnTo>
                  <a:lnTo>
                    <a:pt x="609" y="133"/>
                  </a:lnTo>
                  <a:lnTo>
                    <a:pt x="592" y="197"/>
                  </a:lnTo>
                  <a:lnTo>
                    <a:pt x="586" y="215"/>
                  </a:lnTo>
                  <a:lnTo>
                    <a:pt x="586" y="226"/>
                  </a:lnTo>
                  <a:lnTo>
                    <a:pt x="586" y="232"/>
                  </a:lnTo>
                  <a:lnTo>
                    <a:pt x="580" y="232"/>
                  </a:lnTo>
                  <a:lnTo>
                    <a:pt x="574" y="255"/>
                  </a:lnTo>
                  <a:lnTo>
                    <a:pt x="574" y="273"/>
                  </a:lnTo>
                  <a:lnTo>
                    <a:pt x="568" y="302"/>
                  </a:lnTo>
                  <a:lnTo>
                    <a:pt x="563" y="313"/>
                  </a:lnTo>
                  <a:lnTo>
                    <a:pt x="557" y="325"/>
                  </a:lnTo>
                  <a:lnTo>
                    <a:pt x="551" y="371"/>
                  </a:lnTo>
                  <a:lnTo>
                    <a:pt x="545" y="371"/>
                  </a:lnTo>
                  <a:lnTo>
                    <a:pt x="545" y="394"/>
                  </a:lnTo>
                  <a:lnTo>
                    <a:pt x="539" y="394"/>
                  </a:lnTo>
                  <a:lnTo>
                    <a:pt x="539" y="40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8" name="Freeform 69"/>
            <p:cNvSpPr>
              <a:spLocks/>
            </p:cNvSpPr>
            <p:nvPr/>
          </p:nvSpPr>
          <p:spPr bwMode="auto">
            <a:xfrm>
              <a:off x="1593" y="1360"/>
              <a:ext cx="34" cy="29"/>
            </a:xfrm>
            <a:custGeom>
              <a:avLst/>
              <a:gdLst>
                <a:gd name="T0" fmla="*/ 5 w 34"/>
                <a:gd name="T1" fmla="*/ 0 h 29"/>
                <a:gd name="T2" fmla="*/ 5 w 34"/>
                <a:gd name="T3" fmla="*/ 12 h 29"/>
                <a:gd name="T4" fmla="*/ 11 w 34"/>
                <a:gd name="T5" fmla="*/ 12 h 29"/>
                <a:gd name="T6" fmla="*/ 11 w 34"/>
                <a:gd name="T7" fmla="*/ 6 h 29"/>
                <a:gd name="T8" fmla="*/ 34 w 34"/>
                <a:gd name="T9" fmla="*/ 12 h 29"/>
                <a:gd name="T10" fmla="*/ 23 w 34"/>
                <a:gd name="T11" fmla="*/ 29 h 29"/>
                <a:gd name="T12" fmla="*/ 5 w 34"/>
                <a:gd name="T13" fmla="*/ 23 h 29"/>
                <a:gd name="T14" fmla="*/ 0 w 34"/>
                <a:gd name="T15" fmla="*/ 17 h 29"/>
                <a:gd name="T16" fmla="*/ 5 w 34"/>
                <a:gd name="T17" fmla="*/ 0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29"/>
                <a:gd name="T29" fmla="*/ 34 w 34"/>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29">
                  <a:moveTo>
                    <a:pt x="5" y="0"/>
                  </a:moveTo>
                  <a:lnTo>
                    <a:pt x="5" y="12"/>
                  </a:lnTo>
                  <a:lnTo>
                    <a:pt x="11" y="12"/>
                  </a:lnTo>
                  <a:lnTo>
                    <a:pt x="11" y="6"/>
                  </a:lnTo>
                  <a:lnTo>
                    <a:pt x="34" y="12"/>
                  </a:lnTo>
                  <a:lnTo>
                    <a:pt x="23" y="29"/>
                  </a:lnTo>
                  <a:lnTo>
                    <a:pt x="5" y="23"/>
                  </a:lnTo>
                  <a:lnTo>
                    <a:pt x="0" y="17"/>
                  </a:lnTo>
                  <a:lnTo>
                    <a:pt x="5"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79" name="Freeform 70"/>
            <p:cNvSpPr>
              <a:spLocks/>
            </p:cNvSpPr>
            <p:nvPr/>
          </p:nvSpPr>
          <p:spPr bwMode="auto">
            <a:xfrm>
              <a:off x="2341" y="1992"/>
              <a:ext cx="639" cy="528"/>
            </a:xfrm>
            <a:custGeom>
              <a:avLst/>
              <a:gdLst>
                <a:gd name="T0" fmla="*/ 395 w 639"/>
                <a:gd name="T1" fmla="*/ 511 h 528"/>
                <a:gd name="T2" fmla="*/ 354 w 639"/>
                <a:gd name="T3" fmla="*/ 505 h 528"/>
                <a:gd name="T4" fmla="*/ 314 w 639"/>
                <a:gd name="T5" fmla="*/ 499 h 528"/>
                <a:gd name="T6" fmla="*/ 267 w 639"/>
                <a:gd name="T7" fmla="*/ 493 h 528"/>
                <a:gd name="T8" fmla="*/ 192 w 639"/>
                <a:gd name="T9" fmla="*/ 482 h 528"/>
                <a:gd name="T10" fmla="*/ 128 w 639"/>
                <a:gd name="T11" fmla="*/ 470 h 528"/>
                <a:gd name="T12" fmla="*/ 81 w 639"/>
                <a:gd name="T13" fmla="*/ 464 h 528"/>
                <a:gd name="T14" fmla="*/ 0 w 639"/>
                <a:gd name="T15" fmla="*/ 453 h 528"/>
                <a:gd name="T16" fmla="*/ 6 w 639"/>
                <a:gd name="T17" fmla="*/ 401 h 528"/>
                <a:gd name="T18" fmla="*/ 12 w 639"/>
                <a:gd name="T19" fmla="*/ 383 h 528"/>
                <a:gd name="T20" fmla="*/ 18 w 639"/>
                <a:gd name="T21" fmla="*/ 354 h 528"/>
                <a:gd name="T22" fmla="*/ 23 w 639"/>
                <a:gd name="T23" fmla="*/ 325 h 528"/>
                <a:gd name="T24" fmla="*/ 29 w 639"/>
                <a:gd name="T25" fmla="*/ 279 h 528"/>
                <a:gd name="T26" fmla="*/ 41 w 639"/>
                <a:gd name="T27" fmla="*/ 227 h 528"/>
                <a:gd name="T28" fmla="*/ 41 w 639"/>
                <a:gd name="T29" fmla="*/ 198 h 528"/>
                <a:gd name="T30" fmla="*/ 47 w 639"/>
                <a:gd name="T31" fmla="*/ 174 h 528"/>
                <a:gd name="T32" fmla="*/ 52 w 639"/>
                <a:gd name="T33" fmla="*/ 140 h 528"/>
                <a:gd name="T34" fmla="*/ 58 w 639"/>
                <a:gd name="T35" fmla="*/ 116 h 528"/>
                <a:gd name="T36" fmla="*/ 64 w 639"/>
                <a:gd name="T37" fmla="*/ 87 h 528"/>
                <a:gd name="T38" fmla="*/ 70 w 639"/>
                <a:gd name="T39" fmla="*/ 41 h 528"/>
                <a:gd name="T40" fmla="*/ 128 w 639"/>
                <a:gd name="T41" fmla="*/ 12 h 528"/>
                <a:gd name="T42" fmla="*/ 174 w 639"/>
                <a:gd name="T43" fmla="*/ 18 h 528"/>
                <a:gd name="T44" fmla="*/ 238 w 639"/>
                <a:gd name="T45" fmla="*/ 29 h 528"/>
                <a:gd name="T46" fmla="*/ 279 w 639"/>
                <a:gd name="T47" fmla="*/ 35 h 528"/>
                <a:gd name="T48" fmla="*/ 302 w 639"/>
                <a:gd name="T49" fmla="*/ 35 h 528"/>
                <a:gd name="T50" fmla="*/ 389 w 639"/>
                <a:gd name="T51" fmla="*/ 47 h 528"/>
                <a:gd name="T52" fmla="*/ 459 w 639"/>
                <a:gd name="T53" fmla="*/ 58 h 528"/>
                <a:gd name="T54" fmla="*/ 482 w 639"/>
                <a:gd name="T55" fmla="*/ 58 h 528"/>
                <a:gd name="T56" fmla="*/ 557 w 639"/>
                <a:gd name="T57" fmla="*/ 70 h 528"/>
                <a:gd name="T58" fmla="*/ 586 w 639"/>
                <a:gd name="T59" fmla="*/ 70 h 528"/>
                <a:gd name="T60" fmla="*/ 633 w 639"/>
                <a:gd name="T61" fmla="*/ 105 h 528"/>
                <a:gd name="T62" fmla="*/ 633 w 639"/>
                <a:gd name="T63" fmla="*/ 134 h 528"/>
                <a:gd name="T64" fmla="*/ 627 w 639"/>
                <a:gd name="T65" fmla="*/ 169 h 528"/>
                <a:gd name="T66" fmla="*/ 627 w 639"/>
                <a:gd name="T67" fmla="*/ 192 h 528"/>
                <a:gd name="T68" fmla="*/ 627 w 639"/>
                <a:gd name="T69" fmla="*/ 221 h 528"/>
                <a:gd name="T70" fmla="*/ 621 w 639"/>
                <a:gd name="T71" fmla="*/ 244 h 528"/>
                <a:gd name="T72" fmla="*/ 621 w 639"/>
                <a:gd name="T73" fmla="*/ 261 h 528"/>
                <a:gd name="T74" fmla="*/ 615 w 639"/>
                <a:gd name="T75" fmla="*/ 302 h 528"/>
                <a:gd name="T76" fmla="*/ 615 w 639"/>
                <a:gd name="T77" fmla="*/ 325 h 528"/>
                <a:gd name="T78" fmla="*/ 610 w 639"/>
                <a:gd name="T79" fmla="*/ 389 h 528"/>
                <a:gd name="T80" fmla="*/ 610 w 639"/>
                <a:gd name="T81" fmla="*/ 418 h 528"/>
                <a:gd name="T82" fmla="*/ 604 w 639"/>
                <a:gd name="T83" fmla="*/ 447 h 528"/>
                <a:gd name="T84" fmla="*/ 604 w 639"/>
                <a:gd name="T85" fmla="*/ 459 h 528"/>
                <a:gd name="T86" fmla="*/ 604 w 639"/>
                <a:gd name="T87" fmla="*/ 470 h 528"/>
                <a:gd name="T88" fmla="*/ 598 w 639"/>
                <a:gd name="T89" fmla="*/ 493 h 528"/>
                <a:gd name="T90" fmla="*/ 598 w 639"/>
                <a:gd name="T91" fmla="*/ 528 h 528"/>
                <a:gd name="T92" fmla="*/ 528 w 639"/>
                <a:gd name="T93" fmla="*/ 522 h 528"/>
                <a:gd name="T94" fmla="*/ 505 w 639"/>
                <a:gd name="T95" fmla="*/ 522 h 528"/>
                <a:gd name="T96" fmla="*/ 494 w 639"/>
                <a:gd name="T97" fmla="*/ 517 h 528"/>
                <a:gd name="T98" fmla="*/ 424 w 639"/>
                <a:gd name="T99" fmla="*/ 511 h 528"/>
                <a:gd name="T100" fmla="*/ 406 w 639"/>
                <a:gd name="T101" fmla="*/ 511 h 5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39"/>
                <a:gd name="T154" fmla="*/ 0 h 528"/>
                <a:gd name="T155" fmla="*/ 639 w 639"/>
                <a:gd name="T156" fmla="*/ 528 h 5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39" h="528">
                  <a:moveTo>
                    <a:pt x="401" y="511"/>
                  </a:moveTo>
                  <a:lnTo>
                    <a:pt x="395" y="511"/>
                  </a:lnTo>
                  <a:lnTo>
                    <a:pt x="389" y="505"/>
                  </a:lnTo>
                  <a:lnTo>
                    <a:pt x="354" y="505"/>
                  </a:lnTo>
                  <a:lnTo>
                    <a:pt x="319" y="499"/>
                  </a:lnTo>
                  <a:lnTo>
                    <a:pt x="314" y="499"/>
                  </a:lnTo>
                  <a:lnTo>
                    <a:pt x="290" y="493"/>
                  </a:lnTo>
                  <a:lnTo>
                    <a:pt x="267" y="493"/>
                  </a:lnTo>
                  <a:lnTo>
                    <a:pt x="244" y="488"/>
                  </a:lnTo>
                  <a:lnTo>
                    <a:pt x="192" y="482"/>
                  </a:lnTo>
                  <a:lnTo>
                    <a:pt x="169" y="476"/>
                  </a:lnTo>
                  <a:lnTo>
                    <a:pt x="128" y="470"/>
                  </a:lnTo>
                  <a:lnTo>
                    <a:pt x="87" y="464"/>
                  </a:lnTo>
                  <a:lnTo>
                    <a:pt x="81" y="464"/>
                  </a:lnTo>
                  <a:lnTo>
                    <a:pt x="64" y="464"/>
                  </a:lnTo>
                  <a:lnTo>
                    <a:pt x="0" y="453"/>
                  </a:lnTo>
                  <a:lnTo>
                    <a:pt x="6" y="424"/>
                  </a:lnTo>
                  <a:lnTo>
                    <a:pt x="6" y="401"/>
                  </a:lnTo>
                  <a:lnTo>
                    <a:pt x="6" y="395"/>
                  </a:lnTo>
                  <a:lnTo>
                    <a:pt x="12" y="383"/>
                  </a:lnTo>
                  <a:lnTo>
                    <a:pt x="12" y="366"/>
                  </a:lnTo>
                  <a:lnTo>
                    <a:pt x="18" y="354"/>
                  </a:lnTo>
                  <a:lnTo>
                    <a:pt x="18" y="337"/>
                  </a:lnTo>
                  <a:lnTo>
                    <a:pt x="23" y="325"/>
                  </a:lnTo>
                  <a:lnTo>
                    <a:pt x="29" y="285"/>
                  </a:lnTo>
                  <a:lnTo>
                    <a:pt x="29" y="279"/>
                  </a:lnTo>
                  <a:lnTo>
                    <a:pt x="35" y="256"/>
                  </a:lnTo>
                  <a:lnTo>
                    <a:pt x="41" y="227"/>
                  </a:lnTo>
                  <a:lnTo>
                    <a:pt x="41" y="221"/>
                  </a:lnTo>
                  <a:lnTo>
                    <a:pt x="41" y="198"/>
                  </a:lnTo>
                  <a:lnTo>
                    <a:pt x="47" y="192"/>
                  </a:lnTo>
                  <a:lnTo>
                    <a:pt x="47" y="174"/>
                  </a:lnTo>
                  <a:lnTo>
                    <a:pt x="47" y="169"/>
                  </a:lnTo>
                  <a:lnTo>
                    <a:pt x="52" y="140"/>
                  </a:lnTo>
                  <a:lnTo>
                    <a:pt x="52" y="128"/>
                  </a:lnTo>
                  <a:lnTo>
                    <a:pt x="58" y="116"/>
                  </a:lnTo>
                  <a:lnTo>
                    <a:pt x="58" y="99"/>
                  </a:lnTo>
                  <a:lnTo>
                    <a:pt x="64" y="87"/>
                  </a:lnTo>
                  <a:lnTo>
                    <a:pt x="64" y="58"/>
                  </a:lnTo>
                  <a:lnTo>
                    <a:pt x="70" y="41"/>
                  </a:lnTo>
                  <a:lnTo>
                    <a:pt x="76" y="0"/>
                  </a:lnTo>
                  <a:lnTo>
                    <a:pt x="128" y="12"/>
                  </a:lnTo>
                  <a:lnTo>
                    <a:pt x="163" y="18"/>
                  </a:lnTo>
                  <a:lnTo>
                    <a:pt x="174" y="18"/>
                  </a:lnTo>
                  <a:lnTo>
                    <a:pt x="232" y="24"/>
                  </a:lnTo>
                  <a:lnTo>
                    <a:pt x="238" y="29"/>
                  </a:lnTo>
                  <a:lnTo>
                    <a:pt x="273" y="35"/>
                  </a:lnTo>
                  <a:lnTo>
                    <a:pt x="279" y="35"/>
                  </a:lnTo>
                  <a:lnTo>
                    <a:pt x="290" y="35"/>
                  </a:lnTo>
                  <a:lnTo>
                    <a:pt x="302" y="35"/>
                  </a:lnTo>
                  <a:lnTo>
                    <a:pt x="325" y="41"/>
                  </a:lnTo>
                  <a:lnTo>
                    <a:pt x="389" y="47"/>
                  </a:lnTo>
                  <a:lnTo>
                    <a:pt x="401" y="53"/>
                  </a:lnTo>
                  <a:lnTo>
                    <a:pt x="459" y="58"/>
                  </a:lnTo>
                  <a:lnTo>
                    <a:pt x="470" y="58"/>
                  </a:lnTo>
                  <a:lnTo>
                    <a:pt x="482" y="58"/>
                  </a:lnTo>
                  <a:lnTo>
                    <a:pt x="488" y="58"/>
                  </a:lnTo>
                  <a:lnTo>
                    <a:pt x="557" y="70"/>
                  </a:lnTo>
                  <a:lnTo>
                    <a:pt x="575" y="70"/>
                  </a:lnTo>
                  <a:lnTo>
                    <a:pt x="586" y="70"/>
                  </a:lnTo>
                  <a:lnTo>
                    <a:pt x="639" y="76"/>
                  </a:lnTo>
                  <a:lnTo>
                    <a:pt x="633" y="105"/>
                  </a:lnTo>
                  <a:lnTo>
                    <a:pt x="633" y="122"/>
                  </a:lnTo>
                  <a:lnTo>
                    <a:pt x="633" y="134"/>
                  </a:lnTo>
                  <a:lnTo>
                    <a:pt x="633" y="163"/>
                  </a:lnTo>
                  <a:lnTo>
                    <a:pt x="627" y="169"/>
                  </a:lnTo>
                  <a:lnTo>
                    <a:pt x="627" y="174"/>
                  </a:lnTo>
                  <a:lnTo>
                    <a:pt x="627" y="192"/>
                  </a:lnTo>
                  <a:lnTo>
                    <a:pt x="627" y="203"/>
                  </a:lnTo>
                  <a:lnTo>
                    <a:pt x="627" y="221"/>
                  </a:lnTo>
                  <a:lnTo>
                    <a:pt x="621" y="232"/>
                  </a:lnTo>
                  <a:lnTo>
                    <a:pt x="621" y="244"/>
                  </a:lnTo>
                  <a:lnTo>
                    <a:pt x="621" y="250"/>
                  </a:lnTo>
                  <a:lnTo>
                    <a:pt x="621" y="261"/>
                  </a:lnTo>
                  <a:lnTo>
                    <a:pt x="621" y="290"/>
                  </a:lnTo>
                  <a:lnTo>
                    <a:pt x="615" y="302"/>
                  </a:lnTo>
                  <a:lnTo>
                    <a:pt x="615" y="308"/>
                  </a:lnTo>
                  <a:lnTo>
                    <a:pt x="615" y="325"/>
                  </a:lnTo>
                  <a:lnTo>
                    <a:pt x="615" y="348"/>
                  </a:lnTo>
                  <a:lnTo>
                    <a:pt x="610" y="389"/>
                  </a:lnTo>
                  <a:lnTo>
                    <a:pt x="610" y="401"/>
                  </a:lnTo>
                  <a:lnTo>
                    <a:pt x="610" y="418"/>
                  </a:lnTo>
                  <a:lnTo>
                    <a:pt x="604" y="430"/>
                  </a:lnTo>
                  <a:lnTo>
                    <a:pt x="604" y="447"/>
                  </a:lnTo>
                  <a:lnTo>
                    <a:pt x="604" y="453"/>
                  </a:lnTo>
                  <a:lnTo>
                    <a:pt x="604" y="459"/>
                  </a:lnTo>
                  <a:lnTo>
                    <a:pt x="604" y="464"/>
                  </a:lnTo>
                  <a:lnTo>
                    <a:pt x="604" y="470"/>
                  </a:lnTo>
                  <a:lnTo>
                    <a:pt x="598" y="488"/>
                  </a:lnTo>
                  <a:lnTo>
                    <a:pt x="598" y="493"/>
                  </a:lnTo>
                  <a:lnTo>
                    <a:pt x="598" y="517"/>
                  </a:lnTo>
                  <a:lnTo>
                    <a:pt x="598" y="528"/>
                  </a:lnTo>
                  <a:lnTo>
                    <a:pt x="546" y="522"/>
                  </a:lnTo>
                  <a:lnTo>
                    <a:pt x="528" y="522"/>
                  </a:lnTo>
                  <a:lnTo>
                    <a:pt x="523" y="522"/>
                  </a:lnTo>
                  <a:lnTo>
                    <a:pt x="505" y="522"/>
                  </a:lnTo>
                  <a:lnTo>
                    <a:pt x="494" y="522"/>
                  </a:lnTo>
                  <a:lnTo>
                    <a:pt x="494" y="517"/>
                  </a:lnTo>
                  <a:lnTo>
                    <a:pt x="476" y="517"/>
                  </a:lnTo>
                  <a:lnTo>
                    <a:pt x="424" y="511"/>
                  </a:lnTo>
                  <a:lnTo>
                    <a:pt x="412" y="511"/>
                  </a:lnTo>
                  <a:lnTo>
                    <a:pt x="406" y="511"/>
                  </a:lnTo>
                  <a:lnTo>
                    <a:pt x="401" y="511"/>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0" name="Line 71"/>
            <p:cNvSpPr>
              <a:spLocks noChangeShapeType="1"/>
            </p:cNvSpPr>
            <p:nvPr/>
          </p:nvSpPr>
          <p:spPr bwMode="auto">
            <a:xfrm flipH="1" flipV="1">
              <a:off x="5307" y="2613"/>
              <a:ext cx="186" cy="174"/>
            </a:xfrm>
            <a:prstGeom prst="line">
              <a:avLst/>
            </a:pr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1" name="Line 72"/>
            <p:cNvSpPr>
              <a:spLocks noChangeShapeType="1"/>
            </p:cNvSpPr>
            <p:nvPr/>
          </p:nvSpPr>
          <p:spPr bwMode="auto">
            <a:xfrm flipH="1" flipV="1">
              <a:off x="5469" y="2427"/>
              <a:ext cx="88" cy="12"/>
            </a:xfrm>
            <a:prstGeom prst="line">
              <a:avLst/>
            </a:pr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2" name="Line 73"/>
            <p:cNvSpPr>
              <a:spLocks noChangeShapeType="1"/>
            </p:cNvSpPr>
            <p:nvPr/>
          </p:nvSpPr>
          <p:spPr bwMode="auto">
            <a:xfrm flipH="1" flipV="1">
              <a:off x="5440" y="2549"/>
              <a:ext cx="88" cy="12"/>
            </a:xfrm>
            <a:prstGeom prst="line">
              <a:avLst/>
            </a:pr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3" name="Line 74"/>
            <p:cNvSpPr>
              <a:spLocks noChangeShapeType="1"/>
            </p:cNvSpPr>
            <p:nvPr/>
          </p:nvSpPr>
          <p:spPr bwMode="auto">
            <a:xfrm flipH="1" flipV="1">
              <a:off x="5400" y="2596"/>
              <a:ext cx="104" cy="63"/>
            </a:xfrm>
            <a:prstGeom prst="line">
              <a:avLst/>
            </a:pr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4" name="Line 75"/>
            <p:cNvSpPr>
              <a:spLocks noChangeShapeType="1"/>
            </p:cNvSpPr>
            <p:nvPr/>
          </p:nvSpPr>
          <p:spPr bwMode="auto">
            <a:xfrm flipH="1" flipV="1">
              <a:off x="5696" y="2190"/>
              <a:ext cx="116" cy="52"/>
            </a:xfrm>
            <a:prstGeom prst="line">
              <a:avLst/>
            </a:pr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5" name="Freeform 76"/>
            <p:cNvSpPr>
              <a:spLocks/>
            </p:cNvSpPr>
            <p:nvPr/>
          </p:nvSpPr>
          <p:spPr bwMode="auto">
            <a:xfrm>
              <a:off x="483" y="746"/>
              <a:ext cx="962" cy="1112"/>
            </a:xfrm>
            <a:custGeom>
              <a:avLst/>
              <a:gdLst>
                <a:gd name="T0" fmla="*/ 908 w 962"/>
                <a:gd name="T1" fmla="*/ 228 h 1112"/>
                <a:gd name="T2" fmla="*/ 818 w 962"/>
                <a:gd name="T3" fmla="*/ 99 h 1112"/>
                <a:gd name="T4" fmla="*/ 650 w 962"/>
                <a:gd name="T5" fmla="*/ 0 h 1112"/>
                <a:gd name="T6" fmla="*/ 496 w 962"/>
                <a:gd name="T7" fmla="*/ 10 h 1112"/>
                <a:gd name="T8" fmla="*/ 496 w 962"/>
                <a:gd name="T9" fmla="*/ 99 h 1112"/>
                <a:gd name="T10" fmla="*/ 466 w 962"/>
                <a:gd name="T11" fmla="*/ 114 h 1112"/>
                <a:gd name="T12" fmla="*/ 372 w 962"/>
                <a:gd name="T13" fmla="*/ 89 h 1112"/>
                <a:gd name="T14" fmla="*/ 402 w 962"/>
                <a:gd name="T15" fmla="*/ 233 h 1112"/>
                <a:gd name="T16" fmla="*/ 427 w 962"/>
                <a:gd name="T17" fmla="*/ 268 h 1112"/>
                <a:gd name="T18" fmla="*/ 387 w 962"/>
                <a:gd name="T19" fmla="*/ 268 h 1112"/>
                <a:gd name="T20" fmla="*/ 347 w 962"/>
                <a:gd name="T21" fmla="*/ 253 h 1112"/>
                <a:gd name="T22" fmla="*/ 283 w 962"/>
                <a:gd name="T23" fmla="*/ 263 h 1112"/>
                <a:gd name="T24" fmla="*/ 228 w 962"/>
                <a:gd name="T25" fmla="*/ 307 h 1112"/>
                <a:gd name="T26" fmla="*/ 213 w 962"/>
                <a:gd name="T27" fmla="*/ 327 h 1112"/>
                <a:gd name="T28" fmla="*/ 248 w 962"/>
                <a:gd name="T29" fmla="*/ 417 h 1112"/>
                <a:gd name="T30" fmla="*/ 218 w 962"/>
                <a:gd name="T31" fmla="*/ 461 h 1112"/>
                <a:gd name="T32" fmla="*/ 223 w 962"/>
                <a:gd name="T33" fmla="*/ 481 h 1112"/>
                <a:gd name="T34" fmla="*/ 228 w 962"/>
                <a:gd name="T35" fmla="*/ 491 h 1112"/>
                <a:gd name="T36" fmla="*/ 253 w 962"/>
                <a:gd name="T37" fmla="*/ 501 h 1112"/>
                <a:gd name="T38" fmla="*/ 263 w 962"/>
                <a:gd name="T39" fmla="*/ 536 h 1112"/>
                <a:gd name="T40" fmla="*/ 283 w 962"/>
                <a:gd name="T41" fmla="*/ 561 h 1112"/>
                <a:gd name="T42" fmla="*/ 213 w 962"/>
                <a:gd name="T43" fmla="*/ 585 h 1112"/>
                <a:gd name="T44" fmla="*/ 114 w 962"/>
                <a:gd name="T45" fmla="*/ 571 h 1112"/>
                <a:gd name="T46" fmla="*/ 30 w 962"/>
                <a:gd name="T47" fmla="*/ 556 h 1112"/>
                <a:gd name="T48" fmla="*/ 0 w 962"/>
                <a:gd name="T49" fmla="*/ 556 h 1112"/>
                <a:gd name="T50" fmla="*/ 20 w 962"/>
                <a:gd name="T51" fmla="*/ 575 h 1112"/>
                <a:gd name="T52" fmla="*/ 65 w 962"/>
                <a:gd name="T53" fmla="*/ 590 h 1112"/>
                <a:gd name="T54" fmla="*/ 89 w 962"/>
                <a:gd name="T55" fmla="*/ 610 h 1112"/>
                <a:gd name="T56" fmla="*/ 109 w 962"/>
                <a:gd name="T57" fmla="*/ 620 h 1112"/>
                <a:gd name="T58" fmla="*/ 134 w 962"/>
                <a:gd name="T59" fmla="*/ 650 h 1112"/>
                <a:gd name="T60" fmla="*/ 149 w 962"/>
                <a:gd name="T61" fmla="*/ 640 h 1112"/>
                <a:gd name="T62" fmla="*/ 154 w 962"/>
                <a:gd name="T63" fmla="*/ 625 h 1112"/>
                <a:gd name="T64" fmla="*/ 184 w 962"/>
                <a:gd name="T65" fmla="*/ 635 h 1112"/>
                <a:gd name="T66" fmla="*/ 213 w 962"/>
                <a:gd name="T67" fmla="*/ 630 h 1112"/>
                <a:gd name="T68" fmla="*/ 233 w 962"/>
                <a:gd name="T69" fmla="*/ 635 h 1112"/>
                <a:gd name="T70" fmla="*/ 263 w 962"/>
                <a:gd name="T71" fmla="*/ 635 h 1112"/>
                <a:gd name="T72" fmla="*/ 303 w 962"/>
                <a:gd name="T73" fmla="*/ 620 h 1112"/>
                <a:gd name="T74" fmla="*/ 357 w 962"/>
                <a:gd name="T75" fmla="*/ 625 h 1112"/>
                <a:gd name="T76" fmla="*/ 397 w 962"/>
                <a:gd name="T77" fmla="*/ 615 h 1112"/>
                <a:gd name="T78" fmla="*/ 397 w 962"/>
                <a:gd name="T79" fmla="*/ 595 h 1112"/>
                <a:gd name="T80" fmla="*/ 417 w 962"/>
                <a:gd name="T81" fmla="*/ 585 h 1112"/>
                <a:gd name="T82" fmla="*/ 466 w 962"/>
                <a:gd name="T83" fmla="*/ 580 h 1112"/>
                <a:gd name="T84" fmla="*/ 432 w 962"/>
                <a:gd name="T85" fmla="*/ 625 h 1112"/>
                <a:gd name="T86" fmla="*/ 511 w 962"/>
                <a:gd name="T87" fmla="*/ 630 h 1112"/>
                <a:gd name="T88" fmla="*/ 570 w 962"/>
                <a:gd name="T89" fmla="*/ 655 h 1112"/>
                <a:gd name="T90" fmla="*/ 610 w 962"/>
                <a:gd name="T91" fmla="*/ 700 h 1112"/>
                <a:gd name="T92" fmla="*/ 665 w 962"/>
                <a:gd name="T93" fmla="*/ 719 h 1112"/>
                <a:gd name="T94" fmla="*/ 739 w 962"/>
                <a:gd name="T95" fmla="*/ 834 h 1112"/>
                <a:gd name="T96" fmla="*/ 754 w 962"/>
                <a:gd name="T97" fmla="*/ 898 h 1112"/>
                <a:gd name="T98" fmla="*/ 754 w 962"/>
                <a:gd name="T99" fmla="*/ 913 h 1112"/>
                <a:gd name="T100" fmla="*/ 764 w 962"/>
                <a:gd name="T101" fmla="*/ 997 h 1112"/>
                <a:gd name="T102" fmla="*/ 764 w 962"/>
                <a:gd name="T103" fmla="*/ 1027 h 1112"/>
                <a:gd name="T104" fmla="*/ 838 w 962"/>
                <a:gd name="T105" fmla="*/ 1112 h 1112"/>
                <a:gd name="T106" fmla="*/ 873 w 962"/>
                <a:gd name="T107" fmla="*/ 1067 h 1112"/>
                <a:gd name="T108" fmla="*/ 873 w 962"/>
                <a:gd name="T109" fmla="*/ 1047 h 1112"/>
                <a:gd name="T110" fmla="*/ 848 w 962"/>
                <a:gd name="T111" fmla="*/ 1012 h 1112"/>
                <a:gd name="T112" fmla="*/ 848 w 962"/>
                <a:gd name="T113" fmla="*/ 978 h 1112"/>
                <a:gd name="T114" fmla="*/ 833 w 962"/>
                <a:gd name="T115" fmla="*/ 868 h 1112"/>
                <a:gd name="T116" fmla="*/ 799 w 962"/>
                <a:gd name="T117" fmla="*/ 824 h 1112"/>
                <a:gd name="T118" fmla="*/ 759 w 962"/>
                <a:gd name="T119" fmla="*/ 819 h 1112"/>
                <a:gd name="T120" fmla="*/ 754 w 962"/>
                <a:gd name="T121" fmla="*/ 749 h 1112"/>
                <a:gd name="T122" fmla="*/ 724 w 962"/>
                <a:gd name="T123" fmla="*/ 734 h 1112"/>
                <a:gd name="T124" fmla="*/ 962 w 962"/>
                <a:gd name="T125" fmla="*/ 278 h 1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2"/>
                <a:gd name="T190" fmla="*/ 0 h 1112"/>
                <a:gd name="T191" fmla="*/ 962 w 962"/>
                <a:gd name="T192" fmla="*/ 1112 h 11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2" h="1112">
                  <a:moveTo>
                    <a:pt x="962" y="278"/>
                  </a:moveTo>
                  <a:lnTo>
                    <a:pt x="938" y="233"/>
                  </a:lnTo>
                  <a:lnTo>
                    <a:pt x="908" y="228"/>
                  </a:lnTo>
                  <a:lnTo>
                    <a:pt x="848" y="144"/>
                  </a:lnTo>
                  <a:lnTo>
                    <a:pt x="814" y="124"/>
                  </a:lnTo>
                  <a:lnTo>
                    <a:pt x="818" y="99"/>
                  </a:lnTo>
                  <a:lnTo>
                    <a:pt x="774" y="24"/>
                  </a:lnTo>
                  <a:lnTo>
                    <a:pt x="724" y="19"/>
                  </a:lnTo>
                  <a:lnTo>
                    <a:pt x="650" y="0"/>
                  </a:lnTo>
                  <a:lnTo>
                    <a:pt x="570" y="24"/>
                  </a:lnTo>
                  <a:lnTo>
                    <a:pt x="531" y="0"/>
                  </a:lnTo>
                  <a:lnTo>
                    <a:pt x="496" y="10"/>
                  </a:lnTo>
                  <a:lnTo>
                    <a:pt x="506" y="44"/>
                  </a:lnTo>
                  <a:lnTo>
                    <a:pt x="506" y="84"/>
                  </a:lnTo>
                  <a:lnTo>
                    <a:pt x="496" y="99"/>
                  </a:lnTo>
                  <a:lnTo>
                    <a:pt x="501" y="129"/>
                  </a:lnTo>
                  <a:lnTo>
                    <a:pt x="476" y="129"/>
                  </a:lnTo>
                  <a:lnTo>
                    <a:pt x="466" y="114"/>
                  </a:lnTo>
                  <a:lnTo>
                    <a:pt x="412" y="99"/>
                  </a:lnTo>
                  <a:lnTo>
                    <a:pt x="377" y="89"/>
                  </a:lnTo>
                  <a:lnTo>
                    <a:pt x="372" y="89"/>
                  </a:lnTo>
                  <a:lnTo>
                    <a:pt x="352" y="168"/>
                  </a:lnTo>
                  <a:lnTo>
                    <a:pt x="392" y="208"/>
                  </a:lnTo>
                  <a:lnTo>
                    <a:pt x="402" y="233"/>
                  </a:lnTo>
                  <a:lnTo>
                    <a:pt x="422" y="233"/>
                  </a:lnTo>
                  <a:lnTo>
                    <a:pt x="432" y="263"/>
                  </a:lnTo>
                  <a:lnTo>
                    <a:pt x="427" y="268"/>
                  </a:lnTo>
                  <a:lnTo>
                    <a:pt x="417" y="283"/>
                  </a:lnTo>
                  <a:lnTo>
                    <a:pt x="387" y="283"/>
                  </a:lnTo>
                  <a:lnTo>
                    <a:pt x="387" y="268"/>
                  </a:lnTo>
                  <a:lnTo>
                    <a:pt x="377" y="263"/>
                  </a:lnTo>
                  <a:lnTo>
                    <a:pt x="367" y="273"/>
                  </a:lnTo>
                  <a:lnTo>
                    <a:pt x="347" y="253"/>
                  </a:lnTo>
                  <a:lnTo>
                    <a:pt x="342" y="248"/>
                  </a:lnTo>
                  <a:lnTo>
                    <a:pt x="303" y="253"/>
                  </a:lnTo>
                  <a:lnTo>
                    <a:pt x="283" y="263"/>
                  </a:lnTo>
                  <a:lnTo>
                    <a:pt x="263" y="263"/>
                  </a:lnTo>
                  <a:lnTo>
                    <a:pt x="238" y="278"/>
                  </a:lnTo>
                  <a:lnTo>
                    <a:pt x="228" y="307"/>
                  </a:lnTo>
                  <a:lnTo>
                    <a:pt x="233" y="322"/>
                  </a:lnTo>
                  <a:lnTo>
                    <a:pt x="218" y="327"/>
                  </a:lnTo>
                  <a:lnTo>
                    <a:pt x="213" y="327"/>
                  </a:lnTo>
                  <a:lnTo>
                    <a:pt x="213" y="332"/>
                  </a:lnTo>
                  <a:lnTo>
                    <a:pt x="208" y="387"/>
                  </a:lnTo>
                  <a:lnTo>
                    <a:pt x="248" y="417"/>
                  </a:lnTo>
                  <a:lnTo>
                    <a:pt x="243" y="436"/>
                  </a:lnTo>
                  <a:lnTo>
                    <a:pt x="238" y="436"/>
                  </a:lnTo>
                  <a:lnTo>
                    <a:pt x="218" y="461"/>
                  </a:lnTo>
                  <a:lnTo>
                    <a:pt x="208" y="461"/>
                  </a:lnTo>
                  <a:lnTo>
                    <a:pt x="213" y="476"/>
                  </a:lnTo>
                  <a:lnTo>
                    <a:pt x="223" y="481"/>
                  </a:lnTo>
                  <a:lnTo>
                    <a:pt x="228" y="481"/>
                  </a:lnTo>
                  <a:lnTo>
                    <a:pt x="223" y="486"/>
                  </a:lnTo>
                  <a:lnTo>
                    <a:pt x="228" y="491"/>
                  </a:lnTo>
                  <a:lnTo>
                    <a:pt x="243" y="486"/>
                  </a:lnTo>
                  <a:lnTo>
                    <a:pt x="253" y="496"/>
                  </a:lnTo>
                  <a:lnTo>
                    <a:pt x="253" y="501"/>
                  </a:lnTo>
                  <a:lnTo>
                    <a:pt x="263" y="506"/>
                  </a:lnTo>
                  <a:lnTo>
                    <a:pt x="258" y="531"/>
                  </a:lnTo>
                  <a:lnTo>
                    <a:pt x="263" y="536"/>
                  </a:lnTo>
                  <a:lnTo>
                    <a:pt x="273" y="536"/>
                  </a:lnTo>
                  <a:lnTo>
                    <a:pt x="283" y="541"/>
                  </a:lnTo>
                  <a:lnTo>
                    <a:pt x="283" y="561"/>
                  </a:lnTo>
                  <a:lnTo>
                    <a:pt x="263" y="580"/>
                  </a:lnTo>
                  <a:lnTo>
                    <a:pt x="218" y="590"/>
                  </a:lnTo>
                  <a:lnTo>
                    <a:pt x="213" y="585"/>
                  </a:lnTo>
                  <a:lnTo>
                    <a:pt x="203" y="585"/>
                  </a:lnTo>
                  <a:lnTo>
                    <a:pt x="179" y="580"/>
                  </a:lnTo>
                  <a:lnTo>
                    <a:pt x="114" y="571"/>
                  </a:lnTo>
                  <a:lnTo>
                    <a:pt x="94" y="571"/>
                  </a:lnTo>
                  <a:lnTo>
                    <a:pt x="55" y="566"/>
                  </a:lnTo>
                  <a:lnTo>
                    <a:pt x="30" y="556"/>
                  </a:lnTo>
                  <a:lnTo>
                    <a:pt x="25" y="551"/>
                  </a:lnTo>
                  <a:lnTo>
                    <a:pt x="5" y="551"/>
                  </a:lnTo>
                  <a:lnTo>
                    <a:pt x="0" y="556"/>
                  </a:lnTo>
                  <a:lnTo>
                    <a:pt x="0" y="571"/>
                  </a:lnTo>
                  <a:lnTo>
                    <a:pt x="5" y="571"/>
                  </a:lnTo>
                  <a:lnTo>
                    <a:pt x="20" y="575"/>
                  </a:lnTo>
                  <a:lnTo>
                    <a:pt x="45" y="595"/>
                  </a:lnTo>
                  <a:lnTo>
                    <a:pt x="55" y="585"/>
                  </a:lnTo>
                  <a:lnTo>
                    <a:pt x="65" y="590"/>
                  </a:lnTo>
                  <a:lnTo>
                    <a:pt x="55" y="610"/>
                  </a:lnTo>
                  <a:lnTo>
                    <a:pt x="75" y="615"/>
                  </a:lnTo>
                  <a:lnTo>
                    <a:pt x="89" y="610"/>
                  </a:lnTo>
                  <a:lnTo>
                    <a:pt x="114" y="605"/>
                  </a:lnTo>
                  <a:lnTo>
                    <a:pt x="119" y="605"/>
                  </a:lnTo>
                  <a:lnTo>
                    <a:pt x="109" y="620"/>
                  </a:lnTo>
                  <a:lnTo>
                    <a:pt x="124" y="625"/>
                  </a:lnTo>
                  <a:lnTo>
                    <a:pt x="114" y="645"/>
                  </a:lnTo>
                  <a:lnTo>
                    <a:pt x="134" y="650"/>
                  </a:lnTo>
                  <a:lnTo>
                    <a:pt x="134" y="660"/>
                  </a:lnTo>
                  <a:lnTo>
                    <a:pt x="139" y="660"/>
                  </a:lnTo>
                  <a:lnTo>
                    <a:pt x="149" y="640"/>
                  </a:lnTo>
                  <a:lnTo>
                    <a:pt x="139" y="625"/>
                  </a:lnTo>
                  <a:lnTo>
                    <a:pt x="164" y="615"/>
                  </a:lnTo>
                  <a:lnTo>
                    <a:pt x="154" y="625"/>
                  </a:lnTo>
                  <a:lnTo>
                    <a:pt x="159" y="625"/>
                  </a:lnTo>
                  <a:lnTo>
                    <a:pt x="174" y="635"/>
                  </a:lnTo>
                  <a:lnTo>
                    <a:pt x="184" y="635"/>
                  </a:lnTo>
                  <a:lnTo>
                    <a:pt x="194" y="635"/>
                  </a:lnTo>
                  <a:lnTo>
                    <a:pt x="203" y="635"/>
                  </a:lnTo>
                  <a:lnTo>
                    <a:pt x="213" y="630"/>
                  </a:lnTo>
                  <a:lnTo>
                    <a:pt x="218" y="635"/>
                  </a:lnTo>
                  <a:lnTo>
                    <a:pt x="223" y="635"/>
                  </a:lnTo>
                  <a:lnTo>
                    <a:pt x="233" y="635"/>
                  </a:lnTo>
                  <a:lnTo>
                    <a:pt x="243" y="640"/>
                  </a:lnTo>
                  <a:lnTo>
                    <a:pt x="253" y="635"/>
                  </a:lnTo>
                  <a:lnTo>
                    <a:pt x="263" y="635"/>
                  </a:lnTo>
                  <a:lnTo>
                    <a:pt x="268" y="630"/>
                  </a:lnTo>
                  <a:lnTo>
                    <a:pt x="273" y="630"/>
                  </a:lnTo>
                  <a:lnTo>
                    <a:pt x="303" y="620"/>
                  </a:lnTo>
                  <a:lnTo>
                    <a:pt x="318" y="625"/>
                  </a:lnTo>
                  <a:lnTo>
                    <a:pt x="347" y="625"/>
                  </a:lnTo>
                  <a:lnTo>
                    <a:pt x="357" y="625"/>
                  </a:lnTo>
                  <a:lnTo>
                    <a:pt x="372" y="615"/>
                  </a:lnTo>
                  <a:lnTo>
                    <a:pt x="382" y="620"/>
                  </a:lnTo>
                  <a:lnTo>
                    <a:pt x="397" y="615"/>
                  </a:lnTo>
                  <a:lnTo>
                    <a:pt x="402" y="610"/>
                  </a:lnTo>
                  <a:lnTo>
                    <a:pt x="402" y="600"/>
                  </a:lnTo>
                  <a:lnTo>
                    <a:pt x="397" y="595"/>
                  </a:lnTo>
                  <a:lnTo>
                    <a:pt x="402" y="585"/>
                  </a:lnTo>
                  <a:lnTo>
                    <a:pt x="412" y="590"/>
                  </a:lnTo>
                  <a:lnTo>
                    <a:pt x="417" y="585"/>
                  </a:lnTo>
                  <a:lnTo>
                    <a:pt x="432" y="575"/>
                  </a:lnTo>
                  <a:lnTo>
                    <a:pt x="461" y="566"/>
                  </a:lnTo>
                  <a:lnTo>
                    <a:pt x="466" y="580"/>
                  </a:lnTo>
                  <a:lnTo>
                    <a:pt x="456" y="590"/>
                  </a:lnTo>
                  <a:lnTo>
                    <a:pt x="437" y="610"/>
                  </a:lnTo>
                  <a:lnTo>
                    <a:pt x="432" y="625"/>
                  </a:lnTo>
                  <a:lnTo>
                    <a:pt x="451" y="635"/>
                  </a:lnTo>
                  <a:lnTo>
                    <a:pt x="496" y="640"/>
                  </a:lnTo>
                  <a:lnTo>
                    <a:pt x="511" y="630"/>
                  </a:lnTo>
                  <a:lnTo>
                    <a:pt x="531" y="635"/>
                  </a:lnTo>
                  <a:lnTo>
                    <a:pt x="551" y="660"/>
                  </a:lnTo>
                  <a:lnTo>
                    <a:pt x="570" y="655"/>
                  </a:lnTo>
                  <a:lnTo>
                    <a:pt x="600" y="660"/>
                  </a:lnTo>
                  <a:lnTo>
                    <a:pt x="620" y="695"/>
                  </a:lnTo>
                  <a:lnTo>
                    <a:pt x="610" y="700"/>
                  </a:lnTo>
                  <a:lnTo>
                    <a:pt x="615" y="705"/>
                  </a:lnTo>
                  <a:lnTo>
                    <a:pt x="630" y="705"/>
                  </a:lnTo>
                  <a:lnTo>
                    <a:pt x="665" y="719"/>
                  </a:lnTo>
                  <a:lnTo>
                    <a:pt x="694" y="754"/>
                  </a:lnTo>
                  <a:lnTo>
                    <a:pt x="744" y="829"/>
                  </a:lnTo>
                  <a:lnTo>
                    <a:pt x="739" y="834"/>
                  </a:lnTo>
                  <a:lnTo>
                    <a:pt x="759" y="883"/>
                  </a:lnTo>
                  <a:lnTo>
                    <a:pt x="754" y="893"/>
                  </a:lnTo>
                  <a:lnTo>
                    <a:pt x="754" y="898"/>
                  </a:lnTo>
                  <a:lnTo>
                    <a:pt x="754" y="903"/>
                  </a:lnTo>
                  <a:lnTo>
                    <a:pt x="754" y="908"/>
                  </a:lnTo>
                  <a:lnTo>
                    <a:pt x="754" y="913"/>
                  </a:lnTo>
                  <a:lnTo>
                    <a:pt x="754" y="943"/>
                  </a:lnTo>
                  <a:lnTo>
                    <a:pt x="759" y="992"/>
                  </a:lnTo>
                  <a:lnTo>
                    <a:pt x="764" y="997"/>
                  </a:lnTo>
                  <a:lnTo>
                    <a:pt x="764" y="1007"/>
                  </a:lnTo>
                  <a:lnTo>
                    <a:pt x="759" y="1012"/>
                  </a:lnTo>
                  <a:lnTo>
                    <a:pt x="764" y="1027"/>
                  </a:lnTo>
                  <a:lnTo>
                    <a:pt x="774" y="1017"/>
                  </a:lnTo>
                  <a:lnTo>
                    <a:pt x="759" y="1082"/>
                  </a:lnTo>
                  <a:lnTo>
                    <a:pt x="838" y="1112"/>
                  </a:lnTo>
                  <a:lnTo>
                    <a:pt x="858" y="1097"/>
                  </a:lnTo>
                  <a:lnTo>
                    <a:pt x="868" y="1092"/>
                  </a:lnTo>
                  <a:lnTo>
                    <a:pt x="873" y="1067"/>
                  </a:lnTo>
                  <a:lnTo>
                    <a:pt x="883" y="1057"/>
                  </a:lnTo>
                  <a:lnTo>
                    <a:pt x="883" y="1052"/>
                  </a:lnTo>
                  <a:lnTo>
                    <a:pt x="873" y="1047"/>
                  </a:lnTo>
                  <a:lnTo>
                    <a:pt x="863" y="1032"/>
                  </a:lnTo>
                  <a:lnTo>
                    <a:pt x="853" y="1012"/>
                  </a:lnTo>
                  <a:lnTo>
                    <a:pt x="848" y="1012"/>
                  </a:lnTo>
                  <a:lnTo>
                    <a:pt x="843" y="997"/>
                  </a:lnTo>
                  <a:lnTo>
                    <a:pt x="843" y="983"/>
                  </a:lnTo>
                  <a:lnTo>
                    <a:pt x="848" y="978"/>
                  </a:lnTo>
                  <a:lnTo>
                    <a:pt x="843" y="908"/>
                  </a:lnTo>
                  <a:lnTo>
                    <a:pt x="833" y="878"/>
                  </a:lnTo>
                  <a:lnTo>
                    <a:pt x="833" y="868"/>
                  </a:lnTo>
                  <a:lnTo>
                    <a:pt x="823" y="849"/>
                  </a:lnTo>
                  <a:lnTo>
                    <a:pt x="823" y="819"/>
                  </a:lnTo>
                  <a:lnTo>
                    <a:pt x="799" y="824"/>
                  </a:lnTo>
                  <a:lnTo>
                    <a:pt x="789" y="834"/>
                  </a:lnTo>
                  <a:lnTo>
                    <a:pt x="754" y="839"/>
                  </a:lnTo>
                  <a:lnTo>
                    <a:pt x="759" y="819"/>
                  </a:lnTo>
                  <a:lnTo>
                    <a:pt x="749" y="769"/>
                  </a:lnTo>
                  <a:lnTo>
                    <a:pt x="749" y="764"/>
                  </a:lnTo>
                  <a:lnTo>
                    <a:pt x="754" y="749"/>
                  </a:lnTo>
                  <a:lnTo>
                    <a:pt x="739" y="744"/>
                  </a:lnTo>
                  <a:lnTo>
                    <a:pt x="729" y="744"/>
                  </a:lnTo>
                  <a:lnTo>
                    <a:pt x="724" y="734"/>
                  </a:lnTo>
                  <a:lnTo>
                    <a:pt x="719" y="739"/>
                  </a:lnTo>
                  <a:lnTo>
                    <a:pt x="709" y="729"/>
                  </a:lnTo>
                  <a:lnTo>
                    <a:pt x="962" y="27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6" name="Freeform 77"/>
            <p:cNvSpPr>
              <a:spLocks/>
            </p:cNvSpPr>
            <p:nvPr/>
          </p:nvSpPr>
          <p:spPr bwMode="auto">
            <a:xfrm>
              <a:off x="771" y="1371"/>
              <a:ext cx="124" cy="70"/>
            </a:xfrm>
            <a:custGeom>
              <a:avLst/>
              <a:gdLst>
                <a:gd name="T0" fmla="*/ 25 w 124"/>
                <a:gd name="T1" fmla="*/ 20 h 70"/>
                <a:gd name="T2" fmla="*/ 25 w 124"/>
                <a:gd name="T3" fmla="*/ 30 h 70"/>
                <a:gd name="T4" fmla="*/ 15 w 124"/>
                <a:gd name="T5" fmla="*/ 50 h 70"/>
                <a:gd name="T6" fmla="*/ 0 w 124"/>
                <a:gd name="T7" fmla="*/ 55 h 70"/>
                <a:gd name="T8" fmla="*/ 0 w 124"/>
                <a:gd name="T9" fmla="*/ 60 h 70"/>
                <a:gd name="T10" fmla="*/ 20 w 124"/>
                <a:gd name="T11" fmla="*/ 70 h 70"/>
                <a:gd name="T12" fmla="*/ 30 w 124"/>
                <a:gd name="T13" fmla="*/ 70 h 70"/>
                <a:gd name="T14" fmla="*/ 30 w 124"/>
                <a:gd name="T15" fmla="*/ 65 h 70"/>
                <a:gd name="T16" fmla="*/ 79 w 124"/>
                <a:gd name="T17" fmla="*/ 60 h 70"/>
                <a:gd name="T18" fmla="*/ 84 w 124"/>
                <a:gd name="T19" fmla="*/ 65 h 70"/>
                <a:gd name="T20" fmla="*/ 94 w 124"/>
                <a:gd name="T21" fmla="*/ 55 h 70"/>
                <a:gd name="T22" fmla="*/ 104 w 124"/>
                <a:gd name="T23" fmla="*/ 35 h 70"/>
                <a:gd name="T24" fmla="*/ 114 w 124"/>
                <a:gd name="T25" fmla="*/ 40 h 70"/>
                <a:gd name="T26" fmla="*/ 119 w 124"/>
                <a:gd name="T27" fmla="*/ 40 h 70"/>
                <a:gd name="T28" fmla="*/ 124 w 124"/>
                <a:gd name="T29" fmla="*/ 30 h 70"/>
                <a:gd name="T30" fmla="*/ 119 w 124"/>
                <a:gd name="T31" fmla="*/ 25 h 70"/>
                <a:gd name="T32" fmla="*/ 119 w 124"/>
                <a:gd name="T33" fmla="*/ 20 h 70"/>
                <a:gd name="T34" fmla="*/ 124 w 124"/>
                <a:gd name="T35" fmla="*/ 15 h 70"/>
                <a:gd name="T36" fmla="*/ 124 w 124"/>
                <a:gd name="T37" fmla="*/ 0 h 70"/>
                <a:gd name="T38" fmla="*/ 35 w 124"/>
                <a:gd name="T39" fmla="*/ 15 h 70"/>
                <a:gd name="T40" fmla="*/ 25 w 124"/>
                <a:gd name="T41" fmla="*/ 20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4"/>
                <a:gd name="T64" fmla="*/ 0 h 70"/>
                <a:gd name="T65" fmla="*/ 124 w 124"/>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4" h="70">
                  <a:moveTo>
                    <a:pt x="25" y="20"/>
                  </a:moveTo>
                  <a:lnTo>
                    <a:pt x="25" y="30"/>
                  </a:lnTo>
                  <a:lnTo>
                    <a:pt x="15" y="50"/>
                  </a:lnTo>
                  <a:lnTo>
                    <a:pt x="0" y="55"/>
                  </a:lnTo>
                  <a:lnTo>
                    <a:pt x="0" y="60"/>
                  </a:lnTo>
                  <a:lnTo>
                    <a:pt x="20" y="70"/>
                  </a:lnTo>
                  <a:lnTo>
                    <a:pt x="30" y="70"/>
                  </a:lnTo>
                  <a:lnTo>
                    <a:pt x="30" y="65"/>
                  </a:lnTo>
                  <a:lnTo>
                    <a:pt x="79" y="60"/>
                  </a:lnTo>
                  <a:lnTo>
                    <a:pt x="84" y="65"/>
                  </a:lnTo>
                  <a:lnTo>
                    <a:pt x="94" y="55"/>
                  </a:lnTo>
                  <a:lnTo>
                    <a:pt x="104" y="35"/>
                  </a:lnTo>
                  <a:lnTo>
                    <a:pt x="114" y="40"/>
                  </a:lnTo>
                  <a:lnTo>
                    <a:pt x="119" y="40"/>
                  </a:lnTo>
                  <a:lnTo>
                    <a:pt x="124" y="30"/>
                  </a:lnTo>
                  <a:lnTo>
                    <a:pt x="119" y="25"/>
                  </a:lnTo>
                  <a:lnTo>
                    <a:pt x="119" y="20"/>
                  </a:lnTo>
                  <a:lnTo>
                    <a:pt x="124" y="15"/>
                  </a:lnTo>
                  <a:lnTo>
                    <a:pt x="124" y="0"/>
                  </a:lnTo>
                  <a:lnTo>
                    <a:pt x="35" y="15"/>
                  </a:lnTo>
                  <a:lnTo>
                    <a:pt x="25" y="2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7" name="Freeform 78"/>
            <p:cNvSpPr>
              <a:spLocks/>
            </p:cNvSpPr>
            <p:nvPr/>
          </p:nvSpPr>
          <p:spPr bwMode="auto">
            <a:xfrm>
              <a:off x="329" y="1262"/>
              <a:ext cx="154" cy="59"/>
            </a:xfrm>
            <a:custGeom>
              <a:avLst/>
              <a:gdLst>
                <a:gd name="T0" fmla="*/ 114 w 154"/>
                <a:gd name="T1" fmla="*/ 30 h 59"/>
                <a:gd name="T2" fmla="*/ 110 w 154"/>
                <a:gd name="T3" fmla="*/ 30 h 59"/>
                <a:gd name="T4" fmla="*/ 100 w 154"/>
                <a:gd name="T5" fmla="*/ 20 h 59"/>
                <a:gd name="T6" fmla="*/ 90 w 154"/>
                <a:gd name="T7" fmla="*/ 15 h 59"/>
                <a:gd name="T8" fmla="*/ 85 w 154"/>
                <a:gd name="T9" fmla="*/ 15 h 59"/>
                <a:gd name="T10" fmla="*/ 85 w 154"/>
                <a:gd name="T11" fmla="*/ 20 h 59"/>
                <a:gd name="T12" fmla="*/ 85 w 154"/>
                <a:gd name="T13" fmla="*/ 25 h 59"/>
                <a:gd name="T14" fmla="*/ 80 w 154"/>
                <a:gd name="T15" fmla="*/ 25 h 59"/>
                <a:gd name="T16" fmla="*/ 75 w 154"/>
                <a:gd name="T17" fmla="*/ 25 h 59"/>
                <a:gd name="T18" fmla="*/ 70 w 154"/>
                <a:gd name="T19" fmla="*/ 25 h 59"/>
                <a:gd name="T20" fmla="*/ 65 w 154"/>
                <a:gd name="T21" fmla="*/ 25 h 59"/>
                <a:gd name="T22" fmla="*/ 60 w 154"/>
                <a:gd name="T23" fmla="*/ 20 h 59"/>
                <a:gd name="T24" fmla="*/ 65 w 154"/>
                <a:gd name="T25" fmla="*/ 20 h 59"/>
                <a:gd name="T26" fmla="*/ 65 w 154"/>
                <a:gd name="T27" fmla="*/ 15 h 59"/>
                <a:gd name="T28" fmla="*/ 60 w 154"/>
                <a:gd name="T29" fmla="*/ 10 h 59"/>
                <a:gd name="T30" fmla="*/ 55 w 154"/>
                <a:gd name="T31" fmla="*/ 5 h 59"/>
                <a:gd name="T32" fmla="*/ 50 w 154"/>
                <a:gd name="T33" fmla="*/ 0 h 59"/>
                <a:gd name="T34" fmla="*/ 40 w 154"/>
                <a:gd name="T35" fmla="*/ 5 h 59"/>
                <a:gd name="T36" fmla="*/ 35 w 154"/>
                <a:gd name="T37" fmla="*/ 5 h 59"/>
                <a:gd name="T38" fmla="*/ 30 w 154"/>
                <a:gd name="T39" fmla="*/ 5 h 59"/>
                <a:gd name="T40" fmla="*/ 25 w 154"/>
                <a:gd name="T41" fmla="*/ 5 h 59"/>
                <a:gd name="T42" fmla="*/ 10 w 154"/>
                <a:gd name="T43" fmla="*/ 5 h 59"/>
                <a:gd name="T44" fmla="*/ 5 w 154"/>
                <a:gd name="T45" fmla="*/ 5 h 59"/>
                <a:gd name="T46" fmla="*/ 0 w 154"/>
                <a:gd name="T47" fmla="*/ 10 h 59"/>
                <a:gd name="T48" fmla="*/ 5 w 154"/>
                <a:gd name="T49" fmla="*/ 10 h 59"/>
                <a:gd name="T50" fmla="*/ 15 w 154"/>
                <a:gd name="T51" fmla="*/ 15 h 59"/>
                <a:gd name="T52" fmla="*/ 20 w 154"/>
                <a:gd name="T53" fmla="*/ 15 h 59"/>
                <a:gd name="T54" fmla="*/ 25 w 154"/>
                <a:gd name="T55" fmla="*/ 20 h 59"/>
                <a:gd name="T56" fmla="*/ 30 w 154"/>
                <a:gd name="T57" fmla="*/ 25 h 59"/>
                <a:gd name="T58" fmla="*/ 35 w 154"/>
                <a:gd name="T59" fmla="*/ 20 h 59"/>
                <a:gd name="T60" fmla="*/ 40 w 154"/>
                <a:gd name="T61" fmla="*/ 20 h 59"/>
                <a:gd name="T62" fmla="*/ 45 w 154"/>
                <a:gd name="T63" fmla="*/ 20 h 59"/>
                <a:gd name="T64" fmla="*/ 50 w 154"/>
                <a:gd name="T65" fmla="*/ 30 h 59"/>
                <a:gd name="T66" fmla="*/ 55 w 154"/>
                <a:gd name="T67" fmla="*/ 35 h 59"/>
                <a:gd name="T68" fmla="*/ 70 w 154"/>
                <a:gd name="T69" fmla="*/ 35 h 59"/>
                <a:gd name="T70" fmla="*/ 80 w 154"/>
                <a:gd name="T71" fmla="*/ 45 h 59"/>
                <a:gd name="T72" fmla="*/ 85 w 154"/>
                <a:gd name="T73" fmla="*/ 45 h 59"/>
                <a:gd name="T74" fmla="*/ 95 w 154"/>
                <a:gd name="T75" fmla="*/ 45 h 59"/>
                <a:gd name="T76" fmla="*/ 105 w 154"/>
                <a:gd name="T77" fmla="*/ 45 h 59"/>
                <a:gd name="T78" fmla="*/ 110 w 154"/>
                <a:gd name="T79" fmla="*/ 45 h 59"/>
                <a:gd name="T80" fmla="*/ 114 w 154"/>
                <a:gd name="T81" fmla="*/ 40 h 59"/>
                <a:gd name="T82" fmla="*/ 139 w 154"/>
                <a:gd name="T83" fmla="*/ 59 h 59"/>
                <a:gd name="T84" fmla="*/ 149 w 154"/>
                <a:gd name="T85" fmla="*/ 59 h 59"/>
                <a:gd name="T86" fmla="*/ 154 w 154"/>
                <a:gd name="T87" fmla="*/ 55 h 59"/>
                <a:gd name="T88" fmla="*/ 149 w 154"/>
                <a:gd name="T89" fmla="*/ 55 h 59"/>
                <a:gd name="T90" fmla="*/ 139 w 154"/>
                <a:gd name="T91" fmla="*/ 35 h 59"/>
                <a:gd name="T92" fmla="*/ 124 w 154"/>
                <a:gd name="T93" fmla="*/ 30 h 59"/>
                <a:gd name="T94" fmla="*/ 119 w 154"/>
                <a:gd name="T95" fmla="*/ 30 h 59"/>
                <a:gd name="T96" fmla="*/ 114 w 154"/>
                <a:gd name="T97" fmla="*/ 30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4"/>
                <a:gd name="T148" fmla="*/ 0 h 59"/>
                <a:gd name="T149" fmla="*/ 154 w 154"/>
                <a:gd name="T150" fmla="*/ 59 h 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4" h="59">
                  <a:moveTo>
                    <a:pt x="114" y="30"/>
                  </a:moveTo>
                  <a:lnTo>
                    <a:pt x="110" y="30"/>
                  </a:lnTo>
                  <a:lnTo>
                    <a:pt x="100" y="20"/>
                  </a:lnTo>
                  <a:lnTo>
                    <a:pt x="90" y="15"/>
                  </a:lnTo>
                  <a:lnTo>
                    <a:pt x="85" y="15"/>
                  </a:lnTo>
                  <a:lnTo>
                    <a:pt x="85" y="20"/>
                  </a:lnTo>
                  <a:lnTo>
                    <a:pt x="85" y="25"/>
                  </a:lnTo>
                  <a:lnTo>
                    <a:pt x="80" y="25"/>
                  </a:lnTo>
                  <a:lnTo>
                    <a:pt x="75" y="25"/>
                  </a:lnTo>
                  <a:lnTo>
                    <a:pt x="70" y="25"/>
                  </a:lnTo>
                  <a:lnTo>
                    <a:pt x="65" y="25"/>
                  </a:lnTo>
                  <a:lnTo>
                    <a:pt x="60" y="20"/>
                  </a:lnTo>
                  <a:lnTo>
                    <a:pt x="65" y="20"/>
                  </a:lnTo>
                  <a:lnTo>
                    <a:pt x="65" y="15"/>
                  </a:lnTo>
                  <a:lnTo>
                    <a:pt x="60" y="10"/>
                  </a:lnTo>
                  <a:lnTo>
                    <a:pt x="55" y="5"/>
                  </a:lnTo>
                  <a:lnTo>
                    <a:pt x="50" y="0"/>
                  </a:lnTo>
                  <a:lnTo>
                    <a:pt x="40" y="5"/>
                  </a:lnTo>
                  <a:lnTo>
                    <a:pt x="35" y="5"/>
                  </a:lnTo>
                  <a:lnTo>
                    <a:pt x="30" y="5"/>
                  </a:lnTo>
                  <a:lnTo>
                    <a:pt x="25" y="5"/>
                  </a:lnTo>
                  <a:lnTo>
                    <a:pt x="10" y="5"/>
                  </a:lnTo>
                  <a:lnTo>
                    <a:pt x="5" y="5"/>
                  </a:lnTo>
                  <a:lnTo>
                    <a:pt x="0" y="10"/>
                  </a:lnTo>
                  <a:lnTo>
                    <a:pt x="5" y="10"/>
                  </a:lnTo>
                  <a:lnTo>
                    <a:pt x="15" y="15"/>
                  </a:lnTo>
                  <a:lnTo>
                    <a:pt x="20" y="15"/>
                  </a:lnTo>
                  <a:lnTo>
                    <a:pt x="25" y="20"/>
                  </a:lnTo>
                  <a:lnTo>
                    <a:pt x="30" y="25"/>
                  </a:lnTo>
                  <a:lnTo>
                    <a:pt x="35" y="20"/>
                  </a:lnTo>
                  <a:lnTo>
                    <a:pt x="40" y="20"/>
                  </a:lnTo>
                  <a:lnTo>
                    <a:pt x="45" y="20"/>
                  </a:lnTo>
                  <a:lnTo>
                    <a:pt x="50" y="30"/>
                  </a:lnTo>
                  <a:lnTo>
                    <a:pt x="55" y="35"/>
                  </a:lnTo>
                  <a:lnTo>
                    <a:pt x="70" y="35"/>
                  </a:lnTo>
                  <a:lnTo>
                    <a:pt x="80" y="45"/>
                  </a:lnTo>
                  <a:lnTo>
                    <a:pt x="85" y="45"/>
                  </a:lnTo>
                  <a:lnTo>
                    <a:pt x="95" y="45"/>
                  </a:lnTo>
                  <a:lnTo>
                    <a:pt x="105" y="45"/>
                  </a:lnTo>
                  <a:lnTo>
                    <a:pt x="110" y="45"/>
                  </a:lnTo>
                  <a:lnTo>
                    <a:pt x="114" y="40"/>
                  </a:lnTo>
                  <a:lnTo>
                    <a:pt x="139" y="59"/>
                  </a:lnTo>
                  <a:lnTo>
                    <a:pt x="149" y="59"/>
                  </a:lnTo>
                  <a:lnTo>
                    <a:pt x="154" y="55"/>
                  </a:lnTo>
                  <a:lnTo>
                    <a:pt x="149" y="55"/>
                  </a:lnTo>
                  <a:lnTo>
                    <a:pt x="139" y="35"/>
                  </a:lnTo>
                  <a:lnTo>
                    <a:pt x="124" y="30"/>
                  </a:lnTo>
                  <a:lnTo>
                    <a:pt x="119" y="30"/>
                  </a:lnTo>
                  <a:lnTo>
                    <a:pt x="114" y="3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8" name="Freeform 79"/>
            <p:cNvSpPr>
              <a:spLocks/>
            </p:cNvSpPr>
            <p:nvPr/>
          </p:nvSpPr>
          <p:spPr bwMode="auto">
            <a:xfrm>
              <a:off x="701" y="840"/>
              <a:ext cx="50" cy="84"/>
            </a:xfrm>
            <a:custGeom>
              <a:avLst/>
              <a:gdLst>
                <a:gd name="T0" fmla="*/ 0 w 50"/>
                <a:gd name="T1" fmla="*/ 15 h 84"/>
                <a:gd name="T2" fmla="*/ 20 w 50"/>
                <a:gd name="T3" fmla="*/ 0 h 84"/>
                <a:gd name="T4" fmla="*/ 40 w 50"/>
                <a:gd name="T5" fmla="*/ 40 h 84"/>
                <a:gd name="T6" fmla="*/ 50 w 50"/>
                <a:gd name="T7" fmla="*/ 74 h 84"/>
                <a:gd name="T8" fmla="*/ 35 w 50"/>
                <a:gd name="T9" fmla="*/ 84 h 84"/>
                <a:gd name="T10" fmla="*/ 20 w 50"/>
                <a:gd name="T11" fmla="*/ 74 h 84"/>
                <a:gd name="T12" fmla="*/ 0 w 50"/>
                <a:gd name="T13" fmla="*/ 15 h 84"/>
                <a:gd name="T14" fmla="*/ 0 60000 65536"/>
                <a:gd name="T15" fmla="*/ 0 60000 65536"/>
                <a:gd name="T16" fmla="*/ 0 60000 65536"/>
                <a:gd name="T17" fmla="*/ 0 60000 65536"/>
                <a:gd name="T18" fmla="*/ 0 60000 65536"/>
                <a:gd name="T19" fmla="*/ 0 60000 65536"/>
                <a:gd name="T20" fmla="*/ 0 60000 65536"/>
                <a:gd name="T21" fmla="*/ 0 w 50"/>
                <a:gd name="T22" fmla="*/ 0 h 84"/>
                <a:gd name="T23" fmla="*/ 50 w 50"/>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84">
                  <a:moveTo>
                    <a:pt x="0" y="15"/>
                  </a:moveTo>
                  <a:lnTo>
                    <a:pt x="20" y="0"/>
                  </a:lnTo>
                  <a:lnTo>
                    <a:pt x="40" y="40"/>
                  </a:lnTo>
                  <a:lnTo>
                    <a:pt x="50" y="74"/>
                  </a:lnTo>
                  <a:lnTo>
                    <a:pt x="35" y="84"/>
                  </a:lnTo>
                  <a:lnTo>
                    <a:pt x="20" y="74"/>
                  </a:lnTo>
                  <a:lnTo>
                    <a:pt x="0" y="1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89" name="Freeform 80"/>
            <p:cNvSpPr>
              <a:spLocks/>
            </p:cNvSpPr>
            <p:nvPr/>
          </p:nvSpPr>
          <p:spPr bwMode="auto">
            <a:xfrm>
              <a:off x="116" y="1083"/>
              <a:ext cx="119" cy="124"/>
            </a:xfrm>
            <a:custGeom>
              <a:avLst/>
              <a:gdLst>
                <a:gd name="T0" fmla="*/ 0 w 119"/>
                <a:gd name="T1" fmla="*/ 10 h 124"/>
                <a:gd name="T2" fmla="*/ 5 w 119"/>
                <a:gd name="T3" fmla="*/ 20 h 124"/>
                <a:gd name="T4" fmla="*/ 20 w 119"/>
                <a:gd name="T5" fmla="*/ 40 h 124"/>
                <a:gd name="T6" fmla="*/ 20 w 119"/>
                <a:gd name="T7" fmla="*/ 45 h 124"/>
                <a:gd name="T8" fmla="*/ 30 w 119"/>
                <a:gd name="T9" fmla="*/ 50 h 124"/>
                <a:gd name="T10" fmla="*/ 40 w 119"/>
                <a:gd name="T11" fmla="*/ 55 h 124"/>
                <a:gd name="T12" fmla="*/ 45 w 119"/>
                <a:gd name="T13" fmla="*/ 60 h 124"/>
                <a:gd name="T14" fmla="*/ 55 w 119"/>
                <a:gd name="T15" fmla="*/ 65 h 124"/>
                <a:gd name="T16" fmla="*/ 75 w 119"/>
                <a:gd name="T17" fmla="*/ 80 h 124"/>
                <a:gd name="T18" fmla="*/ 84 w 119"/>
                <a:gd name="T19" fmla="*/ 94 h 124"/>
                <a:gd name="T20" fmla="*/ 94 w 119"/>
                <a:gd name="T21" fmla="*/ 99 h 124"/>
                <a:gd name="T22" fmla="*/ 99 w 119"/>
                <a:gd name="T23" fmla="*/ 114 h 124"/>
                <a:gd name="T24" fmla="*/ 114 w 119"/>
                <a:gd name="T25" fmla="*/ 124 h 124"/>
                <a:gd name="T26" fmla="*/ 119 w 119"/>
                <a:gd name="T27" fmla="*/ 124 h 124"/>
                <a:gd name="T28" fmla="*/ 109 w 119"/>
                <a:gd name="T29" fmla="*/ 104 h 124"/>
                <a:gd name="T30" fmla="*/ 104 w 119"/>
                <a:gd name="T31" fmla="*/ 99 h 124"/>
                <a:gd name="T32" fmla="*/ 99 w 119"/>
                <a:gd name="T33" fmla="*/ 94 h 124"/>
                <a:gd name="T34" fmla="*/ 109 w 119"/>
                <a:gd name="T35" fmla="*/ 94 h 124"/>
                <a:gd name="T36" fmla="*/ 109 w 119"/>
                <a:gd name="T37" fmla="*/ 90 h 124"/>
                <a:gd name="T38" fmla="*/ 109 w 119"/>
                <a:gd name="T39" fmla="*/ 80 h 124"/>
                <a:gd name="T40" fmla="*/ 99 w 119"/>
                <a:gd name="T41" fmla="*/ 80 h 124"/>
                <a:gd name="T42" fmla="*/ 94 w 119"/>
                <a:gd name="T43" fmla="*/ 80 h 124"/>
                <a:gd name="T44" fmla="*/ 70 w 119"/>
                <a:gd name="T45" fmla="*/ 65 h 124"/>
                <a:gd name="T46" fmla="*/ 65 w 119"/>
                <a:gd name="T47" fmla="*/ 55 h 124"/>
                <a:gd name="T48" fmla="*/ 60 w 119"/>
                <a:gd name="T49" fmla="*/ 50 h 124"/>
                <a:gd name="T50" fmla="*/ 60 w 119"/>
                <a:gd name="T51" fmla="*/ 45 h 124"/>
                <a:gd name="T52" fmla="*/ 45 w 119"/>
                <a:gd name="T53" fmla="*/ 35 h 124"/>
                <a:gd name="T54" fmla="*/ 40 w 119"/>
                <a:gd name="T55" fmla="*/ 30 h 124"/>
                <a:gd name="T56" fmla="*/ 35 w 119"/>
                <a:gd name="T57" fmla="*/ 25 h 124"/>
                <a:gd name="T58" fmla="*/ 20 w 119"/>
                <a:gd name="T59" fmla="*/ 15 h 124"/>
                <a:gd name="T60" fmla="*/ 20 w 119"/>
                <a:gd name="T61" fmla="*/ 5 h 124"/>
                <a:gd name="T62" fmla="*/ 10 w 119"/>
                <a:gd name="T63" fmla="*/ 0 h 124"/>
                <a:gd name="T64" fmla="*/ 0 w 119"/>
                <a:gd name="T65" fmla="*/ 10 h 1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124"/>
                <a:gd name="T101" fmla="*/ 119 w 119"/>
                <a:gd name="T102" fmla="*/ 124 h 1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124">
                  <a:moveTo>
                    <a:pt x="0" y="10"/>
                  </a:moveTo>
                  <a:lnTo>
                    <a:pt x="5" y="20"/>
                  </a:lnTo>
                  <a:lnTo>
                    <a:pt x="20" y="40"/>
                  </a:lnTo>
                  <a:lnTo>
                    <a:pt x="20" y="45"/>
                  </a:lnTo>
                  <a:lnTo>
                    <a:pt x="30" y="50"/>
                  </a:lnTo>
                  <a:lnTo>
                    <a:pt x="40" y="55"/>
                  </a:lnTo>
                  <a:lnTo>
                    <a:pt x="45" y="60"/>
                  </a:lnTo>
                  <a:lnTo>
                    <a:pt x="55" y="65"/>
                  </a:lnTo>
                  <a:lnTo>
                    <a:pt x="75" y="80"/>
                  </a:lnTo>
                  <a:lnTo>
                    <a:pt x="84" y="94"/>
                  </a:lnTo>
                  <a:lnTo>
                    <a:pt x="94" y="99"/>
                  </a:lnTo>
                  <a:lnTo>
                    <a:pt x="99" y="114"/>
                  </a:lnTo>
                  <a:lnTo>
                    <a:pt x="114" y="124"/>
                  </a:lnTo>
                  <a:lnTo>
                    <a:pt x="119" y="124"/>
                  </a:lnTo>
                  <a:lnTo>
                    <a:pt x="109" y="104"/>
                  </a:lnTo>
                  <a:lnTo>
                    <a:pt x="104" y="99"/>
                  </a:lnTo>
                  <a:lnTo>
                    <a:pt x="99" y="94"/>
                  </a:lnTo>
                  <a:lnTo>
                    <a:pt x="109" y="94"/>
                  </a:lnTo>
                  <a:lnTo>
                    <a:pt x="109" y="90"/>
                  </a:lnTo>
                  <a:lnTo>
                    <a:pt x="109" y="80"/>
                  </a:lnTo>
                  <a:lnTo>
                    <a:pt x="99" y="80"/>
                  </a:lnTo>
                  <a:lnTo>
                    <a:pt x="94" y="80"/>
                  </a:lnTo>
                  <a:lnTo>
                    <a:pt x="70" y="65"/>
                  </a:lnTo>
                  <a:lnTo>
                    <a:pt x="65" y="55"/>
                  </a:lnTo>
                  <a:lnTo>
                    <a:pt x="60" y="50"/>
                  </a:lnTo>
                  <a:lnTo>
                    <a:pt x="60" y="45"/>
                  </a:lnTo>
                  <a:lnTo>
                    <a:pt x="45" y="35"/>
                  </a:lnTo>
                  <a:lnTo>
                    <a:pt x="40" y="30"/>
                  </a:lnTo>
                  <a:lnTo>
                    <a:pt x="35" y="25"/>
                  </a:lnTo>
                  <a:lnTo>
                    <a:pt x="20" y="15"/>
                  </a:lnTo>
                  <a:lnTo>
                    <a:pt x="20" y="5"/>
                  </a:lnTo>
                  <a:lnTo>
                    <a:pt x="10" y="0"/>
                  </a:lnTo>
                  <a:lnTo>
                    <a:pt x="0" y="1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0" name="Freeform 81"/>
            <p:cNvSpPr>
              <a:spLocks/>
            </p:cNvSpPr>
            <p:nvPr/>
          </p:nvSpPr>
          <p:spPr bwMode="auto">
            <a:xfrm>
              <a:off x="642" y="1048"/>
              <a:ext cx="44" cy="50"/>
            </a:xfrm>
            <a:custGeom>
              <a:avLst/>
              <a:gdLst>
                <a:gd name="T0" fmla="*/ 5 w 44"/>
                <a:gd name="T1" fmla="*/ 0 h 50"/>
                <a:gd name="T2" fmla="*/ 40 w 44"/>
                <a:gd name="T3" fmla="*/ 15 h 50"/>
                <a:gd name="T4" fmla="*/ 44 w 44"/>
                <a:gd name="T5" fmla="*/ 25 h 50"/>
                <a:gd name="T6" fmla="*/ 35 w 44"/>
                <a:gd name="T7" fmla="*/ 45 h 50"/>
                <a:gd name="T8" fmla="*/ 30 w 44"/>
                <a:gd name="T9" fmla="*/ 50 h 50"/>
                <a:gd name="T10" fmla="*/ 10 w 44"/>
                <a:gd name="T11" fmla="*/ 40 h 50"/>
                <a:gd name="T12" fmla="*/ 0 w 44"/>
                <a:gd name="T13" fmla="*/ 15 h 50"/>
                <a:gd name="T14" fmla="*/ 5 w 44"/>
                <a:gd name="T15" fmla="*/ 0 h 50"/>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50"/>
                <a:gd name="T26" fmla="*/ 44 w 44"/>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50">
                  <a:moveTo>
                    <a:pt x="5" y="0"/>
                  </a:moveTo>
                  <a:lnTo>
                    <a:pt x="40" y="15"/>
                  </a:lnTo>
                  <a:lnTo>
                    <a:pt x="44" y="25"/>
                  </a:lnTo>
                  <a:lnTo>
                    <a:pt x="35" y="45"/>
                  </a:lnTo>
                  <a:lnTo>
                    <a:pt x="30" y="50"/>
                  </a:lnTo>
                  <a:lnTo>
                    <a:pt x="10" y="40"/>
                  </a:lnTo>
                  <a:lnTo>
                    <a:pt x="0" y="15"/>
                  </a:lnTo>
                  <a:lnTo>
                    <a:pt x="5"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1" name="Freeform 82"/>
            <p:cNvSpPr>
              <a:spLocks/>
            </p:cNvSpPr>
            <p:nvPr/>
          </p:nvSpPr>
          <p:spPr bwMode="auto">
            <a:xfrm>
              <a:off x="250" y="1168"/>
              <a:ext cx="30" cy="24"/>
            </a:xfrm>
            <a:custGeom>
              <a:avLst/>
              <a:gdLst>
                <a:gd name="T0" fmla="*/ 0 w 30"/>
                <a:gd name="T1" fmla="*/ 0 h 24"/>
                <a:gd name="T2" fmla="*/ 15 w 30"/>
                <a:gd name="T3" fmla="*/ 5 h 24"/>
                <a:gd name="T4" fmla="*/ 25 w 30"/>
                <a:gd name="T5" fmla="*/ 14 h 24"/>
                <a:gd name="T6" fmla="*/ 30 w 30"/>
                <a:gd name="T7" fmla="*/ 24 h 24"/>
                <a:gd name="T8" fmla="*/ 25 w 30"/>
                <a:gd name="T9" fmla="*/ 24 h 24"/>
                <a:gd name="T10" fmla="*/ 15 w 30"/>
                <a:gd name="T11" fmla="*/ 24 h 24"/>
                <a:gd name="T12" fmla="*/ 5 w 30"/>
                <a:gd name="T13" fmla="*/ 19 h 24"/>
                <a:gd name="T14" fmla="*/ 5 w 30"/>
                <a:gd name="T15" fmla="*/ 14 h 24"/>
                <a:gd name="T16" fmla="*/ 0 w 30"/>
                <a:gd name="T17" fmla="*/ 9 h 24"/>
                <a:gd name="T18" fmla="*/ 0 w 30"/>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24"/>
                <a:gd name="T32" fmla="*/ 30 w 3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24">
                  <a:moveTo>
                    <a:pt x="0" y="0"/>
                  </a:moveTo>
                  <a:lnTo>
                    <a:pt x="15" y="5"/>
                  </a:lnTo>
                  <a:lnTo>
                    <a:pt x="25" y="14"/>
                  </a:lnTo>
                  <a:lnTo>
                    <a:pt x="30" y="24"/>
                  </a:lnTo>
                  <a:lnTo>
                    <a:pt x="25" y="24"/>
                  </a:lnTo>
                  <a:lnTo>
                    <a:pt x="15" y="24"/>
                  </a:lnTo>
                  <a:lnTo>
                    <a:pt x="5" y="19"/>
                  </a:lnTo>
                  <a:lnTo>
                    <a:pt x="5" y="14"/>
                  </a:lnTo>
                  <a:lnTo>
                    <a:pt x="0" y="9"/>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2" name="Freeform 83"/>
            <p:cNvSpPr>
              <a:spLocks/>
            </p:cNvSpPr>
            <p:nvPr/>
          </p:nvSpPr>
          <p:spPr bwMode="auto">
            <a:xfrm>
              <a:off x="310" y="1242"/>
              <a:ext cx="29" cy="20"/>
            </a:xfrm>
            <a:custGeom>
              <a:avLst/>
              <a:gdLst>
                <a:gd name="T0" fmla="*/ 0 w 29"/>
                <a:gd name="T1" fmla="*/ 5 h 20"/>
                <a:gd name="T2" fmla="*/ 0 w 29"/>
                <a:gd name="T3" fmla="*/ 10 h 20"/>
                <a:gd name="T4" fmla="*/ 5 w 29"/>
                <a:gd name="T5" fmla="*/ 15 h 20"/>
                <a:gd name="T6" fmla="*/ 9 w 29"/>
                <a:gd name="T7" fmla="*/ 20 h 20"/>
                <a:gd name="T8" fmla="*/ 14 w 29"/>
                <a:gd name="T9" fmla="*/ 20 h 20"/>
                <a:gd name="T10" fmla="*/ 19 w 29"/>
                <a:gd name="T11" fmla="*/ 20 h 20"/>
                <a:gd name="T12" fmla="*/ 24 w 29"/>
                <a:gd name="T13" fmla="*/ 15 h 20"/>
                <a:gd name="T14" fmla="*/ 29 w 29"/>
                <a:gd name="T15" fmla="*/ 10 h 20"/>
                <a:gd name="T16" fmla="*/ 29 w 29"/>
                <a:gd name="T17" fmla="*/ 5 h 20"/>
                <a:gd name="T18" fmla="*/ 24 w 29"/>
                <a:gd name="T19" fmla="*/ 5 h 20"/>
                <a:gd name="T20" fmla="*/ 14 w 29"/>
                <a:gd name="T21" fmla="*/ 0 h 20"/>
                <a:gd name="T22" fmla="*/ 9 w 29"/>
                <a:gd name="T23" fmla="*/ 0 h 20"/>
                <a:gd name="T24" fmla="*/ 0 w 29"/>
                <a:gd name="T25" fmla="*/ 5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20"/>
                <a:gd name="T41" fmla="*/ 29 w 29"/>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20">
                  <a:moveTo>
                    <a:pt x="0" y="5"/>
                  </a:moveTo>
                  <a:lnTo>
                    <a:pt x="0" y="10"/>
                  </a:lnTo>
                  <a:lnTo>
                    <a:pt x="5" y="15"/>
                  </a:lnTo>
                  <a:lnTo>
                    <a:pt x="9" y="20"/>
                  </a:lnTo>
                  <a:lnTo>
                    <a:pt x="14" y="20"/>
                  </a:lnTo>
                  <a:lnTo>
                    <a:pt x="19" y="20"/>
                  </a:lnTo>
                  <a:lnTo>
                    <a:pt x="24" y="15"/>
                  </a:lnTo>
                  <a:lnTo>
                    <a:pt x="29" y="10"/>
                  </a:lnTo>
                  <a:lnTo>
                    <a:pt x="29" y="5"/>
                  </a:lnTo>
                  <a:lnTo>
                    <a:pt x="24" y="5"/>
                  </a:lnTo>
                  <a:lnTo>
                    <a:pt x="14" y="0"/>
                  </a:lnTo>
                  <a:lnTo>
                    <a:pt x="9" y="0"/>
                  </a:lnTo>
                  <a:lnTo>
                    <a:pt x="0" y="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3" name="Freeform 84"/>
            <p:cNvSpPr>
              <a:spLocks/>
            </p:cNvSpPr>
            <p:nvPr/>
          </p:nvSpPr>
          <p:spPr bwMode="auto">
            <a:xfrm>
              <a:off x="76" y="1063"/>
              <a:ext cx="35" cy="20"/>
            </a:xfrm>
            <a:custGeom>
              <a:avLst/>
              <a:gdLst>
                <a:gd name="T0" fmla="*/ 5 w 35"/>
                <a:gd name="T1" fmla="*/ 0 h 20"/>
                <a:gd name="T2" fmla="*/ 0 w 35"/>
                <a:gd name="T3" fmla="*/ 5 h 20"/>
                <a:gd name="T4" fmla="*/ 5 w 35"/>
                <a:gd name="T5" fmla="*/ 10 h 20"/>
                <a:gd name="T6" fmla="*/ 35 w 35"/>
                <a:gd name="T7" fmla="*/ 20 h 20"/>
                <a:gd name="T8" fmla="*/ 35 w 35"/>
                <a:gd name="T9" fmla="*/ 15 h 20"/>
                <a:gd name="T10" fmla="*/ 30 w 35"/>
                <a:gd name="T11" fmla="*/ 10 h 20"/>
                <a:gd name="T12" fmla="*/ 5 w 35"/>
                <a:gd name="T13" fmla="*/ 0 h 20"/>
                <a:gd name="T14" fmla="*/ 0 60000 65536"/>
                <a:gd name="T15" fmla="*/ 0 60000 65536"/>
                <a:gd name="T16" fmla="*/ 0 60000 65536"/>
                <a:gd name="T17" fmla="*/ 0 60000 65536"/>
                <a:gd name="T18" fmla="*/ 0 60000 65536"/>
                <a:gd name="T19" fmla="*/ 0 60000 65536"/>
                <a:gd name="T20" fmla="*/ 0 60000 65536"/>
                <a:gd name="T21" fmla="*/ 0 w 35"/>
                <a:gd name="T22" fmla="*/ 0 h 20"/>
                <a:gd name="T23" fmla="*/ 35 w 35"/>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0">
                  <a:moveTo>
                    <a:pt x="5" y="0"/>
                  </a:moveTo>
                  <a:lnTo>
                    <a:pt x="0" y="5"/>
                  </a:lnTo>
                  <a:lnTo>
                    <a:pt x="5" y="10"/>
                  </a:lnTo>
                  <a:lnTo>
                    <a:pt x="35" y="20"/>
                  </a:lnTo>
                  <a:lnTo>
                    <a:pt x="35" y="15"/>
                  </a:lnTo>
                  <a:lnTo>
                    <a:pt x="30" y="10"/>
                  </a:lnTo>
                  <a:lnTo>
                    <a:pt x="5"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4" name="Freeform 85"/>
            <p:cNvSpPr>
              <a:spLocks/>
            </p:cNvSpPr>
            <p:nvPr/>
          </p:nvSpPr>
          <p:spPr bwMode="auto">
            <a:xfrm>
              <a:off x="523" y="1346"/>
              <a:ext cx="15" cy="20"/>
            </a:xfrm>
            <a:custGeom>
              <a:avLst/>
              <a:gdLst>
                <a:gd name="T0" fmla="*/ 0 w 15"/>
                <a:gd name="T1" fmla="*/ 5 h 20"/>
                <a:gd name="T2" fmla="*/ 10 w 15"/>
                <a:gd name="T3" fmla="*/ 0 h 20"/>
                <a:gd name="T4" fmla="*/ 15 w 15"/>
                <a:gd name="T5" fmla="*/ 15 h 20"/>
                <a:gd name="T6" fmla="*/ 15 w 15"/>
                <a:gd name="T7" fmla="*/ 20 h 20"/>
                <a:gd name="T8" fmla="*/ 0 w 15"/>
                <a:gd name="T9" fmla="*/ 15 h 20"/>
                <a:gd name="T10" fmla="*/ 0 w 15"/>
                <a:gd name="T11" fmla="*/ 5 h 20"/>
                <a:gd name="T12" fmla="*/ 0 60000 65536"/>
                <a:gd name="T13" fmla="*/ 0 60000 65536"/>
                <a:gd name="T14" fmla="*/ 0 60000 65536"/>
                <a:gd name="T15" fmla="*/ 0 60000 65536"/>
                <a:gd name="T16" fmla="*/ 0 60000 65536"/>
                <a:gd name="T17" fmla="*/ 0 60000 65536"/>
                <a:gd name="T18" fmla="*/ 0 w 15"/>
                <a:gd name="T19" fmla="*/ 0 h 20"/>
                <a:gd name="T20" fmla="*/ 15 w 1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5" h="20">
                  <a:moveTo>
                    <a:pt x="0" y="5"/>
                  </a:moveTo>
                  <a:lnTo>
                    <a:pt x="10" y="0"/>
                  </a:lnTo>
                  <a:lnTo>
                    <a:pt x="15" y="15"/>
                  </a:lnTo>
                  <a:lnTo>
                    <a:pt x="15" y="20"/>
                  </a:lnTo>
                  <a:lnTo>
                    <a:pt x="0" y="15"/>
                  </a:lnTo>
                  <a:lnTo>
                    <a:pt x="0" y="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5" name="Freeform 86"/>
            <p:cNvSpPr>
              <a:spLocks/>
            </p:cNvSpPr>
            <p:nvPr/>
          </p:nvSpPr>
          <p:spPr bwMode="auto">
            <a:xfrm>
              <a:off x="225" y="1173"/>
              <a:ext cx="15" cy="14"/>
            </a:xfrm>
            <a:custGeom>
              <a:avLst/>
              <a:gdLst>
                <a:gd name="T0" fmla="*/ 5 w 15"/>
                <a:gd name="T1" fmla="*/ 0 h 14"/>
                <a:gd name="T2" fmla="*/ 10 w 15"/>
                <a:gd name="T3" fmla="*/ 0 h 14"/>
                <a:gd name="T4" fmla="*/ 15 w 15"/>
                <a:gd name="T5" fmla="*/ 4 h 14"/>
                <a:gd name="T6" fmla="*/ 15 w 15"/>
                <a:gd name="T7" fmla="*/ 14 h 14"/>
                <a:gd name="T8" fmla="*/ 10 w 15"/>
                <a:gd name="T9" fmla="*/ 14 h 14"/>
                <a:gd name="T10" fmla="*/ 0 w 15"/>
                <a:gd name="T11" fmla="*/ 9 h 14"/>
                <a:gd name="T12" fmla="*/ 0 w 15"/>
                <a:gd name="T13" fmla="*/ 4 h 14"/>
                <a:gd name="T14" fmla="*/ 5 w 15"/>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4"/>
                <a:gd name="T26" fmla="*/ 15 w 15"/>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4">
                  <a:moveTo>
                    <a:pt x="5" y="0"/>
                  </a:moveTo>
                  <a:lnTo>
                    <a:pt x="10" y="0"/>
                  </a:lnTo>
                  <a:lnTo>
                    <a:pt x="15" y="4"/>
                  </a:lnTo>
                  <a:lnTo>
                    <a:pt x="15" y="14"/>
                  </a:lnTo>
                  <a:lnTo>
                    <a:pt x="10" y="14"/>
                  </a:lnTo>
                  <a:lnTo>
                    <a:pt x="0" y="9"/>
                  </a:lnTo>
                  <a:lnTo>
                    <a:pt x="0" y="4"/>
                  </a:lnTo>
                  <a:lnTo>
                    <a:pt x="5"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6" name="Freeform 87"/>
            <p:cNvSpPr>
              <a:spLocks/>
            </p:cNvSpPr>
            <p:nvPr/>
          </p:nvSpPr>
          <p:spPr bwMode="auto">
            <a:xfrm>
              <a:off x="245" y="1202"/>
              <a:ext cx="10" cy="15"/>
            </a:xfrm>
            <a:custGeom>
              <a:avLst/>
              <a:gdLst>
                <a:gd name="T0" fmla="*/ 0 w 10"/>
                <a:gd name="T1" fmla="*/ 5 h 15"/>
                <a:gd name="T2" fmla="*/ 5 w 10"/>
                <a:gd name="T3" fmla="*/ 0 h 15"/>
                <a:gd name="T4" fmla="*/ 10 w 10"/>
                <a:gd name="T5" fmla="*/ 5 h 15"/>
                <a:gd name="T6" fmla="*/ 10 w 10"/>
                <a:gd name="T7" fmla="*/ 15 h 15"/>
                <a:gd name="T8" fmla="*/ 5 w 10"/>
                <a:gd name="T9" fmla="*/ 15 h 15"/>
                <a:gd name="T10" fmla="*/ 0 w 10"/>
                <a:gd name="T11" fmla="*/ 5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5"/>
                  </a:moveTo>
                  <a:lnTo>
                    <a:pt x="5" y="0"/>
                  </a:lnTo>
                  <a:lnTo>
                    <a:pt x="10" y="5"/>
                  </a:lnTo>
                  <a:lnTo>
                    <a:pt x="10" y="15"/>
                  </a:lnTo>
                  <a:lnTo>
                    <a:pt x="5" y="15"/>
                  </a:lnTo>
                  <a:lnTo>
                    <a:pt x="0" y="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7" name="Freeform 88"/>
            <p:cNvSpPr>
              <a:spLocks/>
            </p:cNvSpPr>
            <p:nvPr/>
          </p:nvSpPr>
          <p:spPr bwMode="auto">
            <a:xfrm>
              <a:off x="275" y="1227"/>
              <a:ext cx="15" cy="10"/>
            </a:xfrm>
            <a:custGeom>
              <a:avLst/>
              <a:gdLst>
                <a:gd name="T0" fmla="*/ 5 w 15"/>
                <a:gd name="T1" fmla="*/ 0 h 10"/>
                <a:gd name="T2" fmla="*/ 15 w 15"/>
                <a:gd name="T3" fmla="*/ 5 h 10"/>
                <a:gd name="T4" fmla="*/ 15 w 15"/>
                <a:gd name="T5" fmla="*/ 10 h 10"/>
                <a:gd name="T6" fmla="*/ 5 w 15"/>
                <a:gd name="T7" fmla="*/ 10 h 10"/>
                <a:gd name="T8" fmla="*/ 0 w 15"/>
                <a:gd name="T9" fmla="*/ 5 h 10"/>
                <a:gd name="T10" fmla="*/ 5 w 15"/>
                <a:gd name="T11" fmla="*/ 0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5" y="0"/>
                  </a:moveTo>
                  <a:lnTo>
                    <a:pt x="15" y="5"/>
                  </a:lnTo>
                  <a:lnTo>
                    <a:pt x="15" y="10"/>
                  </a:lnTo>
                  <a:lnTo>
                    <a:pt x="5" y="10"/>
                  </a:lnTo>
                  <a:lnTo>
                    <a:pt x="0" y="5"/>
                  </a:lnTo>
                  <a:lnTo>
                    <a:pt x="5"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8" name="Freeform 89"/>
            <p:cNvSpPr>
              <a:spLocks/>
            </p:cNvSpPr>
            <p:nvPr/>
          </p:nvSpPr>
          <p:spPr bwMode="auto">
            <a:xfrm>
              <a:off x="230" y="1153"/>
              <a:ext cx="15" cy="15"/>
            </a:xfrm>
            <a:custGeom>
              <a:avLst/>
              <a:gdLst>
                <a:gd name="T0" fmla="*/ 0 w 15"/>
                <a:gd name="T1" fmla="*/ 5 h 15"/>
                <a:gd name="T2" fmla="*/ 5 w 15"/>
                <a:gd name="T3" fmla="*/ 0 h 15"/>
                <a:gd name="T4" fmla="*/ 15 w 15"/>
                <a:gd name="T5" fmla="*/ 10 h 15"/>
                <a:gd name="T6" fmla="*/ 10 w 15"/>
                <a:gd name="T7" fmla="*/ 15 h 15"/>
                <a:gd name="T8" fmla="*/ 0 w 15"/>
                <a:gd name="T9" fmla="*/ 5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0" y="5"/>
                  </a:moveTo>
                  <a:lnTo>
                    <a:pt x="5" y="0"/>
                  </a:lnTo>
                  <a:lnTo>
                    <a:pt x="15" y="10"/>
                  </a:lnTo>
                  <a:lnTo>
                    <a:pt x="10" y="15"/>
                  </a:lnTo>
                  <a:lnTo>
                    <a:pt x="0" y="5"/>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599" name="Freeform 90"/>
            <p:cNvSpPr>
              <a:spLocks/>
            </p:cNvSpPr>
            <p:nvPr/>
          </p:nvSpPr>
          <p:spPr bwMode="auto">
            <a:xfrm>
              <a:off x="788" y="3920"/>
              <a:ext cx="252" cy="282"/>
            </a:xfrm>
            <a:custGeom>
              <a:avLst/>
              <a:gdLst>
                <a:gd name="T0" fmla="*/ 78 w 252"/>
                <a:gd name="T1" fmla="*/ 66 h 282"/>
                <a:gd name="T2" fmla="*/ 42 w 252"/>
                <a:gd name="T3" fmla="*/ 162 h 282"/>
                <a:gd name="T4" fmla="*/ 6 w 252"/>
                <a:gd name="T5" fmla="*/ 192 h 282"/>
                <a:gd name="T6" fmla="*/ 0 w 252"/>
                <a:gd name="T7" fmla="*/ 216 h 282"/>
                <a:gd name="T8" fmla="*/ 24 w 252"/>
                <a:gd name="T9" fmla="*/ 264 h 282"/>
                <a:gd name="T10" fmla="*/ 78 w 252"/>
                <a:gd name="T11" fmla="*/ 252 h 282"/>
                <a:gd name="T12" fmla="*/ 144 w 252"/>
                <a:gd name="T13" fmla="*/ 258 h 282"/>
                <a:gd name="T14" fmla="*/ 150 w 252"/>
                <a:gd name="T15" fmla="*/ 270 h 282"/>
                <a:gd name="T16" fmla="*/ 192 w 252"/>
                <a:gd name="T17" fmla="*/ 282 h 282"/>
                <a:gd name="T18" fmla="*/ 228 w 252"/>
                <a:gd name="T19" fmla="*/ 282 h 282"/>
                <a:gd name="T20" fmla="*/ 252 w 252"/>
                <a:gd name="T21" fmla="*/ 276 h 282"/>
                <a:gd name="T22" fmla="*/ 246 w 252"/>
                <a:gd name="T23" fmla="*/ 252 h 282"/>
                <a:gd name="T24" fmla="*/ 240 w 252"/>
                <a:gd name="T25" fmla="*/ 228 h 282"/>
                <a:gd name="T26" fmla="*/ 252 w 252"/>
                <a:gd name="T27" fmla="*/ 210 h 282"/>
                <a:gd name="T28" fmla="*/ 240 w 252"/>
                <a:gd name="T29" fmla="*/ 198 h 282"/>
                <a:gd name="T30" fmla="*/ 252 w 252"/>
                <a:gd name="T31" fmla="*/ 180 h 282"/>
                <a:gd name="T32" fmla="*/ 252 w 252"/>
                <a:gd name="T33" fmla="*/ 150 h 282"/>
                <a:gd name="T34" fmla="*/ 228 w 252"/>
                <a:gd name="T35" fmla="*/ 90 h 282"/>
                <a:gd name="T36" fmla="*/ 204 w 252"/>
                <a:gd name="T37" fmla="*/ 54 h 282"/>
                <a:gd name="T38" fmla="*/ 198 w 252"/>
                <a:gd name="T39" fmla="*/ 24 h 282"/>
                <a:gd name="T40" fmla="*/ 180 w 252"/>
                <a:gd name="T41" fmla="*/ 0 h 282"/>
                <a:gd name="T42" fmla="*/ 150 w 252"/>
                <a:gd name="T43" fmla="*/ 54 h 282"/>
                <a:gd name="T44" fmla="*/ 78 w 252"/>
                <a:gd name="T45" fmla="*/ 66 h 2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2"/>
                <a:gd name="T70" fmla="*/ 0 h 282"/>
                <a:gd name="T71" fmla="*/ 252 w 252"/>
                <a:gd name="T72" fmla="*/ 282 h 28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2" h="282">
                  <a:moveTo>
                    <a:pt x="78" y="66"/>
                  </a:moveTo>
                  <a:lnTo>
                    <a:pt x="42" y="162"/>
                  </a:lnTo>
                  <a:lnTo>
                    <a:pt x="6" y="192"/>
                  </a:lnTo>
                  <a:lnTo>
                    <a:pt x="0" y="216"/>
                  </a:lnTo>
                  <a:lnTo>
                    <a:pt x="24" y="264"/>
                  </a:lnTo>
                  <a:lnTo>
                    <a:pt x="78" y="252"/>
                  </a:lnTo>
                  <a:lnTo>
                    <a:pt x="144" y="258"/>
                  </a:lnTo>
                  <a:lnTo>
                    <a:pt x="150" y="270"/>
                  </a:lnTo>
                  <a:lnTo>
                    <a:pt x="192" y="282"/>
                  </a:lnTo>
                  <a:lnTo>
                    <a:pt x="228" y="282"/>
                  </a:lnTo>
                  <a:lnTo>
                    <a:pt x="252" y="276"/>
                  </a:lnTo>
                  <a:lnTo>
                    <a:pt x="246" y="252"/>
                  </a:lnTo>
                  <a:lnTo>
                    <a:pt x="240" y="228"/>
                  </a:lnTo>
                  <a:lnTo>
                    <a:pt x="252" y="210"/>
                  </a:lnTo>
                  <a:lnTo>
                    <a:pt x="240" y="198"/>
                  </a:lnTo>
                  <a:lnTo>
                    <a:pt x="252" y="180"/>
                  </a:lnTo>
                  <a:lnTo>
                    <a:pt x="252" y="150"/>
                  </a:lnTo>
                  <a:lnTo>
                    <a:pt x="228" y="90"/>
                  </a:lnTo>
                  <a:lnTo>
                    <a:pt x="204" y="54"/>
                  </a:lnTo>
                  <a:lnTo>
                    <a:pt x="198" y="24"/>
                  </a:lnTo>
                  <a:lnTo>
                    <a:pt x="180" y="0"/>
                  </a:lnTo>
                  <a:lnTo>
                    <a:pt x="150" y="54"/>
                  </a:lnTo>
                  <a:lnTo>
                    <a:pt x="78" y="6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0" name="Freeform 91"/>
            <p:cNvSpPr>
              <a:spLocks/>
            </p:cNvSpPr>
            <p:nvPr/>
          </p:nvSpPr>
          <p:spPr bwMode="auto">
            <a:xfrm>
              <a:off x="926" y="3686"/>
              <a:ext cx="96" cy="138"/>
            </a:xfrm>
            <a:custGeom>
              <a:avLst/>
              <a:gdLst>
                <a:gd name="T0" fmla="*/ 0 w 96"/>
                <a:gd name="T1" fmla="*/ 18 h 138"/>
                <a:gd name="T2" fmla="*/ 12 w 96"/>
                <a:gd name="T3" fmla="*/ 0 h 138"/>
                <a:gd name="T4" fmla="*/ 36 w 96"/>
                <a:gd name="T5" fmla="*/ 0 h 138"/>
                <a:gd name="T6" fmla="*/ 36 w 96"/>
                <a:gd name="T7" fmla="*/ 42 h 138"/>
                <a:gd name="T8" fmla="*/ 66 w 96"/>
                <a:gd name="T9" fmla="*/ 54 h 138"/>
                <a:gd name="T10" fmla="*/ 78 w 96"/>
                <a:gd name="T11" fmla="*/ 66 h 138"/>
                <a:gd name="T12" fmla="*/ 84 w 96"/>
                <a:gd name="T13" fmla="*/ 102 h 138"/>
                <a:gd name="T14" fmla="*/ 96 w 96"/>
                <a:gd name="T15" fmla="*/ 120 h 138"/>
                <a:gd name="T16" fmla="*/ 84 w 96"/>
                <a:gd name="T17" fmla="*/ 138 h 138"/>
                <a:gd name="T18" fmla="*/ 48 w 96"/>
                <a:gd name="T19" fmla="*/ 138 h 138"/>
                <a:gd name="T20" fmla="*/ 42 w 96"/>
                <a:gd name="T21" fmla="*/ 126 h 138"/>
                <a:gd name="T22" fmla="*/ 18 w 96"/>
                <a:gd name="T23" fmla="*/ 120 h 138"/>
                <a:gd name="T24" fmla="*/ 0 w 96"/>
                <a:gd name="T25" fmla="*/ 102 h 138"/>
                <a:gd name="T26" fmla="*/ 12 w 96"/>
                <a:gd name="T27" fmla="*/ 72 h 138"/>
                <a:gd name="T28" fmla="*/ 0 w 96"/>
                <a:gd name="T29" fmla="*/ 18 h 1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6"/>
                <a:gd name="T46" fmla="*/ 0 h 138"/>
                <a:gd name="T47" fmla="*/ 96 w 96"/>
                <a:gd name="T48" fmla="*/ 138 h 1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6" h="138">
                  <a:moveTo>
                    <a:pt x="0" y="18"/>
                  </a:moveTo>
                  <a:lnTo>
                    <a:pt x="12" y="0"/>
                  </a:lnTo>
                  <a:lnTo>
                    <a:pt x="36" y="0"/>
                  </a:lnTo>
                  <a:lnTo>
                    <a:pt x="36" y="42"/>
                  </a:lnTo>
                  <a:lnTo>
                    <a:pt x="66" y="54"/>
                  </a:lnTo>
                  <a:lnTo>
                    <a:pt x="78" y="66"/>
                  </a:lnTo>
                  <a:lnTo>
                    <a:pt x="84" y="102"/>
                  </a:lnTo>
                  <a:lnTo>
                    <a:pt x="96" y="120"/>
                  </a:lnTo>
                  <a:lnTo>
                    <a:pt x="84" y="138"/>
                  </a:lnTo>
                  <a:lnTo>
                    <a:pt x="48" y="138"/>
                  </a:lnTo>
                  <a:lnTo>
                    <a:pt x="42" y="126"/>
                  </a:lnTo>
                  <a:lnTo>
                    <a:pt x="18" y="120"/>
                  </a:lnTo>
                  <a:lnTo>
                    <a:pt x="0" y="102"/>
                  </a:lnTo>
                  <a:lnTo>
                    <a:pt x="12" y="72"/>
                  </a:lnTo>
                  <a:lnTo>
                    <a:pt x="0" y="18"/>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1" name="Freeform 92"/>
            <p:cNvSpPr>
              <a:spLocks/>
            </p:cNvSpPr>
            <p:nvPr/>
          </p:nvSpPr>
          <p:spPr bwMode="auto">
            <a:xfrm>
              <a:off x="758" y="3362"/>
              <a:ext cx="78" cy="138"/>
            </a:xfrm>
            <a:custGeom>
              <a:avLst/>
              <a:gdLst>
                <a:gd name="T0" fmla="*/ 12 w 78"/>
                <a:gd name="T1" fmla="*/ 0 h 138"/>
                <a:gd name="T2" fmla="*/ 0 w 78"/>
                <a:gd name="T3" fmla="*/ 72 h 138"/>
                <a:gd name="T4" fmla="*/ 30 w 78"/>
                <a:gd name="T5" fmla="*/ 96 h 138"/>
                <a:gd name="T6" fmla="*/ 42 w 78"/>
                <a:gd name="T7" fmla="*/ 114 h 138"/>
                <a:gd name="T8" fmla="*/ 54 w 78"/>
                <a:gd name="T9" fmla="*/ 126 h 138"/>
                <a:gd name="T10" fmla="*/ 60 w 78"/>
                <a:gd name="T11" fmla="*/ 138 h 138"/>
                <a:gd name="T12" fmla="*/ 72 w 78"/>
                <a:gd name="T13" fmla="*/ 126 h 138"/>
                <a:gd name="T14" fmla="*/ 72 w 78"/>
                <a:gd name="T15" fmla="*/ 114 h 138"/>
                <a:gd name="T16" fmla="*/ 72 w 78"/>
                <a:gd name="T17" fmla="*/ 90 h 138"/>
                <a:gd name="T18" fmla="*/ 66 w 78"/>
                <a:gd name="T19" fmla="*/ 72 h 138"/>
                <a:gd name="T20" fmla="*/ 72 w 78"/>
                <a:gd name="T21" fmla="*/ 72 h 138"/>
                <a:gd name="T22" fmla="*/ 78 w 78"/>
                <a:gd name="T23" fmla="*/ 30 h 138"/>
                <a:gd name="T24" fmla="*/ 66 w 78"/>
                <a:gd name="T25" fmla="*/ 18 h 138"/>
                <a:gd name="T26" fmla="*/ 30 w 78"/>
                <a:gd name="T27" fmla="*/ 18 h 138"/>
                <a:gd name="T28" fmla="*/ 12 w 78"/>
                <a:gd name="T29" fmla="*/ 0 h 1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138"/>
                <a:gd name="T47" fmla="*/ 78 w 78"/>
                <a:gd name="T48" fmla="*/ 138 h 1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138">
                  <a:moveTo>
                    <a:pt x="12" y="0"/>
                  </a:moveTo>
                  <a:lnTo>
                    <a:pt x="0" y="72"/>
                  </a:lnTo>
                  <a:lnTo>
                    <a:pt x="30" y="96"/>
                  </a:lnTo>
                  <a:lnTo>
                    <a:pt x="42" y="114"/>
                  </a:lnTo>
                  <a:lnTo>
                    <a:pt x="54" y="126"/>
                  </a:lnTo>
                  <a:lnTo>
                    <a:pt x="60" y="138"/>
                  </a:lnTo>
                  <a:lnTo>
                    <a:pt x="72" y="126"/>
                  </a:lnTo>
                  <a:lnTo>
                    <a:pt x="72" y="114"/>
                  </a:lnTo>
                  <a:lnTo>
                    <a:pt x="72" y="90"/>
                  </a:lnTo>
                  <a:lnTo>
                    <a:pt x="66" y="72"/>
                  </a:lnTo>
                  <a:lnTo>
                    <a:pt x="72" y="72"/>
                  </a:lnTo>
                  <a:lnTo>
                    <a:pt x="78" y="30"/>
                  </a:lnTo>
                  <a:lnTo>
                    <a:pt x="66" y="18"/>
                  </a:lnTo>
                  <a:lnTo>
                    <a:pt x="30" y="18"/>
                  </a:lnTo>
                  <a:lnTo>
                    <a:pt x="12"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2" name="Freeform 93"/>
            <p:cNvSpPr>
              <a:spLocks/>
            </p:cNvSpPr>
            <p:nvPr/>
          </p:nvSpPr>
          <p:spPr bwMode="auto">
            <a:xfrm>
              <a:off x="602" y="3074"/>
              <a:ext cx="90" cy="78"/>
            </a:xfrm>
            <a:custGeom>
              <a:avLst/>
              <a:gdLst>
                <a:gd name="T0" fmla="*/ 0 w 90"/>
                <a:gd name="T1" fmla="*/ 0 h 78"/>
                <a:gd name="T2" fmla="*/ 0 w 90"/>
                <a:gd name="T3" fmla="*/ 30 h 78"/>
                <a:gd name="T4" fmla="*/ 6 w 90"/>
                <a:gd name="T5" fmla="*/ 54 h 78"/>
                <a:gd name="T6" fmla="*/ 24 w 90"/>
                <a:gd name="T7" fmla="*/ 72 h 78"/>
                <a:gd name="T8" fmla="*/ 42 w 90"/>
                <a:gd name="T9" fmla="*/ 78 h 78"/>
                <a:gd name="T10" fmla="*/ 60 w 90"/>
                <a:gd name="T11" fmla="*/ 72 h 78"/>
                <a:gd name="T12" fmla="*/ 90 w 90"/>
                <a:gd name="T13" fmla="*/ 54 h 78"/>
                <a:gd name="T14" fmla="*/ 90 w 90"/>
                <a:gd name="T15" fmla="*/ 30 h 78"/>
                <a:gd name="T16" fmla="*/ 72 w 90"/>
                <a:gd name="T17" fmla="*/ 12 h 78"/>
                <a:gd name="T18" fmla="*/ 48 w 90"/>
                <a:gd name="T19" fmla="*/ 0 h 78"/>
                <a:gd name="T20" fmla="*/ 0 w 90"/>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
                <a:gd name="T34" fmla="*/ 0 h 78"/>
                <a:gd name="T35" fmla="*/ 90 w 90"/>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 h="78">
                  <a:moveTo>
                    <a:pt x="0" y="0"/>
                  </a:moveTo>
                  <a:lnTo>
                    <a:pt x="0" y="30"/>
                  </a:lnTo>
                  <a:lnTo>
                    <a:pt x="6" y="54"/>
                  </a:lnTo>
                  <a:lnTo>
                    <a:pt x="24" y="72"/>
                  </a:lnTo>
                  <a:lnTo>
                    <a:pt x="42" y="78"/>
                  </a:lnTo>
                  <a:lnTo>
                    <a:pt x="60" y="72"/>
                  </a:lnTo>
                  <a:lnTo>
                    <a:pt x="90" y="54"/>
                  </a:lnTo>
                  <a:lnTo>
                    <a:pt x="90" y="30"/>
                  </a:lnTo>
                  <a:lnTo>
                    <a:pt x="72" y="12"/>
                  </a:lnTo>
                  <a:lnTo>
                    <a:pt x="48" y="0"/>
                  </a:lnTo>
                  <a:lnTo>
                    <a:pt x="0"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3" name="Freeform 94"/>
            <p:cNvSpPr>
              <a:spLocks/>
            </p:cNvSpPr>
            <p:nvPr/>
          </p:nvSpPr>
          <p:spPr bwMode="auto">
            <a:xfrm>
              <a:off x="854" y="3566"/>
              <a:ext cx="108" cy="84"/>
            </a:xfrm>
            <a:custGeom>
              <a:avLst/>
              <a:gdLst>
                <a:gd name="T0" fmla="*/ 60 w 108"/>
                <a:gd name="T1" fmla="*/ 36 h 84"/>
                <a:gd name="T2" fmla="*/ 72 w 108"/>
                <a:gd name="T3" fmla="*/ 48 h 84"/>
                <a:gd name="T4" fmla="*/ 72 w 108"/>
                <a:gd name="T5" fmla="*/ 54 h 84"/>
                <a:gd name="T6" fmla="*/ 108 w 108"/>
                <a:gd name="T7" fmla="*/ 84 h 84"/>
                <a:gd name="T8" fmla="*/ 72 w 108"/>
                <a:gd name="T9" fmla="*/ 84 h 84"/>
                <a:gd name="T10" fmla="*/ 66 w 108"/>
                <a:gd name="T11" fmla="*/ 78 h 84"/>
                <a:gd name="T12" fmla="*/ 36 w 108"/>
                <a:gd name="T13" fmla="*/ 42 h 84"/>
                <a:gd name="T14" fmla="*/ 0 w 108"/>
                <a:gd name="T15" fmla="*/ 18 h 84"/>
                <a:gd name="T16" fmla="*/ 24 w 108"/>
                <a:gd name="T17" fmla="*/ 0 h 84"/>
                <a:gd name="T18" fmla="*/ 60 w 108"/>
                <a:gd name="T19" fmla="*/ 36 h 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8"/>
                <a:gd name="T31" fmla="*/ 0 h 84"/>
                <a:gd name="T32" fmla="*/ 108 w 108"/>
                <a:gd name="T33" fmla="*/ 84 h 8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8" h="84">
                  <a:moveTo>
                    <a:pt x="60" y="36"/>
                  </a:moveTo>
                  <a:lnTo>
                    <a:pt x="72" y="48"/>
                  </a:lnTo>
                  <a:lnTo>
                    <a:pt x="72" y="54"/>
                  </a:lnTo>
                  <a:lnTo>
                    <a:pt x="108" y="84"/>
                  </a:lnTo>
                  <a:lnTo>
                    <a:pt x="72" y="84"/>
                  </a:lnTo>
                  <a:lnTo>
                    <a:pt x="66" y="78"/>
                  </a:lnTo>
                  <a:lnTo>
                    <a:pt x="36" y="42"/>
                  </a:lnTo>
                  <a:lnTo>
                    <a:pt x="0" y="18"/>
                  </a:lnTo>
                  <a:lnTo>
                    <a:pt x="24" y="0"/>
                  </a:lnTo>
                  <a:lnTo>
                    <a:pt x="60" y="3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4" name="Freeform 95"/>
            <p:cNvSpPr>
              <a:spLocks/>
            </p:cNvSpPr>
            <p:nvPr/>
          </p:nvSpPr>
          <p:spPr bwMode="auto">
            <a:xfrm>
              <a:off x="866" y="3644"/>
              <a:ext cx="30" cy="54"/>
            </a:xfrm>
            <a:custGeom>
              <a:avLst/>
              <a:gdLst>
                <a:gd name="T0" fmla="*/ 6 w 30"/>
                <a:gd name="T1" fmla="*/ 0 h 54"/>
                <a:gd name="T2" fmla="*/ 0 w 30"/>
                <a:gd name="T3" fmla="*/ 30 h 54"/>
                <a:gd name="T4" fmla="*/ 6 w 30"/>
                <a:gd name="T5" fmla="*/ 54 h 54"/>
                <a:gd name="T6" fmla="*/ 30 w 30"/>
                <a:gd name="T7" fmla="*/ 54 h 54"/>
                <a:gd name="T8" fmla="*/ 6 w 30"/>
                <a:gd name="T9" fmla="*/ 0 h 54"/>
                <a:gd name="T10" fmla="*/ 0 60000 65536"/>
                <a:gd name="T11" fmla="*/ 0 60000 65536"/>
                <a:gd name="T12" fmla="*/ 0 60000 65536"/>
                <a:gd name="T13" fmla="*/ 0 60000 65536"/>
                <a:gd name="T14" fmla="*/ 0 60000 65536"/>
                <a:gd name="T15" fmla="*/ 0 w 30"/>
                <a:gd name="T16" fmla="*/ 0 h 54"/>
                <a:gd name="T17" fmla="*/ 30 w 30"/>
                <a:gd name="T18" fmla="*/ 54 h 54"/>
              </a:gdLst>
              <a:ahLst/>
              <a:cxnLst>
                <a:cxn ang="T10">
                  <a:pos x="T0" y="T1"/>
                </a:cxn>
                <a:cxn ang="T11">
                  <a:pos x="T2" y="T3"/>
                </a:cxn>
                <a:cxn ang="T12">
                  <a:pos x="T4" y="T5"/>
                </a:cxn>
                <a:cxn ang="T13">
                  <a:pos x="T6" y="T7"/>
                </a:cxn>
                <a:cxn ang="T14">
                  <a:pos x="T8" y="T9"/>
                </a:cxn>
              </a:cxnLst>
              <a:rect l="T15" t="T16" r="T17" b="T18"/>
              <a:pathLst>
                <a:path w="30" h="54">
                  <a:moveTo>
                    <a:pt x="6" y="0"/>
                  </a:moveTo>
                  <a:lnTo>
                    <a:pt x="0" y="30"/>
                  </a:lnTo>
                  <a:lnTo>
                    <a:pt x="6" y="54"/>
                  </a:lnTo>
                  <a:lnTo>
                    <a:pt x="30" y="54"/>
                  </a:lnTo>
                  <a:lnTo>
                    <a:pt x="6" y="0"/>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sp>
          <p:nvSpPr>
            <p:cNvPr id="19605" name="Freeform 96"/>
            <p:cNvSpPr>
              <a:spLocks/>
            </p:cNvSpPr>
            <p:nvPr/>
          </p:nvSpPr>
          <p:spPr bwMode="auto">
            <a:xfrm>
              <a:off x="500" y="3038"/>
              <a:ext cx="48" cy="24"/>
            </a:xfrm>
            <a:custGeom>
              <a:avLst/>
              <a:gdLst>
                <a:gd name="T0" fmla="*/ 6 w 48"/>
                <a:gd name="T1" fmla="*/ 6 h 24"/>
                <a:gd name="T2" fmla="*/ 48 w 48"/>
                <a:gd name="T3" fmla="*/ 0 h 24"/>
                <a:gd name="T4" fmla="*/ 30 w 48"/>
                <a:gd name="T5" fmla="*/ 18 h 24"/>
                <a:gd name="T6" fmla="*/ 0 w 48"/>
                <a:gd name="T7" fmla="*/ 24 h 24"/>
                <a:gd name="T8" fmla="*/ 6 w 48"/>
                <a:gd name="T9" fmla="*/ 6 h 24"/>
                <a:gd name="T10" fmla="*/ 0 60000 65536"/>
                <a:gd name="T11" fmla="*/ 0 60000 65536"/>
                <a:gd name="T12" fmla="*/ 0 60000 65536"/>
                <a:gd name="T13" fmla="*/ 0 60000 65536"/>
                <a:gd name="T14" fmla="*/ 0 60000 65536"/>
                <a:gd name="T15" fmla="*/ 0 w 48"/>
                <a:gd name="T16" fmla="*/ 0 h 24"/>
                <a:gd name="T17" fmla="*/ 48 w 48"/>
                <a:gd name="T18" fmla="*/ 24 h 24"/>
              </a:gdLst>
              <a:ahLst/>
              <a:cxnLst>
                <a:cxn ang="T10">
                  <a:pos x="T0" y="T1"/>
                </a:cxn>
                <a:cxn ang="T11">
                  <a:pos x="T2" y="T3"/>
                </a:cxn>
                <a:cxn ang="T12">
                  <a:pos x="T4" y="T5"/>
                </a:cxn>
                <a:cxn ang="T13">
                  <a:pos x="T6" y="T7"/>
                </a:cxn>
                <a:cxn ang="T14">
                  <a:pos x="T8" y="T9"/>
                </a:cxn>
              </a:cxnLst>
              <a:rect l="T15" t="T16" r="T17" b="T18"/>
              <a:pathLst>
                <a:path w="48" h="24">
                  <a:moveTo>
                    <a:pt x="6" y="6"/>
                  </a:moveTo>
                  <a:lnTo>
                    <a:pt x="48" y="0"/>
                  </a:lnTo>
                  <a:lnTo>
                    <a:pt x="30" y="18"/>
                  </a:lnTo>
                  <a:lnTo>
                    <a:pt x="0" y="24"/>
                  </a:lnTo>
                  <a:lnTo>
                    <a:pt x="6" y="6"/>
                  </a:lnTo>
                  <a:close/>
                </a:path>
              </a:pathLst>
            </a:custGeom>
            <a:grpFill/>
            <a:ln w="0">
              <a:solidFill>
                <a:srgbClr val="FFFFFF"/>
              </a:solidFill>
              <a:round/>
              <a:headEnd/>
              <a:tailEnd/>
            </a:ln>
          </p:spPr>
          <p:txBody>
            <a:bodyPr/>
            <a:lstStyle/>
            <a:p>
              <a:pPr>
                <a:buClr>
                  <a:srgbClr val="B40646"/>
                </a:buClr>
                <a:defRPr/>
              </a:pPr>
              <a:endParaRPr lang="en-GB" dirty="0">
                <a:solidFill>
                  <a:srgbClr val="000000"/>
                </a:solidFill>
              </a:endParaRPr>
            </a:p>
          </p:txBody>
        </p:sp>
      </p:grpSp>
    </p:spTree>
    <p:custDataLst>
      <p:tags r:id="rId1"/>
    </p:custDataLst>
    <p:extLst>
      <p:ext uri="{BB962C8B-B14F-4D97-AF65-F5344CB8AC3E}">
        <p14:creationId xmlns:p14="http://schemas.microsoft.com/office/powerpoint/2010/main" val="3456318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D967ACF2-4FCF-4321-AD50-2C88AB6FDA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6" name="Objet 5" hidden="1">
                        <a:extLst>
                          <a:ext uri="{FF2B5EF4-FFF2-40B4-BE49-F238E27FC236}">
                            <a16:creationId xmlns:a16="http://schemas.microsoft.com/office/drawing/2014/main" id="{D967ACF2-4FCF-4321-AD50-2C88AB6FDA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4AF430-5EE1-4EE3-9EA0-D4EB8185EC09}"/>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a:t>One graph delivering 1 key message + comments</a:t>
            </a:r>
            <a:endParaRPr lang="en-GB" dirty="0"/>
          </a:p>
        </p:txBody>
      </p:sp>
      <p:sp>
        <p:nvSpPr>
          <p:cNvPr id="9" name="ZoneTexte 8">
            <a:extLst>
              <a:ext uri="{FF2B5EF4-FFF2-40B4-BE49-F238E27FC236}">
                <a16:creationId xmlns:a16="http://schemas.microsoft.com/office/drawing/2014/main" id="{7AF30593-A004-4DF0-93DF-244A5303A418}"/>
              </a:ext>
            </a:extLst>
          </p:cNvPr>
          <p:cNvSpPr txBox="1"/>
          <p:nvPr/>
        </p:nvSpPr>
        <p:spPr>
          <a:xfrm>
            <a:off x="667358" y="6053935"/>
            <a:ext cx="7117625" cy="585690"/>
          </a:xfrm>
          <a:prstGeom prst="rect">
            <a:avLst/>
          </a:prstGeom>
          <a:noFill/>
        </p:spPr>
        <p:txBody>
          <a:bodyPr wrap="square" rtlCol="0">
            <a:noAutofit/>
          </a:bodyPr>
          <a:lstStyle/>
          <a:p>
            <a:pPr algn="l" defTabSz="742950"/>
            <a:r>
              <a:rPr lang="en-GB" sz="1200">
                <a:solidFill>
                  <a:schemeClr val="bg1">
                    <a:lumMod val="65000"/>
                  </a:schemeClr>
                </a:solidFill>
                <a:latin typeface="+mn-lt"/>
              </a:rPr>
              <a:t>Source, hypotheses…</a:t>
            </a:r>
            <a:endParaRPr lang="en-GB" sz="1200" dirty="0">
              <a:solidFill>
                <a:schemeClr val="bg1">
                  <a:lumMod val="65000"/>
                </a:schemeClr>
              </a:solidFill>
              <a:latin typeface="+mn-lt"/>
            </a:endParaRPr>
          </a:p>
        </p:txBody>
      </p:sp>
      <p:graphicFrame>
        <p:nvGraphicFramePr>
          <p:cNvPr id="14" name="Graphique 13">
            <a:extLst>
              <a:ext uri="{FF2B5EF4-FFF2-40B4-BE49-F238E27FC236}">
                <a16:creationId xmlns:a16="http://schemas.microsoft.com/office/drawing/2014/main" id="{03416528-D28E-4950-866C-6AC9C98F89EE}"/>
              </a:ext>
            </a:extLst>
          </p:cNvPr>
          <p:cNvGraphicFramePr/>
          <p:nvPr/>
        </p:nvGraphicFramePr>
        <p:xfrm>
          <a:off x="667359" y="1625962"/>
          <a:ext cx="7117624" cy="4255770"/>
        </p:xfrm>
        <a:graphic>
          <a:graphicData uri="http://schemas.openxmlformats.org/drawingml/2006/chart">
            <c:chart xmlns:c="http://schemas.openxmlformats.org/drawingml/2006/chart" xmlns:r="http://schemas.openxmlformats.org/officeDocument/2006/relationships" r:id="rId7"/>
          </a:graphicData>
        </a:graphic>
      </p:graphicFrame>
      <p:sp>
        <p:nvSpPr>
          <p:cNvPr id="20" name="ZoneTexte 19">
            <a:extLst>
              <a:ext uri="{FF2B5EF4-FFF2-40B4-BE49-F238E27FC236}">
                <a16:creationId xmlns:a16="http://schemas.microsoft.com/office/drawing/2014/main" id="{77FFB837-F813-4458-BD1A-962F1BC306B5}"/>
              </a:ext>
            </a:extLst>
          </p:cNvPr>
          <p:cNvSpPr txBox="1"/>
          <p:nvPr/>
        </p:nvSpPr>
        <p:spPr>
          <a:xfrm>
            <a:off x="7935984" y="2456250"/>
            <a:ext cx="3836016" cy="3270782"/>
          </a:xfrm>
          <a:prstGeom prst="rect">
            <a:avLst/>
          </a:prstGeom>
          <a:noFill/>
        </p:spPr>
        <p:txBody>
          <a:bodyPr wrap="square" rtlCol="0" anchor="t">
            <a:noAutofit/>
          </a:bodyPr>
          <a:lstStyle/>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 </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a:t>
            </a:r>
            <a:endParaRPr lang="en-GB" dirty="0">
              <a:latin typeface="+mn-lt"/>
            </a:endParaRPr>
          </a:p>
        </p:txBody>
      </p:sp>
    </p:spTree>
    <p:extLst>
      <p:ext uri="{BB962C8B-B14F-4D97-AF65-F5344CB8AC3E}">
        <p14:creationId xmlns:p14="http://schemas.microsoft.com/office/powerpoint/2010/main" val="4608046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2E71BE6-7867-44AB-B2C6-C602C5EA9BF9}"/>
              </a:ext>
            </a:extLst>
          </p:cNvPr>
          <p:cNvGrpSpPr>
            <a:grpSpLocks noChangeAspect="1"/>
          </p:cNvGrpSpPr>
          <p:nvPr/>
        </p:nvGrpSpPr>
        <p:grpSpPr>
          <a:xfrm>
            <a:off x="1902520" y="920025"/>
            <a:ext cx="8513480" cy="5017950"/>
            <a:chOff x="6426371" y="1825533"/>
            <a:chExt cx="4375370" cy="2578897"/>
          </a:xfrm>
        </p:grpSpPr>
        <p:sp>
          <p:nvSpPr>
            <p:cNvPr id="141" name="Freeform 4">
              <a:extLst>
                <a:ext uri="{FF2B5EF4-FFF2-40B4-BE49-F238E27FC236}">
                  <a16:creationId xmlns:a16="http://schemas.microsoft.com/office/drawing/2014/main" id="{18CAF9C0-FDAC-4E33-9A61-96DAEEE305BD}"/>
                </a:ext>
              </a:extLst>
            </p:cNvPr>
            <p:cNvSpPr>
              <a:spLocks/>
            </p:cNvSpPr>
            <p:nvPr/>
          </p:nvSpPr>
          <p:spPr bwMode="auto">
            <a:xfrm>
              <a:off x="8567000" y="3776391"/>
              <a:ext cx="10267" cy="8556"/>
            </a:xfrm>
            <a:custGeom>
              <a:avLst/>
              <a:gdLst/>
              <a:ahLst/>
              <a:cxnLst>
                <a:cxn ang="0">
                  <a:pos x="6" y="1"/>
                </a:cxn>
                <a:cxn ang="0">
                  <a:pos x="0" y="2"/>
                </a:cxn>
                <a:cxn ang="0">
                  <a:pos x="0" y="0"/>
                </a:cxn>
                <a:cxn ang="0">
                  <a:pos x="6" y="1"/>
                </a:cxn>
              </a:cxnLst>
              <a:rect l="0" t="0" r="r" b="b"/>
              <a:pathLst>
                <a:path w="6" h="2">
                  <a:moveTo>
                    <a:pt x="6" y="1"/>
                  </a:moveTo>
                  <a:lnTo>
                    <a:pt x="0" y="2"/>
                  </a:lnTo>
                  <a:lnTo>
                    <a:pt x="0" y="0"/>
                  </a:lnTo>
                  <a:lnTo>
                    <a:pt x="6"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2" name="Freeform 5">
              <a:extLst>
                <a:ext uri="{FF2B5EF4-FFF2-40B4-BE49-F238E27FC236}">
                  <a16:creationId xmlns:a16="http://schemas.microsoft.com/office/drawing/2014/main" id="{03105150-96DD-46EA-B1AF-78812D0B2E3F}"/>
                </a:ext>
              </a:extLst>
            </p:cNvPr>
            <p:cNvSpPr>
              <a:spLocks/>
            </p:cNvSpPr>
            <p:nvPr/>
          </p:nvSpPr>
          <p:spPr bwMode="auto">
            <a:xfrm>
              <a:off x="8726135" y="3678848"/>
              <a:ext cx="299448" cy="284072"/>
            </a:xfrm>
            <a:custGeom>
              <a:avLst/>
              <a:gdLst/>
              <a:ahLst/>
              <a:cxnLst>
                <a:cxn ang="0">
                  <a:pos x="158" y="62"/>
                </a:cxn>
                <a:cxn ang="0">
                  <a:pos x="144" y="61"/>
                </a:cxn>
                <a:cxn ang="0">
                  <a:pos x="143" y="60"/>
                </a:cxn>
                <a:cxn ang="0">
                  <a:pos x="136" y="84"/>
                </a:cxn>
                <a:cxn ang="0">
                  <a:pos x="138" y="85"/>
                </a:cxn>
                <a:cxn ang="0">
                  <a:pos x="134" y="94"/>
                </a:cxn>
                <a:cxn ang="0">
                  <a:pos x="125" y="98"/>
                </a:cxn>
                <a:cxn ang="0">
                  <a:pos x="118" y="110"/>
                </a:cxn>
                <a:cxn ang="0">
                  <a:pos x="118" y="118"/>
                </a:cxn>
                <a:cxn ang="0">
                  <a:pos x="121" y="118"/>
                </a:cxn>
                <a:cxn ang="0">
                  <a:pos x="116" y="124"/>
                </a:cxn>
                <a:cxn ang="0">
                  <a:pos x="114" y="130"/>
                </a:cxn>
                <a:cxn ang="0">
                  <a:pos x="110" y="143"/>
                </a:cxn>
                <a:cxn ang="0">
                  <a:pos x="89" y="150"/>
                </a:cxn>
                <a:cxn ang="0">
                  <a:pos x="86" y="140"/>
                </a:cxn>
                <a:cxn ang="0">
                  <a:pos x="84" y="138"/>
                </a:cxn>
                <a:cxn ang="0">
                  <a:pos x="73" y="138"/>
                </a:cxn>
                <a:cxn ang="0">
                  <a:pos x="64" y="133"/>
                </a:cxn>
                <a:cxn ang="0">
                  <a:pos x="54" y="138"/>
                </a:cxn>
                <a:cxn ang="0">
                  <a:pos x="46" y="139"/>
                </a:cxn>
                <a:cxn ang="0">
                  <a:pos x="42" y="130"/>
                </a:cxn>
                <a:cxn ang="0">
                  <a:pos x="29" y="132"/>
                </a:cxn>
                <a:cxn ang="0">
                  <a:pos x="30" y="131"/>
                </a:cxn>
                <a:cxn ang="0">
                  <a:pos x="26" y="132"/>
                </a:cxn>
                <a:cxn ang="0">
                  <a:pos x="19" y="130"/>
                </a:cxn>
                <a:cxn ang="0">
                  <a:pos x="16" y="112"/>
                </a:cxn>
                <a:cxn ang="0">
                  <a:pos x="16" y="98"/>
                </a:cxn>
                <a:cxn ang="0">
                  <a:pos x="6" y="90"/>
                </a:cxn>
                <a:cxn ang="0">
                  <a:pos x="7" y="90"/>
                </a:cxn>
                <a:cxn ang="0">
                  <a:pos x="4" y="82"/>
                </a:cxn>
                <a:cxn ang="0">
                  <a:pos x="4" y="77"/>
                </a:cxn>
                <a:cxn ang="0">
                  <a:pos x="0" y="62"/>
                </a:cxn>
                <a:cxn ang="0">
                  <a:pos x="5" y="53"/>
                </a:cxn>
                <a:cxn ang="0">
                  <a:pos x="2" y="54"/>
                </a:cxn>
                <a:cxn ang="0">
                  <a:pos x="11" y="41"/>
                </a:cxn>
                <a:cxn ang="0">
                  <a:pos x="14" y="53"/>
                </a:cxn>
                <a:cxn ang="0">
                  <a:pos x="30" y="62"/>
                </a:cxn>
                <a:cxn ang="0">
                  <a:pos x="50" y="58"/>
                </a:cxn>
                <a:cxn ang="0">
                  <a:pos x="56" y="50"/>
                </a:cxn>
                <a:cxn ang="0">
                  <a:pos x="77" y="55"/>
                </a:cxn>
                <a:cxn ang="0">
                  <a:pos x="90" y="49"/>
                </a:cxn>
                <a:cxn ang="0">
                  <a:pos x="97" y="34"/>
                </a:cxn>
                <a:cxn ang="0">
                  <a:pos x="101" y="25"/>
                </a:cxn>
                <a:cxn ang="0">
                  <a:pos x="104" y="12"/>
                </a:cxn>
                <a:cxn ang="0">
                  <a:pos x="108" y="0"/>
                </a:cxn>
                <a:cxn ang="0">
                  <a:pos x="122" y="1"/>
                </a:cxn>
                <a:cxn ang="0">
                  <a:pos x="136" y="4"/>
                </a:cxn>
                <a:cxn ang="0">
                  <a:pos x="134" y="6"/>
                </a:cxn>
                <a:cxn ang="0">
                  <a:pos x="134" y="7"/>
                </a:cxn>
                <a:cxn ang="0">
                  <a:pos x="138" y="13"/>
                </a:cxn>
                <a:cxn ang="0">
                  <a:pos x="134" y="12"/>
                </a:cxn>
                <a:cxn ang="0">
                  <a:pos x="130" y="13"/>
                </a:cxn>
                <a:cxn ang="0">
                  <a:pos x="132" y="20"/>
                </a:cxn>
                <a:cxn ang="0">
                  <a:pos x="144" y="38"/>
                </a:cxn>
                <a:cxn ang="0">
                  <a:pos x="142" y="44"/>
                </a:cxn>
                <a:cxn ang="0">
                  <a:pos x="150" y="53"/>
                </a:cxn>
                <a:cxn ang="0">
                  <a:pos x="158" y="62"/>
                </a:cxn>
              </a:cxnLst>
              <a:rect l="0" t="0" r="r" b="b"/>
              <a:pathLst>
                <a:path w="158" h="150">
                  <a:moveTo>
                    <a:pt x="158" y="62"/>
                  </a:moveTo>
                  <a:lnTo>
                    <a:pt x="144" y="61"/>
                  </a:lnTo>
                  <a:lnTo>
                    <a:pt x="143" y="60"/>
                  </a:lnTo>
                  <a:lnTo>
                    <a:pt x="136" y="84"/>
                  </a:lnTo>
                  <a:lnTo>
                    <a:pt x="138" y="85"/>
                  </a:lnTo>
                  <a:lnTo>
                    <a:pt x="134" y="94"/>
                  </a:lnTo>
                  <a:lnTo>
                    <a:pt x="125" y="98"/>
                  </a:lnTo>
                  <a:lnTo>
                    <a:pt x="118" y="110"/>
                  </a:lnTo>
                  <a:lnTo>
                    <a:pt x="118" y="118"/>
                  </a:lnTo>
                  <a:lnTo>
                    <a:pt x="121" y="118"/>
                  </a:lnTo>
                  <a:lnTo>
                    <a:pt x="116" y="124"/>
                  </a:lnTo>
                  <a:lnTo>
                    <a:pt x="114" y="130"/>
                  </a:lnTo>
                  <a:lnTo>
                    <a:pt x="110" y="143"/>
                  </a:lnTo>
                  <a:lnTo>
                    <a:pt x="89" y="150"/>
                  </a:lnTo>
                  <a:lnTo>
                    <a:pt x="86" y="140"/>
                  </a:lnTo>
                  <a:lnTo>
                    <a:pt x="84" y="138"/>
                  </a:lnTo>
                  <a:lnTo>
                    <a:pt x="73" y="138"/>
                  </a:lnTo>
                  <a:lnTo>
                    <a:pt x="64" y="133"/>
                  </a:lnTo>
                  <a:lnTo>
                    <a:pt x="54" y="138"/>
                  </a:lnTo>
                  <a:lnTo>
                    <a:pt x="46" y="139"/>
                  </a:lnTo>
                  <a:lnTo>
                    <a:pt x="42" y="130"/>
                  </a:lnTo>
                  <a:lnTo>
                    <a:pt x="29" y="132"/>
                  </a:lnTo>
                  <a:lnTo>
                    <a:pt x="30" y="131"/>
                  </a:lnTo>
                  <a:lnTo>
                    <a:pt x="26" y="132"/>
                  </a:lnTo>
                  <a:lnTo>
                    <a:pt x="19" y="130"/>
                  </a:lnTo>
                  <a:lnTo>
                    <a:pt x="16" y="112"/>
                  </a:lnTo>
                  <a:lnTo>
                    <a:pt x="16" y="98"/>
                  </a:lnTo>
                  <a:lnTo>
                    <a:pt x="6" y="90"/>
                  </a:lnTo>
                  <a:lnTo>
                    <a:pt x="7" y="90"/>
                  </a:lnTo>
                  <a:lnTo>
                    <a:pt x="4" y="82"/>
                  </a:lnTo>
                  <a:lnTo>
                    <a:pt x="4" y="77"/>
                  </a:lnTo>
                  <a:lnTo>
                    <a:pt x="0" y="62"/>
                  </a:lnTo>
                  <a:lnTo>
                    <a:pt x="5" y="53"/>
                  </a:lnTo>
                  <a:lnTo>
                    <a:pt x="2" y="54"/>
                  </a:lnTo>
                  <a:lnTo>
                    <a:pt x="11" y="41"/>
                  </a:lnTo>
                  <a:lnTo>
                    <a:pt x="14" y="53"/>
                  </a:lnTo>
                  <a:lnTo>
                    <a:pt x="30" y="62"/>
                  </a:lnTo>
                  <a:lnTo>
                    <a:pt x="50" y="58"/>
                  </a:lnTo>
                  <a:lnTo>
                    <a:pt x="56" y="50"/>
                  </a:lnTo>
                  <a:lnTo>
                    <a:pt x="77" y="55"/>
                  </a:lnTo>
                  <a:lnTo>
                    <a:pt x="90" y="49"/>
                  </a:lnTo>
                  <a:lnTo>
                    <a:pt x="97" y="34"/>
                  </a:lnTo>
                  <a:lnTo>
                    <a:pt x="101" y="25"/>
                  </a:lnTo>
                  <a:lnTo>
                    <a:pt x="104" y="12"/>
                  </a:lnTo>
                  <a:lnTo>
                    <a:pt x="108" y="0"/>
                  </a:lnTo>
                  <a:lnTo>
                    <a:pt x="122" y="1"/>
                  </a:lnTo>
                  <a:lnTo>
                    <a:pt x="136" y="4"/>
                  </a:lnTo>
                  <a:lnTo>
                    <a:pt x="134" y="6"/>
                  </a:lnTo>
                  <a:lnTo>
                    <a:pt x="134" y="7"/>
                  </a:lnTo>
                  <a:lnTo>
                    <a:pt x="138" y="13"/>
                  </a:lnTo>
                  <a:lnTo>
                    <a:pt x="134" y="12"/>
                  </a:lnTo>
                  <a:lnTo>
                    <a:pt x="130" y="13"/>
                  </a:lnTo>
                  <a:lnTo>
                    <a:pt x="132" y="20"/>
                  </a:lnTo>
                  <a:lnTo>
                    <a:pt x="144" y="38"/>
                  </a:lnTo>
                  <a:lnTo>
                    <a:pt x="142" y="44"/>
                  </a:lnTo>
                  <a:lnTo>
                    <a:pt x="150" y="53"/>
                  </a:lnTo>
                  <a:lnTo>
                    <a:pt x="158" y="6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3" name="Freeform 6">
              <a:extLst>
                <a:ext uri="{FF2B5EF4-FFF2-40B4-BE49-F238E27FC236}">
                  <a16:creationId xmlns:a16="http://schemas.microsoft.com/office/drawing/2014/main" id="{2E12AA4B-7757-4A71-A337-64A6B86EDA04}"/>
                </a:ext>
              </a:extLst>
            </p:cNvPr>
            <p:cNvSpPr>
              <a:spLocks/>
            </p:cNvSpPr>
            <p:nvPr/>
          </p:nvSpPr>
          <p:spPr bwMode="auto">
            <a:xfrm>
              <a:off x="8306908" y="3636066"/>
              <a:ext cx="331960" cy="388460"/>
            </a:xfrm>
            <a:custGeom>
              <a:avLst/>
              <a:gdLst/>
              <a:ahLst/>
              <a:cxnLst>
                <a:cxn ang="0">
                  <a:pos x="173" y="158"/>
                </a:cxn>
                <a:cxn ang="0">
                  <a:pos x="172" y="160"/>
                </a:cxn>
                <a:cxn ang="0">
                  <a:pos x="170" y="182"/>
                </a:cxn>
                <a:cxn ang="0">
                  <a:pos x="167" y="204"/>
                </a:cxn>
                <a:cxn ang="0">
                  <a:pos x="160" y="198"/>
                </a:cxn>
                <a:cxn ang="0">
                  <a:pos x="159" y="202"/>
                </a:cxn>
                <a:cxn ang="0">
                  <a:pos x="150" y="200"/>
                </a:cxn>
                <a:cxn ang="0">
                  <a:pos x="150" y="204"/>
                </a:cxn>
                <a:cxn ang="0">
                  <a:pos x="135" y="189"/>
                </a:cxn>
                <a:cxn ang="0">
                  <a:pos x="126" y="180"/>
                </a:cxn>
                <a:cxn ang="0">
                  <a:pos x="118" y="172"/>
                </a:cxn>
                <a:cxn ang="0">
                  <a:pos x="110" y="164"/>
                </a:cxn>
                <a:cxn ang="0">
                  <a:pos x="101" y="154"/>
                </a:cxn>
                <a:cxn ang="0">
                  <a:pos x="94" y="140"/>
                </a:cxn>
                <a:cxn ang="0">
                  <a:pos x="87" y="125"/>
                </a:cxn>
                <a:cxn ang="0">
                  <a:pos x="84" y="123"/>
                </a:cxn>
                <a:cxn ang="0">
                  <a:pos x="76" y="110"/>
                </a:cxn>
                <a:cxn ang="0">
                  <a:pos x="68" y="96"/>
                </a:cxn>
                <a:cxn ang="0">
                  <a:pos x="63" y="84"/>
                </a:cxn>
                <a:cxn ang="0">
                  <a:pos x="58" y="72"/>
                </a:cxn>
                <a:cxn ang="0">
                  <a:pos x="45" y="59"/>
                </a:cxn>
                <a:cxn ang="0">
                  <a:pos x="35" y="45"/>
                </a:cxn>
                <a:cxn ang="0">
                  <a:pos x="23" y="33"/>
                </a:cxn>
                <a:cxn ang="0">
                  <a:pos x="11" y="21"/>
                </a:cxn>
                <a:cxn ang="0">
                  <a:pos x="0" y="0"/>
                </a:cxn>
                <a:cxn ang="0">
                  <a:pos x="11" y="2"/>
                </a:cxn>
                <a:cxn ang="0">
                  <a:pos x="23" y="4"/>
                </a:cxn>
                <a:cxn ang="0">
                  <a:pos x="35" y="6"/>
                </a:cxn>
                <a:cxn ang="0">
                  <a:pos x="50" y="23"/>
                </a:cxn>
                <a:cxn ang="0">
                  <a:pos x="51" y="27"/>
                </a:cxn>
                <a:cxn ang="0">
                  <a:pos x="65" y="40"/>
                </a:cxn>
                <a:cxn ang="0">
                  <a:pos x="80" y="52"/>
                </a:cxn>
                <a:cxn ang="0">
                  <a:pos x="92" y="65"/>
                </a:cxn>
                <a:cxn ang="0">
                  <a:pos x="90" y="59"/>
                </a:cxn>
                <a:cxn ang="0">
                  <a:pos x="105" y="70"/>
                </a:cxn>
                <a:cxn ang="0">
                  <a:pos x="113" y="81"/>
                </a:cxn>
                <a:cxn ang="0">
                  <a:pos x="128" y="90"/>
                </a:cxn>
                <a:cxn ang="0">
                  <a:pos x="130" y="92"/>
                </a:cxn>
                <a:cxn ang="0">
                  <a:pos x="140" y="100"/>
                </a:cxn>
                <a:cxn ang="0">
                  <a:pos x="132" y="104"/>
                </a:cxn>
                <a:cxn ang="0">
                  <a:pos x="134" y="107"/>
                </a:cxn>
                <a:cxn ang="0">
                  <a:pos x="132" y="110"/>
                </a:cxn>
                <a:cxn ang="0">
                  <a:pos x="135" y="116"/>
                </a:cxn>
                <a:cxn ang="0">
                  <a:pos x="147" y="118"/>
                </a:cxn>
                <a:cxn ang="0">
                  <a:pos x="150" y="131"/>
                </a:cxn>
                <a:cxn ang="0">
                  <a:pos x="153" y="136"/>
                </a:cxn>
                <a:cxn ang="0">
                  <a:pos x="153" y="143"/>
                </a:cxn>
                <a:cxn ang="0">
                  <a:pos x="166" y="143"/>
                </a:cxn>
                <a:cxn ang="0">
                  <a:pos x="173" y="158"/>
                </a:cxn>
              </a:cxnLst>
              <a:rect l="0" t="0" r="r" b="b"/>
              <a:pathLst>
                <a:path w="173" h="204">
                  <a:moveTo>
                    <a:pt x="173" y="158"/>
                  </a:moveTo>
                  <a:lnTo>
                    <a:pt x="172" y="160"/>
                  </a:lnTo>
                  <a:lnTo>
                    <a:pt x="170" y="182"/>
                  </a:lnTo>
                  <a:lnTo>
                    <a:pt x="167" y="204"/>
                  </a:lnTo>
                  <a:lnTo>
                    <a:pt x="160" y="198"/>
                  </a:lnTo>
                  <a:lnTo>
                    <a:pt x="159" y="202"/>
                  </a:lnTo>
                  <a:lnTo>
                    <a:pt x="150" y="200"/>
                  </a:lnTo>
                  <a:lnTo>
                    <a:pt x="150" y="204"/>
                  </a:lnTo>
                  <a:lnTo>
                    <a:pt x="135" y="189"/>
                  </a:lnTo>
                  <a:lnTo>
                    <a:pt x="126" y="180"/>
                  </a:lnTo>
                  <a:lnTo>
                    <a:pt x="118" y="172"/>
                  </a:lnTo>
                  <a:lnTo>
                    <a:pt x="110" y="164"/>
                  </a:lnTo>
                  <a:lnTo>
                    <a:pt x="101" y="154"/>
                  </a:lnTo>
                  <a:lnTo>
                    <a:pt x="94" y="140"/>
                  </a:lnTo>
                  <a:lnTo>
                    <a:pt x="87" y="125"/>
                  </a:lnTo>
                  <a:lnTo>
                    <a:pt x="84" y="123"/>
                  </a:lnTo>
                  <a:lnTo>
                    <a:pt x="76" y="110"/>
                  </a:lnTo>
                  <a:lnTo>
                    <a:pt x="68" y="96"/>
                  </a:lnTo>
                  <a:lnTo>
                    <a:pt x="63" y="84"/>
                  </a:lnTo>
                  <a:lnTo>
                    <a:pt x="58" y="72"/>
                  </a:lnTo>
                  <a:lnTo>
                    <a:pt x="45" y="59"/>
                  </a:lnTo>
                  <a:lnTo>
                    <a:pt x="35" y="45"/>
                  </a:lnTo>
                  <a:lnTo>
                    <a:pt x="23" y="33"/>
                  </a:lnTo>
                  <a:lnTo>
                    <a:pt x="11" y="21"/>
                  </a:lnTo>
                  <a:lnTo>
                    <a:pt x="0" y="0"/>
                  </a:lnTo>
                  <a:lnTo>
                    <a:pt x="11" y="2"/>
                  </a:lnTo>
                  <a:lnTo>
                    <a:pt x="23" y="4"/>
                  </a:lnTo>
                  <a:lnTo>
                    <a:pt x="35" y="6"/>
                  </a:lnTo>
                  <a:lnTo>
                    <a:pt x="50" y="23"/>
                  </a:lnTo>
                  <a:lnTo>
                    <a:pt x="51" y="27"/>
                  </a:lnTo>
                  <a:lnTo>
                    <a:pt x="65" y="40"/>
                  </a:lnTo>
                  <a:lnTo>
                    <a:pt x="80" y="52"/>
                  </a:lnTo>
                  <a:lnTo>
                    <a:pt x="92" y="65"/>
                  </a:lnTo>
                  <a:lnTo>
                    <a:pt x="90" y="59"/>
                  </a:lnTo>
                  <a:lnTo>
                    <a:pt x="105" y="70"/>
                  </a:lnTo>
                  <a:lnTo>
                    <a:pt x="113" y="81"/>
                  </a:lnTo>
                  <a:lnTo>
                    <a:pt x="128" y="90"/>
                  </a:lnTo>
                  <a:lnTo>
                    <a:pt x="130" y="92"/>
                  </a:lnTo>
                  <a:lnTo>
                    <a:pt x="140" y="100"/>
                  </a:lnTo>
                  <a:lnTo>
                    <a:pt x="132" y="104"/>
                  </a:lnTo>
                  <a:lnTo>
                    <a:pt x="134" y="107"/>
                  </a:lnTo>
                  <a:lnTo>
                    <a:pt x="132" y="110"/>
                  </a:lnTo>
                  <a:lnTo>
                    <a:pt x="135" y="116"/>
                  </a:lnTo>
                  <a:lnTo>
                    <a:pt x="147" y="118"/>
                  </a:lnTo>
                  <a:lnTo>
                    <a:pt x="150" y="131"/>
                  </a:lnTo>
                  <a:lnTo>
                    <a:pt x="153" y="136"/>
                  </a:lnTo>
                  <a:lnTo>
                    <a:pt x="153" y="143"/>
                  </a:lnTo>
                  <a:lnTo>
                    <a:pt x="166" y="143"/>
                  </a:lnTo>
                  <a:lnTo>
                    <a:pt x="173" y="15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4" name="Freeform 7">
              <a:extLst>
                <a:ext uri="{FF2B5EF4-FFF2-40B4-BE49-F238E27FC236}">
                  <a16:creationId xmlns:a16="http://schemas.microsoft.com/office/drawing/2014/main" id="{C4AC7DF6-7DC6-4E13-90A0-2A8BDFF2E751}"/>
                </a:ext>
              </a:extLst>
            </p:cNvPr>
            <p:cNvSpPr>
              <a:spLocks/>
            </p:cNvSpPr>
            <p:nvPr/>
          </p:nvSpPr>
          <p:spPr bwMode="auto">
            <a:xfrm>
              <a:off x="9395189" y="3841419"/>
              <a:ext cx="296026" cy="296051"/>
            </a:xfrm>
            <a:custGeom>
              <a:avLst/>
              <a:gdLst/>
              <a:ahLst/>
              <a:cxnLst>
                <a:cxn ang="0">
                  <a:pos x="118" y="132"/>
                </a:cxn>
                <a:cxn ang="0">
                  <a:pos x="122" y="138"/>
                </a:cxn>
                <a:cxn ang="0">
                  <a:pos x="139" y="147"/>
                </a:cxn>
                <a:cxn ang="0">
                  <a:pos x="150" y="142"/>
                </a:cxn>
                <a:cxn ang="0">
                  <a:pos x="152" y="113"/>
                </a:cxn>
                <a:cxn ang="0">
                  <a:pos x="154" y="84"/>
                </a:cxn>
                <a:cxn ang="0">
                  <a:pos x="156" y="54"/>
                </a:cxn>
                <a:cxn ang="0">
                  <a:pos x="145" y="37"/>
                </a:cxn>
                <a:cxn ang="0">
                  <a:pos x="106" y="19"/>
                </a:cxn>
                <a:cxn ang="0">
                  <a:pos x="81" y="36"/>
                </a:cxn>
                <a:cxn ang="0">
                  <a:pos x="58" y="47"/>
                </a:cxn>
                <a:cxn ang="0">
                  <a:pos x="51" y="42"/>
                </a:cxn>
                <a:cxn ang="0">
                  <a:pos x="48" y="13"/>
                </a:cxn>
                <a:cxn ang="0">
                  <a:pos x="31" y="4"/>
                </a:cxn>
                <a:cxn ang="0">
                  <a:pos x="2" y="10"/>
                </a:cxn>
                <a:cxn ang="0">
                  <a:pos x="12" y="23"/>
                </a:cxn>
                <a:cxn ang="0">
                  <a:pos x="31" y="34"/>
                </a:cxn>
                <a:cxn ang="0">
                  <a:pos x="42" y="36"/>
                </a:cxn>
                <a:cxn ang="0">
                  <a:pos x="39" y="39"/>
                </a:cxn>
                <a:cxn ang="0">
                  <a:pos x="20" y="42"/>
                </a:cxn>
                <a:cxn ang="0">
                  <a:pos x="27" y="57"/>
                </a:cxn>
                <a:cxn ang="0">
                  <a:pos x="33" y="65"/>
                </a:cxn>
                <a:cxn ang="0">
                  <a:pos x="40" y="59"/>
                </a:cxn>
                <a:cxn ang="0">
                  <a:pos x="57" y="64"/>
                </a:cxn>
                <a:cxn ang="0">
                  <a:pos x="68" y="73"/>
                </a:cxn>
                <a:cxn ang="0">
                  <a:pos x="92" y="83"/>
                </a:cxn>
                <a:cxn ang="0">
                  <a:pos x="109" y="95"/>
                </a:cxn>
                <a:cxn ang="0">
                  <a:pos x="122" y="119"/>
                </a:cxn>
                <a:cxn ang="0">
                  <a:pos x="122" y="123"/>
                </a:cxn>
                <a:cxn ang="0">
                  <a:pos x="117" y="129"/>
                </a:cxn>
                <a:cxn ang="0">
                  <a:pos x="97" y="144"/>
                </a:cxn>
                <a:cxn ang="0">
                  <a:pos x="118" y="131"/>
                </a:cxn>
              </a:cxnLst>
              <a:rect l="0" t="0" r="r" b="b"/>
              <a:pathLst>
                <a:path w="156" h="157">
                  <a:moveTo>
                    <a:pt x="118" y="131"/>
                  </a:moveTo>
                  <a:lnTo>
                    <a:pt x="118" y="132"/>
                  </a:lnTo>
                  <a:lnTo>
                    <a:pt x="117" y="141"/>
                  </a:lnTo>
                  <a:lnTo>
                    <a:pt x="122" y="138"/>
                  </a:lnTo>
                  <a:lnTo>
                    <a:pt x="135" y="136"/>
                  </a:lnTo>
                  <a:lnTo>
                    <a:pt x="139" y="147"/>
                  </a:lnTo>
                  <a:lnTo>
                    <a:pt x="148" y="157"/>
                  </a:lnTo>
                  <a:lnTo>
                    <a:pt x="150" y="142"/>
                  </a:lnTo>
                  <a:lnTo>
                    <a:pt x="151" y="127"/>
                  </a:lnTo>
                  <a:lnTo>
                    <a:pt x="152" y="113"/>
                  </a:lnTo>
                  <a:lnTo>
                    <a:pt x="153" y="99"/>
                  </a:lnTo>
                  <a:lnTo>
                    <a:pt x="154" y="84"/>
                  </a:lnTo>
                  <a:lnTo>
                    <a:pt x="154" y="69"/>
                  </a:lnTo>
                  <a:lnTo>
                    <a:pt x="156" y="54"/>
                  </a:lnTo>
                  <a:lnTo>
                    <a:pt x="156" y="40"/>
                  </a:lnTo>
                  <a:lnTo>
                    <a:pt x="145" y="37"/>
                  </a:lnTo>
                  <a:lnTo>
                    <a:pt x="126" y="28"/>
                  </a:lnTo>
                  <a:lnTo>
                    <a:pt x="106" y="19"/>
                  </a:lnTo>
                  <a:lnTo>
                    <a:pt x="96" y="28"/>
                  </a:lnTo>
                  <a:lnTo>
                    <a:pt x="81" y="36"/>
                  </a:lnTo>
                  <a:lnTo>
                    <a:pt x="64" y="53"/>
                  </a:lnTo>
                  <a:lnTo>
                    <a:pt x="58" y="47"/>
                  </a:lnTo>
                  <a:lnTo>
                    <a:pt x="52" y="39"/>
                  </a:lnTo>
                  <a:lnTo>
                    <a:pt x="51" y="42"/>
                  </a:lnTo>
                  <a:lnTo>
                    <a:pt x="48" y="23"/>
                  </a:lnTo>
                  <a:lnTo>
                    <a:pt x="48" y="13"/>
                  </a:lnTo>
                  <a:lnTo>
                    <a:pt x="46" y="6"/>
                  </a:lnTo>
                  <a:lnTo>
                    <a:pt x="31" y="4"/>
                  </a:lnTo>
                  <a:lnTo>
                    <a:pt x="16" y="0"/>
                  </a:lnTo>
                  <a:lnTo>
                    <a:pt x="2" y="10"/>
                  </a:lnTo>
                  <a:lnTo>
                    <a:pt x="0" y="19"/>
                  </a:lnTo>
                  <a:lnTo>
                    <a:pt x="12" y="23"/>
                  </a:lnTo>
                  <a:lnTo>
                    <a:pt x="20" y="34"/>
                  </a:lnTo>
                  <a:lnTo>
                    <a:pt x="31" y="34"/>
                  </a:lnTo>
                  <a:lnTo>
                    <a:pt x="43" y="33"/>
                  </a:lnTo>
                  <a:lnTo>
                    <a:pt x="42" y="36"/>
                  </a:lnTo>
                  <a:lnTo>
                    <a:pt x="40" y="39"/>
                  </a:lnTo>
                  <a:lnTo>
                    <a:pt x="39" y="39"/>
                  </a:lnTo>
                  <a:lnTo>
                    <a:pt x="34" y="39"/>
                  </a:lnTo>
                  <a:lnTo>
                    <a:pt x="20" y="42"/>
                  </a:lnTo>
                  <a:lnTo>
                    <a:pt x="14" y="46"/>
                  </a:lnTo>
                  <a:lnTo>
                    <a:pt x="27" y="57"/>
                  </a:lnTo>
                  <a:lnTo>
                    <a:pt x="25" y="64"/>
                  </a:lnTo>
                  <a:lnTo>
                    <a:pt x="33" y="65"/>
                  </a:lnTo>
                  <a:lnTo>
                    <a:pt x="43" y="48"/>
                  </a:lnTo>
                  <a:lnTo>
                    <a:pt x="40" y="59"/>
                  </a:lnTo>
                  <a:lnTo>
                    <a:pt x="54" y="64"/>
                  </a:lnTo>
                  <a:lnTo>
                    <a:pt x="57" y="64"/>
                  </a:lnTo>
                  <a:lnTo>
                    <a:pt x="56" y="70"/>
                  </a:lnTo>
                  <a:lnTo>
                    <a:pt x="68" y="73"/>
                  </a:lnTo>
                  <a:lnTo>
                    <a:pt x="80" y="78"/>
                  </a:lnTo>
                  <a:lnTo>
                    <a:pt x="92" y="83"/>
                  </a:lnTo>
                  <a:lnTo>
                    <a:pt x="103" y="88"/>
                  </a:lnTo>
                  <a:lnTo>
                    <a:pt x="109" y="95"/>
                  </a:lnTo>
                  <a:lnTo>
                    <a:pt x="117" y="115"/>
                  </a:lnTo>
                  <a:lnTo>
                    <a:pt x="122" y="119"/>
                  </a:lnTo>
                  <a:lnTo>
                    <a:pt x="114" y="119"/>
                  </a:lnTo>
                  <a:lnTo>
                    <a:pt x="122" y="123"/>
                  </a:lnTo>
                  <a:lnTo>
                    <a:pt x="115" y="124"/>
                  </a:lnTo>
                  <a:lnTo>
                    <a:pt x="117" y="129"/>
                  </a:lnTo>
                  <a:lnTo>
                    <a:pt x="106" y="127"/>
                  </a:lnTo>
                  <a:lnTo>
                    <a:pt x="97" y="144"/>
                  </a:lnTo>
                  <a:lnTo>
                    <a:pt x="111" y="141"/>
                  </a:lnTo>
                  <a:lnTo>
                    <a:pt x="118" y="13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5" name="Freeform 8">
              <a:extLst>
                <a:ext uri="{FF2B5EF4-FFF2-40B4-BE49-F238E27FC236}">
                  <a16:creationId xmlns:a16="http://schemas.microsoft.com/office/drawing/2014/main" id="{52F2CD99-2C13-4C8D-A318-7E15A59BFE82}"/>
                </a:ext>
              </a:extLst>
            </p:cNvPr>
            <p:cNvSpPr>
              <a:spLocks/>
            </p:cNvSpPr>
            <p:nvPr/>
          </p:nvSpPr>
          <p:spPr bwMode="auto">
            <a:xfrm>
              <a:off x="9025584" y="3769545"/>
              <a:ext cx="189936" cy="251558"/>
            </a:xfrm>
            <a:custGeom>
              <a:avLst/>
              <a:gdLst/>
              <a:ahLst/>
              <a:cxnLst>
                <a:cxn ang="0">
                  <a:pos x="101" y="4"/>
                </a:cxn>
                <a:cxn ang="0">
                  <a:pos x="96" y="0"/>
                </a:cxn>
                <a:cxn ang="0">
                  <a:pos x="82" y="16"/>
                </a:cxn>
                <a:cxn ang="0">
                  <a:pos x="61" y="12"/>
                </a:cxn>
                <a:cxn ang="0">
                  <a:pos x="41" y="8"/>
                </a:cxn>
                <a:cxn ang="0">
                  <a:pos x="31" y="8"/>
                </a:cxn>
                <a:cxn ang="0">
                  <a:pos x="25" y="16"/>
                </a:cxn>
                <a:cxn ang="0">
                  <a:pos x="22" y="16"/>
                </a:cxn>
                <a:cxn ang="0">
                  <a:pos x="15" y="30"/>
                </a:cxn>
                <a:cxn ang="0">
                  <a:pos x="16" y="46"/>
                </a:cxn>
                <a:cxn ang="0">
                  <a:pos x="13" y="43"/>
                </a:cxn>
                <a:cxn ang="0">
                  <a:pos x="7" y="60"/>
                </a:cxn>
                <a:cxn ang="0">
                  <a:pos x="0" y="78"/>
                </a:cxn>
                <a:cxn ang="0">
                  <a:pos x="1" y="94"/>
                </a:cxn>
                <a:cxn ang="0">
                  <a:pos x="9" y="95"/>
                </a:cxn>
                <a:cxn ang="0">
                  <a:pos x="9" y="108"/>
                </a:cxn>
                <a:cxn ang="0">
                  <a:pos x="7" y="121"/>
                </a:cxn>
                <a:cxn ang="0">
                  <a:pos x="9" y="132"/>
                </a:cxn>
                <a:cxn ang="0">
                  <a:pos x="23" y="128"/>
                </a:cxn>
                <a:cxn ang="0">
                  <a:pos x="22" y="107"/>
                </a:cxn>
                <a:cxn ang="0">
                  <a:pos x="22" y="85"/>
                </a:cxn>
                <a:cxn ang="0">
                  <a:pos x="31" y="78"/>
                </a:cxn>
                <a:cxn ang="0">
                  <a:pos x="33" y="89"/>
                </a:cxn>
                <a:cxn ang="0">
                  <a:pos x="34" y="96"/>
                </a:cxn>
                <a:cxn ang="0">
                  <a:pos x="41" y="106"/>
                </a:cxn>
                <a:cxn ang="0">
                  <a:pos x="43" y="116"/>
                </a:cxn>
                <a:cxn ang="0">
                  <a:pos x="48" y="114"/>
                </a:cxn>
                <a:cxn ang="0">
                  <a:pos x="59" y="108"/>
                </a:cxn>
                <a:cxn ang="0">
                  <a:pos x="63" y="106"/>
                </a:cxn>
                <a:cxn ang="0">
                  <a:pos x="53" y="91"/>
                </a:cxn>
                <a:cxn ang="0">
                  <a:pos x="55" y="86"/>
                </a:cxn>
                <a:cxn ang="0">
                  <a:pos x="47" y="74"/>
                </a:cxn>
                <a:cxn ang="0">
                  <a:pos x="40" y="62"/>
                </a:cxn>
                <a:cxn ang="0">
                  <a:pos x="46" y="64"/>
                </a:cxn>
                <a:cxn ang="0">
                  <a:pos x="57" y="54"/>
                </a:cxn>
                <a:cxn ang="0">
                  <a:pos x="69" y="46"/>
                </a:cxn>
                <a:cxn ang="0">
                  <a:pos x="72" y="46"/>
                </a:cxn>
                <a:cxn ang="0">
                  <a:pos x="70" y="40"/>
                </a:cxn>
                <a:cxn ang="0">
                  <a:pos x="64" y="42"/>
                </a:cxn>
                <a:cxn ang="0">
                  <a:pos x="45" y="46"/>
                </a:cxn>
                <a:cxn ang="0">
                  <a:pos x="31" y="54"/>
                </a:cxn>
                <a:cxn ang="0">
                  <a:pos x="19" y="37"/>
                </a:cxn>
                <a:cxn ang="0">
                  <a:pos x="25" y="22"/>
                </a:cxn>
                <a:cxn ang="0">
                  <a:pos x="47" y="23"/>
                </a:cxn>
                <a:cxn ang="0">
                  <a:pos x="70" y="24"/>
                </a:cxn>
                <a:cxn ang="0">
                  <a:pos x="91" y="19"/>
                </a:cxn>
                <a:cxn ang="0">
                  <a:pos x="101" y="4"/>
                </a:cxn>
              </a:cxnLst>
              <a:rect l="0" t="0" r="r" b="b"/>
              <a:pathLst>
                <a:path w="101" h="132">
                  <a:moveTo>
                    <a:pt x="101" y="4"/>
                  </a:moveTo>
                  <a:lnTo>
                    <a:pt x="96" y="0"/>
                  </a:lnTo>
                  <a:lnTo>
                    <a:pt x="82" y="16"/>
                  </a:lnTo>
                  <a:lnTo>
                    <a:pt x="61" y="12"/>
                  </a:lnTo>
                  <a:lnTo>
                    <a:pt x="41" y="8"/>
                  </a:lnTo>
                  <a:lnTo>
                    <a:pt x="31" y="8"/>
                  </a:lnTo>
                  <a:lnTo>
                    <a:pt x="25" y="16"/>
                  </a:lnTo>
                  <a:lnTo>
                    <a:pt x="22" y="16"/>
                  </a:lnTo>
                  <a:lnTo>
                    <a:pt x="15" y="30"/>
                  </a:lnTo>
                  <a:lnTo>
                    <a:pt x="16" y="46"/>
                  </a:lnTo>
                  <a:lnTo>
                    <a:pt x="13" y="43"/>
                  </a:lnTo>
                  <a:lnTo>
                    <a:pt x="7" y="60"/>
                  </a:lnTo>
                  <a:lnTo>
                    <a:pt x="0" y="78"/>
                  </a:lnTo>
                  <a:lnTo>
                    <a:pt x="1" y="94"/>
                  </a:lnTo>
                  <a:lnTo>
                    <a:pt x="9" y="95"/>
                  </a:lnTo>
                  <a:lnTo>
                    <a:pt x="9" y="108"/>
                  </a:lnTo>
                  <a:lnTo>
                    <a:pt x="7" y="121"/>
                  </a:lnTo>
                  <a:lnTo>
                    <a:pt x="9" y="132"/>
                  </a:lnTo>
                  <a:lnTo>
                    <a:pt x="23" y="128"/>
                  </a:lnTo>
                  <a:lnTo>
                    <a:pt x="22" y="107"/>
                  </a:lnTo>
                  <a:lnTo>
                    <a:pt x="22" y="85"/>
                  </a:lnTo>
                  <a:lnTo>
                    <a:pt x="31" y="78"/>
                  </a:lnTo>
                  <a:lnTo>
                    <a:pt x="33" y="89"/>
                  </a:lnTo>
                  <a:lnTo>
                    <a:pt x="34" y="96"/>
                  </a:lnTo>
                  <a:lnTo>
                    <a:pt x="41" y="106"/>
                  </a:lnTo>
                  <a:lnTo>
                    <a:pt x="43" y="116"/>
                  </a:lnTo>
                  <a:lnTo>
                    <a:pt x="48" y="114"/>
                  </a:lnTo>
                  <a:lnTo>
                    <a:pt x="59" y="108"/>
                  </a:lnTo>
                  <a:lnTo>
                    <a:pt x="63" y="106"/>
                  </a:lnTo>
                  <a:lnTo>
                    <a:pt x="53" y="91"/>
                  </a:lnTo>
                  <a:lnTo>
                    <a:pt x="55" y="86"/>
                  </a:lnTo>
                  <a:lnTo>
                    <a:pt x="47" y="74"/>
                  </a:lnTo>
                  <a:lnTo>
                    <a:pt x="40" y="62"/>
                  </a:lnTo>
                  <a:lnTo>
                    <a:pt x="46" y="64"/>
                  </a:lnTo>
                  <a:lnTo>
                    <a:pt x="57" y="54"/>
                  </a:lnTo>
                  <a:lnTo>
                    <a:pt x="69" y="46"/>
                  </a:lnTo>
                  <a:lnTo>
                    <a:pt x="72" y="46"/>
                  </a:lnTo>
                  <a:lnTo>
                    <a:pt x="70" y="40"/>
                  </a:lnTo>
                  <a:lnTo>
                    <a:pt x="64" y="42"/>
                  </a:lnTo>
                  <a:lnTo>
                    <a:pt x="45" y="46"/>
                  </a:lnTo>
                  <a:lnTo>
                    <a:pt x="31" y="54"/>
                  </a:lnTo>
                  <a:lnTo>
                    <a:pt x="19" y="37"/>
                  </a:lnTo>
                  <a:lnTo>
                    <a:pt x="25" y="22"/>
                  </a:lnTo>
                  <a:lnTo>
                    <a:pt x="47" y="23"/>
                  </a:lnTo>
                  <a:lnTo>
                    <a:pt x="70" y="24"/>
                  </a:lnTo>
                  <a:lnTo>
                    <a:pt x="91" y="19"/>
                  </a:lnTo>
                  <a:lnTo>
                    <a:pt x="101"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6" name="Freeform 9">
              <a:extLst>
                <a:ext uri="{FF2B5EF4-FFF2-40B4-BE49-F238E27FC236}">
                  <a16:creationId xmlns:a16="http://schemas.microsoft.com/office/drawing/2014/main" id="{03F88D6C-5268-4814-9041-047BCCF920CB}"/>
                </a:ext>
              </a:extLst>
            </p:cNvPr>
            <p:cNvSpPr>
              <a:spLocks/>
            </p:cNvSpPr>
            <p:nvPr/>
          </p:nvSpPr>
          <p:spPr bwMode="auto">
            <a:xfrm>
              <a:off x="8608067" y="4031371"/>
              <a:ext cx="277204" cy="95832"/>
            </a:xfrm>
            <a:custGeom>
              <a:avLst/>
              <a:gdLst/>
              <a:ahLst/>
              <a:cxnLst>
                <a:cxn ang="0">
                  <a:pos x="145" y="49"/>
                </a:cxn>
                <a:cxn ang="0">
                  <a:pos x="143" y="47"/>
                </a:cxn>
                <a:cxn ang="0">
                  <a:pos x="144" y="32"/>
                </a:cxn>
                <a:cxn ang="0">
                  <a:pos x="132" y="31"/>
                </a:cxn>
                <a:cxn ang="0">
                  <a:pos x="120" y="29"/>
                </a:cxn>
                <a:cxn ang="0">
                  <a:pos x="116" y="19"/>
                </a:cxn>
                <a:cxn ang="0">
                  <a:pos x="97" y="12"/>
                </a:cxn>
                <a:cxn ang="0">
                  <a:pos x="90" y="7"/>
                </a:cxn>
                <a:cxn ang="0">
                  <a:pos x="83" y="16"/>
                </a:cxn>
                <a:cxn ang="0">
                  <a:pos x="71" y="16"/>
                </a:cxn>
                <a:cxn ang="0">
                  <a:pos x="57" y="16"/>
                </a:cxn>
                <a:cxn ang="0">
                  <a:pos x="51" y="8"/>
                </a:cxn>
                <a:cxn ang="0">
                  <a:pos x="33" y="0"/>
                </a:cxn>
                <a:cxn ang="0">
                  <a:pos x="13" y="0"/>
                </a:cxn>
                <a:cxn ang="0">
                  <a:pos x="5" y="11"/>
                </a:cxn>
                <a:cxn ang="0">
                  <a:pos x="0" y="13"/>
                </a:cxn>
                <a:cxn ang="0">
                  <a:pos x="17" y="18"/>
                </a:cxn>
                <a:cxn ang="0">
                  <a:pos x="17" y="22"/>
                </a:cxn>
                <a:cxn ang="0">
                  <a:pos x="32" y="26"/>
                </a:cxn>
                <a:cxn ang="0">
                  <a:pos x="49" y="30"/>
                </a:cxn>
                <a:cxn ang="0">
                  <a:pos x="63" y="34"/>
                </a:cxn>
                <a:cxn ang="0">
                  <a:pos x="79" y="37"/>
                </a:cxn>
                <a:cxn ang="0">
                  <a:pos x="99" y="40"/>
                </a:cxn>
                <a:cxn ang="0">
                  <a:pos x="119" y="42"/>
                </a:cxn>
                <a:cxn ang="0">
                  <a:pos x="132" y="46"/>
                </a:cxn>
                <a:cxn ang="0">
                  <a:pos x="145" y="49"/>
                </a:cxn>
              </a:cxnLst>
              <a:rect l="0" t="0" r="r" b="b"/>
              <a:pathLst>
                <a:path w="145" h="49">
                  <a:moveTo>
                    <a:pt x="145" y="49"/>
                  </a:moveTo>
                  <a:lnTo>
                    <a:pt x="143" y="47"/>
                  </a:lnTo>
                  <a:lnTo>
                    <a:pt x="144" y="32"/>
                  </a:lnTo>
                  <a:lnTo>
                    <a:pt x="132" y="31"/>
                  </a:lnTo>
                  <a:lnTo>
                    <a:pt x="120" y="29"/>
                  </a:lnTo>
                  <a:lnTo>
                    <a:pt x="116" y="19"/>
                  </a:lnTo>
                  <a:lnTo>
                    <a:pt x="97" y="12"/>
                  </a:lnTo>
                  <a:lnTo>
                    <a:pt x="90" y="7"/>
                  </a:lnTo>
                  <a:lnTo>
                    <a:pt x="83" y="16"/>
                  </a:lnTo>
                  <a:lnTo>
                    <a:pt x="71" y="16"/>
                  </a:lnTo>
                  <a:lnTo>
                    <a:pt x="57" y="16"/>
                  </a:lnTo>
                  <a:lnTo>
                    <a:pt x="51" y="8"/>
                  </a:lnTo>
                  <a:lnTo>
                    <a:pt x="33" y="0"/>
                  </a:lnTo>
                  <a:lnTo>
                    <a:pt x="13" y="0"/>
                  </a:lnTo>
                  <a:lnTo>
                    <a:pt x="5" y="11"/>
                  </a:lnTo>
                  <a:lnTo>
                    <a:pt x="0" y="13"/>
                  </a:lnTo>
                  <a:lnTo>
                    <a:pt x="17" y="18"/>
                  </a:lnTo>
                  <a:lnTo>
                    <a:pt x="17" y="22"/>
                  </a:lnTo>
                  <a:lnTo>
                    <a:pt x="32" y="26"/>
                  </a:lnTo>
                  <a:lnTo>
                    <a:pt x="49" y="30"/>
                  </a:lnTo>
                  <a:lnTo>
                    <a:pt x="63" y="34"/>
                  </a:lnTo>
                  <a:lnTo>
                    <a:pt x="79" y="37"/>
                  </a:lnTo>
                  <a:lnTo>
                    <a:pt x="99" y="40"/>
                  </a:lnTo>
                  <a:lnTo>
                    <a:pt x="119" y="42"/>
                  </a:lnTo>
                  <a:lnTo>
                    <a:pt x="132" y="46"/>
                  </a:lnTo>
                  <a:lnTo>
                    <a:pt x="145" y="4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7" name="Freeform 10">
              <a:extLst>
                <a:ext uri="{FF2B5EF4-FFF2-40B4-BE49-F238E27FC236}">
                  <a16:creationId xmlns:a16="http://schemas.microsoft.com/office/drawing/2014/main" id="{16DE9846-A146-42B6-937C-B9C0DC561826}"/>
                </a:ext>
              </a:extLst>
            </p:cNvPr>
            <p:cNvSpPr>
              <a:spLocks/>
            </p:cNvSpPr>
            <p:nvPr/>
          </p:nvSpPr>
          <p:spPr bwMode="auto">
            <a:xfrm>
              <a:off x="9152208" y="4115224"/>
              <a:ext cx="112935" cy="65029"/>
            </a:xfrm>
            <a:custGeom>
              <a:avLst/>
              <a:gdLst/>
              <a:ahLst/>
              <a:cxnLst>
                <a:cxn ang="0">
                  <a:pos x="61" y="0"/>
                </a:cxn>
                <a:cxn ang="0">
                  <a:pos x="39" y="1"/>
                </a:cxn>
                <a:cxn ang="0">
                  <a:pos x="23" y="9"/>
                </a:cxn>
                <a:cxn ang="0">
                  <a:pos x="9" y="17"/>
                </a:cxn>
                <a:cxn ang="0">
                  <a:pos x="1" y="30"/>
                </a:cxn>
                <a:cxn ang="0">
                  <a:pos x="0" y="31"/>
                </a:cxn>
                <a:cxn ang="0">
                  <a:pos x="1" y="35"/>
                </a:cxn>
                <a:cxn ang="0">
                  <a:pos x="22" y="24"/>
                </a:cxn>
                <a:cxn ang="0">
                  <a:pos x="41" y="12"/>
                </a:cxn>
                <a:cxn ang="0">
                  <a:pos x="61" y="0"/>
                </a:cxn>
              </a:cxnLst>
              <a:rect l="0" t="0" r="r" b="b"/>
              <a:pathLst>
                <a:path w="61" h="35">
                  <a:moveTo>
                    <a:pt x="61" y="0"/>
                  </a:moveTo>
                  <a:lnTo>
                    <a:pt x="39" y="1"/>
                  </a:lnTo>
                  <a:lnTo>
                    <a:pt x="23" y="9"/>
                  </a:lnTo>
                  <a:lnTo>
                    <a:pt x="9" y="17"/>
                  </a:lnTo>
                  <a:lnTo>
                    <a:pt x="1" y="30"/>
                  </a:lnTo>
                  <a:lnTo>
                    <a:pt x="0" y="31"/>
                  </a:lnTo>
                  <a:lnTo>
                    <a:pt x="1" y="35"/>
                  </a:lnTo>
                  <a:lnTo>
                    <a:pt x="22" y="24"/>
                  </a:lnTo>
                  <a:lnTo>
                    <a:pt x="41" y="12"/>
                  </a:lnTo>
                  <a:lnTo>
                    <a:pt x="6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8" name="Freeform 11">
              <a:extLst>
                <a:ext uri="{FF2B5EF4-FFF2-40B4-BE49-F238E27FC236}">
                  <a16:creationId xmlns:a16="http://schemas.microsoft.com/office/drawing/2014/main" id="{974C0716-A66F-42B8-80CA-32366A06212C}"/>
                </a:ext>
              </a:extLst>
            </p:cNvPr>
            <p:cNvSpPr>
              <a:spLocks/>
            </p:cNvSpPr>
            <p:nvPr/>
          </p:nvSpPr>
          <p:spPr bwMode="auto">
            <a:xfrm>
              <a:off x="9283965" y="3754144"/>
              <a:ext cx="42778" cy="102677"/>
            </a:xfrm>
            <a:custGeom>
              <a:avLst/>
              <a:gdLst/>
              <a:ahLst/>
              <a:cxnLst>
                <a:cxn ang="0">
                  <a:pos x="23" y="34"/>
                </a:cxn>
                <a:cxn ang="0">
                  <a:pos x="13" y="22"/>
                </a:cxn>
                <a:cxn ang="0">
                  <a:pos x="20" y="14"/>
                </a:cxn>
                <a:cxn ang="0">
                  <a:pos x="16" y="10"/>
                </a:cxn>
                <a:cxn ang="0">
                  <a:pos x="11" y="15"/>
                </a:cxn>
                <a:cxn ang="0">
                  <a:pos x="5" y="24"/>
                </a:cxn>
                <a:cxn ang="0">
                  <a:pos x="5" y="19"/>
                </a:cxn>
                <a:cxn ang="0">
                  <a:pos x="8" y="7"/>
                </a:cxn>
                <a:cxn ang="0">
                  <a:pos x="8" y="0"/>
                </a:cxn>
                <a:cxn ang="0">
                  <a:pos x="0" y="13"/>
                </a:cxn>
                <a:cxn ang="0">
                  <a:pos x="2" y="25"/>
                </a:cxn>
                <a:cxn ang="0">
                  <a:pos x="4" y="38"/>
                </a:cxn>
                <a:cxn ang="0">
                  <a:pos x="13" y="54"/>
                </a:cxn>
                <a:cxn ang="0">
                  <a:pos x="7" y="32"/>
                </a:cxn>
                <a:cxn ang="0">
                  <a:pos x="23" y="34"/>
                </a:cxn>
              </a:cxnLst>
              <a:rect l="0" t="0" r="r" b="b"/>
              <a:pathLst>
                <a:path w="23" h="54">
                  <a:moveTo>
                    <a:pt x="23" y="34"/>
                  </a:moveTo>
                  <a:lnTo>
                    <a:pt x="13" y="22"/>
                  </a:lnTo>
                  <a:lnTo>
                    <a:pt x="20" y="14"/>
                  </a:lnTo>
                  <a:lnTo>
                    <a:pt x="16" y="10"/>
                  </a:lnTo>
                  <a:lnTo>
                    <a:pt x="11" y="15"/>
                  </a:lnTo>
                  <a:lnTo>
                    <a:pt x="5" y="24"/>
                  </a:lnTo>
                  <a:lnTo>
                    <a:pt x="5" y="19"/>
                  </a:lnTo>
                  <a:lnTo>
                    <a:pt x="8" y="7"/>
                  </a:lnTo>
                  <a:lnTo>
                    <a:pt x="8" y="0"/>
                  </a:lnTo>
                  <a:lnTo>
                    <a:pt x="0" y="13"/>
                  </a:lnTo>
                  <a:lnTo>
                    <a:pt x="2" y="25"/>
                  </a:lnTo>
                  <a:lnTo>
                    <a:pt x="4" y="38"/>
                  </a:lnTo>
                  <a:lnTo>
                    <a:pt x="13" y="54"/>
                  </a:lnTo>
                  <a:lnTo>
                    <a:pt x="7" y="32"/>
                  </a:lnTo>
                  <a:lnTo>
                    <a:pt x="23" y="3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9" name="Freeform 12">
              <a:extLst>
                <a:ext uri="{FF2B5EF4-FFF2-40B4-BE49-F238E27FC236}">
                  <a16:creationId xmlns:a16="http://schemas.microsoft.com/office/drawing/2014/main" id="{A5D15C16-B271-4D69-BE90-196016C2DC3A}"/>
                </a:ext>
              </a:extLst>
            </p:cNvPr>
            <p:cNvSpPr>
              <a:spLocks/>
            </p:cNvSpPr>
            <p:nvPr/>
          </p:nvSpPr>
          <p:spPr bwMode="auto">
            <a:xfrm>
              <a:off x="9295943" y="3925272"/>
              <a:ext cx="87268" cy="30803"/>
            </a:xfrm>
            <a:custGeom>
              <a:avLst/>
              <a:gdLst/>
              <a:ahLst/>
              <a:cxnLst>
                <a:cxn ang="0">
                  <a:pos x="47" y="13"/>
                </a:cxn>
                <a:cxn ang="0">
                  <a:pos x="44" y="16"/>
                </a:cxn>
                <a:cxn ang="0">
                  <a:pos x="25" y="8"/>
                </a:cxn>
                <a:cxn ang="0">
                  <a:pos x="12" y="9"/>
                </a:cxn>
                <a:cxn ang="0">
                  <a:pos x="2" y="6"/>
                </a:cxn>
                <a:cxn ang="0">
                  <a:pos x="0" y="9"/>
                </a:cxn>
                <a:cxn ang="0">
                  <a:pos x="1" y="3"/>
                </a:cxn>
                <a:cxn ang="0">
                  <a:pos x="11" y="0"/>
                </a:cxn>
                <a:cxn ang="0">
                  <a:pos x="25" y="1"/>
                </a:cxn>
                <a:cxn ang="0">
                  <a:pos x="38" y="2"/>
                </a:cxn>
                <a:cxn ang="0">
                  <a:pos x="47" y="13"/>
                </a:cxn>
              </a:cxnLst>
              <a:rect l="0" t="0" r="r" b="b"/>
              <a:pathLst>
                <a:path w="47" h="16">
                  <a:moveTo>
                    <a:pt x="47" y="13"/>
                  </a:moveTo>
                  <a:lnTo>
                    <a:pt x="44" y="16"/>
                  </a:lnTo>
                  <a:lnTo>
                    <a:pt x="25" y="8"/>
                  </a:lnTo>
                  <a:lnTo>
                    <a:pt x="12" y="9"/>
                  </a:lnTo>
                  <a:lnTo>
                    <a:pt x="2" y="6"/>
                  </a:lnTo>
                  <a:lnTo>
                    <a:pt x="0" y="9"/>
                  </a:lnTo>
                  <a:lnTo>
                    <a:pt x="1" y="3"/>
                  </a:lnTo>
                  <a:lnTo>
                    <a:pt x="11" y="0"/>
                  </a:lnTo>
                  <a:lnTo>
                    <a:pt x="25" y="1"/>
                  </a:lnTo>
                  <a:lnTo>
                    <a:pt x="38" y="2"/>
                  </a:lnTo>
                  <a:lnTo>
                    <a:pt x="47"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0" name="Freeform 13">
              <a:extLst>
                <a:ext uri="{FF2B5EF4-FFF2-40B4-BE49-F238E27FC236}">
                  <a16:creationId xmlns:a16="http://schemas.microsoft.com/office/drawing/2014/main" id="{34924874-48D8-4C02-A946-CF99A84F9AD1}"/>
                </a:ext>
              </a:extLst>
            </p:cNvPr>
            <p:cNvSpPr>
              <a:spLocks/>
            </p:cNvSpPr>
            <p:nvPr/>
          </p:nvSpPr>
          <p:spPr bwMode="auto">
            <a:xfrm>
              <a:off x="9040984" y="4108379"/>
              <a:ext cx="99246" cy="18824"/>
            </a:xfrm>
            <a:custGeom>
              <a:avLst/>
              <a:gdLst/>
              <a:ahLst/>
              <a:cxnLst>
                <a:cxn ang="0">
                  <a:pos x="51" y="1"/>
                </a:cxn>
                <a:cxn ang="0">
                  <a:pos x="51" y="0"/>
                </a:cxn>
                <a:cxn ang="0">
                  <a:pos x="48" y="0"/>
                </a:cxn>
                <a:cxn ang="0">
                  <a:pos x="43" y="4"/>
                </a:cxn>
                <a:cxn ang="0">
                  <a:pos x="33" y="4"/>
                </a:cxn>
                <a:cxn ang="0">
                  <a:pos x="21" y="2"/>
                </a:cxn>
                <a:cxn ang="0">
                  <a:pos x="8" y="1"/>
                </a:cxn>
                <a:cxn ang="0">
                  <a:pos x="0" y="8"/>
                </a:cxn>
                <a:cxn ang="0">
                  <a:pos x="7" y="10"/>
                </a:cxn>
                <a:cxn ang="0">
                  <a:pos x="22" y="10"/>
                </a:cxn>
                <a:cxn ang="0">
                  <a:pos x="38" y="9"/>
                </a:cxn>
                <a:cxn ang="0">
                  <a:pos x="51" y="1"/>
                </a:cxn>
              </a:cxnLst>
              <a:rect l="0" t="0" r="r" b="b"/>
              <a:pathLst>
                <a:path w="51" h="10">
                  <a:moveTo>
                    <a:pt x="51" y="1"/>
                  </a:moveTo>
                  <a:lnTo>
                    <a:pt x="51" y="0"/>
                  </a:lnTo>
                  <a:lnTo>
                    <a:pt x="48" y="0"/>
                  </a:lnTo>
                  <a:lnTo>
                    <a:pt x="43" y="4"/>
                  </a:lnTo>
                  <a:lnTo>
                    <a:pt x="33" y="4"/>
                  </a:lnTo>
                  <a:lnTo>
                    <a:pt x="21" y="2"/>
                  </a:lnTo>
                  <a:lnTo>
                    <a:pt x="8" y="1"/>
                  </a:lnTo>
                  <a:lnTo>
                    <a:pt x="0" y="8"/>
                  </a:lnTo>
                  <a:lnTo>
                    <a:pt x="7" y="10"/>
                  </a:lnTo>
                  <a:lnTo>
                    <a:pt x="22" y="10"/>
                  </a:lnTo>
                  <a:lnTo>
                    <a:pt x="38" y="9"/>
                  </a:lnTo>
                  <a:lnTo>
                    <a:pt x="5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1" name="Freeform 14">
              <a:extLst>
                <a:ext uri="{FF2B5EF4-FFF2-40B4-BE49-F238E27FC236}">
                  <a16:creationId xmlns:a16="http://schemas.microsoft.com/office/drawing/2014/main" id="{ECAB0FB7-C490-4F64-B300-D6016B77E136}"/>
                </a:ext>
              </a:extLst>
            </p:cNvPr>
            <p:cNvSpPr>
              <a:spLocks/>
            </p:cNvSpPr>
            <p:nvPr/>
          </p:nvSpPr>
          <p:spPr bwMode="auto">
            <a:xfrm>
              <a:off x="8611490" y="3879067"/>
              <a:ext cx="49623" cy="53050"/>
            </a:xfrm>
            <a:custGeom>
              <a:avLst/>
              <a:gdLst/>
              <a:ahLst/>
              <a:cxnLst>
                <a:cxn ang="0">
                  <a:pos x="26" y="19"/>
                </a:cxn>
                <a:cxn ang="0">
                  <a:pos x="24" y="27"/>
                </a:cxn>
                <a:cxn ang="0">
                  <a:pos x="11" y="19"/>
                </a:cxn>
                <a:cxn ang="0">
                  <a:pos x="6" y="9"/>
                </a:cxn>
                <a:cxn ang="0">
                  <a:pos x="0" y="7"/>
                </a:cxn>
                <a:cxn ang="0">
                  <a:pos x="7" y="1"/>
                </a:cxn>
                <a:cxn ang="0">
                  <a:pos x="11" y="0"/>
                </a:cxn>
                <a:cxn ang="0">
                  <a:pos x="17" y="14"/>
                </a:cxn>
                <a:cxn ang="0">
                  <a:pos x="26" y="19"/>
                </a:cxn>
              </a:cxnLst>
              <a:rect l="0" t="0" r="r" b="b"/>
              <a:pathLst>
                <a:path w="26" h="27">
                  <a:moveTo>
                    <a:pt x="26" y="19"/>
                  </a:moveTo>
                  <a:lnTo>
                    <a:pt x="24" y="27"/>
                  </a:lnTo>
                  <a:lnTo>
                    <a:pt x="11" y="19"/>
                  </a:lnTo>
                  <a:lnTo>
                    <a:pt x="6" y="9"/>
                  </a:lnTo>
                  <a:lnTo>
                    <a:pt x="0" y="7"/>
                  </a:lnTo>
                  <a:lnTo>
                    <a:pt x="7" y="1"/>
                  </a:lnTo>
                  <a:lnTo>
                    <a:pt x="11" y="0"/>
                  </a:lnTo>
                  <a:lnTo>
                    <a:pt x="17" y="14"/>
                  </a:lnTo>
                  <a:lnTo>
                    <a:pt x="26" y="1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2" name="Freeform 15">
              <a:extLst>
                <a:ext uri="{FF2B5EF4-FFF2-40B4-BE49-F238E27FC236}">
                  <a16:creationId xmlns:a16="http://schemas.microsoft.com/office/drawing/2014/main" id="{1B0291CF-23E7-4C44-A300-E33D01449098}"/>
                </a:ext>
              </a:extLst>
            </p:cNvPr>
            <p:cNvSpPr>
              <a:spLocks/>
            </p:cNvSpPr>
            <p:nvPr/>
          </p:nvSpPr>
          <p:spPr bwMode="auto">
            <a:xfrm>
              <a:off x="8950294" y="4103245"/>
              <a:ext cx="71868" cy="30803"/>
            </a:xfrm>
            <a:custGeom>
              <a:avLst/>
              <a:gdLst/>
              <a:ahLst/>
              <a:cxnLst>
                <a:cxn ang="0">
                  <a:pos x="38" y="10"/>
                </a:cxn>
                <a:cxn ang="0">
                  <a:pos x="36" y="5"/>
                </a:cxn>
                <a:cxn ang="0">
                  <a:pos x="31" y="6"/>
                </a:cxn>
                <a:cxn ang="0">
                  <a:pos x="16" y="0"/>
                </a:cxn>
                <a:cxn ang="0">
                  <a:pos x="24" y="10"/>
                </a:cxn>
                <a:cxn ang="0">
                  <a:pos x="15" y="9"/>
                </a:cxn>
                <a:cxn ang="0">
                  <a:pos x="3" y="7"/>
                </a:cxn>
                <a:cxn ang="0">
                  <a:pos x="0" y="17"/>
                </a:cxn>
                <a:cxn ang="0">
                  <a:pos x="13" y="15"/>
                </a:cxn>
                <a:cxn ang="0">
                  <a:pos x="26" y="12"/>
                </a:cxn>
                <a:cxn ang="0">
                  <a:pos x="32" y="13"/>
                </a:cxn>
                <a:cxn ang="0">
                  <a:pos x="31" y="12"/>
                </a:cxn>
                <a:cxn ang="0">
                  <a:pos x="38" y="10"/>
                </a:cxn>
              </a:cxnLst>
              <a:rect l="0" t="0" r="r" b="b"/>
              <a:pathLst>
                <a:path w="38" h="17">
                  <a:moveTo>
                    <a:pt x="38" y="10"/>
                  </a:moveTo>
                  <a:lnTo>
                    <a:pt x="36" y="5"/>
                  </a:lnTo>
                  <a:lnTo>
                    <a:pt x="31" y="6"/>
                  </a:lnTo>
                  <a:lnTo>
                    <a:pt x="16" y="0"/>
                  </a:lnTo>
                  <a:lnTo>
                    <a:pt x="24" y="10"/>
                  </a:lnTo>
                  <a:lnTo>
                    <a:pt x="15" y="9"/>
                  </a:lnTo>
                  <a:lnTo>
                    <a:pt x="3" y="7"/>
                  </a:lnTo>
                  <a:lnTo>
                    <a:pt x="0" y="17"/>
                  </a:lnTo>
                  <a:lnTo>
                    <a:pt x="13" y="15"/>
                  </a:lnTo>
                  <a:lnTo>
                    <a:pt x="26" y="12"/>
                  </a:lnTo>
                  <a:lnTo>
                    <a:pt x="32" y="13"/>
                  </a:lnTo>
                  <a:lnTo>
                    <a:pt x="31" y="12"/>
                  </a:lnTo>
                  <a:lnTo>
                    <a:pt x="38"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3" name="Freeform 16">
              <a:extLst>
                <a:ext uri="{FF2B5EF4-FFF2-40B4-BE49-F238E27FC236}">
                  <a16:creationId xmlns:a16="http://schemas.microsoft.com/office/drawing/2014/main" id="{7B101419-458B-48C2-AEF0-9B57D18295A1}"/>
                </a:ext>
              </a:extLst>
            </p:cNvPr>
            <p:cNvSpPr>
              <a:spLocks/>
            </p:cNvSpPr>
            <p:nvPr/>
          </p:nvSpPr>
          <p:spPr bwMode="auto">
            <a:xfrm>
              <a:off x="9015317" y="4149449"/>
              <a:ext cx="53045" cy="27380"/>
            </a:xfrm>
            <a:custGeom>
              <a:avLst/>
              <a:gdLst/>
              <a:ahLst/>
              <a:cxnLst>
                <a:cxn ang="0">
                  <a:pos x="28" y="12"/>
                </a:cxn>
                <a:cxn ang="0">
                  <a:pos x="17" y="15"/>
                </a:cxn>
                <a:cxn ang="0">
                  <a:pos x="4" y="6"/>
                </a:cxn>
                <a:cxn ang="0">
                  <a:pos x="0" y="0"/>
                </a:cxn>
                <a:cxn ang="0">
                  <a:pos x="17" y="0"/>
                </a:cxn>
                <a:cxn ang="0">
                  <a:pos x="28" y="12"/>
                </a:cxn>
              </a:cxnLst>
              <a:rect l="0" t="0" r="r" b="b"/>
              <a:pathLst>
                <a:path w="28" h="15">
                  <a:moveTo>
                    <a:pt x="28" y="12"/>
                  </a:moveTo>
                  <a:lnTo>
                    <a:pt x="17" y="15"/>
                  </a:lnTo>
                  <a:lnTo>
                    <a:pt x="4" y="6"/>
                  </a:lnTo>
                  <a:lnTo>
                    <a:pt x="0" y="0"/>
                  </a:lnTo>
                  <a:lnTo>
                    <a:pt x="17" y="0"/>
                  </a:lnTo>
                  <a:lnTo>
                    <a:pt x="28"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4" name="Freeform 17">
              <a:extLst>
                <a:ext uri="{FF2B5EF4-FFF2-40B4-BE49-F238E27FC236}">
                  <a16:creationId xmlns:a16="http://schemas.microsoft.com/office/drawing/2014/main" id="{9A9F5C7E-1E68-421C-8AF9-7528FF3AC117}"/>
                </a:ext>
              </a:extLst>
            </p:cNvPr>
            <p:cNvSpPr>
              <a:spLocks/>
            </p:cNvSpPr>
            <p:nvPr/>
          </p:nvSpPr>
          <p:spPr bwMode="auto">
            <a:xfrm>
              <a:off x="9239476" y="3932117"/>
              <a:ext cx="37645" cy="23958"/>
            </a:xfrm>
            <a:custGeom>
              <a:avLst/>
              <a:gdLst/>
              <a:ahLst/>
              <a:cxnLst>
                <a:cxn ang="0">
                  <a:pos x="19" y="6"/>
                </a:cxn>
                <a:cxn ang="0">
                  <a:pos x="12" y="13"/>
                </a:cxn>
                <a:cxn ang="0">
                  <a:pos x="0" y="5"/>
                </a:cxn>
                <a:cxn ang="0">
                  <a:pos x="6" y="0"/>
                </a:cxn>
                <a:cxn ang="0">
                  <a:pos x="19" y="6"/>
                </a:cxn>
              </a:cxnLst>
              <a:rect l="0" t="0" r="r" b="b"/>
              <a:pathLst>
                <a:path w="19" h="13">
                  <a:moveTo>
                    <a:pt x="19" y="6"/>
                  </a:moveTo>
                  <a:lnTo>
                    <a:pt x="12" y="13"/>
                  </a:lnTo>
                  <a:lnTo>
                    <a:pt x="0" y="5"/>
                  </a:lnTo>
                  <a:lnTo>
                    <a:pt x="6" y="0"/>
                  </a:lnTo>
                  <a:lnTo>
                    <a:pt x="19"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5" name="Freeform 18">
              <a:extLst>
                <a:ext uri="{FF2B5EF4-FFF2-40B4-BE49-F238E27FC236}">
                  <a16:creationId xmlns:a16="http://schemas.microsoft.com/office/drawing/2014/main" id="{D40CD850-9A67-42A3-B8B9-6F93F95BD1E5}"/>
                </a:ext>
              </a:extLst>
            </p:cNvPr>
            <p:cNvSpPr>
              <a:spLocks/>
            </p:cNvSpPr>
            <p:nvPr/>
          </p:nvSpPr>
          <p:spPr bwMode="auto">
            <a:xfrm>
              <a:off x="8885271" y="4103245"/>
              <a:ext cx="34223" cy="20535"/>
            </a:xfrm>
            <a:custGeom>
              <a:avLst/>
              <a:gdLst/>
              <a:ahLst/>
              <a:cxnLst>
                <a:cxn ang="0">
                  <a:pos x="18" y="5"/>
                </a:cxn>
                <a:cxn ang="0">
                  <a:pos x="16" y="2"/>
                </a:cxn>
                <a:cxn ang="0">
                  <a:pos x="0" y="0"/>
                </a:cxn>
                <a:cxn ang="0">
                  <a:pos x="8" y="10"/>
                </a:cxn>
                <a:cxn ang="0">
                  <a:pos x="18" y="5"/>
                </a:cxn>
              </a:cxnLst>
              <a:rect l="0" t="0" r="r" b="b"/>
              <a:pathLst>
                <a:path w="18" h="10">
                  <a:moveTo>
                    <a:pt x="18" y="5"/>
                  </a:moveTo>
                  <a:lnTo>
                    <a:pt x="16" y="2"/>
                  </a:lnTo>
                  <a:lnTo>
                    <a:pt x="0" y="0"/>
                  </a:lnTo>
                  <a:lnTo>
                    <a:pt x="8" y="10"/>
                  </a:lnTo>
                  <a:lnTo>
                    <a:pt x="18"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6" name="Freeform 19">
              <a:extLst>
                <a:ext uri="{FF2B5EF4-FFF2-40B4-BE49-F238E27FC236}">
                  <a16:creationId xmlns:a16="http://schemas.microsoft.com/office/drawing/2014/main" id="{6C2105F4-D29C-4F73-9843-728105079ECD}"/>
                </a:ext>
              </a:extLst>
            </p:cNvPr>
            <p:cNvSpPr>
              <a:spLocks/>
            </p:cNvSpPr>
            <p:nvPr/>
          </p:nvSpPr>
          <p:spPr bwMode="auto">
            <a:xfrm>
              <a:off x="8368508" y="3776391"/>
              <a:ext cx="27378" cy="30803"/>
            </a:xfrm>
            <a:custGeom>
              <a:avLst/>
              <a:gdLst/>
              <a:ahLst/>
              <a:cxnLst>
                <a:cxn ang="0">
                  <a:pos x="14" y="9"/>
                </a:cxn>
                <a:cxn ang="0">
                  <a:pos x="12" y="16"/>
                </a:cxn>
                <a:cxn ang="0">
                  <a:pos x="0" y="1"/>
                </a:cxn>
                <a:cxn ang="0">
                  <a:pos x="4" y="0"/>
                </a:cxn>
                <a:cxn ang="0">
                  <a:pos x="14" y="9"/>
                </a:cxn>
              </a:cxnLst>
              <a:rect l="0" t="0" r="r" b="b"/>
              <a:pathLst>
                <a:path w="14" h="16">
                  <a:moveTo>
                    <a:pt x="14" y="9"/>
                  </a:moveTo>
                  <a:lnTo>
                    <a:pt x="12" y="16"/>
                  </a:lnTo>
                  <a:lnTo>
                    <a:pt x="0" y="1"/>
                  </a:lnTo>
                  <a:lnTo>
                    <a:pt x="4" y="0"/>
                  </a:lnTo>
                  <a:lnTo>
                    <a:pt x="14" y="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7" name="Freeform 20">
              <a:extLst>
                <a:ext uri="{FF2B5EF4-FFF2-40B4-BE49-F238E27FC236}">
                  <a16:creationId xmlns:a16="http://schemas.microsoft.com/office/drawing/2014/main" id="{7ACFD748-9F96-4E2F-9C6D-D5898C189F4D}"/>
                </a:ext>
              </a:extLst>
            </p:cNvPr>
            <p:cNvSpPr>
              <a:spLocks/>
            </p:cNvSpPr>
            <p:nvPr/>
          </p:nvSpPr>
          <p:spPr bwMode="auto">
            <a:xfrm>
              <a:off x="8928049" y="4108379"/>
              <a:ext cx="22245" cy="22247"/>
            </a:xfrm>
            <a:custGeom>
              <a:avLst/>
              <a:gdLst/>
              <a:ahLst/>
              <a:cxnLst>
                <a:cxn ang="0">
                  <a:pos x="12" y="3"/>
                </a:cxn>
                <a:cxn ang="0">
                  <a:pos x="8" y="0"/>
                </a:cxn>
                <a:cxn ang="0">
                  <a:pos x="0" y="9"/>
                </a:cxn>
                <a:cxn ang="0">
                  <a:pos x="6" y="12"/>
                </a:cxn>
                <a:cxn ang="0">
                  <a:pos x="12" y="3"/>
                </a:cxn>
              </a:cxnLst>
              <a:rect l="0" t="0" r="r" b="b"/>
              <a:pathLst>
                <a:path w="12" h="12">
                  <a:moveTo>
                    <a:pt x="12" y="3"/>
                  </a:moveTo>
                  <a:lnTo>
                    <a:pt x="8" y="0"/>
                  </a:lnTo>
                  <a:lnTo>
                    <a:pt x="0" y="9"/>
                  </a:lnTo>
                  <a:lnTo>
                    <a:pt x="6" y="12"/>
                  </a:lnTo>
                  <a:lnTo>
                    <a:pt x="12"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8" name="Freeform 21">
              <a:extLst>
                <a:ext uri="{FF2B5EF4-FFF2-40B4-BE49-F238E27FC236}">
                  <a16:creationId xmlns:a16="http://schemas.microsoft.com/office/drawing/2014/main" id="{9A7E844C-4595-444E-9AFF-FA7D4F5D3F2B}"/>
                </a:ext>
              </a:extLst>
            </p:cNvPr>
            <p:cNvSpPr>
              <a:spLocks/>
            </p:cNvSpPr>
            <p:nvPr/>
          </p:nvSpPr>
          <p:spPr bwMode="auto">
            <a:xfrm>
              <a:off x="8683357" y="3913293"/>
              <a:ext cx="23956" cy="23958"/>
            </a:xfrm>
            <a:custGeom>
              <a:avLst/>
              <a:gdLst/>
              <a:ahLst/>
              <a:cxnLst>
                <a:cxn ang="0">
                  <a:pos x="11" y="5"/>
                </a:cxn>
                <a:cxn ang="0">
                  <a:pos x="5" y="9"/>
                </a:cxn>
                <a:cxn ang="0">
                  <a:pos x="0" y="11"/>
                </a:cxn>
                <a:cxn ang="0">
                  <a:pos x="0" y="0"/>
                </a:cxn>
                <a:cxn ang="0">
                  <a:pos x="11" y="5"/>
                </a:cxn>
              </a:cxnLst>
              <a:rect l="0" t="0" r="r" b="b"/>
              <a:pathLst>
                <a:path w="11" h="11">
                  <a:moveTo>
                    <a:pt x="11" y="5"/>
                  </a:moveTo>
                  <a:lnTo>
                    <a:pt x="5" y="9"/>
                  </a:lnTo>
                  <a:lnTo>
                    <a:pt x="0" y="11"/>
                  </a:lnTo>
                  <a:lnTo>
                    <a:pt x="0" y="0"/>
                  </a:lnTo>
                  <a:lnTo>
                    <a:pt x="11"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9" name="Freeform 22">
              <a:extLst>
                <a:ext uri="{FF2B5EF4-FFF2-40B4-BE49-F238E27FC236}">
                  <a16:creationId xmlns:a16="http://schemas.microsoft.com/office/drawing/2014/main" id="{F57C70FB-5DA6-4C66-AC0E-2392EA3704FC}"/>
                </a:ext>
              </a:extLst>
            </p:cNvPr>
            <p:cNvSpPr>
              <a:spLocks/>
            </p:cNvSpPr>
            <p:nvPr/>
          </p:nvSpPr>
          <p:spPr bwMode="auto">
            <a:xfrm>
              <a:off x="9133385" y="3978321"/>
              <a:ext cx="18822" cy="42782"/>
            </a:xfrm>
            <a:custGeom>
              <a:avLst/>
              <a:gdLst/>
              <a:ahLst/>
              <a:cxnLst>
                <a:cxn ang="0">
                  <a:pos x="9" y="15"/>
                </a:cxn>
                <a:cxn ang="0">
                  <a:pos x="7" y="14"/>
                </a:cxn>
                <a:cxn ang="0">
                  <a:pos x="7" y="5"/>
                </a:cxn>
                <a:cxn ang="0">
                  <a:pos x="7" y="0"/>
                </a:cxn>
                <a:cxn ang="0">
                  <a:pos x="0" y="22"/>
                </a:cxn>
                <a:cxn ang="0">
                  <a:pos x="9" y="15"/>
                </a:cxn>
              </a:cxnLst>
              <a:rect l="0" t="0" r="r" b="b"/>
              <a:pathLst>
                <a:path w="9" h="22">
                  <a:moveTo>
                    <a:pt x="9" y="15"/>
                  </a:moveTo>
                  <a:lnTo>
                    <a:pt x="7" y="14"/>
                  </a:lnTo>
                  <a:lnTo>
                    <a:pt x="7" y="5"/>
                  </a:lnTo>
                  <a:lnTo>
                    <a:pt x="7" y="0"/>
                  </a:lnTo>
                  <a:lnTo>
                    <a:pt x="0" y="22"/>
                  </a:lnTo>
                  <a:lnTo>
                    <a:pt x="9" y="1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0" name="Freeform 23">
              <a:extLst>
                <a:ext uri="{FF2B5EF4-FFF2-40B4-BE49-F238E27FC236}">
                  <a16:creationId xmlns:a16="http://schemas.microsoft.com/office/drawing/2014/main" id="{24B5C949-AB2E-442D-842D-A003170A559C}"/>
                </a:ext>
              </a:extLst>
            </p:cNvPr>
            <p:cNvSpPr>
              <a:spLocks/>
            </p:cNvSpPr>
            <p:nvPr/>
          </p:nvSpPr>
          <p:spPr bwMode="auto">
            <a:xfrm>
              <a:off x="9485879" y="4015970"/>
              <a:ext cx="11978" cy="23958"/>
            </a:xfrm>
            <a:custGeom>
              <a:avLst/>
              <a:gdLst/>
              <a:ahLst/>
              <a:cxnLst>
                <a:cxn ang="0">
                  <a:pos x="6" y="10"/>
                </a:cxn>
                <a:cxn ang="0">
                  <a:pos x="6" y="0"/>
                </a:cxn>
                <a:cxn ang="0">
                  <a:pos x="0" y="2"/>
                </a:cxn>
                <a:cxn ang="0">
                  <a:pos x="0" y="13"/>
                </a:cxn>
                <a:cxn ang="0">
                  <a:pos x="6" y="10"/>
                </a:cxn>
              </a:cxnLst>
              <a:rect l="0" t="0" r="r" b="b"/>
              <a:pathLst>
                <a:path w="6" h="13">
                  <a:moveTo>
                    <a:pt x="6" y="10"/>
                  </a:moveTo>
                  <a:lnTo>
                    <a:pt x="6" y="0"/>
                  </a:lnTo>
                  <a:lnTo>
                    <a:pt x="0" y="2"/>
                  </a:lnTo>
                  <a:lnTo>
                    <a:pt x="0" y="13"/>
                  </a:lnTo>
                  <a:lnTo>
                    <a:pt x="6"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1" name="Freeform 24">
              <a:extLst>
                <a:ext uri="{FF2B5EF4-FFF2-40B4-BE49-F238E27FC236}">
                  <a16:creationId xmlns:a16="http://schemas.microsoft.com/office/drawing/2014/main" id="{7A19E08C-65EF-4653-ABCD-D8522B15F32B}"/>
                </a:ext>
              </a:extLst>
            </p:cNvPr>
            <p:cNvSpPr>
              <a:spLocks/>
            </p:cNvSpPr>
            <p:nvPr/>
          </p:nvSpPr>
          <p:spPr bwMode="auto">
            <a:xfrm>
              <a:off x="8418131" y="3856821"/>
              <a:ext cx="15400" cy="27380"/>
            </a:xfrm>
            <a:custGeom>
              <a:avLst/>
              <a:gdLst/>
              <a:ahLst/>
              <a:cxnLst>
                <a:cxn ang="0">
                  <a:pos x="8" y="13"/>
                </a:cxn>
                <a:cxn ang="0">
                  <a:pos x="2" y="13"/>
                </a:cxn>
                <a:cxn ang="0">
                  <a:pos x="0" y="0"/>
                </a:cxn>
                <a:cxn ang="0">
                  <a:pos x="8" y="13"/>
                </a:cxn>
              </a:cxnLst>
              <a:rect l="0" t="0" r="r" b="b"/>
              <a:pathLst>
                <a:path w="8" h="13">
                  <a:moveTo>
                    <a:pt x="8" y="13"/>
                  </a:moveTo>
                  <a:lnTo>
                    <a:pt x="2" y="13"/>
                  </a:lnTo>
                  <a:lnTo>
                    <a:pt x="0" y="0"/>
                  </a:lnTo>
                  <a:lnTo>
                    <a:pt x="8"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2" name="Freeform 25">
              <a:extLst>
                <a:ext uri="{FF2B5EF4-FFF2-40B4-BE49-F238E27FC236}">
                  <a16:creationId xmlns:a16="http://schemas.microsoft.com/office/drawing/2014/main" id="{5256201A-8E4A-4429-9D40-09D194300A07}"/>
                </a:ext>
              </a:extLst>
            </p:cNvPr>
            <p:cNvSpPr>
              <a:spLocks/>
            </p:cNvSpPr>
            <p:nvPr/>
          </p:nvSpPr>
          <p:spPr bwMode="auto">
            <a:xfrm>
              <a:off x="9128252" y="3986878"/>
              <a:ext cx="11978" cy="22247"/>
            </a:xfrm>
            <a:custGeom>
              <a:avLst/>
              <a:gdLst/>
              <a:ahLst/>
              <a:cxnLst>
                <a:cxn ang="0">
                  <a:pos x="6" y="5"/>
                </a:cxn>
                <a:cxn ang="0">
                  <a:pos x="6" y="0"/>
                </a:cxn>
                <a:cxn ang="0">
                  <a:pos x="3" y="1"/>
                </a:cxn>
                <a:cxn ang="0">
                  <a:pos x="0" y="12"/>
                </a:cxn>
                <a:cxn ang="0">
                  <a:pos x="6" y="5"/>
                </a:cxn>
              </a:cxnLst>
              <a:rect l="0" t="0" r="r" b="b"/>
              <a:pathLst>
                <a:path w="6" h="12">
                  <a:moveTo>
                    <a:pt x="6" y="5"/>
                  </a:moveTo>
                  <a:lnTo>
                    <a:pt x="6" y="0"/>
                  </a:lnTo>
                  <a:lnTo>
                    <a:pt x="3" y="1"/>
                  </a:lnTo>
                  <a:lnTo>
                    <a:pt x="0" y="12"/>
                  </a:lnTo>
                  <a:lnTo>
                    <a:pt x="6"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3" name="Freeform 26">
              <a:extLst>
                <a:ext uri="{FF2B5EF4-FFF2-40B4-BE49-F238E27FC236}">
                  <a16:creationId xmlns:a16="http://schemas.microsoft.com/office/drawing/2014/main" id="{FA688E50-965E-4C69-AE1B-99B267DAE9CE}"/>
                </a:ext>
              </a:extLst>
            </p:cNvPr>
            <p:cNvSpPr>
              <a:spLocks/>
            </p:cNvSpPr>
            <p:nvPr/>
          </p:nvSpPr>
          <p:spPr bwMode="auto">
            <a:xfrm>
              <a:off x="9189853" y="3884201"/>
              <a:ext cx="30800" cy="6845"/>
            </a:xfrm>
            <a:custGeom>
              <a:avLst/>
              <a:gdLst/>
              <a:ahLst/>
              <a:cxnLst>
                <a:cxn ang="0">
                  <a:pos x="15" y="4"/>
                </a:cxn>
                <a:cxn ang="0">
                  <a:pos x="7" y="0"/>
                </a:cxn>
                <a:cxn ang="0">
                  <a:pos x="0" y="4"/>
                </a:cxn>
                <a:cxn ang="0">
                  <a:pos x="15" y="4"/>
                </a:cxn>
              </a:cxnLst>
              <a:rect l="0" t="0" r="r" b="b"/>
              <a:pathLst>
                <a:path w="15" h="4">
                  <a:moveTo>
                    <a:pt x="15" y="4"/>
                  </a:moveTo>
                  <a:lnTo>
                    <a:pt x="7" y="0"/>
                  </a:lnTo>
                  <a:lnTo>
                    <a:pt x="0" y="4"/>
                  </a:lnTo>
                  <a:lnTo>
                    <a:pt x="15"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4" name="Freeform 27">
              <a:extLst>
                <a:ext uri="{FF2B5EF4-FFF2-40B4-BE49-F238E27FC236}">
                  <a16:creationId xmlns:a16="http://schemas.microsoft.com/office/drawing/2014/main" id="{818D9940-C291-4A5F-95A1-B0AFC6CB7C91}"/>
                </a:ext>
              </a:extLst>
            </p:cNvPr>
            <p:cNvSpPr>
              <a:spLocks/>
            </p:cNvSpPr>
            <p:nvPr/>
          </p:nvSpPr>
          <p:spPr bwMode="auto">
            <a:xfrm>
              <a:off x="9475612" y="4039927"/>
              <a:ext cx="10267" cy="22247"/>
            </a:xfrm>
            <a:custGeom>
              <a:avLst/>
              <a:gdLst/>
              <a:ahLst/>
              <a:cxnLst>
                <a:cxn ang="0">
                  <a:pos x="6" y="6"/>
                </a:cxn>
                <a:cxn ang="0">
                  <a:pos x="1" y="11"/>
                </a:cxn>
                <a:cxn ang="0">
                  <a:pos x="0" y="0"/>
                </a:cxn>
                <a:cxn ang="0">
                  <a:pos x="6" y="6"/>
                </a:cxn>
              </a:cxnLst>
              <a:rect l="0" t="0" r="r" b="b"/>
              <a:pathLst>
                <a:path w="6" h="11">
                  <a:moveTo>
                    <a:pt x="6" y="6"/>
                  </a:moveTo>
                  <a:lnTo>
                    <a:pt x="1" y="11"/>
                  </a:lnTo>
                  <a:lnTo>
                    <a:pt x="0" y="0"/>
                  </a:lnTo>
                  <a:lnTo>
                    <a:pt x="6"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5" name="Freeform 28">
              <a:extLst>
                <a:ext uri="{FF2B5EF4-FFF2-40B4-BE49-F238E27FC236}">
                  <a16:creationId xmlns:a16="http://schemas.microsoft.com/office/drawing/2014/main" id="{2BDD25F2-B00C-406B-A3D1-69DF41D8D4FC}"/>
                </a:ext>
              </a:extLst>
            </p:cNvPr>
            <p:cNvSpPr>
              <a:spLocks/>
            </p:cNvSpPr>
            <p:nvPr/>
          </p:nvSpPr>
          <p:spPr bwMode="auto">
            <a:xfrm>
              <a:off x="8832226" y="4065597"/>
              <a:ext cx="42778" cy="3423"/>
            </a:xfrm>
            <a:custGeom>
              <a:avLst/>
              <a:gdLst/>
              <a:ahLst/>
              <a:cxnLst>
                <a:cxn ang="0">
                  <a:pos x="22" y="0"/>
                </a:cxn>
                <a:cxn ang="0">
                  <a:pos x="6" y="2"/>
                </a:cxn>
                <a:cxn ang="0">
                  <a:pos x="0" y="0"/>
                </a:cxn>
                <a:cxn ang="0">
                  <a:pos x="22" y="0"/>
                </a:cxn>
              </a:cxnLst>
              <a:rect l="0" t="0" r="r" b="b"/>
              <a:pathLst>
                <a:path w="22" h="2">
                  <a:moveTo>
                    <a:pt x="22" y="0"/>
                  </a:moveTo>
                  <a:lnTo>
                    <a:pt x="6" y="2"/>
                  </a:lnTo>
                  <a:lnTo>
                    <a:pt x="0" y="0"/>
                  </a:lnTo>
                  <a:lnTo>
                    <a:pt x="2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6" name="Freeform 29">
              <a:extLst>
                <a:ext uri="{FF2B5EF4-FFF2-40B4-BE49-F238E27FC236}">
                  <a16:creationId xmlns:a16="http://schemas.microsoft.com/office/drawing/2014/main" id="{3557264B-9BF1-4774-8678-DF73DA861557}"/>
                </a:ext>
              </a:extLst>
            </p:cNvPr>
            <p:cNvSpPr>
              <a:spLocks/>
            </p:cNvSpPr>
            <p:nvPr/>
          </p:nvSpPr>
          <p:spPr bwMode="auto">
            <a:xfrm>
              <a:off x="8878426" y="3658312"/>
              <a:ext cx="25667" cy="27380"/>
            </a:xfrm>
            <a:custGeom>
              <a:avLst/>
              <a:gdLst/>
              <a:ahLst/>
              <a:cxnLst>
                <a:cxn ang="0">
                  <a:pos x="9" y="16"/>
                </a:cxn>
                <a:cxn ang="0">
                  <a:pos x="0" y="6"/>
                </a:cxn>
                <a:cxn ang="0">
                  <a:pos x="15" y="0"/>
                </a:cxn>
                <a:cxn ang="0">
                  <a:pos x="15" y="1"/>
                </a:cxn>
                <a:cxn ang="0">
                  <a:pos x="12" y="10"/>
                </a:cxn>
                <a:cxn ang="0">
                  <a:pos x="9" y="16"/>
                </a:cxn>
              </a:cxnLst>
              <a:rect l="0" t="0" r="r" b="b"/>
              <a:pathLst>
                <a:path w="15" h="16">
                  <a:moveTo>
                    <a:pt x="9" y="16"/>
                  </a:moveTo>
                  <a:lnTo>
                    <a:pt x="0" y="6"/>
                  </a:lnTo>
                  <a:lnTo>
                    <a:pt x="15" y="0"/>
                  </a:lnTo>
                  <a:lnTo>
                    <a:pt x="15" y="1"/>
                  </a:lnTo>
                  <a:lnTo>
                    <a:pt x="12" y="10"/>
                  </a:lnTo>
                  <a:lnTo>
                    <a:pt x="9" y="1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7" name="Freeform 30">
              <a:extLst>
                <a:ext uri="{FF2B5EF4-FFF2-40B4-BE49-F238E27FC236}">
                  <a16:creationId xmlns:a16="http://schemas.microsoft.com/office/drawing/2014/main" id="{FC73D073-309E-47A6-9860-205279E8DD67}"/>
                </a:ext>
              </a:extLst>
            </p:cNvPr>
            <p:cNvSpPr>
              <a:spLocks/>
            </p:cNvSpPr>
            <p:nvPr/>
          </p:nvSpPr>
          <p:spPr bwMode="auto">
            <a:xfrm>
              <a:off x="8744958" y="3589861"/>
              <a:ext cx="289182" cy="205353"/>
            </a:xfrm>
            <a:custGeom>
              <a:avLst/>
              <a:gdLst/>
              <a:ahLst/>
              <a:cxnLst>
                <a:cxn ang="0">
                  <a:pos x="113" y="0"/>
                </a:cxn>
                <a:cxn ang="0">
                  <a:pos x="122" y="7"/>
                </a:cxn>
                <a:cxn ang="0">
                  <a:pos x="122" y="19"/>
                </a:cxn>
                <a:cxn ang="0">
                  <a:pos x="129" y="16"/>
                </a:cxn>
                <a:cxn ang="0">
                  <a:pos x="129" y="21"/>
                </a:cxn>
                <a:cxn ang="0">
                  <a:pos x="132" y="22"/>
                </a:cxn>
                <a:cxn ang="0">
                  <a:pos x="151" y="30"/>
                </a:cxn>
                <a:cxn ang="0">
                  <a:pos x="134" y="35"/>
                </a:cxn>
                <a:cxn ang="0">
                  <a:pos x="139" y="45"/>
                </a:cxn>
                <a:cxn ang="0">
                  <a:pos x="128" y="47"/>
                </a:cxn>
                <a:cxn ang="0">
                  <a:pos x="125" y="51"/>
                </a:cxn>
                <a:cxn ang="0">
                  <a:pos x="111" y="48"/>
                </a:cxn>
                <a:cxn ang="0">
                  <a:pos x="97" y="47"/>
                </a:cxn>
                <a:cxn ang="0">
                  <a:pos x="93" y="59"/>
                </a:cxn>
                <a:cxn ang="0">
                  <a:pos x="90" y="72"/>
                </a:cxn>
                <a:cxn ang="0">
                  <a:pos x="86" y="81"/>
                </a:cxn>
                <a:cxn ang="0">
                  <a:pos x="79" y="96"/>
                </a:cxn>
                <a:cxn ang="0">
                  <a:pos x="66" y="102"/>
                </a:cxn>
                <a:cxn ang="0">
                  <a:pos x="45" y="97"/>
                </a:cxn>
                <a:cxn ang="0">
                  <a:pos x="39" y="105"/>
                </a:cxn>
                <a:cxn ang="0">
                  <a:pos x="19" y="109"/>
                </a:cxn>
                <a:cxn ang="0">
                  <a:pos x="3" y="100"/>
                </a:cxn>
                <a:cxn ang="0">
                  <a:pos x="0" y="88"/>
                </a:cxn>
                <a:cxn ang="0">
                  <a:pos x="1" y="89"/>
                </a:cxn>
                <a:cxn ang="0">
                  <a:pos x="13" y="96"/>
                </a:cxn>
                <a:cxn ang="0">
                  <a:pos x="25" y="100"/>
                </a:cxn>
                <a:cxn ang="0">
                  <a:pos x="23" y="99"/>
                </a:cxn>
                <a:cxn ang="0">
                  <a:pos x="25" y="95"/>
                </a:cxn>
                <a:cxn ang="0">
                  <a:pos x="26" y="87"/>
                </a:cxn>
                <a:cxn ang="0">
                  <a:pos x="26" y="83"/>
                </a:cxn>
                <a:cxn ang="0">
                  <a:pos x="29" y="77"/>
                </a:cxn>
                <a:cxn ang="0">
                  <a:pos x="39" y="73"/>
                </a:cxn>
                <a:cxn ang="0">
                  <a:pos x="50" y="70"/>
                </a:cxn>
                <a:cxn ang="0">
                  <a:pos x="60" y="57"/>
                </a:cxn>
                <a:cxn ang="0">
                  <a:pos x="69" y="42"/>
                </a:cxn>
                <a:cxn ang="0">
                  <a:pos x="78" y="52"/>
                </a:cxn>
                <a:cxn ang="0">
                  <a:pos x="81" y="46"/>
                </a:cxn>
                <a:cxn ang="0">
                  <a:pos x="84" y="37"/>
                </a:cxn>
                <a:cxn ang="0">
                  <a:pos x="87" y="47"/>
                </a:cxn>
                <a:cxn ang="0">
                  <a:pos x="87" y="40"/>
                </a:cxn>
                <a:cxn ang="0">
                  <a:pos x="91" y="35"/>
                </a:cxn>
                <a:cxn ang="0">
                  <a:pos x="90" y="30"/>
                </a:cxn>
                <a:cxn ang="0">
                  <a:pos x="93" y="25"/>
                </a:cxn>
                <a:cxn ang="0">
                  <a:pos x="101" y="13"/>
                </a:cxn>
                <a:cxn ang="0">
                  <a:pos x="108" y="0"/>
                </a:cxn>
                <a:cxn ang="0">
                  <a:pos x="109" y="5"/>
                </a:cxn>
                <a:cxn ang="0">
                  <a:pos x="113" y="0"/>
                </a:cxn>
              </a:cxnLst>
              <a:rect l="0" t="0" r="r" b="b"/>
              <a:pathLst>
                <a:path w="151" h="109">
                  <a:moveTo>
                    <a:pt x="113" y="0"/>
                  </a:moveTo>
                  <a:lnTo>
                    <a:pt x="122" y="7"/>
                  </a:lnTo>
                  <a:lnTo>
                    <a:pt x="122" y="19"/>
                  </a:lnTo>
                  <a:lnTo>
                    <a:pt x="129" y="16"/>
                  </a:lnTo>
                  <a:lnTo>
                    <a:pt x="129" y="21"/>
                  </a:lnTo>
                  <a:lnTo>
                    <a:pt x="132" y="22"/>
                  </a:lnTo>
                  <a:lnTo>
                    <a:pt x="151" y="30"/>
                  </a:lnTo>
                  <a:lnTo>
                    <a:pt x="134" y="35"/>
                  </a:lnTo>
                  <a:lnTo>
                    <a:pt x="139" y="45"/>
                  </a:lnTo>
                  <a:lnTo>
                    <a:pt x="128" y="47"/>
                  </a:lnTo>
                  <a:lnTo>
                    <a:pt x="125" y="51"/>
                  </a:lnTo>
                  <a:lnTo>
                    <a:pt x="111" y="48"/>
                  </a:lnTo>
                  <a:lnTo>
                    <a:pt x="97" y="47"/>
                  </a:lnTo>
                  <a:lnTo>
                    <a:pt x="93" y="59"/>
                  </a:lnTo>
                  <a:lnTo>
                    <a:pt x="90" y="72"/>
                  </a:lnTo>
                  <a:lnTo>
                    <a:pt x="86" y="81"/>
                  </a:lnTo>
                  <a:lnTo>
                    <a:pt x="79" y="96"/>
                  </a:lnTo>
                  <a:lnTo>
                    <a:pt x="66" y="102"/>
                  </a:lnTo>
                  <a:lnTo>
                    <a:pt x="45" y="97"/>
                  </a:lnTo>
                  <a:lnTo>
                    <a:pt x="39" y="105"/>
                  </a:lnTo>
                  <a:lnTo>
                    <a:pt x="19" y="109"/>
                  </a:lnTo>
                  <a:lnTo>
                    <a:pt x="3" y="100"/>
                  </a:lnTo>
                  <a:lnTo>
                    <a:pt x="0" y="88"/>
                  </a:lnTo>
                  <a:lnTo>
                    <a:pt x="1" y="89"/>
                  </a:lnTo>
                  <a:lnTo>
                    <a:pt x="13" y="96"/>
                  </a:lnTo>
                  <a:lnTo>
                    <a:pt x="25" y="100"/>
                  </a:lnTo>
                  <a:lnTo>
                    <a:pt x="23" y="99"/>
                  </a:lnTo>
                  <a:lnTo>
                    <a:pt x="25" y="95"/>
                  </a:lnTo>
                  <a:lnTo>
                    <a:pt x="26" y="87"/>
                  </a:lnTo>
                  <a:lnTo>
                    <a:pt x="26" y="83"/>
                  </a:lnTo>
                  <a:lnTo>
                    <a:pt x="29" y="77"/>
                  </a:lnTo>
                  <a:lnTo>
                    <a:pt x="39" y="73"/>
                  </a:lnTo>
                  <a:lnTo>
                    <a:pt x="50" y="70"/>
                  </a:lnTo>
                  <a:lnTo>
                    <a:pt x="60" y="57"/>
                  </a:lnTo>
                  <a:lnTo>
                    <a:pt x="69" y="42"/>
                  </a:lnTo>
                  <a:lnTo>
                    <a:pt x="78" y="52"/>
                  </a:lnTo>
                  <a:lnTo>
                    <a:pt x="81" y="46"/>
                  </a:lnTo>
                  <a:lnTo>
                    <a:pt x="84" y="37"/>
                  </a:lnTo>
                  <a:lnTo>
                    <a:pt x="87" y="47"/>
                  </a:lnTo>
                  <a:lnTo>
                    <a:pt x="87" y="40"/>
                  </a:lnTo>
                  <a:lnTo>
                    <a:pt x="91" y="35"/>
                  </a:lnTo>
                  <a:lnTo>
                    <a:pt x="90" y="30"/>
                  </a:lnTo>
                  <a:lnTo>
                    <a:pt x="93" y="25"/>
                  </a:lnTo>
                  <a:lnTo>
                    <a:pt x="101" y="13"/>
                  </a:lnTo>
                  <a:lnTo>
                    <a:pt x="108" y="0"/>
                  </a:lnTo>
                  <a:lnTo>
                    <a:pt x="109" y="5"/>
                  </a:lnTo>
                  <a:lnTo>
                    <a:pt x="11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8" name="Freeform 31">
              <a:extLst>
                <a:ext uri="{FF2B5EF4-FFF2-40B4-BE49-F238E27FC236}">
                  <a16:creationId xmlns:a16="http://schemas.microsoft.com/office/drawing/2014/main" id="{3C747971-255E-429D-85E8-5624BAC99BC4}"/>
                </a:ext>
              </a:extLst>
            </p:cNvPr>
            <p:cNvSpPr>
              <a:spLocks/>
            </p:cNvSpPr>
            <p:nvPr/>
          </p:nvSpPr>
          <p:spPr bwMode="auto">
            <a:xfrm>
              <a:off x="8455776" y="3601840"/>
              <a:ext cx="130046" cy="174550"/>
            </a:xfrm>
            <a:custGeom>
              <a:avLst/>
              <a:gdLst/>
              <a:ahLst/>
              <a:cxnLst>
                <a:cxn ang="0">
                  <a:pos x="59" y="93"/>
                </a:cxn>
                <a:cxn ang="0">
                  <a:pos x="40" y="80"/>
                </a:cxn>
                <a:cxn ang="0">
                  <a:pos x="21" y="66"/>
                </a:cxn>
                <a:cxn ang="0">
                  <a:pos x="12" y="46"/>
                </a:cxn>
                <a:cxn ang="0">
                  <a:pos x="6" y="24"/>
                </a:cxn>
                <a:cxn ang="0">
                  <a:pos x="0" y="3"/>
                </a:cxn>
                <a:cxn ang="0">
                  <a:pos x="1" y="0"/>
                </a:cxn>
                <a:cxn ang="0">
                  <a:pos x="13" y="6"/>
                </a:cxn>
                <a:cxn ang="0">
                  <a:pos x="15" y="14"/>
                </a:cxn>
                <a:cxn ang="0">
                  <a:pos x="25" y="14"/>
                </a:cxn>
                <a:cxn ang="0">
                  <a:pos x="31" y="6"/>
                </a:cxn>
                <a:cxn ang="0">
                  <a:pos x="41" y="16"/>
                </a:cxn>
                <a:cxn ang="0">
                  <a:pos x="52" y="27"/>
                </a:cxn>
                <a:cxn ang="0">
                  <a:pos x="53" y="44"/>
                </a:cxn>
                <a:cxn ang="0">
                  <a:pos x="55" y="60"/>
                </a:cxn>
                <a:cxn ang="0">
                  <a:pos x="63" y="76"/>
                </a:cxn>
                <a:cxn ang="0">
                  <a:pos x="70" y="92"/>
                </a:cxn>
                <a:cxn ang="0">
                  <a:pos x="64" y="89"/>
                </a:cxn>
                <a:cxn ang="0">
                  <a:pos x="59" y="93"/>
                </a:cxn>
              </a:cxnLst>
              <a:rect l="0" t="0" r="r" b="b"/>
              <a:pathLst>
                <a:path w="70" h="93">
                  <a:moveTo>
                    <a:pt x="59" y="93"/>
                  </a:moveTo>
                  <a:lnTo>
                    <a:pt x="40" y="80"/>
                  </a:lnTo>
                  <a:lnTo>
                    <a:pt x="21" y="66"/>
                  </a:lnTo>
                  <a:lnTo>
                    <a:pt x="12" y="46"/>
                  </a:lnTo>
                  <a:lnTo>
                    <a:pt x="6" y="24"/>
                  </a:lnTo>
                  <a:lnTo>
                    <a:pt x="0" y="3"/>
                  </a:lnTo>
                  <a:lnTo>
                    <a:pt x="1" y="0"/>
                  </a:lnTo>
                  <a:lnTo>
                    <a:pt x="13" y="6"/>
                  </a:lnTo>
                  <a:lnTo>
                    <a:pt x="15" y="14"/>
                  </a:lnTo>
                  <a:lnTo>
                    <a:pt x="25" y="14"/>
                  </a:lnTo>
                  <a:lnTo>
                    <a:pt x="31" y="6"/>
                  </a:lnTo>
                  <a:lnTo>
                    <a:pt x="41" y="16"/>
                  </a:lnTo>
                  <a:lnTo>
                    <a:pt x="52" y="27"/>
                  </a:lnTo>
                  <a:lnTo>
                    <a:pt x="53" y="44"/>
                  </a:lnTo>
                  <a:lnTo>
                    <a:pt x="55" y="60"/>
                  </a:lnTo>
                  <a:lnTo>
                    <a:pt x="63" y="76"/>
                  </a:lnTo>
                  <a:lnTo>
                    <a:pt x="70" y="92"/>
                  </a:lnTo>
                  <a:lnTo>
                    <a:pt x="64" y="89"/>
                  </a:lnTo>
                  <a:lnTo>
                    <a:pt x="59" y="9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9" name="Freeform 32">
              <a:extLst>
                <a:ext uri="{FF2B5EF4-FFF2-40B4-BE49-F238E27FC236}">
                  <a16:creationId xmlns:a16="http://schemas.microsoft.com/office/drawing/2014/main" id="{63C0AE04-1116-4A3B-ABC0-08355ACCC278}"/>
                </a:ext>
              </a:extLst>
            </p:cNvPr>
            <p:cNvSpPr>
              <a:spLocks/>
            </p:cNvSpPr>
            <p:nvPr/>
          </p:nvSpPr>
          <p:spPr bwMode="auto">
            <a:xfrm>
              <a:off x="10474914" y="3841419"/>
              <a:ext cx="3422" cy="3423"/>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0" name="Freeform 33">
              <a:extLst>
                <a:ext uri="{FF2B5EF4-FFF2-40B4-BE49-F238E27FC236}">
                  <a16:creationId xmlns:a16="http://schemas.microsoft.com/office/drawing/2014/main" id="{15621A22-B9BA-46AE-B424-E7DE00A75686}"/>
                </a:ext>
              </a:extLst>
            </p:cNvPr>
            <p:cNvSpPr>
              <a:spLocks/>
            </p:cNvSpPr>
            <p:nvPr/>
          </p:nvSpPr>
          <p:spPr bwMode="auto">
            <a:xfrm>
              <a:off x="9675815" y="3913293"/>
              <a:ext cx="292604" cy="273805"/>
            </a:xfrm>
            <a:custGeom>
              <a:avLst/>
              <a:gdLst/>
              <a:ahLst/>
              <a:cxnLst>
                <a:cxn ang="0">
                  <a:pos x="154" y="137"/>
                </a:cxn>
                <a:cxn ang="0">
                  <a:pos x="148" y="140"/>
                </a:cxn>
                <a:cxn ang="0">
                  <a:pos x="148" y="144"/>
                </a:cxn>
                <a:cxn ang="0">
                  <a:pos x="140" y="141"/>
                </a:cxn>
                <a:cxn ang="0">
                  <a:pos x="124" y="139"/>
                </a:cxn>
                <a:cxn ang="0">
                  <a:pos x="110" y="135"/>
                </a:cxn>
                <a:cxn ang="0">
                  <a:pos x="101" y="126"/>
                </a:cxn>
                <a:cxn ang="0">
                  <a:pos x="93" y="117"/>
                </a:cxn>
                <a:cxn ang="0">
                  <a:pos x="84" y="107"/>
                </a:cxn>
                <a:cxn ang="0">
                  <a:pos x="77" y="96"/>
                </a:cxn>
                <a:cxn ang="0">
                  <a:pos x="57" y="89"/>
                </a:cxn>
                <a:cxn ang="0">
                  <a:pos x="56" y="92"/>
                </a:cxn>
                <a:cxn ang="0">
                  <a:pos x="46" y="89"/>
                </a:cxn>
                <a:cxn ang="0">
                  <a:pos x="47" y="97"/>
                </a:cxn>
                <a:cxn ang="0">
                  <a:pos x="41" y="97"/>
                </a:cxn>
                <a:cxn ang="0">
                  <a:pos x="42" y="101"/>
                </a:cxn>
                <a:cxn ang="0">
                  <a:pos x="21" y="101"/>
                </a:cxn>
                <a:cxn ang="0">
                  <a:pos x="39" y="110"/>
                </a:cxn>
                <a:cxn ang="0">
                  <a:pos x="30" y="117"/>
                </a:cxn>
                <a:cxn ang="0">
                  <a:pos x="16" y="117"/>
                </a:cxn>
                <a:cxn ang="0">
                  <a:pos x="0" y="117"/>
                </a:cxn>
                <a:cxn ang="0">
                  <a:pos x="2" y="102"/>
                </a:cxn>
                <a:cxn ang="0">
                  <a:pos x="3" y="87"/>
                </a:cxn>
                <a:cxn ang="0">
                  <a:pos x="4" y="73"/>
                </a:cxn>
                <a:cxn ang="0">
                  <a:pos x="5" y="59"/>
                </a:cxn>
                <a:cxn ang="0">
                  <a:pos x="6" y="44"/>
                </a:cxn>
                <a:cxn ang="0">
                  <a:pos x="6" y="29"/>
                </a:cxn>
                <a:cxn ang="0">
                  <a:pos x="8" y="14"/>
                </a:cxn>
                <a:cxn ang="0">
                  <a:pos x="8" y="0"/>
                </a:cxn>
                <a:cxn ang="0">
                  <a:pos x="23" y="7"/>
                </a:cxn>
                <a:cxn ang="0">
                  <a:pos x="38" y="13"/>
                </a:cxn>
                <a:cxn ang="0">
                  <a:pos x="53" y="20"/>
                </a:cxn>
                <a:cxn ang="0">
                  <a:pos x="69" y="27"/>
                </a:cxn>
                <a:cxn ang="0">
                  <a:pos x="82" y="44"/>
                </a:cxn>
                <a:cxn ang="0">
                  <a:pos x="83" y="53"/>
                </a:cxn>
                <a:cxn ang="0">
                  <a:pos x="96" y="59"/>
                </a:cxn>
                <a:cxn ang="0">
                  <a:pos x="111" y="65"/>
                </a:cxn>
                <a:cxn ang="0">
                  <a:pos x="112" y="74"/>
                </a:cxn>
                <a:cxn ang="0">
                  <a:pos x="98" y="75"/>
                </a:cxn>
                <a:cxn ang="0">
                  <a:pos x="105" y="91"/>
                </a:cxn>
                <a:cxn ang="0">
                  <a:pos x="116" y="101"/>
                </a:cxn>
                <a:cxn ang="0">
                  <a:pos x="123" y="116"/>
                </a:cxn>
                <a:cxn ang="0">
                  <a:pos x="132" y="117"/>
                </a:cxn>
                <a:cxn ang="0">
                  <a:pos x="131" y="123"/>
                </a:cxn>
                <a:cxn ang="0">
                  <a:pos x="140" y="128"/>
                </a:cxn>
                <a:cxn ang="0">
                  <a:pos x="138" y="132"/>
                </a:cxn>
                <a:cxn ang="0">
                  <a:pos x="154" y="137"/>
                </a:cxn>
              </a:cxnLst>
              <a:rect l="0" t="0" r="r" b="b"/>
              <a:pathLst>
                <a:path w="154" h="144">
                  <a:moveTo>
                    <a:pt x="154" y="137"/>
                  </a:moveTo>
                  <a:lnTo>
                    <a:pt x="148" y="140"/>
                  </a:lnTo>
                  <a:lnTo>
                    <a:pt x="148" y="144"/>
                  </a:lnTo>
                  <a:lnTo>
                    <a:pt x="140" y="141"/>
                  </a:lnTo>
                  <a:lnTo>
                    <a:pt x="124" y="139"/>
                  </a:lnTo>
                  <a:lnTo>
                    <a:pt x="110" y="135"/>
                  </a:lnTo>
                  <a:lnTo>
                    <a:pt x="101" y="126"/>
                  </a:lnTo>
                  <a:lnTo>
                    <a:pt x="93" y="117"/>
                  </a:lnTo>
                  <a:lnTo>
                    <a:pt x="84" y="107"/>
                  </a:lnTo>
                  <a:lnTo>
                    <a:pt x="77" y="96"/>
                  </a:lnTo>
                  <a:lnTo>
                    <a:pt x="57" y="89"/>
                  </a:lnTo>
                  <a:lnTo>
                    <a:pt x="56" y="92"/>
                  </a:lnTo>
                  <a:lnTo>
                    <a:pt x="46" y="89"/>
                  </a:lnTo>
                  <a:lnTo>
                    <a:pt x="47" y="97"/>
                  </a:lnTo>
                  <a:lnTo>
                    <a:pt x="41" y="97"/>
                  </a:lnTo>
                  <a:lnTo>
                    <a:pt x="42" y="101"/>
                  </a:lnTo>
                  <a:lnTo>
                    <a:pt x="21" y="101"/>
                  </a:lnTo>
                  <a:lnTo>
                    <a:pt x="39" y="110"/>
                  </a:lnTo>
                  <a:lnTo>
                    <a:pt x="30" y="117"/>
                  </a:lnTo>
                  <a:lnTo>
                    <a:pt x="16" y="117"/>
                  </a:lnTo>
                  <a:lnTo>
                    <a:pt x="0" y="117"/>
                  </a:lnTo>
                  <a:lnTo>
                    <a:pt x="2" y="102"/>
                  </a:lnTo>
                  <a:lnTo>
                    <a:pt x="3" y="87"/>
                  </a:lnTo>
                  <a:lnTo>
                    <a:pt x="4" y="73"/>
                  </a:lnTo>
                  <a:lnTo>
                    <a:pt x="5" y="59"/>
                  </a:lnTo>
                  <a:lnTo>
                    <a:pt x="6" y="44"/>
                  </a:lnTo>
                  <a:lnTo>
                    <a:pt x="6" y="29"/>
                  </a:lnTo>
                  <a:lnTo>
                    <a:pt x="8" y="14"/>
                  </a:lnTo>
                  <a:lnTo>
                    <a:pt x="8" y="0"/>
                  </a:lnTo>
                  <a:lnTo>
                    <a:pt x="23" y="7"/>
                  </a:lnTo>
                  <a:lnTo>
                    <a:pt x="38" y="13"/>
                  </a:lnTo>
                  <a:lnTo>
                    <a:pt x="53" y="20"/>
                  </a:lnTo>
                  <a:lnTo>
                    <a:pt x="69" y="27"/>
                  </a:lnTo>
                  <a:lnTo>
                    <a:pt x="82" y="44"/>
                  </a:lnTo>
                  <a:lnTo>
                    <a:pt x="83" y="53"/>
                  </a:lnTo>
                  <a:lnTo>
                    <a:pt x="96" y="59"/>
                  </a:lnTo>
                  <a:lnTo>
                    <a:pt x="111" y="65"/>
                  </a:lnTo>
                  <a:lnTo>
                    <a:pt x="112" y="74"/>
                  </a:lnTo>
                  <a:lnTo>
                    <a:pt x="98" y="75"/>
                  </a:lnTo>
                  <a:lnTo>
                    <a:pt x="105" y="91"/>
                  </a:lnTo>
                  <a:lnTo>
                    <a:pt x="116" y="101"/>
                  </a:lnTo>
                  <a:lnTo>
                    <a:pt x="123" y="116"/>
                  </a:lnTo>
                  <a:lnTo>
                    <a:pt x="132" y="117"/>
                  </a:lnTo>
                  <a:lnTo>
                    <a:pt x="131" y="123"/>
                  </a:lnTo>
                  <a:lnTo>
                    <a:pt x="140" y="128"/>
                  </a:lnTo>
                  <a:lnTo>
                    <a:pt x="138" y="132"/>
                  </a:lnTo>
                  <a:lnTo>
                    <a:pt x="154" y="13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1" name="Freeform 34">
              <a:extLst>
                <a:ext uri="{FF2B5EF4-FFF2-40B4-BE49-F238E27FC236}">
                  <a16:creationId xmlns:a16="http://schemas.microsoft.com/office/drawing/2014/main" id="{2171BF3F-A92F-40C1-888E-227B93093503}"/>
                </a:ext>
              </a:extLst>
            </p:cNvPr>
            <p:cNvSpPr>
              <a:spLocks/>
            </p:cNvSpPr>
            <p:nvPr/>
          </p:nvSpPr>
          <p:spPr bwMode="auto">
            <a:xfrm>
              <a:off x="9908529" y="3971476"/>
              <a:ext cx="124913" cy="68451"/>
            </a:xfrm>
            <a:custGeom>
              <a:avLst/>
              <a:gdLst/>
              <a:ahLst/>
              <a:cxnLst>
                <a:cxn ang="0">
                  <a:pos x="66" y="1"/>
                </a:cxn>
                <a:cxn ang="0">
                  <a:pos x="61" y="13"/>
                </a:cxn>
                <a:cxn ang="0">
                  <a:pos x="57" y="15"/>
                </a:cxn>
                <a:cxn ang="0">
                  <a:pos x="58" y="21"/>
                </a:cxn>
                <a:cxn ang="0">
                  <a:pos x="48" y="26"/>
                </a:cxn>
                <a:cxn ang="0">
                  <a:pos x="26" y="36"/>
                </a:cxn>
                <a:cxn ang="0">
                  <a:pos x="13" y="32"/>
                </a:cxn>
                <a:cxn ang="0">
                  <a:pos x="3" y="27"/>
                </a:cxn>
                <a:cxn ang="0">
                  <a:pos x="0" y="21"/>
                </a:cxn>
                <a:cxn ang="0">
                  <a:pos x="21" y="23"/>
                </a:cxn>
                <a:cxn ang="0">
                  <a:pos x="27" y="13"/>
                </a:cxn>
                <a:cxn ang="0">
                  <a:pos x="27" y="19"/>
                </a:cxn>
                <a:cxn ang="0">
                  <a:pos x="36" y="23"/>
                </a:cxn>
                <a:cxn ang="0">
                  <a:pos x="51" y="12"/>
                </a:cxn>
                <a:cxn ang="0">
                  <a:pos x="51" y="1"/>
                </a:cxn>
                <a:cxn ang="0">
                  <a:pos x="60" y="0"/>
                </a:cxn>
                <a:cxn ang="0">
                  <a:pos x="66" y="1"/>
                </a:cxn>
              </a:cxnLst>
              <a:rect l="0" t="0" r="r" b="b"/>
              <a:pathLst>
                <a:path w="66" h="36">
                  <a:moveTo>
                    <a:pt x="66" y="1"/>
                  </a:moveTo>
                  <a:lnTo>
                    <a:pt x="61" y="13"/>
                  </a:lnTo>
                  <a:lnTo>
                    <a:pt x="57" y="15"/>
                  </a:lnTo>
                  <a:lnTo>
                    <a:pt x="58" y="21"/>
                  </a:lnTo>
                  <a:lnTo>
                    <a:pt x="48" y="26"/>
                  </a:lnTo>
                  <a:lnTo>
                    <a:pt x="26" y="36"/>
                  </a:lnTo>
                  <a:lnTo>
                    <a:pt x="13" y="32"/>
                  </a:lnTo>
                  <a:lnTo>
                    <a:pt x="3" y="27"/>
                  </a:lnTo>
                  <a:lnTo>
                    <a:pt x="0" y="21"/>
                  </a:lnTo>
                  <a:lnTo>
                    <a:pt x="21" y="23"/>
                  </a:lnTo>
                  <a:lnTo>
                    <a:pt x="27" y="13"/>
                  </a:lnTo>
                  <a:lnTo>
                    <a:pt x="27" y="19"/>
                  </a:lnTo>
                  <a:lnTo>
                    <a:pt x="36" y="23"/>
                  </a:lnTo>
                  <a:lnTo>
                    <a:pt x="51" y="12"/>
                  </a:lnTo>
                  <a:lnTo>
                    <a:pt x="51" y="1"/>
                  </a:lnTo>
                  <a:lnTo>
                    <a:pt x="60" y="0"/>
                  </a:lnTo>
                  <a:lnTo>
                    <a:pt x="66"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2" name="Freeform 35">
              <a:extLst>
                <a:ext uri="{FF2B5EF4-FFF2-40B4-BE49-F238E27FC236}">
                  <a16:creationId xmlns:a16="http://schemas.microsoft.com/office/drawing/2014/main" id="{B0767F6D-B273-49E2-AEC1-C0611631936D}"/>
                </a:ext>
              </a:extLst>
            </p:cNvPr>
            <p:cNvSpPr>
              <a:spLocks/>
            </p:cNvSpPr>
            <p:nvPr/>
          </p:nvSpPr>
          <p:spPr bwMode="auto">
            <a:xfrm>
              <a:off x="10098465" y="4012547"/>
              <a:ext cx="34223" cy="49627"/>
            </a:xfrm>
            <a:custGeom>
              <a:avLst/>
              <a:gdLst/>
              <a:ahLst/>
              <a:cxnLst>
                <a:cxn ang="0">
                  <a:pos x="18" y="24"/>
                </a:cxn>
                <a:cxn ang="0">
                  <a:pos x="14" y="27"/>
                </a:cxn>
                <a:cxn ang="0">
                  <a:pos x="4" y="15"/>
                </a:cxn>
                <a:cxn ang="0">
                  <a:pos x="0" y="0"/>
                </a:cxn>
                <a:cxn ang="0">
                  <a:pos x="10" y="12"/>
                </a:cxn>
                <a:cxn ang="0">
                  <a:pos x="18" y="24"/>
                </a:cxn>
              </a:cxnLst>
              <a:rect l="0" t="0" r="r" b="b"/>
              <a:pathLst>
                <a:path w="18" h="27">
                  <a:moveTo>
                    <a:pt x="18" y="24"/>
                  </a:moveTo>
                  <a:lnTo>
                    <a:pt x="14" y="27"/>
                  </a:lnTo>
                  <a:lnTo>
                    <a:pt x="4" y="15"/>
                  </a:lnTo>
                  <a:lnTo>
                    <a:pt x="0" y="0"/>
                  </a:lnTo>
                  <a:lnTo>
                    <a:pt x="10" y="12"/>
                  </a:lnTo>
                  <a:lnTo>
                    <a:pt x="18" y="2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3" name="Freeform 36">
              <a:extLst>
                <a:ext uri="{FF2B5EF4-FFF2-40B4-BE49-F238E27FC236}">
                  <a16:creationId xmlns:a16="http://schemas.microsoft.com/office/drawing/2014/main" id="{08429C74-1C62-47A2-BB41-47849DAEAE18}"/>
                </a:ext>
              </a:extLst>
            </p:cNvPr>
            <p:cNvSpPr>
              <a:spLocks/>
            </p:cNvSpPr>
            <p:nvPr/>
          </p:nvSpPr>
          <p:spPr bwMode="auto">
            <a:xfrm>
              <a:off x="9988952" y="3918427"/>
              <a:ext cx="63312" cy="71874"/>
            </a:xfrm>
            <a:custGeom>
              <a:avLst/>
              <a:gdLst/>
              <a:ahLst/>
              <a:cxnLst>
                <a:cxn ang="0">
                  <a:pos x="33" y="31"/>
                </a:cxn>
                <a:cxn ang="0">
                  <a:pos x="29" y="37"/>
                </a:cxn>
                <a:cxn ang="0">
                  <a:pos x="18" y="16"/>
                </a:cxn>
                <a:cxn ang="0">
                  <a:pos x="9" y="8"/>
                </a:cxn>
                <a:cxn ang="0">
                  <a:pos x="0" y="1"/>
                </a:cxn>
                <a:cxn ang="0">
                  <a:pos x="0" y="0"/>
                </a:cxn>
                <a:cxn ang="0">
                  <a:pos x="12" y="10"/>
                </a:cxn>
                <a:cxn ang="0">
                  <a:pos x="25" y="19"/>
                </a:cxn>
                <a:cxn ang="0">
                  <a:pos x="33" y="31"/>
                </a:cxn>
              </a:cxnLst>
              <a:rect l="0" t="0" r="r" b="b"/>
              <a:pathLst>
                <a:path w="33" h="37">
                  <a:moveTo>
                    <a:pt x="33" y="31"/>
                  </a:moveTo>
                  <a:lnTo>
                    <a:pt x="29" y="37"/>
                  </a:lnTo>
                  <a:lnTo>
                    <a:pt x="18" y="16"/>
                  </a:lnTo>
                  <a:lnTo>
                    <a:pt x="9" y="8"/>
                  </a:lnTo>
                  <a:lnTo>
                    <a:pt x="0" y="1"/>
                  </a:lnTo>
                  <a:lnTo>
                    <a:pt x="0" y="0"/>
                  </a:lnTo>
                  <a:lnTo>
                    <a:pt x="12" y="10"/>
                  </a:lnTo>
                  <a:lnTo>
                    <a:pt x="25" y="19"/>
                  </a:lnTo>
                  <a:lnTo>
                    <a:pt x="33" y="3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4" name="Freeform 37">
              <a:extLst>
                <a:ext uri="{FF2B5EF4-FFF2-40B4-BE49-F238E27FC236}">
                  <a16:creationId xmlns:a16="http://schemas.microsoft.com/office/drawing/2014/main" id="{3452143F-2252-46BA-8CF9-3CA841A27F1B}"/>
                </a:ext>
              </a:extLst>
            </p:cNvPr>
            <p:cNvSpPr>
              <a:spLocks/>
            </p:cNvSpPr>
            <p:nvPr/>
          </p:nvSpPr>
          <p:spPr bwMode="auto">
            <a:xfrm>
              <a:off x="9973552" y="4161428"/>
              <a:ext cx="10267" cy="10268"/>
            </a:xfrm>
            <a:custGeom>
              <a:avLst/>
              <a:gdLst/>
              <a:ahLst/>
              <a:cxnLst>
                <a:cxn ang="0">
                  <a:pos x="6" y="3"/>
                </a:cxn>
                <a:cxn ang="0">
                  <a:pos x="3" y="5"/>
                </a:cxn>
                <a:cxn ang="0">
                  <a:pos x="0" y="0"/>
                </a:cxn>
                <a:cxn ang="0">
                  <a:pos x="6" y="3"/>
                </a:cxn>
              </a:cxnLst>
              <a:rect l="0" t="0" r="r" b="b"/>
              <a:pathLst>
                <a:path w="6" h="5">
                  <a:moveTo>
                    <a:pt x="6" y="3"/>
                  </a:moveTo>
                  <a:lnTo>
                    <a:pt x="3" y="5"/>
                  </a:lnTo>
                  <a:lnTo>
                    <a:pt x="0" y="0"/>
                  </a:lnTo>
                  <a:lnTo>
                    <a:pt x="6"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5" name="Freeform 38">
              <a:extLst>
                <a:ext uri="{FF2B5EF4-FFF2-40B4-BE49-F238E27FC236}">
                  <a16:creationId xmlns:a16="http://schemas.microsoft.com/office/drawing/2014/main" id="{E67B74B6-654B-4953-B207-3AA782F8693E}"/>
                </a:ext>
              </a:extLst>
            </p:cNvPr>
            <p:cNvSpPr>
              <a:spLocks/>
            </p:cNvSpPr>
            <p:nvPr/>
          </p:nvSpPr>
          <p:spPr bwMode="auto">
            <a:xfrm>
              <a:off x="8026282" y="2920751"/>
              <a:ext cx="148869" cy="189952"/>
            </a:xfrm>
            <a:custGeom>
              <a:avLst/>
              <a:gdLst/>
              <a:ahLst/>
              <a:cxnLst>
                <a:cxn ang="0">
                  <a:pos x="28" y="84"/>
                </a:cxn>
                <a:cxn ang="0">
                  <a:pos x="27" y="85"/>
                </a:cxn>
                <a:cxn ang="0">
                  <a:pos x="24" y="80"/>
                </a:cxn>
                <a:cxn ang="0">
                  <a:pos x="24" y="82"/>
                </a:cxn>
                <a:cxn ang="0">
                  <a:pos x="19" y="68"/>
                </a:cxn>
                <a:cxn ang="0">
                  <a:pos x="14" y="55"/>
                </a:cxn>
                <a:cxn ang="0">
                  <a:pos x="13" y="44"/>
                </a:cxn>
                <a:cxn ang="0">
                  <a:pos x="1" y="34"/>
                </a:cxn>
                <a:cxn ang="0">
                  <a:pos x="6" y="27"/>
                </a:cxn>
                <a:cxn ang="0">
                  <a:pos x="12" y="24"/>
                </a:cxn>
                <a:cxn ang="0">
                  <a:pos x="0" y="13"/>
                </a:cxn>
                <a:cxn ang="0">
                  <a:pos x="0" y="0"/>
                </a:cxn>
                <a:cxn ang="0">
                  <a:pos x="10" y="3"/>
                </a:cxn>
                <a:cxn ang="0">
                  <a:pos x="15" y="9"/>
                </a:cxn>
                <a:cxn ang="0">
                  <a:pos x="19" y="6"/>
                </a:cxn>
                <a:cxn ang="0">
                  <a:pos x="25" y="20"/>
                </a:cxn>
                <a:cxn ang="0">
                  <a:pos x="42" y="22"/>
                </a:cxn>
                <a:cxn ang="0">
                  <a:pos x="58" y="24"/>
                </a:cxn>
                <a:cxn ang="0">
                  <a:pos x="67" y="30"/>
                </a:cxn>
                <a:cxn ang="0">
                  <a:pos x="64" y="37"/>
                </a:cxn>
                <a:cxn ang="0">
                  <a:pos x="52" y="45"/>
                </a:cxn>
                <a:cxn ang="0">
                  <a:pos x="56" y="60"/>
                </a:cxn>
                <a:cxn ang="0">
                  <a:pos x="58" y="63"/>
                </a:cxn>
                <a:cxn ang="0">
                  <a:pos x="66" y="50"/>
                </a:cxn>
                <a:cxn ang="0">
                  <a:pos x="72" y="66"/>
                </a:cxn>
                <a:cxn ang="0">
                  <a:pos x="78" y="81"/>
                </a:cxn>
                <a:cxn ang="0">
                  <a:pos x="79" y="92"/>
                </a:cxn>
                <a:cxn ang="0">
                  <a:pos x="74" y="96"/>
                </a:cxn>
                <a:cxn ang="0">
                  <a:pos x="76" y="100"/>
                </a:cxn>
                <a:cxn ang="0">
                  <a:pos x="67" y="84"/>
                </a:cxn>
                <a:cxn ang="0">
                  <a:pos x="58" y="67"/>
                </a:cxn>
                <a:cxn ang="0">
                  <a:pos x="48" y="66"/>
                </a:cxn>
                <a:cxn ang="0">
                  <a:pos x="43" y="55"/>
                </a:cxn>
                <a:cxn ang="0">
                  <a:pos x="27" y="45"/>
                </a:cxn>
                <a:cxn ang="0">
                  <a:pos x="22" y="46"/>
                </a:cxn>
                <a:cxn ang="0">
                  <a:pos x="39" y="56"/>
                </a:cxn>
                <a:cxn ang="0">
                  <a:pos x="44" y="67"/>
                </a:cxn>
                <a:cxn ang="0">
                  <a:pos x="45" y="70"/>
                </a:cxn>
                <a:cxn ang="0">
                  <a:pos x="42" y="85"/>
                </a:cxn>
                <a:cxn ang="0">
                  <a:pos x="38" y="80"/>
                </a:cxn>
                <a:cxn ang="0">
                  <a:pos x="36" y="80"/>
                </a:cxn>
                <a:cxn ang="0">
                  <a:pos x="32" y="84"/>
                </a:cxn>
                <a:cxn ang="0">
                  <a:pos x="28" y="84"/>
                </a:cxn>
              </a:cxnLst>
              <a:rect l="0" t="0" r="r" b="b"/>
              <a:pathLst>
                <a:path w="79" h="100">
                  <a:moveTo>
                    <a:pt x="28" y="84"/>
                  </a:moveTo>
                  <a:lnTo>
                    <a:pt x="27" y="85"/>
                  </a:lnTo>
                  <a:lnTo>
                    <a:pt x="24" y="80"/>
                  </a:lnTo>
                  <a:lnTo>
                    <a:pt x="24" y="82"/>
                  </a:lnTo>
                  <a:lnTo>
                    <a:pt x="19" y="68"/>
                  </a:lnTo>
                  <a:lnTo>
                    <a:pt x="14" y="55"/>
                  </a:lnTo>
                  <a:lnTo>
                    <a:pt x="13" y="44"/>
                  </a:lnTo>
                  <a:lnTo>
                    <a:pt x="1" y="34"/>
                  </a:lnTo>
                  <a:lnTo>
                    <a:pt x="6" y="27"/>
                  </a:lnTo>
                  <a:lnTo>
                    <a:pt x="12" y="24"/>
                  </a:lnTo>
                  <a:lnTo>
                    <a:pt x="0" y="13"/>
                  </a:lnTo>
                  <a:lnTo>
                    <a:pt x="0" y="0"/>
                  </a:lnTo>
                  <a:lnTo>
                    <a:pt x="10" y="3"/>
                  </a:lnTo>
                  <a:lnTo>
                    <a:pt x="15" y="9"/>
                  </a:lnTo>
                  <a:lnTo>
                    <a:pt x="19" y="6"/>
                  </a:lnTo>
                  <a:lnTo>
                    <a:pt x="25" y="20"/>
                  </a:lnTo>
                  <a:lnTo>
                    <a:pt x="42" y="22"/>
                  </a:lnTo>
                  <a:lnTo>
                    <a:pt x="58" y="24"/>
                  </a:lnTo>
                  <a:lnTo>
                    <a:pt x="67" y="30"/>
                  </a:lnTo>
                  <a:lnTo>
                    <a:pt x="64" y="37"/>
                  </a:lnTo>
                  <a:lnTo>
                    <a:pt x="52" y="45"/>
                  </a:lnTo>
                  <a:lnTo>
                    <a:pt x="56" y="60"/>
                  </a:lnTo>
                  <a:lnTo>
                    <a:pt x="58" y="63"/>
                  </a:lnTo>
                  <a:lnTo>
                    <a:pt x="66" y="50"/>
                  </a:lnTo>
                  <a:lnTo>
                    <a:pt x="72" y="66"/>
                  </a:lnTo>
                  <a:lnTo>
                    <a:pt x="78" y="81"/>
                  </a:lnTo>
                  <a:lnTo>
                    <a:pt x="79" y="92"/>
                  </a:lnTo>
                  <a:lnTo>
                    <a:pt x="74" y="96"/>
                  </a:lnTo>
                  <a:lnTo>
                    <a:pt x="76" y="100"/>
                  </a:lnTo>
                  <a:lnTo>
                    <a:pt x="67" y="84"/>
                  </a:lnTo>
                  <a:lnTo>
                    <a:pt x="58" y="67"/>
                  </a:lnTo>
                  <a:lnTo>
                    <a:pt x="48" y="66"/>
                  </a:lnTo>
                  <a:lnTo>
                    <a:pt x="43" y="55"/>
                  </a:lnTo>
                  <a:lnTo>
                    <a:pt x="27" y="45"/>
                  </a:lnTo>
                  <a:lnTo>
                    <a:pt x="22" y="46"/>
                  </a:lnTo>
                  <a:lnTo>
                    <a:pt x="39" y="56"/>
                  </a:lnTo>
                  <a:lnTo>
                    <a:pt x="44" y="67"/>
                  </a:lnTo>
                  <a:lnTo>
                    <a:pt x="45" y="70"/>
                  </a:lnTo>
                  <a:lnTo>
                    <a:pt x="42" y="85"/>
                  </a:lnTo>
                  <a:lnTo>
                    <a:pt x="38" y="80"/>
                  </a:lnTo>
                  <a:lnTo>
                    <a:pt x="36" y="80"/>
                  </a:lnTo>
                  <a:lnTo>
                    <a:pt x="32" y="84"/>
                  </a:lnTo>
                  <a:lnTo>
                    <a:pt x="28" y="8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6" name="Freeform 39">
              <a:extLst>
                <a:ext uri="{FF2B5EF4-FFF2-40B4-BE49-F238E27FC236}">
                  <a16:creationId xmlns:a16="http://schemas.microsoft.com/office/drawing/2014/main" id="{B836059D-BE72-4AAD-9A2B-8E0DC1EEE6A7}"/>
                </a:ext>
              </a:extLst>
            </p:cNvPr>
            <p:cNvSpPr>
              <a:spLocks/>
            </p:cNvSpPr>
            <p:nvPr/>
          </p:nvSpPr>
          <p:spPr bwMode="auto">
            <a:xfrm>
              <a:off x="8033126" y="2864279"/>
              <a:ext cx="95824" cy="46205"/>
            </a:xfrm>
            <a:custGeom>
              <a:avLst/>
              <a:gdLst/>
              <a:ahLst/>
              <a:cxnLst>
                <a:cxn ang="0">
                  <a:pos x="33" y="2"/>
                </a:cxn>
                <a:cxn ang="0">
                  <a:pos x="11" y="0"/>
                </a:cxn>
                <a:cxn ang="0">
                  <a:pos x="0" y="15"/>
                </a:cxn>
                <a:cxn ang="0">
                  <a:pos x="3" y="22"/>
                </a:cxn>
                <a:cxn ang="0">
                  <a:pos x="22" y="25"/>
                </a:cxn>
                <a:cxn ang="0">
                  <a:pos x="36" y="24"/>
                </a:cxn>
                <a:cxn ang="0">
                  <a:pos x="51" y="22"/>
                </a:cxn>
                <a:cxn ang="0">
                  <a:pos x="45" y="13"/>
                </a:cxn>
                <a:cxn ang="0">
                  <a:pos x="40" y="7"/>
                </a:cxn>
                <a:cxn ang="0">
                  <a:pos x="33" y="2"/>
                </a:cxn>
              </a:cxnLst>
              <a:rect l="0" t="0" r="r" b="b"/>
              <a:pathLst>
                <a:path w="51" h="25">
                  <a:moveTo>
                    <a:pt x="33" y="2"/>
                  </a:moveTo>
                  <a:lnTo>
                    <a:pt x="11" y="0"/>
                  </a:lnTo>
                  <a:lnTo>
                    <a:pt x="0" y="15"/>
                  </a:lnTo>
                  <a:lnTo>
                    <a:pt x="3" y="22"/>
                  </a:lnTo>
                  <a:lnTo>
                    <a:pt x="22" y="25"/>
                  </a:lnTo>
                  <a:lnTo>
                    <a:pt x="36" y="24"/>
                  </a:lnTo>
                  <a:lnTo>
                    <a:pt x="51" y="22"/>
                  </a:lnTo>
                  <a:lnTo>
                    <a:pt x="45" y="13"/>
                  </a:lnTo>
                  <a:lnTo>
                    <a:pt x="40" y="7"/>
                  </a:lnTo>
                  <a:lnTo>
                    <a:pt x="33"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7" name="Freeform 40">
              <a:extLst>
                <a:ext uri="{FF2B5EF4-FFF2-40B4-BE49-F238E27FC236}">
                  <a16:creationId xmlns:a16="http://schemas.microsoft.com/office/drawing/2014/main" id="{0A3D7BE9-4E1E-41DE-8D5C-8A5B5A679507}"/>
                </a:ext>
              </a:extLst>
            </p:cNvPr>
            <p:cNvSpPr>
              <a:spLocks/>
            </p:cNvSpPr>
            <p:nvPr/>
          </p:nvSpPr>
          <p:spPr bwMode="auto">
            <a:xfrm>
              <a:off x="8501977" y="3324613"/>
              <a:ext cx="159135" cy="143747"/>
            </a:xfrm>
            <a:custGeom>
              <a:avLst/>
              <a:gdLst/>
              <a:ahLst/>
              <a:cxnLst>
                <a:cxn ang="0">
                  <a:pos x="59" y="56"/>
                </a:cxn>
                <a:cxn ang="0">
                  <a:pos x="64" y="70"/>
                </a:cxn>
                <a:cxn ang="0">
                  <a:pos x="52" y="68"/>
                </a:cxn>
                <a:cxn ang="0">
                  <a:pos x="48" y="71"/>
                </a:cxn>
                <a:cxn ang="0">
                  <a:pos x="39" y="77"/>
                </a:cxn>
                <a:cxn ang="0">
                  <a:pos x="29" y="74"/>
                </a:cxn>
                <a:cxn ang="0">
                  <a:pos x="24" y="72"/>
                </a:cxn>
                <a:cxn ang="0">
                  <a:pos x="22" y="64"/>
                </a:cxn>
                <a:cxn ang="0">
                  <a:pos x="17" y="68"/>
                </a:cxn>
                <a:cxn ang="0">
                  <a:pos x="14" y="56"/>
                </a:cxn>
                <a:cxn ang="0">
                  <a:pos x="12" y="55"/>
                </a:cxn>
                <a:cxn ang="0">
                  <a:pos x="6" y="41"/>
                </a:cxn>
                <a:cxn ang="0">
                  <a:pos x="0" y="25"/>
                </a:cxn>
                <a:cxn ang="0">
                  <a:pos x="11" y="7"/>
                </a:cxn>
                <a:cxn ang="0">
                  <a:pos x="27" y="7"/>
                </a:cxn>
                <a:cxn ang="0">
                  <a:pos x="44" y="6"/>
                </a:cxn>
                <a:cxn ang="0">
                  <a:pos x="57" y="13"/>
                </a:cxn>
                <a:cxn ang="0">
                  <a:pos x="57" y="8"/>
                </a:cxn>
                <a:cxn ang="0">
                  <a:pos x="63" y="4"/>
                </a:cxn>
                <a:cxn ang="0">
                  <a:pos x="69" y="6"/>
                </a:cxn>
                <a:cxn ang="0">
                  <a:pos x="80" y="0"/>
                </a:cxn>
                <a:cxn ang="0">
                  <a:pos x="81" y="16"/>
                </a:cxn>
                <a:cxn ang="0">
                  <a:pos x="82" y="30"/>
                </a:cxn>
                <a:cxn ang="0">
                  <a:pos x="83" y="44"/>
                </a:cxn>
                <a:cxn ang="0">
                  <a:pos x="68" y="52"/>
                </a:cxn>
                <a:cxn ang="0">
                  <a:pos x="59" y="56"/>
                </a:cxn>
              </a:cxnLst>
              <a:rect l="0" t="0" r="r" b="b"/>
              <a:pathLst>
                <a:path w="83" h="77">
                  <a:moveTo>
                    <a:pt x="59" y="56"/>
                  </a:moveTo>
                  <a:lnTo>
                    <a:pt x="64" y="70"/>
                  </a:lnTo>
                  <a:lnTo>
                    <a:pt x="52" y="68"/>
                  </a:lnTo>
                  <a:lnTo>
                    <a:pt x="48" y="71"/>
                  </a:lnTo>
                  <a:lnTo>
                    <a:pt x="39" y="77"/>
                  </a:lnTo>
                  <a:lnTo>
                    <a:pt x="29" y="74"/>
                  </a:lnTo>
                  <a:lnTo>
                    <a:pt x="24" y="72"/>
                  </a:lnTo>
                  <a:lnTo>
                    <a:pt x="22" y="64"/>
                  </a:lnTo>
                  <a:lnTo>
                    <a:pt x="17" y="68"/>
                  </a:lnTo>
                  <a:lnTo>
                    <a:pt x="14" y="56"/>
                  </a:lnTo>
                  <a:lnTo>
                    <a:pt x="12" y="55"/>
                  </a:lnTo>
                  <a:lnTo>
                    <a:pt x="6" y="41"/>
                  </a:lnTo>
                  <a:lnTo>
                    <a:pt x="0" y="25"/>
                  </a:lnTo>
                  <a:lnTo>
                    <a:pt x="11" y="7"/>
                  </a:lnTo>
                  <a:lnTo>
                    <a:pt x="27" y="7"/>
                  </a:lnTo>
                  <a:lnTo>
                    <a:pt x="44" y="6"/>
                  </a:lnTo>
                  <a:lnTo>
                    <a:pt x="57" y="13"/>
                  </a:lnTo>
                  <a:lnTo>
                    <a:pt x="57" y="8"/>
                  </a:lnTo>
                  <a:lnTo>
                    <a:pt x="63" y="4"/>
                  </a:lnTo>
                  <a:lnTo>
                    <a:pt x="69" y="6"/>
                  </a:lnTo>
                  <a:lnTo>
                    <a:pt x="80" y="0"/>
                  </a:lnTo>
                  <a:lnTo>
                    <a:pt x="81" y="16"/>
                  </a:lnTo>
                  <a:lnTo>
                    <a:pt x="82" y="30"/>
                  </a:lnTo>
                  <a:lnTo>
                    <a:pt x="83" y="44"/>
                  </a:lnTo>
                  <a:lnTo>
                    <a:pt x="68" y="52"/>
                  </a:lnTo>
                  <a:lnTo>
                    <a:pt x="59" y="5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8" name="Freeform 41">
              <a:extLst>
                <a:ext uri="{FF2B5EF4-FFF2-40B4-BE49-F238E27FC236}">
                  <a16:creationId xmlns:a16="http://schemas.microsoft.com/office/drawing/2014/main" id="{7D365697-8F13-4A76-ADFA-61A2996E2460}"/>
                </a:ext>
              </a:extLst>
            </p:cNvPr>
            <p:cNvSpPr>
              <a:spLocks/>
            </p:cNvSpPr>
            <p:nvPr/>
          </p:nvSpPr>
          <p:spPr bwMode="auto">
            <a:xfrm>
              <a:off x="8798003" y="3066210"/>
              <a:ext cx="8556" cy="3423"/>
            </a:xfrm>
            <a:custGeom>
              <a:avLst/>
              <a:gdLst/>
              <a:ahLst/>
              <a:cxnLst>
                <a:cxn ang="0">
                  <a:pos x="4" y="0"/>
                </a:cxn>
                <a:cxn ang="0">
                  <a:pos x="3" y="1"/>
                </a:cxn>
                <a:cxn ang="0">
                  <a:pos x="0" y="1"/>
                </a:cxn>
                <a:cxn ang="0">
                  <a:pos x="4" y="0"/>
                </a:cxn>
              </a:cxnLst>
              <a:rect l="0" t="0" r="r" b="b"/>
              <a:pathLst>
                <a:path w="4" h="1">
                  <a:moveTo>
                    <a:pt x="4" y="0"/>
                  </a:moveTo>
                  <a:lnTo>
                    <a:pt x="3" y="1"/>
                  </a:lnTo>
                  <a:lnTo>
                    <a:pt x="0" y="1"/>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9" name="Freeform 42">
              <a:extLst>
                <a:ext uri="{FF2B5EF4-FFF2-40B4-BE49-F238E27FC236}">
                  <a16:creationId xmlns:a16="http://schemas.microsoft.com/office/drawing/2014/main" id="{CD46E817-2722-4B33-AC47-BCF8FACF5B9E}"/>
                </a:ext>
              </a:extLst>
            </p:cNvPr>
            <p:cNvSpPr>
              <a:spLocks/>
            </p:cNvSpPr>
            <p:nvPr/>
          </p:nvSpPr>
          <p:spPr bwMode="auto">
            <a:xfrm>
              <a:off x="8402731" y="3062787"/>
              <a:ext cx="251537" cy="287495"/>
            </a:xfrm>
            <a:custGeom>
              <a:avLst/>
              <a:gdLst/>
              <a:ahLst/>
              <a:cxnLst>
                <a:cxn ang="0">
                  <a:pos x="74" y="38"/>
                </a:cxn>
                <a:cxn ang="0">
                  <a:pos x="69" y="34"/>
                </a:cxn>
                <a:cxn ang="0">
                  <a:pos x="60" y="25"/>
                </a:cxn>
                <a:cxn ang="0">
                  <a:pos x="53" y="29"/>
                </a:cxn>
                <a:cxn ang="0">
                  <a:pos x="41" y="19"/>
                </a:cxn>
                <a:cxn ang="0">
                  <a:pos x="38" y="12"/>
                </a:cxn>
                <a:cxn ang="0">
                  <a:pos x="26" y="0"/>
                </a:cxn>
                <a:cxn ang="0">
                  <a:pos x="18" y="0"/>
                </a:cxn>
                <a:cxn ang="0">
                  <a:pos x="21" y="22"/>
                </a:cxn>
                <a:cxn ang="0">
                  <a:pos x="15" y="18"/>
                </a:cxn>
                <a:cxn ang="0">
                  <a:pos x="13" y="14"/>
                </a:cxn>
                <a:cxn ang="0">
                  <a:pos x="6" y="28"/>
                </a:cxn>
                <a:cxn ang="0">
                  <a:pos x="0" y="36"/>
                </a:cxn>
                <a:cxn ang="0">
                  <a:pos x="6" y="38"/>
                </a:cxn>
                <a:cxn ang="0">
                  <a:pos x="7" y="49"/>
                </a:cxn>
                <a:cxn ang="0">
                  <a:pos x="19" y="50"/>
                </a:cxn>
                <a:cxn ang="0">
                  <a:pos x="20" y="68"/>
                </a:cxn>
                <a:cxn ang="0">
                  <a:pos x="21" y="86"/>
                </a:cxn>
                <a:cxn ang="0">
                  <a:pos x="36" y="76"/>
                </a:cxn>
                <a:cxn ang="0">
                  <a:pos x="45" y="79"/>
                </a:cxn>
                <a:cxn ang="0">
                  <a:pos x="53" y="77"/>
                </a:cxn>
                <a:cxn ang="0">
                  <a:pos x="60" y="72"/>
                </a:cxn>
                <a:cxn ang="0">
                  <a:pos x="79" y="88"/>
                </a:cxn>
                <a:cxn ang="0">
                  <a:pos x="81" y="101"/>
                </a:cxn>
                <a:cxn ang="0">
                  <a:pos x="96" y="119"/>
                </a:cxn>
                <a:cxn ang="0">
                  <a:pos x="99" y="134"/>
                </a:cxn>
                <a:cxn ang="0">
                  <a:pos x="95" y="144"/>
                </a:cxn>
                <a:cxn ang="0">
                  <a:pos x="108" y="151"/>
                </a:cxn>
                <a:cxn ang="0">
                  <a:pos x="108" y="146"/>
                </a:cxn>
                <a:cxn ang="0">
                  <a:pos x="114" y="142"/>
                </a:cxn>
                <a:cxn ang="0">
                  <a:pos x="120" y="144"/>
                </a:cxn>
                <a:cxn ang="0">
                  <a:pos x="131" y="138"/>
                </a:cxn>
                <a:cxn ang="0">
                  <a:pos x="128" y="124"/>
                </a:cxn>
                <a:cxn ang="0">
                  <a:pos x="123" y="118"/>
                </a:cxn>
                <a:cxn ang="0">
                  <a:pos x="125" y="114"/>
                </a:cxn>
                <a:cxn ang="0">
                  <a:pos x="110" y="102"/>
                </a:cxn>
                <a:cxn ang="0">
                  <a:pos x="103" y="92"/>
                </a:cxn>
                <a:cxn ang="0">
                  <a:pos x="93" y="80"/>
                </a:cxn>
                <a:cxn ang="0">
                  <a:pos x="84" y="68"/>
                </a:cxn>
                <a:cxn ang="0">
                  <a:pos x="63" y="53"/>
                </a:cxn>
                <a:cxn ang="0">
                  <a:pos x="67" y="48"/>
                </a:cxn>
                <a:cxn ang="0">
                  <a:pos x="75" y="46"/>
                </a:cxn>
                <a:cxn ang="0">
                  <a:pos x="74" y="38"/>
                </a:cxn>
              </a:cxnLst>
              <a:rect l="0" t="0" r="r" b="b"/>
              <a:pathLst>
                <a:path w="131" h="151">
                  <a:moveTo>
                    <a:pt x="74" y="38"/>
                  </a:moveTo>
                  <a:lnTo>
                    <a:pt x="69" y="34"/>
                  </a:lnTo>
                  <a:lnTo>
                    <a:pt x="60" y="25"/>
                  </a:lnTo>
                  <a:lnTo>
                    <a:pt x="53" y="29"/>
                  </a:lnTo>
                  <a:lnTo>
                    <a:pt x="41" y="19"/>
                  </a:lnTo>
                  <a:lnTo>
                    <a:pt x="38" y="12"/>
                  </a:lnTo>
                  <a:lnTo>
                    <a:pt x="26" y="0"/>
                  </a:lnTo>
                  <a:lnTo>
                    <a:pt x="18" y="0"/>
                  </a:lnTo>
                  <a:lnTo>
                    <a:pt x="21" y="22"/>
                  </a:lnTo>
                  <a:lnTo>
                    <a:pt x="15" y="18"/>
                  </a:lnTo>
                  <a:lnTo>
                    <a:pt x="13" y="14"/>
                  </a:lnTo>
                  <a:lnTo>
                    <a:pt x="6" y="28"/>
                  </a:lnTo>
                  <a:lnTo>
                    <a:pt x="0" y="36"/>
                  </a:lnTo>
                  <a:lnTo>
                    <a:pt x="6" y="38"/>
                  </a:lnTo>
                  <a:lnTo>
                    <a:pt x="7" y="49"/>
                  </a:lnTo>
                  <a:lnTo>
                    <a:pt x="19" y="50"/>
                  </a:lnTo>
                  <a:lnTo>
                    <a:pt x="20" y="68"/>
                  </a:lnTo>
                  <a:lnTo>
                    <a:pt x="21" y="86"/>
                  </a:lnTo>
                  <a:lnTo>
                    <a:pt x="36" y="76"/>
                  </a:lnTo>
                  <a:lnTo>
                    <a:pt x="45" y="79"/>
                  </a:lnTo>
                  <a:lnTo>
                    <a:pt x="53" y="77"/>
                  </a:lnTo>
                  <a:lnTo>
                    <a:pt x="60" y="72"/>
                  </a:lnTo>
                  <a:lnTo>
                    <a:pt x="79" y="88"/>
                  </a:lnTo>
                  <a:lnTo>
                    <a:pt x="81" y="101"/>
                  </a:lnTo>
                  <a:lnTo>
                    <a:pt x="96" y="119"/>
                  </a:lnTo>
                  <a:lnTo>
                    <a:pt x="99" y="134"/>
                  </a:lnTo>
                  <a:lnTo>
                    <a:pt x="95" y="144"/>
                  </a:lnTo>
                  <a:lnTo>
                    <a:pt x="108" y="151"/>
                  </a:lnTo>
                  <a:lnTo>
                    <a:pt x="108" y="146"/>
                  </a:lnTo>
                  <a:lnTo>
                    <a:pt x="114" y="142"/>
                  </a:lnTo>
                  <a:lnTo>
                    <a:pt x="120" y="144"/>
                  </a:lnTo>
                  <a:lnTo>
                    <a:pt x="131" y="138"/>
                  </a:lnTo>
                  <a:lnTo>
                    <a:pt x="128" y="124"/>
                  </a:lnTo>
                  <a:lnTo>
                    <a:pt x="123" y="118"/>
                  </a:lnTo>
                  <a:lnTo>
                    <a:pt x="125" y="114"/>
                  </a:lnTo>
                  <a:lnTo>
                    <a:pt x="110" y="102"/>
                  </a:lnTo>
                  <a:lnTo>
                    <a:pt x="103" y="92"/>
                  </a:lnTo>
                  <a:lnTo>
                    <a:pt x="93" y="80"/>
                  </a:lnTo>
                  <a:lnTo>
                    <a:pt x="84" y="68"/>
                  </a:lnTo>
                  <a:lnTo>
                    <a:pt x="63" y="53"/>
                  </a:lnTo>
                  <a:lnTo>
                    <a:pt x="67" y="48"/>
                  </a:lnTo>
                  <a:lnTo>
                    <a:pt x="75" y="46"/>
                  </a:lnTo>
                  <a:lnTo>
                    <a:pt x="74" y="3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0" name="Freeform 43">
              <a:extLst>
                <a:ext uri="{FF2B5EF4-FFF2-40B4-BE49-F238E27FC236}">
                  <a16:creationId xmlns:a16="http://schemas.microsoft.com/office/drawing/2014/main" id="{104760B9-7E18-41D7-B2CC-D86C614C7316}"/>
                </a:ext>
              </a:extLst>
            </p:cNvPr>
            <p:cNvSpPr>
              <a:spLocks/>
            </p:cNvSpPr>
            <p:nvPr/>
          </p:nvSpPr>
          <p:spPr bwMode="auto">
            <a:xfrm>
              <a:off x="8166595" y="2852300"/>
              <a:ext cx="263515" cy="628039"/>
            </a:xfrm>
            <a:custGeom>
              <a:avLst/>
              <a:gdLst/>
              <a:ahLst/>
              <a:cxnLst>
                <a:cxn ang="0">
                  <a:pos x="76" y="81"/>
                </a:cxn>
                <a:cxn ang="0">
                  <a:pos x="74" y="66"/>
                </a:cxn>
                <a:cxn ang="0">
                  <a:pos x="84" y="45"/>
                </a:cxn>
                <a:cxn ang="0">
                  <a:pos x="78" y="16"/>
                </a:cxn>
                <a:cxn ang="0">
                  <a:pos x="58" y="0"/>
                </a:cxn>
                <a:cxn ang="0">
                  <a:pos x="54" y="14"/>
                </a:cxn>
                <a:cxn ang="0">
                  <a:pos x="55" y="25"/>
                </a:cxn>
                <a:cxn ang="0">
                  <a:pos x="29" y="38"/>
                </a:cxn>
                <a:cxn ang="0">
                  <a:pos x="28" y="61"/>
                </a:cxn>
                <a:cxn ang="0">
                  <a:pos x="11" y="82"/>
                </a:cxn>
                <a:cxn ang="0">
                  <a:pos x="10" y="117"/>
                </a:cxn>
                <a:cxn ang="0">
                  <a:pos x="4" y="117"/>
                </a:cxn>
                <a:cxn ang="0">
                  <a:pos x="0" y="132"/>
                </a:cxn>
                <a:cxn ang="0">
                  <a:pos x="11" y="148"/>
                </a:cxn>
                <a:cxn ang="0">
                  <a:pos x="18" y="156"/>
                </a:cxn>
                <a:cxn ang="0">
                  <a:pos x="26" y="156"/>
                </a:cxn>
                <a:cxn ang="0">
                  <a:pos x="26" y="165"/>
                </a:cxn>
                <a:cxn ang="0">
                  <a:pos x="34" y="165"/>
                </a:cxn>
                <a:cxn ang="0">
                  <a:pos x="44" y="194"/>
                </a:cxn>
                <a:cxn ang="0">
                  <a:pos x="43" y="224"/>
                </a:cxn>
                <a:cxn ang="0">
                  <a:pos x="52" y="225"/>
                </a:cxn>
                <a:cxn ang="0">
                  <a:pos x="58" y="226"/>
                </a:cxn>
                <a:cxn ang="0">
                  <a:pos x="61" y="228"/>
                </a:cxn>
                <a:cxn ang="0">
                  <a:pos x="74" y="213"/>
                </a:cxn>
                <a:cxn ang="0">
                  <a:pos x="83" y="201"/>
                </a:cxn>
                <a:cxn ang="0">
                  <a:pos x="96" y="216"/>
                </a:cxn>
                <a:cxn ang="0">
                  <a:pos x="109" y="266"/>
                </a:cxn>
                <a:cxn ang="0">
                  <a:pos x="115" y="274"/>
                </a:cxn>
                <a:cxn ang="0">
                  <a:pos x="122" y="301"/>
                </a:cxn>
                <a:cxn ang="0">
                  <a:pos x="121" y="330"/>
                </a:cxn>
                <a:cxn ang="0">
                  <a:pos x="131" y="314"/>
                </a:cxn>
                <a:cxn ang="0">
                  <a:pos x="131" y="285"/>
                </a:cxn>
                <a:cxn ang="0">
                  <a:pos x="119" y="259"/>
                </a:cxn>
                <a:cxn ang="0">
                  <a:pos x="110" y="237"/>
                </a:cxn>
                <a:cxn ang="0">
                  <a:pos x="116" y="219"/>
                </a:cxn>
                <a:cxn ang="0">
                  <a:pos x="100" y="199"/>
                </a:cxn>
                <a:cxn ang="0">
                  <a:pos x="91" y="180"/>
                </a:cxn>
                <a:cxn ang="0">
                  <a:pos x="109" y="157"/>
                </a:cxn>
                <a:cxn ang="0">
                  <a:pos x="125" y="146"/>
                </a:cxn>
                <a:cxn ang="0">
                  <a:pos x="138" y="124"/>
                </a:cxn>
                <a:cxn ang="0">
                  <a:pos x="122" y="126"/>
                </a:cxn>
                <a:cxn ang="0">
                  <a:pos x="106" y="112"/>
                </a:cxn>
                <a:cxn ang="0">
                  <a:pos x="97" y="93"/>
                </a:cxn>
                <a:cxn ang="0">
                  <a:pos x="92" y="79"/>
                </a:cxn>
              </a:cxnLst>
              <a:rect l="0" t="0" r="r" b="b"/>
              <a:pathLst>
                <a:path w="138" h="330">
                  <a:moveTo>
                    <a:pt x="92" y="79"/>
                  </a:moveTo>
                  <a:lnTo>
                    <a:pt x="76" y="81"/>
                  </a:lnTo>
                  <a:lnTo>
                    <a:pt x="76" y="73"/>
                  </a:lnTo>
                  <a:lnTo>
                    <a:pt x="74" y="66"/>
                  </a:lnTo>
                  <a:lnTo>
                    <a:pt x="82" y="54"/>
                  </a:lnTo>
                  <a:lnTo>
                    <a:pt x="84" y="45"/>
                  </a:lnTo>
                  <a:lnTo>
                    <a:pt x="80" y="31"/>
                  </a:lnTo>
                  <a:lnTo>
                    <a:pt x="78" y="16"/>
                  </a:lnTo>
                  <a:lnTo>
                    <a:pt x="71" y="13"/>
                  </a:lnTo>
                  <a:lnTo>
                    <a:pt x="58" y="0"/>
                  </a:lnTo>
                  <a:lnTo>
                    <a:pt x="56" y="6"/>
                  </a:lnTo>
                  <a:lnTo>
                    <a:pt x="54" y="14"/>
                  </a:lnTo>
                  <a:lnTo>
                    <a:pt x="53" y="19"/>
                  </a:lnTo>
                  <a:lnTo>
                    <a:pt x="55" y="25"/>
                  </a:lnTo>
                  <a:lnTo>
                    <a:pt x="43" y="22"/>
                  </a:lnTo>
                  <a:lnTo>
                    <a:pt x="29" y="38"/>
                  </a:lnTo>
                  <a:lnTo>
                    <a:pt x="29" y="52"/>
                  </a:lnTo>
                  <a:lnTo>
                    <a:pt x="28" y="61"/>
                  </a:lnTo>
                  <a:lnTo>
                    <a:pt x="20" y="82"/>
                  </a:lnTo>
                  <a:lnTo>
                    <a:pt x="11" y="82"/>
                  </a:lnTo>
                  <a:lnTo>
                    <a:pt x="11" y="98"/>
                  </a:lnTo>
                  <a:lnTo>
                    <a:pt x="10" y="117"/>
                  </a:lnTo>
                  <a:lnTo>
                    <a:pt x="5" y="116"/>
                  </a:lnTo>
                  <a:lnTo>
                    <a:pt x="4" y="117"/>
                  </a:lnTo>
                  <a:lnTo>
                    <a:pt x="5" y="128"/>
                  </a:lnTo>
                  <a:lnTo>
                    <a:pt x="0" y="132"/>
                  </a:lnTo>
                  <a:lnTo>
                    <a:pt x="11" y="147"/>
                  </a:lnTo>
                  <a:lnTo>
                    <a:pt x="11" y="148"/>
                  </a:lnTo>
                  <a:lnTo>
                    <a:pt x="14" y="145"/>
                  </a:lnTo>
                  <a:lnTo>
                    <a:pt x="18" y="156"/>
                  </a:lnTo>
                  <a:lnTo>
                    <a:pt x="19" y="156"/>
                  </a:lnTo>
                  <a:lnTo>
                    <a:pt x="26" y="156"/>
                  </a:lnTo>
                  <a:lnTo>
                    <a:pt x="31" y="163"/>
                  </a:lnTo>
                  <a:lnTo>
                    <a:pt x="26" y="165"/>
                  </a:lnTo>
                  <a:lnTo>
                    <a:pt x="31" y="172"/>
                  </a:lnTo>
                  <a:lnTo>
                    <a:pt x="34" y="165"/>
                  </a:lnTo>
                  <a:lnTo>
                    <a:pt x="40" y="180"/>
                  </a:lnTo>
                  <a:lnTo>
                    <a:pt x="44" y="194"/>
                  </a:lnTo>
                  <a:lnTo>
                    <a:pt x="44" y="208"/>
                  </a:lnTo>
                  <a:lnTo>
                    <a:pt x="43" y="224"/>
                  </a:lnTo>
                  <a:lnTo>
                    <a:pt x="49" y="216"/>
                  </a:lnTo>
                  <a:lnTo>
                    <a:pt x="52" y="225"/>
                  </a:lnTo>
                  <a:lnTo>
                    <a:pt x="54" y="228"/>
                  </a:lnTo>
                  <a:lnTo>
                    <a:pt x="58" y="226"/>
                  </a:lnTo>
                  <a:lnTo>
                    <a:pt x="61" y="225"/>
                  </a:lnTo>
                  <a:lnTo>
                    <a:pt x="61" y="228"/>
                  </a:lnTo>
                  <a:lnTo>
                    <a:pt x="72" y="218"/>
                  </a:lnTo>
                  <a:lnTo>
                    <a:pt x="74" y="213"/>
                  </a:lnTo>
                  <a:lnTo>
                    <a:pt x="78" y="216"/>
                  </a:lnTo>
                  <a:lnTo>
                    <a:pt x="83" y="201"/>
                  </a:lnTo>
                  <a:lnTo>
                    <a:pt x="89" y="210"/>
                  </a:lnTo>
                  <a:lnTo>
                    <a:pt x="96" y="216"/>
                  </a:lnTo>
                  <a:lnTo>
                    <a:pt x="103" y="241"/>
                  </a:lnTo>
                  <a:lnTo>
                    <a:pt x="109" y="266"/>
                  </a:lnTo>
                  <a:lnTo>
                    <a:pt x="110" y="261"/>
                  </a:lnTo>
                  <a:lnTo>
                    <a:pt x="115" y="274"/>
                  </a:lnTo>
                  <a:lnTo>
                    <a:pt x="120" y="288"/>
                  </a:lnTo>
                  <a:lnTo>
                    <a:pt x="122" y="301"/>
                  </a:lnTo>
                  <a:lnTo>
                    <a:pt x="122" y="316"/>
                  </a:lnTo>
                  <a:lnTo>
                    <a:pt x="121" y="330"/>
                  </a:lnTo>
                  <a:lnTo>
                    <a:pt x="125" y="326"/>
                  </a:lnTo>
                  <a:lnTo>
                    <a:pt x="131" y="314"/>
                  </a:lnTo>
                  <a:lnTo>
                    <a:pt x="136" y="303"/>
                  </a:lnTo>
                  <a:lnTo>
                    <a:pt x="131" y="285"/>
                  </a:lnTo>
                  <a:lnTo>
                    <a:pt x="127" y="270"/>
                  </a:lnTo>
                  <a:lnTo>
                    <a:pt x="119" y="259"/>
                  </a:lnTo>
                  <a:lnTo>
                    <a:pt x="110" y="248"/>
                  </a:lnTo>
                  <a:lnTo>
                    <a:pt x="110" y="237"/>
                  </a:lnTo>
                  <a:lnTo>
                    <a:pt x="113" y="230"/>
                  </a:lnTo>
                  <a:lnTo>
                    <a:pt x="116" y="219"/>
                  </a:lnTo>
                  <a:lnTo>
                    <a:pt x="113" y="218"/>
                  </a:lnTo>
                  <a:lnTo>
                    <a:pt x="100" y="199"/>
                  </a:lnTo>
                  <a:lnTo>
                    <a:pt x="86" y="178"/>
                  </a:lnTo>
                  <a:lnTo>
                    <a:pt x="91" y="180"/>
                  </a:lnTo>
                  <a:lnTo>
                    <a:pt x="95" y="159"/>
                  </a:lnTo>
                  <a:lnTo>
                    <a:pt x="109" y="157"/>
                  </a:lnTo>
                  <a:lnTo>
                    <a:pt x="116" y="148"/>
                  </a:lnTo>
                  <a:lnTo>
                    <a:pt x="125" y="146"/>
                  </a:lnTo>
                  <a:lnTo>
                    <a:pt x="131" y="138"/>
                  </a:lnTo>
                  <a:lnTo>
                    <a:pt x="138" y="124"/>
                  </a:lnTo>
                  <a:lnTo>
                    <a:pt x="133" y="122"/>
                  </a:lnTo>
                  <a:lnTo>
                    <a:pt x="122" y="126"/>
                  </a:lnTo>
                  <a:lnTo>
                    <a:pt x="114" y="116"/>
                  </a:lnTo>
                  <a:lnTo>
                    <a:pt x="106" y="112"/>
                  </a:lnTo>
                  <a:lnTo>
                    <a:pt x="108" y="98"/>
                  </a:lnTo>
                  <a:lnTo>
                    <a:pt x="97" y="93"/>
                  </a:lnTo>
                  <a:lnTo>
                    <a:pt x="94" y="81"/>
                  </a:lnTo>
                  <a:lnTo>
                    <a:pt x="92" y="7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1" name="Freeform 44">
              <a:extLst>
                <a:ext uri="{FF2B5EF4-FFF2-40B4-BE49-F238E27FC236}">
                  <a16:creationId xmlns:a16="http://schemas.microsoft.com/office/drawing/2014/main" id="{47AD72BE-A72A-4032-82D0-00B8AE449D3F}"/>
                </a:ext>
              </a:extLst>
            </p:cNvPr>
            <p:cNvSpPr>
              <a:spLocks/>
            </p:cNvSpPr>
            <p:nvPr/>
          </p:nvSpPr>
          <p:spPr bwMode="auto">
            <a:xfrm>
              <a:off x="9015317" y="3191133"/>
              <a:ext cx="140313" cy="205353"/>
            </a:xfrm>
            <a:custGeom>
              <a:avLst/>
              <a:gdLst/>
              <a:ahLst/>
              <a:cxnLst>
                <a:cxn ang="0">
                  <a:pos x="15" y="69"/>
                </a:cxn>
                <a:cxn ang="0">
                  <a:pos x="15" y="76"/>
                </a:cxn>
                <a:cxn ang="0">
                  <a:pos x="4" y="58"/>
                </a:cxn>
                <a:cxn ang="0">
                  <a:pos x="0" y="43"/>
                </a:cxn>
                <a:cxn ang="0">
                  <a:pos x="9" y="45"/>
                </a:cxn>
                <a:cxn ang="0">
                  <a:pos x="6" y="27"/>
                </a:cxn>
                <a:cxn ang="0">
                  <a:pos x="5" y="7"/>
                </a:cxn>
                <a:cxn ang="0">
                  <a:pos x="9" y="0"/>
                </a:cxn>
                <a:cxn ang="0">
                  <a:pos x="29" y="5"/>
                </a:cxn>
                <a:cxn ang="0">
                  <a:pos x="31" y="9"/>
                </a:cxn>
                <a:cxn ang="0">
                  <a:pos x="36" y="23"/>
                </a:cxn>
                <a:cxn ang="0">
                  <a:pos x="39" y="34"/>
                </a:cxn>
                <a:cxn ang="0">
                  <a:pos x="35" y="45"/>
                </a:cxn>
                <a:cxn ang="0">
                  <a:pos x="29" y="52"/>
                </a:cxn>
                <a:cxn ang="0">
                  <a:pos x="29" y="65"/>
                </a:cxn>
                <a:cxn ang="0">
                  <a:pos x="39" y="84"/>
                </a:cxn>
                <a:cxn ang="0">
                  <a:pos x="43" y="83"/>
                </a:cxn>
                <a:cxn ang="0">
                  <a:pos x="45" y="81"/>
                </a:cxn>
                <a:cxn ang="0">
                  <a:pos x="53" y="78"/>
                </a:cxn>
                <a:cxn ang="0">
                  <a:pos x="60" y="88"/>
                </a:cxn>
                <a:cxn ang="0">
                  <a:pos x="61" y="84"/>
                </a:cxn>
                <a:cxn ang="0">
                  <a:pos x="69" y="89"/>
                </a:cxn>
                <a:cxn ang="0">
                  <a:pos x="65" y="91"/>
                </a:cxn>
                <a:cxn ang="0">
                  <a:pos x="72" y="100"/>
                </a:cxn>
                <a:cxn ang="0">
                  <a:pos x="76" y="101"/>
                </a:cxn>
                <a:cxn ang="0">
                  <a:pos x="72" y="108"/>
                </a:cxn>
                <a:cxn ang="0">
                  <a:pos x="72" y="103"/>
                </a:cxn>
                <a:cxn ang="0">
                  <a:pos x="61" y="97"/>
                </a:cxn>
                <a:cxn ang="0">
                  <a:pos x="54" y="89"/>
                </a:cxn>
                <a:cxn ang="0">
                  <a:pos x="48" y="87"/>
                </a:cxn>
                <a:cxn ang="0">
                  <a:pos x="51" y="99"/>
                </a:cxn>
                <a:cxn ang="0">
                  <a:pos x="35" y="85"/>
                </a:cxn>
                <a:cxn ang="0">
                  <a:pos x="25" y="90"/>
                </a:cxn>
                <a:cxn ang="0">
                  <a:pos x="18" y="87"/>
                </a:cxn>
                <a:cxn ang="0">
                  <a:pos x="18" y="78"/>
                </a:cxn>
                <a:cxn ang="0">
                  <a:pos x="21" y="71"/>
                </a:cxn>
                <a:cxn ang="0">
                  <a:pos x="15" y="69"/>
                </a:cxn>
              </a:cxnLst>
              <a:rect l="0" t="0" r="r" b="b"/>
              <a:pathLst>
                <a:path w="76" h="108">
                  <a:moveTo>
                    <a:pt x="15" y="69"/>
                  </a:moveTo>
                  <a:lnTo>
                    <a:pt x="15" y="76"/>
                  </a:lnTo>
                  <a:lnTo>
                    <a:pt x="4" y="58"/>
                  </a:lnTo>
                  <a:lnTo>
                    <a:pt x="0" y="43"/>
                  </a:lnTo>
                  <a:lnTo>
                    <a:pt x="9" y="45"/>
                  </a:lnTo>
                  <a:lnTo>
                    <a:pt x="6" y="27"/>
                  </a:lnTo>
                  <a:lnTo>
                    <a:pt x="5" y="7"/>
                  </a:lnTo>
                  <a:lnTo>
                    <a:pt x="9" y="0"/>
                  </a:lnTo>
                  <a:lnTo>
                    <a:pt x="29" y="5"/>
                  </a:lnTo>
                  <a:lnTo>
                    <a:pt x="31" y="9"/>
                  </a:lnTo>
                  <a:lnTo>
                    <a:pt x="36" y="23"/>
                  </a:lnTo>
                  <a:lnTo>
                    <a:pt x="39" y="34"/>
                  </a:lnTo>
                  <a:lnTo>
                    <a:pt x="35" y="45"/>
                  </a:lnTo>
                  <a:lnTo>
                    <a:pt x="29" y="52"/>
                  </a:lnTo>
                  <a:lnTo>
                    <a:pt x="29" y="65"/>
                  </a:lnTo>
                  <a:lnTo>
                    <a:pt x="39" y="84"/>
                  </a:lnTo>
                  <a:lnTo>
                    <a:pt x="43" y="83"/>
                  </a:lnTo>
                  <a:lnTo>
                    <a:pt x="45" y="81"/>
                  </a:lnTo>
                  <a:lnTo>
                    <a:pt x="53" y="78"/>
                  </a:lnTo>
                  <a:lnTo>
                    <a:pt x="60" y="88"/>
                  </a:lnTo>
                  <a:lnTo>
                    <a:pt x="61" y="84"/>
                  </a:lnTo>
                  <a:lnTo>
                    <a:pt x="69" y="89"/>
                  </a:lnTo>
                  <a:lnTo>
                    <a:pt x="65" y="91"/>
                  </a:lnTo>
                  <a:lnTo>
                    <a:pt x="72" y="100"/>
                  </a:lnTo>
                  <a:lnTo>
                    <a:pt x="76" y="101"/>
                  </a:lnTo>
                  <a:lnTo>
                    <a:pt x="72" y="108"/>
                  </a:lnTo>
                  <a:lnTo>
                    <a:pt x="72" y="103"/>
                  </a:lnTo>
                  <a:lnTo>
                    <a:pt x="61" y="97"/>
                  </a:lnTo>
                  <a:lnTo>
                    <a:pt x="54" y="89"/>
                  </a:lnTo>
                  <a:lnTo>
                    <a:pt x="48" y="87"/>
                  </a:lnTo>
                  <a:lnTo>
                    <a:pt x="51" y="99"/>
                  </a:lnTo>
                  <a:lnTo>
                    <a:pt x="35" y="85"/>
                  </a:lnTo>
                  <a:lnTo>
                    <a:pt x="25" y="90"/>
                  </a:lnTo>
                  <a:lnTo>
                    <a:pt x="18" y="87"/>
                  </a:lnTo>
                  <a:lnTo>
                    <a:pt x="18" y="78"/>
                  </a:lnTo>
                  <a:lnTo>
                    <a:pt x="21" y="71"/>
                  </a:lnTo>
                  <a:lnTo>
                    <a:pt x="15" y="6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2" name="Freeform 45">
              <a:extLst>
                <a:ext uri="{FF2B5EF4-FFF2-40B4-BE49-F238E27FC236}">
                  <a16:creationId xmlns:a16="http://schemas.microsoft.com/office/drawing/2014/main" id="{CD4EF7ED-6D37-4D54-ACAC-28E783FC73C7}"/>
                </a:ext>
              </a:extLst>
            </p:cNvPr>
            <p:cNvSpPr>
              <a:spLocks/>
            </p:cNvSpPr>
            <p:nvPr/>
          </p:nvSpPr>
          <p:spPr bwMode="auto">
            <a:xfrm>
              <a:off x="9109429" y="3495741"/>
              <a:ext cx="136891" cy="140325"/>
            </a:xfrm>
            <a:custGeom>
              <a:avLst/>
              <a:gdLst/>
              <a:ahLst/>
              <a:cxnLst>
                <a:cxn ang="0">
                  <a:pos x="56" y="73"/>
                </a:cxn>
                <a:cxn ang="0">
                  <a:pos x="54" y="66"/>
                </a:cxn>
                <a:cxn ang="0">
                  <a:pos x="51" y="68"/>
                </a:cxn>
                <a:cxn ang="0">
                  <a:pos x="33" y="58"/>
                </a:cxn>
                <a:cxn ang="0">
                  <a:pos x="36" y="43"/>
                </a:cxn>
                <a:cxn ang="0">
                  <a:pos x="26" y="34"/>
                </a:cxn>
                <a:cxn ang="0">
                  <a:pos x="22" y="38"/>
                </a:cxn>
                <a:cxn ang="0">
                  <a:pos x="19" y="37"/>
                </a:cxn>
                <a:cxn ang="0">
                  <a:pos x="16" y="40"/>
                </a:cxn>
                <a:cxn ang="0">
                  <a:pos x="12" y="35"/>
                </a:cxn>
                <a:cxn ang="0">
                  <a:pos x="4" y="44"/>
                </a:cxn>
                <a:cxn ang="0">
                  <a:pos x="0" y="49"/>
                </a:cxn>
                <a:cxn ang="0">
                  <a:pos x="2" y="36"/>
                </a:cxn>
                <a:cxn ang="0">
                  <a:pos x="14" y="25"/>
                </a:cxn>
                <a:cxn ang="0">
                  <a:pos x="24" y="19"/>
                </a:cxn>
                <a:cxn ang="0">
                  <a:pos x="27" y="29"/>
                </a:cxn>
                <a:cxn ang="0">
                  <a:pos x="34" y="25"/>
                </a:cxn>
                <a:cxn ang="0">
                  <a:pos x="39" y="22"/>
                </a:cxn>
                <a:cxn ang="0">
                  <a:pos x="42" y="13"/>
                </a:cxn>
                <a:cxn ang="0">
                  <a:pos x="49" y="13"/>
                </a:cxn>
                <a:cxn ang="0">
                  <a:pos x="52" y="13"/>
                </a:cxn>
                <a:cxn ang="0">
                  <a:pos x="51" y="0"/>
                </a:cxn>
                <a:cxn ang="0">
                  <a:pos x="63" y="8"/>
                </a:cxn>
                <a:cxn ang="0">
                  <a:pos x="66" y="22"/>
                </a:cxn>
                <a:cxn ang="0">
                  <a:pos x="73" y="43"/>
                </a:cxn>
                <a:cxn ang="0">
                  <a:pos x="69" y="52"/>
                </a:cxn>
                <a:cxn ang="0">
                  <a:pos x="68" y="59"/>
                </a:cxn>
                <a:cxn ang="0">
                  <a:pos x="61" y="44"/>
                </a:cxn>
                <a:cxn ang="0">
                  <a:pos x="56" y="48"/>
                </a:cxn>
                <a:cxn ang="0">
                  <a:pos x="58" y="60"/>
                </a:cxn>
                <a:cxn ang="0">
                  <a:pos x="56" y="73"/>
                </a:cxn>
              </a:cxnLst>
              <a:rect l="0" t="0" r="r" b="b"/>
              <a:pathLst>
                <a:path w="73" h="73">
                  <a:moveTo>
                    <a:pt x="56" y="73"/>
                  </a:moveTo>
                  <a:lnTo>
                    <a:pt x="54" y="66"/>
                  </a:lnTo>
                  <a:lnTo>
                    <a:pt x="51" y="68"/>
                  </a:lnTo>
                  <a:lnTo>
                    <a:pt x="33" y="58"/>
                  </a:lnTo>
                  <a:lnTo>
                    <a:pt x="36" y="43"/>
                  </a:lnTo>
                  <a:lnTo>
                    <a:pt x="26" y="34"/>
                  </a:lnTo>
                  <a:lnTo>
                    <a:pt x="22" y="38"/>
                  </a:lnTo>
                  <a:lnTo>
                    <a:pt x="19" y="37"/>
                  </a:lnTo>
                  <a:lnTo>
                    <a:pt x="16" y="40"/>
                  </a:lnTo>
                  <a:lnTo>
                    <a:pt x="12" y="35"/>
                  </a:lnTo>
                  <a:lnTo>
                    <a:pt x="4" y="44"/>
                  </a:lnTo>
                  <a:lnTo>
                    <a:pt x="0" y="49"/>
                  </a:lnTo>
                  <a:lnTo>
                    <a:pt x="2" y="36"/>
                  </a:lnTo>
                  <a:lnTo>
                    <a:pt x="14" y="25"/>
                  </a:lnTo>
                  <a:lnTo>
                    <a:pt x="24" y="19"/>
                  </a:lnTo>
                  <a:lnTo>
                    <a:pt x="27" y="29"/>
                  </a:lnTo>
                  <a:lnTo>
                    <a:pt x="34" y="25"/>
                  </a:lnTo>
                  <a:lnTo>
                    <a:pt x="39" y="22"/>
                  </a:lnTo>
                  <a:lnTo>
                    <a:pt x="42" y="13"/>
                  </a:lnTo>
                  <a:lnTo>
                    <a:pt x="49" y="13"/>
                  </a:lnTo>
                  <a:lnTo>
                    <a:pt x="52" y="13"/>
                  </a:lnTo>
                  <a:lnTo>
                    <a:pt x="51" y="0"/>
                  </a:lnTo>
                  <a:lnTo>
                    <a:pt x="63" y="8"/>
                  </a:lnTo>
                  <a:lnTo>
                    <a:pt x="66" y="22"/>
                  </a:lnTo>
                  <a:lnTo>
                    <a:pt x="73" y="43"/>
                  </a:lnTo>
                  <a:lnTo>
                    <a:pt x="69" y="52"/>
                  </a:lnTo>
                  <a:lnTo>
                    <a:pt x="68" y="59"/>
                  </a:lnTo>
                  <a:lnTo>
                    <a:pt x="61" y="44"/>
                  </a:lnTo>
                  <a:lnTo>
                    <a:pt x="56" y="48"/>
                  </a:lnTo>
                  <a:lnTo>
                    <a:pt x="58" y="60"/>
                  </a:lnTo>
                  <a:lnTo>
                    <a:pt x="56" y="7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3" name="Freeform 46">
              <a:extLst>
                <a:ext uri="{FF2B5EF4-FFF2-40B4-BE49-F238E27FC236}">
                  <a16:creationId xmlns:a16="http://schemas.microsoft.com/office/drawing/2014/main" id="{6B932017-0EB4-41B2-BFEA-D14E1C535AC4}"/>
                </a:ext>
              </a:extLst>
            </p:cNvPr>
            <p:cNvSpPr>
              <a:spLocks/>
            </p:cNvSpPr>
            <p:nvPr/>
          </p:nvSpPr>
          <p:spPr bwMode="auto">
            <a:xfrm>
              <a:off x="9117985" y="3458093"/>
              <a:ext cx="29089" cy="56472"/>
            </a:xfrm>
            <a:custGeom>
              <a:avLst/>
              <a:gdLst/>
              <a:ahLst/>
              <a:cxnLst>
                <a:cxn ang="0">
                  <a:pos x="16" y="0"/>
                </a:cxn>
                <a:cxn ang="0">
                  <a:pos x="12" y="22"/>
                </a:cxn>
                <a:cxn ang="0">
                  <a:pos x="12" y="31"/>
                </a:cxn>
                <a:cxn ang="0">
                  <a:pos x="0" y="20"/>
                </a:cxn>
                <a:cxn ang="0">
                  <a:pos x="4" y="15"/>
                </a:cxn>
                <a:cxn ang="0">
                  <a:pos x="6" y="0"/>
                </a:cxn>
                <a:cxn ang="0">
                  <a:pos x="16" y="0"/>
                </a:cxn>
              </a:cxnLst>
              <a:rect l="0" t="0" r="r" b="b"/>
              <a:pathLst>
                <a:path w="16" h="31">
                  <a:moveTo>
                    <a:pt x="16" y="0"/>
                  </a:moveTo>
                  <a:lnTo>
                    <a:pt x="12" y="22"/>
                  </a:lnTo>
                  <a:lnTo>
                    <a:pt x="12" y="31"/>
                  </a:lnTo>
                  <a:lnTo>
                    <a:pt x="0" y="20"/>
                  </a:lnTo>
                  <a:lnTo>
                    <a:pt x="4" y="15"/>
                  </a:lnTo>
                  <a:lnTo>
                    <a:pt x="6" y="0"/>
                  </a:lnTo>
                  <a:lnTo>
                    <a:pt x="1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4" name="Freeform 47">
              <a:extLst>
                <a:ext uri="{FF2B5EF4-FFF2-40B4-BE49-F238E27FC236}">
                  <a16:creationId xmlns:a16="http://schemas.microsoft.com/office/drawing/2014/main" id="{E3DC637B-7096-4A5F-B009-FC23083D20B6}"/>
                </a:ext>
              </a:extLst>
            </p:cNvPr>
            <p:cNvSpPr>
              <a:spLocks/>
            </p:cNvSpPr>
            <p:nvPr/>
          </p:nvSpPr>
          <p:spPr bwMode="auto">
            <a:xfrm>
              <a:off x="9162475" y="3396487"/>
              <a:ext cx="49623" cy="53050"/>
            </a:xfrm>
            <a:custGeom>
              <a:avLst/>
              <a:gdLst/>
              <a:ahLst/>
              <a:cxnLst>
                <a:cxn ang="0">
                  <a:pos x="20" y="27"/>
                </a:cxn>
                <a:cxn ang="0">
                  <a:pos x="12" y="18"/>
                </a:cxn>
                <a:cxn ang="0">
                  <a:pos x="0" y="3"/>
                </a:cxn>
                <a:cxn ang="0">
                  <a:pos x="14" y="0"/>
                </a:cxn>
                <a:cxn ang="0">
                  <a:pos x="20" y="11"/>
                </a:cxn>
                <a:cxn ang="0">
                  <a:pos x="27" y="28"/>
                </a:cxn>
                <a:cxn ang="0">
                  <a:pos x="20" y="27"/>
                </a:cxn>
              </a:cxnLst>
              <a:rect l="0" t="0" r="r" b="b"/>
              <a:pathLst>
                <a:path w="27" h="28">
                  <a:moveTo>
                    <a:pt x="20" y="27"/>
                  </a:moveTo>
                  <a:lnTo>
                    <a:pt x="12" y="18"/>
                  </a:lnTo>
                  <a:lnTo>
                    <a:pt x="0" y="3"/>
                  </a:lnTo>
                  <a:lnTo>
                    <a:pt x="14" y="0"/>
                  </a:lnTo>
                  <a:lnTo>
                    <a:pt x="20" y="11"/>
                  </a:lnTo>
                  <a:lnTo>
                    <a:pt x="27" y="28"/>
                  </a:lnTo>
                  <a:lnTo>
                    <a:pt x="20" y="2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5" name="Freeform 48">
              <a:extLst>
                <a:ext uri="{FF2B5EF4-FFF2-40B4-BE49-F238E27FC236}">
                  <a16:creationId xmlns:a16="http://schemas.microsoft.com/office/drawing/2014/main" id="{DE2E2B60-A1F5-49B5-8A65-AF0292FB2632}"/>
                </a:ext>
              </a:extLst>
            </p:cNvPr>
            <p:cNvSpPr>
              <a:spLocks/>
            </p:cNvSpPr>
            <p:nvPr/>
          </p:nvSpPr>
          <p:spPr bwMode="auto">
            <a:xfrm>
              <a:off x="9094029" y="3423867"/>
              <a:ext cx="39356" cy="44493"/>
            </a:xfrm>
            <a:custGeom>
              <a:avLst/>
              <a:gdLst/>
              <a:ahLst/>
              <a:cxnLst>
                <a:cxn ang="0">
                  <a:pos x="20" y="4"/>
                </a:cxn>
                <a:cxn ang="0">
                  <a:pos x="3" y="0"/>
                </a:cxn>
                <a:cxn ang="0">
                  <a:pos x="0" y="1"/>
                </a:cxn>
                <a:cxn ang="0">
                  <a:pos x="5" y="24"/>
                </a:cxn>
                <a:cxn ang="0">
                  <a:pos x="20" y="9"/>
                </a:cxn>
                <a:cxn ang="0">
                  <a:pos x="21" y="8"/>
                </a:cxn>
                <a:cxn ang="0">
                  <a:pos x="20" y="4"/>
                </a:cxn>
              </a:cxnLst>
              <a:rect l="0" t="0" r="r" b="b"/>
              <a:pathLst>
                <a:path w="21" h="24">
                  <a:moveTo>
                    <a:pt x="20" y="4"/>
                  </a:moveTo>
                  <a:lnTo>
                    <a:pt x="3" y="0"/>
                  </a:lnTo>
                  <a:lnTo>
                    <a:pt x="0" y="1"/>
                  </a:lnTo>
                  <a:lnTo>
                    <a:pt x="5" y="24"/>
                  </a:lnTo>
                  <a:lnTo>
                    <a:pt x="20" y="9"/>
                  </a:lnTo>
                  <a:lnTo>
                    <a:pt x="21" y="8"/>
                  </a:lnTo>
                  <a:lnTo>
                    <a:pt x="20"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6" name="Freeform 49">
              <a:extLst>
                <a:ext uri="{FF2B5EF4-FFF2-40B4-BE49-F238E27FC236}">
                  <a16:creationId xmlns:a16="http://schemas.microsoft.com/office/drawing/2014/main" id="{9ED1A623-CC01-4539-AF28-22D353D37E16}"/>
                </a:ext>
              </a:extLst>
            </p:cNvPr>
            <p:cNvSpPr>
              <a:spLocks/>
            </p:cNvSpPr>
            <p:nvPr/>
          </p:nvSpPr>
          <p:spPr bwMode="auto">
            <a:xfrm>
              <a:off x="8962272" y="3442691"/>
              <a:ext cx="71868" cy="94120"/>
            </a:xfrm>
            <a:custGeom>
              <a:avLst/>
              <a:gdLst/>
              <a:ahLst/>
              <a:cxnLst>
                <a:cxn ang="0">
                  <a:pos x="37" y="15"/>
                </a:cxn>
                <a:cxn ang="0">
                  <a:pos x="23" y="29"/>
                </a:cxn>
                <a:cxn ang="0">
                  <a:pos x="12" y="40"/>
                </a:cxn>
                <a:cxn ang="0">
                  <a:pos x="0" y="52"/>
                </a:cxn>
                <a:cxn ang="0">
                  <a:pos x="1" y="48"/>
                </a:cxn>
                <a:cxn ang="0">
                  <a:pos x="13" y="34"/>
                </a:cxn>
                <a:cxn ang="0">
                  <a:pos x="24" y="21"/>
                </a:cxn>
                <a:cxn ang="0">
                  <a:pos x="29" y="9"/>
                </a:cxn>
                <a:cxn ang="0">
                  <a:pos x="30" y="9"/>
                </a:cxn>
                <a:cxn ang="0">
                  <a:pos x="31" y="0"/>
                </a:cxn>
                <a:cxn ang="0">
                  <a:pos x="37" y="15"/>
                </a:cxn>
              </a:cxnLst>
              <a:rect l="0" t="0" r="r" b="b"/>
              <a:pathLst>
                <a:path w="37" h="52">
                  <a:moveTo>
                    <a:pt x="37" y="15"/>
                  </a:moveTo>
                  <a:lnTo>
                    <a:pt x="23" y="29"/>
                  </a:lnTo>
                  <a:lnTo>
                    <a:pt x="12" y="40"/>
                  </a:lnTo>
                  <a:lnTo>
                    <a:pt x="0" y="52"/>
                  </a:lnTo>
                  <a:lnTo>
                    <a:pt x="1" y="48"/>
                  </a:lnTo>
                  <a:lnTo>
                    <a:pt x="13" y="34"/>
                  </a:lnTo>
                  <a:lnTo>
                    <a:pt x="24" y="21"/>
                  </a:lnTo>
                  <a:lnTo>
                    <a:pt x="29" y="9"/>
                  </a:lnTo>
                  <a:lnTo>
                    <a:pt x="30" y="9"/>
                  </a:lnTo>
                  <a:lnTo>
                    <a:pt x="31" y="0"/>
                  </a:lnTo>
                  <a:lnTo>
                    <a:pt x="37" y="1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7" name="Freeform 50">
              <a:extLst>
                <a:ext uri="{FF2B5EF4-FFF2-40B4-BE49-F238E27FC236}">
                  <a16:creationId xmlns:a16="http://schemas.microsoft.com/office/drawing/2014/main" id="{314D7FB8-4115-4CCF-AFBA-330C06FD8E43}"/>
                </a:ext>
              </a:extLst>
            </p:cNvPr>
            <p:cNvSpPr>
              <a:spLocks/>
            </p:cNvSpPr>
            <p:nvPr/>
          </p:nvSpPr>
          <p:spPr bwMode="auto">
            <a:xfrm>
              <a:off x="9037562" y="3365684"/>
              <a:ext cx="41067" cy="42782"/>
            </a:xfrm>
            <a:custGeom>
              <a:avLst/>
              <a:gdLst/>
              <a:ahLst/>
              <a:cxnLst>
                <a:cxn ang="0">
                  <a:pos x="22" y="14"/>
                </a:cxn>
                <a:cxn ang="0">
                  <a:pos x="18" y="20"/>
                </a:cxn>
                <a:cxn ang="0">
                  <a:pos x="10" y="11"/>
                </a:cxn>
                <a:cxn ang="0">
                  <a:pos x="0" y="0"/>
                </a:cxn>
                <a:cxn ang="0">
                  <a:pos x="17" y="2"/>
                </a:cxn>
                <a:cxn ang="0">
                  <a:pos x="22" y="14"/>
                </a:cxn>
              </a:cxnLst>
              <a:rect l="0" t="0" r="r" b="b"/>
              <a:pathLst>
                <a:path w="22" h="20">
                  <a:moveTo>
                    <a:pt x="22" y="14"/>
                  </a:moveTo>
                  <a:lnTo>
                    <a:pt x="18" y="20"/>
                  </a:lnTo>
                  <a:lnTo>
                    <a:pt x="10" y="11"/>
                  </a:lnTo>
                  <a:lnTo>
                    <a:pt x="0" y="0"/>
                  </a:lnTo>
                  <a:lnTo>
                    <a:pt x="17" y="2"/>
                  </a:lnTo>
                  <a:lnTo>
                    <a:pt x="22" y="1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8" name="Freeform 51">
              <a:extLst>
                <a:ext uri="{FF2B5EF4-FFF2-40B4-BE49-F238E27FC236}">
                  <a16:creationId xmlns:a16="http://schemas.microsoft.com/office/drawing/2014/main" id="{EEEA6F54-289D-4F7C-8A9A-1AF75E993500}"/>
                </a:ext>
              </a:extLst>
            </p:cNvPr>
            <p:cNvSpPr>
              <a:spLocks/>
            </p:cNvSpPr>
            <p:nvPr/>
          </p:nvSpPr>
          <p:spPr bwMode="auto">
            <a:xfrm>
              <a:off x="9171030" y="3434135"/>
              <a:ext cx="30800" cy="46205"/>
            </a:xfrm>
            <a:custGeom>
              <a:avLst/>
              <a:gdLst/>
              <a:ahLst/>
              <a:cxnLst>
                <a:cxn ang="0">
                  <a:pos x="10" y="4"/>
                </a:cxn>
                <a:cxn ang="0">
                  <a:pos x="16" y="21"/>
                </a:cxn>
                <a:cxn ang="0">
                  <a:pos x="12" y="22"/>
                </a:cxn>
                <a:cxn ang="0">
                  <a:pos x="11" y="25"/>
                </a:cxn>
                <a:cxn ang="0">
                  <a:pos x="4" y="10"/>
                </a:cxn>
                <a:cxn ang="0">
                  <a:pos x="0" y="0"/>
                </a:cxn>
                <a:cxn ang="0">
                  <a:pos x="10" y="4"/>
                </a:cxn>
              </a:cxnLst>
              <a:rect l="0" t="0" r="r" b="b"/>
              <a:pathLst>
                <a:path w="16" h="25">
                  <a:moveTo>
                    <a:pt x="10" y="4"/>
                  </a:moveTo>
                  <a:lnTo>
                    <a:pt x="16" y="21"/>
                  </a:lnTo>
                  <a:lnTo>
                    <a:pt x="12" y="22"/>
                  </a:lnTo>
                  <a:lnTo>
                    <a:pt x="11" y="25"/>
                  </a:lnTo>
                  <a:lnTo>
                    <a:pt x="4" y="10"/>
                  </a:lnTo>
                  <a:lnTo>
                    <a:pt x="0" y="0"/>
                  </a:lnTo>
                  <a:lnTo>
                    <a:pt x="10"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9" name="Freeform 52">
              <a:extLst>
                <a:ext uri="{FF2B5EF4-FFF2-40B4-BE49-F238E27FC236}">
                  <a16:creationId xmlns:a16="http://schemas.microsoft.com/office/drawing/2014/main" id="{7AAEA563-39BB-4794-BE8B-76B29DB8893D}"/>
                </a:ext>
              </a:extLst>
            </p:cNvPr>
            <p:cNvSpPr>
              <a:spLocks/>
            </p:cNvSpPr>
            <p:nvPr/>
          </p:nvSpPr>
          <p:spPr bwMode="auto">
            <a:xfrm>
              <a:off x="9133385" y="3399909"/>
              <a:ext cx="25667" cy="27380"/>
            </a:xfrm>
            <a:custGeom>
              <a:avLst/>
              <a:gdLst/>
              <a:ahLst/>
              <a:cxnLst>
                <a:cxn ang="0">
                  <a:pos x="14" y="13"/>
                </a:cxn>
                <a:cxn ang="0">
                  <a:pos x="2" y="6"/>
                </a:cxn>
                <a:cxn ang="0">
                  <a:pos x="0" y="7"/>
                </a:cxn>
                <a:cxn ang="0">
                  <a:pos x="1" y="0"/>
                </a:cxn>
                <a:cxn ang="0">
                  <a:pos x="14" y="11"/>
                </a:cxn>
                <a:cxn ang="0">
                  <a:pos x="14" y="13"/>
                </a:cxn>
              </a:cxnLst>
              <a:rect l="0" t="0" r="r" b="b"/>
              <a:pathLst>
                <a:path w="14" h="13">
                  <a:moveTo>
                    <a:pt x="14" y="13"/>
                  </a:moveTo>
                  <a:lnTo>
                    <a:pt x="2" y="6"/>
                  </a:lnTo>
                  <a:lnTo>
                    <a:pt x="0" y="7"/>
                  </a:lnTo>
                  <a:lnTo>
                    <a:pt x="1" y="0"/>
                  </a:lnTo>
                  <a:lnTo>
                    <a:pt x="14" y="11"/>
                  </a:lnTo>
                  <a:lnTo>
                    <a:pt x="14"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0" name="Freeform 53">
              <a:extLst>
                <a:ext uri="{FF2B5EF4-FFF2-40B4-BE49-F238E27FC236}">
                  <a16:creationId xmlns:a16="http://schemas.microsoft.com/office/drawing/2014/main" id="{AC295C17-4A1D-4803-B183-AAF66F0BA79E}"/>
                </a:ext>
              </a:extLst>
            </p:cNvPr>
            <p:cNvSpPr>
              <a:spLocks/>
            </p:cNvSpPr>
            <p:nvPr/>
          </p:nvSpPr>
          <p:spPr bwMode="auto">
            <a:xfrm>
              <a:off x="9159052" y="3480339"/>
              <a:ext cx="22245" cy="11979"/>
            </a:xfrm>
            <a:custGeom>
              <a:avLst/>
              <a:gdLst/>
              <a:ahLst/>
              <a:cxnLst>
                <a:cxn ang="0">
                  <a:pos x="12" y="6"/>
                </a:cxn>
                <a:cxn ang="0">
                  <a:pos x="10" y="0"/>
                </a:cxn>
                <a:cxn ang="0">
                  <a:pos x="0" y="6"/>
                </a:cxn>
                <a:cxn ang="0">
                  <a:pos x="12" y="6"/>
                </a:cxn>
              </a:cxnLst>
              <a:rect l="0" t="0" r="r" b="b"/>
              <a:pathLst>
                <a:path w="12" h="6">
                  <a:moveTo>
                    <a:pt x="12" y="6"/>
                  </a:moveTo>
                  <a:lnTo>
                    <a:pt x="10" y="0"/>
                  </a:lnTo>
                  <a:lnTo>
                    <a:pt x="0" y="6"/>
                  </a:lnTo>
                  <a:lnTo>
                    <a:pt x="12"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1" name="Freeform 54">
              <a:extLst>
                <a:ext uri="{FF2B5EF4-FFF2-40B4-BE49-F238E27FC236}">
                  <a16:creationId xmlns:a16="http://schemas.microsoft.com/office/drawing/2014/main" id="{F27A38AE-46E6-4196-8608-2C6FB69158B1}"/>
                </a:ext>
              </a:extLst>
            </p:cNvPr>
            <p:cNvSpPr>
              <a:spLocks/>
            </p:cNvSpPr>
            <p:nvPr/>
          </p:nvSpPr>
          <p:spPr bwMode="auto">
            <a:xfrm>
              <a:off x="9143652" y="3442691"/>
              <a:ext cx="18822" cy="59895"/>
            </a:xfrm>
            <a:custGeom>
              <a:avLst/>
              <a:gdLst/>
              <a:ahLst/>
              <a:cxnLst>
                <a:cxn ang="0">
                  <a:pos x="8" y="0"/>
                </a:cxn>
                <a:cxn ang="0">
                  <a:pos x="8" y="9"/>
                </a:cxn>
                <a:cxn ang="0">
                  <a:pos x="5" y="21"/>
                </a:cxn>
                <a:cxn ang="0">
                  <a:pos x="0" y="33"/>
                </a:cxn>
                <a:cxn ang="0">
                  <a:pos x="5" y="16"/>
                </a:cxn>
                <a:cxn ang="0">
                  <a:pos x="8" y="0"/>
                </a:cxn>
              </a:cxnLst>
              <a:rect l="0" t="0" r="r" b="b"/>
              <a:pathLst>
                <a:path w="8" h="33">
                  <a:moveTo>
                    <a:pt x="8" y="0"/>
                  </a:moveTo>
                  <a:lnTo>
                    <a:pt x="8" y="9"/>
                  </a:lnTo>
                  <a:lnTo>
                    <a:pt x="5" y="21"/>
                  </a:lnTo>
                  <a:lnTo>
                    <a:pt x="0" y="33"/>
                  </a:lnTo>
                  <a:lnTo>
                    <a:pt x="5" y="16"/>
                  </a:lnTo>
                  <a:lnTo>
                    <a:pt x="8"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2" name="Freeform 55">
              <a:extLst>
                <a:ext uri="{FF2B5EF4-FFF2-40B4-BE49-F238E27FC236}">
                  <a16:creationId xmlns:a16="http://schemas.microsoft.com/office/drawing/2014/main" id="{35B04B35-3A6C-4304-93DE-DE764BD7B9CD}"/>
                </a:ext>
              </a:extLst>
            </p:cNvPr>
            <p:cNvSpPr>
              <a:spLocks/>
            </p:cNvSpPr>
            <p:nvPr/>
          </p:nvSpPr>
          <p:spPr bwMode="auto">
            <a:xfrm>
              <a:off x="8330864" y="3131239"/>
              <a:ext cx="261803" cy="497982"/>
            </a:xfrm>
            <a:custGeom>
              <a:avLst/>
              <a:gdLst/>
              <a:ahLst/>
              <a:cxnLst>
                <a:cxn ang="0">
                  <a:pos x="46" y="187"/>
                </a:cxn>
                <a:cxn ang="0">
                  <a:pos x="53" y="155"/>
                </a:cxn>
                <a:cxn ang="0">
                  <a:pos x="54" y="126"/>
                </a:cxn>
                <a:cxn ang="0">
                  <a:pos x="69" y="137"/>
                </a:cxn>
                <a:cxn ang="0">
                  <a:pos x="96" y="150"/>
                </a:cxn>
                <a:cxn ang="0">
                  <a:pos x="96" y="143"/>
                </a:cxn>
                <a:cxn ang="0">
                  <a:pos x="101" y="109"/>
                </a:cxn>
                <a:cxn ang="0">
                  <a:pos x="134" y="108"/>
                </a:cxn>
                <a:cxn ang="0">
                  <a:pos x="135" y="83"/>
                </a:cxn>
                <a:cxn ang="0">
                  <a:pos x="118" y="52"/>
                </a:cxn>
                <a:cxn ang="0">
                  <a:pos x="92" y="41"/>
                </a:cxn>
                <a:cxn ang="0">
                  <a:pos x="75" y="40"/>
                </a:cxn>
                <a:cxn ang="0">
                  <a:pos x="59" y="32"/>
                </a:cxn>
                <a:cxn ang="0">
                  <a:pos x="46" y="13"/>
                </a:cxn>
                <a:cxn ang="0">
                  <a:pos x="39" y="0"/>
                </a:cxn>
                <a:cxn ang="0">
                  <a:pos x="23" y="11"/>
                </a:cxn>
                <a:cxn ang="0">
                  <a:pos x="5" y="34"/>
                </a:cxn>
                <a:cxn ang="0">
                  <a:pos x="14" y="53"/>
                </a:cxn>
                <a:cxn ang="0">
                  <a:pos x="30" y="73"/>
                </a:cxn>
                <a:cxn ang="0">
                  <a:pos x="24" y="91"/>
                </a:cxn>
                <a:cxn ang="0">
                  <a:pos x="33" y="113"/>
                </a:cxn>
                <a:cxn ang="0">
                  <a:pos x="45" y="139"/>
                </a:cxn>
                <a:cxn ang="0">
                  <a:pos x="45" y="168"/>
                </a:cxn>
                <a:cxn ang="0">
                  <a:pos x="39" y="184"/>
                </a:cxn>
                <a:cxn ang="0">
                  <a:pos x="34" y="218"/>
                </a:cxn>
                <a:cxn ang="0">
                  <a:pos x="45" y="226"/>
                </a:cxn>
                <a:cxn ang="0">
                  <a:pos x="58" y="240"/>
                </a:cxn>
                <a:cxn ang="0">
                  <a:pos x="66" y="248"/>
                </a:cxn>
                <a:cxn ang="0">
                  <a:pos x="80" y="262"/>
                </a:cxn>
                <a:cxn ang="0">
                  <a:pos x="96" y="254"/>
                </a:cxn>
                <a:cxn ang="0">
                  <a:pos x="76" y="241"/>
                </a:cxn>
                <a:cxn ang="0">
                  <a:pos x="64" y="218"/>
                </a:cxn>
                <a:cxn ang="0">
                  <a:pos x="51" y="200"/>
                </a:cxn>
              </a:cxnLst>
              <a:rect l="0" t="0" r="r" b="b"/>
              <a:pathLst>
                <a:path w="138" h="262">
                  <a:moveTo>
                    <a:pt x="51" y="200"/>
                  </a:moveTo>
                  <a:lnTo>
                    <a:pt x="46" y="187"/>
                  </a:lnTo>
                  <a:lnTo>
                    <a:pt x="50" y="170"/>
                  </a:lnTo>
                  <a:lnTo>
                    <a:pt x="53" y="155"/>
                  </a:lnTo>
                  <a:lnTo>
                    <a:pt x="53" y="140"/>
                  </a:lnTo>
                  <a:lnTo>
                    <a:pt x="54" y="126"/>
                  </a:lnTo>
                  <a:lnTo>
                    <a:pt x="68" y="124"/>
                  </a:lnTo>
                  <a:lnTo>
                    <a:pt x="69" y="137"/>
                  </a:lnTo>
                  <a:lnTo>
                    <a:pt x="81" y="139"/>
                  </a:lnTo>
                  <a:lnTo>
                    <a:pt x="96" y="150"/>
                  </a:lnTo>
                  <a:lnTo>
                    <a:pt x="102" y="157"/>
                  </a:lnTo>
                  <a:lnTo>
                    <a:pt x="96" y="143"/>
                  </a:lnTo>
                  <a:lnTo>
                    <a:pt x="90" y="127"/>
                  </a:lnTo>
                  <a:lnTo>
                    <a:pt x="101" y="109"/>
                  </a:lnTo>
                  <a:lnTo>
                    <a:pt x="117" y="109"/>
                  </a:lnTo>
                  <a:lnTo>
                    <a:pt x="134" y="108"/>
                  </a:lnTo>
                  <a:lnTo>
                    <a:pt x="138" y="98"/>
                  </a:lnTo>
                  <a:lnTo>
                    <a:pt x="135" y="83"/>
                  </a:lnTo>
                  <a:lnTo>
                    <a:pt x="120" y="65"/>
                  </a:lnTo>
                  <a:lnTo>
                    <a:pt x="118" y="52"/>
                  </a:lnTo>
                  <a:lnTo>
                    <a:pt x="99" y="36"/>
                  </a:lnTo>
                  <a:lnTo>
                    <a:pt x="92" y="41"/>
                  </a:lnTo>
                  <a:lnTo>
                    <a:pt x="84" y="43"/>
                  </a:lnTo>
                  <a:lnTo>
                    <a:pt x="75" y="40"/>
                  </a:lnTo>
                  <a:lnTo>
                    <a:pt x="60" y="50"/>
                  </a:lnTo>
                  <a:lnTo>
                    <a:pt x="59" y="32"/>
                  </a:lnTo>
                  <a:lnTo>
                    <a:pt x="58" y="14"/>
                  </a:lnTo>
                  <a:lnTo>
                    <a:pt x="46" y="13"/>
                  </a:lnTo>
                  <a:lnTo>
                    <a:pt x="45" y="2"/>
                  </a:lnTo>
                  <a:lnTo>
                    <a:pt x="39" y="0"/>
                  </a:lnTo>
                  <a:lnTo>
                    <a:pt x="30" y="2"/>
                  </a:lnTo>
                  <a:lnTo>
                    <a:pt x="23" y="11"/>
                  </a:lnTo>
                  <a:lnTo>
                    <a:pt x="9" y="13"/>
                  </a:lnTo>
                  <a:lnTo>
                    <a:pt x="5" y="34"/>
                  </a:lnTo>
                  <a:lnTo>
                    <a:pt x="0" y="32"/>
                  </a:lnTo>
                  <a:lnTo>
                    <a:pt x="14" y="53"/>
                  </a:lnTo>
                  <a:lnTo>
                    <a:pt x="27" y="72"/>
                  </a:lnTo>
                  <a:lnTo>
                    <a:pt x="30" y="73"/>
                  </a:lnTo>
                  <a:lnTo>
                    <a:pt x="27" y="84"/>
                  </a:lnTo>
                  <a:lnTo>
                    <a:pt x="24" y="91"/>
                  </a:lnTo>
                  <a:lnTo>
                    <a:pt x="24" y="102"/>
                  </a:lnTo>
                  <a:lnTo>
                    <a:pt x="33" y="113"/>
                  </a:lnTo>
                  <a:lnTo>
                    <a:pt x="41" y="124"/>
                  </a:lnTo>
                  <a:lnTo>
                    <a:pt x="45" y="139"/>
                  </a:lnTo>
                  <a:lnTo>
                    <a:pt x="50" y="157"/>
                  </a:lnTo>
                  <a:lnTo>
                    <a:pt x="45" y="168"/>
                  </a:lnTo>
                  <a:lnTo>
                    <a:pt x="39" y="180"/>
                  </a:lnTo>
                  <a:lnTo>
                    <a:pt x="39" y="184"/>
                  </a:lnTo>
                  <a:lnTo>
                    <a:pt x="36" y="200"/>
                  </a:lnTo>
                  <a:lnTo>
                    <a:pt x="34" y="218"/>
                  </a:lnTo>
                  <a:lnTo>
                    <a:pt x="36" y="216"/>
                  </a:lnTo>
                  <a:lnTo>
                    <a:pt x="45" y="226"/>
                  </a:lnTo>
                  <a:lnTo>
                    <a:pt x="53" y="235"/>
                  </a:lnTo>
                  <a:lnTo>
                    <a:pt x="58" y="240"/>
                  </a:lnTo>
                  <a:lnTo>
                    <a:pt x="65" y="251"/>
                  </a:lnTo>
                  <a:lnTo>
                    <a:pt x="66" y="248"/>
                  </a:lnTo>
                  <a:lnTo>
                    <a:pt x="78" y="254"/>
                  </a:lnTo>
                  <a:lnTo>
                    <a:pt x="80" y="262"/>
                  </a:lnTo>
                  <a:lnTo>
                    <a:pt x="90" y="262"/>
                  </a:lnTo>
                  <a:lnTo>
                    <a:pt x="96" y="254"/>
                  </a:lnTo>
                  <a:lnTo>
                    <a:pt x="88" y="244"/>
                  </a:lnTo>
                  <a:lnTo>
                    <a:pt x="76" y="241"/>
                  </a:lnTo>
                  <a:lnTo>
                    <a:pt x="68" y="232"/>
                  </a:lnTo>
                  <a:lnTo>
                    <a:pt x="64" y="218"/>
                  </a:lnTo>
                  <a:lnTo>
                    <a:pt x="58" y="202"/>
                  </a:lnTo>
                  <a:lnTo>
                    <a:pt x="51" y="20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3" name="Freeform 56">
              <a:extLst>
                <a:ext uri="{FF2B5EF4-FFF2-40B4-BE49-F238E27FC236}">
                  <a16:creationId xmlns:a16="http://schemas.microsoft.com/office/drawing/2014/main" id="{90BE00A9-975E-4793-9CA4-597FD696D8D9}"/>
                </a:ext>
              </a:extLst>
            </p:cNvPr>
            <p:cNvSpPr>
              <a:spLocks/>
            </p:cNvSpPr>
            <p:nvPr/>
          </p:nvSpPr>
          <p:spPr bwMode="auto">
            <a:xfrm>
              <a:off x="8455776" y="3031984"/>
              <a:ext cx="261803" cy="497982"/>
            </a:xfrm>
            <a:custGeom>
              <a:avLst/>
              <a:gdLst/>
              <a:ahLst/>
              <a:cxnLst>
                <a:cxn ang="0">
                  <a:pos x="43" y="50"/>
                </a:cxn>
                <a:cxn ang="0">
                  <a:pos x="27" y="45"/>
                </a:cxn>
                <a:cxn ang="0">
                  <a:pos x="12" y="28"/>
                </a:cxn>
                <a:cxn ang="0">
                  <a:pos x="4" y="11"/>
                </a:cxn>
                <a:cxn ang="0">
                  <a:pos x="15" y="11"/>
                </a:cxn>
                <a:cxn ang="0">
                  <a:pos x="25" y="12"/>
                </a:cxn>
                <a:cxn ang="0">
                  <a:pos x="34" y="11"/>
                </a:cxn>
                <a:cxn ang="0">
                  <a:pos x="49" y="2"/>
                </a:cxn>
                <a:cxn ang="0">
                  <a:pos x="71" y="20"/>
                </a:cxn>
                <a:cxn ang="0">
                  <a:pos x="93" y="30"/>
                </a:cxn>
                <a:cxn ang="0">
                  <a:pos x="76" y="42"/>
                </a:cxn>
                <a:cxn ang="0">
                  <a:pos x="70" y="59"/>
                </a:cxn>
                <a:cxn ang="0">
                  <a:pos x="76" y="90"/>
                </a:cxn>
                <a:cxn ang="0">
                  <a:pos x="89" y="110"/>
                </a:cxn>
                <a:cxn ang="0">
                  <a:pos x="113" y="130"/>
                </a:cxn>
                <a:cxn ang="0">
                  <a:pos x="131" y="166"/>
                </a:cxn>
                <a:cxn ang="0">
                  <a:pos x="137" y="196"/>
                </a:cxn>
                <a:cxn ang="0">
                  <a:pos x="135" y="210"/>
                </a:cxn>
                <a:cxn ang="0">
                  <a:pos x="112" y="230"/>
                </a:cxn>
                <a:cxn ang="0">
                  <a:pos x="101" y="232"/>
                </a:cxn>
                <a:cxn ang="0">
                  <a:pos x="99" y="239"/>
                </a:cxn>
                <a:cxn ang="0">
                  <a:pos x="93" y="246"/>
                </a:cxn>
                <a:cxn ang="0">
                  <a:pos x="72" y="262"/>
                </a:cxn>
                <a:cxn ang="0">
                  <a:pos x="64" y="231"/>
                </a:cxn>
                <a:cxn ang="0">
                  <a:pos x="77" y="222"/>
                </a:cxn>
                <a:cxn ang="0">
                  <a:pos x="84" y="210"/>
                </a:cxn>
                <a:cxn ang="0">
                  <a:pos x="108" y="198"/>
                </a:cxn>
                <a:cxn ang="0">
                  <a:pos x="106" y="170"/>
                </a:cxn>
                <a:cxn ang="0">
                  <a:pos x="102" y="140"/>
                </a:cxn>
                <a:cxn ang="0">
                  <a:pos x="99" y="130"/>
                </a:cxn>
                <a:cxn ang="0">
                  <a:pos x="77" y="108"/>
                </a:cxn>
                <a:cxn ang="0">
                  <a:pos x="58" y="84"/>
                </a:cxn>
                <a:cxn ang="0">
                  <a:pos x="41" y="64"/>
                </a:cxn>
                <a:cxn ang="0">
                  <a:pos x="48" y="54"/>
                </a:cxn>
              </a:cxnLst>
              <a:rect l="0" t="0" r="r" b="b"/>
              <a:pathLst>
                <a:path w="138" h="262">
                  <a:moveTo>
                    <a:pt x="48" y="54"/>
                  </a:moveTo>
                  <a:lnTo>
                    <a:pt x="43" y="50"/>
                  </a:lnTo>
                  <a:lnTo>
                    <a:pt x="34" y="41"/>
                  </a:lnTo>
                  <a:lnTo>
                    <a:pt x="27" y="45"/>
                  </a:lnTo>
                  <a:lnTo>
                    <a:pt x="15" y="35"/>
                  </a:lnTo>
                  <a:lnTo>
                    <a:pt x="12" y="28"/>
                  </a:lnTo>
                  <a:lnTo>
                    <a:pt x="0" y="16"/>
                  </a:lnTo>
                  <a:lnTo>
                    <a:pt x="4" y="11"/>
                  </a:lnTo>
                  <a:lnTo>
                    <a:pt x="12" y="14"/>
                  </a:lnTo>
                  <a:lnTo>
                    <a:pt x="15" y="11"/>
                  </a:lnTo>
                  <a:lnTo>
                    <a:pt x="22" y="11"/>
                  </a:lnTo>
                  <a:lnTo>
                    <a:pt x="25" y="12"/>
                  </a:lnTo>
                  <a:lnTo>
                    <a:pt x="28" y="11"/>
                  </a:lnTo>
                  <a:lnTo>
                    <a:pt x="34" y="11"/>
                  </a:lnTo>
                  <a:lnTo>
                    <a:pt x="42" y="0"/>
                  </a:lnTo>
                  <a:lnTo>
                    <a:pt x="49" y="2"/>
                  </a:lnTo>
                  <a:lnTo>
                    <a:pt x="69" y="8"/>
                  </a:lnTo>
                  <a:lnTo>
                    <a:pt x="71" y="20"/>
                  </a:lnTo>
                  <a:lnTo>
                    <a:pt x="77" y="24"/>
                  </a:lnTo>
                  <a:lnTo>
                    <a:pt x="93" y="30"/>
                  </a:lnTo>
                  <a:lnTo>
                    <a:pt x="84" y="38"/>
                  </a:lnTo>
                  <a:lnTo>
                    <a:pt x="76" y="42"/>
                  </a:lnTo>
                  <a:lnTo>
                    <a:pt x="76" y="44"/>
                  </a:lnTo>
                  <a:lnTo>
                    <a:pt x="70" y="59"/>
                  </a:lnTo>
                  <a:lnTo>
                    <a:pt x="64" y="75"/>
                  </a:lnTo>
                  <a:lnTo>
                    <a:pt x="76" y="90"/>
                  </a:lnTo>
                  <a:lnTo>
                    <a:pt x="79" y="100"/>
                  </a:lnTo>
                  <a:lnTo>
                    <a:pt x="89" y="110"/>
                  </a:lnTo>
                  <a:lnTo>
                    <a:pt x="100" y="119"/>
                  </a:lnTo>
                  <a:lnTo>
                    <a:pt x="113" y="130"/>
                  </a:lnTo>
                  <a:lnTo>
                    <a:pt x="124" y="142"/>
                  </a:lnTo>
                  <a:lnTo>
                    <a:pt x="131" y="166"/>
                  </a:lnTo>
                  <a:lnTo>
                    <a:pt x="138" y="190"/>
                  </a:lnTo>
                  <a:lnTo>
                    <a:pt x="137" y="196"/>
                  </a:lnTo>
                  <a:lnTo>
                    <a:pt x="137" y="203"/>
                  </a:lnTo>
                  <a:lnTo>
                    <a:pt x="135" y="210"/>
                  </a:lnTo>
                  <a:lnTo>
                    <a:pt x="124" y="220"/>
                  </a:lnTo>
                  <a:lnTo>
                    <a:pt x="112" y="230"/>
                  </a:lnTo>
                  <a:lnTo>
                    <a:pt x="101" y="227"/>
                  </a:lnTo>
                  <a:lnTo>
                    <a:pt x="101" y="232"/>
                  </a:lnTo>
                  <a:lnTo>
                    <a:pt x="101" y="237"/>
                  </a:lnTo>
                  <a:lnTo>
                    <a:pt x="99" y="239"/>
                  </a:lnTo>
                  <a:lnTo>
                    <a:pt x="99" y="246"/>
                  </a:lnTo>
                  <a:lnTo>
                    <a:pt x="93" y="246"/>
                  </a:lnTo>
                  <a:lnTo>
                    <a:pt x="81" y="260"/>
                  </a:lnTo>
                  <a:lnTo>
                    <a:pt x="72" y="262"/>
                  </a:lnTo>
                  <a:lnTo>
                    <a:pt x="75" y="240"/>
                  </a:lnTo>
                  <a:lnTo>
                    <a:pt x="64" y="231"/>
                  </a:lnTo>
                  <a:lnTo>
                    <a:pt x="73" y="225"/>
                  </a:lnTo>
                  <a:lnTo>
                    <a:pt x="77" y="222"/>
                  </a:lnTo>
                  <a:lnTo>
                    <a:pt x="89" y="224"/>
                  </a:lnTo>
                  <a:lnTo>
                    <a:pt x="84" y="210"/>
                  </a:lnTo>
                  <a:lnTo>
                    <a:pt x="93" y="206"/>
                  </a:lnTo>
                  <a:lnTo>
                    <a:pt x="108" y="198"/>
                  </a:lnTo>
                  <a:lnTo>
                    <a:pt x="107" y="184"/>
                  </a:lnTo>
                  <a:lnTo>
                    <a:pt x="106" y="170"/>
                  </a:lnTo>
                  <a:lnTo>
                    <a:pt x="105" y="154"/>
                  </a:lnTo>
                  <a:lnTo>
                    <a:pt x="102" y="140"/>
                  </a:lnTo>
                  <a:lnTo>
                    <a:pt x="97" y="134"/>
                  </a:lnTo>
                  <a:lnTo>
                    <a:pt x="99" y="130"/>
                  </a:lnTo>
                  <a:lnTo>
                    <a:pt x="84" y="118"/>
                  </a:lnTo>
                  <a:lnTo>
                    <a:pt x="77" y="108"/>
                  </a:lnTo>
                  <a:lnTo>
                    <a:pt x="67" y="96"/>
                  </a:lnTo>
                  <a:lnTo>
                    <a:pt x="58" y="84"/>
                  </a:lnTo>
                  <a:lnTo>
                    <a:pt x="37" y="69"/>
                  </a:lnTo>
                  <a:lnTo>
                    <a:pt x="41" y="64"/>
                  </a:lnTo>
                  <a:lnTo>
                    <a:pt x="49" y="62"/>
                  </a:lnTo>
                  <a:lnTo>
                    <a:pt x="48" y="5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4" name="Freeform 57">
              <a:extLst>
                <a:ext uri="{FF2B5EF4-FFF2-40B4-BE49-F238E27FC236}">
                  <a16:creationId xmlns:a16="http://schemas.microsoft.com/office/drawing/2014/main" id="{7402F130-5C48-4063-96DE-0E335C744438}"/>
                </a:ext>
              </a:extLst>
            </p:cNvPr>
            <p:cNvSpPr>
              <a:spLocks/>
            </p:cNvSpPr>
            <p:nvPr/>
          </p:nvSpPr>
          <p:spPr bwMode="auto">
            <a:xfrm>
              <a:off x="6931156" y="2932730"/>
              <a:ext cx="22245" cy="56472"/>
            </a:xfrm>
            <a:custGeom>
              <a:avLst/>
              <a:gdLst/>
              <a:ahLst/>
              <a:cxnLst>
                <a:cxn ang="0">
                  <a:pos x="7" y="27"/>
                </a:cxn>
                <a:cxn ang="0">
                  <a:pos x="5" y="29"/>
                </a:cxn>
                <a:cxn ang="0">
                  <a:pos x="0" y="25"/>
                </a:cxn>
                <a:cxn ang="0">
                  <a:pos x="0" y="8"/>
                </a:cxn>
                <a:cxn ang="0">
                  <a:pos x="6" y="0"/>
                </a:cxn>
                <a:cxn ang="0">
                  <a:pos x="11" y="15"/>
                </a:cxn>
                <a:cxn ang="0">
                  <a:pos x="7" y="27"/>
                </a:cxn>
              </a:cxnLst>
              <a:rect l="0" t="0" r="r" b="b"/>
              <a:pathLst>
                <a:path w="11" h="29">
                  <a:moveTo>
                    <a:pt x="7" y="27"/>
                  </a:moveTo>
                  <a:lnTo>
                    <a:pt x="5" y="29"/>
                  </a:lnTo>
                  <a:lnTo>
                    <a:pt x="0" y="25"/>
                  </a:lnTo>
                  <a:lnTo>
                    <a:pt x="0" y="8"/>
                  </a:lnTo>
                  <a:lnTo>
                    <a:pt x="6" y="0"/>
                  </a:lnTo>
                  <a:lnTo>
                    <a:pt x="11" y="15"/>
                  </a:lnTo>
                  <a:lnTo>
                    <a:pt x="7" y="2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5" name="Freeform 58">
              <a:extLst>
                <a:ext uri="{FF2B5EF4-FFF2-40B4-BE49-F238E27FC236}">
                  <a16:creationId xmlns:a16="http://schemas.microsoft.com/office/drawing/2014/main" id="{A77F8AA3-B305-4C62-8E2C-3268C2EE79B5}"/>
                </a:ext>
              </a:extLst>
            </p:cNvPr>
            <p:cNvSpPr>
              <a:spLocks/>
            </p:cNvSpPr>
            <p:nvPr/>
          </p:nvSpPr>
          <p:spPr bwMode="auto">
            <a:xfrm>
              <a:off x="6676197" y="2472396"/>
              <a:ext cx="609164" cy="494560"/>
            </a:xfrm>
            <a:custGeom>
              <a:avLst/>
              <a:gdLst/>
              <a:ahLst/>
              <a:cxnLst>
                <a:cxn ang="0">
                  <a:pos x="36" y="106"/>
                </a:cxn>
                <a:cxn ang="0">
                  <a:pos x="40" y="79"/>
                </a:cxn>
                <a:cxn ang="0">
                  <a:pos x="29" y="66"/>
                </a:cxn>
                <a:cxn ang="0">
                  <a:pos x="5" y="33"/>
                </a:cxn>
                <a:cxn ang="0">
                  <a:pos x="0" y="5"/>
                </a:cxn>
                <a:cxn ang="0">
                  <a:pos x="7" y="1"/>
                </a:cxn>
                <a:cxn ang="0">
                  <a:pos x="28" y="15"/>
                </a:cxn>
                <a:cxn ang="0">
                  <a:pos x="54" y="0"/>
                </a:cxn>
                <a:cxn ang="0">
                  <a:pos x="58" y="13"/>
                </a:cxn>
                <a:cxn ang="0">
                  <a:pos x="79" y="39"/>
                </a:cxn>
                <a:cxn ang="0">
                  <a:pos x="111" y="51"/>
                </a:cxn>
                <a:cxn ang="0">
                  <a:pos x="138" y="53"/>
                </a:cxn>
                <a:cxn ang="0">
                  <a:pos x="151" y="48"/>
                </a:cxn>
                <a:cxn ang="0">
                  <a:pos x="154" y="42"/>
                </a:cxn>
                <a:cxn ang="0">
                  <a:pos x="181" y="29"/>
                </a:cxn>
                <a:cxn ang="0">
                  <a:pos x="220" y="36"/>
                </a:cxn>
                <a:cxn ang="0">
                  <a:pos x="246" y="53"/>
                </a:cxn>
                <a:cxn ang="0">
                  <a:pos x="265" y="73"/>
                </a:cxn>
                <a:cxn ang="0">
                  <a:pos x="261" y="96"/>
                </a:cxn>
                <a:cxn ang="0">
                  <a:pos x="267" y="111"/>
                </a:cxn>
                <a:cxn ang="0">
                  <a:pos x="269" y="129"/>
                </a:cxn>
                <a:cxn ang="0">
                  <a:pos x="287" y="149"/>
                </a:cxn>
                <a:cxn ang="0">
                  <a:pos x="279" y="177"/>
                </a:cxn>
                <a:cxn ang="0">
                  <a:pos x="300" y="201"/>
                </a:cxn>
                <a:cxn ang="0">
                  <a:pos x="317" y="225"/>
                </a:cxn>
                <a:cxn ang="0">
                  <a:pos x="322" y="234"/>
                </a:cxn>
                <a:cxn ang="0">
                  <a:pos x="303" y="246"/>
                </a:cxn>
                <a:cxn ang="0">
                  <a:pos x="285" y="258"/>
                </a:cxn>
                <a:cxn ang="0">
                  <a:pos x="251" y="252"/>
                </a:cxn>
                <a:cxn ang="0">
                  <a:pos x="228" y="238"/>
                </a:cxn>
                <a:cxn ang="0">
                  <a:pos x="209" y="231"/>
                </a:cxn>
                <a:cxn ang="0">
                  <a:pos x="172" y="231"/>
                </a:cxn>
                <a:cxn ang="0">
                  <a:pos x="144" y="213"/>
                </a:cxn>
                <a:cxn ang="0">
                  <a:pos x="125" y="190"/>
                </a:cxn>
                <a:cxn ang="0">
                  <a:pos x="105" y="172"/>
                </a:cxn>
                <a:cxn ang="0">
                  <a:pos x="97" y="166"/>
                </a:cxn>
                <a:cxn ang="0">
                  <a:pos x="90" y="174"/>
                </a:cxn>
                <a:cxn ang="0">
                  <a:pos x="81" y="156"/>
                </a:cxn>
                <a:cxn ang="0">
                  <a:pos x="76" y="142"/>
                </a:cxn>
                <a:cxn ang="0">
                  <a:pos x="57" y="126"/>
                </a:cxn>
              </a:cxnLst>
              <a:rect l="0" t="0" r="r" b="b"/>
              <a:pathLst>
                <a:path w="322" h="261">
                  <a:moveTo>
                    <a:pt x="45" y="118"/>
                  </a:moveTo>
                  <a:lnTo>
                    <a:pt x="36" y="106"/>
                  </a:lnTo>
                  <a:lnTo>
                    <a:pt x="35" y="96"/>
                  </a:lnTo>
                  <a:lnTo>
                    <a:pt x="40" y="79"/>
                  </a:lnTo>
                  <a:lnTo>
                    <a:pt x="40" y="71"/>
                  </a:lnTo>
                  <a:lnTo>
                    <a:pt x="29" y="66"/>
                  </a:lnTo>
                  <a:lnTo>
                    <a:pt x="15" y="46"/>
                  </a:lnTo>
                  <a:lnTo>
                    <a:pt x="5" y="33"/>
                  </a:lnTo>
                  <a:lnTo>
                    <a:pt x="1" y="15"/>
                  </a:lnTo>
                  <a:lnTo>
                    <a:pt x="0" y="5"/>
                  </a:lnTo>
                  <a:lnTo>
                    <a:pt x="6" y="0"/>
                  </a:lnTo>
                  <a:lnTo>
                    <a:pt x="7" y="1"/>
                  </a:lnTo>
                  <a:lnTo>
                    <a:pt x="10" y="5"/>
                  </a:lnTo>
                  <a:lnTo>
                    <a:pt x="28" y="15"/>
                  </a:lnTo>
                  <a:lnTo>
                    <a:pt x="40" y="10"/>
                  </a:lnTo>
                  <a:lnTo>
                    <a:pt x="54" y="0"/>
                  </a:lnTo>
                  <a:lnTo>
                    <a:pt x="59" y="10"/>
                  </a:lnTo>
                  <a:lnTo>
                    <a:pt x="58" y="13"/>
                  </a:lnTo>
                  <a:lnTo>
                    <a:pt x="71" y="23"/>
                  </a:lnTo>
                  <a:lnTo>
                    <a:pt x="79" y="39"/>
                  </a:lnTo>
                  <a:lnTo>
                    <a:pt x="96" y="46"/>
                  </a:lnTo>
                  <a:lnTo>
                    <a:pt x="111" y="51"/>
                  </a:lnTo>
                  <a:lnTo>
                    <a:pt x="125" y="55"/>
                  </a:lnTo>
                  <a:lnTo>
                    <a:pt x="138" y="53"/>
                  </a:lnTo>
                  <a:lnTo>
                    <a:pt x="149" y="51"/>
                  </a:lnTo>
                  <a:lnTo>
                    <a:pt x="151" y="48"/>
                  </a:lnTo>
                  <a:lnTo>
                    <a:pt x="149" y="42"/>
                  </a:lnTo>
                  <a:lnTo>
                    <a:pt x="154" y="42"/>
                  </a:lnTo>
                  <a:lnTo>
                    <a:pt x="165" y="31"/>
                  </a:lnTo>
                  <a:lnTo>
                    <a:pt x="181" y="29"/>
                  </a:lnTo>
                  <a:lnTo>
                    <a:pt x="196" y="28"/>
                  </a:lnTo>
                  <a:lnTo>
                    <a:pt x="220" y="36"/>
                  </a:lnTo>
                  <a:lnTo>
                    <a:pt x="233" y="45"/>
                  </a:lnTo>
                  <a:lnTo>
                    <a:pt x="246" y="53"/>
                  </a:lnTo>
                  <a:lnTo>
                    <a:pt x="259" y="55"/>
                  </a:lnTo>
                  <a:lnTo>
                    <a:pt x="265" y="73"/>
                  </a:lnTo>
                  <a:lnTo>
                    <a:pt x="262" y="94"/>
                  </a:lnTo>
                  <a:lnTo>
                    <a:pt x="261" y="96"/>
                  </a:lnTo>
                  <a:lnTo>
                    <a:pt x="261" y="106"/>
                  </a:lnTo>
                  <a:lnTo>
                    <a:pt x="267" y="111"/>
                  </a:lnTo>
                  <a:lnTo>
                    <a:pt x="265" y="114"/>
                  </a:lnTo>
                  <a:lnTo>
                    <a:pt x="269" y="129"/>
                  </a:lnTo>
                  <a:lnTo>
                    <a:pt x="271" y="144"/>
                  </a:lnTo>
                  <a:lnTo>
                    <a:pt x="287" y="149"/>
                  </a:lnTo>
                  <a:lnTo>
                    <a:pt x="289" y="156"/>
                  </a:lnTo>
                  <a:lnTo>
                    <a:pt x="279" y="177"/>
                  </a:lnTo>
                  <a:lnTo>
                    <a:pt x="289" y="189"/>
                  </a:lnTo>
                  <a:lnTo>
                    <a:pt x="300" y="201"/>
                  </a:lnTo>
                  <a:lnTo>
                    <a:pt x="312" y="207"/>
                  </a:lnTo>
                  <a:lnTo>
                    <a:pt x="317" y="225"/>
                  </a:lnTo>
                  <a:lnTo>
                    <a:pt x="322" y="227"/>
                  </a:lnTo>
                  <a:lnTo>
                    <a:pt x="322" y="234"/>
                  </a:lnTo>
                  <a:lnTo>
                    <a:pt x="309" y="240"/>
                  </a:lnTo>
                  <a:lnTo>
                    <a:pt x="303" y="246"/>
                  </a:lnTo>
                  <a:lnTo>
                    <a:pt x="301" y="261"/>
                  </a:lnTo>
                  <a:lnTo>
                    <a:pt x="285" y="258"/>
                  </a:lnTo>
                  <a:lnTo>
                    <a:pt x="268" y="255"/>
                  </a:lnTo>
                  <a:lnTo>
                    <a:pt x="251" y="252"/>
                  </a:lnTo>
                  <a:lnTo>
                    <a:pt x="234" y="250"/>
                  </a:lnTo>
                  <a:lnTo>
                    <a:pt x="228" y="238"/>
                  </a:lnTo>
                  <a:lnTo>
                    <a:pt x="221" y="226"/>
                  </a:lnTo>
                  <a:lnTo>
                    <a:pt x="209" y="231"/>
                  </a:lnTo>
                  <a:lnTo>
                    <a:pt x="196" y="235"/>
                  </a:lnTo>
                  <a:lnTo>
                    <a:pt x="172" y="231"/>
                  </a:lnTo>
                  <a:lnTo>
                    <a:pt x="159" y="221"/>
                  </a:lnTo>
                  <a:lnTo>
                    <a:pt x="144" y="213"/>
                  </a:lnTo>
                  <a:lnTo>
                    <a:pt x="132" y="201"/>
                  </a:lnTo>
                  <a:lnTo>
                    <a:pt x="125" y="190"/>
                  </a:lnTo>
                  <a:lnTo>
                    <a:pt x="111" y="171"/>
                  </a:lnTo>
                  <a:lnTo>
                    <a:pt x="105" y="172"/>
                  </a:lnTo>
                  <a:lnTo>
                    <a:pt x="97" y="167"/>
                  </a:lnTo>
                  <a:lnTo>
                    <a:pt x="97" y="166"/>
                  </a:lnTo>
                  <a:lnTo>
                    <a:pt x="93" y="174"/>
                  </a:lnTo>
                  <a:lnTo>
                    <a:pt x="90" y="174"/>
                  </a:lnTo>
                  <a:lnTo>
                    <a:pt x="85" y="168"/>
                  </a:lnTo>
                  <a:lnTo>
                    <a:pt x="81" y="156"/>
                  </a:lnTo>
                  <a:lnTo>
                    <a:pt x="75" y="156"/>
                  </a:lnTo>
                  <a:lnTo>
                    <a:pt x="76" y="142"/>
                  </a:lnTo>
                  <a:lnTo>
                    <a:pt x="70" y="135"/>
                  </a:lnTo>
                  <a:lnTo>
                    <a:pt x="57" y="126"/>
                  </a:lnTo>
                  <a:lnTo>
                    <a:pt x="45" y="1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6" name="Freeform 59">
              <a:extLst>
                <a:ext uri="{FF2B5EF4-FFF2-40B4-BE49-F238E27FC236}">
                  <a16:creationId xmlns:a16="http://schemas.microsoft.com/office/drawing/2014/main" id="{B12A3568-B24B-429A-AB12-C0A18ADA1CE7}"/>
                </a:ext>
              </a:extLst>
            </p:cNvPr>
            <p:cNvSpPr>
              <a:spLocks/>
            </p:cNvSpPr>
            <p:nvPr/>
          </p:nvSpPr>
          <p:spPr bwMode="auto">
            <a:xfrm>
              <a:off x="6551284" y="2552826"/>
              <a:ext cx="296026" cy="277227"/>
            </a:xfrm>
            <a:custGeom>
              <a:avLst/>
              <a:gdLst/>
              <a:ahLst/>
              <a:cxnLst>
                <a:cxn ang="0">
                  <a:pos x="101" y="63"/>
                </a:cxn>
                <a:cxn ang="0">
                  <a:pos x="100" y="53"/>
                </a:cxn>
                <a:cxn ang="0">
                  <a:pos x="105" y="36"/>
                </a:cxn>
                <a:cxn ang="0">
                  <a:pos x="105" y="28"/>
                </a:cxn>
                <a:cxn ang="0">
                  <a:pos x="94" y="23"/>
                </a:cxn>
                <a:cxn ang="0">
                  <a:pos x="80" y="3"/>
                </a:cxn>
                <a:cxn ang="0">
                  <a:pos x="71" y="4"/>
                </a:cxn>
                <a:cxn ang="0">
                  <a:pos x="68" y="0"/>
                </a:cxn>
                <a:cxn ang="0">
                  <a:pos x="47" y="0"/>
                </a:cxn>
                <a:cxn ang="0">
                  <a:pos x="44" y="4"/>
                </a:cxn>
                <a:cxn ang="0">
                  <a:pos x="30" y="17"/>
                </a:cxn>
                <a:cxn ang="0">
                  <a:pos x="30" y="34"/>
                </a:cxn>
                <a:cxn ang="0">
                  <a:pos x="30" y="52"/>
                </a:cxn>
                <a:cxn ang="0">
                  <a:pos x="15" y="62"/>
                </a:cxn>
                <a:cxn ang="0">
                  <a:pos x="0" y="70"/>
                </a:cxn>
                <a:cxn ang="0">
                  <a:pos x="10" y="92"/>
                </a:cxn>
                <a:cxn ang="0">
                  <a:pos x="24" y="98"/>
                </a:cxn>
                <a:cxn ang="0">
                  <a:pos x="40" y="105"/>
                </a:cxn>
                <a:cxn ang="0">
                  <a:pos x="54" y="111"/>
                </a:cxn>
                <a:cxn ang="0">
                  <a:pos x="69" y="118"/>
                </a:cxn>
                <a:cxn ang="0">
                  <a:pos x="83" y="131"/>
                </a:cxn>
                <a:cxn ang="0">
                  <a:pos x="99" y="146"/>
                </a:cxn>
                <a:cxn ang="0">
                  <a:pos x="126" y="147"/>
                </a:cxn>
                <a:cxn ang="0">
                  <a:pos x="134" y="132"/>
                </a:cxn>
                <a:cxn ang="0">
                  <a:pos x="147" y="131"/>
                </a:cxn>
                <a:cxn ang="0">
                  <a:pos x="155" y="131"/>
                </a:cxn>
                <a:cxn ang="0">
                  <a:pos x="150" y="125"/>
                </a:cxn>
                <a:cxn ang="0">
                  <a:pos x="146" y="113"/>
                </a:cxn>
                <a:cxn ang="0">
                  <a:pos x="140" y="113"/>
                </a:cxn>
                <a:cxn ang="0">
                  <a:pos x="141" y="99"/>
                </a:cxn>
                <a:cxn ang="0">
                  <a:pos x="135" y="92"/>
                </a:cxn>
                <a:cxn ang="0">
                  <a:pos x="122" y="83"/>
                </a:cxn>
                <a:cxn ang="0">
                  <a:pos x="110" y="75"/>
                </a:cxn>
                <a:cxn ang="0">
                  <a:pos x="101" y="63"/>
                </a:cxn>
              </a:cxnLst>
              <a:rect l="0" t="0" r="r" b="b"/>
              <a:pathLst>
                <a:path w="155" h="147">
                  <a:moveTo>
                    <a:pt x="101" y="63"/>
                  </a:moveTo>
                  <a:lnTo>
                    <a:pt x="100" y="53"/>
                  </a:lnTo>
                  <a:lnTo>
                    <a:pt x="105" y="36"/>
                  </a:lnTo>
                  <a:lnTo>
                    <a:pt x="105" y="28"/>
                  </a:lnTo>
                  <a:lnTo>
                    <a:pt x="94" y="23"/>
                  </a:lnTo>
                  <a:lnTo>
                    <a:pt x="80" y="3"/>
                  </a:lnTo>
                  <a:lnTo>
                    <a:pt x="71" y="4"/>
                  </a:lnTo>
                  <a:lnTo>
                    <a:pt x="68" y="0"/>
                  </a:lnTo>
                  <a:lnTo>
                    <a:pt x="47" y="0"/>
                  </a:lnTo>
                  <a:lnTo>
                    <a:pt x="44" y="4"/>
                  </a:lnTo>
                  <a:lnTo>
                    <a:pt x="30" y="17"/>
                  </a:lnTo>
                  <a:lnTo>
                    <a:pt x="30" y="34"/>
                  </a:lnTo>
                  <a:lnTo>
                    <a:pt x="30" y="52"/>
                  </a:lnTo>
                  <a:lnTo>
                    <a:pt x="15" y="62"/>
                  </a:lnTo>
                  <a:lnTo>
                    <a:pt x="0" y="70"/>
                  </a:lnTo>
                  <a:lnTo>
                    <a:pt x="10" y="92"/>
                  </a:lnTo>
                  <a:lnTo>
                    <a:pt x="24" y="98"/>
                  </a:lnTo>
                  <a:lnTo>
                    <a:pt x="40" y="105"/>
                  </a:lnTo>
                  <a:lnTo>
                    <a:pt x="54" y="111"/>
                  </a:lnTo>
                  <a:lnTo>
                    <a:pt x="69" y="118"/>
                  </a:lnTo>
                  <a:lnTo>
                    <a:pt x="83" y="131"/>
                  </a:lnTo>
                  <a:lnTo>
                    <a:pt x="99" y="146"/>
                  </a:lnTo>
                  <a:lnTo>
                    <a:pt x="126" y="147"/>
                  </a:lnTo>
                  <a:lnTo>
                    <a:pt x="134" y="132"/>
                  </a:lnTo>
                  <a:lnTo>
                    <a:pt x="147" y="131"/>
                  </a:lnTo>
                  <a:lnTo>
                    <a:pt x="155" y="131"/>
                  </a:lnTo>
                  <a:lnTo>
                    <a:pt x="150" y="125"/>
                  </a:lnTo>
                  <a:lnTo>
                    <a:pt x="146" y="113"/>
                  </a:lnTo>
                  <a:lnTo>
                    <a:pt x="140" y="113"/>
                  </a:lnTo>
                  <a:lnTo>
                    <a:pt x="141" y="99"/>
                  </a:lnTo>
                  <a:lnTo>
                    <a:pt x="135" y="92"/>
                  </a:lnTo>
                  <a:lnTo>
                    <a:pt x="122" y="83"/>
                  </a:lnTo>
                  <a:lnTo>
                    <a:pt x="110" y="75"/>
                  </a:lnTo>
                  <a:lnTo>
                    <a:pt x="101" y="6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7" name="Freeform 60">
              <a:extLst>
                <a:ext uri="{FF2B5EF4-FFF2-40B4-BE49-F238E27FC236}">
                  <a16:creationId xmlns:a16="http://schemas.microsoft.com/office/drawing/2014/main" id="{DC79F27B-9A9F-4513-903B-891513A7AB8B}"/>
                </a:ext>
              </a:extLst>
            </p:cNvPr>
            <p:cNvSpPr>
              <a:spLocks/>
            </p:cNvSpPr>
            <p:nvPr/>
          </p:nvSpPr>
          <p:spPr bwMode="auto">
            <a:xfrm>
              <a:off x="6790843" y="2802673"/>
              <a:ext cx="56467" cy="49627"/>
            </a:xfrm>
            <a:custGeom>
              <a:avLst/>
              <a:gdLst/>
              <a:ahLst/>
              <a:cxnLst>
                <a:cxn ang="0">
                  <a:pos x="24" y="7"/>
                </a:cxn>
                <a:cxn ang="0">
                  <a:pos x="20" y="9"/>
                </a:cxn>
                <a:cxn ang="0">
                  <a:pos x="21" y="12"/>
                </a:cxn>
                <a:cxn ang="0">
                  <a:pos x="30" y="27"/>
                </a:cxn>
                <a:cxn ang="0">
                  <a:pos x="17" y="23"/>
                </a:cxn>
                <a:cxn ang="0">
                  <a:pos x="15" y="18"/>
                </a:cxn>
                <a:cxn ang="0">
                  <a:pos x="0" y="16"/>
                </a:cxn>
                <a:cxn ang="0">
                  <a:pos x="8" y="1"/>
                </a:cxn>
                <a:cxn ang="0">
                  <a:pos x="21" y="0"/>
                </a:cxn>
                <a:cxn ang="0">
                  <a:pos x="24" y="7"/>
                </a:cxn>
              </a:cxnLst>
              <a:rect l="0" t="0" r="r" b="b"/>
              <a:pathLst>
                <a:path w="30" h="27">
                  <a:moveTo>
                    <a:pt x="24" y="7"/>
                  </a:moveTo>
                  <a:lnTo>
                    <a:pt x="20" y="9"/>
                  </a:lnTo>
                  <a:lnTo>
                    <a:pt x="21" y="12"/>
                  </a:lnTo>
                  <a:lnTo>
                    <a:pt x="30" y="27"/>
                  </a:lnTo>
                  <a:lnTo>
                    <a:pt x="17" y="23"/>
                  </a:lnTo>
                  <a:lnTo>
                    <a:pt x="15" y="18"/>
                  </a:lnTo>
                  <a:lnTo>
                    <a:pt x="0" y="16"/>
                  </a:lnTo>
                  <a:lnTo>
                    <a:pt x="8" y="1"/>
                  </a:lnTo>
                  <a:lnTo>
                    <a:pt x="21" y="0"/>
                  </a:lnTo>
                  <a:lnTo>
                    <a:pt x="24" y="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8" name="Freeform 61">
              <a:extLst>
                <a:ext uri="{FF2B5EF4-FFF2-40B4-BE49-F238E27FC236}">
                  <a16:creationId xmlns:a16="http://schemas.microsoft.com/office/drawing/2014/main" id="{447F6550-443B-4076-8BA5-2D34AEB91AF1}"/>
                </a:ext>
              </a:extLst>
            </p:cNvPr>
            <p:cNvSpPr>
              <a:spLocks/>
            </p:cNvSpPr>
            <p:nvPr/>
          </p:nvSpPr>
          <p:spPr bwMode="auto">
            <a:xfrm>
              <a:off x="7771323" y="2783849"/>
              <a:ext cx="242981" cy="136902"/>
            </a:xfrm>
            <a:custGeom>
              <a:avLst/>
              <a:gdLst/>
              <a:ahLst/>
              <a:cxnLst>
                <a:cxn ang="0">
                  <a:pos x="73" y="56"/>
                </a:cxn>
                <a:cxn ang="0">
                  <a:pos x="54" y="54"/>
                </a:cxn>
                <a:cxn ang="0">
                  <a:pos x="39" y="50"/>
                </a:cxn>
                <a:cxn ang="0">
                  <a:pos x="19" y="41"/>
                </a:cxn>
                <a:cxn ang="0">
                  <a:pos x="0" y="30"/>
                </a:cxn>
                <a:cxn ang="0">
                  <a:pos x="0" y="19"/>
                </a:cxn>
                <a:cxn ang="0">
                  <a:pos x="9" y="5"/>
                </a:cxn>
                <a:cxn ang="0">
                  <a:pos x="10" y="6"/>
                </a:cxn>
                <a:cxn ang="0">
                  <a:pos x="16" y="0"/>
                </a:cxn>
                <a:cxn ang="0">
                  <a:pos x="29" y="8"/>
                </a:cxn>
                <a:cxn ang="0">
                  <a:pos x="49" y="23"/>
                </a:cxn>
                <a:cxn ang="0">
                  <a:pos x="55" y="20"/>
                </a:cxn>
                <a:cxn ang="0">
                  <a:pos x="60" y="26"/>
                </a:cxn>
                <a:cxn ang="0">
                  <a:pos x="75" y="32"/>
                </a:cxn>
                <a:cxn ang="0">
                  <a:pos x="77" y="36"/>
                </a:cxn>
                <a:cxn ang="0">
                  <a:pos x="93" y="43"/>
                </a:cxn>
                <a:cxn ang="0">
                  <a:pos x="107" y="44"/>
                </a:cxn>
                <a:cxn ang="0">
                  <a:pos x="125" y="47"/>
                </a:cxn>
                <a:cxn ang="0">
                  <a:pos x="130" y="72"/>
                </a:cxn>
                <a:cxn ang="0">
                  <a:pos x="113" y="71"/>
                </a:cxn>
                <a:cxn ang="0">
                  <a:pos x="93" y="68"/>
                </a:cxn>
                <a:cxn ang="0">
                  <a:pos x="82" y="65"/>
                </a:cxn>
                <a:cxn ang="0">
                  <a:pos x="73" y="56"/>
                </a:cxn>
              </a:cxnLst>
              <a:rect l="0" t="0" r="r" b="b"/>
              <a:pathLst>
                <a:path w="130" h="72">
                  <a:moveTo>
                    <a:pt x="73" y="56"/>
                  </a:moveTo>
                  <a:lnTo>
                    <a:pt x="54" y="54"/>
                  </a:lnTo>
                  <a:lnTo>
                    <a:pt x="39" y="50"/>
                  </a:lnTo>
                  <a:lnTo>
                    <a:pt x="19" y="41"/>
                  </a:lnTo>
                  <a:lnTo>
                    <a:pt x="0" y="30"/>
                  </a:lnTo>
                  <a:lnTo>
                    <a:pt x="0" y="19"/>
                  </a:lnTo>
                  <a:lnTo>
                    <a:pt x="9" y="5"/>
                  </a:lnTo>
                  <a:lnTo>
                    <a:pt x="10" y="6"/>
                  </a:lnTo>
                  <a:lnTo>
                    <a:pt x="16" y="0"/>
                  </a:lnTo>
                  <a:lnTo>
                    <a:pt x="29" y="8"/>
                  </a:lnTo>
                  <a:lnTo>
                    <a:pt x="49" y="23"/>
                  </a:lnTo>
                  <a:lnTo>
                    <a:pt x="55" y="20"/>
                  </a:lnTo>
                  <a:lnTo>
                    <a:pt x="60" y="26"/>
                  </a:lnTo>
                  <a:lnTo>
                    <a:pt x="75" y="32"/>
                  </a:lnTo>
                  <a:lnTo>
                    <a:pt x="77" y="36"/>
                  </a:lnTo>
                  <a:lnTo>
                    <a:pt x="93" y="43"/>
                  </a:lnTo>
                  <a:lnTo>
                    <a:pt x="107" y="44"/>
                  </a:lnTo>
                  <a:lnTo>
                    <a:pt x="125" y="47"/>
                  </a:lnTo>
                  <a:lnTo>
                    <a:pt x="130" y="72"/>
                  </a:lnTo>
                  <a:lnTo>
                    <a:pt x="113" y="71"/>
                  </a:lnTo>
                  <a:lnTo>
                    <a:pt x="93" y="68"/>
                  </a:lnTo>
                  <a:lnTo>
                    <a:pt x="82" y="65"/>
                  </a:lnTo>
                  <a:lnTo>
                    <a:pt x="73" y="5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9" name="Freeform 62">
              <a:extLst>
                <a:ext uri="{FF2B5EF4-FFF2-40B4-BE49-F238E27FC236}">
                  <a16:creationId xmlns:a16="http://schemas.microsoft.com/office/drawing/2014/main" id="{DF6695B4-8663-420A-A279-465B4DAFCF8C}"/>
                </a:ext>
              </a:extLst>
            </p:cNvPr>
            <p:cNvSpPr>
              <a:spLocks/>
            </p:cNvSpPr>
            <p:nvPr/>
          </p:nvSpPr>
          <p:spPr bwMode="auto">
            <a:xfrm>
              <a:off x="7204937" y="2563094"/>
              <a:ext cx="444895" cy="450066"/>
            </a:xfrm>
            <a:custGeom>
              <a:avLst/>
              <a:gdLst/>
              <a:ahLst/>
              <a:cxnLst>
                <a:cxn ang="0">
                  <a:pos x="102" y="217"/>
                </a:cxn>
                <a:cxn ang="0">
                  <a:pos x="116" y="233"/>
                </a:cxn>
                <a:cxn ang="0">
                  <a:pos x="135" y="234"/>
                </a:cxn>
                <a:cxn ang="0">
                  <a:pos x="148" y="229"/>
                </a:cxn>
                <a:cxn ang="0">
                  <a:pos x="169" y="227"/>
                </a:cxn>
                <a:cxn ang="0">
                  <a:pos x="156" y="203"/>
                </a:cxn>
                <a:cxn ang="0">
                  <a:pos x="140" y="185"/>
                </a:cxn>
                <a:cxn ang="0">
                  <a:pos x="154" y="165"/>
                </a:cxn>
                <a:cxn ang="0">
                  <a:pos x="180" y="149"/>
                </a:cxn>
                <a:cxn ang="0">
                  <a:pos x="196" y="120"/>
                </a:cxn>
                <a:cxn ang="0">
                  <a:pos x="200" y="95"/>
                </a:cxn>
                <a:cxn ang="0">
                  <a:pos x="204" y="82"/>
                </a:cxn>
                <a:cxn ang="0">
                  <a:pos x="190" y="71"/>
                </a:cxn>
                <a:cxn ang="0">
                  <a:pos x="187" y="57"/>
                </a:cxn>
                <a:cxn ang="0">
                  <a:pos x="180" y="42"/>
                </a:cxn>
                <a:cxn ang="0">
                  <a:pos x="219" y="40"/>
                </a:cxn>
                <a:cxn ang="0">
                  <a:pos x="213" y="22"/>
                </a:cxn>
                <a:cxn ang="0">
                  <a:pos x="195" y="5"/>
                </a:cxn>
                <a:cxn ang="0">
                  <a:pos x="159" y="4"/>
                </a:cxn>
                <a:cxn ang="0">
                  <a:pos x="134" y="19"/>
                </a:cxn>
                <a:cxn ang="0">
                  <a:pos x="138" y="47"/>
                </a:cxn>
                <a:cxn ang="0">
                  <a:pos x="122" y="57"/>
                </a:cxn>
                <a:cxn ang="0">
                  <a:pos x="118" y="77"/>
                </a:cxn>
                <a:cxn ang="0">
                  <a:pos x="103" y="96"/>
                </a:cxn>
                <a:cxn ang="0">
                  <a:pos x="84" y="107"/>
                </a:cxn>
                <a:cxn ang="0">
                  <a:pos x="81" y="129"/>
                </a:cxn>
                <a:cxn ang="0">
                  <a:pos x="49" y="136"/>
                </a:cxn>
                <a:cxn ang="0">
                  <a:pos x="13" y="132"/>
                </a:cxn>
                <a:cxn ang="0">
                  <a:pos x="10" y="141"/>
                </a:cxn>
                <a:cxn ang="0">
                  <a:pos x="33" y="159"/>
                </a:cxn>
                <a:cxn ang="0">
                  <a:pos x="43" y="179"/>
                </a:cxn>
                <a:cxn ang="0">
                  <a:pos x="30" y="192"/>
                </a:cxn>
                <a:cxn ang="0">
                  <a:pos x="22" y="213"/>
                </a:cxn>
                <a:cxn ang="0">
                  <a:pos x="51" y="211"/>
                </a:cxn>
                <a:cxn ang="0">
                  <a:pos x="80" y="209"/>
                </a:cxn>
              </a:cxnLst>
              <a:rect l="0" t="0" r="r" b="b"/>
              <a:pathLst>
                <a:path w="234" h="238">
                  <a:moveTo>
                    <a:pt x="96" y="208"/>
                  </a:moveTo>
                  <a:lnTo>
                    <a:pt x="102" y="217"/>
                  </a:lnTo>
                  <a:lnTo>
                    <a:pt x="108" y="220"/>
                  </a:lnTo>
                  <a:lnTo>
                    <a:pt x="116" y="233"/>
                  </a:lnTo>
                  <a:lnTo>
                    <a:pt x="128" y="238"/>
                  </a:lnTo>
                  <a:lnTo>
                    <a:pt x="135" y="234"/>
                  </a:lnTo>
                  <a:lnTo>
                    <a:pt x="135" y="228"/>
                  </a:lnTo>
                  <a:lnTo>
                    <a:pt x="148" y="229"/>
                  </a:lnTo>
                  <a:lnTo>
                    <a:pt x="163" y="227"/>
                  </a:lnTo>
                  <a:lnTo>
                    <a:pt x="169" y="227"/>
                  </a:lnTo>
                  <a:lnTo>
                    <a:pt x="162" y="204"/>
                  </a:lnTo>
                  <a:lnTo>
                    <a:pt x="156" y="203"/>
                  </a:lnTo>
                  <a:lnTo>
                    <a:pt x="152" y="191"/>
                  </a:lnTo>
                  <a:lnTo>
                    <a:pt x="140" y="185"/>
                  </a:lnTo>
                  <a:lnTo>
                    <a:pt x="148" y="163"/>
                  </a:lnTo>
                  <a:lnTo>
                    <a:pt x="154" y="165"/>
                  </a:lnTo>
                  <a:lnTo>
                    <a:pt x="170" y="165"/>
                  </a:lnTo>
                  <a:lnTo>
                    <a:pt x="180" y="149"/>
                  </a:lnTo>
                  <a:lnTo>
                    <a:pt x="189" y="133"/>
                  </a:lnTo>
                  <a:lnTo>
                    <a:pt x="196" y="120"/>
                  </a:lnTo>
                  <a:lnTo>
                    <a:pt x="204" y="108"/>
                  </a:lnTo>
                  <a:lnTo>
                    <a:pt x="200" y="95"/>
                  </a:lnTo>
                  <a:lnTo>
                    <a:pt x="211" y="88"/>
                  </a:lnTo>
                  <a:lnTo>
                    <a:pt x="204" y="82"/>
                  </a:lnTo>
                  <a:lnTo>
                    <a:pt x="198" y="76"/>
                  </a:lnTo>
                  <a:lnTo>
                    <a:pt x="190" y="71"/>
                  </a:lnTo>
                  <a:lnTo>
                    <a:pt x="187" y="61"/>
                  </a:lnTo>
                  <a:lnTo>
                    <a:pt x="187" y="57"/>
                  </a:lnTo>
                  <a:lnTo>
                    <a:pt x="180" y="48"/>
                  </a:lnTo>
                  <a:lnTo>
                    <a:pt x="180" y="42"/>
                  </a:lnTo>
                  <a:lnTo>
                    <a:pt x="202" y="46"/>
                  </a:lnTo>
                  <a:lnTo>
                    <a:pt x="219" y="40"/>
                  </a:lnTo>
                  <a:lnTo>
                    <a:pt x="234" y="28"/>
                  </a:lnTo>
                  <a:lnTo>
                    <a:pt x="213" y="22"/>
                  </a:lnTo>
                  <a:lnTo>
                    <a:pt x="202" y="17"/>
                  </a:lnTo>
                  <a:lnTo>
                    <a:pt x="195" y="5"/>
                  </a:lnTo>
                  <a:lnTo>
                    <a:pt x="177" y="0"/>
                  </a:lnTo>
                  <a:lnTo>
                    <a:pt x="159" y="4"/>
                  </a:lnTo>
                  <a:lnTo>
                    <a:pt x="141" y="9"/>
                  </a:lnTo>
                  <a:lnTo>
                    <a:pt x="134" y="19"/>
                  </a:lnTo>
                  <a:lnTo>
                    <a:pt x="142" y="34"/>
                  </a:lnTo>
                  <a:lnTo>
                    <a:pt x="138" y="47"/>
                  </a:lnTo>
                  <a:lnTo>
                    <a:pt x="135" y="55"/>
                  </a:lnTo>
                  <a:lnTo>
                    <a:pt x="122" y="57"/>
                  </a:lnTo>
                  <a:lnTo>
                    <a:pt x="130" y="66"/>
                  </a:lnTo>
                  <a:lnTo>
                    <a:pt x="118" y="77"/>
                  </a:lnTo>
                  <a:lnTo>
                    <a:pt x="117" y="96"/>
                  </a:lnTo>
                  <a:lnTo>
                    <a:pt x="103" y="96"/>
                  </a:lnTo>
                  <a:lnTo>
                    <a:pt x="98" y="101"/>
                  </a:lnTo>
                  <a:lnTo>
                    <a:pt x="84" y="107"/>
                  </a:lnTo>
                  <a:lnTo>
                    <a:pt x="81" y="121"/>
                  </a:lnTo>
                  <a:lnTo>
                    <a:pt x="81" y="129"/>
                  </a:lnTo>
                  <a:lnTo>
                    <a:pt x="66" y="132"/>
                  </a:lnTo>
                  <a:lnTo>
                    <a:pt x="49" y="136"/>
                  </a:lnTo>
                  <a:lnTo>
                    <a:pt x="25" y="137"/>
                  </a:lnTo>
                  <a:lnTo>
                    <a:pt x="13" y="132"/>
                  </a:lnTo>
                  <a:lnTo>
                    <a:pt x="0" y="129"/>
                  </a:lnTo>
                  <a:lnTo>
                    <a:pt x="10" y="141"/>
                  </a:lnTo>
                  <a:lnTo>
                    <a:pt x="21" y="153"/>
                  </a:lnTo>
                  <a:lnTo>
                    <a:pt x="33" y="159"/>
                  </a:lnTo>
                  <a:lnTo>
                    <a:pt x="38" y="177"/>
                  </a:lnTo>
                  <a:lnTo>
                    <a:pt x="43" y="179"/>
                  </a:lnTo>
                  <a:lnTo>
                    <a:pt x="43" y="186"/>
                  </a:lnTo>
                  <a:lnTo>
                    <a:pt x="30" y="192"/>
                  </a:lnTo>
                  <a:lnTo>
                    <a:pt x="24" y="198"/>
                  </a:lnTo>
                  <a:lnTo>
                    <a:pt x="22" y="213"/>
                  </a:lnTo>
                  <a:lnTo>
                    <a:pt x="37" y="211"/>
                  </a:lnTo>
                  <a:lnTo>
                    <a:pt x="51" y="211"/>
                  </a:lnTo>
                  <a:lnTo>
                    <a:pt x="63" y="210"/>
                  </a:lnTo>
                  <a:lnTo>
                    <a:pt x="80" y="209"/>
                  </a:lnTo>
                  <a:lnTo>
                    <a:pt x="96" y="20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1" name="Freeform 64">
              <a:extLst>
                <a:ext uri="{FF2B5EF4-FFF2-40B4-BE49-F238E27FC236}">
                  <a16:creationId xmlns:a16="http://schemas.microsoft.com/office/drawing/2014/main" id="{9A0A3CC3-8E77-45F5-A4B7-F2A0F259C693}"/>
                </a:ext>
              </a:extLst>
            </p:cNvPr>
            <p:cNvSpPr>
              <a:spLocks/>
            </p:cNvSpPr>
            <p:nvPr/>
          </p:nvSpPr>
          <p:spPr bwMode="auto">
            <a:xfrm>
              <a:off x="7447918" y="2612721"/>
              <a:ext cx="824767" cy="936069"/>
            </a:xfrm>
            <a:custGeom>
              <a:avLst/>
              <a:gdLst/>
              <a:ahLst/>
              <a:cxnLst>
                <a:cxn ang="0">
                  <a:pos x="74" y="18"/>
                </a:cxn>
                <a:cxn ang="0">
                  <a:pos x="59" y="29"/>
                </a:cxn>
                <a:cxn ang="0">
                  <a:pos x="70" y="48"/>
                </a:cxn>
                <a:cxn ang="0">
                  <a:pos x="72" y="67"/>
                </a:cxn>
                <a:cxn ang="0">
                  <a:pos x="61" y="105"/>
                </a:cxn>
                <a:cxn ang="0">
                  <a:pos x="26" y="137"/>
                </a:cxn>
                <a:cxn ang="0">
                  <a:pos x="24" y="163"/>
                </a:cxn>
                <a:cxn ang="0">
                  <a:pos x="41" y="199"/>
                </a:cxn>
                <a:cxn ang="0">
                  <a:pos x="7" y="200"/>
                </a:cxn>
                <a:cxn ang="0">
                  <a:pos x="0" y="211"/>
                </a:cxn>
                <a:cxn ang="0">
                  <a:pos x="17" y="227"/>
                </a:cxn>
                <a:cxn ang="0">
                  <a:pos x="23" y="235"/>
                </a:cxn>
                <a:cxn ang="0">
                  <a:pos x="42" y="264"/>
                </a:cxn>
                <a:cxn ang="0">
                  <a:pos x="66" y="237"/>
                </a:cxn>
                <a:cxn ang="0">
                  <a:pos x="71" y="246"/>
                </a:cxn>
                <a:cxn ang="0">
                  <a:pos x="77" y="260"/>
                </a:cxn>
                <a:cxn ang="0">
                  <a:pos x="83" y="295"/>
                </a:cxn>
                <a:cxn ang="0">
                  <a:pos x="95" y="339"/>
                </a:cxn>
                <a:cxn ang="0">
                  <a:pos x="113" y="381"/>
                </a:cxn>
                <a:cxn ang="0">
                  <a:pos x="136" y="432"/>
                </a:cxn>
                <a:cxn ang="0">
                  <a:pos x="155" y="473"/>
                </a:cxn>
                <a:cxn ang="0">
                  <a:pos x="179" y="482"/>
                </a:cxn>
                <a:cxn ang="0">
                  <a:pos x="192" y="464"/>
                </a:cxn>
                <a:cxn ang="0">
                  <a:pos x="204" y="438"/>
                </a:cxn>
                <a:cxn ang="0">
                  <a:pos x="208" y="396"/>
                </a:cxn>
                <a:cxn ang="0">
                  <a:pos x="211" y="353"/>
                </a:cxn>
                <a:cxn ang="0">
                  <a:pos x="221" y="343"/>
                </a:cxn>
                <a:cxn ang="0">
                  <a:pos x="251" y="312"/>
                </a:cxn>
                <a:cxn ang="0">
                  <a:pos x="288" y="277"/>
                </a:cxn>
                <a:cxn ang="0">
                  <a:pos x="312" y="241"/>
                </a:cxn>
                <a:cxn ang="0">
                  <a:pos x="324" y="247"/>
                </a:cxn>
                <a:cxn ang="0">
                  <a:pos x="323" y="229"/>
                </a:cxn>
                <a:cxn ang="0">
                  <a:pos x="305" y="195"/>
                </a:cxn>
                <a:cxn ang="0">
                  <a:pos x="304" y="174"/>
                </a:cxn>
                <a:cxn ang="0">
                  <a:pos x="319" y="170"/>
                </a:cxn>
                <a:cxn ang="0">
                  <a:pos x="346" y="183"/>
                </a:cxn>
                <a:cxn ang="0">
                  <a:pos x="368" y="198"/>
                </a:cxn>
                <a:cxn ang="0">
                  <a:pos x="362" y="224"/>
                </a:cxn>
                <a:cxn ang="0">
                  <a:pos x="382" y="242"/>
                </a:cxn>
                <a:cxn ang="0">
                  <a:pos x="389" y="223"/>
                </a:cxn>
                <a:cxn ang="0">
                  <a:pos x="406" y="186"/>
                </a:cxn>
                <a:cxn ang="0">
                  <a:pos x="421" y="147"/>
                </a:cxn>
                <a:cxn ang="0">
                  <a:pos x="432" y="139"/>
                </a:cxn>
                <a:cxn ang="0">
                  <a:pos x="418" y="116"/>
                </a:cxn>
                <a:cxn ang="0">
                  <a:pos x="407" y="109"/>
                </a:cxn>
                <a:cxn ang="0">
                  <a:pos x="374" y="122"/>
                </a:cxn>
                <a:cxn ang="0">
                  <a:pos x="348" y="138"/>
                </a:cxn>
                <a:cxn ang="0">
                  <a:pos x="344" y="155"/>
                </a:cxn>
                <a:cxn ang="0">
                  <a:pos x="308" y="146"/>
                </a:cxn>
                <a:cxn ang="0">
                  <a:pos x="299" y="162"/>
                </a:cxn>
                <a:cxn ang="0">
                  <a:pos x="251" y="155"/>
                </a:cxn>
                <a:cxn ang="0">
                  <a:pos x="208" y="140"/>
                </a:cxn>
                <a:cxn ang="0">
                  <a:pos x="169" y="109"/>
                </a:cxn>
                <a:cxn ang="0">
                  <a:pos x="144" y="74"/>
                </a:cxn>
                <a:cxn ang="0">
                  <a:pos x="139" y="54"/>
                </a:cxn>
                <a:cxn ang="0">
                  <a:pos x="132" y="26"/>
                </a:cxn>
                <a:cxn ang="0">
                  <a:pos x="127" y="19"/>
                </a:cxn>
                <a:cxn ang="0">
                  <a:pos x="122" y="6"/>
                </a:cxn>
                <a:cxn ang="0">
                  <a:pos x="106" y="0"/>
                </a:cxn>
              </a:cxnLst>
              <a:rect l="0" t="0" r="r" b="b"/>
              <a:pathLst>
                <a:path w="434" h="491">
                  <a:moveTo>
                    <a:pt x="106" y="0"/>
                  </a:moveTo>
                  <a:lnTo>
                    <a:pt x="91" y="12"/>
                  </a:lnTo>
                  <a:lnTo>
                    <a:pt x="74" y="18"/>
                  </a:lnTo>
                  <a:lnTo>
                    <a:pt x="52" y="14"/>
                  </a:lnTo>
                  <a:lnTo>
                    <a:pt x="52" y="20"/>
                  </a:lnTo>
                  <a:lnTo>
                    <a:pt x="59" y="29"/>
                  </a:lnTo>
                  <a:lnTo>
                    <a:pt x="59" y="33"/>
                  </a:lnTo>
                  <a:lnTo>
                    <a:pt x="62" y="43"/>
                  </a:lnTo>
                  <a:lnTo>
                    <a:pt x="70" y="48"/>
                  </a:lnTo>
                  <a:lnTo>
                    <a:pt x="76" y="54"/>
                  </a:lnTo>
                  <a:lnTo>
                    <a:pt x="83" y="60"/>
                  </a:lnTo>
                  <a:lnTo>
                    <a:pt x="72" y="67"/>
                  </a:lnTo>
                  <a:lnTo>
                    <a:pt x="76" y="80"/>
                  </a:lnTo>
                  <a:lnTo>
                    <a:pt x="68" y="92"/>
                  </a:lnTo>
                  <a:lnTo>
                    <a:pt x="61" y="105"/>
                  </a:lnTo>
                  <a:lnTo>
                    <a:pt x="52" y="121"/>
                  </a:lnTo>
                  <a:lnTo>
                    <a:pt x="42" y="137"/>
                  </a:lnTo>
                  <a:lnTo>
                    <a:pt x="26" y="137"/>
                  </a:lnTo>
                  <a:lnTo>
                    <a:pt x="20" y="135"/>
                  </a:lnTo>
                  <a:lnTo>
                    <a:pt x="12" y="157"/>
                  </a:lnTo>
                  <a:lnTo>
                    <a:pt x="24" y="163"/>
                  </a:lnTo>
                  <a:lnTo>
                    <a:pt x="28" y="175"/>
                  </a:lnTo>
                  <a:lnTo>
                    <a:pt x="34" y="176"/>
                  </a:lnTo>
                  <a:lnTo>
                    <a:pt x="41" y="199"/>
                  </a:lnTo>
                  <a:lnTo>
                    <a:pt x="35" y="199"/>
                  </a:lnTo>
                  <a:lnTo>
                    <a:pt x="20" y="201"/>
                  </a:lnTo>
                  <a:lnTo>
                    <a:pt x="7" y="200"/>
                  </a:lnTo>
                  <a:lnTo>
                    <a:pt x="7" y="206"/>
                  </a:lnTo>
                  <a:lnTo>
                    <a:pt x="0" y="210"/>
                  </a:lnTo>
                  <a:lnTo>
                    <a:pt x="0" y="211"/>
                  </a:lnTo>
                  <a:lnTo>
                    <a:pt x="6" y="209"/>
                  </a:lnTo>
                  <a:lnTo>
                    <a:pt x="4" y="213"/>
                  </a:lnTo>
                  <a:lnTo>
                    <a:pt x="17" y="227"/>
                  </a:lnTo>
                  <a:lnTo>
                    <a:pt x="35" y="224"/>
                  </a:lnTo>
                  <a:lnTo>
                    <a:pt x="34" y="228"/>
                  </a:lnTo>
                  <a:lnTo>
                    <a:pt x="23" y="235"/>
                  </a:lnTo>
                  <a:lnTo>
                    <a:pt x="14" y="234"/>
                  </a:lnTo>
                  <a:lnTo>
                    <a:pt x="29" y="248"/>
                  </a:lnTo>
                  <a:lnTo>
                    <a:pt x="42" y="264"/>
                  </a:lnTo>
                  <a:lnTo>
                    <a:pt x="64" y="258"/>
                  </a:lnTo>
                  <a:lnTo>
                    <a:pt x="65" y="246"/>
                  </a:lnTo>
                  <a:lnTo>
                    <a:pt x="66" y="237"/>
                  </a:lnTo>
                  <a:lnTo>
                    <a:pt x="74" y="237"/>
                  </a:lnTo>
                  <a:lnTo>
                    <a:pt x="72" y="242"/>
                  </a:lnTo>
                  <a:lnTo>
                    <a:pt x="71" y="246"/>
                  </a:lnTo>
                  <a:lnTo>
                    <a:pt x="79" y="246"/>
                  </a:lnTo>
                  <a:lnTo>
                    <a:pt x="74" y="252"/>
                  </a:lnTo>
                  <a:lnTo>
                    <a:pt x="77" y="260"/>
                  </a:lnTo>
                  <a:lnTo>
                    <a:pt x="77" y="272"/>
                  </a:lnTo>
                  <a:lnTo>
                    <a:pt x="82" y="290"/>
                  </a:lnTo>
                  <a:lnTo>
                    <a:pt x="83" y="295"/>
                  </a:lnTo>
                  <a:lnTo>
                    <a:pt x="84" y="300"/>
                  </a:lnTo>
                  <a:lnTo>
                    <a:pt x="89" y="321"/>
                  </a:lnTo>
                  <a:lnTo>
                    <a:pt x="95" y="339"/>
                  </a:lnTo>
                  <a:lnTo>
                    <a:pt x="101" y="356"/>
                  </a:lnTo>
                  <a:lnTo>
                    <a:pt x="104" y="361"/>
                  </a:lnTo>
                  <a:lnTo>
                    <a:pt x="113" y="381"/>
                  </a:lnTo>
                  <a:lnTo>
                    <a:pt x="121" y="402"/>
                  </a:lnTo>
                  <a:lnTo>
                    <a:pt x="128" y="416"/>
                  </a:lnTo>
                  <a:lnTo>
                    <a:pt x="136" y="432"/>
                  </a:lnTo>
                  <a:lnTo>
                    <a:pt x="143" y="446"/>
                  </a:lnTo>
                  <a:lnTo>
                    <a:pt x="148" y="458"/>
                  </a:lnTo>
                  <a:lnTo>
                    <a:pt x="155" y="473"/>
                  </a:lnTo>
                  <a:lnTo>
                    <a:pt x="161" y="486"/>
                  </a:lnTo>
                  <a:lnTo>
                    <a:pt x="170" y="491"/>
                  </a:lnTo>
                  <a:lnTo>
                    <a:pt x="179" y="482"/>
                  </a:lnTo>
                  <a:lnTo>
                    <a:pt x="188" y="473"/>
                  </a:lnTo>
                  <a:lnTo>
                    <a:pt x="198" y="471"/>
                  </a:lnTo>
                  <a:lnTo>
                    <a:pt x="192" y="464"/>
                  </a:lnTo>
                  <a:lnTo>
                    <a:pt x="200" y="451"/>
                  </a:lnTo>
                  <a:lnTo>
                    <a:pt x="205" y="451"/>
                  </a:lnTo>
                  <a:lnTo>
                    <a:pt x="204" y="438"/>
                  </a:lnTo>
                  <a:lnTo>
                    <a:pt x="202" y="425"/>
                  </a:lnTo>
                  <a:lnTo>
                    <a:pt x="205" y="410"/>
                  </a:lnTo>
                  <a:lnTo>
                    <a:pt x="208" y="396"/>
                  </a:lnTo>
                  <a:lnTo>
                    <a:pt x="204" y="379"/>
                  </a:lnTo>
                  <a:lnTo>
                    <a:pt x="203" y="359"/>
                  </a:lnTo>
                  <a:lnTo>
                    <a:pt x="211" y="353"/>
                  </a:lnTo>
                  <a:lnTo>
                    <a:pt x="214" y="351"/>
                  </a:lnTo>
                  <a:lnTo>
                    <a:pt x="217" y="350"/>
                  </a:lnTo>
                  <a:lnTo>
                    <a:pt x="221" y="343"/>
                  </a:lnTo>
                  <a:lnTo>
                    <a:pt x="234" y="338"/>
                  </a:lnTo>
                  <a:lnTo>
                    <a:pt x="236" y="327"/>
                  </a:lnTo>
                  <a:lnTo>
                    <a:pt x="251" y="312"/>
                  </a:lnTo>
                  <a:lnTo>
                    <a:pt x="266" y="296"/>
                  </a:lnTo>
                  <a:lnTo>
                    <a:pt x="278" y="283"/>
                  </a:lnTo>
                  <a:lnTo>
                    <a:pt x="288" y="277"/>
                  </a:lnTo>
                  <a:lnTo>
                    <a:pt x="296" y="264"/>
                  </a:lnTo>
                  <a:lnTo>
                    <a:pt x="298" y="251"/>
                  </a:lnTo>
                  <a:lnTo>
                    <a:pt x="312" y="241"/>
                  </a:lnTo>
                  <a:lnTo>
                    <a:pt x="316" y="248"/>
                  </a:lnTo>
                  <a:lnTo>
                    <a:pt x="320" y="248"/>
                  </a:lnTo>
                  <a:lnTo>
                    <a:pt x="324" y="247"/>
                  </a:lnTo>
                  <a:lnTo>
                    <a:pt x="328" y="248"/>
                  </a:lnTo>
                  <a:lnTo>
                    <a:pt x="328" y="243"/>
                  </a:lnTo>
                  <a:lnTo>
                    <a:pt x="323" y="229"/>
                  </a:lnTo>
                  <a:lnTo>
                    <a:pt x="318" y="216"/>
                  </a:lnTo>
                  <a:lnTo>
                    <a:pt x="317" y="205"/>
                  </a:lnTo>
                  <a:lnTo>
                    <a:pt x="305" y="195"/>
                  </a:lnTo>
                  <a:lnTo>
                    <a:pt x="310" y="188"/>
                  </a:lnTo>
                  <a:lnTo>
                    <a:pt x="316" y="185"/>
                  </a:lnTo>
                  <a:lnTo>
                    <a:pt x="304" y="174"/>
                  </a:lnTo>
                  <a:lnTo>
                    <a:pt x="304" y="161"/>
                  </a:lnTo>
                  <a:lnTo>
                    <a:pt x="314" y="164"/>
                  </a:lnTo>
                  <a:lnTo>
                    <a:pt x="319" y="170"/>
                  </a:lnTo>
                  <a:lnTo>
                    <a:pt x="323" y="167"/>
                  </a:lnTo>
                  <a:lnTo>
                    <a:pt x="329" y="181"/>
                  </a:lnTo>
                  <a:lnTo>
                    <a:pt x="346" y="183"/>
                  </a:lnTo>
                  <a:lnTo>
                    <a:pt x="362" y="185"/>
                  </a:lnTo>
                  <a:lnTo>
                    <a:pt x="371" y="191"/>
                  </a:lnTo>
                  <a:lnTo>
                    <a:pt x="368" y="198"/>
                  </a:lnTo>
                  <a:lnTo>
                    <a:pt x="356" y="206"/>
                  </a:lnTo>
                  <a:lnTo>
                    <a:pt x="360" y="221"/>
                  </a:lnTo>
                  <a:lnTo>
                    <a:pt x="362" y="224"/>
                  </a:lnTo>
                  <a:lnTo>
                    <a:pt x="370" y="211"/>
                  </a:lnTo>
                  <a:lnTo>
                    <a:pt x="376" y="227"/>
                  </a:lnTo>
                  <a:lnTo>
                    <a:pt x="382" y="242"/>
                  </a:lnTo>
                  <a:lnTo>
                    <a:pt x="383" y="241"/>
                  </a:lnTo>
                  <a:lnTo>
                    <a:pt x="388" y="242"/>
                  </a:lnTo>
                  <a:lnTo>
                    <a:pt x="389" y="223"/>
                  </a:lnTo>
                  <a:lnTo>
                    <a:pt x="389" y="207"/>
                  </a:lnTo>
                  <a:lnTo>
                    <a:pt x="398" y="207"/>
                  </a:lnTo>
                  <a:lnTo>
                    <a:pt x="406" y="186"/>
                  </a:lnTo>
                  <a:lnTo>
                    <a:pt x="407" y="177"/>
                  </a:lnTo>
                  <a:lnTo>
                    <a:pt x="407" y="163"/>
                  </a:lnTo>
                  <a:lnTo>
                    <a:pt x="421" y="147"/>
                  </a:lnTo>
                  <a:lnTo>
                    <a:pt x="433" y="150"/>
                  </a:lnTo>
                  <a:lnTo>
                    <a:pt x="431" y="144"/>
                  </a:lnTo>
                  <a:lnTo>
                    <a:pt x="432" y="139"/>
                  </a:lnTo>
                  <a:lnTo>
                    <a:pt x="434" y="131"/>
                  </a:lnTo>
                  <a:lnTo>
                    <a:pt x="418" y="125"/>
                  </a:lnTo>
                  <a:lnTo>
                    <a:pt x="418" y="116"/>
                  </a:lnTo>
                  <a:lnTo>
                    <a:pt x="412" y="115"/>
                  </a:lnTo>
                  <a:lnTo>
                    <a:pt x="413" y="111"/>
                  </a:lnTo>
                  <a:lnTo>
                    <a:pt x="407" y="109"/>
                  </a:lnTo>
                  <a:lnTo>
                    <a:pt x="398" y="114"/>
                  </a:lnTo>
                  <a:lnTo>
                    <a:pt x="385" y="113"/>
                  </a:lnTo>
                  <a:lnTo>
                    <a:pt x="374" y="122"/>
                  </a:lnTo>
                  <a:lnTo>
                    <a:pt x="362" y="133"/>
                  </a:lnTo>
                  <a:lnTo>
                    <a:pt x="349" y="138"/>
                  </a:lnTo>
                  <a:lnTo>
                    <a:pt x="348" y="138"/>
                  </a:lnTo>
                  <a:lnTo>
                    <a:pt x="353" y="144"/>
                  </a:lnTo>
                  <a:lnTo>
                    <a:pt x="359" y="153"/>
                  </a:lnTo>
                  <a:lnTo>
                    <a:pt x="344" y="155"/>
                  </a:lnTo>
                  <a:lnTo>
                    <a:pt x="330" y="156"/>
                  </a:lnTo>
                  <a:lnTo>
                    <a:pt x="311" y="153"/>
                  </a:lnTo>
                  <a:lnTo>
                    <a:pt x="308" y="146"/>
                  </a:lnTo>
                  <a:lnTo>
                    <a:pt x="301" y="132"/>
                  </a:lnTo>
                  <a:lnTo>
                    <a:pt x="294" y="137"/>
                  </a:lnTo>
                  <a:lnTo>
                    <a:pt x="299" y="162"/>
                  </a:lnTo>
                  <a:lnTo>
                    <a:pt x="282" y="161"/>
                  </a:lnTo>
                  <a:lnTo>
                    <a:pt x="262" y="158"/>
                  </a:lnTo>
                  <a:lnTo>
                    <a:pt x="251" y="155"/>
                  </a:lnTo>
                  <a:lnTo>
                    <a:pt x="242" y="146"/>
                  </a:lnTo>
                  <a:lnTo>
                    <a:pt x="223" y="144"/>
                  </a:lnTo>
                  <a:lnTo>
                    <a:pt x="208" y="140"/>
                  </a:lnTo>
                  <a:lnTo>
                    <a:pt x="188" y="131"/>
                  </a:lnTo>
                  <a:lnTo>
                    <a:pt x="169" y="120"/>
                  </a:lnTo>
                  <a:lnTo>
                    <a:pt x="169" y="109"/>
                  </a:lnTo>
                  <a:lnTo>
                    <a:pt x="178" y="95"/>
                  </a:lnTo>
                  <a:lnTo>
                    <a:pt x="163" y="85"/>
                  </a:lnTo>
                  <a:lnTo>
                    <a:pt x="144" y="74"/>
                  </a:lnTo>
                  <a:lnTo>
                    <a:pt x="137" y="72"/>
                  </a:lnTo>
                  <a:lnTo>
                    <a:pt x="130" y="53"/>
                  </a:lnTo>
                  <a:lnTo>
                    <a:pt x="139" y="54"/>
                  </a:lnTo>
                  <a:lnTo>
                    <a:pt x="142" y="47"/>
                  </a:lnTo>
                  <a:lnTo>
                    <a:pt x="132" y="33"/>
                  </a:lnTo>
                  <a:lnTo>
                    <a:pt x="132" y="26"/>
                  </a:lnTo>
                  <a:lnTo>
                    <a:pt x="131" y="25"/>
                  </a:lnTo>
                  <a:lnTo>
                    <a:pt x="131" y="21"/>
                  </a:lnTo>
                  <a:lnTo>
                    <a:pt x="127" y="19"/>
                  </a:lnTo>
                  <a:lnTo>
                    <a:pt x="125" y="15"/>
                  </a:lnTo>
                  <a:lnTo>
                    <a:pt x="124" y="11"/>
                  </a:lnTo>
                  <a:lnTo>
                    <a:pt x="122" y="6"/>
                  </a:lnTo>
                  <a:lnTo>
                    <a:pt x="118" y="5"/>
                  </a:lnTo>
                  <a:lnTo>
                    <a:pt x="110" y="1"/>
                  </a:lnTo>
                  <a:lnTo>
                    <a:pt x="10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2" name="Freeform 65">
              <a:extLst>
                <a:ext uri="{FF2B5EF4-FFF2-40B4-BE49-F238E27FC236}">
                  <a16:creationId xmlns:a16="http://schemas.microsoft.com/office/drawing/2014/main" id="{76C50D1C-8CDC-4EA5-AC44-1663734C2BC2}"/>
                </a:ext>
              </a:extLst>
            </p:cNvPr>
            <p:cNvSpPr>
              <a:spLocks/>
            </p:cNvSpPr>
            <p:nvPr/>
          </p:nvSpPr>
          <p:spPr bwMode="auto">
            <a:xfrm>
              <a:off x="6426371" y="2689729"/>
              <a:ext cx="37645" cy="128346"/>
            </a:xfrm>
            <a:custGeom>
              <a:avLst/>
              <a:gdLst/>
              <a:ahLst/>
              <a:cxnLst>
                <a:cxn ang="0">
                  <a:pos x="15" y="69"/>
                </a:cxn>
                <a:cxn ang="0">
                  <a:pos x="8" y="52"/>
                </a:cxn>
                <a:cxn ang="0">
                  <a:pos x="0" y="35"/>
                </a:cxn>
                <a:cxn ang="0">
                  <a:pos x="6" y="20"/>
                </a:cxn>
                <a:cxn ang="0">
                  <a:pos x="11" y="4"/>
                </a:cxn>
                <a:cxn ang="0">
                  <a:pos x="18" y="0"/>
                </a:cxn>
                <a:cxn ang="0">
                  <a:pos x="20" y="10"/>
                </a:cxn>
                <a:cxn ang="0">
                  <a:pos x="18" y="24"/>
                </a:cxn>
                <a:cxn ang="0">
                  <a:pos x="17" y="39"/>
                </a:cxn>
                <a:cxn ang="0">
                  <a:pos x="17" y="53"/>
                </a:cxn>
                <a:cxn ang="0">
                  <a:pos x="15" y="68"/>
                </a:cxn>
                <a:cxn ang="0">
                  <a:pos x="15" y="69"/>
                </a:cxn>
              </a:cxnLst>
              <a:rect l="0" t="0" r="r" b="b"/>
              <a:pathLst>
                <a:path w="20" h="69">
                  <a:moveTo>
                    <a:pt x="15" y="69"/>
                  </a:moveTo>
                  <a:lnTo>
                    <a:pt x="8" y="52"/>
                  </a:lnTo>
                  <a:lnTo>
                    <a:pt x="0" y="35"/>
                  </a:lnTo>
                  <a:lnTo>
                    <a:pt x="6" y="20"/>
                  </a:lnTo>
                  <a:lnTo>
                    <a:pt x="11" y="4"/>
                  </a:lnTo>
                  <a:lnTo>
                    <a:pt x="18" y="0"/>
                  </a:lnTo>
                  <a:lnTo>
                    <a:pt x="20" y="10"/>
                  </a:lnTo>
                  <a:lnTo>
                    <a:pt x="18" y="24"/>
                  </a:lnTo>
                  <a:lnTo>
                    <a:pt x="17" y="39"/>
                  </a:lnTo>
                  <a:lnTo>
                    <a:pt x="17" y="53"/>
                  </a:lnTo>
                  <a:lnTo>
                    <a:pt x="15" y="68"/>
                  </a:lnTo>
                  <a:lnTo>
                    <a:pt x="15" y="6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3" name="Freeform 66">
              <a:extLst>
                <a:ext uri="{FF2B5EF4-FFF2-40B4-BE49-F238E27FC236}">
                  <a16:creationId xmlns:a16="http://schemas.microsoft.com/office/drawing/2014/main" id="{33C3F4A9-D112-4236-94B7-DE2C47DA927C}"/>
                </a:ext>
              </a:extLst>
            </p:cNvPr>
            <p:cNvSpPr>
              <a:spLocks/>
            </p:cNvSpPr>
            <p:nvPr/>
          </p:nvSpPr>
          <p:spPr bwMode="auto">
            <a:xfrm>
              <a:off x="6452038" y="2686306"/>
              <a:ext cx="118068" cy="143747"/>
            </a:xfrm>
            <a:custGeom>
              <a:avLst/>
              <a:gdLst/>
              <a:ahLst/>
              <a:cxnLst>
                <a:cxn ang="0">
                  <a:pos x="24" y="19"/>
                </a:cxn>
                <a:cxn ang="0">
                  <a:pos x="5" y="12"/>
                </a:cxn>
                <a:cxn ang="0">
                  <a:pos x="3" y="26"/>
                </a:cxn>
                <a:cxn ang="0">
                  <a:pos x="2" y="41"/>
                </a:cxn>
                <a:cxn ang="0">
                  <a:pos x="2" y="55"/>
                </a:cxn>
                <a:cxn ang="0">
                  <a:pos x="0" y="70"/>
                </a:cxn>
                <a:cxn ang="0">
                  <a:pos x="1" y="72"/>
                </a:cxn>
                <a:cxn ang="0">
                  <a:pos x="18" y="76"/>
                </a:cxn>
                <a:cxn ang="0">
                  <a:pos x="27" y="64"/>
                </a:cxn>
                <a:cxn ang="0">
                  <a:pos x="38" y="61"/>
                </a:cxn>
                <a:cxn ang="0">
                  <a:pos x="45" y="53"/>
                </a:cxn>
                <a:cxn ang="0">
                  <a:pos x="27" y="35"/>
                </a:cxn>
                <a:cxn ang="0">
                  <a:pos x="44" y="28"/>
                </a:cxn>
                <a:cxn ang="0">
                  <a:pos x="61" y="22"/>
                </a:cxn>
                <a:cxn ang="0">
                  <a:pos x="51" y="0"/>
                </a:cxn>
                <a:cxn ang="0">
                  <a:pos x="37" y="10"/>
                </a:cxn>
                <a:cxn ang="0">
                  <a:pos x="24" y="19"/>
                </a:cxn>
              </a:cxnLst>
              <a:rect l="0" t="0" r="r" b="b"/>
              <a:pathLst>
                <a:path w="61" h="76">
                  <a:moveTo>
                    <a:pt x="24" y="19"/>
                  </a:moveTo>
                  <a:lnTo>
                    <a:pt x="5" y="12"/>
                  </a:lnTo>
                  <a:lnTo>
                    <a:pt x="3" y="26"/>
                  </a:lnTo>
                  <a:lnTo>
                    <a:pt x="2" y="41"/>
                  </a:lnTo>
                  <a:lnTo>
                    <a:pt x="2" y="55"/>
                  </a:lnTo>
                  <a:lnTo>
                    <a:pt x="0" y="70"/>
                  </a:lnTo>
                  <a:lnTo>
                    <a:pt x="1" y="72"/>
                  </a:lnTo>
                  <a:lnTo>
                    <a:pt x="18" y="76"/>
                  </a:lnTo>
                  <a:lnTo>
                    <a:pt x="27" y="64"/>
                  </a:lnTo>
                  <a:lnTo>
                    <a:pt x="38" y="61"/>
                  </a:lnTo>
                  <a:lnTo>
                    <a:pt x="45" y="53"/>
                  </a:lnTo>
                  <a:lnTo>
                    <a:pt x="27" y="35"/>
                  </a:lnTo>
                  <a:lnTo>
                    <a:pt x="44" y="28"/>
                  </a:lnTo>
                  <a:lnTo>
                    <a:pt x="61" y="22"/>
                  </a:lnTo>
                  <a:lnTo>
                    <a:pt x="51" y="0"/>
                  </a:lnTo>
                  <a:lnTo>
                    <a:pt x="37" y="10"/>
                  </a:lnTo>
                  <a:lnTo>
                    <a:pt x="24" y="1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4" name="Freeform 67">
              <a:extLst>
                <a:ext uri="{FF2B5EF4-FFF2-40B4-BE49-F238E27FC236}">
                  <a16:creationId xmlns:a16="http://schemas.microsoft.com/office/drawing/2014/main" id="{FF21FA54-624F-4964-AA92-F4BF6E2428FA}"/>
                </a:ext>
              </a:extLst>
            </p:cNvPr>
            <p:cNvSpPr>
              <a:spLocks/>
            </p:cNvSpPr>
            <p:nvPr/>
          </p:nvSpPr>
          <p:spPr bwMode="auto">
            <a:xfrm>
              <a:off x="6980779" y="2973801"/>
              <a:ext cx="224159" cy="285784"/>
            </a:xfrm>
            <a:custGeom>
              <a:avLst/>
              <a:gdLst/>
              <a:ahLst/>
              <a:cxnLst>
                <a:cxn ang="0">
                  <a:pos x="119" y="46"/>
                </a:cxn>
                <a:cxn ang="0">
                  <a:pos x="107" y="35"/>
                </a:cxn>
                <a:cxn ang="0">
                  <a:pos x="95" y="25"/>
                </a:cxn>
                <a:cxn ang="0">
                  <a:pos x="82" y="19"/>
                </a:cxn>
                <a:cxn ang="0">
                  <a:pos x="68" y="13"/>
                </a:cxn>
                <a:cxn ang="0">
                  <a:pos x="61" y="0"/>
                </a:cxn>
                <a:cxn ang="0">
                  <a:pos x="56" y="4"/>
                </a:cxn>
                <a:cxn ang="0">
                  <a:pos x="54" y="0"/>
                </a:cxn>
                <a:cxn ang="0">
                  <a:pos x="56" y="17"/>
                </a:cxn>
                <a:cxn ang="0">
                  <a:pos x="49" y="19"/>
                </a:cxn>
                <a:cxn ang="0">
                  <a:pos x="46" y="41"/>
                </a:cxn>
                <a:cxn ang="0">
                  <a:pos x="54" y="54"/>
                </a:cxn>
                <a:cxn ang="0">
                  <a:pos x="50" y="72"/>
                </a:cxn>
                <a:cxn ang="0">
                  <a:pos x="47" y="90"/>
                </a:cxn>
                <a:cxn ang="0">
                  <a:pos x="36" y="94"/>
                </a:cxn>
                <a:cxn ang="0">
                  <a:pos x="24" y="99"/>
                </a:cxn>
                <a:cxn ang="0">
                  <a:pos x="13" y="103"/>
                </a:cxn>
                <a:cxn ang="0">
                  <a:pos x="2" y="108"/>
                </a:cxn>
                <a:cxn ang="0">
                  <a:pos x="0" y="115"/>
                </a:cxn>
                <a:cxn ang="0">
                  <a:pos x="11" y="133"/>
                </a:cxn>
                <a:cxn ang="0">
                  <a:pos x="22" y="150"/>
                </a:cxn>
                <a:cxn ang="0">
                  <a:pos x="35" y="148"/>
                </a:cxn>
                <a:cxn ang="0">
                  <a:pos x="47" y="144"/>
                </a:cxn>
                <a:cxn ang="0">
                  <a:pos x="55" y="137"/>
                </a:cxn>
                <a:cxn ang="0">
                  <a:pos x="60" y="127"/>
                </a:cxn>
                <a:cxn ang="0">
                  <a:pos x="74" y="124"/>
                </a:cxn>
                <a:cxn ang="0">
                  <a:pos x="80" y="111"/>
                </a:cxn>
                <a:cxn ang="0">
                  <a:pos x="92" y="105"/>
                </a:cxn>
                <a:cxn ang="0">
                  <a:pos x="91" y="85"/>
                </a:cxn>
                <a:cxn ang="0">
                  <a:pos x="97" y="81"/>
                </a:cxn>
                <a:cxn ang="0">
                  <a:pos x="101" y="81"/>
                </a:cxn>
                <a:cxn ang="0">
                  <a:pos x="110" y="64"/>
                </a:cxn>
                <a:cxn ang="0">
                  <a:pos x="119" y="46"/>
                </a:cxn>
              </a:cxnLst>
              <a:rect l="0" t="0" r="r" b="b"/>
              <a:pathLst>
                <a:path w="119" h="150">
                  <a:moveTo>
                    <a:pt x="119" y="46"/>
                  </a:moveTo>
                  <a:lnTo>
                    <a:pt x="107" y="35"/>
                  </a:lnTo>
                  <a:lnTo>
                    <a:pt x="95" y="25"/>
                  </a:lnTo>
                  <a:lnTo>
                    <a:pt x="82" y="19"/>
                  </a:lnTo>
                  <a:lnTo>
                    <a:pt x="68" y="13"/>
                  </a:lnTo>
                  <a:lnTo>
                    <a:pt x="61" y="0"/>
                  </a:lnTo>
                  <a:lnTo>
                    <a:pt x="56" y="4"/>
                  </a:lnTo>
                  <a:lnTo>
                    <a:pt x="54" y="0"/>
                  </a:lnTo>
                  <a:lnTo>
                    <a:pt x="56" y="17"/>
                  </a:lnTo>
                  <a:lnTo>
                    <a:pt x="49" y="19"/>
                  </a:lnTo>
                  <a:lnTo>
                    <a:pt x="46" y="41"/>
                  </a:lnTo>
                  <a:lnTo>
                    <a:pt x="54" y="54"/>
                  </a:lnTo>
                  <a:lnTo>
                    <a:pt x="50" y="72"/>
                  </a:lnTo>
                  <a:lnTo>
                    <a:pt x="47" y="90"/>
                  </a:lnTo>
                  <a:lnTo>
                    <a:pt x="36" y="94"/>
                  </a:lnTo>
                  <a:lnTo>
                    <a:pt x="24" y="99"/>
                  </a:lnTo>
                  <a:lnTo>
                    <a:pt x="13" y="103"/>
                  </a:lnTo>
                  <a:lnTo>
                    <a:pt x="2" y="108"/>
                  </a:lnTo>
                  <a:lnTo>
                    <a:pt x="0" y="115"/>
                  </a:lnTo>
                  <a:lnTo>
                    <a:pt x="11" y="133"/>
                  </a:lnTo>
                  <a:lnTo>
                    <a:pt x="22" y="150"/>
                  </a:lnTo>
                  <a:lnTo>
                    <a:pt x="35" y="148"/>
                  </a:lnTo>
                  <a:lnTo>
                    <a:pt x="47" y="144"/>
                  </a:lnTo>
                  <a:lnTo>
                    <a:pt x="55" y="137"/>
                  </a:lnTo>
                  <a:lnTo>
                    <a:pt x="60" y="127"/>
                  </a:lnTo>
                  <a:lnTo>
                    <a:pt x="74" y="124"/>
                  </a:lnTo>
                  <a:lnTo>
                    <a:pt x="80" y="111"/>
                  </a:lnTo>
                  <a:lnTo>
                    <a:pt x="92" y="105"/>
                  </a:lnTo>
                  <a:lnTo>
                    <a:pt x="91" y="85"/>
                  </a:lnTo>
                  <a:lnTo>
                    <a:pt x="97" y="81"/>
                  </a:lnTo>
                  <a:lnTo>
                    <a:pt x="101" y="81"/>
                  </a:lnTo>
                  <a:lnTo>
                    <a:pt x="110" y="64"/>
                  </a:lnTo>
                  <a:lnTo>
                    <a:pt x="119" y="4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5" name="Freeform 68">
              <a:extLst>
                <a:ext uri="{FF2B5EF4-FFF2-40B4-BE49-F238E27FC236}">
                  <a16:creationId xmlns:a16="http://schemas.microsoft.com/office/drawing/2014/main" id="{3E1BC892-2EDE-4EFE-A167-56679D8FACC7}"/>
                </a:ext>
              </a:extLst>
            </p:cNvPr>
            <p:cNvSpPr>
              <a:spLocks/>
            </p:cNvSpPr>
            <p:nvPr/>
          </p:nvSpPr>
          <p:spPr bwMode="auto">
            <a:xfrm>
              <a:off x="7080025" y="2929308"/>
              <a:ext cx="10267" cy="18824"/>
            </a:xfrm>
            <a:custGeom>
              <a:avLst/>
              <a:gdLst/>
              <a:ahLst/>
              <a:cxnLst>
                <a:cxn ang="0">
                  <a:pos x="5" y="0"/>
                </a:cxn>
                <a:cxn ang="0">
                  <a:pos x="0" y="8"/>
                </a:cxn>
                <a:cxn ang="0">
                  <a:pos x="5" y="10"/>
                </a:cxn>
                <a:cxn ang="0">
                  <a:pos x="5" y="0"/>
                </a:cxn>
              </a:cxnLst>
              <a:rect l="0" t="0" r="r" b="b"/>
              <a:pathLst>
                <a:path w="5" h="10">
                  <a:moveTo>
                    <a:pt x="5" y="0"/>
                  </a:moveTo>
                  <a:lnTo>
                    <a:pt x="0" y="8"/>
                  </a:lnTo>
                  <a:lnTo>
                    <a:pt x="5" y="10"/>
                  </a:lnTo>
                  <a:lnTo>
                    <a:pt x="5"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6" name="Freeform 69">
              <a:extLst>
                <a:ext uri="{FF2B5EF4-FFF2-40B4-BE49-F238E27FC236}">
                  <a16:creationId xmlns:a16="http://schemas.microsoft.com/office/drawing/2014/main" id="{7E7E69DD-6A76-4053-B324-098AA28DAE4C}"/>
                </a:ext>
              </a:extLst>
            </p:cNvPr>
            <p:cNvSpPr>
              <a:spLocks/>
            </p:cNvSpPr>
            <p:nvPr/>
          </p:nvSpPr>
          <p:spPr bwMode="auto">
            <a:xfrm>
              <a:off x="6448616" y="2727377"/>
              <a:ext cx="634831" cy="566433"/>
            </a:xfrm>
            <a:custGeom>
              <a:avLst/>
              <a:gdLst/>
              <a:ahLst/>
              <a:cxnLst>
                <a:cxn ang="0">
                  <a:pos x="76" y="178"/>
                </a:cxn>
                <a:cxn ang="0">
                  <a:pos x="65" y="151"/>
                </a:cxn>
                <a:cxn ang="0">
                  <a:pos x="45" y="134"/>
                </a:cxn>
                <a:cxn ang="0">
                  <a:pos x="21" y="94"/>
                </a:cxn>
                <a:cxn ang="0">
                  <a:pos x="0" y="72"/>
                </a:cxn>
                <a:cxn ang="0">
                  <a:pos x="21" y="54"/>
                </a:cxn>
                <a:cxn ang="0">
                  <a:pos x="41" y="39"/>
                </a:cxn>
                <a:cxn ang="0">
                  <a:pos x="30" y="13"/>
                </a:cxn>
                <a:cxn ang="0">
                  <a:pos x="64" y="0"/>
                </a:cxn>
                <a:cxn ang="0">
                  <a:pos x="94" y="13"/>
                </a:cxn>
                <a:cxn ang="0">
                  <a:pos x="123" y="26"/>
                </a:cxn>
                <a:cxn ang="0">
                  <a:pos x="153" y="54"/>
                </a:cxn>
                <a:cxn ang="0">
                  <a:pos x="195" y="57"/>
                </a:cxn>
                <a:cxn ang="0">
                  <a:pos x="210" y="66"/>
                </a:cxn>
                <a:cxn ang="0">
                  <a:pos x="226" y="85"/>
                </a:cxn>
                <a:cxn ang="0">
                  <a:pos x="242" y="109"/>
                </a:cxn>
                <a:cxn ang="0">
                  <a:pos x="255" y="134"/>
                </a:cxn>
                <a:cxn ang="0">
                  <a:pos x="262" y="136"/>
                </a:cxn>
                <a:cxn ang="0">
                  <a:pos x="264" y="141"/>
                </a:cxn>
                <a:cxn ang="0">
                  <a:pos x="266" y="146"/>
                </a:cxn>
                <a:cxn ang="0">
                  <a:pos x="276" y="165"/>
                </a:cxn>
                <a:cxn ang="0">
                  <a:pos x="323" y="174"/>
                </a:cxn>
                <a:cxn ang="0">
                  <a:pos x="334" y="183"/>
                </a:cxn>
                <a:cxn ang="0">
                  <a:pos x="327" y="219"/>
                </a:cxn>
                <a:cxn ang="0">
                  <a:pos x="304" y="228"/>
                </a:cxn>
                <a:cxn ang="0">
                  <a:pos x="282" y="237"/>
                </a:cxn>
                <a:cxn ang="0">
                  <a:pos x="257" y="243"/>
                </a:cxn>
                <a:cxn ang="0">
                  <a:pos x="232" y="250"/>
                </a:cxn>
                <a:cxn ang="0">
                  <a:pos x="215" y="273"/>
                </a:cxn>
                <a:cxn ang="0">
                  <a:pos x="197" y="297"/>
                </a:cxn>
                <a:cxn ang="0">
                  <a:pos x="182" y="272"/>
                </a:cxn>
                <a:cxn ang="0">
                  <a:pos x="149" y="264"/>
                </a:cxn>
                <a:cxn ang="0">
                  <a:pos x="141" y="284"/>
                </a:cxn>
                <a:cxn ang="0">
                  <a:pos x="125" y="258"/>
                </a:cxn>
                <a:cxn ang="0">
                  <a:pos x="100" y="218"/>
                </a:cxn>
              </a:cxnLst>
              <a:rect l="0" t="0" r="r" b="b"/>
              <a:pathLst>
                <a:path w="334" h="297">
                  <a:moveTo>
                    <a:pt x="82" y="202"/>
                  </a:moveTo>
                  <a:lnTo>
                    <a:pt x="76" y="178"/>
                  </a:lnTo>
                  <a:lnTo>
                    <a:pt x="70" y="165"/>
                  </a:lnTo>
                  <a:lnTo>
                    <a:pt x="65" y="151"/>
                  </a:lnTo>
                  <a:lnTo>
                    <a:pt x="54" y="142"/>
                  </a:lnTo>
                  <a:lnTo>
                    <a:pt x="45" y="134"/>
                  </a:lnTo>
                  <a:lnTo>
                    <a:pt x="36" y="115"/>
                  </a:lnTo>
                  <a:lnTo>
                    <a:pt x="21" y="94"/>
                  </a:lnTo>
                  <a:lnTo>
                    <a:pt x="5" y="73"/>
                  </a:lnTo>
                  <a:lnTo>
                    <a:pt x="0" y="72"/>
                  </a:lnTo>
                  <a:lnTo>
                    <a:pt x="4" y="50"/>
                  </a:lnTo>
                  <a:lnTo>
                    <a:pt x="21" y="54"/>
                  </a:lnTo>
                  <a:lnTo>
                    <a:pt x="30" y="42"/>
                  </a:lnTo>
                  <a:lnTo>
                    <a:pt x="41" y="39"/>
                  </a:lnTo>
                  <a:lnTo>
                    <a:pt x="48" y="31"/>
                  </a:lnTo>
                  <a:lnTo>
                    <a:pt x="30" y="13"/>
                  </a:lnTo>
                  <a:lnTo>
                    <a:pt x="47" y="6"/>
                  </a:lnTo>
                  <a:lnTo>
                    <a:pt x="64" y="0"/>
                  </a:lnTo>
                  <a:lnTo>
                    <a:pt x="78" y="6"/>
                  </a:lnTo>
                  <a:lnTo>
                    <a:pt x="94" y="13"/>
                  </a:lnTo>
                  <a:lnTo>
                    <a:pt x="108" y="19"/>
                  </a:lnTo>
                  <a:lnTo>
                    <a:pt x="123" y="26"/>
                  </a:lnTo>
                  <a:lnTo>
                    <a:pt x="137" y="39"/>
                  </a:lnTo>
                  <a:lnTo>
                    <a:pt x="153" y="54"/>
                  </a:lnTo>
                  <a:lnTo>
                    <a:pt x="180" y="55"/>
                  </a:lnTo>
                  <a:lnTo>
                    <a:pt x="195" y="57"/>
                  </a:lnTo>
                  <a:lnTo>
                    <a:pt x="197" y="62"/>
                  </a:lnTo>
                  <a:lnTo>
                    <a:pt x="210" y="66"/>
                  </a:lnTo>
                  <a:lnTo>
                    <a:pt x="219" y="79"/>
                  </a:lnTo>
                  <a:lnTo>
                    <a:pt x="226" y="85"/>
                  </a:lnTo>
                  <a:lnTo>
                    <a:pt x="240" y="99"/>
                  </a:lnTo>
                  <a:lnTo>
                    <a:pt x="242" y="109"/>
                  </a:lnTo>
                  <a:lnTo>
                    <a:pt x="249" y="121"/>
                  </a:lnTo>
                  <a:lnTo>
                    <a:pt x="255" y="134"/>
                  </a:lnTo>
                  <a:lnTo>
                    <a:pt x="260" y="138"/>
                  </a:lnTo>
                  <a:lnTo>
                    <a:pt x="262" y="136"/>
                  </a:lnTo>
                  <a:lnTo>
                    <a:pt x="264" y="136"/>
                  </a:lnTo>
                  <a:lnTo>
                    <a:pt x="264" y="141"/>
                  </a:lnTo>
                  <a:lnTo>
                    <a:pt x="266" y="142"/>
                  </a:lnTo>
                  <a:lnTo>
                    <a:pt x="266" y="146"/>
                  </a:lnTo>
                  <a:lnTo>
                    <a:pt x="270" y="150"/>
                  </a:lnTo>
                  <a:lnTo>
                    <a:pt x="276" y="165"/>
                  </a:lnTo>
                  <a:lnTo>
                    <a:pt x="299" y="170"/>
                  </a:lnTo>
                  <a:lnTo>
                    <a:pt x="323" y="174"/>
                  </a:lnTo>
                  <a:lnTo>
                    <a:pt x="326" y="170"/>
                  </a:lnTo>
                  <a:lnTo>
                    <a:pt x="334" y="183"/>
                  </a:lnTo>
                  <a:lnTo>
                    <a:pt x="330" y="201"/>
                  </a:lnTo>
                  <a:lnTo>
                    <a:pt x="327" y="219"/>
                  </a:lnTo>
                  <a:lnTo>
                    <a:pt x="316" y="223"/>
                  </a:lnTo>
                  <a:lnTo>
                    <a:pt x="304" y="228"/>
                  </a:lnTo>
                  <a:lnTo>
                    <a:pt x="293" y="232"/>
                  </a:lnTo>
                  <a:lnTo>
                    <a:pt x="282" y="237"/>
                  </a:lnTo>
                  <a:lnTo>
                    <a:pt x="269" y="240"/>
                  </a:lnTo>
                  <a:lnTo>
                    <a:pt x="257" y="243"/>
                  </a:lnTo>
                  <a:lnTo>
                    <a:pt x="244" y="247"/>
                  </a:lnTo>
                  <a:lnTo>
                    <a:pt x="232" y="250"/>
                  </a:lnTo>
                  <a:lnTo>
                    <a:pt x="224" y="262"/>
                  </a:lnTo>
                  <a:lnTo>
                    <a:pt x="215" y="273"/>
                  </a:lnTo>
                  <a:lnTo>
                    <a:pt x="206" y="285"/>
                  </a:lnTo>
                  <a:lnTo>
                    <a:pt x="197" y="297"/>
                  </a:lnTo>
                  <a:lnTo>
                    <a:pt x="196" y="279"/>
                  </a:lnTo>
                  <a:lnTo>
                    <a:pt x="182" y="272"/>
                  </a:lnTo>
                  <a:lnTo>
                    <a:pt x="166" y="266"/>
                  </a:lnTo>
                  <a:lnTo>
                    <a:pt x="149" y="264"/>
                  </a:lnTo>
                  <a:lnTo>
                    <a:pt x="146" y="278"/>
                  </a:lnTo>
                  <a:lnTo>
                    <a:pt x="141" y="284"/>
                  </a:lnTo>
                  <a:lnTo>
                    <a:pt x="132" y="271"/>
                  </a:lnTo>
                  <a:lnTo>
                    <a:pt x="125" y="258"/>
                  </a:lnTo>
                  <a:lnTo>
                    <a:pt x="112" y="238"/>
                  </a:lnTo>
                  <a:lnTo>
                    <a:pt x="100" y="218"/>
                  </a:lnTo>
                  <a:lnTo>
                    <a:pt x="82" y="20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7" name="Freeform 70">
              <a:extLst>
                <a:ext uri="{FF2B5EF4-FFF2-40B4-BE49-F238E27FC236}">
                  <a16:creationId xmlns:a16="http://schemas.microsoft.com/office/drawing/2014/main" id="{185979B9-52DA-4559-ACE1-EA11B2700E05}"/>
                </a:ext>
              </a:extLst>
            </p:cNvPr>
            <p:cNvSpPr>
              <a:spLocks/>
            </p:cNvSpPr>
            <p:nvPr/>
          </p:nvSpPr>
          <p:spPr bwMode="auto">
            <a:xfrm>
              <a:off x="6953401" y="2944709"/>
              <a:ext cx="145446" cy="112944"/>
            </a:xfrm>
            <a:custGeom>
              <a:avLst/>
              <a:gdLst/>
              <a:ahLst/>
              <a:cxnLst>
                <a:cxn ang="0">
                  <a:pos x="0" y="32"/>
                </a:cxn>
                <a:cxn ang="0">
                  <a:pos x="4" y="36"/>
                </a:cxn>
                <a:cxn ang="0">
                  <a:pos x="10" y="51"/>
                </a:cxn>
                <a:cxn ang="0">
                  <a:pos x="33" y="56"/>
                </a:cxn>
                <a:cxn ang="0">
                  <a:pos x="57" y="60"/>
                </a:cxn>
                <a:cxn ang="0">
                  <a:pos x="60" y="56"/>
                </a:cxn>
                <a:cxn ang="0">
                  <a:pos x="63" y="34"/>
                </a:cxn>
                <a:cxn ang="0">
                  <a:pos x="70" y="32"/>
                </a:cxn>
                <a:cxn ang="0">
                  <a:pos x="68" y="15"/>
                </a:cxn>
                <a:cxn ang="0">
                  <a:pos x="70" y="19"/>
                </a:cxn>
                <a:cxn ang="0">
                  <a:pos x="75" y="15"/>
                </a:cxn>
                <a:cxn ang="0">
                  <a:pos x="72" y="2"/>
                </a:cxn>
                <a:cxn ang="0">
                  <a:pos x="67" y="0"/>
                </a:cxn>
                <a:cxn ang="0">
                  <a:pos x="54" y="15"/>
                </a:cxn>
                <a:cxn ang="0">
                  <a:pos x="38" y="31"/>
                </a:cxn>
                <a:cxn ang="0">
                  <a:pos x="14" y="32"/>
                </a:cxn>
                <a:cxn ang="0">
                  <a:pos x="4" y="31"/>
                </a:cxn>
                <a:cxn ang="0">
                  <a:pos x="0" y="28"/>
                </a:cxn>
                <a:cxn ang="0">
                  <a:pos x="0" y="32"/>
                </a:cxn>
              </a:cxnLst>
              <a:rect l="0" t="0" r="r" b="b"/>
              <a:pathLst>
                <a:path w="75" h="60">
                  <a:moveTo>
                    <a:pt x="0" y="32"/>
                  </a:moveTo>
                  <a:lnTo>
                    <a:pt x="4" y="36"/>
                  </a:lnTo>
                  <a:lnTo>
                    <a:pt x="10" y="51"/>
                  </a:lnTo>
                  <a:lnTo>
                    <a:pt x="33" y="56"/>
                  </a:lnTo>
                  <a:lnTo>
                    <a:pt x="57" y="60"/>
                  </a:lnTo>
                  <a:lnTo>
                    <a:pt x="60" y="56"/>
                  </a:lnTo>
                  <a:lnTo>
                    <a:pt x="63" y="34"/>
                  </a:lnTo>
                  <a:lnTo>
                    <a:pt x="70" y="32"/>
                  </a:lnTo>
                  <a:lnTo>
                    <a:pt x="68" y="15"/>
                  </a:lnTo>
                  <a:lnTo>
                    <a:pt x="70" y="19"/>
                  </a:lnTo>
                  <a:lnTo>
                    <a:pt x="75" y="15"/>
                  </a:lnTo>
                  <a:lnTo>
                    <a:pt x="72" y="2"/>
                  </a:lnTo>
                  <a:lnTo>
                    <a:pt x="67" y="0"/>
                  </a:lnTo>
                  <a:lnTo>
                    <a:pt x="54" y="15"/>
                  </a:lnTo>
                  <a:lnTo>
                    <a:pt x="38" y="31"/>
                  </a:lnTo>
                  <a:lnTo>
                    <a:pt x="14" y="32"/>
                  </a:lnTo>
                  <a:lnTo>
                    <a:pt x="4" y="31"/>
                  </a:lnTo>
                  <a:lnTo>
                    <a:pt x="0" y="28"/>
                  </a:lnTo>
                  <a:lnTo>
                    <a:pt x="0" y="3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8" name="Freeform 71">
              <a:extLst>
                <a:ext uri="{FF2B5EF4-FFF2-40B4-BE49-F238E27FC236}">
                  <a16:creationId xmlns:a16="http://schemas.microsoft.com/office/drawing/2014/main" id="{4D379714-88D1-4613-B68E-31A75780D2A2}"/>
                </a:ext>
              </a:extLst>
            </p:cNvPr>
            <p:cNvSpPr>
              <a:spLocks/>
            </p:cNvSpPr>
            <p:nvPr/>
          </p:nvSpPr>
          <p:spPr bwMode="auto">
            <a:xfrm>
              <a:off x="6713842" y="3179154"/>
              <a:ext cx="308004" cy="213910"/>
            </a:xfrm>
            <a:custGeom>
              <a:avLst/>
              <a:gdLst/>
              <a:ahLst/>
              <a:cxnLst>
                <a:cxn ang="0">
                  <a:pos x="5" y="41"/>
                </a:cxn>
                <a:cxn ang="0">
                  <a:pos x="0" y="47"/>
                </a:cxn>
                <a:cxn ang="0">
                  <a:pos x="0" y="69"/>
                </a:cxn>
                <a:cxn ang="0">
                  <a:pos x="7" y="90"/>
                </a:cxn>
                <a:cxn ang="0">
                  <a:pos x="14" y="113"/>
                </a:cxn>
                <a:cxn ang="0">
                  <a:pos x="33" y="112"/>
                </a:cxn>
                <a:cxn ang="0">
                  <a:pos x="54" y="100"/>
                </a:cxn>
                <a:cxn ang="0">
                  <a:pos x="69" y="95"/>
                </a:cxn>
                <a:cxn ang="0">
                  <a:pos x="86" y="89"/>
                </a:cxn>
                <a:cxn ang="0">
                  <a:pos x="98" y="84"/>
                </a:cxn>
                <a:cxn ang="0">
                  <a:pos x="110" y="78"/>
                </a:cxn>
                <a:cxn ang="0">
                  <a:pos x="122" y="72"/>
                </a:cxn>
                <a:cxn ang="0">
                  <a:pos x="134" y="67"/>
                </a:cxn>
                <a:cxn ang="0">
                  <a:pos x="146" y="61"/>
                </a:cxn>
                <a:cxn ang="0">
                  <a:pos x="147" y="54"/>
                </a:cxn>
                <a:cxn ang="0">
                  <a:pos x="161" y="42"/>
                </a:cxn>
                <a:cxn ang="0">
                  <a:pos x="150" y="25"/>
                </a:cxn>
                <a:cxn ang="0">
                  <a:pos x="139" y="7"/>
                </a:cxn>
                <a:cxn ang="0">
                  <a:pos x="141" y="0"/>
                </a:cxn>
                <a:cxn ang="0">
                  <a:pos x="128" y="3"/>
                </a:cxn>
                <a:cxn ang="0">
                  <a:pos x="116" y="6"/>
                </a:cxn>
                <a:cxn ang="0">
                  <a:pos x="103" y="10"/>
                </a:cxn>
                <a:cxn ang="0">
                  <a:pos x="91" y="13"/>
                </a:cxn>
                <a:cxn ang="0">
                  <a:pos x="83" y="25"/>
                </a:cxn>
                <a:cxn ang="0">
                  <a:pos x="74" y="36"/>
                </a:cxn>
                <a:cxn ang="0">
                  <a:pos x="65" y="48"/>
                </a:cxn>
                <a:cxn ang="0">
                  <a:pos x="56" y="60"/>
                </a:cxn>
                <a:cxn ang="0">
                  <a:pos x="55" y="42"/>
                </a:cxn>
                <a:cxn ang="0">
                  <a:pos x="41" y="35"/>
                </a:cxn>
                <a:cxn ang="0">
                  <a:pos x="25" y="29"/>
                </a:cxn>
                <a:cxn ang="0">
                  <a:pos x="8" y="27"/>
                </a:cxn>
                <a:cxn ang="0">
                  <a:pos x="5" y="41"/>
                </a:cxn>
              </a:cxnLst>
              <a:rect l="0" t="0" r="r" b="b"/>
              <a:pathLst>
                <a:path w="161" h="113">
                  <a:moveTo>
                    <a:pt x="5" y="41"/>
                  </a:moveTo>
                  <a:lnTo>
                    <a:pt x="0" y="47"/>
                  </a:lnTo>
                  <a:lnTo>
                    <a:pt x="0" y="69"/>
                  </a:lnTo>
                  <a:lnTo>
                    <a:pt x="7" y="90"/>
                  </a:lnTo>
                  <a:lnTo>
                    <a:pt x="14" y="113"/>
                  </a:lnTo>
                  <a:lnTo>
                    <a:pt x="33" y="112"/>
                  </a:lnTo>
                  <a:lnTo>
                    <a:pt x="54" y="100"/>
                  </a:lnTo>
                  <a:lnTo>
                    <a:pt x="69" y="95"/>
                  </a:lnTo>
                  <a:lnTo>
                    <a:pt x="86" y="89"/>
                  </a:lnTo>
                  <a:lnTo>
                    <a:pt x="98" y="84"/>
                  </a:lnTo>
                  <a:lnTo>
                    <a:pt x="110" y="78"/>
                  </a:lnTo>
                  <a:lnTo>
                    <a:pt x="122" y="72"/>
                  </a:lnTo>
                  <a:lnTo>
                    <a:pt x="134" y="67"/>
                  </a:lnTo>
                  <a:lnTo>
                    <a:pt x="146" y="61"/>
                  </a:lnTo>
                  <a:lnTo>
                    <a:pt x="147" y="54"/>
                  </a:lnTo>
                  <a:lnTo>
                    <a:pt x="161" y="42"/>
                  </a:lnTo>
                  <a:lnTo>
                    <a:pt x="150" y="25"/>
                  </a:lnTo>
                  <a:lnTo>
                    <a:pt x="139" y="7"/>
                  </a:lnTo>
                  <a:lnTo>
                    <a:pt x="141" y="0"/>
                  </a:lnTo>
                  <a:lnTo>
                    <a:pt x="128" y="3"/>
                  </a:lnTo>
                  <a:lnTo>
                    <a:pt x="116" y="6"/>
                  </a:lnTo>
                  <a:lnTo>
                    <a:pt x="103" y="10"/>
                  </a:lnTo>
                  <a:lnTo>
                    <a:pt x="91" y="13"/>
                  </a:lnTo>
                  <a:lnTo>
                    <a:pt x="83" y="25"/>
                  </a:lnTo>
                  <a:lnTo>
                    <a:pt x="74" y="36"/>
                  </a:lnTo>
                  <a:lnTo>
                    <a:pt x="65" y="48"/>
                  </a:lnTo>
                  <a:lnTo>
                    <a:pt x="56" y="60"/>
                  </a:lnTo>
                  <a:lnTo>
                    <a:pt x="55" y="42"/>
                  </a:lnTo>
                  <a:lnTo>
                    <a:pt x="41" y="35"/>
                  </a:lnTo>
                  <a:lnTo>
                    <a:pt x="25" y="29"/>
                  </a:lnTo>
                  <a:lnTo>
                    <a:pt x="8" y="27"/>
                  </a:lnTo>
                  <a:lnTo>
                    <a:pt x="5" y="4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9" name="Freeform 72">
              <a:extLst>
                <a:ext uri="{FF2B5EF4-FFF2-40B4-BE49-F238E27FC236}">
                  <a16:creationId xmlns:a16="http://schemas.microsoft.com/office/drawing/2014/main" id="{324636B7-CFE9-4F31-9579-EC5C86AE1665}"/>
                </a:ext>
              </a:extLst>
            </p:cNvPr>
            <p:cNvSpPr>
              <a:spLocks/>
            </p:cNvSpPr>
            <p:nvPr/>
          </p:nvSpPr>
          <p:spPr bwMode="auto">
            <a:xfrm>
              <a:off x="7839768" y="3492318"/>
              <a:ext cx="65023" cy="131768"/>
            </a:xfrm>
            <a:custGeom>
              <a:avLst/>
              <a:gdLst/>
              <a:ahLst/>
              <a:cxnLst>
                <a:cxn ang="0">
                  <a:pos x="9" y="2"/>
                </a:cxn>
                <a:cxn ang="0">
                  <a:pos x="15" y="12"/>
                </a:cxn>
                <a:cxn ang="0">
                  <a:pos x="22" y="22"/>
                </a:cxn>
                <a:cxn ang="0">
                  <a:pos x="29" y="37"/>
                </a:cxn>
                <a:cxn ang="0">
                  <a:pos x="35" y="50"/>
                </a:cxn>
                <a:cxn ang="0">
                  <a:pos x="27" y="64"/>
                </a:cxn>
                <a:cxn ang="0">
                  <a:pos x="11" y="69"/>
                </a:cxn>
                <a:cxn ang="0">
                  <a:pos x="3" y="45"/>
                </a:cxn>
                <a:cxn ang="0">
                  <a:pos x="0" y="28"/>
                </a:cxn>
                <a:cxn ang="0">
                  <a:pos x="1" y="30"/>
                </a:cxn>
                <a:cxn ang="0">
                  <a:pos x="4" y="18"/>
                </a:cxn>
                <a:cxn ang="0">
                  <a:pos x="6" y="4"/>
                </a:cxn>
                <a:cxn ang="0">
                  <a:pos x="6" y="3"/>
                </a:cxn>
                <a:cxn ang="0">
                  <a:pos x="3" y="0"/>
                </a:cxn>
                <a:cxn ang="0">
                  <a:pos x="9" y="2"/>
                </a:cxn>
              </a:cxnLst>
              <a:rect l="0" t="0" r="r" b="b"/>
              <a:pathLst>
                <a:path w="35" h="69">
                  <a:moveTo>
                    <a:pt x="9" y="2"/>
                  </a:moveTo>
                  <a:lnTo>
                    <a:pt x="15" y="12"/>
                  </a:lnTo>
                  <a:lnTo>
                    <a:pt x="22" y="22"/>
                  </a:lnTo>
                  <a:lnTo>
                    <a:pt x="29" y="37"/>
                  </a:lnTo>
                  <a:lnTo>
                    <a:pt x="35" y="50"/>
                  </a:lnTo>
                  <a:lnTo>
                    <a:pt x="27" y="64"/>
                  </a:lnTo>
                  <a:lnTo>
                    <a:pt x="11" y="69"/>
                  </a:lnTo>
                  <a:lnTo>
                    <a:pt x="3" y="45"/>
                  </a:lnTo>
                  <a:lnTo>
                    <a:pt x="0" y="28"/>
                  </a:lnTo>
                  <a:lnTo>
                    <a:pt x="1" y="30"/>
                  </a:lnTo>
                  <a:lnTo>
                    <a:pt x="4" y="18"/>
                  </a:lnTo>
                  <a:lnTo>
                    <a:pt x="6" y="4"/>
                  </a:lnTo>
                  <a:lnTo>
                    <a:pt x="6" y="3"/>
                  </a:lnTo>
                  <a:lnTo>
                    <a:pt x="3" y="0"/>
                  </a:lnTo>
                  <a:lnTo>
                    <a:pt x="9"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1" name="Freeform 74">
              <a:extLst>
                <a:ext uri="{FF2B5EF4-FFF2-40B4-BE49-F238E27FC236}">
                  <a16:creationId xmlns:a16="http://schemas.microsoft.com/office/drawing/2014/main" id="{73A05235-A5C3-454B-A4CB-B79150707C8C}"/>
                </a:ext>
              </a:extLst>
            </p:cNvPr>
            <p:cNvSpPr>
              <a:spLocks/>
            </p:cNvSpPr>
            <p:nvPr/>
          </p:nvSpPr>
          <p:spPr bwMode="auto">
            <a:xfrm>
              <a:off x="7658388" y="3760989"/>
              <a:ext cx="3422" cy="5134"/>
            </a:xfrm>
            <a:custGeom>
              <a:avLst/>
              <a:gdLst/>
              <a:ahLst/>
              <a:cxnLst>
                <a:cxn ang="0">
                  <a:pos x="2" y="1"/>
                </a:cxn>
                <a:cxn ang="0">
                  <a:pos x="0" y="1"/>
                </a:cxn>
                <a:cxn ang="0">
                  <a:pos x="2" y="0"/>
                </a:cxn>
                <a:cxn ang="0">
                  <a:pos x="2" y="1"/>
                </a:cxn>
              </a:cxnLst>
              <a:rect l="0" t="0" r="r" b="b"/>
              <a:pathLst>
                <a:path w="2" h="1">
                  <a:moveTo>
                    <a:pt x="2" y="1"/>
                  </a:moveTo>
                  <a:lnTo>
                    <a:pt x="0" y="1"/>
                  </a:lnTo>
                  <a:lnTo>
                    <a:pt x="2" y="0"/>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2" name="Freeform 75">
              <a:extLst>
                <a:ext uri="{FF2B5EF4-FFF2-40B4-BE49-F238E27FC236}">
                  <a16:creationId xmlns:a16="http://schemas.microsoft.com/office/drawing/2014/main" id="{48AC956D-E388-4755-8403-AC4D7F419B7F}"/>
                </a:ext>
              </a:extLst>
            </p:cNvPr>
            <p:cNvSpPr>
              <a:spLocks/>
            </p:cNvSpPr>
            <p:nvPr/>
          </p:nvSpPr>
          <p:spPr bwMode="auto">
            <a:xfrm>
              <a:off x="7668655" y="3837997"/>
              <a:ext cx="3422" cy="3423"/>
            </a:xfrm>
            <a:custGeom>
              <a:avLst/>
              <a:gdLst/>
              <a:ahLst/>
              <a:cxnLst>
                <a:cxn ang="0">
                  <a:pos x="0" y="0"/>
                </a:cxn>
                <a:cxn ang="0">
                  <a:pos x="1" y="1"/>
                </a:cxn>
                <a:cxn ang="0">
                  <a:pos x="0" y="2"/>
                </a:cxn>
                <a:cxn ang="0">
                  <a:pos x="0" y="0"/>
                </a:cxn>
              </a:cxnLst>
              <a:rect l="0" t="0" r="r" b="b"/>
              <a:pathLst>
                <a:path w="1" h="2">
                  <a:moveTo>
                    <a:pt x="0" y="0"/>
                  </a:moveTo>
                  <a:lnTo>
                    <a:pt x="1" y="1"/>
                  </a:lnTo>
                  <a:lnTo>
                    <a:pt x="0" y="2"/>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3" name="Freeform 76">
              <a:extLst>
                <a:ext uri="{FF2B5EF4-FFF2-40B4-BE49-F238E27FC236}">
                  <a16:creationId xmlns:a16="http://schemas.microsoft.com/office/drawing/2014/main" id="{8F9D6AFB-E068-4424-A5D6-979C471C0E33}"/>
                </a:ext>
              </a:extLst>
            </p:cNvPr>
            <p:cNvSpPr>
              <a:spLocks/>
            </p:cNvSpPr>
            <p:nvPr/>
          </p:nvSpPr>
          <p:spPr bwMode="auto">
            <a:xfrm>
              <a:off x="7661810" y="3822595"/>
              <a:ext cx="3422" cy="3423"/>
            </a:xfrm>
            <a:custGeom>
              <a:avLst/>
              <a:gdLst/>
              <a:ahLst/>
              <a:cxnLst>
                <a:cxn ang="0">
                  <a:pos x="1" y="0"/>
                </a:cxn>
                <a:cxn ang="0">
                  <a:pos x="1" y="1"/>
                </a:cxn>
                <a:cxn ang="0">
                  <a:pos x="0" y="0"/>
                </a:cxn>
                <a:cxn ang="0">
                  <a:pos x="1" y="0"/>
                </a:cxn>
              </a:cxnLst>
              <a:rect l="0" t="0" r="r" b="b"/>
              <a:pathLst>
                <a:path w="1" h="1">
                  <a:moveTo>
                    <a:pt x="1" y="0"/>
                  </a:moveTo>
                  <a:lnTo>
                    <a:pt x="1" y="1"/>
                  </a:ln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4" name="Freeform 77">
              <a:extLst>
                <a:ext uri="{FF2B5EF4-FFF2-40B4-BE49-F238E27FC236}">
                  <a16:creationId xmlns:a16="http://schemas.microsoft.com/office/drawing/2014/main" id="{36D70938-16E5-4A4D-947A-8CB6C6D170DF}"/>
                </a:ext>
              </a:extLst>
            </p:cNvPr>
            <p:cNvSpPr>
              <a:spLocks/>
            </p:cNvSpPr>
            <p:nvPr/>
          </p:nvSpPr>
          <p:spPr bwMode="auto">
            <a:xfrm>
              <a:off x="7649832" y="3849976"/>
              <a:ext cx="3422" cy="3423"/>
            </a:xfrm>
            <a:custGeom>
              <a:avLst/>
              <a:gdLst/>
              <a:ahLst/>
              <a:cxnLst>
                <a:cxn ang="0">
                  <a:pos x="1" y="0"/>
                </a:cxn>
                <a:cxn ang="0">
                  <a:pos x="0" y="1"/>
                </a:cxn>
                <a:cxn ang="0">
                  <a:pos x="0" y="0"/>
                </a:cxn>
                <a:cxn ang="0">
                  <a:pos x="1" y="0"/>
                </a:cxn>
              </a:cxnLst>
              <a:rect l="0" t="0" r="r" b="b"/>
              <a:pathLst>
                <a:path w="1" h="1">
                  <a:moveTo>
                    <a:pt x="1" y="0"/>
                  </a:moveTo>
                  <a:lnTo>
                    <a:pt x="0" y="1"/>
                  </a:ln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5" name="Freeform 78">
              <a:extLst>
                <a:ext uri="{FF2B5EF4-FFF2-40B4-BE49-F238E27FC236}">
                  <a16:creationId xmlns:a16="http://schemas.microsoft.com/office/drawing/2014/main" id="{686BDB56-6A12-4872-8F70-E6D8032EFBBF}"/>
                </a:ext>
              </a:extLst>
            </p:cNvPr>
            <p:cNvSpPr>
              <a:spLocks/>
            </p:cNvSpPr>
            <p:nvPr/>
          </p:nvSpPr>
          <p:spPr bwMode="auto">
            <a:xfrm>
              <a:off x="7649832" y="3853398"/>
              <a:ext cx="3422" cy="3423"/>
            </a:xfrm>
            <a:custGeom>
              <a:avLst/>
              <a:gdLst/>
              <a:ahLst/>
              <a:cxnLst>
                <a:cxn ang="0">
                  <a:pos x="1" y="2"/>
                </a:cxn>
                <a:cxn ang="0">
                  <a:pos x="1" y="0"/>
                </a:cxn>
                <a:cxn ang="0">
                  <a:pos x="0" y="2"/>
                </a:cxn>
                <a:cxn ang="0">
                  <a:pos x="1" y="2"/>
                </a:cxn>
              </a:cxnLst>
              <a:rect l="0" t="0" r="r" b="b"/>
              <a:pathLst>
                <a:path w="1" h="2">
                  <a:moveTo>
                    <a:pt x="1" y="2"/>
                  </a:moveTo>
                  <a:lnTo>
                    <a:pt x="1" y="0"/>
                  </a:lnTo>
                  <a:lnTo>
                    <a:pt x="0" y="2"/>
                  </a:lnTo>
                  <a:lnTo>
                    <a:pt x="1"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6" name="Freeform 79">
              <a:extLst>
                <a:ext uri="{FF2B5EF4-FFF2-40B4-BE49-F238E27FC236}">
                  <a16:creationId xmlns:a16="http://schemas.microsoft.com/office/drawing/2014/main" id="{F3EE68C5-ADA6-4011-9B7D-12E056274142}"/>
                </a:ext>
              </a:extLst>
            </p:cNvPr>
            <p:cNvSpPr>
              <a:spLocks/>
            </p:cNvSpPr>
            <p:nvPr/>
          </p:nvSpPr>
          <p:spPr bwMode="auto">
            <a:xfrm>
              <a:off x="7649832" y="3632643"/>
              <a:ext cx="3422" cy="3423"/>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7" name="Freeform 80">
              <a:extLst>
                <a:ext uri="{FF2B5EF4-FFF2-40B4-BE49-F238E27FC236}">
                  <a16:creationId xmlns:a16="http://schemas.microsoft.com/office/drawing/2014/main" id="{0FF9EC02-95C7-4C02-9106-536E373BA682}"/>
                </a:ext>
              </a:extLst>
            </p:cNvPr>
            <p:cNvSpPr>
              <a:spLocks/>
            </p:cNvSpPr>
            <p:nvPr/>
          </p:nvSpPr>
          <p:spPr bwMode="auto">
            <a:xfrm>
              <a:off x="7658388" y="3849976"/>
              <a:ext cx="3422" cy="3423"/>
            </a:xfrm>
            <a:custGeom>
              <a:avLst/>
              <a:gdLst/>
              <a:ahLst/>
              <a:cxnLst>
                <a:cxn ang="0">
                  <a:pos x="0" y="1"/>
                </a:cxn>
                <a:cxn ang="0">
                  <a:pos x="0" y="0"/>
                </a:cxn>
                <a:cxn ang="0">
                  <a:pos x="0" y="1"/>
                </a:cxn>
              </a:cxnLst>
              <a:rect l="0" t="0" r="r" b="b"/>
              <a:pathLst>
                <a:path h="1">
                  <a:moveTo>
                    <a:pt x="0" y="1"/>
                  </a:moveTo>
                  <a:lnTo>
                    <a:pt x="0" y="0"/>
                  </a:lnTo>
                  <a:lnTo>
                    <a:pt x="0"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8" name="Freeform 81">
              <a:extLst>
                <a:ext uri="{FF2B5EF4-FFF2-40B4-BE49-F238E27FC236}">
                  <a16:creationId xmlns:a16="http://schemas.microsoft.com/office/drawing/2014/main" id="{FA33F712-96EA-47DD-AD64-29BF56CE3E05}"/>
                </a:ext>
              </a:extLst>
            </p:cNvPr>
            <p:cNvSpPr>
              <a:spLocks/>
            </p:cNvSpPr>
            <p:nvPr/>
          </p:nvSpPr>
          <p:spPr bwMode="auto">
            <a:xfrm>
              <a:off x="7668655" y="3754144"/>
              <a:ext cx="3422" cy="3423"/>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9" name="Freeform 82">
              <a:extLst>
                <a:ext uri="{FF2B5EF4-FFF2-40B4-BE49-F238E27FC236}">
                  <a16:creationId xmlns:a16="http://schemas.microsoft.com/office/drawing/2014/main" id="{2349A9EF-2E70-4060-A211-081F2BD59C5F}"/>
                </a:ext>
              </a:extLst>
            </p:cNvPr>
            <p:cNvSpPr>
              <a:spLocks/>
            </p:cNvSpPr>
            <p:nvPr/>
          </p:nvSpPr>
          <p:spPr bwMode="auto">
            <a:xfrm>
              <a:off x="7646410" y="3586439"/>
              <a:ext cx="3422" cy="3423"/>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0" name="Freeform 83">
              <a:extLst>
                <a:ext uri="{FF2B5EF4-FFF2-40B4-BE49-F238E27FC236}">
                  <a16:creationId xmlns:a16="http://schemas.microsoft.com/office/drawing/2014/main" id="{B1B111F4-EF6B-44BB-BBD4-7B5DC1C6E378}"/>
                </a:ext>
              </a:extLst>
            </p:cNvPr>
            <p:cNvSpPr>
              <a:spLocks/>
            </p:cNvSpPr>
            <p:nvPr/>
          </p:nvSpPr>
          <p:spPr bwMode="auto">
            <a:xfrm>
              <a:off x="7658388" y="3766123"/>
              <a:ext cx="3422" cy="3423"/>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1" name="Freeform 84">
              <a:extLst>
                <a:ext uri="{FF2B5EF4-FFF2-40B4-BE49-F238E27FC236}">
                  <a16:creationId xmlns:a16="http://schemas.microsoft.com/office/drawing/2014/main" id="{9254A3E5-D273-4257-BF2F-6A9E95000A66}"/>
                </a:ext>
              </a:extLst>
            </p:cNvPr>
            <p:cNvSpPr>
              <a:spLocks/>
            </p:cNvSpPr>
            <p:nvPr/>
          </p:nvSpPr>
          <p:spPr bwMode="auto">
            <a:xfrm>
              <a:off x="7661810" y="3747299"/>
              <a:ext cx="3422" cy="3423"/>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2" name="Freeform 85">
              <a:extLst>
                <a:ext uri="{FF2B5EF4-FFF2-40B4-BE49-F238E27FC236}">
                  <a16:creationId xmlns:a16="http://schemas.microsoft.com/office/drawing/2014/main" id="{5B7F34B1-1977-4059-9F30-5EE86D2FC81F}"/>
                </a:ext>
              </a:extLst>
            </p:cNvPr>
            <p:cNvSpPr>
              <a:spLocks/>
            </p:cNvSpPr>
            <p:nvPr/>
          </p:nvSpPr>
          <p:spPr bwMode="auto">
            <a:xfrm>
              <a:off x="7658388" y="3632643"/>
              <a:ext cx="3422" cy="3423"/>
            </a:xfrm>
            <a:custGeom>
              <a:avLst/>
              <a:gdLst/>
              <a:ahLst/>
              <a:cxnLst>
                <a:cxn ang="0">
                  <a:pos x="0" y="0"/>
                </a:cxn>
                <a:cxn ang="0">
                  <a:pos x="0" y="1"/>
                </a:cxn>
                <a:cxn ang="0">
                  <a:pos x="0" y="0"/>
                </a:cxn>
              </a:cxnLst>
              <a:rect l="0" t="0" r="r" b="b"/>
              <a:pathLst>
                <a:path h="1">
                  <a:moveTo>
                    <a:pt x="0" y="0"/>
                  </a:moveTo>
                  <a:lnTo>
                    <a:pt x="0" y="1"/>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3" name="Freeform 86">
              <a:extLst>
                <a:ext uri="{FF2B5EF4-FFF2-40B4-BE49-F238E27FC236}">
                  <a16:creationId xmlns:a16="http://schemas.microsoft.com/office/drawing/2014/main" id="{9DC0A159-559C-4246-8AD9-E130A1103FAB}"/>
                </a:ext>
              </a:extLst>
            </p:cNvPr>
            <p:cNvSpPr>
              <a:spLocks/>
            </p:cNvSpPr>
            <p:nvPr/>
          </p:nvSpPr>
          <p:spPr bwMode="auto">
            <a:xfrm>
              <a:off x="7642988" y="3598418"/>
              <a:ext cx="3422" cy="3423"/>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4" name="Freeform 87">
              <a:extLst>
                <a:ext uri="{FF2B5EF4-FFF2-40B4-BE49-F238E27FC236}">
                  <a16:creationId xmlns:a16="http://schemas.microsoft.com/office/drawing/2014/main" id="{F57108D9-1036-463E-9365-E98E286B30F3}"/>
                </a:ext>
              </a:extLst>
            </p:cNvPr>
            <p:cNvSpPr>
              <a:spLocks/>
            </p:cNvSpPr>
            <p:nvPr/>
          </p:nvSpPr>
          <p:spPr bwMode="auto">
            <a:xfrm>
              <a:off x="7634432" y="3731897"/>
              <a:ext cx="3422" cy="3423"/>
            </a:xfrm>
            <a:custGeom>
              <a:avLst/>
              <a:gdLst/>
              <a:ahLst/>
              <a:cxnLst>
                <a:cxn ang="0">
                  <a:pos x="2" y="1"/>
                </a:cxn>
                <a:cxn ang="0">
                  <a:pos x="2" y="0"/>
                </a:cxn>
                <a:cxn ang="0">
                  <a:pos x="0" y="0"/>
                </a:cxn>
                <a:cxn ang="0">
                  <a:pos x="2" y="1"/>
                </a:cxn>
              </a:cxnLst>
              <a:rect l="0" t="0" r="r" b="b"/>
              <a:pathLst>
                <a:path w="2" h="1">
                  <a:moveTo>
                    <a:pt x="2" y="1"/>
                  </a:moveTo>
                  <a:lnTo>
                    <a:pt x="2" y="0"/>
                  </a:lnTo>
                  <a:lnTo>
                    <a:pt x="0" y="0"/>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5" name="Freeform 88">
              <a:extLst>
                <a:ext uri="{FF2B5EF4-FFF2-40B4-BE49-F238E27FC236}">
                  <a16:creationId xmlns:a16="http://schemas.microsoft.com/office/drawing/2014/main" id="{F0895994-70F4-4DDB-9FE4-4D0B37D2E757}"/>
                </a:ext>
              </a:extLst>
            </p:cNvPr>
            <p:cNvSpPr>
              <a:spLocks/>
            </p:cNvSpPr>
            <p:nvPr/>
          </p:nvSpPr>
          <p:spPr bwMode="auto">
            <a:xfrm>
              <a:off x="7637854" y="3583016"/>
              <a:ext cx="5133" cy="342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6" name="Freeform 89">
              <a:extLst>
                <a:ext uri="{FF2B5EF4-FFF2-40B4-BE49-F238E27FC236}">
                  <a16:creationId xmlns:a16="http://schemas.microsoft.com/office/drawing/2014/main" id="{1443024F-09D2-4414-9786-91DF84724A24}"/>
                </a:ext>
              </a:extLst>
            </p:cNvPr>
            <p:cNvSpPr>
              <a:spLocks/>
            </p:cNvSpPr>
            <p:nvPr/>
          </p:nvSpPr>
          <p:spPr bwMode="auto">
            <a:xfrm>
              <a:off x="7658388" y="3723341"/>
              <a:ext cx="3422" cy="342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7" name="Freeform 90">
              <a:extLst>
                <a:ext uri="{FF2B5EF4-FFF2-40B4-BE49-F238E27FC236}">
                  <a16:creationId xmlns:a16="http://schemas.microsoft.com/office/drawing/2014/main" id="{70B958B9-850C-4AC9-85E4-6313AACFB027}"/>
                </a:ext>
              </a:extLst>
            </p:cNvPr>
            <p:cNvSpPr>
              <a:spLocks/>
            </p:cNvSpPr>
            <p:nvPr/>
          </p:nvSpPr>
          <p:spPr bwMode="auto">
            <a:xfrm>
              <a:off x="7661810" y="3807194"/>
              <a:ext cx="3422" cy="3423"/>
            </a:xfrm>
            <a:custGeom>
              <a:avLst/>
              <a:gdLst/>
              <a:ahLst/>
              <a:cxnLst>
                <a:cxn ang="0">
                  <a:pos x="1" y="0"/>
                </a:cxn>
                <a:cxn ang="0">
                  <a:pos x="1" y="1"/>
                </a:cxn>
                <a:cxn ang="0">
                  <a:pos x="0" y="1"/>
                </a:cxn>
                <a:cxn ang="0">
                  <a:pos x="1" y="0"/>
                </a:cxn>
              </a:cxnLst>
              <a:rect l="0" t="0" r="r" b="b"/>
              <a:pathLst>
                <a:path w="1" h="1">
                  <a:moveTo>
                    <a:pt x="1" y="0"/>
                  </a:moveTo>
                  <a:lnTo>
                    <a:pt x="1" y="1"/>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8" name="Freeform 91">
              <a:extLst>
                <a:ext uri="{FF2B5EF4-FFF2-40B4-BE49-F238E27FC236}">
                  <a16:creationId xmlns:a16="http://schemas.microsoft.com/office/drawing/2014/main" id="{7DD3F2EA-CD74-447C-BF12-4EEB2D86CFD3}"/>
                </a:ext>
              </a:extLst>
            </p:cNvPr>
            <p:cNvSpPr>
              <a:spLocks/>
            </p:cNvSpPr>
            <p:nvPr/>
          </p:nvSpPr>
          <p:spPr bwMode="auto">
            <a:xfrm>
              <a:off x="7637854" y="3589861"/>
              <a:ext cx="5133" cy="5134"/>
            </a:xfrm>
            <a:custGeom>
              <a:avLst/>
              <a:gdLst/>
              <a:ahLst/>
              <a:cxnLst>
                <a:cxn ang="0">
                  <a:pos x="1" y="0"/>
                </a:cxn>
                <a:cxn ang="0">
                  <a:pos x="1" y="1"/>
                </a:cxn>
                <a:cxn ang="0">
                  <a:pos x="0" y="3"/>
                </a:cxn>
                <a:cxn ang="0">
                  <a:pos x="1" y="0"/>
                </a:cxn>
              </a:cxnLst>
              <a:rect l="0" t="0" r="r" b="b"/>
              <a:pathLst>
                <a:path w="1" h="3">
                  <a:moveTo>
                    <a:pt x="1" y="0"/>
                  </a:moveTo>
                  <a:lnTo>
                    <a:pt x="1" y="1"/>
                  </a:lnTo>
                  <a:lnTo>
                    <a:pt x="0" y="3"/>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9" name="Freeform 92">
              <a:extLst>
                <a:ext uri="{FF2B5EF4-FFF2-40B4-BE49-F238E27FC236}">
                  <a16:creationId xmlns:a16="http://schemas.microsoft.com/office/drawing/2014/main" id="{FA4B2F58-CA8A-4460-B65A-0ADF17E382AF}"/>
                </a:ext>
              </a:extLst>
            </p:cNvPr>
            <p:cNvSpPr>
              <a:spLocks/>
            </p:cNvSpPr>
            <p:nvPr/>
          </p:nvSpPr>
          <p:spPr bwMode="auto">
            <a:xfrm>
              <a:off x="7658388" y="3738742"/>
              <a:ext cx="3422" cy="3423"/>
            </a:xfrm>
            <a:custGeom>
              <a:avLst/>
              <a:gdLst/>
              <a:ahLst/>
              <a:cxnLst>
                <a:cxn ang="0">
                  <a:pos x="2" y="0"/>
                </a:cxn>
                <a:cxn ang="0">
                  <a:pos x="2" y="2"/>
                </a:cxn>
                <a:cxn ang="0">
                  <a:pos x="0" y="0"/>
                </a:cxn>
                <a:cxn ang="0">
                  <a:pos x="2" y="0"/>
                </a:cxn>
              </a:cxnLst>
              <a:rect l="0" t="0" r="r" b="b"/>
              <a:pathLst>
                <a:path w="2" h="2">
                  <a:moveTo>
                    <a:pt x="2" y="0"/>
                  </a:moveTo>
                  <a:lnTo>
                    <a:pt x="2" y="2"/>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0" name="Freeform 93">
              <a:extLst>
                <a:ext uri="{FF2B5EF4-FFF2-40B4-BE49-F238E27FC236}">
                  <a16:creationId xmlns:a16="http://schemas.microsoft.com/office/drawing/2014/main" id="{D012B697-0199-4312-9FCC-962218A3DD10}"/>
                </a:ext>
              </a:extLst>
            </p:cNvPr>
            <p:cNvSpPr>
              <a:spLocks/>
            </p:cNvSpPr>
            <p:nvPr/>
          </p:nvSpPr>
          <p:spPr bwMode="auto">
            <a:xfrm>
              <a:off x="7658388" y="3670291"/>
              <a:ext cx="3422" cy="3423"/>
            </a:xfrm>
            <a:custGeom>
              <a:avLst/>
              <a:gdLst/>
              <a:ahLst/>
              <a:cxnLst>
                <a:cxn ang="0">
                  <a:pos x="0" y="0"/>
                </a:cxn>
                <a:cxn ang="0">
                  <a:pos x="0" y="1"/>
                </a:cxn>
                <a:cxn ang="0">
                  <a:pos x="0" y="0"/>
                </a:cxn>
              </a:cxnLst>
              <a:rect l="0" t="0" r="r" b="b"/>
              <a:pathLst>
                <a:path h="1">
                  <a:moveTo>
                    <a:pt x="0" y="0"/>
                  </a:moveTo>
                  <a:lnTo>
                    <a:pt x="0" y="1"/>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2" name="Freeform 95">
              <a:extLst>
                <a:ext uri="{FF2B5EF4-FFF2-40B4-BE49-F238E27FC236}">
                  <a16:creationId xmlns:a16="http://schemas.microsoft.com/office/drawing/2014/main" id="{A9BDF408-085F-4C10-82B3-5033D641BE02}"/>
                </a:ext>
              </a:extLst>
            </p:cNvPr>
            <p:cNvSpPr>
              <a:spLocks/>
            </p:cNvSpPr>
            <p:nvPr/>
          </p:nvSpPr>
          <p:spPr bwMode="auto">
            <a:xfrm>
              <a:off x="6919178" y="2932730"/>
              <a:ext cx="5133" cy="6845"/>
            </a:xfrm>
            <a:custGeom>
              <a:avLst/>
              <a:gdLst/>
              <a:ahLst/>
              <a:cxnLst>
                <a:cxn ang="0">
                  <a:pos x="0" y="0"/>
                </a:cxn>
                <a:cxn ang="0">
                  <a:pos x="0" y="3"/>
                </a:cxn>
                <a:cxn ang="0">
                  <a:pos x="1" y="1"/>
                </a:cxn>
                <a:cxn ang="0">
                  <a:pos x="0" y="0"/>
                </a:cxn>
              </a:cxnLst>
              <a:rect l="0" t="0" r="r" b="b"/>
              <a:pathLst>
                <a:path w="1" h="3">
                  <a:moveTo>
                    <a:pt x="0" y="0"/>
                  </a:moveTo>
                  <a:lnTo>
                    <a:pt x="0" y="3"/>
                  </a:lnTo>
                  <a:lnTo>
                    <a:pt x="1" y="1"/>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2" name="Freeform 105">
              <a:extLst>
                <a:ext uri="{FF2B5EF4-FFF2-40B4-BE49-F238E27FC236}">
                  <a16:creationId xmlns:a16="http://schemas.microsoft.com/office/drawing/2014/main" id="{1A7E264E-8758-4080-85F0-002765DD8FFC}"/>
                </a:ext>
              </a:extLst>
            </p:cNvPr>
            <p:cNvSpPr>
              <a:spLocks/>
            </p:cNvSpPr>
            <p:nvPr/>
          </p:nvSpPr>
          <p:spPr bwMode="auto">
            <a:xfrm>
              <a:off x="10646028" y="3719918"/>
              <a:ext cx="3422" cy="3423"/>
            </a:xfrm>
            <a:custGeom>
              <a:avLst/>
              <a:gdLst/>
              <a:ahLst/>
              <a:cxnLst>
                <a:cxn ang="0">
                  <a:pos x="3" y="0"/>
                </a:cxn>
                <a:cxn ang="0">
                  <a:pos x="2" y="1"/>
                </a:cxn>
                <a:cxn ang="0">
                  <a:pos x="0" y="1"/>
                </a:cxn>
                <a:cxn ang="0">
                  <a:pos x="2" y="0"/>
                </a:cxn>
                <a:cxn ang="0">
                  <a:pos x="3" y="0"/>
                </a:cxn>
              </a:cxnLst>
              <a:rect l="0" t="0" r="r" b="b"/>
              <a:pathLst>
                <a:path w="3" h="1">
                  <a:moveTo>
                    <a:pt x="3" y="0"/>
                  </a:moveTo>
                  <a:lnTo>
                    <a:pt x="2" y="1"/>
                  </a:lnTo>
                  <a:lnTo>
                    <a:pt x="0" y="1"/>
                  </a:lnTo>
                  <a:lnTo>
                    <a:pt x="2"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3" name="Freeform 106">
              <a:extLst>
                <a:ext uri="{FF2B5EF4-FFF2-40B4-BE49-F238E27FC236}">
                  <a16:creationId xmlns:a16="http://schemas.microsoft.com/office/drawing/2014/main" id="{6742F9C1-1E53-4C84-9C6F-396B242DB1C0}"/>
                </a:ext>
              </a:extLst>
            </p:cNvPr>
            <p:cNvSpPr>
              <a:spLocks/>
            </p:cNvSpPr>
            <p:nvPr/>
          </p:nvSpPr>
          <p:spPr bwMode="auto">
            <a:xfrm>
              <a:off x="10652872" y="3760989"/>
              <a:ext cx="5133" cy="5134"/>
            </a:xfrm>
            <a:custGeom>
              <a:avLst/>
              <a:gdLst/>
              <a:ahLst/>
              <a:cxnLst>
                <a:cxn ang="0">
                  <a:pos x="2" y="4"/>
                </a:cxn>
                <a:cxn ang="0">
                  <a:pos x="1" y="4"/>
                </a:cxn>
                <a:cxn ang="0">
                  <a:pos x="2" y="4"/>
                </a:cxn>
                <a:cxn ang="0">
                  <a:pos x="2" y="3"/>
                </a:cxn>
                <a:cxn ang="0">
                  <a:pos x="0" y="0"/>
                </a:cxn>
                <a:cxn ang="0">
                  <a:pos x="1" y="0"/>
                </a:cxn>
                <a:cxn ang="0">
                  <a:pos x="2" y="3"/>
                </a:cxn>
                <a:cxn ang="0">
                  <a:pos x="2" y="4"/>
                </a:cxn>
              </a:cxnLst>
              <a:rect l="0" t="0" r="r" b="b"/>
              <a:pathLst>
                <a:path w="2" h="4">
                  <a:moveTo>
                    <a:pt x="2" y="4"/>
                  </a:moveTo>
                  <a:lnTo>
                    <a:pt x="1" y="4"/>
                  </a:lnTo>
                  <a:lnTo>
                    <a:pt x="2" y="4"/>
                  </a:lnTo>
                  <a:lnTo>
                    <a:pt x="2" y="3"/>
                  </a:lnTo>
                  <a:lnTo>
                    <a:pt x="0" y="0"/>
                  </a:lnTo>
                  <a:lnTo>
                    <a:pt x="1" y="0"/>
                  </a:lnTo>
                  <a:lnTo>
                    <a:pt x="2" y="3"/>
                  </a:lnTo>
                  <a:lnTo>
                    <a:pt x="2"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4" name="Freeform 107">
              <a:extLst>
                <a:ext uri="{FF2B5EF4-FFF2-40B4-BE49-F238E27FC236}">
                  <a16:creationId xmlns:a16="http://schemas.microsoft.com/office/drawing/2014/main" id="{ED431D48-D503-487E-87FB-6F93D611EDFF}"/>
                </a:ext>
              </a:extLst>
            </p:cNvPr>
            <p:cNvSpPr>
              <a:spLocks/>
            </p:cNvSpPr>
            <p:nvPr/>
          </p:nvSpPr>
          <p:spPr bwMode="auto">
            <a:xfrm>
              <a:off x="10664850" y="3760989"/>
              <a:ext cx="3422" cy="5134"/>
            </a:xfrm>
            <a:custGeom>
              <a:avLst/>
              <a:gdLst/>
              <a:ahLst/>
              <a:cxnLst>
                <a:cxn ang="0">
                  <a:pos x="1" y="0"/>
                </a:cxn>
                <a:cxn ang="0">
                  <a:pos x="0" y="0"/>
                </a:cxn>
                <a:cxn ang="0">
                  <a:pos x="1" y="0"/>
                </a:cxn>
              </a:cxnLst>
              <a:rect l="0" t="0" r="r" b="b"/>
              <a:pathLst>
                <a:path w="1">
                  <a:moveTo>
                    <a:pt x="1" y="0"/>
                  </a:move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5" name="Freeform 108">
              <a:extLst>
                <a:ext uri="{FF2B5EF4-FFF2-40B4-BE49-F238E27FC236}">
                  <a16:creationId xmlns:a16="http://schemas.microsoft.com/office/drawing/2014/main" id="{AEDD6C1A-39F4-467E-B620-53452C381218}"/>
                </a:ext>
              </a:extLst>
            </p:cNvPr>
            <p:cNvSpPr>
              <a:spLocks/>
            </p:cNvSpPr>
            <p:nvPr/>
          </p:nvSpPr>
          <p:spPr bwMode="auto">
            <a:xfrm>
              <a:off x="10658006" y="3772968"/>
              <a:ext cx="3422" cy="3423"/>
            </a:xfrm>
            <a:custGeom>
              <a:avLst/>
              <a:gdLst/>
              <a:ahLst/>
              <a:cxnLst>
                <a:cxn ang="0">
                  <a:pos x="0" y="1"/>
                </a:cxn>
                <a:cxn ang="0">
                  <a:pos x="0" y="0"/>
                </a:cxn>
                <a:cxn ang="0">
                  <a:pos x="0" y="1"/>
                </a:cxn>
              </a:cxnLst>
              <a:rect l="0" t="0" r="r" b="b"/>
              <a:pathLst>
                <a:path h="1">
                  <a:moveTo>
                    <a:pt x="0" y="1"/>
                  </a:moveTo>
                  <a:lnTo>
                    <a:pt x="0" y="0"/>
                  </a:lnTo>
                  <a:lnTo>
                    <a:pt x="0"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9" name="Freeform 182">
              <a:extLst>
                <a:ext uri="{FF2B5EF4-FFF2-40B4-BE49-F238E27FC236}">
                  <a16:creationId xmlns:a16="http://schemas.microsoft.com/office/drawing/2014/main" id="{2121F81F-4E9D-4F95-9B97-C0B0965D2F93}"/>
                </a:ext>
              </a:extLst>
            </p:cNvPr>
            <p:cNvSpPr>
              <a:spLocks/>
            </p:cNvSpPr>
            <p:nvPr/>
          </p:nvSpPr>
          <p:spPr bwMode="auto">
            <a:xfrm>
              <a:off x="10760674" y="4382183"/>
              <a:ext cx="41067" cy="22247"/>
            </a:xfrm>
            <a:custGeom>
              <a:avLst/>
              <a:gdLst/>
              <a:ahLst/>
              <a:cxnLst>
                <a:cxn ang="0">
                  <a:pos x="16" y="8"/>
                </a:cxn>
                <a:cxn ang="0">
                  <a:pos x="22" y="0"/>
                </a:cxn>
                <a:cxn ang="0">
                  <a:pos x="0" y="7"/>
                </a:cxn>
                <a:cxn ang="0">
                  <a:pos x="0" y="12"/>
                </a:cxn>
                <a:cxn ang="0">
                  <a:pos x="16" y="8"/>
                </a:cxn>
              </a:cxnLst>
              <a:rect l="0" t="0" r="r" b="b"/>
              <a:pathLst>
                <a:path w="22" h="12">
                  <a:moveTo>
                    <a:pt x="16" y="8"/>
                  </a:moveTo>
                  <a:lnTo>
                    <a:pt x="22" y="0"/>
                  </a:lnTo>
                  <a:lnTo>
                    <a:pt x="0" y="7"/>
                  </a:lnTo>
                  <a:lnTo>
                    <a:pt x="0" y="12"/>
                  </a:lnTo>
                  <a:lnTo>
                    <a:pt x="16" y="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4" name="Freeform 187">
              <a:extLst>
                <a:ext uri="{FF2B5EF4-FFF2-40B4-BE49-F238E27FC236}">
                  <a16:creationId xmlns:a16="http://schemas.microsoft.com/office/drawing/2014/main" id="{5E2FB54F-D850-4986-AD40-8978AE76C945}"/>
                </a:ext>
              </a:extLst>
            </p:cNvPr>
            <p:cNvSpPr>
              <a:spLocks/>
            </p:cNvSpPr>
            <p:nvPr/>
          </p:nvSpPr>
          <p:spPr bwMode="auto">
            <a:xfrm>
              <a:off x="10235356" y="4142604"/>
              <a:ext cx="34223" cy="22247"/>
            </a:xfrm>
            <a:custGeom>
              <a:avLst/>
              <a:gdLst/>
              <a:ahLst/>
              <a:cxnLst>
                <a:cxn ang="0">
                  <a:pos x="17" y="11"/>
                </a:cxn>
                <a:cxn ang="0">
                  <a:pos x="18" y="9"/>
                </a:cxn>
                <a:cxn ang="0">
                  <a:pos x="3" y="0"/>
                </a:cxn>
                <a:cxn ang="0">
                  <a:pos x="0" y="5"/>
                </a:cxn>
                <a:cxn ang="0">
                  <a:pos x="17" y="11"/>
                </a:cxn>
              </a:cxnLst>
              <a:rect l="0" t="0" r="r" b="b"/>
              <a:pathLst>
                <a:path w="18" h="11">
                  <a:moveTo>
                    <a:pt x="17" y="11"/>
                  </a:moveTo>
                  <a:lnTo>
                    <a:pt x="18" y="9"/>
                  </a:lnTo>
                  <a:lnTo>
                    <a:pt x="3" y="0"/>
                  </a:lnTo>
                  <a:lnTo>
                    <a:pt x="0" y="5"/>
                  </a:lnTo>
                  <a:lnTo>
                    <a:pt x="17" y="1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5" name="Freeform 188">
              <a:extLst>
                <a:ext uri="{FF2B5EF4-FFF2-40B4-BE49-F238E27FC236}">
                  <a16:creationId xmlns:a16="http://schemas.microsoft.com/office/drawing/2014/main" id="{9D5B38C0-ADEC-4290-8706-169926C340DC}"/>
                </a:ext>
              </a:extLst>
            </p:cNvPr>
            <p:cNvSpPr>
              <a:spLocks/>
            </p:cNvSpPr>
            <p:nvPr/>
          </p:nvSpPr>
          <p:spPr bwMode="auto">
            <a:xfrm>
              <a:off x="10151510" y="4055329"/>
              <a:ext cx="27378" cy="25669"/>
            </a:xfrm>
            <a:custGeom>
              <a:avLst/>
              <a:gdLst/>
              <a:ahLst/>
              <a:cxnLst>
                <a:cxn ang="0">
                  <a:pos x="0" y="0"/>
                </a:cxn>
                <a:cxn ang="0">
                  <a:pos x="14" y="13"/>
                </a:cxn>
                <a:cxn ang="0">
                  <a:pos x="5" y="10"/>
                </a:cxn>
                <a:cxn ang="0">
                  <a:pos x="0" y="0"/>
                </a:cxn>
              </a:cxnLst>
              <a:rect l="0" t="0" r="r" b="b"/>
              <a:pathLst>
                <a:path w="14" h="13">
                  <a:moveTo>
                    <a:pt x="0" y="0"/>
                  </a:moveTo>
                  <a:lnTo>
                    <a:pt x="14" y="13"/>
                  </a:lnTo>
                  <a:lnTo>
                    <a:pt x="5" y="1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6" name="Freeform 189">
              <a:extLst>
                <a:ext uri="{FF2B5EF4-FFF2-40B4-BE49-F238E27FC236}">
                  <a16:creationId xmlns:a16="http://schemas.microsoft.com/office/drawing/2014/main" id="{E0CBB592-F68F-4FFD-A528-232FA06C7829}"/>
                </a:ext>
              </a:extLst>
            </p:cNvPr>
            <p:cNvSpPr>
              <a:spLocks/>
            </p:cNvSpPr>
            <p:nvPr/>
          </p:nvSpPr>
          <p:spPr bwMode="auto">
            <a:xfrm>
              <a:off x="10284979" y="4176830"/>
              <a:ext cx="22245" cy="18824"/>
            </a:xfrm>
            <a:custGeom>
              <a:avLst/>
              <a:gdLst/>
              <a:ahLst/>
              <a:cxnLst>
                <a:cxn ang="0">
                  <a:pos x="13" y="10"/>
                </a:cxn>
                <a:cxn ang="0">
                  <a:pos x="1" y="3"/>
                </a:cxn>
                <a:cxn ang="0">
                  <a:pos x="0" y="0"/>
                </a:cxn>
                <a:cxn ang="0">
                  <a:pos x="13" y="8"/>
                </a:cxn>
                <a:cxn ang="0">
                  <a:pos x="13" y="10"/>
                </a:cxn>
              </a:cxnLst>
              <a:rect l="0" t="0" r="r" b="b"/>
              <a:pathLst>
                <a:path w="13" h="10">
                  <a:moveTo>
                    <a:pt x="13" y="10"/>
                  </a:moveTo>
                  <a:lnTo>
                    <a:pt x="1" y="3"/>
                  </a:lnTo>
                  <a:lnTo>
                    <a:pt x="0" y="0"/>
                  </a:lnTo>
                  <a:lnTo>
                    <a:pt x="13" y="8"/>
                  </a:lnTo>
                  <a:lnTo>
                    <a:pt x="13"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7" name="Freeform 190">
              <a:extLst>
                <a:ext uri="{FF2B5EF4-FFF2-40B4-BE49-F238E27FC236}">
                  <a16:creationId xmlns:a16="http://schemas.microsoft.com/office/drawing/2014/main" id="{9E1A969A-8CAE-470C-8D9A-552FCFD1E6ED}"/>
                </a:ext>
              </a:extLst>
            </p:cNvPr>
            <p:cNvSpPr>
              <a:spLocks/>
            </p:cNvSpPr>
            <p:nvPr/>
          </p:nvSpPr>
          <p:spPr bwMode="auto">
            <a:xfrm>
              <a:off x="10170333" y="4099822"/>
              <a:ext cx="15400" cy="18824"/>
            </a:xfrm>
            <a:custGeom>
              <a:avLst/>
              <a:gdLst/>
              <a:ahLst/>
              <a:cxnLst>
                <a:cxn ang="0">
                  <a:pos x="8" y="10"/>
                </a:cxn>
                <a:cxn ang="0">
                  <a:pos x="4" y="0"/>
                </a:cxn>
                <a:cxn ang="0">
                  <a:pos x="0" y="4"/>
                </a:cxn>
                <a:cxn ang="0">
                  <a:pos x="3" y="4"/>
                </a:cxn>
                <a:cxn ang="0">
                  <a:pos x="8" y="10"/>
                </a:cxn>
              </a:cxnLst>
              <a:rect l="0" t="0" r="r" b="b"/>
              <a:pathLst>
                <a:path w="8" h="10">
                  <a:moveTo>
                    <a:pt x="8" y="10"/>
                  </a:moveTo>
                  <a:lnTo>
                    <a:pt x="4" y="0"/>
                  </a:lnTo>
                  <a:lnTo>
                    <a:pt x="0" y="4"/>
                  </a:lnTo>
                  <a:lnTo>
                    <a:pt x="3" y="4"/>
                  </a:lnTo>
                  <a:lnTo>
                    <a:pt x="8"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8" name="Freeform 191">
              <a:extLst>
                <a:ext uri="{FF2B5EF4-FFF2-40B4-BE49-F238E27FC236}">
                  <a16:creationId xmlns:a16="http://schemas.microsoft.com/office/drawing/2014/main" id="{AF2CE7B4-767D-4747-8A7B-379A30752A3F}"/>
                </a:ext>
              </a:extLst>
            </p:cNvPr>
            <p:cNvSpPr>
              <a:spLocks/>
            </p:cNvSpPr>
            <p:nvPr/>
          </p:nvSpPr>
          <p:spPr bwMode="auto">
            <a:xfrm>
              <a:off x="10269578" y="4108379"/>
              <a:ext cx="15400" cy="44493"/>
            </a:xfrm>
            <a:custGeom>
              <a:avLst/>
              <a:gdLst/>
              <a:ahLst/>
              <a:cxnLst>
                <a:cxn ang="0">
                  <a:pos x="2" y="0"/>
                </a:cxn>
                <a:cxn ang="0">
                  <a:pos x="9" y="23"/>
                </a:cxn>
                <a:cxn ang="0">
                  <a:pos x="0" y="5"/>
                </a:cxn>
                <a:cxn ang="0">
                  <a:pos x="2" y="0"/>
                </a:cxn>
              </a:cxnLst>
              <a:rect l="0" t="0" r="r" b="b"/>
              <a:pathLst>
                <a:path w="9" h="23">
                  <a:moveTo>
                    <a:pt x="2" y="0"/>
                  </a:moveTo>
                  <a:lnTo>
                    <a:pt x="9" y="23"/>
                  </a:lnTo>
                  <a:lnTo>
                    <a:pt x="0" y="5"/>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9" name="Freeform 192">
              <a:extLst>
                <a:ext uri="{FF2B5EF4-FFF2-40B4-BE49-F238E27FC236}">
                  <a16:creationId xmlns:a16="http://schemas.microsoft.com/office/drawing/2014/main" id="{24079128-CFCC-4B08-B0EB-597843B8B2C8}"/>
                </a:ext>
              </a:extLst>
            </p:cNvPr>
            <p:cNvSpPr>
              <a:spLocks/>
            </p:cNvSpPr>
            <p:nvPr/>
          </p:nvSpPr>
          <p:spPr bwMode="auto">
            <a:xfrm>
              <a:off x="10213111" y="4084421"/>
              <a:ext cx="34223" cy="34226"/>
            </a:xfrm>
            <a:custGeom>
              <a:avLst/>
              <a:gdLst/>
              <a:ahLst/>
              <a:cxnLst>
                <a:cxn ang="0">
                  <a:pos x="17" y="18"/>
                </a:cxn>
                <a:cxn ang="0">
                  <a:pos x="19" y="18"/>
                </a:cxn>
                <a:cxn ang="0">
                  <a:pos x="10" y="9"/>
                </a:cxn>
                <a:cxn ang="0">
                  <a:pos x="0" y="0"/>
                </a:cxn>
                <a:cxn ang="0">
                  <a:pos x="9" y="9"/>
                </a:cxn>
                <a:cxn ang="0">
                  <a:pos x="17" y="18"/>
                </a:cxn>
              </a:cxnLst>
              <a:rect l="0" t="0" r="r" b="b"/>
              <a:pathLst>
                <a:path w="19" h="18">
                  <a:moveTo>
                    <a:pt x="17" y="18"/>
                  </a:moveTo>
                  <a:lnTo>
                    <a:pt x="19" y="18"/>
                  </a:lnTo>
                  <a:lnTo>
                    <a:pt x="10" y="9"/>
                  </a:lnTo>
                  <a:lnTo>
                    <a:pt x="0" y="0"/>
                  </a:lnTo>
                  <a:lnTo>
                    <a:pt x="9" y="9"/>
                  </a:lnTo>
                  <a:lnTo>
                    <a:pt x="17" y="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0" name="Freeform 193">
              <a:extLst>
                <a:ext uri="{FF2B5EF4-FFF2-40B4-BE49-F238E27FC236}">
                  <a16:creationId xmlns:a16="http://schemas.microsoft.com/office/drawing/2014/main" id="{8DDB81FE-8808-4D32-899B-5065F135944A}"/>
                </a:ext>
              </a:extLst>
            </p:cNvPr>
            <p:cNvSpPr>
              <a:spLocks/>
            </p:cNvSpPr>
            <p:nvPr/>
          </p:nvSpPr>
          <p:spPr bwMode="auto">
            <a:xfrm>
              <a:off x="10740140" y="4252126"/>
              <a:ext cx="5133" cy="3423"/>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1" name="Freeform 194">
              <a:extLst>
                <a:ext uri="{FF2B5EF4-FFF2-40B4-BE49-F238E27FC236}">
                  <a16:creationId xmlns:a16="http://schemas.microsoft.com/office/drawing/2014/main" id="{CA06F63F-F756-42BF-B625-8FFC29022C7D}"/>
                </a:ext>
              </a:extLst>
            </p:cNvPr>
            <p:cNvSpPr>
              <a:spLocks/>
            </p:cNvSpPr>
            <p:nvPr/>
          </p:nvSpPr>
          <p:spPr bwMode="auto">
            <a:xfrm>
              <a:off x="10413314" y="4332556"/>
              <a:ext cx="15400" cy="22247"/>
            </a:xfrm>
            <a:custGeom>
              <a:avLst/>
              <a:gdLst/>
              <a:ahLst/>
              <a:cxnLst>
                <a:cxn ang="0">
                  <a:pos x="7" y="13"/>
                </a:cxn>
                <a:cxn ang="0">
                  <a:pos x="8" y="5"/>
                </a:cxn>
                <a:cxn ang="0">
                  <a:pos x="6" y="6"/>
                </a:cxn>
                <a:cxn ang="0">
                  <a:pos x="2" y="0"/>
                </a:cxn>
                <a:cxn ang="0">
                  <a:pos x="0" y="13"/>
                </a:cxn>
                <a:cxn ang="0">
                  <a:pos x="7" y="13"/>
                </a:cxn>
              </a:cxnLst>
              <a:rect l="0" t="0" r="r" b="b"/>
              <a:pathLst>
                <a:path w="8" h="13">
                  <a:moveTo>
                    <a:pt x="7" y="13"/>
                  </a:moveTo>
                  <a:lnTo>
                    <a:pt x="8" y="5"/>
                  </a:lnTo>
                  <a:lnTo>
                    <a:pt x="6" y="6"/>
                  </a:lnTo>
                  <a:lnTo>
                    <a:pt x="2" y="0"/>
                  </a:lnTo>
                  <a:lnTo>
                    <a:pt x="0" y="13"/>
                  </a:lnTo>
                  <a:lnTo>
                    <a:pt x="7"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2" name="Freeform 195">
              <a:extLst>
                <a:ext uri="{FF2B5EF4-FFF2-40B4-BE49-F238E27FC236}">
                  <a16:creationId xmlns:a16="http://schemas.microsoft.com/office/drawing/2014/main" id="{81C59A25-0D39-431E-BA1B-A186CA33B859}"/>
                </a:ext>
              </a:extLst>
            </p:cNvPr>
            <p:cNvSpPr>
              <a:spLocks/>
            </p:cNvSpPr>
            <p:nvPr/>
          </p:nvSpPr>
          <p:spPr bwMode="auto">
            <a:xfrm>
              <a:off x="10428714" y="4366782"/>
              <a:ext cx="11978" cy="22247"/>
            </a:xfrm>
            <a:custGeom>
              <a:avLst/>
              <a:gdLst/>
              <a:ahLst/>
              <a:cxnLst>
                <a:cxn ang="0">
                  <a:pos x="6" y="12"/>
                </a:cxn>
                <a:cxn ang="0">
                  <a:pos x="0" y="11"/>
                </a:cxn>
                <a:cxn ang="0">
                  <a:pos x="0" y="0"/>
                </a:cxn>
                <a:cxn ang="0">
                  <a:pos x="6" y="12"/>
                </a:cxn>
              </a:cxnLst>
              <a:rect l="0" t="0" r="r" b="b"/>
              <a:pathLst>
                <a:path w="6" h="12">
                  <a:moveTo>
                    <a:pt x="6" y="12"/>
                  </a:moveTo>
                  <a:lnTo>
                    <a:pt x="0" y="11"/>
                  </a:lnTo>
                  <a:lnTo>
                    <a:pt x="0" y="0"/>
                  </a:lnTo>
                  <a:lnTo>
                    <a:pt x="6"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3" name="Freeform 196">
              <a:extLst>
                <a:ext uri="{FF2B5EF4-FFF2-40B4-BE49-F238E27FC236}">
                  <a16:creationId xmlns:a16="http://schemas.microsoft.com/office/drawing/2014/main" id="{B899F592-8161-4F13-B9F1-5F872082F1A3}"/>
                </a:ext>
              </a:extLst>
            </p:cNvPr>
            <p:cNvSpPr>
              <a:spLocks/>
            </p:cNvSpPr>
            <p:nvPr/>
          </p:nvSpPr>
          <p:spPr bwMode="auto">
            <a:xfrm>
              <a:off x="10447536" y="4377049"/>
              <a:ext cx="8556" cy="8556"/>
            </a:xfrm>
            <a:custGeom>
              <a:avLst/>
              <a:gdLst/>
              <a:ahLst/>
              <a:cxnLst>
                <a:cxn ang="0">
                  <a:pos x="4" y="0"/>
                </a:cxn>
                <a:cxn ang="0">
                  <a:pos x="1" y="5"/>
                </a:cxn>
                <a:cxn ang="0">
                  <a:pos x="0" y="4"/>
                </a:cxn>
                <a:cxn ang="0">
                  <a:pos x="4" y="0"/>
                </a:cxn>
              </a:cxnLst>
              <a:rect l="0" t="0" r="r" b="b"/>
              <a:pathLst>
                <a:path w="4" h="5">
                  <a:moveTo>
                    <a:pt x="4" y="0"/>
                  </a:moveTo>
                  <a:lnTo>
                    <a:pt x="1" y="5"/>
                  </a:lnTo>
                  <a:lnTo>
                    <a:pt x="0" y="4"/>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8" name="Freeform 251">
              <a:extLst>
                <a:ext uri="{FF2B5EF4-FFF2-40B4-BE49-F238E27FC236}">
                  <a16:creationId xmlns:a16="http://schemas.microsoft.com/office/drawing/2014/main" id="{876EA71F-9CBD-4AA0-A7E7-B3164E3217F2}"/>
                </a:ext>
              </a:extLst>
            </p:cNvPr>
            <p:cNvSpPr>
              <a:spLocks/>
            </p:cNvSpPr>
            <p:nvPr/>
          </p:nvSpPr>
          <p:spPr bwMode="auto">
            <a:xfrm>
              <a:off x="7494119" y="2017196"/>
              <a:ext cx="1536598" cy="1117465"/>
            </a:xfrm>
            <a:custGeom>
              <a:avLst/>
              <a:gdLst/>
              <a:ahLst/>
              <a:cxnLst>
                <a:cxn ang="0">
                  <a:pos x="324" y="454"/>
                </a:cxn>
                <a:cxn ang="0">
                  <a:pos x="270" y="453"/>
                </a:cxn>
                <a:cxn ang="0">
                  <a:pos x="205" y="432"/>
                </a:cxn>
                <a:cxn ang="0">
                  <a:pos x="155" y="412"/>
                </a:cxn>
                <a:cxn ang="0">
                  <a:pos x="106" y="369"/>
                </a:cxn>
                <a:cxn ang="0">
                  <a:pos x="107" y="337"/>
                </a:cxn>
                <a:cxn ang="0">
                  <a:pos x="94" y="321"/>
                </a:cxn>
                <a:cxn ang="0">
                  <a:pos x="43" y="293"/>
                </a:cxn>
                <a:cxn ang="0">
                  <a:pos x="31" y="283"/>
                </a:cxn>
                <a:cxn ang="0">
                  <a:pos x="17" y="227"/>
                </a:cxn>
                <a:cxn ang="0">
                  <a:pos x="68" y="204"/>
                </a:cxn>
                <a:cxn ang="0">
                  <a:pos x="72" y="166"/>
                </a:cxn>
                <a:cxn ang="0">
                  <a:pos x="88" y="137"/>
                </a:cxn>
                <a:cxn ang="0">
                  <a:pos x="113" y="91"/>
                </a:cxn>
                <a:cxn ang="0">
                  <a:pos x="144" y="82"/>
                </a:cxn>
                <a:cxn ang="0">
                  <a:pos x="208" y="141"/>
                </a:cxn>
                <a:cxn ang="0">
                  <a:pos x="295" y="173"/>
                </a:cxn>
                <a:cxn ang="0">
                  <a:pos x="389" y="191"/>
                </a:cxn>
                <a:cxn ang="0">
                  <a:pos x="452" y="201"/>
                </a:cxn>
                <a:cxn ang="0">
                  <a:pos x="523" y="169"/>
                </a:cxn>
                <a:cxn ang="0">
                  <a:pos x="560" y="138"/>
                </a:cxn>
                <a:cxn ang="0">
                  <a:pos x="569" y="93"/>
                </a:cxn>
                <a:cxn ang="0">
                  <a:pos x="533" y="89"/>
                </a:cxn>
                <a:cxn ang="0">
                  <a:pos x="556" y="41"/>
                </a:cxn>
                <a:cxn ang="0">
                  <a:pos x="566" y="0"/>
                </a:cxn>
                <a:cxn ang="0">
                  <a:pos x="662" y="48"/>
                </a:cxn>
                <a:cxn ang="0">
                  <a:pos x="751" y="99"/>
                </a:cxn>
                <a:cxn ang="0">
                  <a:pos x="809" y="145"/>
                </a:cxn>
                <a:cxn ang="0">
                  <a:pos x="800" y="187"/>
                </a:cxn>
                <a:cxn ang="0">
                  <a:pos x="773" y="201"/>
                </a:cxn>
                <a:cxn ang="0">
                  <a:pos x="738" y="233"/>
                </a:cxn>
                <a:cxn ang="0">
                  <a:pos x="707" y="246"/>
                </a:cxn>
                <a:cxn ang="0">
                  <a:pos x="676" y="233"/>
                </a:cxn>
                <a:cxn ang="0">
                  <a:pos x="676" y="270"/>
                </a:cxn>
                <a:cxn ang="0">
                  <a:pos x="734" y="283"/>
                </a:cxn>
                <a:cxn ang="0">
                  <a:pos x="708" y="311"/>
                </a:cxn>
                <a:cxn ang="0">
                  <a:pos x="764" y="384"/>
                </a:cxn>
                <a:cxn ang="0">
                  <a:pos x="756" y="407"/>
                </a:cxn>
                <a:cxn ang="0">
                  <a:pos x="774" y="424"/>
                </a:cxn>
                <a:cxn ang="0">
                  <a:pos x="778" y="437"/>
                </a:cxn>
                <a:cxn ang="0">
                  <a:pos x="770" y="455"/>
                </a:cxn>
                <a:cxn ang="0">
                  <a:pos x="756" y="485"/>
                </a:cxn>
                <a:cxn ang="0">
                  <a:pos x="758" y="499"/>
                </a:cxn>
                <a:cxn ang="0">
                  <a:pos x="743" y="515"/>
                </a:cxn>
                <a:cxn ang="0">
                  <a:pos x="721" y="540"/>
                </a:cxn>
                <a:cxn ang="0">
                  <a:pos x="700" y="545"/>
                </a:cxn>
                <a:cxn ang="0">
                  <a:pos x="677" y="543"/>
                </a:cxn>
                <a:cxn ang="0">
                  <a:pos x="668" y="562"/>
                </a:cxn>
                <a:cxn ang="0">
                  <a:pos x="640" y="569"/>
                </a:cxn>
                <a:cxn ang="0">
                  <a:pos x="628" y="569"/>
                </a:cxn>
                <a:cxn ang="0">
                  <a:pos x="604" y="563"/>
                </a:cxn>
                <a:cxn ang="0">
                  <a:pos x="554" y="537"/>
                </a:cxn>
                <a:cxn ang="0">
                  <a:pos x="527" y="546"/>
                </a:cxn>
                <a:cxn ang="0">
                  <a:pos x="497" y="551"/>
                </a:cxn>
                <a:cxn ang="0">
                  <a:pos x="476" y="567"/>
                </a:cxn>
                <a:cxn ang="0">
                  <a:pos x="448" y="522"/>
                </a:cxn>
                <a:cxn ang="0">
                  <a:pos x="436" y="495"/>
                </a:cxn>
                <a:cxn ang="0">
                  <a:pos x="412" y="441"/>
                </a:cxn>
                <a:cxn ang="0">
                  <a:pos x="389" y="427"/>
                </a:cxn>
              </a:cxnLst>
              <a:rect l="0" t="0" r="r" b="b"/>
              <a:pathLst>
                <a:path w="809" h="588">
                  <a:moveTo>
                    <a:pt x="361" y="429"/>
                  </a:moveTo>
                  <a:lnTo>
                    <a:pt x="350" y="438"/>
                  </a:lnTo>
                  <a:lnTo>
                    <a:pt x="338" y="449"/>
                  </a:lnTo>
                  <a:lnTo>
                    <a:pt x="325" y="454"/>
                  </a:lnTo>
                  <a:lnTo>
                    <a:pt x="324" y="454"/>
                  </a:lnTo>
                  <a:lnTo>
                    <a:pt x="317" y="449"/>
                  </a:lnTo>
                  <a:lnTo>
                    <a:pt x="295" y="447"/>
                  </a:lnTo>
                  <a:lnTo>
                    <a:pt x="284" y="462"/>
                  </a:lnTo>
                  <a:lnTo>
                    <a:pt x="277" y="448"/>
                  </a:lnTo>
                  <a:lnTo>
                    <a:pt x="270" y="453"/>
                  </a:lnTo>
                  <a:lnTo>
                    <a:pt x="252" y="450"/>
                  </a:lnTo>
                  <a:lnTo>
                    <a:pt x="238" y="449"/>
                  </a:lnTo>
                  <a:lnTo>
                    <a:pt x="222" y="442"/>
                  </a:lnTo>
                  <a:lnTo>
                    <a:pt x="220" y="438"/>
                  </a:lnTo>
                  <a:lnTo>
                    <a:pt x="205" y="432"/>
                  </a:lnTo>
                  <a:lnTo>
                    <a:pt x="200" y="426"/>
                  </a:lnTo>
                  <a:lnTo>
                    <a:pt x="194" y="429"/>
                  </a:lnTo>
                  <a:lnTo>
                    <a:pt x="174" y="414"/>
                  </a:lnTo>
                  <a:lnTo>
                    <a:pt x="161" y="406"/>
                  </a:lnTo>
                  <a:lnTo>
                    <a:pt x="155" y="412"/>
                  </a:lnTo>
                  <a:lnTo>
                    <a:pt x="154" y="411"/>
                  </a:lnTo>
                  <a:lnTo>
                    <a:pt x="139" y="401"/>
                  </a:lnTo>
                  <a:lnTo>
                    <a:pt x="120" y="390"/>
                  </a:lnTo>
                  <a:lnTo>
                    <a:pt x="113" y="388"/>
                  </a:lnTo>
                  <a:lnTo>
                    <a:pt x="106" y="369"/>
                  </a:lnTo>
                  <a:lnTo>
                    <a:pt x="115" y="370"/>
                  </a:lnTo>
                  <a:lnTo>
                    <a:pt x="118" y="363"/>
                  </a:lnTo>
                  <a:lnTo>
                    <a:pt x="108" y="349"/>
                  </a:lnTo>
                  <a:lnTo>
                    <a:pt x="108" y="342"/>
                  </a:lnTo>
                  <a:lnTo>
                    <a:pt x="107" y="337"/>
                  </a:lnTo>
                  <a:lnTo>
                    <a:pt x="103" y="335"/>
                  </a:lnTo>
                  <a:lnTo>
                    <a:pt x="101" y="331"/>
                  </a:lnTo>
                  <a:lnTo>
                    <a:pt x="100" y="327"/>
                  </a:lnTo>
                  <a:lnTo>
                    <a:pt x="98" y="322"/>
                  </a:lnTo>
                  <a:lnTo>
                    <a:pt x="94" y="321"/>
                  </a:lnTo>
                  <a:lnTo>
                    <a:pt x="86" y="317"/>
                  </a:lnTo>
                  <a:lnTo>
                    <a:pt x="82" y="316"/>
                  </a:lnTo>
                  <a:lnTo>
                    <a:pt x="61" y="310"/>
                  </a:lnTo>
                  <a:lnTo>
                    <a:pt x="50" y="305"/>
                  </a:lnTo>
                  <a:lnTo>
                    <a:pt x="43" y="293"/>
                  </a:lnTo>
                  <a:lnTo>
                    <a:pt x="25" y="288"/>
                  </a:lnTo>
                  <a:lnTo>
                    <a:pt x="25" y="285"/>
                  </a:lnTo>
                  <a:lnTo>
                    <a:pt x="29" y="285"/>
                  </a:lnTo>
                  <a:lnTo>
                    <a:pt x="30" y="285"/>
                  </a:lnTo>
                  <a:lnTo>
                    <a:pt x="31" y="283"/>
                  </a:lnTo>
                  <a:lnTo>
                    <a:pt x="23" y="262"/>
                  </a:lnTo>
                  <a:lnTo>
                    <a:pt x="8" y="261"/>
                  </a:lnTo>
                  <a:lnTo>
                    <a:pt x="0" y="246"/>
                  </a:lnTo>
                  <a:lnTo>
                    <a:pt x="6" y="233"/>
                  </a:lnTo>
                  <a:lnTo>
                    <a:pt x="17" y="227"/>
                  </a:lnTo>
                  <a:lnTo>
                    <a:pt x="24" y="226"/>
                  </a:lnTo>
                  <a:lnTo>
                    <a:pt x="32" y="228"/>
                  </a:lnTo>
                  <a:lnTo>
                    <a:pt x="42" y="217"/>
                  </a:lnTo>
                  <a:lnTo>
                    <a:pt x="58" y="213"/>
                  </a:lnTo>
                  <a:lnTo>
                    <a:pt x="68" y="204"/>
                  </a:lnTo>
                  <a:lnTo>
                    <a:pt x="79" y="195"/>
                  </a:lnTo>
                  <a:lnTo>
                    <a:pt x="76" y="186"/>
                  </a:lnTo>
                  <a:lnTo>
                    <a:pt x="79" y="183"/>
                  </a:lnTo>
                  <a:lnTo>
                    <a:pt x="79" y="179"/>
                  </a:lnTo>
                  <a:lnTo>
                    <a:pt x="72" y="166"/>
                  </a:lnTo>
                  <a:lnTo>
                    <a:pt x="66" y="153"/>
                  </a:lnTo>
                  <a:lnTo>
                    <a:pt x="56" y="149"/>
                  </a:lnTo>
                  <a:lnTo>
                    <a:pt x="73" y="142"/>
                  </a:lnTo>
                  <a:lnTo>
                    <a:pt x="94" y="144"/>
                  </a:lnTo>
                  <a:lnTo>
                    <a:pt x="88" y="137"/>
                  </a:lnTo>
                  <a:lnTo>
                    <a:pt x="86" y="123"/>
                  </a:lnTo>
                  <a:lnTo>
                    <a:pt x="84" y="107"/>
                  </a:lnTo>
                  <a:lnTo>
                    <a:pt x="107" y="112"/>
                  </a:lnTo>
                  <a:lnTo>
                    <a:pt x="120" y="109"/>
                  </a:lnTo>
                  <a:lnTo>
                    <a:pt x="113" y="91"/>
                  </a:lnTo>
                  <a:lnTo>
                    <a:pt x="120" y="87"/>
                  </a:lnTo>
                  <a:lnTo>
                    <a:pt x="126" y="75"/>
                  </a:lnTo>
                  <a:lnTo>
                    <a:pt x="137" y="73"/>
                  </a:lnTo>
                  <a:lnTo>
                    <a:pt x="138" y="76"/>
                  </a:lnTo>
                  <a:lnTo>
                    <a:pt x="144" y="82"/>
                  </a:lnTo>
                  <a:lnTo>
                    <a:pt x="164" y="95"/>
                  </a:lnTo>
                  <a:lnTo>
                    <a:pt x="175" y="97"/>
                  </a:lnTo>
                  <a:lnTo>
                    <a:pt x="197" y="112"/>
                  </a:lnTo>
                  <a:lnTo>
                    <a:pt x="202" y="126"/>
                  </a:lnTo>
                  <a:lnTo>
                    <a:pt x="208" y="141"/>
                  </a:lnTo>
                  <a:lnTo>
                    <a:pt x="224" y="143"/>
                  </a:lnTo>
                  <a:lnTo>
                    <a:pt x="241" y="147"/>
                  </a:lnTo>
                  <a:lnTo>
                    <a:pt x="262" y="153"/>
                  </a:lnTo>
                  <a:lnTo>
                    <a:pt x="282" y="159"/>
                  </a:lnTo>
                  <a:lnTo>
                    <a:pt x="295" y="173"/>
                  </a:lnTo>
                  <a:lnTo>
                    <a:pt x="308" y="186"/>
                  </a:lnTo>
                  <a:lnTo>
                    <a:pt x="329" y="187"/>
                  </a:lnTo>
                  <a:lnTo>
                    <a:pt x="348" y="189"/>
                  </a:lnTo>
                  <a:lnTo>
                    <a:pt x="368" y="190"/>
                  </a:lnTo>
                  <a:lnTo>
                    <a:pt x="389" y="191"/>
                  </a:lnTo>
                  <a:lnTo>
                    <a:pt x="395" y="196"/>
                  </a:lnTo>
                  <a:lnTo>
                    <a:pt x="413" y="199"/>
                  </a:lnTo>
                  <a:lnTo>
                    <a:pt x="431" y="203"/>
                  </a:lnTo>
                  <a:lnTo>
                    <a:pt x="442" y="208"/>
                  </a:lnTo>
                  <a:lnTo>
                    <a:pt x="452" y="201"/>
                  </a:lnTo>
                  <a:lnTo>
                    <a:pt x="462" y="195"/>
                  </a:lnTo>
                  <a:lnTo>
                    <a:pt x="480" y="193"/>
                  </a:lnTo>
                  <a:lnTo>
                    <a:pt x="497" y="192"/>
                  </a:lnTo>
                  <a:lnTo>
                    <a:pt x="510" y="180"/>
                  </a:lnTo>
                  <a:lnTo>
                    <a:pt x="523" y="169"/>
                  </a:lnTo>
                  <a:lnTo>
                    <a:pt x="514" y="161"/>
                  </a:lnTo>
                  <a:lnTo>
                    <a:pt x="511" y="144"/>
                  </a:lnTo>
                  <a:lnTo>
                    <a:pt x="533" y="150"/>
                  </a:lnTo>
                  <a:lnTo>
                    <a:pt x="546" y="142"/>
                  </a:lnTo>
                  <a:lnTo>
                    <a:pt x="560" y="138"/>
                  </a:lnTo>
                  <a:lnTo>
                    <a:pt x="563" y="126"/>
                  </a:lnTo>
                  <a:lnTo>
                    <a:pt x="580" y="118"/>
                  </a:lnTo>
                  <a:lnTo>
                    <a:pt x="604" y="118"/>
                  </a:lnTo>
                  <a:lnTo>
                    <a:pt x="600" y="109"/>
                  </a:lnTo>
                  <a:lnTo>
                    <a:pt x="569" y="93"/>
                  </a:lnTo>
                  <a:lnTo>
                    <a:pt x="562" y="100"/>
                  </a:lnTo>
                  <a:lnTo>
                    <a:pt x="557" y="97"/>
                  </a:lnTo>
                  <a:lnTo>
                    <a:pt x="541" y="97"/>
                  </a:lnTo>
                  <a:lnTo>
                    <a:pt x="529" y="90"/>
                  </a:lnTo>
                  <a:lnTo>
                    <a:pt x="533" y="89"/>
                  </a:lnTo>
                  <a:lnTo>
                    <a:pt x="532" y="75"/>
                  </a:lnTo>
                  <a:lnTo>
                    <a:pt x="529" y="61"/>
                  </a:lnTo>
                  <a:lnTo>
                    <a:pt x="550" y="65"/>
                  </a:lnTo>
                  <a:lnTo>
                    <a:pt x="560" y="54"/>
                  </a:lnTo>
                  <a:lnTo>
                    <a:pt x="556" y="41"/>
                  </a:lnTo>
                  <a:lnTo>
                    <a:pt x="554" y="21"/>
                  </a:lnTo>
                  <a:lnTo>
                    <a:pt x="545" y="13"/>
                  </a:lnTo>
                  <a:lnTo>
                    <a:pt x="539" y="11"/>
                  </a:lnTo>
                  <a:lnTo>
                    <a:pt x="548" y="1"/>
                  </a:lnTo>
                  <a:lnTo>
                    <a:pt x="566" y="0"/>
                  </a:lnTo>
                  <a:lnTo>
                    <a:pt x="584" y="0"/>
                  </a:lnTo>
                  <a:lnTo>
                    <a:pt x="619" y="11"/>
                  </a:lnTo>
                  <a:lnTo>
                    <a:pt x="634" y="24"/>
                  </a:lnTo>
                  <a:lnTo>
                    <a:pt x="648" y="36"/>
                  </a:lnTo>
                  <a:lnTo>
                    <a:pt x="662" y="48"/>
                  </a:lnTo>
                  <a:lnTo>
                    <a:pt x="677" y="60"/>
                  </a:lnTo>
                  <a:lnTo>
                    <a:pt x="692" y="66"/>
                  </a:lnTo>
                  <a:lnTo>
                    <a:pt x="718" y="73"/>
                  </a:lnTo>
                  <a:lnTo>
                    <a:pt x="733" y="79"/>
                  </a:lnTo>
                  <a:lnTo>
                    <a:pt x="751" y="99"/>
                  </a:lnTo>
                  <a:lnTo>
                    <a:pt x="773" y="96"/>
                  </a:lnTo>
                  <a:lnTo>
                    <a:pt x="794" y="88"/>
                  </a:lnTo>
                  <a:lnTo>
                    <a:pt x="803" y="103"/>
                  </a:lnTo>
                  <a:lnTo>
                    <a:pt x="805" y="124"/>
                  </a:lnTo>
                  <a:lnTo>
                    <a:pt x="809" y="145"/>
                  </a:lnTo>
                  <a:lnTo>
                    <a:pt x="790" y="142"/>
                  </a:lnTo>
                  <a:lnTo>
                    <a:pt x="787" y="151"/>
                  </a:lnTo>
                  <a:lnTo>
                    <a:pt x="797" y="167"/>
                  </a:lnTo>
                  <a:lnTo>
                    <a:pt x="806" y="183"/>
                  </a:lnTo>
                  <a:lnTo>
                    <a:pt x="800" y="187"/>
                  </a:lnTo>
                  <a:lnTo>
                    <a:pt x="804" y="192"/>
                  </a:lnTo>
                  <a:lnTo>
                    <a:pt x="787" y="183"/>
                  </a:lnTo>
                  <a:lnTo>
                    <a:pt x="787" y="192"/>
                  </a:lnTo>
                  <a:lnTo>
                    <a:pt x="778" y="199"/>
                  </a:lnTo>
                  <a:lnTo>
                    <a:pt x="773" y="201"/>
                  </a:lnTo>
                  <a:lnTo>
                    <a:pt x="779" y="210"/>
                  </a:lnTo>
                  <a:lnTo>
                    <a:pt x="761" y="205"/>
                  </a:lnTo>
                  <a:lnTo>
                    <a:pt x="755" y="208"/>
                  </a:lnTo>
                  <a:lnTo>
                    <a:pt x="746" y="223"/>
                  </a:lnTo>
                  <a:lnTo>
                    <a:pt x="738" y="233"/>
                  </a:lnTo>
                  <a:lnTo>
                    <a:pt x="731" y="238"/>
                  </a:lnTo>
                  <a:lnTo>
                    <a:pt x="721" y="245"/>
                  </a:lnTo>
                  <a:lnTo>
                    <a:pt x="712" y="251"/>
                  </a:lnTo>
                  <a:lnTo>
                    <a:pt x="701" y="256"/>
                  </a:lnTo>
                  <a:lnTo>
                    <a:pt x="707" y="246"/>
                  </a:lnTo>
                  <a:lnTo>
                    <a:pt x="697" y="243"/>
                  </a:lnTo>
                  <a:lnTo>
                    <a:pt x="701" y="225"/>
                  </a:lnTo>
                  <a:lnTo>
                    <a:pt x="692" y="220"/>
                  </a:lnTo>
                  <a:lnTo>
                    <a:pt x="683" y="222"/>
                  </a:lnTo>
                  <a:lnTo>
                    <a:pt x="676" y="233"/>
                  </a:lnTo>
                  <a:lnTo>
                    <a:pt x="668" y="245"/>
                  </a:lnTo>
                  <a:lnTo>
                    <a:pt x="658" y="251"/>
                  </a:lnTo>
                  <a:lnTo>
                    <a:pt x="649" y="252"/>
                  </a:lnTo>
                  <a:lnTo>
                    <a:pt x="654" y="264"/>
                  </a:lnTo>
                  <a:lnTo>
                    <a:pt x="676" y="270"/>
                  </a:lnTo>
                  <a:lnTo>
                    <a:pt x="683" y="285"/>
                  </a:lnTo>
                  <a:lnTo>
                    <a:pt x="694" y="282"/>
                  </a:lnTo>
                  <a:lnTo>
                    <a:pt x="706" y="274"/>
                  </a:lnTo>
                  <a:lnTo>
                    <a:pt x="725" y="281"/>
                  </a:lnTo>
                  <a:lnTo>
                    <a:pt x="734" y="283"/>
                  </a:lnTo>
                  <a:lnTo>
                    <a:pt x="734" y="292"/>
                  </a:lnTo>
                  <a:lnTo>
                    <a:pt x="726" y="291"/>
                  </a:lnTo>
                  <a:lnTo>
                    <a:pt x="716" y="297"/>
                  </a:lnTo>
                  <a:lnTo>
                    <a:pt x="710" y="305"/>
                  </a:lnTo>
                  <a:lnTo>
                    <a:pt x="708" y="311"/>
                  </a:lnTo>
                  <a:lnTo>
                    <a:pt x="706" y="329"/>
                  </a:lnTo>
                  <a:lnTo>
                    <a:pt x="727" y="342"/>
                  </a:lnTo>
                  <a:lnTo>
                    <a:pt x="738" y="355"/>
                  </a:lnTo>
                  <a:lnTo>
                    <a:pt x="748" y="370"/>
                  </a:lnTo>
                  <a:lnTo>
                    <a:pt x="764" y="384"/>
                  </a:lnTo>
                  <a:lnTo>
                    <a:pt x="740" y="377"/>
                  </a:lnTo>
                  <a:lnTo>
                    <a:pt x="742" y="378"/>
                  </a:lnTo>
                  <a:lnTo>
                    <a:pt x="756" y="388"/>
                  </a:lnTo>
                  <a:lnTo>
                    <a:pt x="770" y="397"/>
                  </a:lnTo>
                  <a:lnTo>
                    <a:pt x="756" y="407"/>
                  </a:lnTo>
                  <a:lnTo>
                    <a:pt x="751" y="411"/>
                  </a:lnTo>
                  <a:lnTo>
                    <a:pt x="760" y="412"/>
                  </a:lnTo>
                  <a:lnTo>
                    <a:pt x="769" y="411"/>
                  </a:lnTo>
                  <a:lnTo>
                    <a:pt x="780" y="417"/>
                  </a:lnTo>
                  <a:lnTo>
                    <a:pt x="774" y="424"/>
                  </a:lnTo>
                  <a:lnTo>
                    <a:pt x="780" y="424"/>
                  </a:lnTo>
                  <a:lnTo>
                    <a:pt x="779" y="426"/>
                  </a:lnTo>
                  <a:lnTo>
                    <a:pt x="775" y="430"/>
                  </a:lnTo>
                  <a:lnTo>
                    <a:pt x="776" y="433"/>
                  </a:lnTo>
                  <a:lnTo>
                    <a:pt x="778" y="437"/>
                  </a:lnTo>
                  <a:lnTo>
                    <a:pt x="775" y="437"/>
                  </a:lnTo>
                  <a:lnTo>
                    <a:pt x="779" y="444"/>
                  </a:lnTo>
                  <a:lnTo>
                    <a:pt x="775" y="445"/>
                  </a:lnTo>
                  <a:lnTo>
                    <a:pt x="767" y="449"/>
                  </a:lnTo>
                  <a:lnTo>
                    <a:pt x="770" y="455"/>
                  </a:lnTo>
                  <a:lnTo>
                    <a:pt x="768" y="463"/>
                  </a:lnTo>
                  <a:lnTo>
                    <a:pt x="762" y="477"/>
                  </a:lnTo>
                  <a:lnTo>
                    <a:pt x="760" y="478"/>
                  </a:lnTo>
                  <a:lnTo>
                    <a:pt x="763" y="481"/>
                  </a:lnTo>
                  <a:lnTo>
                    <a:pt x="756" y="485"/>
                  </a:lnTo>
                  <a:lnTo>
                    <a:pt x="755" y="485"/>
                  </a:lnTo>
                  <a:lnTo>
                    <a:pt x="762" y="487"/>
                  </a:lnTo>
                  <a:lnTo>
                    <a:pt x="763" y="497"/>
                  </a:lnTo>
                  <a:lnTo>
                    <a:pt x="758" y="496"/>
                  </a:lnTo>
                  <a:lnTo>
                    <a:pt x="758" y="499"/>
                  </a:lnTo>
                  <a:lnTo>
                    <a:pt x="755" y="503"/>
                  </a:lnTo>
                  <a:lnTo>
                    <a:pt x="754" y="505"/>
                  </a:lnTo>
                  <a:lnTo>
                    <a:pt x="752" y="511"/>
                  </a:lnTo>
                  <a:lnTo>
                    <a:pt x="744" y="513"/>
                  </a:lnTo>
                  <a:lnTo>
                    <a:pt x="743" y="515"/>
                  </a:lnTo>
                  <a:lnTo>
                    <a:pt x="744" y="519"/>
                  </a:lnTo>
                  <a:lnTo>
                    <a:pt x="739" y="525"/>
                  </a:lnTo>
                  <a:lnTo>
                    <a:pt x="726" y="534"/>
                  </a:lnTo>
                  <a:lnTo>
                    <a:pt x="727" y="535"/>
                  </a:lnTo>
                  <a:lnTo>
                    <a:pt x="721" y="540"/>
                  </a:lnTo>
                  <a:lnTo>
                    <a:pt x="713" y="543"/>
                  </a:lnTo>
                  <a:lnTo>
                    <a:pt x="712" y="543"/>
                  </a:lnTo>
                  <a:lnTo>
                    <a:pt x="709" y="545"/>
                  </a:lnTo>
                  <a:lnTo>
                    <a:pt x="702" y="546"/>
                  </a:lnTo>
                  <a:lnTo>
                    <a:pt x="700" y="545"/>
                  </a:lnTo>
                  <a:lnTo>
                    <a:pt x="696" y="547"/>
                  </a:lnTo>
                  <a:lnTo>
                    <a:pt x="694" y="550"/>
                  </a:lnTo>
                  <a:lnTo>
                    <a:pt x="689" y="550"/>
                  </a:lnTo>
                  <a:lnTo>
                    <a:pt x="680" y="538"/>
                  </a:lnTo>
                  <a:lnTo>
                    <a:pt x="677" y="543"/>
                  </a:lnTo>
                  <a:lnTo>
                    <a:pt x="680" y="555"/>
                  </a:lnTo>
                  <a:lnTo>
                    <a:pt x="677" y="550"/>
                  </a:lnTo>
                  <a:lnTo>
                    <a:pt x="677" y="557"/>
                  </a:lnTo>
                  <a:lnTo>
                    <a:pt x="674" y="556"/>
                  </a:lnTo>
                  <a:lnTo>
                    <a:pt x="668" y="562"/>
                  </a:lnTo>
                  <a:lnTo>
                    <a:pt x="665" y="558"/>
                  </a:lnTo>
                  <a:lnTo>
                    <a:pt x="662" y="562"/>
                  </a:lnTo>
                  <a:lnTo>
                    <a:pt x="658" y="561"/>
                  </a:lnTo>
                  <a:lnTo>
                    <a:pt x="648" y="567"/>
                  </a:lnTo>
                  <a:lnTo>
                    <a:pt x="640" y="569"/>
                  </a:lnTo>
                  <a:lnTo>
                    <a:pt x="637" y="570"/>
                  </a:lnTo>
                  <a:lnTo>
                    <a:pt x="636" y="579"/>
                  </a:lnTo>
                  <a:lnTo>
                    <a:pt x="640" y="588"/>
                  </a:lnTo>
                  <a:lnTo>
                    <a:pt x="631" y="587"/>
                  </a:lnTo>
                  <a:lnTo>
                    <a:pt x="628" y="569"/>
                  </a:lnTo>
                  <a:lnTo>
                    <a:pt x="623" y="565"/>
                  </a:lnTo>
                  <a:lnTo>
                    <a:pt x="617" y="567"/>
                  </a:lnTo>
                  <a:lnTo>
                    <a:pt x="611" y="564"/>
                  </a:lnTo>
                  <a:lnTo>
                    <a:pt x="605" y="561"/>
                  </a:lnTo>
                  <a:lnTo>
                    <a:pt x="604" y="563"/>
                  </a:lnTo>
                  <a:lnTo>
                    <a:pt x="598" y="565"/>
                  </a:lnTo>
                  <a:lnTo>
                    <a:pt x="582" y="559"/>
                  </a:lnTo>
                  <a:lnTo>
                    <a:pt x="576" y="555"/>
                  </a:lnTo>
                  <a:lnTo>
                    <a:pt x="574" y="543"/>
                  </a:lnTo>
                  <a:lnTo>
                    <a:pt x="554" y="537"/>
                  </a:lnTo>
                  <a:lnTo>
                    <a:pt x="547" y="535"/>
                  </a:lnTo>
                  <a:lnTo>
                    <a:pt x="539" y="546"/>
                  </a:lnTo>
                  <a:lnTo>
                    <a:pt x="533" y="546"/>
                  </a:lnTo>
                  <a:lnTo>
                    <a:pt x="530" y="547"/>
                  </a:lnTo>
                  <a:lnTo>
                    <a:pt x="527" y="546"/>
                  </a:lnTo>
                  <a:lnTo>
                    <a:pt x="520" y="546"/>
                  </a:lnTo>
                  <a:lnTo>
                    <a:pt x="517" y="549"/>
                  </a:lnTo>
                  <a:lnTo>
                    <a:pt x="509" y="546"/>
                  </a:lnTo>
                  <a:lnTo>
                    <a:pt x="505" y="551"/>
                  </a:lnTo>
                  <a:lnTo>
                    <a:pt x="497" y="551"/>
                  </a:lnTo>
                  <a:lnTo>
                    <a:pt x="500" y="573"/>
                  </a:lnTo>
                  <a:lnTo>
                    <a:pt x="494" y="569"/>
                  </a:lnTo>
                  <a:lnTo>
                    <a:pt x="492" y="565"/>
                  </a:lnTo>
                  <a:lnTo>
                    <a:pt x="487" y="563"/>
                  </a:lnTo>
                  <a:lnTo>
                    <a:pt x="476" y="567"/>
                  </a:lnTo>
                  <a:lnTo>
                    <a:pt x="468" y="557"/>
                  </a:lnTo>
                  <a:lnTo>
                    <a:pt x="460" y="553"/>
                  </a:lnTo>
                  <a:lnTo>
                    <a:pt x="462" y="539"/>
                  </a:lnTo>
                  <a:lnTo>
                    <a:pt x="451" y="534"/>
                  </a:lnTo>
                  <a:lnTo>
                    <a:pt x="448" y="522"/>
                  </a:lnTo>
                  <a:lnTo>
                    <a:pt x="446" y="520"/>
                  </a:lnTo>
                  <a:lnTo>
                    <a:pt x="430" y="522"/>
                  </a:lnTo>
                  <a:lnTo>
                    <a:pt x="430" y="514"/>
                  </a:lnTo>
                  <a:lnTo>
                    <a:pt x="428" y="507"/>
                  </a:lnTo>
                  <a:lnTo>
                    <a:pt x="436" y="495"/>
                  </a:lnTo>
                  <a:lnTo>
                    <a:pt x="438" y="486"/>
                  </a:lnTo>
                  <a:lnTo>
                    <a:pt x="434" y="472"/>
                  </a:lnTo>
                  <a:lnTo>
                    <a:pt x="432" y="457"/>
                  </a:lnTo>
                  <a:lnTo>
                    <a:pt x="425" y="454"/>
                  </a:lnTo>
                  <a:lnTo>
                    <a:pt x="412" y="441"/>
                  </a:lnTo>
                  <a:lnTo>
                    <a:pt x="410" y="447"/>
                  </a:lnTo>
                  <a:lnTo>
                    <a:pt x="394" y="441"/>
                  </a:lnTo>
                  <a:lnTo>
                    <a:pt x="394" y="432"/>
                  </a:lnTo>
                  <a:lnTo>
                    <a:pt x="388" y="431"/>
                  </a:lnTo>
                  <a:lnTo>
                    <a:pt x="389" y="427"/>
                  </a:lnTo>
                  <a:lnTo>
                    <a:pt x="383" y="425"/>
                  </a:lnTo>
                  <a:lnTo>
                    <a:pt x="374" y="430"/>
                  </a:lnTo>
                  <a:lnTo>
                    <a:pt x="361" y="42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9" name="Freeform 252">
              <a:extLst>
                <a:ext uri="{FF2B5EF4-FFF2-40B4-BE49-F238E27FC236}">
                  <a16:creationId xmlns:a16="http://schemas.microsoft.com/office/drawing/2014/main" id="{66E65052-8B8D-42E4-9206-5E8FB0C84A28}"/>
                </a:ext>
              </a:extLst>
            </p:cNvPr>
            <p:cNvSpPr>
              <a:spLocks/>
            </p:cNvSpPr>
            <p:nvPr/>
          </p:nvSpPr>
          <p:spPr bwMode="auto">
            <a:xfrm>
              <a:off x="8664535" y="3144929"/>
              <a:ext cx="68445" cy="58183"/>
            </a:xfrm>
            <a:custGeom>
              <a:avLst/>
              <a:gdLst/>
              <a:ahLst/>
              <a:cxnLst>
                <a:cxn ang="0">
                  <a:pos x="26" y="0"/>
                </a:cxn>
                <a:cxn ang="0">
                  <a:pos x="11" y="3"/>
                </a:cxn>
                <a:cxn ang="0">
                  <a:pos x="0" y="10"/>
                </a:cxn>
                <a:cxn ang="0">
                  <a:pos x="1" y="24"/>
                </a:cxn>
                <a:cxn ang="0">
                  <a:pos x="13" y="30"/>
                </a:cxn>
                <a:cxn ang="0">
                  <a:pos x="19" y="29"/>
                </a:cxn>
                <a:cxn ang="0">
                  <a:pos x="29" y="18"/>
                </a:cxn>
                <a:cxn ang="0">
                  <a:pos x="35" y="6"/>
                </a:cxn>
                <a:cxn ang="0">
                  <a:pos x="32" y="0"/>
                </a:cxn>
                <a:cxn ang="0">
                  <a:pos x="26" y="0"/>
                </a:cxn>
              </a:cxnLst>
              <a:rect l="0" t="0" r="r" b="b"/>
              <a:pathLst>
                <a:path w="35" h="30">
                  <a:moveTo>
                    <a:pt x="26" y="0"/>
                  </a:moveTo>
                  <a:lnTo>
                    <a:pt x="11" y="3"/>
                  </a:lnTo>
                  <a:lnTo>
                    <a:pt x="0" y="10"/>
                  </a:lnTo>
                  <a:lnTo>
                    <a:pt x="1" y="24"/>
                  </a:lnTo>
                  <a:lnTo>
                    <a:pt x="13" y="30"/>
                  </a:lnTo>
                  <a:lnTo>
                    <a:pt x="19" y="29"/>
                  </a:lnTo>
                  <a:lnTo>
                    <a:pt x="29" y="18"/>
                  </a:lnTo>
                  <a:lnTo>
                    <a:pt x="35" y="6"/>
                  </a:lnTo>
                  <a:lnTo>
                    <a:pt x="32" y="0"/>
                  </a:lnTo>
                  <a:lnTo>
                    <a:pt x="2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0" name="Freeform 253">
              <a:extLst>
                <a:ext uri="{FF2B5EF4-FFF2-40B4-BE49-F238E27FC236}">
                  <a16:creationId xmlns:a16="http://schemas.microsoft.com/office/drawing/2014/main" id="{568DE3B7-6F0C-44A7-89BF-2740B899B524}"/>
                </a:ext>
              </a:extLst>
            </p:cNvPr>
            <p:cNvSpPr>
              <a:spLocks/>
            </p:cNvSpPr>
            <p:nvPr/>
          </p:nvSpPr>
          <p:spPr bwMode="auto">
            <a:xfrm>
              <a:off x="9174453" y="2412502"/>
              <a:ext cx="254959" cy="268671"/>
            </a:xfrm>
            <a:custGeom>
              <a:avLst/>
              <a:gdLst/>
              <a:ahLst/>
              <a:cxnLst>
                <a:cxn ang="0">
                  <a:pos x="125" y="108"/>
                </a:cxn>
                <a:cxn ang="0">
                  <a:pos x="122" y="103"/>
                </a:cxn>
                <a:cxn ang="0">
                  <a:pos x="123" y="112"/>
                </a:cxn>
                <a:cxn ang="0">
                  <a:pos x="116" y="114"/>
                </a:cxn>
                <a:cxn ang="0">
                  <a:pos x="114" y="121"/>
                </a:cxn>
                <a:cxn ang="0">
                  <a:pos x="111" y="113"/>
                </a:cxn>
                <a:cxn ang="0">
                  <a:pos x="107" y="122"/>
                </a:cxn>
                <a:cxn ang="0">
                  <a:pos x="90" y="121"/>
                </a:cxn>
                <a:cxn ang="0">
                  <a:pos x="86" y="119"/>
                </a:cxn>
                <a:cxn ang="0">
                  <a:pos x="81" y="115"/>
                </a:cxn>
                <a:cxn ang="0">
                  <a:pos x="83" y="124"/>
                </a:cxn>
                <a:cxn ang="0">
                  <a:pos x="87" y="128"/>
                </a:cxn>
                <a:cxn ang="0">
                  <a:pos x="81" y="136"/>
                </a:cxn>
                <a:cxn ang="0">
                  <a:pos x="78" y="143"/>
                </a:cxn>
                <a:cxn ang="0">
                  <a:pos x="64" y="132"/>
                </a:cxn>
                <a:cxn ang="0">
                  <a:pos x="63" y="120"/>
                </a:cxn>
                <a:cxn ang="0">
                  <a:pos x="44" y="122"/>
                </a:cxn>
                <a:cxn ang="0">
                  <a:pos x="23" y="127"/>
                </a:cxn>
                <a:cxn ang="0">
                  <a:pos x="17" y="134"/>
                </a:cxn>
                <a:cxn ang="0">
                  <a:pos x="0" y="132"/>
                </a:cxn>
                <a:cxn ang="0">
                  <a:pos x="3" y="126"/>
                </a:cxn>
                <a:cxn ang="0">
                  <a:pos x="14" y="115"/>
                </a:cxn>
                <a:cxn ang="0">
                  <a:pos x="23" y="106"/>
                </a:cxn>
                <a:cxn ang="0">
                  <a:pos x="38" y="104"/>
                </a:cxn>
                <a:cxn ang="0">
                  <a:pos x="53" y="103"/>
                </a:cxn>
                <a:cxn ang="0">
                  <a:pos x="57" y="106"/>
                </a:cxn>
                <a:cxn ang="0">
                  <a:pos x="65" y="101"/>
                </a:cxn>
                <a:cxn ang="0">
                  <a:pos x="63" y="91"/>
                </a:cxn>
                <a:cxn ang="0">
                  <a:pos x="62" y="77"/>
                </a:cxn>
                <a:cxn ang="0">
                  <a:pos x="68" y="73"/>
                </a:cxn>
                <a:cxn ang="0">
                  <a:pos x="66" y="78"/>
                </a:cxn>
                <a:cxn ang="0">
                  <a:pos x="72" y="84"/>
                </a:cxn>
                <a:cxn ang="0">
                  <a:pos x="80" y="77"/>
                </a:cxn>
                <a:cxn ang="0">
                  <a:pos x="87" y="70"/>
                </a:cxn>
                <a:cxn ang="0">
                  <a:pos x="89" y="56"/>
                </a:cxn>
                <a:cxn ang="0">
                  <a:pos x="90" y="42"/>
                </a:cxn>
                <a:cxn ang="0">
                  <a:pos x="82" y="29"/>
                </a:cxn>
                <a:cxn ang="0">
                  <a:pos x="76" y="13"/>
                </a:cxn>
                <a:cxn ang="0">
                  <a:pos x="77" y="5"/>
                </a:cxn>
                <a:cxn ang="0">
                  <a:pos x="86" y="10"/>
                </a:cxn>
                <a:cxn ang="0">
                  <a:pos x="89" y="7"/>
                </a:cxn>
                <a:cxn ang="0">
                  <a:pos x="87" y="4"/>
                </a:cxn>
                <a:cxn ang="0">
                  <a:pos x="81" y="4"/>
                </a:cxn>
                <a:cxn ang="0">
                  <a:pos x="82" y="0"/>
                </a:cxn>
                <a:cxn ang="0">
                  <a:pos x="89" y="2"/>
                </a:cxn>
                <a:cxn ang="0">
                  <a:pos x="102" y="18"/>
                </a:cxn>
                <a:cxn ang="0">
                  <a:pos x="118" y="34"/>
                </a:cxn>
                <a:cxn ang="0">
                  <a:pos x="119" y="55"/>
                </a:cxn>
                <a:cxn ang="0">
                  <a:pos x="116" y="61"/>
                </a:cxn>
                <a:cxn ang="0">
                  <a:pos x="124" y="84"/>
                </a:cxn>
                <a:cxn ang="0">
                  <a:pos x="135" y="101"/>
                </a:cxn>
                <a:cxn ang="0">
                  <a:pos x="129" y="118"/>
                </a:cxn>
                <a:cxn ang="0">
                  <a:pos x="125" y="108"/>
                </a:cxn>
              </a:cxnLst>
              <a:rect l="0" t="0" r="r" b="b"/>
              <a:pathLst>
                <a:path w="135" h="143">
                  <a:moveTo>
                    <a:pt x="125" y="108"/>
                  </a:moveTo>
                  <a:lnTo>
                    <a:pt x="122" y="103"/>
                  </a:lnTo>
                  <a:lnTo>
                    <a:pt x="123" y="112"/>
                  </a:lnTo>
                  <a:lnTo>
                    <a:pt x="116" y="114"/>
                  </a:lnTo>
                  <a:lnTo>
                    <a:pt x="114" y="121"/>
                  </a:lnTo>
                  <a:lnTo>
                    <a:pt x="111" y="113"/>
                  </a:lnTo>
                  <a:lnTo>
                    <a:pt x="107" y="122"/>
                  </a:lnTo>
                  <a:lnTo>
                    <a:pt x="90" y="121"/>
                  </a:lnTo>
                  <a:lnTo>
                    <a:pt x="86" y="119"/>
                  </a:lnTo>
                  <a:lnTo>
                    <a:pt x="81" y="115"/>
                  </a:lnTo>
                  <a:lnTo>
                    <a:pt x="83" y="124"/>
                  </a:lnTo>
                  <a:lnTo>
                    <a:pt x="87" y="128"/>
                  </a:lnTo>
                  <a:lnTo>
                    <a:pt x="81" y="136"/>
                  </a:lnTo>
                  <a:lnTo>
                    <a:pt x="78" y="143"/>
                  </a:lnTo>
                  <a:lnTo>
                    <a:pt x="64" y="132"/>
                  </a:lnTo>
                  <a:lnTo>
                    <a:pt x="63" y="120"/>
                  </a:lnTo>
                  <a:lnTo>
                    <a:pt x="44" y="122"/>
                  </a:lnTo>
                  <a:lnTo>
                    <a:pt x="23" y="127"/>
                  </a:lnTo>
                  <a:lnTo>
                    <a:pt x="17" y="134"/>
                  </a:lnTo>
                  <a:lnTo>
                    <a:pt x="0" y="132"/>
                  </a:lnTo>
                  <a:lnTo>
                    <a:pt x="3" y="126"/>
                  </a:lnTo>
                  <a:lnTo>
                    <a:pt x="14" y="115"/>
                  </a:lnTo>
                  <a:lnTo>
                    <a:pt x="23" y="106"/>
                  </a:lnTo>
                  <a:lnTo>
                    <a:pt x="38" y="104"/>
                  </a:lnTo>
                  <a:lnTo>
                    <a:pt x="53" y="103"/>
                  </a:lnTo>
                  <a:lnTo>
                    <a:pt x="57" y="106"/>
                  </a:lnTo>
                  <a:lnTo>
                    <a:pt x="65" y="101"/>
                  </a:lnTo>
                  <a:lnTo>
                    <a:pt x="63" y="91"/>
                  </a:lnTo>
                  <a:lnTo>
                    <a:pt x="62" y="77"/>
                  </a:lnTo>
                  <a:lnTo>
                    <a:pt x="68" y="73"/>
                  </a:lnTo>
                  <a:lnTo>
                    <a:pt x="66" y="78"/>
                  </a:lnTo>
                  <a:lnTo>
                    <a:pt x="72" y="84"/>
                  </a:lnTo>
                  <a:lnTo>
                    <a:pt x="80" y="77"/>
                  </a:lnTo>
                  <a:lnTo>
                    <a:pt x="87" y="70"/>
                  </a:lnTo>
                  <a:lnTo>
                    <a:pt x="89" y="56"/>
                  </a:lnTo>
                  <a:lnTo>
                    <a:pt x="90" y="42"/>
                  </a:lnTo>
                  <a:lnTo>
                    <a:pt x="82" y="29"/>
                  </a:lnTo>
                  <a:lnTo>
                    <a:pt x="76" y="13"/>
                  </a:lnTo>
                  <a:lnTo>
                    <a:pt x="77" y="5"/>
                  </a:lnTo>
                  <a:lnTo>
                    <a:pt x="86" y="10"/>
                  </a:lnTo>
                  <a:lnTo>
                    <a:pt x="89" y="7"/>
                  </a:lnTo>
                  <a:lnTo>
                    <a:pt x="87" y="4"/>
                  </a:lnTo>
                  <a:lnTo>
                    <a:pt x="81" y="4"/>
                  </a:lnTo>
                  <a:lnTo>
                    <a:pt x="82" y="0"/>
                  </a:lnTo>
                  <a:lnTo>
                    <a:pt x="89" y="2"/>
                  </a:lnTo>
                  <a:lnTo>
                    <a:pt x="102" y="18"/>
                  </a:lnTo>
                  <a:lnTo>
                    <a:pt x="118" y="34"/>
                  </a:lnTo>
                  <a:lnTo>
                    <a:pt x="119" y="55"/>
                  </a:lnTo>
                  <a:lnTo>
                    <a:pt x="116" y="61"/>
                  </a:lnTo>
                  <a:lnTo>
                    <a:pt x="124" y="84"/>
                  </a:lnTo>
                  <a:lnTo>
                    <a:pt x="135" y="101"/>
                  </a:lnTo>
                  <a:lnTo>
                    <a:pt x="129" y="118"/>
                  </a:lnTo>
                  <a:lnTo>
                    <a:pt x="125" y="10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1" name="Freeform 254">
              <a:extLst>
                <a:ext uri="{FF2B5EF4-FFF2-40B4-BE49-F238E27FC236}">
                  <a16:creationId xmlns:a16="http://schemas.microsoft.com/office/drawing/2014/main" id="{9BBB15C1-7B30-47C6-B1B6-F8C2C8FA2FBE}"/>
                </a:ext>
              </a:extLst>
            </p:cNvPr>
            <p:cNvSpPr>
              <a:spLocks/>
            </p:cNvSpPr>
            <p:nvPr/>
          </p:nvSpPr>
          <p:spPr bwMode="auto">
            <a:xfrm>
              <a:off x="9265143" y="2275599"/>
              <a:ext cx="148869" cy="136902"/>
            </a:xfrm>
            <a:custGeom>
              <a:avLst/>
              <a:gdLst/>
              <a:ahLst/>
              <a:cxnLst>
                <a:cxn ang="0">
                  <a:pos x="61" y="28"/>
                </a:cxn>
                <a:cxn ang="0">
                  <a:pos x="47" y="24"/>
                </a:cxn>
                <a:cxn ang="0">
                  <a:pos x="24" y="12"/>
                </a:cxn>
                <a:cxn ang="0">
                  <a:pos x="0" y="0"/>
                </a:cxn>
                <a:cxn ang="0">
                  <a:pos x="5" y="10"/>
                </a:cxn>
                <a:cxn ang="0">
                  <a:pos x="12" y="25"/>
                </a:cxn>
                <a:cxn ang="0">
                  <a:pos x="19" y="40"/>
                </a:cxn>
                <a:cxn ang="0">
                  <a:pos x="9" y="40"/>
                </a:cxn>
                <a:cxn ang="0">
                  <a:pos x="6" y="42"/>
                </a:cxn>
                <a:cxn ang="0">
                  <a:pos x="7" y="49"/>
                </a:cxn>
                <a:cxn ang="0">
                  <a:pos x="10" y="59"/>
                </a:cxn>
                <a:cxn ang="0">
                  <a:pos x="21" y="72"/>
                </a:cxn>
                <a:cxn ang="0">
                  <a:pos x="24" y="68"/>
                </a:cxn>
                <a:cxn ang="0">
                  <a:pos x="31" y="67"/>
                </a:cxn>
                <a:cxn ang="0">
                  <a:pos x="13" y="55"/>
                </a:cxn>
                <a:cxn ang="0">
                  <a:pos x="22" y="55"/>
                </a:cxn>
                <a:cxn ang="0">
                  <a:pos x="28" y="53"/>
                </a:cxn>
                <a:cxn ang="0">
                  <a:pos x="58" y="61"/>
                </a:cxn>
                <a:cxn ang="0">
                  <a:pos x="59" y="58"/>
                </a:cxn>
                <a:cxn ang="0">
                  <a:pos x="66" y="46"/>
                </a:cxn>
                <a:cxn ang="0">
                  <a:pos x="78" y="40"/>
                </a:cxn>
                <a:cxn ang="0">
                  <a:pos x="71" y="35"/>
                </a:cxn>
                <a:cxn ang="0">
                  <a:pos x="65" y="22"/>
                </a:cxn>
                <a:cxn ang="0">
                  <a:pos x="61" y="28"/>
                </a:cxn>
              </a:cxnLst>
              <a:rect l="0" t="0" r="r" b="b"/>
              <a:pathLst>
                <a:path w="78" h="72">
                  <a:moveTo>
                    <a:pt x="61" y="28"/>
                  </a:moveTo>
                  <a:lnTo>
                    <a:pt x="47" y="24"/>
                  </a:lnTo>
                  <a:lnTo>
                    <a:pt x="24" y="12"/>
                  </a:lnTo>
                  <a:lnTo>
                    <a:pt x="0" y="0"/>
                  </a:lnTo>
                  <a:lnTo>
                    <a:pt x="5" y="10"/>
                  </a:lnTo>
                  <a:lnTo>
                    <a:pt x="12" y="25"/>
                  </a:lnTo>
                  <a:lnTo>
                    <a:pt x="19" y="40"/>
                  </a:lnTo>
                  <a:lnTo>
                    <a:pt x="9" y="40"/>
                  </a:lnTo>
                  <a:lnTo>
                    <a:pt x="6" y="42"/>
                  </a:lnTo>
                  <a:lnTo>
                    <a:pt x="7" y="49"/>
                  </a:lnTo>
                  <a:lnTo>
                    <a:pt x="10" y="59"/>
                  </a:lnTo>
                  <a:lnTo>
                    <a:pt x="21" y="72"/>
                  </a:lnTo>
                  <a:lnTo>
                    <a:pt x="24" y="68"/>
                  </a:lnTo>
                  <a:lnTo>
                    <a:pt x="31" y="67"/>
                  </a:lnTo>
                  <a:lnTo>
                    <a:pt x="13" y="55"/>
                  </a:lnTo>
                  <a:lnTo>
                    <a:pt x="22" y="55"/>
                  </a:lnTo>
                  <a:lnTo>
                    <a:pt x="28" y="53"/>
                  </a:lnTo>
                  <a:lnTo>
                    <a:pt x="58" y="61"/>
                  </a:lnTo>
                  <a:lnTo>
                    <a:pt x="59" y="58"/>
                  </a:lnTo>
                  <a:lnTo>
                    <a:pt x="66" y="46"/>
                  </a:lnTo>
                  <a:lnTo>
                    <a:pt x="78" y="40"/>
                  </a:lnTo>
                  <a:lnTo>
                    <a:pt x="71" y="35"/>
                  </a:lnTo>
                  <a:lnTo>
                    <a:pt x="65" y="22"/>
                  </a:lnTo>
                  <a:lnTo>
                    <a:pt x="61" y="2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2" name="Freeform 255">
              <a:extLst>
                <a:ext uri="{FF2B5EF4-FFF2-40B4-BE49-F238E27FC236}">
                  <a16:creationId xmlns:a16="http://schemas.microsoft.com/office/drawing/2014/main" id="{2785D439-E32B-4C0B-B0C9-481AE17C770C}"/>
                </a:ext>
              </a:extLst>
            </p:cNvPr>
            <p:cNvSpPr>
              <a:spLocks/>
            </p:cNvSpPr>
            <p:nvPr/>
          </p:nvSpPr>
          <p:spPr bwMode="auto">
            <a:xfrm>
              <a:off x="9152208" y="2670905"/>
              <a:ext cx="71868" cy="90698"/>
            </a:xfrm>
            <a:custGeom>
              <a:avLst/>
              <a:gdLst/>
              <a:ahLst/>
              <a:cxnLst>
                <a:cxn ang="0">
                  <a:pos x="40" y="16"/>
                </a:cxn>
                <a:cxn ang="0">
                  <a:pos x="39" y="30"/>
                </a:cxn>
                <a:cxn ang="0">
                  <a:pos x="37" y="43"/>
                </a:cxn>
                <a:cxn ang="0">
                  <a:pos x="33" y="49"/>
                </a:cxn>
                <a:cxn ang="0">
                  <a:pos x="27" y="39"/>
                </a:cxn>
                <a:cxn ang="0">
                  <a:pos x="28" y="48"/>
                </a:cxn>
                <a:cxn ang="0">
                  <a:pos x="23" y="43"/>
                </a:cxn>
                <a:cxn ang="0">
                  <a:pos x="19" y="30"/>
                </a:cxn>
                <a:cxn ang="0">
                  <a:pos x="19" y="22"/>
                </a:cxn>
                <a:cxn ang="0">
                  <a:pos x="10" y="13"/>
                </a:cxn>
                <a:cxn ang="0">
                  <a:pos x="15" y="22"/>
                </a:cxn>
                <a:cxn ang="0">
                  <a:pos x="9" y="22"/>
                </a:cxn>
                <a:cxn ang="0">
                  <a:pos x="5" y="15"/>
                </a:cxn>
                <a:cxn ang="0">
                  <a:pos x="7" y="15"/>
                </a:cxn>
                <a:cxn ang="0">
                  <a:pos x="0" y="9"/>
                </a:cxn>
                <a:cxn ang="0">
                  <a:pos x="16" y="0"/>
                </a:cxn>
                <a:cxn ang="0">
                  <a:pos x="25" y="4"/>
                </a:cxn>
                <a:cxn ang="0">
                  <a:pos x="30" y="8"/>
                </a:cxn>
                <a:cxn ang="0">
                  <a:pos x="31" y="10"/>
                </a:cxn>
                <a:cxn ang="0">
                  <a:pos x="40" y="16"/>
                </a:cxn>
              </a:cxnLst>
              <a:rect l="0" t="0" r="r" b="b"/>
              <a:pathLst>
                <a:path w="40" h="49">
                  <a:moveTo>
                    <a:pt x="40" y="16"/>
                  </a:moveTo>
                  <a:lnTo>
                    <a:pt x="39" y="30"/>
                  </a:lnTo>
                  <a:lnTo>
                    <a:pt x="37" y="43"/>
                  </a:lnTo>
                  <a:lnTo>
                    <a:pt x="33" y="49"/>
                  </a:lnTo>
                  <a:lnTo>
                    <a:pt x="27" y="39"/>
                  </a:lnTo>
                  <a:lnTo>
                    <a:pt x="28" y="48"/>
                  </a:lnTo>
                  <a:lnTo>
                    <a:pt x="23" y="43"/>
                  </a:lnTo>
                  <a:lnTo>
                    <a:pt x="19" y="30"/>
                  </a:lnTo>
                  <a:lnTo>
                    <a:pt x="19" y="22"/>
                  </a:lnTo>
                  <a:lnTo>
                    <a:pt x="10" y="13"/>
                  </a:lnTo>
                  <a:lnTo>
                    <a:pt x="15" y="22"/>
                  </a:lnTo>
                  <a:lnTo>
                    <a:pt x="9" y="22"/>
                  </a:lnTo>
                  <a:lnTo>
                    <a:pt x="5" y="15"/>
                  </a:lnTo>
                  <a:lnTo>
                    <a:pt x="7" y="15"/>
                  </a:lnTo>
                  <a:lnTo>
                    <a:pt x="0" y="9"/>
                  </a:lnTo>
                  <a:lnTo>
                    <a:pt x="16" y="0"/>
                  </a:lnTo>
                  <a:lnTo>
                    <a:pt x="25" y="4"/>
                  </a:lnTo>
                  <a:lnTo>
                    <a:pt x="30" y="8"/>
                  </a:lnTo>
                  <a:lnTo>
                    <a:pt x="31" y="10"/>
                  </a:lnTo>
                  <a:lnTo>
                    <a:pt x="40" y="1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3" name="Freeform 256">
              <a:extLst>
                <a:ext uri="{FF2B5EF4-FFF2-40B4-BE49-F238E27FC236}">
                  <a16:creationId xmlns:a16="http://schemas.microsoft.com/office/drawing/2014/main" id="{ACB1929F-DA38-4A6A-9746-028B07EE100E}"/>
                </a:ext>
              </a:extLst>
            </p:cNvPr>
            <p:cNvSpPr>
              <a:spLocks/>
            </p:cNvSpPr>
            <p:nvPr/>
          </p:nvSpPr>
          <p:spPr bwMode="auto">
            <a:xfrm>
              <a:off x="9220653" y="2655503"/>
              <a:ext cx="68445" cy="53050"/>
            </a:xfrm>
            <a:custGeom>
              <a:avLst/>
              <a:gdLst/>
              <a:ahLst/>
              <a:cxnLst>
                <a:cxn ang="0">
                  <a:pos x="29" y="18"/>
                </a:cxn>
                <a:cxn ang="0">
                  <a:pos x="17" y="18"/>
                </a:cxn>
                <a:cxn ang="0">
                  <a:pos x="16" y="29"/>
                </a:cxn>
                <a:cxn ang="0">
                  <a:pos x="6" y="22"/>
                </a:cxn>
                <a:cxn ang="0">
                  <a:pos x="3" y="16"/>
                </a:cxn>
                <a:cxn ang="0">
                  <a:pos x="0" y="17"/>
                </a:cxn>
                <a:cxn ang="0">
                  <a:pos x="9" y="6"/>
                </a:cxn>
                <a:cxn ang="0">
                  <a:pos x="17" y="5"/>
                </a:cxn>
                <a:cxn ang="0">
                  <a:pos x="26" y="0"/>
                </a:cxn>
                <a:cxn ang="0">
                  <a:pos x="33" y="5"/>
                </a:cxn>
                <a:cxn ang="0">
                  <a:pos x="36" y="10"/>
                </a:cxn>
                <a:cxn ang="0">
                  <a:pos x="29" y="18"/>
                </a:cxn>
              </a:cxnLst>
              <a:rect l="0" t="0" r="r" b="b"/>
              <a:pathLst>
                <a:path w="36" h="29">
                  <a:moveTo>
                    <a:pt x="29" y="18"/>
                  </a:moveTo>
                  <a:lnTo>
                    <a:pt x="17" y="18"/>
                  </a:lnTo>
                  <a:lnTo>
                    <a:pt x="16" y="29"/>
                  </a:lnTo>
                  <a:lnTo>
                    <a:pt x="6" y="22"/>
                  </a:lnTo>
                  <a:lnTo>
                    <a:pt x="3" y="16"/>
                  </a:lnTo>
                  <a:lnTo>
                    <a:pt x="0" y="17"/>
                  </a:lnTo>
                  <a:lnTo>
                    <a:pt x="9" y="6"/>
                  </a:lnTo>
                  <a:lnTo>
                    <a:pt x="17" y="5"/>
                  </a:lnTo>
                  <a:lnTo>
                    <a:pt x="26" y="0"/>
                  </a:lnTo>
                  <a:lnTo>
                    <a:pt x="33" y="5"/>
                  </a:lnTo>
                  <a:lnTo>
                    <a:pt x="36" y="10"/>
                  </a:lnTo>
                  <a:lnTo>
                    <a:pt x="29" y="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4" name="Freeform 257">
              <a:extLst>
                <a:ext uri="{FF2B5EF4-FFF2-40B4-BE49-F238E27FC236}">
                  <a16:creationId xmlns:a16="http://schemas.microsoft.com/office/drawing/2014/main" id="{980B1A42-025A-4ABE-A45A-EDF5738F5890}"/>
                </a:ext>
              </a:extLst>
            </p:cNvPr>
            <p:cNvSpPr>
              <a:spLocks/>
            </p:cNvSpPr>
            <p:nvPr/>
          </p:nvSpPr>
          <p:spPr bwMode="auto">
            <a:xfrm>
              <a:off x="9174453" y="2910484"/>
              <a:ext cx="15400" cy="22247"/>
            </a:xfrm>
            <a:custGeom>
              <a:avLst/>
              <a:gdLst/>
              <a:ahLst/>
              <a:cxnLst>
                <a:cxn ang="0">
                  <a:pos x="0" y="12"/>
                </a:cxn>
                <a:cxn ang="0">
                  <a:pos x="8" y="1"/>
                </a:cxn>
                <a:cxn ang="0">
                  <a:pos x="6" y="0"/>
                </a:cxn>
                <a:cxn ang="0">
                  <a:pos x="0" y="12"/>
                </a:cxn>
              </a:cxnLst>
              <a:rect l="0" t="0" r="r" b="b"/>
              <a:pathLst>
                <a:path w="8" h="12">
                  <a:moveTo>
                    <a:pt x="0" y="12"/>
                  </a:moveTo>
                  <a:lnTo>
                    <a:pt x="8" y="1"/>
                  </a:lnTo>
                  <a:lnTo>
                    <a:pt x="6" y="0"/>
                  </a:lnTo>
                  <a:lnTo>
                    <a:pt x="0"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5" name="Freeform 258">
              <a:extLst>
                <a:ext uri="{FF2B5EF4-FFF2-40B4-BE49-F238E27FC236}">
                  <a16:creationId xmlns:a16="http://schemas.microsoft.com/office/drawing/2014/main" id="{42677129-2794-47D1-A1DC-3E503A029CF0}"/>
                </a:ext>
              </a:extLst>
            </p:cNvPr>
            <p:cNvSpPr>
              <a:spLocks/>
            </p:cNvSpPr>
            <p:nvPr/>
          </p:nvSpPr>
          <p:spPr bwMode="auto">
            <a:xfrm>
              <a:off x="9323321" y="2518601"/>
              <a:ext cx="3422" cy="10268"/>
            </a:xfrm>
            <a:custGeom>
              <a:avLst/>
              <a:gdLst/>
              <a:ahLst/>
              <a:cxnLst>
                <a:cxn ang="0">
                  <a:pos x="4" y="6"/>
                </a:cxn>
                <a:cxn ang="0">
                  <a:pos x="0" y="0"/>
                </a:cxn>
                <a:cxn ang="0">
                  <a:pos x="0" y="6"/>
                </a:cxn>
                <a:cxn ang="0">
                  <a:pos x="4" y="6"/>
                </a:cxn>
              </a:cxnLst>
              <a:rect l="0" t="0" r="r" b="b"/>
              <a:pathLst>
                <a:path w="4" h="6">
                  <a:moveTo>
                    <a:pt x="4" y="6"/>
                  </a:moveTo>
                  <a:lnTo>
                    <a:pt x="0" y="0"/>
                  </a:lnTo>
                  <a:lnTo>
                    <a:pt x="0" y="6"/>
                  </a:lnTo>
                  <a:lnTo>
                    <a:pt x="4"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6" name="Freeform 259">
              <a:extLst>
                <a:ext uri="{FF2B5EF4-FFF2-40B4-BE49-F238E27FC236}">
                  <a16:creationId xmlns:a16="http://schemas.microsoft.com/office/drawing/2014/main" id="{21A10025-8D6D-4FCB-A9EE-2E371500D22B}"/>
                </a:ext>
              </a:extLst>
            </p:cNvPr>
            <p:cNvSpPr>
              <a:spLocks/>
            </p:cNvSpPr>
            <p:nvPr/>
          </p:nvSpPr>
          <p:spPr bwMode="auto">
            <a:xfrm>
              <a:off x="9174453" y="2715398"/>
              <a:ext cx="3422" cy="8556"/>
            </a:xfrm>
            <a:custGeom>
              <a:avLst/>
              <a:gdLst/>
              <a:ahLst/>
              <a:cxnLst>
                <a:cxn ang="0">
                  <a:pos x="3" y="0"/>
                </a:cxn>
                <a:cxn ang="0">
                  <a:pos x="4" y="2"/>
                </a:cxn>
                <a:cxn ang="0">
                  <a:pos x="0" y="2"/>
                </a:cxn>
                <a:cxn ang="0">
                  <a:pos x="3" y="0"/>
                </a:cxn>
              </a:cxnLst>
              <a:rect l="0" t="0" r="r" b="b"/>
              <a:pathLst>
                <a:path w="4" h="2">
                  <a:moveTo>
                    <a:pt x="3" y="0"/>
                  </a:moveTo>
                  <a:lnTo>
                    <a:pt x="4" y="2"/>
                  </a:lnTo>
                  <a:lnTo>
                    <a:pt x="0" y="2"/>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7" name="Freeform 260">
              <a:extLst>
                <a:ext uri="{FF2B5EF4-FFF2-40B4-BE49-F238E27FC236}">
                  <a16:creationId xmlns:a16="http://schemas.microsoft.com/office/drawing/2014/main" id="{CCDAE3EF-50E2-46E4-8F05-2F1246B6774E}"/>
                </a:ext>
              </a:extLst>
            </p:cNvPr>
            <p:cNvSpPr>
              <a:spLocks/>
            </p:cNvSpPr>
            <p:nvPr/>
          </p:nvSpPr>
          <p:spPr bwMode="auto">
            <a:xfrm>
              <a:off x="8897249" y="2362874"/>
              <a:ext cx="133468" cy="171128"/>
            </a:xfrm>
            <a:custGeom>
              <a:avLst/>
              <a:gdLst/>
              <a:ahLst/>
              <a:cxnLst>
                <a:cxn ang="0">
                  <a:pos x="18" y="61"/>
                </a:cxn>
                <a:cxn ang="0">
                  <a:pos x="8" y="58"/>
                </a:cxn>
                <a:cxn ang="0">
                  <a:pos x="0" y="50"/>
                </a:cxn>
                <a:cxn ang="0">
                  <a:pos x="8" y="40"/>
                </a:cxn>
                <a:cxn ang="0">
                  <a:pos x="17" y="25"/>
                </a:cxn>
                <a:cxn ang="0">
                  <a:pos x="23" y="22"/>
                </a:cxn>
                <a:cxn ang="0">
                  <a:pos x="41" y="27"/>
                </a:cxn>
                <a:cxn ang="0">
                  <a:pos x="35" y="18"/>
                </a:cxn>
                <a:cxn ang="0">
                  <a:pos x="40" y="16"/>
                </a:cxn>
                <a:cxn ang="0">
                  <a:pos x="49" y="9"/>
                </a:cxn>
                <a:cxn ang="0">
                  <a:pos x="49" y="0"/>
                </a:cxn>
                <a:cxn ang="0">
                  <a:pos x="66" y="9"/>
                </a:cxn>
                <a:cxn ang="0">
                  <a:pos x="70" y="12"/>
                </a:cxn>
                <a:cxn ang="0">
                  <a:pos x="61" y="21"/>
                </a:cxn>
                <a:cxn ang="0">
                  <a:pos x="67" y="38"/>
                </a:cxn>
                <a:cxn ang="0">
                  <a:pos x="60" y="49"/>
                </a:cxn>
                <a:cxn ang="0">
                  <a:pos x="52" y="60"/>
                </a:cxn>
                <a:cxn ang="0">
                  <a:pos x="54" y="67"/>
                </a:cxn>
                <a:cxn ang="0">
                  <a:pos x="71" y="76"/>
                </a:cxn>
                <a:cxn ang="0">
                  <a:pos x="65" y="81"/>
                </a:cxn>
                <a:cxn ang="0">
                  <a:pos x="53" y="87"/>
                </a:cxn>
                <a:cxn ang="0">
                  <a:pos x="53" y="91"/>
                </a:cxn>
                <a:cxn ang="0">
                  <a:pos x="38" y="88"/>
                </a:cxn>
                <a:cxn ang="0">
                  <a:pos x="35" y="91"/>
                </a:cxn>
                <a:cxn ang="0">
                  <a:pos x="28" y="87"/>
                </a:cxn>
                <a:cxn ang="0">
                  <a:pos x="23" y="85"/>
                </a:cxn>
                <a:cxn ang="0">
                  <a:pos x="26" y="75"/>
                </a:cxn>
                <a:cxn ang="0">
                  <a:pos x="28" y="75"/>
                </a:cxn>
                <a:cxn ang="0">
                  <a:pos x="22" y="70"/>
                </a:cxn>
                <a:cxn ang="0">
                  <a:pos x="18" y="61"/>
                </a:cxn>
              </a:cxnLst>
              <a:rect l="0" t="0" r="r" b="b"/>
              <a:pathLst>
                <a:path w="71" h="91">
                  <a:moveTo>
                    <a:pt x="18" y="61"/>
                  </a:moveTo>
                  <a:lnTo>
                    <a:pt x="8" y="58"/>
                  </a:lnTo>
                  <a:lnTo>
                    <a:pt x="0" y="50"/>
                  </a:lnTo>
                  <a:lnTo>
                    <a:pt x="8" y="40"/>
                  </a:lnTo>
                  <a:lnTo>
                    <a:pt x="17" y="25"/>
                  </a:lnTo>
                  <a:lnTo>
                    <a:pt x="23" y="22"/>
                  </a:lnTo>
                  <a:lnTo>
                    <a:pt x="41" y="27"/>
                  </a:lnTo>
                  <a:lnTo>
                    <a:pt x="35" y="18"/>
                  </a:lnTo>
                  <a:lnTo>
                    <a:pt x="40" y="16"/>
                  </a:lnTo>
                  <a:lnTo>
                    <a:pt x="49" y="9"/>
                  </a:lnTo>
                  <a:lnTo>
                    <a:pt x="49" y="0"/>
                  </a:lnTo>
                  <a:lnTo>
                    <a:pt x="66" y="9"/>
                  </a:lnTo>
                  <a:lnTo>
                    <a:pt x="70" y="12"/>
                  </a:lnTo>
                  <a:lnTo>
                    <a:pt x="61" y="21"/>
                  </a:lnTo>
                  <a:lnTo>
                    <a:pt x="67" y="38"/>
                  </a:lnTo>
                  <a:lnTo>
                    <a:pt x="60" y="49"/>
                  </a:lnTo>
                  <a:lnTo>
                    <a:pt x="52" y="60"/>
                  </a:lnTo>
                  <a:lnTo>
                    <a:pt x="54" y="67"/>
                  </a:lnTo>
                  <a:lnTo>
                    <a:pt x="71" y="76"/>
                  </a:lnTo>
                  <a:lnTo>
                    <a:pt x="65" y="81"/>
                  </a:lnTo>
                  <a:lnTo>
                    <a:pt x="53" y="87"/>
                  </a:lnTo>
                  <a:lnTo>
                    <a:pt x="53" y="91"/>
                  </a:lnTo>
                  <a:lnTo>
                    <a:pt x="38" y="88"/>
                  </a:lnTo>
                  <a:lnTo>
                    <a:pt x="35" y="91"/>
                  </a:lnTo>
                  <a:lnTo>
                    <a:pt x="28" y="87"/>
                  </a:lnTo>
                  <a:lnTo>
                    <a:pt x="23" y="85"/>
                  </a:lnTo>
                  <a:lnTo>
                    <a:pt x="26" y="75"/>
                  </a:lnTo>
                  <a:lnTo>
                    <a:pt x="28" y="75"/>
                  </a:lnTo>
                  <a:lnTo>
                    <a:pt x="22" y="70"/>
                  </a:lnTo>
                  <a:lnTo>
                    <a:pt x="18" y="6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8" name="Freeform 261">
              <a:extLst>
                <a:ext uri="{FF2B5EF4-FFF2-40B4-BE49-F238E27FC236}">
                  <a16:creationId xmlns:a16="http://schemas.microsoft.com/office/drawing/2014/main" id="{BB37BC6A-5042-402F-96C2-547ED6A7D75C}"/>
                </a:ext>
              </a:extLst>
            </p:cNvPr>
            <p:cNvSpPr>
              <a:spLocks/>
            </p:cNvSpPr>
            <p:nvPr/>
          </p:nvSpPr>
          <p:spPr bwMode="auto">
            <a:xfrm>
              <a:off x="8996495" y="2506622"/>
              <a:ext cx="112935" cy="145459"/>
            </a:xfrm>
            <a:custGeom>
              <a:avLst/>
              <a:gdLst/>
              <a:ahLst/>
              <a:cxnLst>
                <a:cxn ang="0">
                  <a:pos x="35" y="74"/>
                </a:cxn>
                <a:cxn ang="0">
                  <a:pos x="33" y="71"/>
                </a:cxn>
                <a:cxn ang="0">
                  <a:pos x="29" y="74"/>
                </a:cxn>
                <a:cxn ang="0">
                  <a:pos x="25" y="76"/>
                </a:cxn>
                <a:cxn ang="0">
                  <a:pos x="23" y="72"/>
                </a:cxn>
                <a:cxn ang="0">
                  <a:pos x="23" y="70"/>
                </a:cxn>
                <a:cxn ang="0">
                  <a:pos x="23" y="69"/>
                </a:cxn>
                <a:cxn ang="0">
                  <a:pos x="19" y="65"/>
                </a:cxn>
                <a:cxn ang="0">
                  <a:pos x="17" y="54"/>
                </a:cxn>
                <a:cxn ang="0">
                  <a:pos x="15" y="50"/>
                </a:cxn>
                <a:cxn ang="0">
                  <a:pos x="15" y="47"/>
                </a:cxn>
                <a:cxn ang="0">
                  <a:pos x="6" y="36"/>
                </a:cxn>
                <a:cxn ang="0">
                  <a:pos x="2" y="33"/>
                </a:cxn>
                <a:cxn ang="0">
                  <a:pos x="5" y="32"/>
                </a:cxn>
                <a:cxn ang="0">
                  <a:pos x="12" y="34"/>
                </a:cxn>
                <a:cxn ang="0">
                  <a:pos x="11" y="32"/>
                </a:cxn>
                <a:cxn ang="0">
                  <a:pos x="1" y="17"/>
                </a:cxn>
                <a:cxn ang="0">
                  <a:pos x="0" y="15"/>
                </a:cxn>
                <a:cxn ang="0">
                  <a:pos x="0" y="11"/>
                </a:cxn>
                <a:cxn ang="0">
                  <a:pos x="12" y="5"/>
                </a:cxn>
                <a:cxn ang="0">
                  <a:pos x="18" y="0"/>
                </a:cxn>
                <a:cxn ang="0">
                  <a:pos x="35" y="18"/>
                </a:cxn>
                <a:cxn ang="0">
                  <a:pos x="51" y="35"/>
                </a:cxn>
                <a:cxn ang="0">
                  <a:pos x="60" y="60"/>
                </a:cxn>
                <a:cxn ang="0">
                  <a:pos x="54" y="64"/>
                </a:cxn>
                <a:cxn ang="0">
                  <a:pos x="47" y="68"/>
                </a:cxn>
                <a:cxn ang="0">
                  <a:pos x="43" y="66"/>
                </a:cxn>
                <a:cxn ang="0">
                  <a:pos x="41" y="69"/>
                </a:cxn>
                <a:cxn ang="0">
                  <a:pos x="39" y="70"/>
                </a:cxn>
                <a:cxn ang="0">
                  <a:pos x="37" y="71"/>
                </a:cxn>
                <a:cxn ang="0">
                  <a:pos x="35" y="74"/>
                </a:cxn>
              </a:cxnLst>
              <a:rect l="0" t="0" r="r" b="b"/>
              <a:pathLst>
                <a:path w="60" h="76">
                  <a:moveTo>
                    <a:pt x="35" y="74"/>
                  </a:moveTo>
                  <a:lnTo>
                    <a:pt x="33" y="71"/>
                  </a:lnTo>
                  <a:lnTo>
                    <a:pt x="29" y="74"/>
                  </a:lnTo>
                  <a:lnTo>
                    <a:pt x="25" y="76"/>
                  </a:lnTo>
                  <a:lnTo>
                    <a:pt x="23" y="72"/>
                  </a:lnTo>
                  <a:lnTo>
                    <a:pt x="23" y="70"/>
                  </a:lnTo>
                  <a:lnTo>
                    <a:pt x="23" y="69"/>
                  </a:lnTo>
                  <a:lnTo>
                    <a:pt x="19" y="65"/>
                  </a:lnTo>
                  <a:lnTo>
                    <a:pt x="17" y="54"/>
                  </a:lnTo>
                  <a:lnTo>
                    <a:pt x="15" y="50"/>
                  </a:lnTo>
                  <a:lnTo>
                    <a:pt x="15" y="47"/>
                  </a:lnTo>
                  <a:lnTo>
                    <a:pt x="6" y="36"/>
                  </a:lnTo>
                  <a:lnTo>
                    <a:pt x="2" y="33"/>
                  </a:lnTo>
                  <a:lnTo>
                    <a:pt x="5" y="32"/>
                  </a:lnTo>
                  <a:lnTo>
                    <a:pt x="12" y="34"/>
                  </a:lnTo>
                  <a:lnTo>
                    <a:pt x="11" y="32"/>
                  </a:lnTo>
                  <a:lnTo>
                    <a:pt x="1" y="17"/>
                  </a:lnTo>
                  <a:lnTo>
                    <a:pt x="0" y="15"/>
                  </a:lnTo>
                  <a:lnTo>
                    <a:pt x="0" y="11"/>
                  </a:lnTo>
                  <a:lnTo>
                    <a:pt x="12" y="5"/>
                  </a:lnTo>
                  <a:lnTo>
                    <a:pt x="18" y="0"/>
                  </a:lnTo>
                  <a:lnTo>
                    <a:pt x="35" y="18"/>
                  </a:lnTo>
                  <a:lnTo>
                    <a:pt x="51" y="35"/>
                  </a:lnTo>
                  <a:lnTo>
                    <a:pt x="60" y="60"/>
                  </a:lnTo>
                  <a:lnTo>
                    <a:pt x="54" y="64"/>
                  </a:lnTo>
                  <a:lnTo>
                    <a:pt x="47" y="68"/>
                  </a:lnTo>
                  <a:lnTo>
                    <a:pt x="43" y="66"/>
                  </a:lnTo>
                  <a:lnTo>
                    <a:pt x="41" y="69"/>
                  </a:lnTo>
                  <a:lnTo>
                    <a:pt x="39" y="70"/>
                  </a:lnTo>
                  <a:lnTo>
                    <a:pt x="37" y="71"/>
                  </a:lnTo>
                  <a:lnTo>
                    <a:pt x="35" y="7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9" name="Freeform 262">
              <a:extLst>
                <a:ext uri="{FF2B5EF4-FFF2-40B4-BE49-F238E27FC236}">
                  <a16:creationId xmlns:a16="http://schemas.microsoft.com/office/drawing/2014/main" id="{AD7E8268-9AEF-4166-9600-5BE0C0A997BC}"/>
                </a:ext>
              </a:extLst>
            </p:cNvPr>
            <p:cNvSpPr>
              <a:spLocks/>
            </p:cNvSpPr>
            <p:nvPr/>
          </p:nvSpPr>
          <p:spPr bwMode="auto">
            <a:xfrm>
              <a:off x="8981094" y="2966956"/>
              <a:ext cx="41067" cy="109522"/>
            </a:xfrm>
            <a:custGeom>
              <a:avLst/>
              <a:gdLst/>
              <a:ahLst/>
              <a:cxnLst>
                <a:cxn ang="0">
                  <a:pos x="16" y="57"/>
                </a:cxn>
                <a:cxn ang="0">
                  <a:pos x="3" y="43"/>
                </a:cxn>
                <a:cxn ang="0">
                  <a:pos x="0" y="22"/>
                </a:cxn>
                <a:cxn ang="0">
                  <a:pos x="6" y="12"/>
                </a:cxn>
                <a:cxn ang="0">
                  <a:pos x="12" y="0"/>
                </a:cxn>
                <a:cxn ang="0">
                  <a:pos x="23" y="3"/>
                </a:cxn>
                <a:cxn ang="0">
                  <a:pos x="21" y="16"/>
                </a:cxn>
                <a:cxn ang="0">
                  <a:pos x="19" y="30"/>
                </a:cxn>
                <a:cxn ang="0">
                  <a:pos x="17" y="44"/>
                </a:cxn>
                <a:cxn ang="0">
                  <a:pos x="16" y="57"/>
                </a:cxn>
              </a:cxnLst>
              <a:rect l="0" t="0" r="r" b="b"/>
              <a:pathLst>
                <a:path w="23" h="57">
                  <a:moveTo>
                    <a:pt x="16" y="57"/>
                  </a:moveTo>
                  <a:lnTo>
                    <a:pt x="3" y="43"/>
                  </a:lnTo>
                  <a:lnTo>
                    <a:pt x="0" y="22"/>
                  </a:lnTo>
                  <a:lnTo>
                    <a:pt x="6" y="12"/>
                  </a:lnTo>
                  <a:lnTo>
                    <a:pt x="12" y="0"/>
                  </a:lnTo>
                  <a:lnTo>
                    <a:pt x="23" y="3"/>
                  </a:lnTo>
                  <a:lnTo>
                    <a:pt x="21" y="16"/>
                  </a:lnTo>
                  <a:lnTo>
                    <a:pt x="19" y="30"/>
                  </a:lnTo>
                  <a:lnTo>
                    <a:pt x="17" y="44"/>
                  </a:lnTo>
                  <a:lnTo>
                    <a:pt x="16" y="5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0" name="Freeform 263">
              <a:extLst>
                <a:ext uri="{FF2B5EF4-FFF2-40B4-BE49-F238E27FC236}">
                  <a16:creationId xmlns:a16="http://schemas.microsoft.com/office/drawing/2014/main" id="{C6132427-024C-400A-A737-75F3629AB8B4}"/>
                </a:ext>
              </a:extLst>
            </p:cNvPr>
            <p:cNvSpPr>
              <a:spLocks/>
            </p:cNvSpPr>
            <p:nvPr/>
          </p:nvSpPr>
          <p:spPr bwMode="auto">
            <a:xfrm>
              <a:off x="7752500" y="2058267"/>
              <a:ext cx="889790" cy="349101"/>
            </a:xfrm>
            <a:custGeom>
              <a:avLst/>
              <a:gdLst/>
              <a:ahLst/>
              <a:cxnLst>
                <a:cxn ang="0">
                  <a:pos x="276" y="176"/>
                </a:cxn>
                <a:cxn ang="0">
                  <a:pos x="252" y="168"/>
                </a:cxn>
                <a:cxn ang="0">
                  <a:pos x="211" y="166"/>
                </a:cxn>
                <a:cxn ang="0">
                  <a:pos x="171" y="163"/>
                </a:cxn>
                <a:cxn ang="0">
                  <a:pos x="145" y="136"/>
                </a:cxn>
                <a:cxn ang="0">
                  <a:pos x="104" y="124"/>
                </a:cxn>
                <a:cxn ang="0">
                  <a:pos x="71" y="118"/>
                </a:cxn>
                <a:cxn ang="0">
                  <a:pos x="60" y="89"/>
                </a:cxn>
                <a:cxn ang="0">
                  <a:pos x="27" y="72"/>
                </a:cxn>
                <a:cxn ang="0">
                  <a:pos x="1" y="53"/>
                </a:cxn>
                <a:cxn ang="0">
                  <a:pos x="7" y="44"/>
                </a:cxn>
                <a:cxn ang="0">
                  <a:pos x="33" y="31"/>
                </a:cxn>
                <a:cxn ang="0">
                  <a:pos x="75" y="25"/>
                </a:cxn>
                <a:cxn ang="0">
                  <a:pos x="102" y="35"/>
                </a:cxn>
                <a:cxn ang="0">
                  <a:pos x="133" y="30"/>
                </a:cxn>
                <a:cxn ang="0">
                  <a:pos x="123" y="0"/>
                </a:cxn>
                <a:cxn ang="0">
                  <a:pos x="171" y="11"/>
                </a:cxn>
                <a:cxn ang="0">
                  <a:pos x="204" y="32"/>
                </a:cxn>
                <a:cxn ang="0">
                  <a:pos x="247" y="31"/>
                </a:cxn>
                <a:cxn ang="0">
                  <a:pos x="275" y="42"/>
                </a:cxn>
                <a:cxn ang="0">
                  <a:pos x="320" y="47"/>
                </a:cxn>
                <a:cxn ang="0">
                  <a:pos x="353" y="31"/>
                </a:cxn>
                <a:cxn ang="0">
                  <a:pos x="392" y="38"/>
                </a:cxn>
                <a:cxn ang="0">
                  <a:pos x="396" y="66"/>
                </a:cxn>
                <a:cxn ang="0">
                  <a:pos x="404" y="74"/>
                </a:cxn>
                <a:cxn ang="0">
                  <a:pos x="425" y="77"/>
                </a:cxn>
                <a:cxn ang="0">
                  <a:pos x="463" y="86"/>
                </a:cxn>
                <a:cxn ang="0">
                  <a:pos x="443" y="95"/>
                </a:cxn>
                <a:cxn ang="0">
                  <a:pos x="423" y="115"/>
                </a:cxn>
                <a:cxn ang="0">
                  <a:pos x="396" y="127"/>
                </a:cxn>
                <a:cxn ang="0">
                  <a:pos x="377" y="138"/>
                </a:cxn>
                <a:cxn ang="0">
                  <a:pos x="373" y="157"/>
                </a:cxn>
                <a:cxn ang="0">
                  <a:pos x="343" y="170"/>
                </a:cxn>
                <a:cxn ang="0">
                  <a:pos x="315" y="178"/>
                </a:cxn>
                <a:cxn ang="0">
                  <a:pos x="294" y="180"/>
                </a:cxn>
              </a:cxnLst>
              <a:rect l="0" t="0" r="r" b="b"/>
              <a:pathLst>
                <a:path w="467" h="185">
                  <a:moveTo>
                    <a:pt x="294" y="180"/>
                  </a:moveTo>
                  <a:lnTo>
                    <a:pt x="276" y="176"/>
                  </a:lnTo>
                  <a:lnTo>
                    <a:pt x="258" y="173"/>
                  </a:lnTo>
                  <a:lnTo>
                    <a:pt x="252" y="168"/>
                  </a:lnTo>
                  <a:lnTo>
                    <a:pt x="231" y="167"/>
                  </a:lnTo>
                  <a:lnTo>
                    <a:pt x="211" y="166"/>
                  </a:lnTo>
                  <a:lnTo>
                    <a:pt x="192" y="164"/>
                  </a:lnTo>
                  <a:lnTo>
                    <a:pt x="171" y="163"/>
                  </a:lnTo>
                  <a:lnTo>
                    <a:pt x="158" y="150"/>
                  </a:lnTo>
                  <a:lnTo>
                    <a:pt x="145" y="136"/>
                  </a:lnTo>
                  <a:lnTo>
                    <a:pt x="125" y="130"/>
                  </a:lnTo>
                  <a:lnTo>
                    <a:pt x="104" y="124"/>
                  </a:lnTo>
                  <a:lnTo>
                    <a:pt x="87" y="120"/>
                  </a:lnTo>
                  <a:lnTo>
                    <a:pt x="71" y="118"/>
                  </a:lnTo>
                  <a:lnTo>
                    <a:pt x="65" y="103"/>
                  </a:lnTo>
                  <a:lnTo>
                    <a:pt x="60" y="89"/>
                  </a:lnTo>
                  <a:lnTo>
                    <a:pt x="38" y="74"/>
                  </a:lnTo>
                  <a:lnTo>
                    <a:pt x="27" y="72"/>
                  </a:lnTo>
                  <a:lnTo>
                    <a:pt x="7" y="59"/>
                  </a:lnTo>
                  <a:lnTo>
                    <a:pt x="1" y="53"/>
                  </a:lnTo>
                  <a:lnTo>
                    <a:pt x="0" y="50"/>
                  </a:lnTo>
                  <a:lnTo>
                    <a:pt x="7" y="44"/>
                  </a:lnTo>
                  <a:lnTo>
                    <a:pt x="19" y="38"/>
                  </a:lnTo>
                  <a:lnTo>
                    <a:pt x="33" y="31"/>
                  </a:lnTo>
                  <a:lnTo>
                    <a:pt x="47" y="23"/>
                  </a:lnTo>
                  <a:lnTo>
                    <a:pt x="75" y="25"/>
                  </a:lnTo>
                  <a:lnTo>
                    <a:pt x="80" y="31"/>
                  </a:lnTo>
                  <a:lnTo>
                    <a:pt x="102" y="35"/>
                  </a:lnTo>
                  <a:lnTo>
                    <a:pt x="122" y="38"/>
                  </a:lnTo>
                  <a:lnTo>
                    <a:pt x="133" y="30"/>
                  </a:lnTo>
                  <a:lnTo>
                    <a:pt x="120" y="18"/>
                  </a:lnTo>
                  <a:lnTo>
                    <a:pt x="123" y="0"/>
                  </a:lnTo>
                  <a:lnTo>
                    <a:pt x="147" y="6"/>
                  </a:lnTo>
                  <a:lnTo>
                    <a:pt x="171" y="11"/>
                  </a:lnTo>
                  <a:lnTo>
                    <a:pt x="182" y="22"/>
                  </a:lnTo>
                  <a:lnTo>
                    <a:pt x="204" y="32"/>
                  </a:lnTo>
                  <a:lnTo>
                    <a:pt x="228" y="28"/>
                  </a:lnTo>
                  <a:lnTo>
                    <a:pt x="247" y="31"/>
                  </a:lnTo>
                  <a:lnTo>
                    <a:pt x="267" y="36"/>
                  </a:lnTo>
                  <a:lnTo>
                    <a:pt x="275" y="42"/>
                  </a:lnTo>
                  <a:lnTo>
                    <a:pt x="303" y="49"/>
                  </a:lnTo>
                  <a:lnTo>
                    <a:pt x="320" y="47"/>
                  </a:lnTo>
                  <a:lnTo>
                    <a:pt x="337" y="43"/>
                  </a:lnTo>
                  <a:lnTo>
                    <a:pt x="353" y="31"/>
                  </a:lnTo>
                  <a:lnTo>
                    <a:pt x="379" y="37"/>
                  </a:lnTo>
                  <a:lnTo>
                    <a:pt x="392" y="38"/>
                  </a:lnTo>
                  <a:lnTo>
                    <a:pt x="395" y="52"/>
                  </a:lnTo>
                  <a:lnTo>
                    <a:pt x="396" y="66"/>
                  </a:lnTo>
                  <a:lnTo>
                    <a:pt x="392" y="67"/>
                  </a:lnTo>
                  <a:lnTo>
                    <a:pt x="404" y="74"/>
                  </a:lnTo>
                  <a:lnTo>
                    <a:pt x="420" y="74"/>
                  </a:lnTo>
                  <a:lnTo>
                    <a:pt x="425" y="77"/>
                  </a:lnTo>
                  <a:lnTo>
                    <a:pt x="432" y="70"/>
                  </a:lnTo>
                  <a:lnTo>
                    <a:pt x="463" y="86"/>
                  </a:lnTo>
                  <a:lnTo>
                    <a:pt x="467" y="95"/>
                  </a:lnTo>
                  <a:lnTo>
                    <a:pt x="443" y="95"/>
                  </a:lnTo>
                  <a:lnTo>
                    <a:pt x="426" y="103"/>
                  </a:lnTo>
                  <a:lnTo>
                    <a:pt x="423" y="115"/>
                  </a:lnTo>
                  <a:lnTo>
                    <a:pt x="409" y="119"/>
                  </a:lnTo>
                  <a:lnTo>
                    <a:pt x="396" y="127"/>
                  </a:lnTo>
                  <a:lnTo>
                    <a:pt x="374" y="121"/>
                  </a:lnTo>
                  <a:lnTo>
                    <a:pt x="377" y="138"/>
                  </a:lnTo>
                  <a:lnTo>
                    <a:pt x="386" y="146"/>
                  </a:lnTo>
                  <a:lnTo>
                    <a:pt x="373" y="157"/>
                  </a:lnTo>
                  <a:lnTo>
                    <a:pt x="360" y="169"/>
                  </a:lnTo>
                  <a:lnTo>
                    <a:pt x="343" y="170"/>
                  </a:lnTo>
                  <a:lnTo>
                    <a:pt x="325" y="172"/>
                  </a:lnTo>
                  <a:lnTo>
                    <a:pt x="315" y="178"/>
                  </a:lnTo>
                  <a:lnTo>
                    <a:pt x="305" y="185"/>
                  </a:lnTo>
                  <a:lnTo>
                    <a:pt x="294" y="18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1" name="Freeform 264">
              <a:extLst>
                <a:ext uri="{FF2B5EF4-FFF2-40B4-BE49-F238E27FC236}">
                  <a16:creationId xmlns:a16="http://schemas.microsoft.com/office/drawing/2014/main" id="{0BEF18A2-203B-4212-A326-5A370151B2BC}"/>
                </a:ext>
              </a:extLst>
            </p:cNvPr>
            <p:cNvSpPr>
              <a:spLocks/>
            </p:cNvSpPr>
            <p:nvPr/>
          </p:nvSpPr>
          <p:spPr bwMode="auto">
            <a:xfrm>
              <a:off x="6676197" y="1948745"/>
              <a:ext cx="1057481" cy="467179"/>
            </a:xfrm>
            <a:custGeom>
              <a:avLst/>
              <a:gdLst/>
              <a:ahLst/>
              <a:cxnLst>
                <a:cxn ang="0">
                  <a:pos x="65" y="146"/>
                </a:cxn>
                <a:cxn ang="0">
                  <a:pos x="45" y="155"/>
                </a:cxn>
                <a:cxn ang="0">
                  <a:pos x="17" y="125"/>
                </a:cxn>
                <a:cxn ang="0">
                  <a:pos x="3" y="93"/>
                </a:cxn>
                <a:cxn ang="0">
                  <a:pos x="22" y="81"/>
                </a:cxn>
                <a:cxn ang="0">
                  <a:pos x="35" y="65"/>
                </a:cxn>
                <a:cxn ang="0">
                  <a:pos x="65" y="57"/>
                </a:cxn>
                <a:cxn ang="0">
                  <a:pos x="103" y="74"/>
                </a:cxn>
                <a:cxn ang="0">
                  <a:pos x="151" y="72"/>
                </a:cxn>
                <a:cxn ang="0">
                  <a:pos x="180" y="71"/>
                </a:cxn>
                <a:cxn ang="0">
                  <a:pos x="172" y="34"/>
                </a:cxn>
                <a:cxn ang="0">
                  <a:pos x="168" y="27"/>
                </a:cxn>
                <a:cxn ang="0">
                  <a:pos x="204" y="21"/>
                </a:cxn>
                <a:cxn ang="0">
                  <a:pos x="238" y="11"/>
                </a:cxn>
                <a:cxn ang="0">
                  <a:pos x="270" y="2"/>
                </a:cxn>
                <a:cxn ang="0">
                  <a:pos x="293" y="11"/>
                </a:cxn>
                <a:cxn ang="0">
                  <a:pos x="330" y="26"/>
                </a:cxn>
                <a:cxn ang="0">
                  <a:pos x="359" y="21"/>
                </a:cxn>
                <a:cxn ang="0">
                  <a:pos x="379" y="17"/>
                </a:cxn>
                <a:cxn ang="0">
                  <a:pos x="396" y="39"/>
                </a:cxn>
                <a:cxn ang="0">
                  <a:pos x="433" y="64"/>
                </a:cxn>
                <a:cxn ang="0">
                  <a:pos x="456" y="72"/>
                </a:cxn>
                <a:cxn ang="0">
                  <a:pos x="484" y="74"/>
                </a:cxn>
                <a:cxn ang="0">
                  <a:pos x="522" y="96"/>
                </a:cxn>
                <a:cxn ang="0">
                  <a:pos x="557" y="110"/>
                </a:cxn>
                <a:cxn ang="0">
                  <a:pos x="544" y="126"/>
                </a:cxn>
                <a:cxn ang="0">
                  <a:pos x="538" y="147"/>
                </a:cxn>
                <a:cxn ang="0">
                  <a:pos x="517" y="158"/>
                </a:cxn>
                <a:cxn ang="0">
                  <a:pos x="525" y="179"/>
                </a:cxn>
                <a:cxn ang="0">
                  <a:pos x="487" y="184"/>
                </a:cxn>
                <a:cxn ang="0">
                  <a:pos x="503" y="201"/>
                </a:cxn>
                <a:cxn ang="0">
                  <a:pos x="510" y="218"/>
                </a:cxn>
                <a:cxn ang="0">
                  <a:pos x="489" y="210"/>
                </a:cxn>
                <a:cxn ang="0">
                  <a:pos x="450" y="214"/>
                </a:cxn>
                <a:cxn ang="0">
                  <a:pos x="417" y="213"/>
                </a:cxn>
                <a:cxn ang="0">
                  <a:pos x="394" y="221"/>
                </a:cxn>
                <a:cxn ang="0">
                  <a:pos x="369" y="226"/>
                </a:cxn>
                <a:cxn ang="0">
                  <a:pos x="341" y="246"/>
                </a:cxn>
                <a:cxn ang="0">
                  <a:pos x="313" y="232"/>
                </a:cxn>
                <a:cxn ang="0">
                  <a:pos x="297" y="207"/>
                </a:cxn>
                <a:cxn ang="0">
                  <a:pos x="265" y="204"/>
                </a:cxn>
                <a:cxn ang="0">
                  <a:pos x="235" y="202"/>
                </a:cxn>
                <a:cxn ang="0">
                  <a:pos x="202" y="176"/>
                </a:cxn>
                <a:cxn ang="0">
                  <a:pos x="166" y="172"/>
                </a:cxn>
                <a:cxn ang="0">
                  <a:pos x="151" y="195"/>
                </a:cxn>
                <a:cxn ang="0">
                  <a:pos x="160" y="226"/>
                </a:cxn>
                <a:cxn ang="0">
                  <a:pos x="147" y="237"/>
                </a:cxn>
                <a:cxn ang="0">
                  <a:pos x="131" y="220"/>
                </a:cxn>
                <a:cxn ang="0">
                  <a:pos x="94" y="215"/>
                </a:cxn>
                <a:cxn ang="0">
                  <a:pos x="75" y="194"/>
                </a:cxn>
                <a:cxn ang="0">
                  <a:pos x="84" y="188"/>
                </a:cxn>
                <a:cxn ang="0">
                  <a:pos x="85" y="174"/>
                </a:cxn>
                <a:cxn ang="0">
                  <a:pos x="100" y="167"/>
                </a:cxn>
                <a:cxn ang="0">
                  <a:pos x="77" y="147"/>
                </a:cxn>
              </a:cxnLst>
              <a:rect l="0" t="0" r="r" b="b"/>
              <a:pathLst>
                <a:path w="557" h="246">
                  <a:moveTo>
                    <a:pt x="77" y="147"/>
                  </a:moveTo>
                  <a:lnTo>
                    <a:pt x="65" y="146"/>
                  </a:lnTo>
                  <a:lnTo>
                    <a:pt x="47" y="154"/>
                  </a:lnTo>
                  <a:lnTo>
                    <a:pt x="45" y="155"/>
                  </a:lnTo>
                  <a:lnTo>
                    <a:pt x="34" y="138"/>
                  </a:lnTo>
                  <a:lnTo>
                    <a:pt x="17" y="125"/>
                  </a:lnTo>
                  <a:lnTo>
                    <a:pt x="0" y="112"/>
                  </a:lnTo>
                  <a:lnTo>
                    <a:pt x="3" y="93"/>
                  </a:lnTo>
                  <a:lnTo>
                    <a:pt x="5" y="74"/>
                  </a:lnTo>
                  <a:lnTo>
                    <a:pt x="22" y="81"/>
                  </a:lnTo>
                  <a:lnTo>
                    <a:pt x="24" y="74"/>
                  </a:lnTo>
                  <a:lnTo>
                    <a:pt x="35" y="65"/>
                  </a:lnTo>
                  <a:lnTo>
                    <a:pt x="46" y="58"/>
                  </a:lnTo>
                  <a:lnTo>
                    <a:pt x="65" y="57"/>
                  </a:lnTo>
                  <a:lnTo>
                    <a:pt x="84" y="65"/>
                  </a:lnTo>
                  <a:lnTo>
                    <a:pt x="103" y="74"/>
                  </a:lnTo>
                  <a:lnTo>
                    <a:pt x="124" y="72"/>
                  </a:lnTo>
                  <a:lnTo>
                    <a:pt x="151" y="72"/>
                  </a:lnTo>
                  <a:lnTo>
                    <a:pt x="178" y="76"/>
                  </a:lnTo>
                  <a:lnTo>
                    <a:pt x="180" y="71"/>
                  </a:lnTo>
                  <a:lnTo>
                    <a:pt x="166" y="54"/>
                  </a:lnTo>
                  <a:lnTo>
                    <a:pt x="172" y="34"/>
                  </a:lnTo>
                  <a:lnTo>
                    <a:pt x="185" y="35"/>
                  </a:lnTo>
                  <a:lnTo>
                    <a:pt x="168" y="27"/>
                  </a:lnTo>
                  <a:lnTo>
                    <a:pt x="186" y="23"/>
                  </a:lnTo>
                  <a:lnTo>
                    <a:pt x="204" y="21"/>
                  </a:lnTo>
                  <a:lnTo>
                    <a:pt x="221" y="16"/>
                  </a:lnTo>
                  <a:lnTo>
                    <a:pt x="238" y="11"/>
                  </a:lnTo>
                  <a:lnTo>
                    <a:pt x="253" y="6"/>
                  </a:lnTo>
                  <a:lnTo>
                    <a:pt x="270" y="2"/>
                  </a:lnTo>
                  <a:lnTo>
                    <a:pt x="283" y="0"/>
                  </a:lnTo>
                  <a:lnTo>
                    <a:pt x="293" y="11"/>
                  </a:lnTo>
                  <a:lnTo>
                    <a:pt x="319" y="21"/>
                  </a:lnTo>
                  <a:lnTo>
                    <a:pt x="330" y="26"/>
                  </a:lnTo>
                  <a:lnTo>
                    <a:pt x="341" y="28"/>
                  </a:lnTo>
                  <a:lnTo>
                    <a:pt x="359" y="21"/>
                  </a:lnTo>
                  <a:lnTo>
                    <a:pt x="376" y="15"/>
                  </a:lnTo>
                  <a:lnTo>
                    <a:pt x="379" y="17"/>
                  </a:lnTo>
                  <a:lnTo>
                    <a:pt x="377" y="26"/>
                  </a:lnTo>
                  <a:lnTo>
                    <a:pt x="396" y="39"/>
                  </a:lnTo>
                  <a:lnTo>
                    <a:pt x="414" y="51"/>
                  </a:lnTo>
                  <a:lnTo>
                    <a:pt x="433" y="64"/>
                  </a:lnTo>
                  <a:lnTo>
                    <a:pt x="453" y="77"/>
                  </a:lnTo>
                  <a:lnTo>
                    <a:pt x="456" y="72"/>
                  </a:lnTo>
                  <a:lnTo>
                    <a:pt x="466" y="76"/>
                  </a:lnTo>
                  <a:lnTo>
                    <a:pt x="484" y="74"/>
                  </a:lnTo>
                  <a:lnTo>
                    <a:pt x="503" y="86"/>
                  </a:lnTo>
                  <a:lnTo>
                    <a:pt x="522" y="96"/>
                  </a:lnTo>
                  <a:lnTo>
                    <a:pt x="540" y="93"/>
                  </a:lnTo>
                  <a:lnTo>
                    <a:pt x="557" y="110"/>
                  </a:lnTo>
                  <a:lnTo>
                    <a:pt x="551" y="122"/>
                  </a:lnTo>
                  <a:lnTo>
                    <a:pt x="544" y="126"/>
                  </a:lnTo>
                  <a:lnTo>
                    <a:pt x="551" y="144"/>
                  </a:lnTo>
                  <a:lnTo>
                    <a:pt x="538" y="147"/>
                  </a:lnTo>
                  <a:lnTo>
                    <a:pt x="515" y="142"/>
                  </a:lnTo>
                  <a:lnTo>
                    <a:pt x="517" y="158"/>
                  </a:lnTo>
                  <a:lnTo>
                    <a:pt x="519" y="172"/>
                  </a:lnTo>
                  <a:lnTo>
                    <a:pt x="525" y="179"/>
                  </a:lnTo>
                  <a:lnTo>
                    <a:pt x="504" y="177"/>
                  </a:lnTo>
                  <a:lnTo>
                    <a:pt x="487" y="184"/>
                  </a:lnTo>
                  <a:lnTo>
                    <a:pt x="497" y="188"/>
                  </a:lnTo>
                  <a:lnTo>
                    <a:pt x="503" y="201"/>
                  </a:lnTo>
                  <a:lnTo>
                    <a:pt x="510" y="214"/>
                  </a:lnTo>
                  <a:lnTo>
                    <a:pt x="510" y="218"/>
                  </a:lnTo>
                  <a:lnTo>
                    <a:pt x="507" y="221"/>
                  </a:lnTo>
                  <a:lnTo>
                    <a:pt x="489" y="210"/>
                  </a:lnTo>
                  <a:lnTo>
                    <a:pt x="469" y="212"/>
                  </a:lnTo>
                  <a:lnTo>
                    <a:pt x="450" y="214"/>
                  </a:lnTo>
                  <a:lnTo>
                    <a:pt x="430" y="214"/>
                  </a:lnTo>
                  <a:lnTo>
                    <a:pt x="417" y="213"/>
                  </a:lnTo>
                  <a:lnTo>
                    <a:pt x="408" y="222"/>
                  </a:lnTo>
                  <a:lnTo>
                    <a:pt x="394" y="221"/>
                  </a:lnTo>
                  <a:lnTo>
                    <a:pt x="378" y="219"/>
                  </a:lnTo>
                  <a:lnTo>
                    <a:pt x="369" y="226"/>
                  </a:lnTo>
                  <a:lnTo>
                    <a:pt x="355" y="237"/>
                  </a:lnTo>
                  <a:lnTo>
                    <a:pt x="341" y="246"/>
                  </a:lnTo>
                  <a:lnTo>
                    <a:pt x="328" y="239"/>
                  </a:lnTo>
                  <a:lnTo>
                    <a:pt x="313" y="232"/>
                  </a:lnTo>
                  <a:lnTo>
                    <a:pt x="312" y="218"/>
                  </a:lnTo>
                  <a:lnTo>
                    <a:pt x="297" y="207"/>
                  </a:lnTo>
                  <a:lnTo>
                    <a:pt x="281" y="206"/>
                  </a:lnTo>
                  <a:lnTo>
                    <a:pt x="265" y="204"/>
                  </a:lnTo>
                  <a:lnTo>
                    <a:pt x="251" y="203"/>
                  </a:lnTo>
                  <a:lnTo>
                    <a:pt x="235" y="202"/>
                  </a:lnTo>
                  <a:lnTo>
                    <a:pt x="221" y="185"/>
                  </a:lnTo>
                  <a:lnTo>
                    <a:pt x="202" y="176"/>
                  </a:lnTo>
                  <a:lnTo>
                    <a:pt x="183" y="165"/>
                  </a:lnTo>
                  <a:lnTo>
                    <a:pt x="166" y="172"/>
                  </a:lnTo>
                  <a:lnTo>
                    <a:pt x="148" y="178"/>
                  </a:lnTo>
                  <a:lnTo>
                    <a:pt x="151" y="195"/>
                  </a:lnTo>
                  <a:lnTo>
                    <a:pt x="155" y="210"/>
                  </a:lnTo>
                  <a:lnTo>
                    <a:pt x="160" y="226"/>
                  </a:lnTo>
                  <a:lnTo>
                    <a:pt x="163" y="243"/>
                  </a:lnTo>
                  <a:lnTo>
                    <a:pt x="147" y="237"/>
                  </a:lnTo>
                  <a:lnTo>
                    <a:pt x="130" y="232"/>
                  </a:lnTo>
                  <a:lnTo>
                    <a:pt x="131" y="220"/>
                  </a:lnTo>
                  <a:lnTo>
                    <a:pt x="106" y="220"/>
                  </a:lnTo>
                  <a:lnTo>
                    <a:pt x="94" y="215"/>
                  </a:lnTo>
                  <a:lnTo>
                    <a:pt x="88" y="212"/>
                  </a:lnTo>
                  <a:lnTo>
                    <a:pt x="75" y="194"/>
                  </a:lnTo>
                  <a:lnTo>
                    <a:pt x="67" y="189"/>
                  </a:lnTo>
                  <a:lnTo>
                    <a:pt x="84" y="188"/>
                  </a:lnTo>
                  <a:lnTo>
                    <a:pt x="77" y="182"/>
                  </a:lnTo>
                  <a:lnTo>
                    <a:pt x="85" y="174"/>
                  </a:lnTo>
                  <a:lnTo>
                    <a:pt x="103" y="174"/>
                  </a:lnTo>
                  <a:lnTo>
                    <a:pt x="100" y="167"/>
                  </a:lnTo>
                  <a:lnTo>
                    <a:pt x="96" y="148"/>
                  </a:lnTo>
                  <a:lnTo>
                    <a:pt x="77" y="14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3" name="Freeform 266">
              <a:extLst>
                <a:ext uri="{FF2B5EF4-FFF2-40B4-BE49-F238E27FC236}">
                  <a16:creationId xmlns:a16="http://schemas.microsoft.com/office/drawing/2014/main" id="{93536F5F-551E-4F2D-89A8-D8E8D7A0804D}"/>
                </a:ext>
              </a:extLst>
            </p:cNvPr>
            <p:cNvSpPr>
              <a:spLocks/>
            </p:cNvSpPr>
            <p:nvPr/>
          </p:nvSpPr>
          <p:spPr bwMode="auto">
            <a:xfrm>
              <a:off x="7376051" y="2347473"/>
              <a:ext cx="270359" cy="136902"/>
            </a:xfrm>
            <a:custGeom>
              <a:avLst/>
              <a:gdLst/>
              <a:ahLst/>
              <a:cxnLst>
                <a:cxn ang="0">
                  <a:pos x="46" y="41"/>
                </a:cxn>
                <a:cxn ang="0">
                  <a:pos x="31" y="32"/>
                </a:cxn>
                <a:cxn ang="0">
                  <a:pos x="10" y="29"/>
                </a:cxn>
                <a:cxn ang="0">
                  <a:pos x="0" y="16"/>
                </a:cxn>
                <a:cxn ang="0">
                  <a:pos x="9" y="9"/>
                </a:cxn>
                <a:cxn ang="0">
                  <a:pos x="25" y="11"/>
                </a:cxn>
                <a:cxn ang="0">
                  <a:pos x="39" y="12"/>
                </a:cxn>
                <a:cxn ang="0">
                  <a:pos x="48" y="3"/>
                </a:cxn>
                <a:cxn ang="0">
                  <a:pos x="61" y="4"/>
                </a:cxn>
                <a:cxn ang="0">
                  <a:pos x="81" y="4"/>
                </a:cxn>
                <a:cxn ang="0">
                  <a:pos x="100" y="2"/>
                </a:cxn>
                <a:cxn ang="0">
                  <a:pos x="120" y="0"/>
                </a:cxn>
                <a:cxn ang="0">
                  <a:pos x="138" y="11"/>
                </a:cxn>
                <a:cxn ang="0">
                  <a:pos x="141" y="20"/>
                </a:cxn>
                <a:cxn ang="0">
                  <a:pos x="130" y="29"/>
                </a:cxn>
                <a:cxn ang="0">
                  <a:pos x="120" y="38"/>
                </a:cxn>
                <a:cxn ang="0">
                  <a:pos x="104" y="42"/>
                </a:cxn>
                <a:cxn ang="0">
                  <a:pos x="94" y="53"/>
                </a:cxn>
                <a:cxn ang="0">
                  <a:pos x="86" y="51"/>
                </a:cxn>
                <a:cxn ang="0">
                  <a:pos x="79" y="52"/>
                </a:cxn>
                <a:cxn ang="0">
                  <a:pos x="68" y="58"/>
                </a:cxn>
                <a:cxn ang="0">
                  <a:pos x="62" y="71"/>
                </a:cxn>
                <a:cxn ang="0">
                  <a:pos x="37" y="69"/>
                </a:cxn>
                <a:cxn ang="0">
                  <a:pos x="12" y="65"/>
                </a:cxn>
                <a:cxn ang="0">
                  <a:pos x="10" y="53"/>
                </a:cxn>
                <a:cxn ang="0">
                  <a:pos x="28" y="47"/>
                </a:cxn>
                <a:cxn ang="0">
                  <a:pos x="46" y="41"/>
                </a:cxn>
              </a:cxnLst>
              <a:rect l="0" t="0" r="r" b="b"/>
              <a:pathLst>
                <a:path w="141" h="71">
                  <a:moveTo>
                    <a:pt x="46" y="41"/>
                  </a:moveTo>
                  <a:lnTo>
                    <a:pt x="31" y="32"/>
                  </a:lnTo>
                  <a:lnTo>
                    <a:pt x="10" y="29"/>
                  </a:lnTo>
                  <a:lnTo>
                    <a:pt x="0" y="16"/>
                  </a:lnTo>
                  <a:lnTo>
                    <a:pt x="9" y="9"/>
                  </a:lnTo>
                  <a:lnTo>
                    <a:pt x="25" y="11"/>
                  </a:lnTo>
                  <a:lnTo>
                    <a:pt x="39" y="12"/>
                  </a:lnTo>
                  <a:lnTo>
                    <a:pt x="48" y="3"/>
                  </a:lnTo>
                  <a:lnTo>
                    <a:pt x="61" y="4"/>
                  </a:lnTo>
                  <a:lnTo>
                    <a:pt x="81" y="4"/>
                  </a:lnTo>
                  <a:lnTo>
                    <a:pt x="100" y="2"/>
                  </a:lnTo>
                  <a:lnTo>
                    <a:pt x="120" y="0"/>
                  </a:lnTo>
                  <a:lnTo>
                    <a:pt x="138" y="11"/>
                  </a:lnTo>
                  <a:lnTo>
                    <a:pt x="141" y="20"/>
                  </a:lnTo>
                  <a:lnTo>
                    <a:pt x="130" y="29"/>
                  </a:lnTo>
                  <a:lnTo>
                    <a:pt x="120" y="38"/>
                  </a:lnTo>
                  <a:lnTo>
                    <a:pt x="104" y="42"/>
                  </a:lnTo>
                  <a:lnTo>
                    <a:pt x="94" y="53"/>
                  </a:lnTo>
                  <a:lnTo>
                    <a:pt x="86" y="51"/>
                  </a:lnTo>
                  <a:lnTo>
                    <a:pt x="79" y="52"/>
                  </a:lnTo>
                  <a:lnTo>
                    <a:pt x="68" y="58"/>
                  </a:lnTo>
                  <a:lnTo>
                    <a:pt x="62" y="71"/>
                  </a:lnTo>
                  <a:lnTo>
                    <a:pt x="37" y="69"/>
                  </a:lnTo>
                  <a:lnTo>
                    <a:pt x="12" y="65"/>
                  </a:lnTo>
                  <a:lnTo>
                    <a:pt x="10" y="53"/>
                  </a:lnTo>
                  <a:lnTo>
                    <a:pt x="28" y="47"/>
                  </a:lnTo>
                  <a:lnTo>
                    <a:pt x="46" y="4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4" name="Freeform 267">
              <a:extLst>
                <a:ext uri="{FF2B5EF4-FFF2-40B4-BE49-F238E27FC236}">
                  <a16:creationId xmlns:a16="http://schemas.microsoft.com/office/drawing/2014/main" id="{25226C85-5B67-4E44-8181-56F606E21368}"/>
                </a:ext>
              </a:extLst>
            </p:cNvPr>
            <p:cNvSpPr>
              <a:spLocks/>
            </p:cNvSpPr>
            <p:nvPr/>
          </p:nvSpPr>
          <p:spPr bwMode="auto">
            <a:xfrm>
              <a:off x="6874689" y="2366297"/>
              <a:ext cx="414094" cy="254981"/>
            </a:xfrm>
            <a:custGeom>
              <a:avLst/>
              <a:gdLst/>
              <a:ahLst/>
              <a:cxnLst>
                <a:cxn ang="0">
                  <a:pos x="206" y="104"/>
                </a:cxn>
                <a:cxn ang="0">
                  <a:pos x="200" y="119"/>
                </a:cxn>
                <a:cxn ang="0">
                  <a:pos x="187" y="126"/>
                </a:cxn>
                <a:cxn ang="0">
                  <a:pos x="182" y="134"/>
                </a:cxn>
                <a:cxn ang="0">
                  <a:pos x="174" y="133"/>
                </a:cxn>
                <a:cxn ang="0">
                  <a:pos x="159" y="128"/>
                </a:cxn>
                <a:cxn ang="0">
                  <a:pos x="153" y="110"/>
                </a:cxn>
                <a:cxn ang="0">
                  <a:pos x="140" y="108"/>
                </a:cxn>
                <a:cxn ang="0">
                  <a:pos x="127" y="100"/>
                </a:cxn>
                <a:cxn ang="0">
                  <a:pos x="114" y="91"/>
                </a:cxn>
                <a:cxn ang="0">
                  <a:pos x="90" y="83"/>
                </a:cxn>
                <a:cxn ang="0">
                  <a:pos x="75" y="84"/>
                </a:cxn>
                <a:cxn ang="0">
                  <a:pos x="59" y="86"/>
                </a:cxn>
                <a:cxn ang="0">
                  <a:pos x="48" y="97"/>
                </a:cxn>
                <a:cxn ang="0">
                  <a:pos x="43" y="97"/>
                </a:cxn>
                <a:cxn ang="0">
                  <a:pos x="39" y="83"/>
                </a:cxn>
                <a:cxn ang="0">
                  <a:pos x="35" y="67"/>
                </a:cxn>
                <a:cxn ang="0">
                  <a:pos x="26" y="61"/>
                </a:cxn>
                <a:cxn ang="0">
                  <a:pos x="25" y="62"/>
                </a:cxn>
                <a:cxn ang="0">
                  <a:pos x="27" y="59"/>
                </a:cxn>
                <a:cxn ang="0">
                  <a:pos x="30" y="56"/>
                </a:cxn>
                <a:cxn ang="0">
                  <a:pos x="26" y="50"/>
                </a:cxn>
                <a:cxn ang="0">
                  <a:pos x="19" y="52"/>
                </a:cxn>
                <a:cxn ang="0">
                  <a:pos x="19" y="53"/>
                </a:cxn>
                <a:cxn ang="0">
                  <a:pos x="14" y="35"/>
                </a:cxn>
                <a:cxn ang="0">
                  <a:pos x="17" y="34"/>
                </a:cxn>
                <a:cxn ang="0">
                  <a:pos x="25" y="34"/>
                </a:cxn>
                <a:cxn ang="0">
                  <a:pos x="32" y="38"/>
                </a:cxn>
                <a:cxn ang="0">
                  <a:pos x="36" y="37"/>
                </a:cxn>
                <a:cxn ang="0">
                  <a:pos x="37" y="35"/>
                </a:cxn>
                <a:cxn ang="0">
                  <a:pos x="39" y="30"/>
                </a:cxn>
                <a:cxn ang="0">
                  <a:pos x="25" y="14"/>
                </a:cxn>
                <a:cxn ang="0">
                  <a:pos x="12" y="13"/>
                </a:cxn>
                <a:cxn ang="0">
                  <a:pos x="13" y="28"/>
                </a:cxn>
                <a:cxn ang="0">
                  <a:pos x="13" y="30"/>
                </a:cxn>
                <a:cxn ang="0">
                  <a:pos x="3" y="11"/>
                </a:cxn>
                <a:cxn ang="0">
                  <a:pos x="5" y="2"/>
                </a:cxn>
                <a:cxn ang="0">
                  <a:pos x="0" y="0"/>
                </a:cxn>
                <a:cxn ang="0">
                  <a:pos x="25" y="0"/>
                </a:cxn>
                <a:cxn ang="0">
                  <a:pos x="24" y="12"/>
                </a:cxn>
                <a:cxn ang="0">
                  <a:pos x="41" y="17"/>
                </a:cxn>
                <a:cxn ang="0">
                  <a:pos x="57" y="23"/>
                </a:cxn>
                <a:cxn ang="0">
                  <a:pos x="78" y="26"/>
                </a:cxn>
                <a:cxn ang="0">
                  <a:pos x="74" y="17"/>
                </a:cxn>
                <a:cxn ang="0">
                  <a:pos x="81" y="13"/>
                </a:cxn>
                <a:cxn ang="0">
                  <a:pos x="93" y="0"/>
                </a:cxn>
                <a:cxn ang="0">
                  <a:pos x="113" y="13"/>
                </a:cxn>
                <a:cxn ang="0">
                  <a:pos x="125" y="31"/>
                </a:cxn>
                <a:cxn ang="0">
                  <a:pos x="144" y="38"/>
                </a:cxn>
                <a:cxn ang="0">
                  <a:pos x="157" y="46"/>
                </a:cxn>
                <a:cxn ang="0">
                  <a:pos x="182" y="61"/>
                </a:cxn>
                <a:cxn ang="0">
                  <a:pos x="207" y="77"/>
                </a:cxn>
                <a:cxn ang="0">
                  <a:pos x="217" y="95"/>
                </a:cxn>
                <a:cxn ang="0">
                  <a:pos x="211" y="100"/>
                </a:cxn>
                <a:cxn ang="0">
                  <a:pos x="206" y="104"/>
                </a:cxn>
              </a:cxnLst>
              <a:rect l="0" t="0" r="r" b="b"/>
              <a:pathLst>
                <a:path w="217" h="134">
                  <a:moveTo>
                    <a:pt x="206" y="104"/>
                  </a:moveTo>
                  <a:lnTo>
                    <a:pt x="200" y="119"/>
                  </a:lnTo>
                  <a:lnTo>
                    <a:pt x="187" y="126"/>
                  </a:lnTo>
                  <a:lnTo>
                    <a:pt x="182" y="134"/>
                  </a:lnTo>
                  <a:lnTo>
                    <a:pt x="174" y="133"/>
                  </a:lnTo>
                  <a:lnTo>
                    <a:pt x="159" y="128"/>
                  </a:lnTo>
                  <a:lnTo>
                    <a:pt x="153" y="110"/>
                  </a:lnTo>
                  <a:lnTo>
                    <a:pt x="140" y="108"/>
                  </a:lnTo>
                  <a:lnTo>
                    <a:pt x="127" y="100"/>
                  </a:lnTo>
                  <a:lnTo>
                    <a:pt x="114" y="91"/>
                  </a:lnTo>
                  <a:lnTo>
                    <a:pt x="90" y="83"/>
                  </a:lnTo>
                  <a:lnTo>
                    <a:pt x="75" y="84"/>
                  </a:lnTo>
                  <a:lnTo>
                    <a:pt x="59" y="86"/>
                  </a:lnTo>
                  <a:lnTo>
                    <a:pt x="48" y="97"/>
                  </a:lnTo>
                  <a:lnTo>
                    <a:pt x="43" y="97"/>
                  </a:lnTo>
                  <a:lnTo>
                    <a:pt x="39" y="83"/>
                  </a:lnTo>
                  <a:lnTo>
                    <a:pt x="35" y="67"/>
                  </a:lnTo>
                  <a:lnTo>
                    <a:pt x="26" y="61"/>
                  </a:lnTo>
                  <a:lnTo>
                    <a:pt x="25" y="62"/>
                  </a:lnTo>
                  <a:lnTo>
                    <a:pt x="27" y="59"/>
                  </a:lnTo>
                  <a:lnTo>
                    <a:pt x="30" y="56"/>
                  </a:lnTo>
                  <a:lnTo>
                    <a:pt x="26" y="50"/>
                  </a:lnTo>
                  <a:lnTo>
                    <a:pt x="19" y="52"/>
                  </a:lnTo>
                  <a:lnTo>
                    <a:pt x="19" y="53"/>
                  </a:lnTo>
                  <a:lnTo>
                    <a:pt x="14" y="35"/>
                  </a:lnTo>
                  <a:lnTo>
                    <a:pt x="17" y="34"/>
                  </a:lnTo>
                  <a:lnTo>
                    <a:pt x="25" y="34"/>
                  </a:lnTo>
                  <a:lnTo>
                    <a:pt x="32" y="38"/>
                  </a:lnTo>
                  <a:lnTo>
                    <a:pt x="36" y="37"/>
                  </a:lnTo>
                  <a:lnTo>
                    <a:pt x="37" y="35"/>
                  </a:lnTo>
                  <a:lnTo>
                    <a:pt x="39" y="30"/>
                  </a:lnTo>
                  <a:lnTo>
                    <a:pt x="25" y="14"/>
                  </a:lnTo>
                  <a:lnTo>
                    <a:pt x="12" y="13"/>
                  </a:lnTo>
                  <a:lnTo>
                    <a:pt x="13" y="28"/>
                  </a:lnTo>
                  <a:lnTo>
                    <a:pt x="13" y="30"/>
                  </a:lnTo>
                  <a:lnTo>
                    <a:pt x="3" y="11"/>
                  </a:lnTo>
                  <a:lnTo>
                    <a:pt x="5" y="2"/>
                  </a:lnTo>
                  <a:lnTo>
                    <a:pt x="0" y="0"/>
                  </a:lnTo>
                  <a:lnTo>
                    <a:pt x="25" y="0"/>
                  </a:lnTo>
                  <a:lnTo>
                    <a:pt x="24" y="12"/>
                  </a:lnTo>
                  <a:lnTo>
                    <a:pt x="41" y="17"/>
                  </a:lnTo>
                  <a:lnTo>
                    <a:pt x="57" y="23"/>
                  </a:lnTo>
                  <a:lnTo>
                    <a:pt x="78" y="26"/>
                  </a:lnTo>
                  <a:lnTo>
                    <a:pt x="74" y="17"/>
                  </a:lnTo>
                  <a:lnTo>
                    <a:pt x="81" y="13"/>
                  </a:lnTo>
                  <a:lnTo>
                    <a:pt x="93" y="0"/>
                  </a:lnTo>
                  <a:lnTo>
                    <a:pt x="113" y="13"/>
                  </a:lnTo>
                  <a:lnTo>
                    <a:pt x="125" y="31"/>
                  </a:lnTo>
                  <a:lnTo>
                    <a:pt x="144" y="38"/>
                  </a:lnTo>
                  <a:lnTo>
                    <a:pt x="157" y="46"/>
                  </a:lnTo>
                  <a:lnTo>
                    <a:pt x="182" y="61"/>
                  </a:lnTo>
                  <a:lnTo>
                    <a:pt x="207" y="77"/>
                  </a:lnTo>
                  <a:lnTo>
                    <a:pt x="217" y="95"/>
                  </a:lnTo>
                  <a:lnTo>
                    <a:pt x="211" y="100"/>
                  </a:lnTo>
                  <a:lnTo>
                    <a:pt x="206" y="10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5" name="Freeform 268">
              <a:extLst>
                <a:ext uri="{FF2B5EF4-FFF2-40B4-BE49-F238E27FC236}">
                  <a16:creationId xmlns:a16="http://schemas.microsoft.com/office/drawing/2014/main" id="{ABAF1CCF-7C59-433E-A10F-45F81BBC1453}"/>
                </a:ext>
              </a:extLst>
            </p:cNvPr>
            <p:cNvSpPr>
              <a:spLocks/>
            </p:cNvSpPr>
            <p:nvPr/>
          </p:nvSpPr>
          <p:spPr bwMode="auto">
            <a:xfrm>
              <a:off x="7170715" y="2515178"/>
              <a:ext cx="379872" cy="308030"/>
            </a:xfrm>
            <a:custGeom>
              <a:avLst/>
              <a:gdLst/>
              <a:ahLst/>
              <a:cxnLst>
                <a:cxn ang="0">
                  <a:pos x="1" y="71"/>
                </a:cxn>
                <a:cxn ang="0">
                  <a:pos x="0" y="73"/>
                </a:cxn>
                <a:cxn ang="0">
                  <a:pos x="0" y="83"/>
                </a:cxn>
                <a:cxn ang="0">
                  <a:pos x="6" y="88"/>
                </a:cxn>
                <a:cxn ang="0">
                  <a:pos x="4" y="91"/>
                </a:cxn>
                <a:cxn ang="0">
                  <a:pos x="8" y="106"/>
                </a:cxn>
                <a:cxn ang="0">
                  <a:pos x="10" y="121"/>
                </a:cxn>
                <a:cxn ang="0">
                  <a:pos x="26" y="126"/>
                </a:cxn>
                <a:cxn ang="0">
                  <a:pos x="28" y="133"/>
                </a:cxn>
                <a:cxn ang="0">
                  <a:pos x="18" y="154"/>
                </a:cxn>
                <a:cxn ang="0">
                  <a:pos x="31" y="157"/>
                </a:cxn>
                <a:cxn ang="0">
                  <a:pos x="43" y="162"/>
                </a:cxn>
                <a:cxn ang="0">
                  <a:pos x="67" y="161"/>
                </a:cxn>
                <a:cxn ang="0">
                  <a:pos x="84" y="157"/>
                </a:cxn>
                <a:cxn ang="0">
                  <a:pos x="99" y="154"/>
                </a:cxn>
                <a:cxn ang="0">
                  <a:pos x="99" y="146"/>
                </a:cxn>
                <a:cxn ang="0">
                  <a:pos x="102" y="132"/>
                </a:cxn>
                <a:cxn ang="0">
                  <a:pos x="116" y="126"/>
                </a:cxn>
                <a:cxn ang="0">
                  <a:pos x="121" y="121"/>
                </a:cxn>
                <a:cxn ang="0">
                  <a:pos x="135" y="121"/>
                </a:cxn>
                <a:cxn ang="0">
                  <a:pos x="136" y="102"/>
                </a:cxn>
                <a:cxn ang="0">
                  <a:pos x="148" y="91"/>
                </a:cxn>
                <a:cxn ang="0">
                  <a:pos x="140" y="82"/>
                </a:cxn>
                <a:cxn ang="0">
                  <a:pos x="153" y="80"/>
                </a:cxn>
                <a:cxn ang="0">
                  <a:pos x="156" y="72"/>
                </a:cxn>
                <a:cxn ang="0">
                  <a:pos x="160" y="59"/>
                </a:cxn>
                <a:cxn ang="0">
                  <a:pos x="152" y="44"/>
                </a:cxn>
                <a:cxn ang="0">
                  <a:pos x="159" y="34"/>
                </a:cxn>
                <a:cxn ang="0">
                  <a:pos x="177" y="29"/>
                </a:cxn>
                <a:cxn ang="0">
                  <a:pos x="195" y="25"/>
                </a:cxn>
                <a:cxn ang="0">
                  <a:pos x="195" y="22"/>
                </a:cxn>
                <a:cxn ang="0">
                  <a:pos x="199" y="22"/>
                </a:cxn>
                <a:cxn ang="0">
                  <a:pos x="200" y="22"/>
                </a:cxn>
                <a:cxn ang="0">
                  <a:pos x="187" y="20"/>
                </a:cxn>
                <a:cxn ang="0">
                  <a:pos x="182" y="19"/>
                </a:cxn>
                <a:cxn ang="0">
                  <a:pos x="170" y="20"/>
                </a:cxn>
                <a:cxn ang="0">
                  <a:pos x="152" y="30"/>
                </a:cxn>
                <a:cxn ang="0">
                  <a:pos x="146" y="8"/>
                </a:cxn>
                <a:cxn ang="0">
                  <a:pos x="142" y="8"/>
                </a:cxn>
                <a:cxn ang="0">
                  <a:pos x="138" y="0"/>
                </a:cxn>
                <a:cxn ang="0">
                  <a:pos x="130" y="4"/>
                </a:cxn>
                <a:cxn ang="0">
                  <a:pos x="128" y="14"/>
                </a:cxn>
                <a:cxn ang="0">
                  <a:pos x="117" y="19"/>
                </a:cxn>
                <a:cxn ang="0">
                  <a:pos x="114" y="23"/>
                </a:cxn>
                <a:cxn ang="0">
                  <a:pos x="104" y="23"/>
                </a:cxn>
                <a:cxn ang="0">
                  <a:pos x="96" y="24"/>
                </a:cxn>
                <a:cxn ang="0">
                  <a:pos x="91" y="22"/>
                </a:cxn>
                <a:cxn ang="0">
                  <a:pos x="76" y="19"/>
                </a:cxn>
                <a:cxn ang="0">
                  <a:pos x="62" y="17"/>
                </a:cxn>
                <a:cxn ang="0">
                  <a:pos x="56" y="22"/>
                </a:cxn>
                <a:cxn ang="0">
                  <a:pos x="51" y="26"/>
                </a:cxn>
                <a:cxn ang="0">
                  <a:pos x="45" y="41"/>
                </a:cxn>
                <a:cxn ang="0">
                  <a:pos x="32" y="48"/>
                </a:cxn>
                <a:cxn ang="0">
                  <a:pos x="27" y="56"/>
                </a:cxn>
                <a:cxn ang="0">
                  <a:pos x="19" y="55"/>
                </a:cxn>
                <a:cxn ang="0">
                  <a:pos x="4" y="50"/>
                </a:cxn>
                <a:cxn ang="0">
                  <a:pos x="1" y="71"/>
                </a:cxn>
              </a:cxnLst>
              <a:rect l="0" t="0" r="r" b="b"/>
              <a:pathLst>
                <a:path w="200" h="162">
                  <a:moveTo>
                    <a:pt x="1" y="71"/>
                  </a:moveTo>
                  <a:lnTo>
                    <a:pt x="0" y="73"/>
                  </a:lnTo>
                  <a:lnTo>
                    <a:pt x="0" y="83"/>
                  </a:lnTo>
                  <a:lnTo>
                    <a:pt x="6" y="88"/>
                  </a:lnTo>
                  <a:lnTo>
                    <a:pt x="4" y="91"/>
                  </a:lnTo>
                  <a:lnTo>
                    <a:pt x="8" y="106"/>
                  </a:lnTo>
                  <a:lnTo>
                    <a:pt x="10" y="121"/>
                  </a:lnTo>
                  <a:lnTo>
                    <a:pt x="26" y="126"/>
                  </a:lnTo>
                  <a:lnTo>
                    <a:pt x="28" y="133"/>
                  </a:lnTo>
                  <a:lnTo>
                    <a:pt x="18" y="154"/>
                  </a:lnTo>
                  <a:lnTo>
                    <a:pt x="31" y="157"/>
                  </a:lnTo>
                  <a:lnTo>
                    <a:pt x="43" y="162"/>
                  </a:lnTo>
                  <a:lnTo>
                    <a:pt x="67" y="161"/>
                  </a:lnTo>
                  <a:lnTo>
                    <a:pt x="84" y="157"/>
                  </a:lnTo>
                  <a:lnTo>
                    <a:pt x="99" y="154"/>
                  </a:lnTo>
                  <a:lnTo>
                    <a:pt x="99" y="146"/>
                  </a:lnTo>
                  <a:lnTo>
                    <a:pt x="102" y="132"/>
                  </a:lnTo>
                  <a:lnTo>
                    <a:pt x="116" y="126"/>
                  </a:lnTo>
                  <a:lnTo>
                    <a:pt x="121" y="121"/>
                  </a:lnTo>
                  <a:lnTo>
                    <a:pt x="135" y="121"/>
                  </a:lnTo>
                  <a:lnTo>
                    <a:pt x="136" y="102"/>
                  </a:lnTo>
                  <a:lnTo>
                    <a:pt x="148" y="91"/>
                  </a:lnTo>
                  <a:lnTo>
                    <a:pt x="140" y="82"/>
                  </a:lnTo>
                  <a:lnTo>
                    <a:pt x="153" y="80"/>
                  </a:lnTo>
                  <a:lnTo>
                    <a:pt x="156" y="72"/>
                  </a:lnTo>
                  <a:lnTo>
                    <a:pt x="160" y="59"/>
                  </a:lnTo>
                  <a:lnTo>
                    <a:pt x="152" y="44"/>
                  </a:lnTo>
                  <a:lnTo>
                    <a:pt x="159" y="34"/>
                  </a:lnTo>
                  <a:lnTo>
                    <a:pt x="177" y="29"/>
                  </a:lnTo>
                  <a:lnTo>
                    <a:pt x="195" y="25"/>
                  </a:lnTo>
                  <a:lnTo>
                    <a:pt x="195" y="22"/>
                  </a:lnTo>
                  <a:lnTo>
                    <a:pt x="199" y="22"/>
                  </a:lnTo>
                  <a:lnTo>
                    <a:pt x="200" y="22"/>
                  </a:lnTo>
                  <a:lnTo>
                    <a:pt x="187" y="20"/>
                  </a:lnTo>
                  <a:lnTo>
                    <a:pt x="182" y="19"/>
                  </a:lnTo>
                  <a:lnTo>
                    <a:pt x="170" y="20"/>
                  </a:lnTo>
                  <a:lnTo>
                    <a:pt x="152" y="30"/>
                  </a:lnTo>
                  <a:lnTo>
                    <a:pt x="146" y="8"/>
                  </a:lnTo>
                  <a:lnTo>
                    <a:pt x="142" y="8"/>
                  </a:lnTo>
                  <a:lnTo>
                    <a:pt x="138" y="0"/>
                  </a:lnTo>
                  <a:lnTo>
                    <a:pt x="130" y="4"/>
                  </a:lnTo>
                  <a:lnTo>
                    <a:pt x="128" y="14"/>
                  </a:lnTo>
                  <a:lnTo>
                    <a:pt x="117" y="19"/>
                  </a:lnTo>
                  <a:lnTo>
                    <a:pt x="114" y="23"/>
                  </a:lnTo>
                  <a:lnTo>
                    <a:pt x="104" y="23"/>
                  </a:lnTo>
                  <a:lnTo>
                    <a:pt x="96" y="24"/>
                  </a:lnTo>
                  <a:lnTo>
                    <a:pt x="91" y="22"/>
                  </a:lnTo>
                  <a:lnTo>
                    <a:pt x="76" y="19"/>
                  </a:lnTo>
                  <a:lnTo>
                    <a:pt x="62" y="17"/>
                  </a:lnTo>
                  <a:lnTo>
                    <a:pt x="56" y="22"/>
                  </a:lnTo>
                  <a:lnTo>
                    <a:pt x="51" y="26"/>
                  </a:lnTo>
                  <a:lnTo>
                    <a:pt x="45" y="41"/>
                  </a:lnTo>
                  <a:lnTo>
                    <a:pt x="32" y="48"/>
                  </a:lnTo>
                  <a:lnTo>
                    <a:pt x="27" y="56"/>
                  </a:lnTo>
                  <a:lnTo>
                    <a:pt x="19" y="55"/>
                  </a:lnTo>
                  <a:lnTo>
                    <a:pt x="4" y="50"/>
                  </a:lnTo>
                  <a:lnTo>
                    <a:pt x="1" y="7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7" name="Line 270">
              <a:extLst>
                <a:ext uri="{FF2B5EF4-FFF2-40B4-BE49-F238E27FC236}">
                  <a16:creationId xmlns:a16="http://schemas.microsoft.com/office/drawing/2014/main" id="{89469B35-6062-4B2E-B62B-F2D7079F46A1}"/>
                </a:ext>
              </a:extLst>
            </p:cNvPr>
            <p:cNvSpPr>
              <a:spLocks noChangeShapeType="1"/>
            </p:cNvSpPr>
            <p:nvPr/>
          </p:nvSpPr>
          <p:spPr bwMode="auto">
            <a:xfrm>
              <a:off x="7531764" y="2563094"/>
              <a:ext cx="3422" cy="8556"/>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08" name="Line 271">
              <a:extLst>
                <a:ext uri="{FF2B5EF4-FFF2-40B4-BE49-F238E27FC236}">
                  <a16:creationId xmlns:a16="http://schemas.microsoft.com/office/drawing/2014/main" id="{6F2D9774-0930-4C41-BDD1-33E3B9843DB2}"/>
                </a:ext>
              </a:extLst>
            </p:cNvPr>
            <p:cNvSpPr>
              <a:spLocks noChangeShapeType="1"/>
            </p:cNvSpPr>
            <p:nvPr/>
          </p:nvSpPr>
          <p:spPr bwMode="auto">
            <a:xfrm>
              <a:off x="7535186" y="2568228"/>
              <a:ext cx="5133"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09" name="Line 272">
              <a:extLst>
                <a:ext uri="{FF2B5EF4-FFF2-40B4-BE49-F238E27FC236}">
                  <a16:creationId xmlns:a16="http://schemas.microsoft.com/office/drawing/2014/main" id="{D0CE3C8A-5159-4BB5-B13B-E6B98B6FCD29}"/>
                </a:ext>
              </a:extLst>
            </p:cNvPr>
            <p:cNvSpPr>
              <a:spLocks noChangeShapeType="1"/>
            </p:cNvSpPr>
            <p:nvPr/>
          </p:nvSpPr>
          <p:spPr bwMode="auto">
            <a:xfrm flipH="1">
              <a:off x="7524919" y="2575073"/>
              <a:ext cx="10267"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0" name="Line 273">
              <a:extLst>
                <a:ext uri="{FF2B5EF4-FFF2-40B4-BE49-F238E27FC236}">
                  <a16:creationId xmlns:a16="http://schemas.microsoft.com/office/drawing/2014/main" id="{11AC410C-C7BD-4475-A786-60537B44FA3E}"/>
                </a:ext>
              </a:extLst>
            </p:cNvPr>
            <p:cNvSpPr>
              <a:spLocks noChangeShapeType="1"/>
            </p:cNvSpPr>
            <p:nvPr/>
          </p:nvSpPr>
          <p:spPr bwMode="auto">
            <a:xfrm flipH="1">
              <a:off x="7521497" y="2578496"/>
              <a:ext cx="6845" cy="8556"/>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1" name="Line 274">
              <a:extLst>
                <a:ext uri="{FF2B5EF4-FFF2-40B4-BE49-F238E27FC236}">
                  <a16:creationId xmlns:a16="http://schemas.microsoft.com/office/drawing/2014/main" id="{D5B9F724-8365-4D2D-98CF-9516590401BF}"/>
                </a:ext>
              </a:extLst>
            </p:cNvPr>
            <p:cNvSpPr>
              <a:spLocks noChangeShapeType="1"/>
            </p:cNvSpPr>
            <p:nvPr/>
          </p:nvSpPr>
          <p:spPr bwMode="auto">
            <a:xfrm flipH="1">
              <a:off x="7512941" y="2587052"/>
              <a:ext cx="8556"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2" name="Line 275">
              <a:extLst>
                <a:ext uri="{FF2B5EF4-FFF2-40B4-BE49-F238E27FC236}">
                  <a16:creationId xmlns:a16="http://schemas.microsoft.com/office/drawing/2014/main" id="{D8AD7302-C6FC-4619-B70F-E7A8C4597321}"/>
                </a:ext>
              </a:extLst>
            </p:cNvPr>
            <p:cNvSpPr>
              <a:spLocks noChangeShapeType="1"/>
            </p:cNvSpPr>
            <p:nvPr/>
          </p:nvSpPr>
          <p:spPr bwMode="auto">
            <a:xfrm flipH="1">
              <a:off x="7509519" y="2587052"/>
              <a:ext cx="3422" cy="10268"/>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3" name="Line 276">
              <a:extLst>
                <a:ext uri="{FF2B5EF4-FFF2-40B4-BE49-F238E27FC236}">
                  <a16:creationId xmlns:a16="http://schemas.microsoft.com/office/drawing/2014/main" id="{23765239-3AA4-48CB-91D3-8FF4C4F3E59D}"/>
                </a:ext>
              </a:extLst>
            </p:cNvPr>
            <p:cNvSpPr>
              <a:spLocks noChangeShapeType="1"/>
            </p:cNvSpPr>
            <p:nvPr/>
          </p:nvSpPr>
          <p:spPr bwMode="auto">
            <a:xfrm>
              <a:off x="7509519" y="2593897"/>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4" name="Line 277">
              <a:extLst>
                <a:ext uri="{FF2B5EF4-FFF2-40B4-BE49-F238E27FC236}">
                  <a16:creationId xmlns:a16="http://schemas.microsoft.com/office/drawing/2014/main" id="{68E3B07B-CFD3-4682-BAB7-1CC693B0AE32}"/>
                </a:ext>
              </a:extLst>
            </p:cNvPr>
            <p:cNvSpPr>
              <a:spLocks noChangeShapeType="1"/>
            </p:cNvSpPr>
            <p:nvPr/>
          </p:nvSpPr>
          <p:spPr bwMode="auto">
            <a:xfrm>
              <a:off x="7509519" y="2602453"/>
              <a:ext cx="3422" cy="15402"/>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5" name="Line 278">
              <a:extLst>
                <a:ext uri="{FF2B5EF4-FFF2-40B4-BE49-F238E27FC236}">
                  <a16:creationId xmlns:a16="http://schemas.microsoft.com/office/drawing/2014/main" id="{02B398D5-9CE8-4A24-BB82-94F0627125A6}"/>
                </a:ext>
              </a:extLst>
            </p:cNvPr>
            <p:cNvSpPr>
              <a:spLocks noChangeShapeType="1"/>
            </p:cNvSpPr>
            <p:nvPr/>
          </p:nvSpPr>
          <p:spPr bwMode="auto">
            <a:xfrm>
              <a:off x="7512941" y="2612721"/>
              <a:ext cx="8556"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6" name="Line 279">
              <a:extLst>
                <a:ext uri="{FF2B5EF4-FFF2-40B4-BE49-F238E27FC236}">
                  <a16:creationId xmlns:a16="http://schemas.microsoft.com/office/drawing/2014/main" id="{69EC119A-8FDD-4D91-A325-8EE8EE7A2B10}"/>
                </a:ext>
              </a:extLst>
            </p:cNvPr>
            <p:cNvSpPr>
              <a:spLocks noChangeShapeType="1"/>
            </p:cNvSpPr>
            <p:nvPr/>
          </p:nvSpPr>
          <p:spPr bwMode="auto">
            <a:xfrm>
              <a:off x="7516364" y="2621278"/>
              <a:ext cx="5133"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7" name="Line 280">
              <a:extLst>
                <a:ext uri="{FF2B5EF4-FFF2-40B4-BE49-F238E27FC236}">
                  <a16:creationId xmlns:a16="http://schemas.microsoft.com/office/drawing/2014/main" id="{918C7EFE-6B48-429B-8012-E7E1B309F275}"/>
                </a:ext>
              </a:extLst>
            </p:cNvPr>
            <p:cNvSpPr>
              <a:spLocks noChangeShapeType="1"/>
            </p:cNvSpPr>
            <p:nvPr/>
          </p:nvSpPr>
          <p:spPr bwMode="auto">
            <a:xfrm>
              <a:off x="7535186" y="2665771"/>
              <a:ext cx="5133" cy="513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8" name="Line 281">
              <a:extLst>
                <a:ext uri="{FF2B5EF4-FFF2-40B4-BE49-F238E27FC236}">
                  <a16:creationId xmlns:a16="http://schemas.microsoft.com/office/drawing/2014/main" id="{DD0CC789-5771-465B-8A8C-001B64149C68}"/>
                </a:ext>
              </a:extLst>
            </p:cNvPr>
            <p:cNvSpPr>
              <a:spLocks noChangeShapeType="1"/>
            </p:cNvSpPr>
            <p:nvPr/>
          </p:nvSpPr>
          <p:spPr bwMode="auto">
            <a:xfrm>
              <a:off x="7535186" y="2665771"/>
              <a:ext cx="15400"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19" name="Line 282">
              <a:extLst>
                <a:ext uri="{FF2B5EF4-FFF2-40B4-BE49-F238E27FC236}">
                  <a16:creationId xmlns:a16="http://schemas.microsoft.com/office/drawing/2014/main" id="{34EAE656-856B-4403-8259-C67CE7DEA32F}"/>
                </a:ext>
              </a:extLst>
            </p:cNvPr>
            <p:cNvSpPr>
              <a:spLocks noChangeShapeType="1"/>
            </p:cNvSpPr>
            <p:nvPr/>
          </p:nvSpPr>
          <p:spPr bwMode="auto">
            <a:xfrm>
              <a:off x="7547164" y="2674327"/>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0" name="Line 283">
              <a:extLst>
                <a:ext uri="{FF2B5EF4-FFF2-40B4-BE49-F238E27FC236}">
                  <a16:creationId xmlns:a16="http://schemas.microsoft.com/office/drawing/2014/main" id="{0D79A64D-4AC0-468D-89B4-2D44DD978B7E}"/>
                </a:ext>
              </a:extLst>
            </p:cNvPr>
            <p:cNvSpPr>
              <a:spLocks noChangeShapeType="1"/>
            </p:cNvSpPr>
            <p:nvPr/>
          </p:nvSpPr>
          <p:spPr bwMode="auto">
            <a:xfrm>
              <a:off x="7547164" y="2681172"/>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1" name="Line 284">
              <a:extLst>
                <a:ext uri="{FF2B5EF4-FFF2-40B4-BE49-F238E27FC236}">
                  <a16:creationId xmlns:a16="http://schemas.microsoft.com/office/drawing/2014/main" id="{D2432A5F-367D-4482-9E67-B1CD5F1BF9D2}"/>
                </a:ext>
              </a:extLst>
            </p:cNvPr>
            <p:cNvSpPr>
              <a:spLocks noChangeShapeType="1"/>
            </p:cNvSpPr>
            <p:nvPr/>
          </p:nvSpPr>
          <p:spPr bwMode="auto">
            <a:xfrm>
              <a:off x="7550586" y="2693151"/>
              <a:ext cx="11978"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2" name="Line 285">
              <a:extLst>
                <a:ext uri="{FF2B5EF4-FFF2-40B4-BE49-F238E27FC236}">
                  <a16:creationId xmlns:a16="http://schemas.microsoft.com/office/drawing/2014/main" id="{00C4B84F-139C-4158-8F9E-7A983017139B}"/>
                </a:ext>
              </a:extLst>
            </p:cNvPr>
            <p:cNvSpPr>
              <a:spLocks noChangeShapeType="1"/>
            </p:cNvSpPr>
            <p:nvPr/>
          </p:nvSpPr>
          <p:spPr bwMode="auto">
            <a:xfrm>
              <a:off x="7559142" y="2696574"/>
              <a:ext cx="10267"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3" name="Line 286">
              <a:extLst>
                <a:ext uri="{FF2B5EF4-FFF2-40B4-BE49-F238E27FC236}">
                  <a16:creationId xmlns:a16="http://schemas.microsoft.com/office/drawing/2014/main" id="{E2CA9CFF-66B2-4E21-BEB4-CCDF6134F804}"/>
                </a:ext>
              </a:extLst>
            </p:cNvPr>
            <p:cNvSpPr>
              <a:spLocks noChangeShapeType="1"/>
            </p:cNvSpPr>
            <p:nvPr/>
          </p:nvSpPr>
          <p:spPr bwMode="auto">
            <a:xfrm flipV="1">
              <a:off x="7699455" y="2655503"/>
              <a:ext cx="15400" cy="10268"/>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4" name="Line 287">
              <a:extLst>
                <a:ext uri="{FF2B5EF4-FFF2-40B4-BE49-F238E27FC236}">
                  <a16:creationId xmlns:a16="http://schemas.microsoft.com/office/drawing/2014/main" id="{B003FE28-6C01-4C8B-8B6B-726E3673F18D}"/>
                </a:ext>
              </a:extLst>
            </p:cNvPr>
            <p:cNvSpPr>
              <a:spLocks noChangeShapeType="1"/>
            </p:cNvSpPr>
            <p:nvPr/>
          </p:nvSpPr>
          <p:spPr bwMode="auto">
            <a:xfrm flipV="1">
              <a:off x="7711433" y="2640102"/>
              <a:ext cx="3422" cy="1882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5" name="Line 288">
              <a:extLst>
                <a:ext uri="{FF2B5EF4-FFF2-40B4-BE49-F238E27FC236}">
                  <a16:creationId xmlns:a16="http://schemas.microsoft.com/office/drawing/2014/main" id="{2E0C087B-E86B-4316-922A-2BB826F8C2C6}"/>
                </a:ext>
              </a:extLst>
            </p:cNvPr>
            <p:cNvSpPr>
              <a:spLocks noChangeShapeType="1"/>
            </p:cNvSpPr>
            <p:nvPr/>
          </p:nvSpPr>
          <p:spPr bwMode="auto">
            <a:xfrm flipV="1">
              <a:off x="7714855" y="2612721"/>
              <a:ext cx="3422" cy="3080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6" name="Line 289">
              <a:extLst>
                <a:ext uri="{FF2B5EF4-FFF2-40B4-BE49-F238E27FC236}">
                  <a16:creationId xmlns:a16="http://schemas.microsoft.com/office/drawing/2014/main" id="{FA1B0D18-0F9C-4576-A4C2-200B02ACC48C}"/>
                </a:ext>
              </a:extLst>
            </p:cNvPr>
            <p:cNvSpPr>
              <a:spLocks noChangeShapeType="1"/>
            </p:cNvSpPr>
            <p:nvPr/>
          </p:nvSpPr>
          <p:spPr bwMode="auto">
            <a:xfrm flipH="1" flipV="1">
              <a:off x="7696033" y="2605876"/>
              <a:ext cx="22245"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7" name="Line 290">
              <a:extLst>
                <a:ext uri="{FF2B5EF4-FFF2-40B4-BE49-F238E27FC236}">
                  <a16:creationId xmlns:a16="http://schemas.microsoft.com/office/drawing/2014/main" id="{E247448E-AAD8-4F3D-B1FF-A1BA5B29FCDF}"/>
                </a:ext>
              </a:extLst>
            </p:cNvPr>
            <p:cNvSpPr>
              <a:spLocks noChangeShapeType="1"/>
            </p:cNvSpPr>
            <p:nvPr/>
          </p:nvSpPr>
          <p:spPr bwMode="auto">
            <a:xfrm flipH="1" flipV="1">
              <a:off x="7692611" y="2602453"/>
              <a:ext cx="3422"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8" name="Line 291">
              <a:extLst>
                <a:ext uri="{FF2B5EF4-FFF2-40B4-BE49-F238E27FC236}">
                  <a16:creationId xmlns:a16="http://schemas.microsoft.com/office/drawing/2014/main" id="{6E105B21-4C2A-4400-BC25-B1F0426E2F98}"/>
                </a:ext>
              </a:extLst>
            </p:cNvPr>
            <p:cNvSpPr>
              <a:spLocks noChangeShapeType="1"/>
            </p:cNvSpPr>
            <p:nvPr/>
          </p:nvSpPr>
          <p:spPr bwMode="auto">
            <a:xfrm flipH="1">
              <a:off x="7646410" y="2612721"/>
              <a:ext cx="3422" cy="513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429" name="Freeform 292">
              <a:extLst>
                <a:ext uri="{FF2B5EF4-FFF2-40B4-BE49-F238E27FC236}">
                  <a16:creationId xmlns:a16="http://schemas.microsoft.com/office/drawing/2014/main" id="{AD87B6F3-7F2C-4450-BCAD-5C2A31D6A247}"/>
                </a:ext>
              </a:extLst>
            </p:cNvPr>
            <p:cNvSpPr>
              <a:spLocks/>
            </p:cNvSpPr>
            <p:nvPr/>
          </p:nvSpPr>
          <p:spPr bwMode="auto">
            <a:xfrm>
              <a:off x="6448616" y="2643524"/>
              <a:ext cx="34223" cy="53050"/>
            </a:xfrm>
            <a:custGeom>
              <a:avLst/>
              <a:gdLst/>
              <a:ahLst/>
              <a:cxnLst>
                <a:cxn ang="0">
                  <a:pos x="17" y="16"/>
                </a:cxn>
                <a:cxn ang="0">
                  <a:pos x="7" y="25"/>
                </a:cxn>
                <a:cxn ang="0">
                  <a:pos x="0" y="29"/>
                </a:cxn>
                <a:cxn ang="0">
                  <a:pos x="5" y="15"/>
                </a:cxn>
                <a:cxn ang="0">
                  <a:pos x="10" y="0"/>
                </a:cxn>
                <a:cxn ang="0">
                  <a:pos x="19" y="5"/>
                </a:cxn>
                <a:cxn ang="0">
                  <a:pos x="17" y="16"/>
                </a:cxn>
              </a:cxnLst>
              <a:rect l="0" t="0" r="r" b="b"/>
              <a:pathLst>
                <a:path w="19" h="29">
                  <a:moveTo>
                    <a:pt x="17" y="16"/>
                  </a:moveTo>
                  <a:lnTo>
                    <a:pt x="7" y="25"/>
                  </a:lnTo>
                  <a:lnTo>
                    <a:pt x="0" y="29"/>
                  </a:lnTo>
                  <a:lnTo>
                    <a:pt x="5" y="15"/>
                  </a:lnTo>
                  <a:lnTo>
                    <a:pt x="10" y="0"/>
                  </a:lnTo>
                  <a:lnTo>
                    <a:pt x="19" y="5"/>
                  </a:lnTo>
                  <a:lnTo>
                    <a:pt x="17" y="1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0" name="Freeform 293">
              <a:extLst>
                <a:ext uri="{FF2B5EF4-FFF2-40B4-BE49-F238E27FC236}">
                  <a16:creationId xmlns:a16="http://schemas.microsoft.com/office/drawing/2014/main" id="{EF83C54D-E4E7-43C2-9AB3-F6CFE4381B66}"/>
                </a:ext>
              </a:extLst>
            </p:cNvPr>
            <p:cNvSpPr>
              <a:spLocks/>
            </p:cNvSpPr>
            <p:nvPr/>
          </p:nvSpPr>
          <p:spPr bwMode="auto">
            <a:xfrm>
              <a:off x="6460594" y="2556249"/>
              <a:ext cx="174536" cy="167705"/>
            </a:xfrm>
            <a:custGeom>
              <a:avLst/>
              <a:gdLst/>
              <a:ahLst/>
              <a:cxnLst>
                <a:cxn ang="0">
                  <a:pos x="59" y="6"/>
                </a:cxn>
                <a:cxn ang="0">
                  <a:pos x="36" y="6"/>
                </a:cxn>
                <a:cxn ang="0">
                  <a:pos x="13" y="7"/>
                </a:cxn>
                <a:cxn ang="0">
                  <a:pos x="9" y="9"/>
                </a:cxn>
                <a:cxn ang="0">
                  <a:pos x="7" y="17"/>
                </a:cxn>
                <a:cxn ang="0">
                  <a:pos x="1" y="23"/>
                </a:cxn>
                <a:cxn ang="0">
                  <a:pos x="0" y="21"/>
                </a:cxn>
                <a:cxn ang="0">
                  <a:pos x="4" y="44"/>
                </a:cxn>
                <a:cxn ang="0">
                  <a:pos x="13" y="49"/>
                </a:cxn>
                <a:cxn ang="0">
                  <a:pos x="11" y="60"/>
                </a:cxn>
                <a:cxn ang="0">
                  <a:pos x="1" y="69"/>
                </a:cxn>
                <a:cxn ang="0">
                  <a:pos x="3" y="79"/>
                </a:cxn>
                <a:cxn ang="0">
                  <a:pos x="22" y="86"/>
                </a:cxn>
                <a:cxn ang="0">
                  <a:pos x="35" y="77"/>
                </a:cxn>
                <a:cxn ang="0">
                  <a:pos x="49" y="67"/>
                </a:cxn>
                <a:cxn ang="0">
                  <a:pos x="64" y="59"/>
                </a:cxn>
                <a:cxn ang="0">
                  <a:pos x="79" y="49"/>
                </a:cxn>
                <a:cxn ang="0">
                  <a:pos x="79" y="31"/>
                </a:cxn>
                <a:cxn ang="0">
                  <a:pos x="79" y="14"/>
                </a:cxn>
                <a:cxn ang="0">
                  <a:pos x="93" y="1"/>
                </a:cxn>
                <a:cxn ang="0">
                  <a:pos x="88" y="0"/>
                </a:cxn>
                <a:cxn ang="0">
                  <a:pos x="73" y="2"/>
                </a:cxn>
                <a:cxn ang="0">
                  <a:pos x="59" y="6"/>
                </a:cxn>
              </a:cxnLst>
              <a:rect l="0" t="0" r="r" b="b"/>
              <a:pathLst>
                <a:path w="93" h="86">
                  <a:moveTo>
                    <a:pt x="59" y="6"/>
                  </a:moveTo>
                  <a:lnTo>
                    <a:pt x="36" y="6"/>
                  </a:lnTo>
                  <a:lnTo>
                    <a:pt x="13" y="7"/>
                  </a:lnTo>
                  <a:lnTo>
                    <a:pt x="9" y="9"/>
                  </a:lnTo>
                  <a:lnTo>
                    <a:pt x="7" y="17"/>
                  </a:lnTo>
                  <a:lnTo>
                    <a:pt x="1" y="23"/>
                  </a:lnTo>
                  <a:lnTo>
                    <a:pt x="0" y="21"/>
                  </a:lnTo>
                  <a:lnTo>
                    <a:pt x="4" y="44"/>
                  </a:lnTo>
                  <a:lnTo>
                    <a:pt x="13" y="49"/>
                  </a:lnTo>
                  <a:lnTo>
                    <a:pt x="11" y="60"/>
                  </a:lnTo>
                  <a:lnTo>
                    <a:pt x="1" y="69"/>
                  </a:lnTo>
                  <a:lnTo>
                    <a:pt x="3" y="79"/>
                  </a:lnTo>
                  <a:lnTo>
                    <a:pt x="22" y="86"/>
                  </a:lnTo>
                  <a:lnTo>
                    <a:pt x="35" y="77"/>
                  </a:lnTo>
                  <a:lnTo>
                    <a:pt x="49" y="67"/>
                  </a:lnTo>
                  <a:lnTo>
                    <a:pt x="64" y="59"/>
                  </a:lnTo>
                  <a:lnTo>
                    <a:pt x="79" y="49"/>
                  </a:lnTo>
                  <a:lnTo>
                    <a:pt x="79" y="31"/>
                  </a:lnTo>
                  <a:lnTo>
                    <a:pt x="79" y="14"/>
                  </a:lnTo>
                  <a:lnTo>
                    <a:pt x="93" y="1"/>
                  </a:lnTo>
                  <a:lnTo>
                    <a:pt x="88" y="0"/>
                  </a:lnTo>
                  <a:lnTo>
                    <a:pt x="73" y="2"/>
                  </a:lnTo>
                  <a:lnTo>
                    <a:pt x="59"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1" name="Freeform 294">
              <a:extLst>
                <a:ext uri="{FF2B5EF4-FFF2-40B4-BE49-F238E27FC236}">
                  <a16:creationId xmlns:a16="http://schemas.microsoft.com/office/drawing/2014/main" id="{6AC3CF25-0B7B-4B07-9A7C-34048910A6C6}"/>
                </a:ext>
              </a:extLst>
            </p:cNvPr>
            <p:cNvSpPr>
              <a:spLocks/>
            </p:cNvSpPr>
            <p:nvPr/>
          </p:nvSpPr>
          <p:spPr bwMode="auto">
            <a:xfrm>
              <a:off x="7319583" y="2403945"/>
              <a:ext cx="236136" cy="167705"/>
            </a:xfrm>
            <a:custGeom>
              <a:avLst/>
              <a:gdLst/>
              <a:ahLst/>
              <a:cxnLst>
                <a:cxn ang="0">
                  <a:pos x="104" y="78"/>
                </a:cxn>
                <a:cxn ang="0">
                  <a:pos x="92" y="79"/>
                </a:cxn>
                <a:cxn ang="0">
                  <a:pos x="74" y="89"/>
                </a:cxn>
                <a:cxn ang="0">
                  <a:pos x="68" y="67"/>
                </a:cxn>
                <a:cxn ang="0">
                  <a:pos x="64" y="67"/>
                </a:cxn>
                <a:cxn ang="0">
                  <a:pos x="60" y="59"/>
                </a:cxn>
                <a:cxn ang="0">
                  <a:pos x="52" y="63"/>
                </a:cxn>
                <a:cxn ang="0">
                  <a:pos x="50" y="73"/>
                </a:cxn>
                <a:cxn ang="0">
                  <a:pos x="39" y="78"/>
                </a:cxn>
                <a:cxn ang="0">
                  <a:pos x="36" y="82"/>
                </a:cxn>
                <a:cxn ang="0">
                  <a:pos x="26" y="82"/>
                </a:cxn>
                <a:cxn ang="0">
                  <a:pos x="18" y="83"/>
                </a:cxn>
                <a:cxn ang="0">
                  <a:pos x="13" y="81"/>
                </a:cxn>
                <a:cxn ang="0">
                  <a:pos x="16" y="69"/>
                </a:cxn>
                <a:cxn ang="0">
                  <a:pos x="20" y="57"/>
                </a:cxn>
                <a:cxn ang="0">
                  <a:pos x="16" y="51"/>
                </a:cxn>
                <a:cxn ang="0">
                  <a:pos x="6" y="45"/>
                </a:cxn>
                <a:cxn ang="0">
                  <a:pos x="0" y="37"/>
                </a:cxn>
                <a:cxn ang="0">
                  <a:pos x="14" y="23"/>
                </a:cxn>
                <a:cxn ang="0">
                  <a:pos x="30" y="10"/>
                </a:cxn>
                <a:cxn ang="0">
                  <a:pos x="40" y="0"/>
                </a:cxn>
                <a:cxn ang="0">
                  <a:pos x="61" y="3"/>
                </a:cxn>
                <a:cxn ang="0">
                  <a:pos x="76" y="12"/>
                </a:cxn>
                <a:cxn ang="0">
                  <a:pos x="58" y="18"/>
                </a:cxn>
                <a:cxn ang="0">
                  <a:pos x="40" y="24"/>
                </a:cxn>
                <a:cxn ang="0">
                  <a:pos x="42" y="36"/>
                </a:cxn>
                <a:cxn ang="0">
                  <a:pos x="67" y="40"/>
                </a:cxn>
                <a:cxn ang="0">
                  <a:pos x="92" y="42"/>
                </a:cxn>
                <a:cxn ang="0">
                  <a:pos x="100" y="57"/>
                </a:cxn>
                <a:cxn ang="0">
                  <a:pos x="115" y="58"/>
                </a:cxn>
                <a:cxn ang="0">
                  <a:pos x="123" y="79"/>
                </a:cxn>
                <a:cxn ang="0">
                  <a:pos x="122" y="81"/>
                </a:cxn>
                <a:cxn ang="0">
                  <a:pos x="109" y="79"/>
                </a:cxn>
                <a:cxn ang="0">
                  <a:pos x="104" y="78"/>
                </a:cxn>
              </a:cxnLst>
              <a:rect l="0" t="0" r="r" b="b"/>
              <a:pathLst>
                <a:path w="123" h="89">
                  <a:moveTo>
                    <a:pt x="104" y="78"/>
                  </a:moveTo>
                  <a:lnTo>
                    <a:pt x="92" y="79"/>
                  </a:lnTo>
                  <a:lnTo>
                    <a:pt x="74" y="89"/>
                  </a:lnTo>
                  <a:lnTo>
                    <a:pt x="68" y="67"/>
                  </a:lnTo>
                  <a:lnTo>
                    <a:pt x="64" y="67"/>
                  </a:lnTo>
                  <a:lnTo>
                    <a:pt x="60" y="59"/>
                  </a:lnTo>
                  <a:lnTo>
                    <a:pt x="52" y="63"/>
                  </a:lnTo>
                  <a:lnTo>
                    <a:pt x="50" y="73"/>
                  </a:lnTo>
                  <a:lnTo>
                    <a:pt x="39" y="78"/>
                  </a:lnTo>
                  <a:lnTo>
                    <a:pt x="36" y="82"/>
                  </a:lnTo>
                  <a:lnTo>
                    <a:pt x="26" y="82"/>
                  </a:lnTo>
                  <a:lnTo>
                    <a:pt x="18" y="83"/>
                  </a:lnTo>
                  <a:lnTo>
                    <a:pt x="13" y="81"/>
                  </a:lnTo>
                  <a:lnTo>
                    <a:pt x="16" y="69"/>
                  </a:lnTo>
                  <a:lnTo>
                    <a:pt x="20" y="57"/>
                  </a:lnTo>
                  <a:lnTo>
                    <a:pt x="16" y="51"/>
                  </a:lnTo>
                  <a:lnTo>
                    <a:pt x="6" y="45"/>
                  </a:lnTo>
                  <a:lnTo>
                    <a:pt x="0" y="37"/>
                  </a:lnTo>
                  <a:lnTo>
                    <a:pt x="14" y="23"/>
                  </a:lnTo>
                  <a:lnTo>
                    <a:pt x="30" y="10"/>
                  </a:lnTo>
                  <a:lnTo>
                    <a:pt x="40" y="0"/>
                  </a:lnTo>
                  <a:lnTo>
                    <a:pt x="61" y="3"/>
                  </a:lnTo>
                  <a:lnTo>
                    <a:pt x="76" y="12"/>
                  </a:lnTo>
                  <a:lnTo>
                    <a:pt x="58" y="18"/>
                  </a:lnTo>
                  <a:lnTo>
                    <a:pt x="40" y="24"/>
                  </a:lnTo>
                  <a:lnTo>
                    <a:pt x="42" y="36"/>
                  </a:lnTo>
                  <a:lnTo>
                    <a:pt x="67" y="40"/>
                  </a:lnTo>
                  <a:lnTo>
                    <a:pt x="92" y="42"/>
                  </a:lnTo>
                  <a:lnTo>
                    <a:pt x="100" y="57"/>
                  </a:lnTo>
                  <a:lnTo>
                    <a:pt x="115" y="58"/>
                  </a:lnTo>
                  <a:lnTo>
                    <a:pt x="123" y="79"/>
                  </a:lnTo>
                  <a:lnTo>
                    <a:pt x="122" y="81"/>
                  </a:lnTo>
                  <a:lnTo>
                    <a:pt x="109" y="79"/>
                  </a:lnTo>
                  <a:lnTo>
                    <a:pt x="104" y="7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2" name="Freeform 295">
              <a:extLst>
                <a:ext uri="{FF2B5EF4-FFF2-40B4-BE49-F238E27FC236}">
                  <a16:creationId xmlns:a16="http://schemas.microsoft.com/office/drawing/2014/main" id="{CB7EB53D-6BC9-4F73-AC89-D72EBAE35A6E}"/>
                </a:ext>
              </a:extLst>
            </p:cNvPr>
            <p:cNvSpPr>
              <a:spLocks/>
            </p:cNvSpPr>
            <p:nvPr/>
          </p:nvSpPr>
          <p:spPr bwMode="auto">
            <a:xfrm>
              <a:off x="6953401" y="2260198"/>
              <a:ext cx="441473" cy="296051"/>
            </a:xfrm>
            <a:custGeom>
              <a:avLst/>
              <a:gdLst/>
              <a:ahLst/>
              <a:cxnLst>
                <a:cxn ang="0">
                  <a:pos x="165" y="132"/>
                </a:cxn>
                <a:cxn ang="0">
                  <a:pos x="140" y="116"/>
                </a:cxn>
                <a:cxn ang="0">
                  <a:pos x="115" y="101"/>
                </a:cxn>
                <a:cxn ang="0">
                  <a:pos x="102" y="93"/>
                </a:cxn>
                <a:cxn ang="0">
                  <a:pos x="83" y="86"/>
                </a:cxn>
                <a:cxn ang="0">
                  <a:pos x="71" y="68"/>
                </a:cxn>
                <a:cxn ang="0">
                  <a:pos x="51" y="55"/>
                </a:cxn>
                <a:cxn ang="0">
                  <a:pos x="39" y="68"/>
                </a:cxn>
                <a:cxn ang="0">
                  <a:pos x="32" y="72"/>
                </a:cxn>
                <a:cxn ang="0">
                  <a:pos x="36" y="81"/>
                </a:cxn>
                <a:cxn ang="0">
                  <a:pos x="15" y="78"/>
                </a:cxn>
                <a:cxn ang="0">
                  <a:pos x="12" y="61"/>
                </a:cxn>
                <a:cxn ang="0">
                  <a:pos x="7" y="45"/>
                </a:cxn>
                <a:cxn ang="0">
                  <a:pos x="3" y="30"/>
                </a:cxn>
                <a:cxn ang="0">
                  <a:pos x="0" y="13"/>
                </a:cxn>
                <a:cxn ang="0">
                  <a:pos x="18" y="7"/>
                </a:cxn>
                <a:cxn ang="0">
                  <a:pos x="35" y="0"/>
                </a:cxn>
                <a:cxn ang="0">
                  <a:pos x="54" y="11"/>
                </a:cxn>
                <a:cxn ang="0">
                  <a:pos x="73" y="20"/>
                </a:cxn>
                <a:cxn ang="0">
                  <a:pos x="87" y="37"/>
                </a:cxn>
                <a:cxn ang="0">
                  <a:pos x="103" y="38"/>
                </a:cxn>
                <a:cxn ang="0">
                  <a:pos x="117" y="39"/>
                </a:cxn>
                <a:cxn ang="0">
                  <a:pos x="133" y="41"/>
                </a:cxn>
                <a:cxn ang="0">
                  <a:pos x="149" y="42"/>
                </a:cxn>
                <a:cxn ang="0">
                  <a:pos x="164" y="53"/>
                </a:cxn>
                <a:cxn ang="0">
                  <a:pos x="165" y="67"/>
                </a:cxn>
                <a:cxn ang="0">
                  <a:pos x="180" y="74"/>
                </a:cxn>
                <a:cxn ang="0">
                  <a:pos x="193" y="81"/>
                </a:cxn>
                <a:cxn ang="0">
                  <a:pos x="207" y="72"/>
                </a:cxn>
                <a:cxn ang="0">
                  <a:pos x="221" y="61"/>
                </a:cxn>
                <a:cxn ang="0">
                  <a:pos x="231" y="74"/>
                </a:cxn>
                <a:cxn ang="0">
                  <a:pos x="221" y="84"/>
                </a:cxn>
                <a:cxn ang="0">
                  <a:pos x="205" y="97"/>
                </a:cxn>
                <a:cxn ang="0">
                  <a:pos x="191" y="111"/>
                </a:cxn>
                <a:cxn ang="0">
                  <a:pos x="197" y="119"/>
                </a:cxn>
                <a:cxn ang="0">
                  <a:pos x="207" y="125"/>
                </a:cxn>
                <a:cxn ang="0">
                  <a:pos x="211" y="131"/>
                </a:cxn>
                <a:cxn ang="0">
                  <a:pos x="207" y="143"/>
                </a:cxn>
                <a:cxn ang="0">
                  <a:pos x="204" y="155"/>
                </a:cxn>
                <a:cxn ang="0">
                  <a:pos x="189" y="152"/>
                </a:cxn>
                <a:cxn ang="0">
                  <a:pos x="175" y="150"/>
                </a:cxn>
                <a:cxn ang="0">
                  <a:pos x="165" y="132"/>
                </a:cxn>
              </a:cxnLst>
              <a:rect l="0" t="0" r="r" b="b"/>
              <a:pathLst>
                <a:path w="231" h="155">
                  <a:moveTo>
                    <a:pt x="165" y="132"/>
                  </a:moveTo>
                  <a:lnTo>
                    <a:pt x="140" y="116"/>
                  </a:lnTo>
                  <a:lnTo>
                    <a:pt x="115" y="101"/>
                  </a:lnTo>
                  <a:lnTo>
                    <a:pt x="102" y="93"/>
                  </a:lnTo>
                  <a:lnTo>
                    <a:pt x="83" y="86"/>
                  </a:lnTo>
                  <a:lnTo>
                    <a:pt x="71" y="68"/>
                  </a:lnTo>
                  <a:lnTo>
                    <a:pt x="51" y="55"/>
                  </a:lnTo>
                  <a:lnTo>
                    <a:pt x="39" y="68"/>
                  </a:lnTo>
                  <a:lnTo>
                    <a:pt x="32" y="72"/>
                  </a:lnTo>
                  <a:lnTo>
                    <a:pt x="36" y="81"/>
                  </a:lnTo>
                  <a:lnTo>
                    <a:pt x="15" y="78"/>
                  </a:lnTo>
                  <a:lnTo>
                    <a:pt x="12" y="61"/>
                  </a:lnTo>
                  <a:lnTo>
                    <a:pt x="7" y="45"/>
                  </a:lnTo>
                  <a:lnTo>
                    <a:pt x="3" y="30"/>
                  </a:lnTo>
                  <a:lnTo>
                    <a:pt x="0" y="13"/>
                  </a:lnTo>
                  <a:lnTo>
                    <a:pt x="18" y="7"/>
                  </a:lnTo>
                  <a:lnTo>
                    <a:pt x="35" y="0"/>
                  </a:lnTo>
                  <a:lnTo>
                    <a:pt x="54" y="11"/>
                  </a:lnTo>
                  <a:lnTo>
                    <a:pt x="73" y="20"/>
                  </a:lnTo>
                  <a:lnTo>
                    <a:pt x="87" y="37"/>
                  </a:lnTo>
                  <a:lnTo>
                    <a:pt x="103" y="38"/>
                  </a:lnTo>
                  <a:lnTo>
                    <a:pt x="117" y="39"/>
                  </a:lnTo>
                  <a:lnTo>
                    <a:pt x="133" y="41"/>
                  </a:lnTo>
                  <a:lnTo>
                    <a:pt x="149" y="42"/>
                  </a:lnTo>
                  <a:lnTo>
                    <a:pt x="164" y="53"/>
                  </a:lnTo>
                  <a:lnTo>
                    <a:pt x="165" y="67"/>
                  </a:lnTo>
                  <a:lnTo>
                    <a:pt x="180" y="74"/>
                  </a:lnTo>
                  <a:lnTo>
                    <a:pt x="193" y="81"/>
                  </a:lnTo>
                  <a:lnTo>
                    <a:pt x="207" y="72"/>
                  </a:lnTo>
                  <a:lnTo>
                    <a:pt x="221" y="61"/>
                  </a:lnTo>
                  <a:lnTo>
                    <a:pt x="231" y="74"/>
                  </a:lnTo>
                  <a:lnTo>
                    <a:pt x="221" y="84"/>
                  </a:lnTo>
                  <a:lnTo>
                    <a:pt x="205" y="97"/>
                  </a:lnTo>
                  <a:lnTo>
                    <a:pt x="191" y="111"/>
                  </a:lnTo>
                  <a:lnTo>
                    <a:pt x="197" y="119"/>
                  </a:lnTo>
                  <a:lnTo>
                    <a:pt x="207" y="125"/>
                  </a:lnTo>
                  <a:lnTo>
                    <a:pt x="211" y="131"/>
                  </a:lnTo>
                  <a:lnTo>
                    <a:pt x="207" y="143"/>
                  </a:lnTo>
                  <a:lnTo>
                    <a:pt x="204" y="155"/>
                  </a:lnTo>
                  <a:lnTo>
                    <a:pt x="189" y="152"/>
                  </a:lnTo>
                  <a:lnTo>
                    <a:pt x="175" y="150"/>
                  </a:lnTo>
                  <a:lnTo>
                    <a:pt x="165" y="13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6" name="Freeform 299">
              <a:extLst>
                <a:ext uri="{FF2B5EF4-FFF2-40B4-BE49-F238E27FC236}">
                  <a16:creationId xmlns:a16="http://schemas.microsoft.com/office/drawing/2014/main" id="{24B83306-E7B7-475C-A427-44F7D61ABD1E}"/>
                </a:ext>
              </a:extLst>
            </p:cNvPr>
            <p:cNvSpPr>
              <a:spLocks/>
            </p:cNvSpPr>
            <p:nvPr/>
          </p:nvSpPr>
          <p:spPr bwMode="auto">
            <a:xfrm>
              <a:off x="6619730" y="2407368"/>
              <a:ext cx="128335" cy="87275"/>
            </a:xfrm>
            <a:custGeom>
              <a:avLst/>
              <a:gdLst/>
              <a:ahLst/>
              <a:cxnLst>
                <a:cxn ang="0">
                  <a:pos x="10" y="7"/>
                </a:cxn>
                <a:cxn ang="0">
                  <a:pos x="0" y="0"/>
                </a:cxn>
                <a:cxn ang="0">
                  <a:pos x="22" y="0"/>
                </a:cxn>
                <a:cxn ang="0">
                  <a:pos x="44" y="1"/>
                </a:cxn>
                <a:cxn ang="0">
                  <a:pos x="58" y="2"/>
                </a:cxn>
                <a:cxn ang="0">
                  <a:pos x="57" y="19"/>
                </a:cxn>
                <a:cxn ang="0">
                  <a:pos x="63" y="21"/>
                </a:cxn>
                <a:cxn ang="0">
                  <a:pos x="58" y="27"/>
                </a:cxn>
                <a:cxn ang="0">
                  <a:pos x="69" y="43"/>
                </a:cxn>
                <a:cxn ang="0">
                  <a:pos x="63" y="45"/>
                </a:cxn>
                <a:cxn ang="0">
                  <a:pos x="58" y="42"/>
                </a:cxn>
                <a:cxn ang="0">
                  <a:pos x="57" y="39"/>
                </a:cxn>
                <a:cxn ang="0">
                  <a:pos x="53" y="37"/>
                </a:cxn>
                <a:cxn ang="0">
                  <a:pos x="50" y="37"/>
                </a:cxn>
                <a:cxn ang="0">
                  <a:pos x="46" y="36"/>
                </a:cxn>
                <a:cxn ang="0">
                  <a:pos x="41" y="33"/>
                </a:cxn>
                <a:cxn ang="0">
                  <a:pos x="35" y="33"/>
                </a:cxn>
                <a:cxn ang="0">
                  <a:pos x="22" y="27"/>
                </a:cxn>
                <a:cxn ang="0">
                  <a:pos x="16" y="18"/>
                </a:cxn>
                <a:cxn ang="0">
                  <a:pos x="10" y="7"/>
                </a:cxn>
              </a:cxnLst>
              <a:rect l="0" t="0" r="r" b="b"/>
              <a:pathLst>
                <a:path w="69" h="45">
                  <a:moveTo>
                    <a:pt x="10" y="7"/>
                  </a:moveTo>
                  <a:lnTo>
                    <a:pt x="0" y="0"/>
                  </a:lnTo>
                  <a:lnTo>
                    <a:pt x="22" y="0"/>
                  </a:lnTo>
                  <a:lnTo>
                    <a:pt x="44" y="1"/>
                  </a:lnTo>
                  <a:lnTo>
                    <a:pt x="58" y="2"/>
                  </a:lnTo>
                  <a:lnTo>
                    <a:pt x="57" y="19"/>
                  </a:lnTo>
                  <a:lnTo>
                    <a:pt x="63" y="21"/>
                  </a:lnTo>
                  <a:lnTo>
                    <a:pt x="58" y="27"/>
                  </a:lnTo>
                  <a:lnTo>
                    <a:pt x="69" y="43"/>
                  </a:lnTo>
                  <a:lnTo>
                    <a:pt x="63" y="45"/>
                  </a:lnTo>
                  <a:lnTo>
                    <a:pt x="58" y="42"/>
                  </a:lnTo>
                  <a:lnTo>
                    <a:pt x="57" y="39"/>
                  </a:lnTo>
                  <a:lnTo>
                    <a:pt x="53" y="37"/>
                  </a:lnTo>
                  <a:lnTo>
                    <a:pt x="50" y="37"/>
                  </a:lnTo>
                  <a:lnTo>
                    <a:pt x="46" y="36"/>
                  </a:lnTo>
                  <a:lnTo>
                    <a:pt x="41" y="33"/>
                  </a:lnTo>
                  <a:lnTo>
                    <a:pt x="35" y="33"/>
                  </a:lnTo>
                  <a:lnTo>
                    <a:pt x="22" y="27"/>
                  </a:lnTo>
                  <a:lnTo>
                    <a:pt x="16" y="18"/>
                  </a:lnTo>
                  <a:lnTo>
                    <a:pt x="10" y="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7" name="Freeform 300">
              <a:extLst>
                <a:ext uri="{FF2B5EF4-FFF2-40B4-BE49-F238E27FC236}">
                  <a16:creationId xmlns:a16="http://schemas.microsoft.com/office/drawing/2014/main" id="{DCDBE0CC-5579-4D34-8E75-55046B2936A2}"/>
                </a:ext>
              </a:extLst>
            </p:cNvPr>
            <p:cNvSpPr>
              <a:spLocks/>
            </p:cNvSpPr>
            <p:nvPr/>
          </p:nvSpPr>
          <p:spPr bwMode="auto">
            <a:xfrm>
              <a:off x="6725820" y="2397100"/>
              <a:ext cx="114646" cy="118078"/>
            </a:xfrm>
            <a:custGeom>
              <a:avLst/>
              <a:gdLst/>
              <a:ahLst/>
              <a:cxnLst>
                <a:cxn ang="0">
                  <a:pos x="12" y="49"/>
                </a:cxn>
                <a:cxn ang="0">
                  <a:pos x="1" y="33"/>
                </a:cxn>
                <a:cxn ang="0">
                  <a:pos x="6" y="27"/>
                </a:cxn>
                <a:cxn ang="0">
                  <a:pos x="0" y="25"/>
                </a:cxn>
                <a:cxn ang="0">
                  <a:pos x="1" y="8"/>
                </a:cxn>
                <a:cxn ang="0">
                  <a:pos x="6" y="0"/>
                </a:cxn>
                <a:cxn ang="0">
                  <a:pos x="30" y="4"/>
                </a:cxn>
                <a:cxn ang="0">
                  <a:pos x="38" y="15"/>
                </a:cxn>
                <a:cxn ang="0">
                  <a:pos x="59" y="27"/>
                </a:cxn>
                <a:cxn ang="0">
                  <a:pos x="49" y="30"/>
                </a:cxn>
                <a:cxn ang="0">
                  <a:pos x="44" y="50"/>
                </a:cxn>
                <a:cxn ang="0">
                  <a:pos x="43" y="62"/>
                </a:cxn>
                <a:cxn ang="0">
                  <a:pos x="30" y="52"/>
                </a:cxn>
                <a:cxn ang="0">
                  <a:pos x="31" y="49"/>
                </a:cxn>
                <a:cxn ang="0">
                  <a:pos x="26" y="39"/>
                </a:cxn>
                <a:cxn ang="0">
                  <a:pos x="12" y="49"/>
                </a:cxn>
              </a:cxnLst>
              <a:rect l="0" t="0" r="r" b="b"/>
              <a:pathLst>
                <a:path w="59" h="62">
                  <a:moveTo>
                    <a:pt x="12" y="49"/>
                  </a:moveTo>
                  <a:lnTo>
                    <a:pt x="1" y="33"/>
                  </a:lnTo>
                  <a:lnTo>
                    <a:pt x="6" y="27"/>
                  </a:lnTo>
                  <a:lnTo>
                    <a:pt x="0" y="25"/>
                  </a:lnTo>
                  <a:lnTo>
                    <a:pt x="1" y="8"/>
                  </a:lnTo>
                  <a:lnTo>
                    <a:pt x="6" y="0"/>
                  </a:lnTo>
                  <a:lnTo>
                    <a:pt x="30" y="4"/>
                  </a:lnTo>
                  <a:lnTo>
                    <a:pt x="38" y="15"/>
                  </a:lnTo>
                  <a:lnTo>
                    <a:pt x="59" y="27"/>
                  </a:lnTo>
                  <a:lnTo>
                    <a:pt x="49" y="30"/>
                  </a:lnTo>
                  <a:lnTo>
                    <a:pt x="44" y="50"/>
                  </a:lnTo>
                  <a:lnTo>
                    <a:pt x="43" y="62"/>
                  </a:lnTo>
                  <a:lnTo>
                    <a:pt x="30" y="52"/>
                  </a:lnTo>
                  <a:lnTo>
                    <a:pt x="31" y="49"/>
                  </a:lnTo>
                  <a:lnTo>
                    <a:pt x="26" y="39"/>
                  </a:lnTo>
                  <a:lnTo>
                    <a:pt x="12" y="4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8" name="Freeform 301">
              <a:extLst>
                <a:ext uri="{FF2B5EF4-FFF2-40B4-BE49-F238E27FC236}">
                  <a16:creationId xmlns:a16="http://schemas.microsoft.com/office/drawing/2014/main" id="{035268ED-61F9-4970-B58A-DF2925093AD7}"/>
                </a:ext>
              </a:extLst>
            </p:cNvPr>
            <p:cNvSpPr>
              <a:spLocks/>
            </p:cNvSpPr>
            <p:nvPr/>
          </p:nvSpPr>
          <p:spPr bwMode="auto">
            <a:xfrm>
              <a:off x="6688175" y="2472396"/>
              <a:ext cx="49623" cy="27380"/>
            </a:xfrm>
            <a:custGeom>
              <a:avLst/>
              <a:gdLst/>
              <a:ahLst/>
              <a:cxnLst>
                <a:cxn ang="0">
                  <a:pos x="28" y="12"/>
                </a:cxn>
                <a:cxn ang="0">
                  <a:pos x="22" y="15"/>
                </a:cxn>
                <a:cxn ang="0">
                  <a:pos x="4" y="5"/>
                </a:cxn>
                <a:cxn ang="0">
                  <a:pos x="1" y="1"/>
                </a:cxn>
                <a:cxn ang="0">
                  <a:pos x="0" y="0"/>
                </a:cxn>
                <a:cxn ang="0">
                  <a:pos x="6" y="0"/>
                </a:cxn>
                <a:cxn ang="0">
                  <a:pos x="11" y="3"/>
                </a:cxn>
                <a:cxn ang="0">
                  <a:pos x="15" y="4"/>
                </a:cxn>
                <a:cxn ang="0">
                  <a:pos x="18" y="4"/>
                </a:cxn>
                <a:cxn ang="0">
                  <a:pos x="22" y="6"/>
                </a:cxn>
                <a:cxn ang="0">
                  <a:pos x="23" y="9"/>
                </a:cxn>
                <a:cxn ang="0">
                  <a:pos x="28" y="12"/>
                </a:cxn>
              </a:cxnLst>
              <a:rect l="0" t="0" r="r" b="b"/>
              <a:pathLst>
                <a:path w="28" h="15">
                  <a:moveTo>
                    <a:pt x="28" y="12"/>
                  </a:moveTo>
                  <a:lnTo>
                    <a:pt x="22" y="15"/>
                  </a:lnTo>
                  <a:lnTo>
                    <a:pt x="4" y="5"/>
                  </a:lnTo>
                  <a:lnTo>
                    <a:pt x="1" y="1"/>
                  </a:lnTo>
                  <a:lnTo>
                    <a:pt x="0" y="0"/>
                  </a:lnTo>
                  <a:lnTo>
                    <a:pt x="6" y="0"/>
                  </a:lnTo>
                  <a:lnTo>
                    <a:pt x="11" y="3"/>
                  </a:lnTo>
                  <a:lnTo>
                    <a:pt x="15" y="4"/>
                  </a:lnTo>
                  <a:lnTo>
                    <a:pt x="18" y="4"/>
                  </a:lnTo>
                  <a:lnTo>
                    <a:pt x="22" y="6"/>
                  </a:lnTo>
                  <a:lnTo>
                    <a:pt x="23" y="9"/>
                  </a:lnTo>
                  <a:lnTo>
                    <a:pt x="28"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87" name="Freeform 350">
              <a:extLst>
                <a:ext uri="{FF2B5EF4-FFF2-40B4-BE49-F238E27FC236}">
                  <a16:creationId xmlns:a16="http://schemas.microsoft.com/office/drawing/2014/main" id="{746265B4-6885-4DB2-861E-76C7891590CA}"/>
                </a:ext>
              </a:extLst>
            </p:cNvPr>
            <p:cNvSpPr>
              <a:spLocks/>
            </p:cNvSpPr>
            <p:nvPr/>
          </p:nvSpPr>
          <p:spPr bwMode="auto">
            <a:xfrm>
              <a:off x="9044406" y="1982971"/>
              <a:ext cx="248114" cy="277227"/>
            </a:xfrm>
            <a:custGeom>
              <a:avLst/>
              <a:gdLst/>
              <a:ahLst/>
              <a:cxnLst>
                <a:cxn ang="0">
                  <a:pos x="115" y="101"/>
                </a:cxn>
                <a:cxn ang="0">
                  <a:pos x="98" y="85"/>
                </a:cxn>
                <a:cxn ang="0">
                  <a:pos x="80" y="70"/>
                </a:cxn>
                <a:cxn ang="0">
                  <a:pos x="62" y="55"/>
                </a:cxn>
                <a:cxn ang="0">
                  <a:pos x="43" y="40"/>
                </a:cxn>
                <a:cxn ang="0">
                  <a:pos x="40" y="34"/>
                </a:cxn>
                <a:cxn ang="0">
                  <a:pos x="22" y="17"/>
                </a:cxn>
                <a:cxn ang="0">
                  <a:pos x="4" y="0"/>
                </a:cxn>
                <a:cxn ang="0">
                  <a:pos x="0" y="3"/>
                </a:cxn>
                <a:cxn ang="0">
                  <a:pos x="13" y="12"/>
                </a:cxn>
                <a:cxn ang="0">
                  <a:pos x="13" y="18"/>
                </a:cxn>
                <a:cxn ang="0">
                  <a:pos x="6" y="18"/>
                </a:cxn>
                <a:cxn ang="0">
                  <a:pos x="20" y="34"/>
                </a:cxn>
                <a:cxn ang="0">
                  <a:pos x="35" y="49"/>
                </a:cxn>
                <a:cxn ang="0">
                  <a:pos x="49" y="64"/>
                </a:cxn>
                <a:cxn ang="0">
                  <a:pos x="62" y="81"/>
                </a:cxn>
                <a:cxn ang="0">
                  <a:pos x="73" y="99"/>
                </a:cxn>
                <a:cxn ang="0">
                  <a:pos x="85" y="113"/>
                </a:cxn>
                <a:cxn ang="0">
                  <a:pos x="97" y="127"/>
                </a:cxn>
                <a:cxn ang="0">
                  <a:pos x="109" y="145"/>
                </a:cxn>
                <a:cxn ang="0">
                  <a:pos x="113" y="145"/>
                </a:cxn>
                <a:cxn ang="0">
                  <a:pos x="112" y="133"/>
                </a:cxn>
                <a:cxn ang="0">
                  <a:pos x="125" y="139"/>
                </a:cxn>
                <a:cxn ang="0">
                  <a:pos x="131" y="147"/>
                </a:cxn>
                <a:cxn ang="0">
                  <a:pos x="120" y="133"/>
                </a:cxn>
                <a:cxn ang="0">
                  <a:pos x="92" y="112"/>
                </a:cxn>
                <a:cxn ang="0">
                  <a:pos x="86" y="89"/>
                </a:cxn>
                <a:cxn ang="0">
                  <a:pos x="91" y="89"/>
                </a:cxn>
                <a:cxn ang="0">
                  <a:pos x="108" y="95"/>
                </a:cxn>
                <a:cxn ang="0">
                  <a:pos x="115" y="101"/>
                </a:cxn>
              </a:cxnLst>
              <a:rect l="0" t="0" r="r" b="b"/>
              <a:pathLst>
                <a:path w="131" h="147">
                  <a:moveTo>
                    <a:pt x="115" y="101"/>
                  </a:moveTo>
                  <a:lnTo>
                    <a:pt x="98" y="85"/>
                  </a:lnTo>
                  <a:lnTo>
                    <a:pt x="80" y="70"/>
                  </a:lnTo>
                  <a:lnTo>
                    <a:pt x="62" y="55"/>
                  </a:lnTo>
                  <a:lnTo>
                    <a:pt x="43" y="40"/>
                  </a:lnTo>
                  <a:lnTo>
                    <a:pt x="40" y="34"/>
                  </a:lnTo>
                  <a:lnTo>
                    <a:pt x="22" y="17"/>
                  </a:lnTo>
                  <a:lnTo>
                    <a:pt x="4" y="0"/>
                  </a:lnTo>
                  <a:lnTo>
                    <a:pt x="0" y="3"/>
                  </a:lnTo>
                  <a:lnTo>
                    <a:pt x="13" y="12"/>
                  </a:lnTo>
                  <a:lnTo>
                    <a:pt x="13" y="18"/>
                  </a:lnTo>
                  <a:lnTo>
                    <a:pt x="6" y="18"/>
                  </a:lnTo>
                  <a:lnTo>
                    <a:pt x="20" y="34"/>
                  </a:lnTo>
                  <a:lnTo>
                    <a:pt x="35" y="49"/>
                  </a:lnTo>
                  <a:lnTo>
                    <a:pt x="49" y="64"/>
                  </a:lnTo>
                  <a:lnTo>
                    <a:pt x="62" y="81"/>
                  </a:lnTo>
                  <a:lnTo>
                    <a:pt x="73" y="99"/>
                  </a:lnTo>
                  <a:lnTo>
                    <a:pt x="85" y="113"/>
                  </a:lnTo>
                  <a:lnTo>
                    <a:pt x="97" y="127"/>
                  </a:lnTo>
                  <a:lnTo>
                    <a:pt x="109" y="145"/>
                  </a:lnTo>
                  <a:lnTo>
                    <a:pt x="113" y="145"/>
                  </a:lnTo>
                  <a:lnTo>
                    <a:pt x="112" y="133"/>
                  </a:lnTo>
                  <a:lnTo>
                    <a:pt x="125" y="139"/>
                  </a:lnTo>
                  <a:lnTo>
                    <a:pt x="131" y="147"/>
                  </a:lnTo>
                  <a:lnTo>
                    <a:pt x="120" y="133"/>
                  </a:lnTo>
                  <a:lnTo>
                    <a:pt x="92" y="112"/>
                  </a:lnTo>
                  <a:lnTo>
                    <a:pt x="86" y="89"/>
                  </a:lnTo>
                  <a:lnTo>
                    <a:pt x="91" y="89"/>
                  </a:lnTo>
                  <a:lnTo>
                    <a:pt x="108" y="95"/>
                  </a:lnTo>
                  <a:lnTo>
                    <a:pt x="115" y="10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00" name="Freeform 363">
              <a:extLst>
                <a:ext uri="{FF2B5EF4-FFF2-40B4-BE49-F238E27FC236}">
                  <a16:creationId xmlns:a16="http://schemas.microsoft.com/office/drawing/2014/main" id="{2FF304FB-ADB3-4608-81F8-81D4DA475C3D}"/>
                </a:ext>
              </a:extLst>
            </p:cNvPr>
            <p:cNvSpPr>
              <a:spLocks/>
            </p:cNvSpPr>
            <p:nvPr/>
          </p:nvSpPr>
          <p:spPr bwMode="auto">
            <a:xfrm>
              <a:off x="9425989" y="2279022"/>
              <a:ext cx="25667" cy="34226"/>
            </a:xfrm>
            <a:custGeom>
              <a:avLst/>
              <a:gdLst/>
              <a:ahLst/>
              <a:cxnLst>
                <a:cxn ang="0">
                  <a:pos x="15" y="0"/>
                </a:cxn>
                <a:cxn ang="0">
                  <a:pos x="3" y="5"/>
                </a:cxn>
                <a:cxn ang="0">
                  <a:pos x="0" y="18"/>
                </a:cxn>
                <a:cxn ang="0">
                  <a:pos x="6" y="11"/>
                </a:cxn>
                <a:cxn ang="0">
                  <a:pos x="12" y="3"/>
                </a:cxn>
                <a:cxn ang="0">
                  <a:pos x="15" y="0"/>
                </a:cxn>
              </a:cxnLst>
              <a:rect l="0" t="0" r="r" b="b"/>
              <a:pathLst>
                <a:path w="15" h="18">
                  <a:moveTo>
                    <a:pt x="15" y="0"/>
                  </a:moveTo>
                  <a:lnTo>
                    <a:pt x="3" y="5"/>
                  </a:lnTo>
                  <a:lnTo>
                    <a:pt x="0" y="18"/>
                  </a:lnTo>
                  <a:lnTo>
                    <a:pt x="6" y="11"/>
                  </a:lnTo>
                  <a:lnTo>
                    <a:pt x="12" y="3"/>
                  </a:lnTo>
                  <a:lnTo>
                    <a:pt x="15"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04" name="Freeform 367">
              <a:extLst>
                <a:ext uri="{FF2B5EF4-FFF2-40B4-BE49-F238E27FC236}">
                  <a16:creationId xmlns:a16="http://schemas.microsoft.com/office/drawing/2014/main" id="{FE46112C-793F-478C-AC46-2F4B9B3F44A9}"/>
                </a:ext>
              </a:extLst>
            </p:cNvPr>
            <p:cNvSpPr>
              <a:spLocks/>
            </p:cNvSpPr>
            <p:nvPr/>
          </p:nvSpPr>
          <p:spPr bwMode="auto">
            <a:xfrm>
              <a:off x="9425989" y="1825533"/>
              <a:ext cx="18822" cy="23958"/>
            </a:xfrm>
            <a:custGeom>
              <a:avLst/>
              <a:gdLst/>
              <a:ahLst/>
              <a:cxnLst>
                <a:cxn ang="0">
                  <a:pos x="11" y="3"/>
                </a:cxn>
                <a:cxn ang="0">
                  <a:pos x="5" y="11"/>
                </a:cxn>
                <a:cxn ang="0">
                  <a:pos x="0" y="5"/>
                </a:cxn>
                <a:cxn ang="0">
                  <a:pos x="5" y="0"/>
                </a:cxn>
                <a:cxn ang="0">
                  <a:pos x="11" y="3"/>
                </a:cxn>
              </a:cxnLst>
              <a:rect l="0" t="0" r="r" b="b"/>
              <a:pathLst>
                <a:path w="11" h="11">
                  <a:moveTo>
                    <a:pt x="11" y="3"/>
                  </a:moveTo>
                  <a:lnTo>
                    <a:pt x="5" y="11"/>
                  </a:lnTo>
                  <a:lnTo>
                    <a:pt x="0" y="5"/>
                  </a:lnTo>
                  <a:lnTo>
                    <a:pt x="5" y="0"/>
                  </a:lnTo>
                  <a:lnTo>
                    <a:pt x="11"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10" name="Freeform 373">
              <a:extLst>
                <a:ext uri="{FF2B5EF4-FFF2-40B4-BE49-F238E27FC236}">
                  <a16:creationId xmlns:a16="http://schemas.microsoft.com/office/drawing/2014/main" id="{424BA0F9-9E15-43F3-940E-D7F0401339F8}"/>
                </a:ext>
              </a:extLst>
            </p:cNvPr>
            <p:cNvSpPr>
              <a:spLocks/>
            </p:cNvSpPr>
            <p:nvPr/>
          </p:nvSpPr>
          <p:spPr bwMode="auto">
            <a:xfrm>
              <a:off x="9501279" y="2104471"/>
              <a:ext cx="8556" cy="18824"/>
            </a:xfrm>
            <a:custGeom>
              <a:avLst/>
              <a:gdLst/>
              <a:ahLst/>
              <a:cxnLst>
                <a:cxn ang="0">
                  <a:pos x="5" y="1"/>
                </a:cxn>
                <a:cxn ang="0">
                  <a:pos x="1" y="11"/>
                </a:cxn>
                <a:cxn ang="0">
                  <a:pos x="0" y="0"/>
                </a:cxn>
                <a:cxn ang="0">
                  <a:pos x="5" y="1"/>
                </a:cxn>
              </a:cxnLst>
              <a:rect l="0" t="0" r="r" b="b"/>
              <a:pathLst>
                <a:path w="5" h="11">
                  <a:moveTo>
                    <a:pt x="5" y="1"/>
                  </a:moveTo>
                  <a:lnTo>
                    <a:pt x="1" y="11"/>
                  </a:lnTo>
                  <a:lnTo>
                    <a:pt x="0" y="0"/>
                  </a:lnTo>
                  <a:lnTo>
                    <a:pt x="5"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11" name="Freeform 374">
              <a:extLst>
                <a:ext uri="{FF2B5EF4-FFF2-40B4-BE49-F238E27FC236}">
                  <a16:creationId xmlns:a16="http://schemas.microsoft.com/office/drawing/2014/main" id="{5A7DAAFC-C893-49F9-8BDE-F3F63D49E5E4}"/>
                </a:ext>
              </a:extLst>
            </p:cNvPr>
            <p:cNvSpPr>
              <a:spLocks/>
            </p:cNvSpPr>
            <p:nvPr/>
          </p:nvSpPr>
          <p:spPr bwMode="auto">
            <a:xfrm>
              <a:off x="9402033" y="2313247"/>
              <a:ext cx="11978" cy="18824"/>
            </a:xfrm>
            <a:custGeom>
              <a:avLst/>
              <a:gdLst/>
              <a:ahLst/>
              <a:cxnLst>
                <a:cxn ang="0">
                  <a:pos x="6" y="0"/>
                </a:cxn>
                <a:cxn ang="0">
                  <a:pos x="0" y="11"/>
                </a:cxn>
                <a:cxn ang="0">
                  <a:pos x="0" y="3"/>
                </a:cxn>
                <a:cxn ang="0">
                  <a:pos x="6" y="0"/>
                </a:cxn>
              </a:cxnLst>
              <a:rect l="0" t="0" r="r" b="b"/>
              <a:pathLst>
                <a:path w="6" h="11">
                  <a:moveTo>
                    <a:pt x="6" y="0"/>
                  </a:moveTo>
                  <a:lnTo>
                    <a:pt x="0" y="11"/>
                  </a:lnTo>
                  <a:lnTo>
                    <a:pt x="0" y="3"/>
                  </a:lnTo>
                  <a:lnTo>
                    <a:pt x="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16" name="Freeform 379">
              <a:extLst>
                <a:ext uri="{FF2B5EF4-FFF2-40B4-BE49-F238E27FC236}">
                  <a16:creationId xmlns:a16="http://schemas.microsoft.com/office/drawing/2014/main" id="{533A358D-62BA-413D-9B10-C7E9664EFBD4}"/>
                </a:ext>
              </a:extLst>
            </p:cNvPr>
            <p:cNvSpPr>
              <a:spLocks/>
            </p:cNvSpPr>
            <p:nvPr/>
          </p:nvSpPr>
          <p:spPr bwMode="auto">
            <a:xfrm>
              <a:off x="9607369" y="1952168"/>
              <a:ext cx="42778" cy="22247"/>
            </a:xfrm>
            <a:custGeom>
              <a:avLst/>
              <a:gdLst/>
              <a:ahLst/>
              <a:cxnLst>
                <a:cxn ang="0">
                  <a:pos x="23" y="12"/>
                </a:cxn>
                <a:cxn ang="0">
                  <a:pos x="0" y="0"/>
                </a:cxn>
                <a:cxn ang="0">
                  <a:pos x="19" y="8"/>
                </a:cxn>
                <a:cxn ang="0">
                  <a:pos x="23" y="12"/>
                </a:cxn>
              </a:cxnLst>
              <a:rect l="0" t="0" r="r" b="b"/>
              <a:pathLst>
                <a:path w="23" h="12">
                  <a:moveTo>
                    <a:pt x="23" y="12"/>
                  </a:moveTo>
                  <a:lnTo>
                    <a:pt x="0" y="0"/>
                  </a:lnTo>
                  <a:lnTo>
                    <a:pt x="19" y="8"/>
                  </a:lnTo>
                  <a:lnTo>
                    <a:pt x="23"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grpSp>
    </p:spTree>
    <p:extLst>
      <p:ext uri="{BB962C8B-B14F-4D97-AF65-F5344CB8AC3E}">
        <p14:creationId xmlns:p14="http://schemas.microsoft.com/office/powerpoint/2010/main" val="209272368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4" name="Group 443">
            <a:extLst>
              <a:ext uri="{FF2B5EF4-FFF2-40B4-BE49-F238E27FC236}">
                <a16:creationId xmlns:a16="http://schemas.microsoft.com/office/drawing/2014/main" id="{1405E753-CD61-4EC2-8E94-9B11B01F7A19}"/>
              </a:ext>
            </a:extLst>
          </p:cNvPr>
          <p:cNvGrpSpPr>
            <a:grpSpLocks noChangeAspect="1"/>
          </p:cNvGrpSpPr>
          <p:nvPr/>
        </p:nvGrpSpPr>
        <p:grpSpPr>
          <a:xfrm>
            <a:off x="3005955" y="1162800"/>
            <a:ext cx="6180091" cy="5216735"/>
            <a:chOff x="6676197" y="1948745"/>
            <a:chExt cx="4125544" cy="3482452"/>
          </a:xfrm>
        </p:grpSpPr>
        <p:sp>
          <p:nvSpPr>
            <p:cNvPr id="5" name="Freeform 4">
              <a:extLst>
                <a:ext uri="{FF2B5EF4-FFF2-40B4-BE49-F238E27FC236}">
                  <a16:creationId xmlns:a16="http://schemas.microsoft.com/office/drawing/2014/main" id="{8195BE31-E70C-4ACF-924B-5F3DFE80E45C}"/>
                </a:ext>
              </a:extLst>
            </p:cNvPr>
            <p:cNvSpPr>
              <a:spLocks/>
            </p:cNvSpPr>
            <p:nvPr/>
          </p:nvSpPr>
          <p:spPr bwMode="auto">
            <a:xfrm>
              <a:off x="8567000" y="3776391"/>
              <a:ext cx="10267" cy="8556"/>
            </a:xfrm>
            <a:custGeom>
              <a:avLst/>
              <a:gdLst/>
              <a:ahLst/>
              <a:cxnLst>
                <a:cxn ang="0">
                  <a:pos x="6" y="1"/>
                </a:cxn>
                <a:cxn ang="0">
                  <a:pos x="0" y="2"/>
                </a:cxn>
                <a:cxn ang="0">
                  <a:pos x="0" y="0"/>
                </a:cxn>
                <a:cxn ang="0">
                  <a:pos x="6" y="1"/>
                </a:cxn>
              </a:cxnLst>
              <a:rect l="0" t="0" r="r" b="b"/>
              <a:pathLst>
                <a:path w="6" h="2">
                  <a:moveTo>
                    <a:pt x="6" y="1"/>
                  </a:moveTo>
                  <a:lnTo>
                    <a:pt x="0" y="2"/>
                  </a:lnTo>
                  <a:lnTo>
                    <a:pt x="0" y="0"/>
                  </a:lnTo>
                  <a:lnTo>
                    <a:pt x="6"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 name="Freeform 5">
              <a:extLst>
                <a:ext uri="{FF2B5EF4-FFF2-40B4-BE49-F238E27FC236}">
                  <a16:creationId xmlns:a16="http://schemas.microsoft.com/office/drawing/2014/main" id="{F06FD810-728A-4C4D-AECC-802426CD3B81}"/>
                </a:ext>
              </a:extLst>
            </p:cNvPr>
            <p:cNvSpPr>
              <a:spLocks/>
            </p:cNvSpPr>
            <p:nvPr/>
          </p:nvSpPr>
          <p:spPr bwMode="auto">
            <a:xfrm>
              <a:off x="8726135" y="3678848"/>
              <a:ext cx="299448" cy="284072"/>
            </a:xfrm>
            <a:custGeom>
              <a:avLst/>
              <a:gdLst/>
              <a:ahLst/>
              <a:cxnLst>
                <a:cxn ang="0">
                  <a:pos x="158" y="62"/>
                </a:cxn>
                <a:cxn ang="0">
                  <a:pos x="144" y="61"/>
                </a:cxn>
                <a:cxn ang="0">
                  <a:pos x="143" y="60"/>
                </a:cxn>
                <a:cxn ang="0">
                  <a:pos x="136" y="84"/>
                </a:cxn>
                <a:cxn ang="0">
                  <a:pos x="138" y="85"/>
                </a:cxn>
                <a:cxn ang="0">
                  <a:pos x="134" y="94"/>
                </a:cxn>
                <a:cxn ang="0">
                  <a:pos x="125" y="98"/>
                </a:cxn>
                <a:cxn ang="0">
                  <a:pos x="118" y="110"/>
                </a:cxn>
                <a:cxn ang="0">
                  <a:pos x="118" y="118"/>
                </a:cxn>
                <a:cxn ang="0">
                  <a:pos x="121" y="118"/>
                </a:cxn>
                <a:cxn ang="0">
                  <a:pos x="116" y="124"/>
                </a:cxn>
                <a:cxn ang="0">
                  <a:pos x="114" y="130"/>
                </a:cxn>
                <a:cxn ang="0">
                  <a:pos x="110" y="143"/>
                </a:cxn>
                <a:cxn ang="0">
                  <a:pos x="89" y="150"/>
                </a:cxn>
                <a:cxn ang="0">
                  <a:pos x="86" y="140"/>
                </a:cxn>
                <a:cxn ang="0">
                  <a:pos x="84" y="138"/>
                </a:cxn>
                <a:cxn ang="0">
                  <a:pos x="73" y="138"/>
                </a:cxn>
                <a:cxn ang="0">
                  <a:pos x="64" y="133"/>
                </a:cxn>
                <a:cxn ang="0">
                  <a:pos x="54" y="138"/>
                </a:cxn>
                <a:cxn ang="0">
                  <a:pos x="46" y="139"/>
                </a:cxn>
                <a:cxn ang="0">
                  <a:pos x="42" y="130"/>
                </a:cxn>
                <a:cxn ang="0">
                  <a:pos x="29" y="132"/>
                </a:cxn>
                <a:cxn ang="0">
                  <a:pos x="30" y="131"/>
                </a:cxn>
                <a:cxn ang="0">
                  <a:pos x="26" y="132"/>
                </a:cxn>
                <a:cxn ang="0">
                  <a:pos x="19" y="130"/>
                </a:cxn>
                <a:cxn ang="0">
                  <a:pos x="16" y="112"/>
                </a:cxn>
                <a:cxn ang="0">
                  <a:pos x="16" y="98"/>
                </a:cxn>
                <a:cxn ang="0">
                  <a:pos x="6" y="90"/>
                </a:cxn>
                <a:cxn ang="0">
                  <a:pos x="7" y="90"/>
                </a:cxn>
                <a:cxn ang="0">
                  <a:pos x="4" y="82"/>
                </a:cxn>
                <a:cxn ang="0">
                  <a:pos x="4" y="77"/>
                </a:cxn>
                <a:cxn ang="0">
                  <a:pos x="0" y="62"/>
                </a:cxn>
                <a:cxn ang="0">
                  <a:pos x="5" y="53"/>
                </a:cxn>
                <a:cxn ang="0">
                  <a:pos x="2" y="54"/>
                </a:cxn>
                <a:cxn ang="0">
                  <a:pos x="11" y="41"/>
                </a:cxn>
                <a:cxn ang="0">
                  <a:pos x="14" y="53"/>
                </a:cxn>
                <a:cxn ang="0">
                  <a:pos x="30" y="62"/>
                </a:cxn>
                <a:cxn ang="0">
                  <a:pos x="50" y="58"/>
                </a:cxn>
                <a:cxn ang="0">
                  <a:pos x="56" y="50"/>
                </a:cxn>
                <a:cxn ang="0">
                  <a:pos x="77" y="55"/>
                </a:cxn>
                <a:cxn ang="0">
                  <a:pos x="90" y="49"/>
                </a:cxn>
                <a:cxn ang="0">
                  <a:pos x="97" y="34"/>
                </a:cxn>
                <a:cxn ang="0">
                  <a:pos x="101" y="25"/>
                </a:cxn>
                <a:cxn ang="0">
                  <a:pos x="104" y="12"/>
                </a:cxn>
                <a:cxn ang="0">
                  <a:pos x="108" y="0"/>
                </a:cxn>
                <a:cxn ang="0">
                  <a:pos x="122" y="1"/>
                </a:cxn>
                <a:cxn ang="0">
                  <a:pos x="136" y="4"/>
                </a:cxn>
                <a:cxn ang="0">
                  <a:pos x="134" y="6"/>
                </a:cxn>
                <a:cxn ang="0">
                  <a:pos x="134" y="7"/>
                </a:cxn>
                <a:cxn ang="0">
                  <a:pos x="138" y="13"/>
                </a:cxn>
                <a:cxn ang="0">
                  <a:pos x="134" y="12"/>
                </a:cxn>
                <a:cxn ang="0">
                  <a:pos x="130" y="13"/>
                </a:cxn>
                <a:cxn ang="0">
                  <a:pos x="132" y="20"/>
                </a:cxn>
                <a:cxn ang="0">
                  <a:pos x="144" y="38"/>
                </a:cxn>
                <a:cxn ang="0">
                  <a:pos x="142" y="44"/>
                </a:cxn>
                <a:cxn ang="0">
                  <a:pos x="150" y="53"/>
                </a:cxn>
                <a:cxn ang="0">
                  <a:pos x="158" y="62"/>
                </a:cxn>
              </a:cxnLst>
              <a:rect l="0" t="0" r="r" b="b"/>
              <a:pathLst>
                <a:path w="158" h="150">
                  <a:moveTo>
                    <a:pt x="158" y="62"/>
                  </a:moveTo>
                  <a:lnTo>
                    <a:pt x="144" y="61"/>
                  </a:lnTo>
                  <a:lnTo>
                    <a:pt x="143" y="60"/>
                  </a:lnTo>
                  <a:lnTo>
                    <a:pt x="136" y="84"/>
                  </a:lnTo>
                  <a:lnTo>
                    <a:pt x="138" y="85"/>
                  </a:lnTo>
                  <a:lnTo>
                    <a:pt x="134" y="94"/>
                  </a:lnTo>
                  <a:lnTo>
                    <a:pt x="125" y="98"/>
                  </a:lnTo>
                  <a:lnTo>
                    <a:pt x="118" y="110"/>
                  </a:lnTo>
                  <a:lnTo>
                    <a:pt x="118" y="118"/>
                  </a:lnTo>
                  <a:lnTo>
                    <a:pt x="121" y="118"/>
                  </a:lnTo>
                  <a:lnTo>
                    <a:pt x="116" y="124"/>
                  </a:lnTo>
                  <a:lnTo>
                    <a:pt x="114" y="130"/>
                  </a:lnTo>
                  <a:lnTo>
                    <a:pt x="110" y="143"/>
                  </a:lnTo>
                  <a:lnTo>
                    <a:pt x="89" y="150"/>
                  </a:lnTo>
                  <a:lnTo>
                    <a:pt x="86" y="140"/>
                  </a:lnTo>
                  <a:lnTo>
                    <a:pt x="84" y="138"/>
                  </a:lnTo>
                  <a:lnTo>
                    <a:pt x="73" y="138"/>
                  </a:lnTo>
                  <a:lnTo>
                    <a:pt x="64" y="133"/>
                  </a:lnTo>
                  <a:lnTo>
                    <a:pt x="54" y="138"/>
                  </a:lnTo>
                  <a:lnTo>
                    <a:pt x="46" y="139"/>
                  </a:lnTo>
                  <a:lnTo>
                    <a:pt x="42" y="130"/>
                  </a:lnTo>
                  <a:lnTo>
                    <a:pt x="29" y="132"/>
                  </a:lnTo>
                  <a:lnTo>
                    <a:pt x="30" y="131"/>
                  </a:lnTo>
                  <a:lnTo>
                    <a:pt x="26" y="132"/>
                  </a:lnTo>
                  <a:lnTo>
                    <a:pt x="19" y="130"/>
                  </a:lnTo>
                  <a:lnTo>
                    <a:pt x="16" y="112"/>
                  </a:lnTo>
                  <a:lnTo>
                    <a:pt x="16" y="98"/>
                  </a:lnTo>
                  <a:lnTo>
                    <a:pt x="6" y="90"/>
                  </a:lnTo>
                  <a:lnTo>
                    <a:pt x="7" y="90"/>
                  </a:lnTo>
                  <a:lnTo>
                    <a:pt x="4" y="82"/>
                  </a:lnTo>
                  <a:lnTo>
                    <a:pt x="4" y="77"/>
                  </a:lnTo>
                  <a:lnTo>
                    <a:pt x="0" y="62"/>
                  </a:lnTo>
                  <a:lnTo>
                    <a:pt x="5" y="53"/>
                  </a:lnTo>
                  <a:lnTo>
                    <a:pt x="2" y="54"/>
                  </a:lnTo>
                  <a:lnTo>
                    <a:pt x="11" y="41"/>
                  </a:lnTo>
                  <a:lnTo>
                    <a:pt x="14" y="53"/>
                  </a:lnTo>
                  <a:lnTo>
                    <a:pt x="30" y="62"/>
                  </a:lnTo>
                  <a:lnTo>
                    <a:pt x="50" y="58"/>
                  </a:lnTo>
                  <a:lnTo>
                    <a:pt x="56" y="50"/>
                  </a:lnTo>
                  <a:lnTo>
                    <a:pt x="77" y="55"/>
                  </a:lnTo>
                  <a:lnTo>
                    <a:pt x="90" y="49"/>
                  </a:lnTo>
                  <a:lnTo>
                    <a:pt x="97" y="34"/>
                  </a:lnTo>
                  <a:lnTo>
                    <a:pt x="101" y="25"/>
                  </a:lnTo>
                  <a:lnTo>
                    <a:pt x="104" y="12"/>
                  </a:lnTo>
                  <a:lnTo>
                    <a:pt x="108" y="0"/>
                  </a:lnTo>
                  <a:lnTo>
                    <a:pt x="122" y="1"/>
                  </a:lnTo>
                  <a:lnTo>
                    <a:pt x="136" y="4"/>
                  </a:lnTo>
                  <a:lnTo>
                    <a:pt x="134" y="6"/>
                  </a:lnTo>
                  <a:lnTo>
                    <a:pt x="134" y="7"/>
                  </a:lnTo>
                  <a:lnTo>
                    <a:pt x="138" y="13"/>
                  </a:lnTo>
                  <a:lnTo>
                    <a:pt x="134" y="12"/>
                  </a:lnTo>
                  <a:lnTo>
                    <a:pt x="130" y="13"/>
                  </a:lnTo>
                  <a:lnTo>
                    <a:pt x="132" y="20"/>
                  </a:lnTo>
                  <a:lnTo>
                    <a:pt x="144" y="38"/>
                  </a:lnTo>
                  <a:lnTo>
                    <a:pt x="142" y="44"/>
                  </a:lnTo>
                  <a:lnTo>
                    <a:pt x="150" y="53"/>
                  </a:lnTo>
                  <a:lnTo>
                    <a:pt x="158" y="6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 name="Freeform 6">
              <a:extLst>
                <a:ext uri="{FF2B5EF4-FFF2-40B4-BE49-F238E27FC236}">
                  <a16:creationId xmlns:a16="http://schemas.microsoft.com/office/drawing/2014/main" id="{9E348013-1710-479C-957E-FCC63297319B}"/>
                </a:ext>
              </a:extLst>
            </p:cNvPr>
            <p:cNvSpPr>
              <a:spLocks/>
            </p:cNvSpPr>
            <p:nvPr/>
          </p:nvSpPr>
          <p:spPr bwMode="auto">
            <a:xfrm>
              <a:off x="8306908" y="3636066"/>
              <a:ext cx="331960" cy="388460"/>
            </a:xfrm>
            <a:custGeom>
              <a:avLst/>
              <a:gdLst/>
              <a:ahLst/>
              <a:cxnLst>
                <a:cxn ang="0">
                  <a:pos x="173" y="158"/>
                </a:cxn>
                <a:cxn ang="0">
                  <a:pos x="172" y="160"/>
                </a:cxn>
                <a:cxn ang="0">
                  <a:pos x="170" y="182"/>
                </a:cxn>
                <a:cxn ang="0">
                  <a:pos x="167" y="204"/>
                </a:cxn>
                <a:cxn ang="0">
                  <a:pos x="160" y="198"/>
                </a:cxn>
                <a:cxn ang="0">
                  <a:pos x="159" y="202"/>
                </a:cxn>
                <a:cxn ang="0">
                  <a:pos x="150" y="200"/>
                </a:cxn>
                <a:cxn ang="0">
                  <a:pos x="150" y="204"/>
                </a:cxn>
                <a:cxn ang="0">
                  <a:pos x="135" y="189"/>
                </a:cxn>
                <a:cxn ang="0">
                  <a:pos x="126" y="180"/>
                </a:cxn>
                <a:cxn ang="0">
                  <a:pos x="118" y="172"/>
                </a:cxn>
                <a:cxn ang="0">
                  <a:pos x="110" y="164"/>
                </a:cxn>
                <a:cxn ang="0">
                  <a:pos x="101" y="154"/>
                </a:cxn>
                <a:cxn ang="0">
                  <a:pos x="94" y="140"/>
                </a:cxn>
                <a:cxn ang="0">
                  <a:pos x="87" y="125"/>
                </a:cxn>
                <a:cxn ang="0">
                  <a:pos x="84" y="123"/>
                </a:cxn>
                <a:cxn ang="0">
                  <a:pos x="76" y="110"/>
                </a:cxn>
                <a:cxn ang="0">
                  <a:pos x="68" y="96"/>
                </a:cxn>
                <a:cxn ang="0">
                  <a:pos x="63" y="84"/>
                </a:cxn>
                <a:cxn ang="0">
                  <a:pos x="58" y="72"/>
                </a:cxn>
                <a:cxn ang="0">
                  <a:pos x="45" y="59"/>
                </a:cxn>
                <a:cxn ang="0">
                  <a:pos x="35" y="45"/>
                </a:cxn>
                <a:cxn ang="0">
                  <a:pos x="23" y="33"/>
                </a:cxn>
                <a:cxn ang="0">
                  <a:pos x="11" y="21"/>
                </a:cxn>
                <a:cxn ang="0">
                  <a:pos x="0" y="0"/>
                </a:cxn>
                <a:cxn ang="0">
                  <a:pos x="11" y="2"/>
                </a:cxn>
                <a:cxn ang="0">
                  <a:pos x="23" y="4"/>
                </a:cxn>
                <a:cxn ang="0">
                  <a:pos x="35" y="6"/>
                </a:cxn>
                <a:cxn ang="0">
                  <a:pos x="50" y="23"/>
                </a:cxn>
                <a:cxn ang="0">
                  <a:pos x="51" y="27"/>
                </a:cxn>
                <a:cxn ang="0">
                  <a:pos x="65" y="40"/>
                </a:cxn>
                <a:cxn ang="0">
                  <a:pos x="80" y="52"/>
                </a:cxn>
                <a:cxn ang="0">
                  <a:pos x="92" y="65"/>
                </a:cxn>
                <a:cxn ang="0">
                  <a:pos x="90" y="59"/>
                </a:cxn>
                <a:cxn ang="0">
                  <a:pos x="105" y="70"/>
                </a:cxn>
                <a:cxn ang="0">
                  <a:pos x="113" y="81"/>
                </a:cxn>
                <a:cxn ang="0">
                  <a:pos x="128" y="90"/>
                </a:cxn>
                <a:cxn ang="0">
                  <a:pos x="130" y="92"/>
                </a:cxn>
                <a:cxn ang="0">
                  <a:pos x="140" y="100"/>
                </a:cxn>
                <a:cxn ang="0">
                  <a:pos x="132" y="104"/>
                </a:cxn>
                <a:cxn ang="0">
                  <a:pos x="134" y="107"/>
                </a:cxn>
                <a:cxn ang="0">
                  <a:pos x="132" y="110"/>
                </a:cxn>
                <a:cxn ang="0">
                  <a:pos x="135" y="116"/>
                </a:cxn>
                <a:cxn ang="0">
                  <a:pos x="147" y="118"/>
                </a:cxn>
                <a:cxn ang="0">
                  <a:pos x="150" y="131"/>
                </a:cxn>
                <a:cxn ang="0">
                  <a:pos x="153" y="136"/>
                </a:cxn>
                <a:cxn ang="0">
                  <a:pos x="153" y="143"/>
                </a:cxn>
                <a:cxn ang="0">
                  <a:pos x="166" y="143"/>
                </a:cxn>
                <a:cxn ang="0">
                  <a:pos x="173" y="158"/>
                </a:cxn>
              </a:cxnLst>
              <a:rect l="0" t="0" r="r" b="b"/>
              <a:pathLst>
                <a:path w="173" h="204">
                  <a:moveTo>
                    <a:pt x="173" y="158"/>
                  </a:moveTo>
                  <a:lnTo>
                    <a:pt x="172" y="160"/>
                  </a:lnTo>
                  <a:lnTo>
                    <a:pt x="170" y="182"/>
                  </a:lnTo>
                  <a:lnTo>
                    <a:pt x="167" y="204"/>
                  </a:lnTo>
                  <a:lnTo>
                    <a:pt x="160" y="198"/>
                  </a:lnTo>
                  <a:lnTo>
                    <a:pt x="159" y="202"/>
                  </a:lnTo>
                  <a:lnTo>
                    <a:pt x="150" y="200"/>
                  </a:lnTo>
                  <a:lnTo>
                    <a:pt x="150" y="204"/>
                  </a:lnTo>
                  <a:lnTo>
                    <a:pt x="135" y="189"/>
                  </a:lnTo>
                  <a:lnTo>
                    <a:pt x="126" y="180"/>
                  </a:lnTo>
                  <a:lnTo>
                    <a:pt x="118" y="172"/>
                  </a:lnTo>
                  <a:lnTo>
                    <a:pt x="110" y="164"/>
                  </a:lnTo>
                  <a:lnTo>
                    <a:pt x="101" y="154"/>
                  </a:lnTo>
                  <a:lnTo>
                    <a:pt x="94" y="140"/>
                  </a:lnTo>
                  <a:lnTo>
                    <a:pt x="87" y="125"/>
                  </a:lnTo>
                  <a:lnTo>
                    <a:pt x="84" y="123"/>
                  </a:lnTo>
                  <a:lnTo>
                    <a:pt x="76" y="110"/>
                  </a:lnTo>
                  <a:lnTo>
                    <a:pt x="68" y="96"/>
                  </a:lnTo>
                  <a:lnTo>
                    <a:pt x="63" y="84"/>
                  </a:lnTo>
                  <a:lnTo>
                    <a:pt x="58" y="72"/>
                  </a:lnTo>
                  <a:lnTo>
                    <a:pt x="45" y="59"/>
                  </a:lnTo>
                  <a:lnTo>
                    <a:pt x="35" y="45"/>
                  </a:lnTo>
                  <a:lnTo>
                    <a:pt x="23" y="33"/>
                  </a:lnTo>
                  <a:lnTo>
                    <a:pt x="11" y="21"/>
                  </a:lnTo>
                  <a:lnTo>
                    <a:pt x="0" y="0"/>
                  </a:lnTo>
                  <a:lnTo>
                    <a:pt x="11" y="2"/>
                  </a:lnTo>
                  <a:lnTo>
                    <a:pt x="23" y="4"/>
                  </a:lnTo>
                  <a:lnTo>
                    <a:pt x="35" y="6"/>
                  </a:lnTo>
                  <a:lnTo>
                    <a:pt x="50" y="23"/>
                  </a:lnTo>
                  <a:lnTo>
                    <a:pt x="51" y="27"/>
                  </a:lnTo>
                  <a:lnTo>
                    <a:pt x="65" y="40"/>
                  </a:lnTo>
                  <a:lnTo>
                    <a:pt x="80" y="52"/>
                  </a:lnTo>
                  <a:lnTo>
                    <a:pt x="92" y="65"/>
                  </a:lnTo>
                  <a:lnTo>
                    <a:pt x="90" y="59"/>
                  </a:lnTo>
                  <a:lnTo>
                    <a:pt x="105" y="70"/>
                  </a:lnTo>
                  <a:lnTo>
                    <a:pt x="113" y="81"/>
                  </a:lnTo>
                  <a:lnTo>
                    <a:pt x="128" y="90"/>
                  </a:lnTo>
                  <a:lnTo>
                    <a:pt x="130" y="92"/>
                  </a:lnTo>
                  <a:lnTo>
                    <a:pt x="140" y="100"/>
                  </a:lnTo>
                  <a:lnTo>
                    <a:pt x="132" y="104"/>
                  </a:lnTo>
                  <a:lnTo>
                    <a:pt x="134" y="107"/>
                  </a:lnTo>
                  <a:lnTo>
                    <a:pt x="132" y="110"/>
                  </a:lnTo>
                  <a:lnTo>
                    <a:pt x="135" y="116"/>
                  </a:lnTo>
                  <a:lnTo>
                    <a:pt x="147" y="118"/>
                  </a:lnTo>
                  <a:lnTo>
                    <a:pt x="150" y="131"/>
                  </a:lnTo>
                  <a:lnTo>
                    <a:pt x="153" y="136"/>
                  </a:lnTo>
                  <a:lnTo>
                    <a:pt x="153" y="143"/>
                  </a:lnTo>
                  <a:lnTo>
                    <a:pt x="166" y="143"/>
                  </a:lnTo>
                  <a:lnTo>
                    <a:pt x="173" y="15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 name="Freeform 7">
              <a:extLst>
                <a:ext uri="{FF2B5EF4-FFF2-40B4-BE49-F238E27FC236}">
                  <a16:creationId xmlns:a16="http://schemas.microsoft.com/office/drawing/2014/main" id="{4C294A46-0DE0-4653-B254-2212DCB83C83}"/>
                </a:ext>
              </a:extLst>
            </p:cNvPr>
            <p:cNvSpPr>
              <a:spLocks/>
            </p:cNvSpPr>
            <p:nvPr/>
          </p:nvSpPr>
          <p:spPr bwMode="auto">
            <a:xfrm>
              <a:off x="9395189" y="3841419"/>
              <a:ext cx="296026" cy="296051"/>
            </a:xfrm>
            <a:custGeom>
              <a:avLst/>
              <a:gdLst/>
              <a:ahLst/>
              <a:cxnLst>
                <a:cxn ang="0">
                  <a:pos x="118" y="132"/>
                </a:cxn>
                <a:cxn ang="0">
                  <a:pos x="122" y="138"/>
                </a:cxn>
                <a:cxn ang="0">
                  <a:pos x="139" y="147"/>
                </a:cxn>
                <a:cxn ang="0">
                  <a:pos x="150" y="142"/>
                </a:cxn>
                <a:cxn ang="0">
                  <a:pos x="152" y="113"/>
                </a:cxn>
                <a:cxn ang="0">
                  <a:pos x="154" y="84"/>
                </a:cxn>
                <a:cxn ang="0">
                  <a:pos x="156" y="54"/>
                </a:cxn>
                <a:cxn ang="0">
                  <a:pos x="145" y="37"/>
                </a:cxn>
                <a:cxn ang="0">
                  <a:pos x="106" y="19"/>
                </a:cxn>
                <a:cxn ang="0">
                  <a:pos x="81" y="36"/>
                </a:cxn>
                <a:cxn ang="0">
                  <a:pos x="58" y="47"/>
                </a:cxn>
                <a:cxn ang="0">
                  <a:pos x="51" y="42"/>
                </a:cxn>
                <a:cxn ang="0">
                  <a:pos x="48" y="13"/>
                </a:cxn>
                <a:cxn ang="0">
                  <a:pos x="31" y="4"/>
                </a:cxn>
                <a:cxn ang="0">
                  <a:pos x="2" y="10"/>
                </a:cxn>
                <a:cxn ang="0">
                  <a:pos x="12" y="23"/>
                </a:cxn>
                <a:cxn ang="0">
                  <a:pos x="31" y="34"/>
                </a:cxn>
                <a:cxn ang="0">
                  <a:pos x="42" y="36"/>
                </a:cxn>
                <a:cxn ang="0">
                  <a:pos x="39" y="39"/>
                </a:cxn>
                <a:cxn ang="0">
                  <a:pos x="20" y="42"/>
                </a:cxn>
                <a:cxn ang="0">
                  <a:pos x="27" y="57"/>
                </a:cxn>
                <a:cxn ang="0">
                  <a:pos x="33" y="65"/>
                </a:cxn>
                <a:cxn ang="0">
                  <a:pos x="40" y="59"/>
                </a:cxn>
                <a:cxn ang="0">
                  <a:pos x="57" y="64"/>
                </a:cxn>
                <a:cxn ang="0">
                  <a:pos x="68" y="73"/>
                </a:cxn>
                <a:cxn ang="0">
                  <a:pos x="92" y="83"/>
                </a:cxn>
                <a:cxn ang="0">
                  <a:pos x="109" y="95"/>
                </a:cxn>
                <a:cxn ang="0">
                  <a:pos x="122" y="119"/>
                </a:cxn>
                <a:cxn ang="0">
                  <a:pos x="122" y="123"/>
                </a:cxn>
                <a:cxn ang="0">
                  <a:pos x="117" y="129"/>
                </a:cxn>
                <a:cxn ang="0">
                  <a:pos x="97" y="144"/>
                </a:cxn>
                <a:cxn ang="0">
                  <a:pos x="118" y="131"/>
                </a:cxn>
              </a:cxnLst>
              <a:rect l="0" t="0" r="r" b="b"/>
              <a:pathLst>
                <a:path w="156" h="157">
                  <a:moveTo>
                    <a:pt x="118" y="131"/>
                  </a:moveTo>
                  <a:lnTo>
                    <a:pt x="118" y="132"/>
                  </a:lnTo>
                  <a:lnTo>
                    <a:pt x="117" y="141"/>
                  </a:lnTo>
                  <a:lnTo>
                    <a:pt x="122" y="138"/>
                  </a:lnTo>
                  <a:lnTo>
                    <a:pt x="135" y="136"/>
                  </a:lnTo>
                  <a:lnTo>
                    <a:pt x="139" y="147"/>
                  </a:lnTo>
                  <a:lnTo>
                    <a:pt x="148" y="157"/>
                  </a:lnTo>
                  <a:lnTo>
                    <a:pt x="150" y="142"/>
                  </a:lnTo>
                  <a:lnTo>
                    <a:pt x="151" y="127"/>
                  </a:lnTo>
                  <a:lnTo>
                    <a:pt x="152" y="113"/>
                  </a:lnTo>
                  <a:lnTo>
                    <a:pt x="153" y="99"/>
                  </a:lnTo>
                  <a:lnTo>
                    <a:pt x="154" y="84"/>
                  </a:lnTo>
                  <a:lnTo>
                    <a:pt x="154" y="69"/>
                  </a:lnTo>
                  <a:lnTo>
                    <a:pt x="156" y="54"/>
                  </a:lnTo>
                  <a:lnTo>
                    <a:pt x="156" y="40"/>
                  </a:lnTo>
                  <a:lnTo>
                    <a:pt x="145" y="37"/>
                  </a:lnTo>
                  <a:lnTo>
                    <a:pt x="126" y="28"/>
                  </a:lnTo>
                  <a:lnTo>
                    <a:pt x="106" y="19"/>
                  </a:lnTo>
                  <a:lnTo>
                    <a:pt x="96" y="28"/>
                  </a:lnTo>
                  <a:lnTo>
                    <a:pt x="81" y="36"/>
                  </a:lnTo>
                  <a:lnTo>
                    <a:pt x="64" y="53"/>
                  </a:lnTo>
                  <a:lnTo>
                    <a:pt x="58" y="47"/>
                  </a:lnTo>
                  <a:lnTo>
                    <a:pt x="52" y="39"/>
                  </a:lnTo>
                  <a:lnTo>
                    <a:pt x="51" y="42"/>
                  </a:lnTo>
                  <a:lnTo>
                    <a:pt x="48" y="23"/>
                  </a:lnTo>
                  <a:lnTo>
                    <a:pt x="48" y="13"/>
                  </a:lnTo>
                  <a:lnTo>
                    <a:pt x="46" y="6"/>
                  </a:lnTo>
                  <a:lnTo>
                    <a:pt x="31" y="4"/>
                  </a:lnTo>
                  <a:lnTo>
                    <a:pt x="16" y="0"/>
                  </a:lnTo>
                  <a:lnTo>
                    <a:pt x="2" y="10"/>
                  </a:lnTo>
                  <a:lnTo>
                    <a:pt x="0" y="19"/>
                  </a:lnTo>
                  <a:lnTo>
                    <a:pt x="12" y="23"/>
                  </a:lnTo>
                  <a:lnTo>
                    <a:pt x="20" y="34"/>
                  </a:lnTo>
                  <a:lnTo>
                    <a:pt x="31" y="34"/>
                  </a:lnTo>
                  <a:lnTo>
                    <a:pt x="43" y="33"/>
                  </a:lnTo>
                  <a:lnTo>
                    <a:pt x="42" y="36"/>
                  </a:lnTo>
                  <a:lnTo>
                    <a:pt x="40" y="39"/>
                  </a:lnTo>
                  <a:lnTo>
                    <a:pt x="39" y="39"/>
                  </a:lnTo>
                  <a:lnTo>
                    <a:pt x="34" y="39"/>
                  </a:lnTo>
                  <a:lnTo>
                    <a:pt x="20" y="42"/>
                  </a:lnTo>
                  <a:lnTo>
                    <a:pt x="14" y="46"/>
                  </a:lnTo>
                  <a:lnTo>
                    <a:pt x="27" y="57"/>
                  </a:lnTo>
                  <a:lnTo>
                    <a:pt x="25" y="64"/>
                  </a:lnTo>
                  <a:lnTo>
                    <a:pt x="33" y="65"/>
                  </a:lnTo>
                  <a:lnTo>
                    <a:pt x="43" y="48"/>
                  </a:lnTo>
                  <a:lnTo>
                    <a:pt x="40" y="59"/>
                  </a:lnTo>
                  <a:lnTo>
                    <a:pt x="54" y="64"/>
                  </a:lnTo>
                  <a:lnTo>
                    <a:pt x="57" y="64"/>
                  </a:lnTo>
                  <a:lnTo>
                    <a:pt x="56" y="70"/>
                  </a:lnTo>
                  <a:lnTo>
                    <a:pt x="68" y="73"/>
                  </a:lnTo>
                  <a:lnTo>
                    <a:pt x="80" y="78"/>
                  </a:lnTo>
                  <a:lnTo>
                    <a:pt x="92" y="83"/>
                  </a:lnTo>
                  <a:lnTo>
                    <a:pt x="103" y="88"/>
                  </a:lnTo>
                  <a:lnTo>
                    <a:pt x="109" y="95"/>
                  </a:lnTo>
                  <a:lnTo>
                    <a:pt x="117" y="115"/>
                  </a:lnTo>
                  <a:lnTo>
                    <a:pt x="122" y="119"/>
                  </a:lnTo>
                  <a:lnTo>
                    <a:pt x="114" y="119"/>
                  </a:lnTo>
                  <a:lnTo>
                    <a:pt x="122" y="123"/>
                  </a:lnTo>
                  <a:lnTo>
                    <a:pt x="115" y="124"/>
                  </a:lnTo>
                  <a:lnTo>
                    <a:pt x="117" y="129"/>
                  </a:lnTo>
                  <a:lnTo>
                    <a:pt x="106" y="127"/>
                  </a:lnTo>
                  <a:lnTo>
                    <a:pt x="97" y="144"/>
                  </a:lnTo>
                  <a:lnTo>
                    <a:pt x="111" y="141"/>
                  </a:lnTo>
                  <a:lnTo>
                    <a:pt x="118" y="13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 name="Freeform 8">
              <a:extLst>
                <a:ext uri="{FF2B5EF4-FFF2-40B4-BE49-F238E27FC236}">
                  <a16:creationId xmlns:a16="http://schemas.microsoft.com/office/drawing/2014/main" id="{850FB969-AA8B-46D7-AE22-A4EFC56EDC0B}"/>
                </a:ext>
              </a:extLst>
            </p:cNvPr>
            <p:cNvSpPr>
              <a:spLocks/>
            </p:cNvSpPr>
            <p:nvPr/>
          </p:nvSpPr>
          <p:spPr bwMode="auto">
            <a:xfrm>
              <a:off x="9025584" y="3769545"/>
              <a:ext cx="189936" cy="251558"/>
            </a:xfrm>
            <a:custGeom>
              <a:avLst/>
              <a:gdLst/>
              <a:ahLst/>
              <a:cxnLst>
                <a:cxn ang="0">
                  <a:pos x="101" y="4"/>
                </a:cxn>
                <a:cxn ang="0">
                  <a:pos x="96" y="0"/>
                </a:cxn>
                <a:cxn ang="0">
                  <a:pos x="82" y="16"/>
                </a:cxn>
                <a:cxn ang="0">
                  <a:pos x="61" y="12"/>
                </a:cxn>
                <a:cxn ang="0">
                  <a:pos x="41" y="8"/>
                </a:cxn>
                <a:cxn ang="0">
                  <a:pos x="31" y="8"/>
                </a:cxn>
                <a:cxn ang="0">
                  <a:pos x="25" y="16"/>
                </a:cxn>
                <a:cxn ang="0">
                  <a:pos x="22" y="16"/>
                </a:cxn>
                <a:cxn ang="0">
                  <a:pos x="15" y="30"/>
                </a:cxn>
                <a:cxn ang="0">
                  <a:pos x="16" y="46"/>
                </a:cxn>
                <a:cxn ang="0">
                  <a:pos x="13" y="43"/>
                </a:cxn>
                <a:cxn ang="0">
                  <a:pos x="7" y="60"/>
                </a:cxn>
                <a:cxn ang="0">
                  <a:pos x="0" y="78"/>
                </a:cxn>
                <a:cxn ang="0">
                  <a:pos x="1" y="94"/>
                </a:cxn>
                <a:cxn ang="0">
                  <a:pos x="9" y="95"/>
                </a:cxn>
                <a:cxn ang="0">
                  <a:pos x="9" y="108"/>
                </a:cxn>
                <a:cxn ang="0">
                  <a:pos x="7" y="121"/>
                </a:cxn>
                <a:cxn ang="0">
                  <a:pos x="9" y="132"/>
                </a:cxn>
                <a:cxn ang="0">
                  <a:pos x="23" y="128"/>
                </a:cxn>
                <a:cxn ang="0">
                  <a:pos x="22" y="107"/>
                </a:cxn>
                <a:cxn ang="0">
                  <a:pos x="22" y="85"/>
                </a:cxn>
                <a:cxn ang="0">
                  <a:pos x="31" y="78"/>
                </a:cxn>
                <a:cxn ang="0">
                  <a:pos x="33" y="89"/>
                </a:cxn>
                <a:cxn ang="0">
                  <a:pos x="34" y="96"/>
                </a:cxn>
                <a:cxn ang="0">
                  <a:pos x="41" y="106"/>
                </a:cxn>
                <a:cxn ang="0">
                  <a:pos x="43" y="116"/>
                </a:cxn>
                <a:cxn ang="0">
                  <a:pos x="48" y="114"/>
                </a:cxn>
                <a:cxn ang="0">
                  <a:pos x="59" y="108"/>
                </a:cxn>
                <a:cxn ang="0">
                  <a:pos x="63" y="106"/>
                </a:cxn>
                <a:cxn ang="0">
                  <a:pos x="53" y="91"/>
                </a:cxn>
                <a:cxn ang="0">
                  <a:pos x="55" y="86"/>
                </a:cxn>
                <a:cxn ang="0">
                  <a:pos x="47" y="74"/>
                </a:cxn>
                <a:cxn ang="0">
                  <a:pos x="40" y="62"/>
                </a:cxn>
                <a:cxn ang="0">
                  <a:pos x="46" y="64"/>
                </a:cxn>
                <a:cxn ang="0">
                  <a:pos x="57" y="54"/>
                </a:cxn>
                <a:cxn ang="0">
                  <a:pos x="69" y="46"/>
                </a:cxn>
                <a:cxn ang="0">
                  <a:pos x="72" y="46"/>
                </a:cxn>
                <a:cxn ang="0">
                  <a:pos x="70" y="40"/>
                </a:cxn>
                <a:cxn ang="0">
                  <a:pos x="64" y="42"/>
                </a:cxn>
                <a:cxn ang="0">
                  <a:pos x="45" y="46"/>
                </a:cxn>
                <a:cxn ang="0">
                  <a:pos x="31" y="54"/>
                </a:cxn>
                <a:cxn ang="0">
                  <a:pos x="19" y="37"/>
                </a:cxn>
                <a:cxn ang="0">
                  <a:pos x="25" y="22"/>
                </a:cxn>
                <a:cxn ang="0">
                  <a:pos x="47" y="23"/>
                </a:cxn>
                <a:cxn ang="0">
                  <a:pos x="70" y="24"/>
                </a:cxn>
                <a:cxn ang="0">
                  <a:pos x="91" y="19"/>
                </a:cxn>
                <a:cxn ang="0">
                  <a:pos x="101" y="4"/>
                </a:cxn>
              </a:cxnLst>
              <a:rect l="0" t="0" r="r" b="b"/>
              <a:pathLst>
                <a:path w="101" h="132">
                  <a:moveTo>
                    <a:pt x="101" y="4"/>
                  </a:moveTo>
                  <a:lnTo>
                    <a:pt x="96" y="0"/>
                  </a:lnTo>
                  <a:lnTo>
                    <a:pt x="82" y="16"/>
                  </a:lnTo>
                  <a:lnTo>
                    <a:pt x="61" y="12"/>
                  </a:lnTo>
                  <a:lnTo>
                    <a:pt x="41" y="8"/>
                  </a:lnTo>
                  <a:lnTo>
                    <a:pt x="31" y="8"/>
                  </a:lnTo>
                  <a:lnTo>
                    <a:pt x="25" y="16"/>
                  </a:lnTo>
                  <a:lnTo>
                    <a:pt x="22" y="16"/>
                  </a:lnTo>
                  <a:lnTo>
                    <a:pt x="15" y="30"/>
                  </a:lnTo>
                  <a:lnTo>
                    <a:pt x="16" y="46"/>
                  </a:lnTo>
                  <a:lnTo>
                    <a:pt x="13" y="43"/>
                  </a:lnTo>
                  <a:lnTo>
                    <a:pt x="7" y="60"/>
                  </a:lnTo>
                  <a:lnTo>
                    <a:pt x="0" y="78"/>
                  </a:lnTo>
                  <a:lnTo>
                    <a:pt x="1" y="94"/>
                  </a:lnTo>
                  <a:lnTo>
                    <a:pt x="9" y="95"/>
                  </a:lnTo>
                  <a:lnTo>
                    <a:pt x="9" y="108"/>
                  </a:lnTo>
                  <a:lnTo>
                    <a:pt x="7" y="121"/>
                  </a:lnTo>
                  <a:lnTo>
                    <a:pt x="9" y="132"/>
                  </a:lnTo>
                  <a:lnTo>
                    <a:pt x="23" y="128"/>
                  </a:lnTo>
                  <a:lnTo>
                    <a:pt x="22" y="107"/>
                  </a:lnTo>
                  <a:lnTo>
                    <a:pt x="22" y="85"/>
                  </a:lnTo>
                  <a:lnTo>
                    <a:pt x="31" y="78"/>
                  </a:lnTo>
                  <a:lnTo>
                    <a:pt x="33" y="89"/>
                  </a:lnTo>
                  <a:lnTo>
                    <a:pt x="34" y="96"/>
                  </a:lnTo>
                  <a:lnTo>
                    <a:pt x="41" y="106"/>
                  </a:lnTo>
                  <a:lnTo>
                    <a:pt x="43" y="116"/>
                  </a:lnTo>
                  <a:lnTo>
                    <a:pt x="48" y="114"/>
                  </a:lnTo>
                  <a:lnTo>
                    <a:pt x="59" y="108"/>
                  </a:lnTo>
                  <a:lnTo>
                    <a:pt x="63" y="106"/>
                  </a:lnTo>
                  <a:lnTo>
                    <a:pt x="53" y="91"/>
                  </a:lnTo>
                  <a:lnTo>
                    <a:pt x="55" y="86"/>
                  </a:lnTo>
                  <a:lnTo>
                    <a:pt x="47" y="74"/>
                  </a:lnTo>
                  <a:lnTo>
                    <a:pt x="40" y="62"/>
                  </a:lnTo>
                  <a:lnTo>
                    <a:pt x="46" y="64"/>
                  </a:lnTo>
                  <a:lnTo>
                    <a:pt x="57" y="54"/>
                  </a:lnTo>
                  <a:lnTo>
                    <a:pt x="69" y="46"/>
                  </a:lnTo>
                  <a:lnTo>
                    <a:pt x="72" y="46"/>
                  </a:lnTo>
                  <a:lnTo>
                    <a:pt x="70" y="40"/>
                  </a:lnTo>
                  <a:lnTo>
                    <a:pt x="64" y="42"/>
                  </a:lnTo>
                  <a:lnTo>
                    <a:pt x="45" y="46"/>
                  </a:lnTo>
                  <a:lnTo>
                    <a:pt x="31" y="54"/>
                  </a:lnTo>
                  <a:lnTo>
                    <a:pt x="19" y="37"/>
                  </a:lnTo>
                  <a:lnTo>
                    <a:pt x="25" y="22"/>
                  </a:lnTo>
                  <a:lnTo>
                    <a:pt x="47" y="23"/>
                  </a:lnTo>
                  <a:lnTo>
                    <a:pt x="70" y="24"/>
                  </a:lnTo>
                  <a:lnTo>
                    <a:pt x="91" y="19"/>
                  </a:lnTo>
                  <a:lnTo>
                    <a:pt x="101"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 name="Freeform 9">
              <a:extLst>
                <a:ext uri="{FF2B5EF4-FFF2-40B4-BE49-F238E27FC236}">
                  <a16:creationId xmlns:a16="http://schemas.microsoft.com/office/drawing/2014/main" id="{EF79F52D-6742-4985-8F97-D2788EE89309}"/>
                </a:ext>
              </a:extLst>
            </p:cNvPr>
            <p:cNvSpPr>
              <a:spLocks/>
            </p:cNvSpPr>
            <p:nvPr/>
          </p:nvSpPr>
          <p:spPr bwMode="auto">
            <a:xfrm>
              <a:off x="8608067" y="4031371"/>
              <a:ext cx="277204" cy="95832"/>
            </a:xfrm>
            <a:custGeom>
              <a:avLst/>
              <a:gdLst/>
              <a:ahLst/>
              <a:cxnLst>
                <a:cxn ang="0">
                  <a:pos x="145" y="49"/>
                </a:cxn>
                <a:cxn ang="0">
                  <a:pos x="143" y="47"/>
                </a:cxn>
                <a:cxn ang="0">
                  <a:pos x="144" y="32"/>
                </a:cxn>
                <a:cxn ang="0">
                  <a:pos x="132" y="31"/>
                </a:cxn>
                <a:cxn ang="0">
                  <a:pos x="120" y="29"/>
                </a:cxn>
                <a:cxn ang="0">
                  <a:pos x="116" y="19"/>
                </a:cxn>
                <a:cxn ang="0">
                  <a:pos x="97" y="12"/>
                </a:cxn>
                <a:cxn ang="0">
                  <a:pos x="90" y="7"/>
                </a:cxn>
                <a:cxn ang="0">
                  <a:pos x="83" y="16"/>
                </a:cxn>
                <a:cxn ang="0">
                  <a:pos x="71" y="16"/>
                </a:cxn>
                <a:cxn ang="0">
                  <a:pos x="57" y="16"/>
                </a:cxn>
                <a:cxn ang="0">
                  <a:pos x="51" y="8"/>
                </a:cxn>
                <a:cxn ang="0">
                  <a:pos x="33" y="0"/>
                </a:cxn>
                <a:cxn ang="0">
                  <a:pos x="13" y="0"/>
                </a:cxn>
                <a:cxn ang="0">
                  <a:pos x="5" y="11"/>
                </a:cxn>
                <a:cxn ang="0">
                  <a:pos x="0" y="13"/>
                </a:cxn>
                <a:cxn ang="0">
                  <a:pos x="17" y="18"/>
                </a:cxn>
                <a:cxn ang="0">
                  <a:pos x="17" y="22"/>
                </a:cxn>
                <a:cxn ang="0">
                  <a:pos x="32" y="26"/>
                </a:cxn>
                <a:cxn ang="0">
                  <a:pos x="49" y="30"/>
                </a:cxn>
                <a:cxn ang="0">
                  <a:pos x="63" y="34"/>
                </a:cxn>
                <a:cxn ang="0">
                  <a:pos x="79" y="37"/>
                </a:cxn>
                <a:cxn ang="0">
                  <a:pos x="99" y="40"/>
                </a:cxn>
                <a:cxn ang="0">
                  <a:pos x="119" y="42"/>
                </a:cxn>
                <a:cxn ang="0">
                  <a:pos x="132" y="46"/>
                </a:cxn>
                <a:cxn ang="0">
                  <a:pos x="145" y="49"/>
                </a:cxn>
              </a:cxnLst>
              <a:rect l="0" t="0" r="r" b="b"/>
              <a:pathLst>
                <a:path w="145" h="49">
                  <a:moveTo>
                    <a:pt x="145" y="49"/>
                  </a:moveTo>
                  <a:lnTo>
                    <a:pt x="143" y="47"/>
                  </a:lnTo>
                  <a:lnTo>
                    <a:pt x="144" y="32"/>
                  </a:lnTo>
                  <a:lnTo>
                    <a:pt x="132" y="31"/>
                  </a:lnTo>
                  <a:lnTo>
                    <a:pt x="120" y="29"/>
                  </a:lnTo>
                  <a:lnTo>
                    <a:pt x="116" y="19"/>
                  </a:lnTo>
                  <a:lnTo>
                    <a:pt x="97" y="12"/>
                  </a:lnTo>
                  <a:lnTo>
                    <a:pt x="90" y="7"/>
                  </a:lnTo>
                  <a:lnTo>
                    <a:pt x="83" y="16"/>
                  </a:lnTo>
                  <a:lnTo>
                    <a:pt x="71" y="16"/>
                  </a:lnTo>
                  <a:lnTo>
                    <a:pt x="57" y="16"/>
                  </a:lnTo>
                  <a:lnTo>
                    <a:pt x="51" y="8"/>
                  </a:lnTo>
                  <a:lnTo>
                    <a:pt x="33" y="0"/>
                  </a:lnTo>
                  <a:lnTo>
                    <a:pt x="13" y="0"/>
                  </a:lnTo>
                  <a:lnTo>
                    <a:pt x="5" y="11"/>
                  </a:lnTo>
                  <a:lnTo>
                    <a:pt x="0" y="13"/>
                  </a:lnTo>
                  <a:lnTo>
                    <a:pt x="17" y="18"/>
                  </a:lnTo>
                  <a:lnTo>
                    <a:pt x="17" y="22"/>
                  </a:lnTo>
                  <a:lnTo>
                    <a:pt x="32" y="26"/>
                  </a:lnTo>
                  <a:lnTo>
                    <a:pt x="49" y="30"/>
                  </a:lnTo>
                  <a:lnTo>
                    <a:pt x="63" y="34"/>
                  </a:lnTo>
                  <a:lnTo>
                    <a:pt x="79" y="37"/>
                  </a:lnTo>
                  <a:lnTo>
                    <a:pt x="99" y="40"/>
                  </a:lnTo>
                  <a:lnTo>
                    <a:pt x="119" y="42"/>
                  </a:lnTo>
                  <a:lnTo>
                    <a:pt x="132" y="46"/>
                  </a:lnTo>
                  <a:lnTo>
                    <a:pt x="145" y="4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1" name="Freeform 10">
              <a:extLst>
                <a:ext uri="{FF2B5EF4-FFF2-40B4-BE49-F238E27FC236}">
                  <a16:creationId xmlns:a16="http://schemas.microsoft.com/office/drawing/2014/main" id="{B83D0672-92AF-43C6-96D5-337766C0D8F4}"/>
                </a:ext>
              </a:extLst>
            </p:cNvPr>
            <p:cNvSpPr>
              <a:spLocks/>
            </p:cNvSpPr>
            <p:nvPr/>
          </p:nvSpPr>
          <p:spPr bwMode="auto">
            <a:xfrm>
              <a:off x="9152208" y="4115224"/>
              <a:ext cx="112935" cy="65029"/>
            </a:xfrm>
            <a:custGeom>
              <a:avLst/>
              <a:gdLst/>
              <a:ahLst/>
              <a:cxnLst>
                <a:cxn ang="0">
                  <a:pos x="61" y="0"/>
                </a:cxn>
                <a:cxn ang="0">
                  <a:pos x="39" y="1"/>
                </a:cxn>
                <a:cxn ang="0">
                  <a:pos x="23" y="9"/>
                </a:cxn>
                <a:cxn ang="0">
                  <a:pos x="9" y="17"/>
                </a:cxn>
                <a:cxn ang="0">
                  <a:pos x="1" y="30"/>
                </a:cxn>
                <a:cxn ang="0">
                  <a:pos x="0" y="31"/>
                </a:cxn>
                <a:cxn ang="0">
                  <a:pos x="1" y="35"/>
                </a:cxn>
                <a:cxn ang="0">
                  <a:pos x="22" y="24"/>
                </a:cxn>
                <a:cxn ang="0">
                  <a:pos x="41" y="12"/>
                </a:cxn>
                <a:cxn ang="0">
                  <a:pos x="61" y="0"/>
                </a:cxn>
              </a:cxnLst>
              <a:rect l="0" t="0" r="r" b="b"/>
              <a:pathLst>
                <a:path w="61" h="35">
                  <a:moveTo>
                    <a:pt x="61" y="0"/>
                  </a:moveTo>
                  <a:lnTo>
                    <a:pt x="39" y="1"/>
                  </a:lnTo>
                  <a:lnTo>
                    <a:pt x="23" y="9"/>
                  </a:lnTo>
                  <a:lnTo>
                    <a:pt x="9" y="17"/>
                  </a:lnTo>
                  <a:lnTo>
                    <a:pt x="1" y="30"/>
                  </a:lnTo>
                  <a:lnTo>
                    <a:pt x="0" y="31"/>
                  </a:lnTo>
                  <a:lnTo>
                    <a:pt x="1" y="35"/>
                  </a:lnTo>
                  <a:lnTo>
                    <a:pt x="22" y="24"/>
                  </a:lnTo>
                  <a:lnTo>
                    <a:pt x="41" y="12"/>
                  </a:lnTo>
                  <a:lnTo>
                    <a:pt x="6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2" name="Freeform 11">
              <a:extLst>
                <a:ext uri="{FF2B5EF4-FFF2-40B4-BE49-F238E27FC236}">
                  <a16:creationId xmlns:a16="http://schemas.microsoft.com/office/drawing/2014/main" id="{CE32368C-D6BF-4D34-9F9C-81DCA6463FF3}"/>
                </a:ext>
              </a:extLst>
            </p:cNvPr>
            <p:cNvSpPr>
              <a:spLocks/>
            </p:cNvSpPr>
            <p:nvPr/>
          </p:nvSpPr>
          <p:spPr bwMode="auto">
            <a:xfrm>
              <a:off x="9283965" y="3754144"/>
              <a:ext cx="42778" cy="102677"/>
            </a:xfrm>
            <a:custGeom>
              <a:avLst/>
              <a:gdLst/>
              <a:ahLst/>
              <a:cxnLst>
                <a:cxn ang="0">
                  <a:pos x="23" y="34"/>
                </a:cxn>
                <a:cxn ang="0">
                  <a:pos x="13" y="22"/>
                </a:cxn>
                <a:cxn ang="0">
                  <a:pos x="20" y="14"/>
                </a:cxn>
                <a:cxn ang="0">
                  <a:pos x="16" y="10"/>
                </a:cxn>
                <a:cxn ang="0">
                  <a:pos x="11" y="15"/>
                </a:cxn>
                <a:cxn ang="0">
                  <a:pos x="5" y="24"/>
                </a:cxn>
                <a:cxn ang="0">
                  <a:pos x="5" y="19"/>
                </a:cxn>
                <a:cxn ang="0">
                  <a:pos x="8" y="7"/>
                </a:cxn>
                <a:cxn ang="0">
                  <a:pos x="8" y="0"/>
                </a:cxn>
                <a:cxn ang="0">
                  <a:pos x="0" y="13"/>
                </a:cxn>
                <a:cxn ang="0">
                  <a:pos x="2" y="25"/>
                </a:cxn>
                <a:cxn ang="0">
                  <a:pos x="4" y="38"/>
                </a:cxn>
                <a:cxn ang="0">
                  <a:pos x="13" y="54"/>
                </a:cxn>
                <a:cxn ang="0">
                  <a:pos x="7" y="32"/>
                </a:cxn>
                <a:cxn ang="0">
                  <a:pos x="23" y="34"/>
                </a:cxn>
              </a:cxnLst>
              <a:rect l="0" t="0" r="r" b="b"/>
              <a:pathLst>
                <a:path w="23" h="54">
                  <a:moveTo>
                    <a:pt x="23" y="34"/>
                  </a:moveTo>
                  <a:lnTo>
                    <a:pt x="13" y="22"/>
                  </a:lnTo>
                  <a:lnTo>
                    <a:pt x="20" y="14"/>
                  </a:lnTo>
                  <a:lnTo>
                    <a:pt x="16" y="10"/>
                  </a:lnTo>
                  <a:lnTo>
                    <a:pt x="11" y="15"/>
                  </a:lnTo>
                  <a:lnTo>
                    <a:pt x="5" y="24"/>
                  </a:lnTo>
                  <a:lnTo>
                    <a:pt x="5" y="19"/>
                  </a:lnTo>
                  <a:lnTo>
                    <a:pt x="8" y="7"/>
                  </a:lnTo>
                  <a:lnTo>
                    <a:pt x="8" y="0"/>
                  </a:lnTo>
                  <a:lnTo>
                    <a:pt x="0" y="13"/>
                  </a:lnTo>
                  <a:lnTo>
                    <a:pt x="2" y="25"/>
                  </a:lnTo>
                  <a:lnTo>
                    <a:pt x="4" y="38"/>
                  </a:lnTo>
                  <a:lnTo>
                    <a:pt x="13" y="54"/>
                  </a:lnTo>
                  <a:lnTo>
                    <a:pt x="7" y="32"/>
                  </a:lnTo>
                  <a:lnTo>
                    <a:pt x="23" y="3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3" name="Freeform 12">
              <a:extLst>
                <a:ext uri="{FF2B5EF4-FFF2-40B4-BE49-F238E27FC236}">
                  <a16:creationId xmlns:a16="http://schemas.microsoft.com/office/drawing/2014/main" id="{18BEEC18-621D-4D38-8998-A1DF007FA7BB}"/>
                </a:ext>
              </a:extLst>
            </p:cNvPr>
            <p:cNvSpPr>
              <a:spLocks/>
            </p:cNvSpPr>
            <p:nvPr/>
          </p:nvSpPr>
          <p:spPr bwMode="auto">
            <a:xfrm>
              <a:off x="9295943" y="3925272"/>
              <a:ext cx="87268" cy="30803"/>
            </a:xfrm>
            <a:custGeom>
              <a:avLst/>
              <a:gdLst/>
              <a:ahLst/>
              <a:cxnLst>
                <a:cxn ang="0">
                  <a:pos x="47" y="13"/>
                </a:cxn>
                <a:cxn ang="0">
                  <a:pos x="44" y="16"/>
                </a:cxn>
                <a:cxn ang="0">
                  <a:pos x="25" y="8"/>
                </a:cxn>
                <a:cxn ang="0">
                  <a:pos x="12" y="9"/>
                </a:cxn>
                <a:cxn ang="0">
                  <a:pos x="2" y="6"/>
                </a:cxn>
                <a:cxn ang="0">
                  <a:pos x="0" y="9"/>
                </a:cxn>
                <a:cxn ang="0">
                  <a:pos x="1" y="3"/>
                </a:cxn>
                <a:cxn ang="0">
                  <a:pos x="11" y="0"/>
                </a:cxn>
                <a:cxn ang="0">
                  <a:pos x="25" y="1"/>
                </a:cxn>
                <a:cxn ang="0">
                  <a:pos x="38" y="2"/>
                </a:cxn>
                <a:cxn ang="0">
                  <a:pos x="47" y="13"/>
                </a:cxn>
              </a:cxnLst>
              <a:rect l="0" t="0" r="r" b="b"/>
              <a:pathLst>
                <a:path w="47" h="16">
                  <a:moveTo>
                    <a:pt x="47" y="13"/>
                  </a:moveTo>
                  <a:lnTo>
                    <a:pt x="44" y="16"/>
                  </a:lnTo>
                  <a:lnTo>
                    <a:pt x="25" y="8"/>
                  </a:lnTo>
                  <a:lnTo>
                    <a:pt x="12" y="9"/>
                  </a:lnTo>
                  <a:lnTo>
                    <a:pt x="2" y="6"/>
                  </a:lnTo>
                  <a:lnTo>
                    <a:pt x="0" y="9"/>
                  </a:lnTo>
                  <a:lnTo>
                    <a:pt x="1" y="3"/>
                  </a:lnTo>
                  <a:lnTo>
                    <a:pt x="11" y="0"/>
                  </a:lnTo>
                  <a:lnTo>
                    <a:pt x="25" y="1"/>
                  </a:lnTo>
                  <a:lnTo>
                    <a:pt x="38" y="2"/>
                  </a:lnTo>
                  <a:lnTo>
                    <a:pt x="47"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4" name="Freeform 13">
              <a:extLst>
                <a:ext uri="{FF2B5EF4-FFF2-40B4-BE49-F238E27FC236}">
                  <a16:creationId xmlns:a16="http://schemas.microsoft.com/office/drawing/2014/main" id="{1709C704-C4B3-460B-95F8-2405CD10FDAC}"/>
                </a:ext>
              </a:extLst>
            </p:cNvPr>
            <p:cNvSpPr>
              <a:spLocks/>
            </p:cNvSpPr>
            <p:nvPr/>
          </p:nvSpPr>
          <p:spPr bwMode="auto">
            <a:xfrm>
              <a:off x="9040984" y="4108379"/>
              <a:ext cx="99246" cy="18824"/>
            </a:xfrm>
            <a:custGeom>
              <a:avLst/>
              <a:gdLst/>
              <a:ahLst/>
              <a:cxnLst>
                <a:cxn ang="0">
                  <a:pos x="51" y="1"/>
                </a:cxn>
                <a:cxn ang="0">
                  <a:pos x="51" y="0"/>
                </a:cxn>
                <a:cxn ang="0">
                  <a:pos x="48" y="0"/>
                </a:cxn>
                <a:cxn ang="0">
                  <a:pos x="43" y="4"/>
                </a:cxn>
                <a:cxn ang="0">
                  <a:pos x="33" y="4"/>
                </a:cxn>
                <a:cxn ang="0">
                  <a:pos x="21" y="2"/>
                </a:cxn>
                <a:cxn ang="0">
                  <a:pos x="8" y="1"/>
                </a:cxn>
                <a:cxn ang="0">
                  <a:pos x="0" y="8"/>
                </a:cxn>
                <a:cxn ang="0">
                  <a:pos x="7" y="10"/>
                </a:cxn>
                <a:cxn ang="0">
                  <a:pos x="22" y="10"/>
                </a:cxn>
                <a:cxn ang="0">
                  <a:pos x="38" y="9"/>
                </a:cxn>
                <a:cxn ang="0">
                  <a:pos x="51" y="1"/>
                </a:cxn>
              </a:cxnLst>
              <a:rect l="0" t="0" r="r" b="b"/>
              <a:pathLst>
                <a:path w="51" h="10">
                  <a:moveTo>
                    <a:pt x="51" y="1"/>
                  </a:moveTo>
                  <a:lnTo>
                    <a:pt x="51" y="0"/>
                  </a:lnTo>
                  <a:lnTo>
                    <a:pt x="48" y="0"/>
                  </a:lnTo>
                  <a:lnTo>
                    <a:pt x="43" y="4"/>
                  </a:lnTo>
                  <a:lnTo>
                    <a:pt x="33" y="4"/>
                  </a:lnTo>
                  <a:lnTo>
                    <a:pt x="21" y="2"/>
                  </a:lnTo>
                  <a:lnTo>
                    <a:pt x="8" y="1"/>
                  </a:lnTo>
                  <a:lnTo>
                    <a:pt x="0" y="8"/>
                  </a:lnTo>
                  <a:lnTo>
                    <a:pt x="7" y="10"/>
                  </a:lnTo>
                  <a:lnTo>
                    <a:pt x="22" y="10"/>
                  </a:lnTo>
                  <a:lnTo>
                    <a:pt x="38" y="9"/>
                  </a:lnTo>
                  <a:lnTo>
                    <a:pt x="5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5" name="Freeform 14">
              <a:extLst>
                <a:ext uri="{FF2B5EF4-FFF2-40B4-BE49-F238E27FC236}">
                  <a16:creationId xmlns:a16="http://schemas.microsoft.com/office/drawing/2014/main" id="{25C16F27-9E19-4A3D-AD6E-742F7AD6722F}"/>
                </a:ext>
              </a:extLst>
            </p:cNvPr>
            <p:cNvSpPr>
              <a:spLocks/>
            </p:cNvSpPr>
            <p:nvPr/>
          </p:nvSpPr>
          <p:spPr bwMode="auto">
            <a:xfrm>
              <a:off x="8611490" y="3879067"/>
              <a:ext cx="49623" cy="53050"/>
            </a:xfrm>
            <a:custGeom>
              <a:avLst/>
              <a:gdLst/>
              <a:ahLst/>
              <a:cxnLst>
                <a:cxn ang="0">
                  <a:pos x="26" y="19"/>
                </a:cxn>
                <a:cxn ang="0">
                  <a:pos x="24" y="27"/>
                </a:cxn>
                <a:cxn ang="0">
                  <a:pos x="11" y="19"/>
                </a:cxn>
                <a:cxn ang="0">
                  <a:pos x="6" y="9"/>
                </a:cxn>
                <a:cxn ang="0">
                  <a:pos x="0" y="7"/>
                </a:cxn>
                <a:cxn ang="0">
                  <a:pos x="7" y="1"/>
                </a:cxn>
                <a:cxn ang="0">
                  <a:pos x="11" y="0"/>
                </a:cxn>
                <a:cxn ang="0">
                  <a:pos x="17" y="14"/>
                </a:cxn>
                <a:cxn ang="0">
                  <a:pos x="26" y="19"/>
                </a:cxn>
              </a:cxnLst>
              <a:rect l="0" t="0" r="r" b="b"/>
              <a:pathLst>
                <a:path w="26" h="27">
                  <a:moveTo>
                    <a:pt x="26" y="19"/>
                  </a:moveTo>
                  <a:lnTo>
                    <a:pt x="24" y="27"/>
                  </a:lnTo>
                  <a:lnTo>
                    <a:pt x="11" y="19"/>
                  </a:lnTo>
                  <a:lnTo>
                    <a:pt x="6" y="9"/>
                  </a:lnTo>
                  <a:lnTo>
                    <a:pt x="0" y="7"/>
                  </a:lnTo>
                  <a:lnTo>
                    <a:pt x="7" y="1"/>
                  </a:lnTo>
                  <a:lnTo>
                    <a:pt x="11" y="0"/>
                  </a:lnTo>
                  <a:lnTo>
                    <a:pt x="17" y="14"/>
                  </a:lnTo>
                  <a:lnTo>
                    <a:pt x="26" y="1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6" name="Freeform 15">
              <a:extLst>
                <a:ext uri="{FF2B5EF4-FFF2-40B4-BE49-F238E27FC236}">
                  <a16:creationId xmlns:a16="http://schemas.microsoft.com/office/drawing/2014/main" id="{7B725343-D74E-415D-B40B-34DC60EE1875}"/>
                </a:ext>
              </a:extLst>
            </p:cNvPr>
            <p:cNvSpPr>
              <a:spLocks/>
            </p:cNvSpPr>
            <p:nvPr/>
          </p:nvSpPr>
          <p:spPr bwMode="auto">
            <a:xfrm>
              <a:off x="8950294" y="4103245"/>
              <a:ext cx="71868" cy="30803"/>
            </a:xfrm>
            <a:custGeom>
              <a:avLst/>
              <a:gdLst/>
              <a:ahLst/>
              <a:cxnLst>
                <a:cxn ang="0">
                  <a:pos x="38" y="10"/>
                </a:cxn>
                <a:cxn ang="0">
                  <a:pos x="36" y="5"/>
                </a:cxn>
                <a:cxn ang="0">
                  <a:pos x="31" y="6"/>
                </a:cxn>
                <a:cxn ang="0">
                  <a:pos x="16" y="0"/>
                </a:cxn>
                <a:cxn ang="0">
                  <a:pos x="24" y="10"/>
                </a:cxn>
                <a:cxn ang="0">
                  <a:pos x="15" y="9"/>
                </a:cxn>
                <a:cxn ang="0">
                  <a:pos x="3" y="7"/>
                </a:cxn>
                <a:cxn ang="0">
                  <a:pos x="0" y="17"/>
                </a:cxn>
                <a:cxn ang="0">
                  <a:pos x="13" y="15"/>
                </a:cxn>
                <a:cxn ang="0">
                  <a:pos x="26" y="12"/>
                </a:cxn>
                <a:cxn ang="0">
                  <a:pos x="32" y="13"/>
                </a:cxn>
                <a:cxn ang="0">
                  <a:pos x="31" y="12"/>
                </a:cxn>
                <a:cxn ang="0">
                  <a:pos x="38" y="10"/>
                </a:cxn>
              </a:cxnLst>
              <a:rect l="0" t="0" r="r" b="b"/>
              <a:pathLst>
                <a:path w="38" h="17">
                  <a:moveTo>
                    <a:pt x="38" y="10"/>
                  </a:moveTo>
                  <a:lnTo>
                    <a:pt x="36" y="5"/>
                  </a:lnTo>
                  <a:lnTo>
                    <a:pt x="31" y="6"/>
                  </a:lnTo>
                  <a:lnTo>
                    <a:pt x="16" y="0"/>
                  </a:lnTo>
                  <a:lnTo>
                    <a:pt x="24" y="10"/>
                  </a:lnTo>
                  <a:lnTo>
                    <a:pt x="15" y="9"/>
                  </a:lnTo>
                  <a:lnTo>
                    <a:pt x="3" y="7"/>
                  </a:lnTo>
                  <a:lnTo>
                    <a:pt x="0" y="17"/>
                  </a:lnTo>
                  <a:lnTo>
                    <a:pt x="13" y="15"/>
                  </a:lnTo>
                  <a:lnTo>
                    <a:pt x="26" y="12"/>
                  </a:lnTo>
                  <a:lnTo>
                    <a:pt x="32" y="13"/>
                  </a:lnTo>
                  <a:lnTo>
                    <a:pt x="31" y="12"/>
                  </a:lnTo>
                  <a:lnTo>
                    <a:pt x="38"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7" name="Freeform 16">
              <a:extLst>
                <a:ext uri="{FF2B5EF4-FFF2-40B4-BE49-F238E27FC236}">
                  <a16:creationId xmlns:a16="http://schemas.microsoft.com/office/drawing/2014/main" id="{E7F80916-D5F8-42B8-8628-7A0083B77FE3}"/>
                </a:ext>
              </a:extLst>
            </p:cNvPr>
            <p:cNvSpPr>
              <a:spLocks/>
            </p:cNvSpPr>
            <p:nvPr/>
          </p:nvSpPr>
          <p:spPr bwMode="auto">
            <a:xfrm>
              <a:off x="9015317" y="4149449"/>
              <a:ext cx="53045" cy="27380"/>
            </a:xfrm>
            <a:custGeom>
              <a:avLst/>
              <a:gdLst/>
              <a:ahLst/>
              <a:cxnLst>
                <a:cxn ang="0">
                  <a:pos x="28" y="12"/>
                </a:cxn>
                <a:cxn ang="0">
                  <a:pos x="17" y="15"/>
                </a:cxn>
                <a:cxn ang="0">
                  <a:pos x="4" y="6"/>
                </a:cxn>
                <a:cxn ang="0">
                  <a:pos x="0" y="0"/>
                </a:cxn>
                <a:cxn ang="0">
                  <a:pos x="17" y="0"/>
                </a:cxn>
                <a:cxn ang="0">
                  <a:pos x="28" y="12"/>
                </a:cxn>
              </a:cxnLst>
              <a:rect l="0" t="0" r="r" b="b"/>
              <a:pathLst>
                <a:path w="28" h="15">
                  <a:moveTo>
                    <a:pt x="28" y="12"/>
                  </a:moveTo>
                  <a:lnTo>
                    <a:pt x="17" y="15"/>
                  </a:lnTo>
                  <a:lnTo>
                    <a:pt x="4" y="6"/>
                  </a:lnTo>
                  <a:lnTo>
                    <a:pt x="0" y="0"/>
                  </a:lnTo>
                  <a:lnTo>
                    <a:pt x="17" y="0"/>
                  </a:lnTo>
                  <a:lnTo>
                    <a:pt x="28"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 name="Freeform 17">
              <a:extLst>
                <a:ext uri="{FF2B5EF4-FFF2-40B4-BE49-F238E27FC236}">
                  <a16:creationId xmlns:a16="http://schemas.microsoft.com/office/drawing/2014/main" id="{EFBB9F07-30B4-48E8-8525-FC71061FEB1D}"/>
                </a:ext>
              </a:extLst>
            </p:cNvPr>
            <p:cNvSpPr>
              <a:spLocks/>
            </p:cNvSpPr>
            <p:nvPr/>
          </p:nvSpPr>
          <p:spPr bwMode="auto">
            <a:xfrm>
              <a:off x="9239476" y="3932117"/>
              <a:ext cx="37645" cy="23958"/>
            </a:xfrm>
            <a:custGeom>
              <a:avLst/>
              <a:gdLst/>
              <a:ahLst/>
              <a:cxnLst>
                <a:cxn ang="0">
                  <a:pos x="19" y="6"/>
                </a:cxn>
                <a:cxn ang="0">
                  <a:pos x="12" y="13"/>
                </a:cxn>
                <a:cxn ang="0">
                  <a:pos x="0" y="5"/>
                </a:cxn>
                <a:cxn ang="0">
                  <a:pos x="6" y="0"/>
                </a:cxn>
                <a:cxn ang="0">
                  <a:pos x="19" y="6"/>
                </a:cxn>
              </a:cxnLst>
              <a:rect l="0" t="0" r="r" b="b"/>
              <a:pathLst>
                <a:path w="19" h="13">
                  <a:moveTo>
                    <a:pt x="19" y="6"/>
                  </a:moveTo>
                  <a:lnTo>
                    <a:pt x="12" y="13"/>
                  </a:lnTo>
                  <a:lnTo>
                    <a:pt x="0" y="5"/>
                  </a:lnTo>
                  <a:lnTo>
                    <a:pt x="6" y="0"/>
                  </a:lnTo>
                  <a:lnTo>
                    <a:pt x="19"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 name="Freeform 18">
              <a:extLst>
                <a:ext uri="{FF2B5EF4-FFF2-40B4-BE49-F238E27FC236}">
                  <a16:creationId xmlns:a16="http://schemas.microsoft.com/office/drawing/2014/main" id="{5ABA6427-ED42-4D5D-9950-AF0DFF9884A2}"/>
                </a:ext>
              </a:extLst>
            </p:cNvPr>
            <p:cNvSpPr>
              <a:spLocks/>
            </p:cNvSpPr>
            <p:nvPr/>
          </p:nvSpPr>
          <p:spPr bwMode="auto">
            <a:xfrm>
              <a:off x="8885271" y="4103245"/>
              <a:ext cx="34223" cy="20535"/>
            </a:xfrm>
            <a:custGeom>
              <a:avLst/>
              <a:gdLst/>
              <a:ahLst/>
              <a:cxnLst>
                <a:cxn ang="0">
                  <a:pos x="18" y="5"/>
                </a:cxn>
                <a:cxn ang="0">
                  <a:pos x="16" y="2"/>
                </a:cxn>
                <a:cxn ang="0">
                  <a:pos x="0" y="0"/>
                </a:cxn>
                <a:cxn ang="0">
                  <a:pos x="8" y="10"/>
                </a:cxn>
                <a:cxn ang="0">
                  <a:pos x="18" y="5"/>
                </a:cxn>
              </a:cxnLst>
              <a:rect l="0" t="0" r="r" b="b"/>
              <a:pathLst>
                <a:path w="18" h="10">
                  <a:moveTo>
                    <a:pt x="18" y="5"/>
                  </a:moveTo>
                  <a:lnTo>
                    <a:pt x="16" y="2"/>
                  </a:lnTo>
                  <a:lnTo>
                    <a:pt x="0" y="0"/>
                  </a:lnTo>
                  <a:lnTo>
                    <a:pt x="8" y="10"/>
                  </a:lnTo>
                  <a:lnTo>
                    <a:pt x="18"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0" name="Freeform 19">
              <a:extLst>
                <a:ext uri="{FF2B5EF4-FFF2-40B4-BE49-F238E27FC236}">
                  <a16:creationId xmlns:a16="http://schemas.microsoft.com/office/drawing/2014/main" id="{2E69F9D0-CF14-4C07-833A-BA06A98E9EBD}"/>
                </a:ext>
              </a:extLst>
            </p:cNvPr>
            <p:cNvSpPr>
              <a:spLocks/>
            </p:cNvSpPr>
            <p:nvPr/>
          </p:nvSpPr>
          <p:spPr bwMode="auto">
            <a:xfrm>
              <a:off x="8368508" y="3776391"/>
              <a:ext cx="27378" cy="30803"/>
            </a:xfrm>
            <a:custGeom>
              <a:avLst/>
              <a:gdLst/>
              <a:ahLst/>
              <a:cxnLst>
                <a:cxn ang="0">
                  <a:pos x="14" y="9"/>
                </a:cxn>
                <a:cxn ang="0">
                  <a:pos x="12" y="16"/>
                </a:cxn>
                <a:cxn ang="0">
                  <a:pos x="0" y="1"/>
                </a:cxn>
                <a:cxn ang="0">
                  <a:pos x="4" y="0"/>
                </a:cxn>
                <a:cxn ang="0">
                  <a:pos x="14" y="9"/>
                </a:cxn>
              </a:cxnLst>
              <a:rect l="0" t="0" r="r" b="b"/>
              <a:pathLst>
                <a:path w="14" h="16">
                  <a:moveTo>
                    <a:pt x="14" y="9"/>
                  </a:moveTo>
                  <a:lnTo>
                    <a:pt x="12" y="16"/>
                  </a:lnTo>
                  <a:lnTo>
                    <a:pt x="0" y="1"/>
                  </a:lnTo>
                  <a:lnTo>
                    <a:pt x="4" y="0"/>
                  </a:lnTo>
                  <a:lnTo>
                    <a:pt x="14" y="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1" name="Freeform 20">
              <a:extLst>
                <a:ext uri="{FF2B5EF4-FFF2-40B4-BE49-F238E27FC236}">
                  <a16:creationId xmlns:a16="http://schemas.microsoft.com/office/drawing/2014/main" id="{D6056492-2642-4554-BC4B-D6FC706DCF2F}"/>
                </a:ext>
              </a:extLst>
            </p:cNvPr>
            <p:cNvSpPr>
              <a:spLocks/>
            </p:cNvSpPr>
            <p:nvPr/>
          </p:nvSpPr>
          <p:spPr bwMode="auto">
            <a:xfrm>
              <a:off x="8928049" y="4108379"/>
              <a:ext cx="22245" cy="22247"/>
            </a:xfrm>
            <a:custGeom>
              <a:avLst/>
              <a:gdLst/>
              <a:ahLst/>
              <a:cxnLst>
                <a:cxn ang="0">
                  <a:pos x="12" y="3"/>
                </a:cxn>
                <a:cxn ang="0">
                  <a:pos x="8" y="0"/>
                </a:cxn>
                <a:cxn ang="0">
                  <a:pos x="0" y="9"/>
                </a:cxn>
                <a:cxn ang="0">
                  <a:pos x="6" y="12"/>
                </a:cxn>
                <a:cxn ang="0">
                  <a:pos x="12" y="3"/>
                </a:cxn>
              </a:cxnLst>
              <a:rect l="0" t="0" r="r" b="b"/>
              <a:pathLst>
                <a:path w="12" h="12">
                  <a:moveTo>
                    <a:pt x="12" y="3"/>
                  </a:moveTo>
                  <a:lnTo>
                    <a:pt x="8" y="0"/>
                  </a:lnTo>
                  <a:lnTo>
                    <a:pt x="0" y="9"/>
                  </a:lnTo>
                  <a:lnTo>
                    <a:pt x="6" y="12"/>
                  </a:lnTo>
                  <a:lnTo>
                    <a:pt x="12"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2" name="Freeform 21">
              <a:extLst>
                <a:ext uri="{FF2B5EF4-FFF2-40B4-BE49-F238E27FC236}">
                  <a16:creationId xmlns:a16="http://schemas.microsoft.com/office/drawing/2014/main" id="{1748CD21-9DA4-4F38-98A3-6633E8C2FEAF}"/>
                </a:ext>
              </a:extLst>
            </p:cNvPr>
            <p:cNvSpPr>
              <a:spLocks/>
            </p:cNvSpPr>
            <p:nvPr/>
          </p:nvSpPr>
          <p:spPr bwMode="auto">
            <a:xfrm>
              <a:off x="8683357" y="3913293"/>
              <a:ext cx="23956" cy="23958"/>
            </a:xfrm>
            <a:custGeom>
              <a:avLst/>
              <a:gdLst/>
              <a:ahLst/>
              <a:cxnLst>
                <a:cxn ang="0">
                  <a:pos x="11" y="5"/>
                </a:cxn>
                <a:cxn ang="0">
                  <a:pos x="5" y="9"/>
                </a:cxn>
                <a:cxn ang="0">
                  <a:pos x="0" y="11"/>
                </a:cxn>
                <a:cxn ang="0">
                  <a:pos x="0" y="0"/>
                </a:cxn>
                <a:cxn ang="0">
                  <a:pos x="11" y="5"/>
                </a:cxn>
              </a:cxnLst>
              <a:rect l="0" t="0" r="r" b="b"/>
              <a:pathLst>
                <a:path w="11" h="11">
                  <a:moveTo>
                    <a:pt x="11" y="5"/>
                  </a:moveTo>
                  <a:lnTo>
                    <a:pt x="5" y="9"/>
                  </a:lnTo>
                  <a:lnTo>
                    <a:pt x="0" y="11"/>
                  </a:lnTo>
                  <a:lnTo>
                    <a:pt x="0" y="0"/>
                  </a:lnTo>
                  <a:lnTo>
                    <a:pt x="11"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3" name="Freeform 22">
              <a:extLst>
                <a:ext uri="{FF2B5EF4-FFF2-40B4-BE49-F238E27FC236}">
                  <a16:creationId xmlns:a16="http://schemas.microsoft.com/office/drawing/2014/main" id="{3BC7C410-DFD3-4814-B4EB-6C77407C0B43}"/>
                </a:ext>
              </a:extLst>
            </p:cNvPr>
            <p:cNvSpPr>
              <a:spLocks/>
            </p:cNvSpPr>
            <p:nvPr/>
          </p:nvSpPr>
          <p:spPr bwMode="auto">
            <a:xfrm>
              <a:off x="9133385" y="3978321"/>
              <a:ext cx="18822" cy="42782"/>
            </a:xfrm>
            <a:custGeom>
              <a:avLst/>
              <a:gdLst/>
              <a:ahLst/>
              <a:cxnLst>
                <a:cxn ang="0">
                  <a:pos x="9" y="15"/>
                </a:cxn>
                <a:cxn ang="0">
                  <a:pos x="7" y="14"/>
                </a:cxn>
                <a:cxn ang="0">
                  <a:pos x="7" y="5"/>
                </a:cxn>
                <a:cxn ang="0">
                  <a:pos x="7" y="0"/>
                </a:cxn>
                <a:cxn ang="0">
                  <a:pos x="0" y="22"/>
                </a:cxn>
                <a:cxn ang="0">
                  <a:pos x="9" y="15"/>
                </a:cxn>
              </a:cxnLst>
              <a:rect l="0" t="0" r="r" b="b"/>
              <a:pathLst>
                <a:path w="9" h="22">
                  <a:moveTo>
                    <a:pt x="9" y="15"/>
                  </a:moveTo>
                  <a:lnTo>
                    <a:pt x="7" y="14"/>
                  </a:lnTo>
                  <a:lnTo>
                    <a:pt x="7" y="5"/>
                  </a:lnTo>
                  <a:lnTo>
                    <a:pt x="7" y="0"/>
                  </a:lnTo>
                  <a:lnTo>
                    <a:pt x="0" y="22"/>
                  </a:lnTo>
                  <a:lnTo>
                    <a:pt x="9" y="1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4" name="Freeform 23">
              <a:extLst>
                <a:ext uri="{FF2B5EF4-FFF2-40B4-BE49-F238E27FC236}">
                  <a16:creationId xmlns:a16="http://schemas.microsoft.com/office/drawing/2014/main" id="{94B3B9A0-CD54-4B33-8291-92DA6D87057D}"/>
                </a:ext>
              </a:extLst>
            </p:cNvPr>
            <p:cNvSpPr>
              <a:spLocks/>
            </p:cNvSpPr>
            <p:nvPr/>
          </p:nvSpPr>
          <p:spPr bwMode="auto">
            <a:xfrm>
              <a:off x="9485879" y="4015970"/>
              <a:ext cx="11978" cy="23958"/>
            </a:xfrm>
            <a:custGeom>
              <a:avLst/>
              <a:gdLst/>
              <a:ahLst/>
              <a:cxnLst>
                <a:cxn ang="0">
                  <a:pos x="6" y="10"/>
                </a:cxn>
                <a:cxn ang="0">
                  <a:pos x="6" y="0"/>
                </a:cxn>
                <a:cxn ang="0">
                  <a:pos x="0" y="2"/>
                </a:cxn>
                <a:cxn ang="0">
                  <a:pos x="0" y="13"/>
                </a:cxn>
                <a:cxn ang="0">
                  <a:pos x="6" y="10"/>
                </a:cxn>
              </a:cxnLst>
              <a:rect l="0" t="0" r="r" b="b"/>
              <a:pathLst>
                <a:path w="6" h="13">
                  <a:moveTo>
                    <a:pt x="6" y="10"/>
                  </a:moveTo>
                  <a:lnTo>
                    <a:pt x="6" y="0"/>
                  </a:lnTo>
                  <a:lnTo>
                    <a:pt x="0" y="2"/>
                  </a:lnTo>
                  <a:lnTo>
                    <a:pt x="0" y="13"/>
                  </a:lnTo>
                  <a:lnTo>
                    <a:pt x="6"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 name="Freeform 24">
              <a:extLst>
                <a:ext uri="{FF2B5EF4-FFF2-40B4-BE49-F238E27FC236}">
                  <a16:creationId xmlns:a16="http://schemas.microsoft.com/office/drawing/2014/main" id="{A20D466C-AD43-4649-8397-6E2A25498207}"/>
                </a:ext>
              </a:extLst>
            </p:cNvPr>
            <p:cNvSpPr>
              <a:spLocks/>
            </p:cNvSpPr>
            <p:nvPr/>
          </p:nvSpPr>
          <p:spPr bwMode="auto">
            <a:xfrm>
              <a:off x="8418131" y="3856821"/>
              <a:ext cx="15400" cy="27380"/>
            </a:xfrm>
            <a:custGeom>
              <a:avLst/>
              <a:gdLst/>
              <a:ahLst/>
              <a:cxnLst>
                <a:cxn ang="0">
                  <a:pos x="8" y="13"/>
                </a:cxn>
                <a:cxn ang="0">
                  <a:pos x="2" y="13"/>
                </a:cxn>
                <a:cxn ang="0">
                  <a:pos x="0" y="0"/>
                </a:cxn>
                <a:cxn ang="0">
                  <a:pos x="8" y="13"/>
                </a:cxn>
              </a:cxnLst>
              <a:rect l="0" t="0" r="r" b="b"/>
              <a:pathLst>
                <a:path w="8" h="13">
                  <a:moveTo>
                    <a:pt x="8" y="13"/>
                  </a:moveTo>
                  <a:lnTo>
                    <a:pt x="2" y="13"/>
                  </a:lnTo>
                  <a:lnTo>
                    <a:pt x="0" y="0"/>
                  </a:lnTo>
                  <a:lnTo>
                    <a:pt x="8"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 name="Freeform 25">
              <a:extLst>
                <a:ext uri="{FF2B5EF4-FFF2-40B4-BE49-F238E27FC236}">
                  <a16:creationId xmlns:a16="http://schemas.microsoft.com/office/drawing/2014/main" id="{052BD7CF-88DE-4DE4-B8BB-D4C37FFDC853}"/>
                </a:ext>
              </a:extLst>
            </p:cNvPr>
            <p:cNvSpPr>
              <a:spLocks/>
            </p:cNvSpPr>
            <p:nvPr/>
          </p:nvSpPr>
          <p:spPr bwMode="auto">
            <a:xfrm>
              <a:off x="9128252" y="3986878"/>
              <a:ext cx="11978" cy="22247"/>
            </a:xfrm>
            <a:custGeom>
              <a:avLst/>
              <a:gdLst/>
              <a:ahLst/>
              <a:cxnLst>
                <a:cxn ang="0">
                  <a:pos x="6" y="5"/>
                </a:cxn>
                <a:cxn ang="0">
                  <a:pos x="6" y="0"/>
                </a:cxn>
                <a:cxn ang="0">
                  <a:pos x="3" y="1"/>
                </a:cxn>
                <a:cxn ang="0">
                  <a:pos x="0" y="12"/>
                </a:cxn>
                <a:cxn ang="0">
                  <a:pos x="6" y="5"/>
                </a:cxn>
              </a:cxnLst>
              <a:rect l="0" t="0" r="r" b="b"/>
              <a:pathLst>
                <a:path w="6" h="12">
                  <a:moveTo>
                    <a:pt x="6" y="5"/>
                  </a:moveTo>
                  <a:lnTo>
                    <a:pt x="6" y="0"/>
                  </a:lnTo>
                  <a:lnTo>
                    <a:pt x="3" y="1"/>
                  </a:lnTo>
                  <a:lnTo>
                    <a:pt x="0" y="12"/>
                  </a:lnTo>
                  <a:lnTo>
                    <a:pt x="6" y="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 name="Freeform 26">
              <a:extLst>
                <a:ext uri="{FF2B5EF4-FFF2-40B4-BE49-F238E27FC236}">
                  <a16:creationId xmlns:a16="http://schemas.microsoft.com/office/drawing/2014/main" id="{9CC1E85C-02EF-4F99-9CDF-05FDA7C5254B}"/>
                </a:ext>
              </a:extLst>
            </p:cNvPr>
            <p:cNvSpPr>
              <a:spLocks/>
            </p:cNvSpPr>
            <p:nvPr/>
          </p:nvSpPr>
          <p:spPr bwMode="auto">
            <a:xfrm>
              <a:off x="9189853" y="3884201"/>
              <a:ext cx="30800" cy="6845"/>
            </a:xfrm>
            <a:custGeom>
              <a:avLst/>
              <a:gdLst/>
              <a:ahLst/>
              <a:cxnLst>
                <a:cxn ang="0">
                  <a:pos x="15" y="4"/>
                </a:cxn>
                <a:cxn ang="0">
                  <a:pos x="7" y="0"/>
                </a:cxn>
                <a:cxn ang="0">
                  <a:pos x="0" y="4"/>
                </a:cxn>
                <a:cxn ang="0">
                  <a:pos x="15" y="4"/>
                </a:cxn>
              </a:cxnLst>
              <a:rect l="0" t="0" r="r" b="b"/>
              <a:pathLst>
                <a:path w="15" h="4">
                  <a:moveTo>
                    <a:pt x="15" y="4"/>
                  </a:moveTo>
                  <a:lnTo>
                    <a:pt x="7" y="0"/>
                  </a:lnTo>
                  <a:lnTo>
                    <a:pt x="0" y="4"/>
                  </a:lnTo>
                  <a:lnTo>
                    <a:pt x="15"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8" name="Freeform 27">
              <a:extLst>
                <a:ext uri="{FF2B5EF4-FFF2-40B4-BE49-F238E27FC236}">
                  <a16:creationId xmlns:a16="http://schemas.microsoft.com/office/drawing/2014/main" id="{701BEC74-E1FB-4B42-B45A-015965D4EDFD}"/>
                </a:ext>
              </a:extLst>
            </p:cNvPr>
            <p:cNvSpPr>
              <a:spLocks/>
            </p:cNvSpPr>
            <p:nvPr/>
          </p:nvSpPr>
          <p:spPr bwMode="auto">
            <a:xfrm>
              <a:off x="9475612" y="4039927"/>
              <a:ext cx="10267" cy="22247"/>
            </a:xfrm>
            <a:custGeom>
              <a:avLst/>
              <a:gdLst/>
              <a:ahLst/>
              <a:cxnLst>
                <a:cxn ang="0">
                  <a:pos x="6" y="6"/>
                </a:cxn>
                <a:cxn ang="0">
                  <a:pos x="1" y="11"/>
                </a:cxn>
                <a:cxn ang="0">
                  <a:pos x="0" y="0"/>
                </a:cxn>
                <a:cxn ang="0">
                  <a:pos x="6" y="6"/>
                </a:cxn>
              </a:cxnLst>
              <a:rect l="0" t="0" r="r" b="b"/>
              <a:pathLst>
                <a:path w="6" h="11">
                  <a:moveTo>
                    <a:pt x="6" y="6"/>
                  </a:moveTo>
                  <a:lnTo>
                    <a:pt x="1" y="11"/>
                  </a:lnTo>
                  <a:lnTo>
                    <a:pt x="0" y="0"/>
                  </a:lnTo>
                  <a:lnTo>
                    <a:pt x="6"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 name="Freeform 28">
              <a:extLst>
                <a:ext uri="{FF2B5EF4-FFF2-40B4-BE49-F238E27FC236}">
                  <a16:creationId xmlns:a16="http://schemas.microsoft.com/office/drawing/2014/main" id="{A4F15234-3A6A-4875-9CA7-4DB43E7AE83E}"/>
                </a:ext>
              </a:extLst>
            </p:cNvPr>
            <p:cNvSpPr>
              <a:spLocks/>
            </p:cNvSpPr>
            <p:nvPr/>
          </p:nvSpPr>
          <p:spPr bwMode="auto">
            <a:xfrm>
              <a:off x="8832226" y="4065597"/>
              <a:ext cx="42778" cy="3423"/>
            </a:xfrm>
            <a:custGeom>
              <a:avLst/>
              <a:gdLst/>
              <a:ahLst/>
              <a:cxnLst>
                <a:cxn ang="0">
                  <a:pos x="22" y="0"/>
                </a:cxn>
                <a:cxn ang="0">
                  <a:pos x="6" y="2"/>
                </a:cxn>
                <a:cxn ang="0">
                  <a:pos x="0" y="0"/>
                </a:cxn>
                <a:cxn ang="0">
                  <a:pos x="22" y="0"/>
                </a:cxn>
              </a:cxnLst>
              <a:rect l="0" t="0" r="r" b="b"/>
              <a:pathLst>
                <a:path w="22" h="2">
                  <a:moveTo>
                    <a:pt x="22" y="0"/>
                  </a:moveTo>
                  <a:lnTo>
                    <a:pt x="6" y="2"/>
                  </a:lnTo>
                  <a:lnTo>
                    <a:pt x="0" y="0"/>
                  </a:lnTo>
                  <a:lnTo>
                    <a:pt x="2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0" name="Freeform 29">
              <a:extLst>
                <a:ext uri="{FF2B5EF4-FFF2-40B4-BE49-F238E27FC236}">
                  <a16:creationId xmlns:a16="http://schemas.microsoft.com/office/drawing/2014/main" id="{09F66C33-CD9A-4E50-9BB7-215905453329}"/>
                </a:ext>
              </a:extLst>
            </p:cNvPr>
            <p:cNvSpPr>
              <a:spLocks/>
            </p:cNvSpPr>
            <p:nvPr/>
          </p:nvSpPr>
          <p:spPr bwMode="auto">
            <a:xfrm>
              <a:off x="8878426" y="3658312"/>
              <a:ext cx="25667" cy="27380"/>
            </a:xfrm>
            <a:custGeom>
              <a:avLst/>
              <a:gdLst/>
              <a:ahLst/>
              <a:cxnLst>
                <a:cxn ang="0">
                  <a:pos x="9" y="16"/>
                </a:cxn>
                <a:cxn ang="0">
                  <a:pos x="0" y="6"/>
                </a:cxn>
                <a:cxn ang="0">
                  <a:pos x="15" y="0"/>
                </a:cxn>
                <a:cxn ang="0">
                  <a:pos x="15" y="1"/>
                </a:cxn>
                <a:cxn ang="0">
                  <a:pos x="12" y="10"/>
                </a:cxn>
                <a:cxn ang="0">
                  <a:pos x="9" y="16"/>
                </a:cxn>
              </a:cxnLst>
              <a:rect l="0" t="0" r="r" b="b"/>
              <a:pathLst>
                <a:path w="15" h="16">
                  <a:moveTo>
                    <a:pt x="9" y="16"/>
                  </a:moveTo>
                  <a:lnTo>
                    <a:pt x="0" y="6"/>
                  </a:lnTo>
                  <a:lnTo>
                    <a:pt x="15" y="0"/>
                  </a:lnTo>
                  <a:lnTo>
                    <a:pt x="15" y="1"/>
                  </a:lnTo>
                  <a:lnTo>
                    <a:pt x="12" y="10"/>
                  </a:lnTo>
                  <a:lnTo>
                    <a:pt x="9" y="1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1" name="Freeform 30">
              <a:extLst>
                <a:ext uri="{FF2B5EF4-FFF2-40B4-BE49-F238E27FC236}">
                  <a16:creationId xmlns:a16="http://schemas.microsoft.com/office/drawing/2014/main" id="{38FE4C02-BEC6-49B4-8C78-E27CFD6DC0C9}"/>
                </a:ext>
              </a:extLst>
            </p:cNvPr>
            <p:cNvSpPr>
              <a:spLocks/>
            </p:cNvSpPr>
            <p:nvPr/>
          </p:nvSpPr>
          <p:spPr bwMode="auto">
            <a:xfrm>
              <a:off x="8744958" y="3589861"/>
              <a:ext cx="289182" cy="205353"/>
            </a:xfrm>
            <a:custGeom>
              <a:avLst/>
              <a:gdLst/>
              <a:ahLst/>
              <a:cxnLst>
                <a:cxn ang="0">
                  <a:pos x="113" y="0"/>
                </a:cxn>
                <a:cxn ang="0">
                  <a:pos x="122" y="7"/>
                </a:cxn>
                <a:cxn ang="0">
                  <a:pos x="122" y="19"/>
                </a:cxn>
                <a:cxn ang="0">
                  <a:pos x="129" y="16"/>
                </a:cxn>
                <a:cxn ang="0">
                  <a:pos x="129" y="21"/>
                </a:cxn>
                <a:cxn ang="0">
                  <a:pos x="132" y="22"/>
                </a:cxn>
                <a:cxn ang="0">
                  <a:pos x="151" y="30"/>
                </a:cxn>
                <a:cxn ang="0">
                  <a:pos x="134" y="35"/>
                </a:cxn>
                <a:cxn ang="0">
                  <a:pos x="139" y="45"/>
                </a:cxn>
                <a:cxn ang="0">
                  <a:pos x="128" y="47"/>
                </a:cxn>
                <a:cxn ang="0">
                  <a:pos x="125" y="51"/>
                </a:cxn>
                <a:cxn ang="0">
                  <a:pos x="111" y="48"/>
                </a:cxn>
                <a:cxn ang="0">
                  <a:pos x="97" y="47"/>
                </a:cxn>
                <a:cxn ang="0">
                  <a:pos x="93" y="59"/>
                </a:cxn>
                <a:cxn ang="0">
                  <a:pos x="90" y="72"/>
                </a:cxn>
                <a:cxn ang="0">
                  <a:pos x="86" y="81"/>
                </a:cxn>
                <a:cxn ang="0">
                  <a:pos x="79" y="96"/>
                </a:cxn>
                <a:cxn ang="0">
                  <a:pos x="66" y="102"/>
                </a:cxn>
                <a:cxn ang="0">
                  <a:pos x="45" y="97"/>
                </a:cxn>
                <a:cxn ang="0">
                  <a:pos x="39" y="105"/>
                </a:cxn>
                <a:cxn ang="0">
                  <a:pos x="19" y="109"/>
                </a:cxn>
                <a:cxn ang="0">
                  <a:pos x="3" y="100"/>
                </a:cxn>
                <a:cxn ang="0">
                  <a:pos x="0" y="88"/>
                </a:cxn>
                <a:cxn ang="0">
                  <a:pos x="1" y="89"/>
                </a:cxn>
                <a:cxn ang="0">
                  <a:pos x="13" y="96"/>
                </a:cxn>
                <a:cxn ang="0">
                  <a:pos x="25" y="100"/>
                </a:cxn>
                <a:cxn ang="0">
                  <a:pos x="23" y="99"/>
                </a:cxn>
                <a:cxn ang="0">
                  <a:pos x="25" y="95"/>
                </a:cxn>
                <a:cxn ang="0">
                  <a:pos x="26" y="87"/>
                </a:cxn>
                <a:cxn ang="0">
                  <a:pos x="26" y="83"/>
                </a:cxn>
                <a:cxn ang="0">
                  <a:pos x="29" y="77"/>
                </a:cxn>
                <a:cxn ang="0">
                  <a:pos x="39" y="73"/>
                </a:cxn>
                <a:cxn ang="0">
                  <a:pos x="50" y="70"/>
                </a:cxn>
                <a:cxn ang="0">
                  <a:pos x="60" y="57"/>
                </a:cxn>
                <a:cxn ang="0">
                  <a:pos x="69" y="42"/>
                </a:cxn>
                <a:cxn ang="0">
                  <a:pos x="78" y="52"/>
                </a:cxn>
                <a:cxn ang="0">
                  <a:pos x="81" y="46"/>
                </a:cxn>
                <a:cxn ang="0">
                  <a:pos x="84" y="37"/>
                </a:cxn>
                <a:cxn ang="0">
                  <a:pos x="87" y="47"/>
                </a:cxn>
                <a:cxn ang="0">
                  <a:pos x="87" y="40"/>
                </a:cxn>
                <a:cxn ang="0">
                  <a:pos x="91" y="35"/>
                </a:cxn>
                <a:cxn ang="0">
                  <a:pos x="90" y="30"/>
                </a:cxn>
                <a:cxn ang="0">
                  <a:pos x="93" y="25"/>
                </a:cxn>
                <a:cxn ang="0">
                  <a:pos x="101" y="13"/>
                </a:cxn>
                <a:cxn ang="0">
                  <a:pos x="108" y="0"/>
                </a:cxn>
                <a:cxn ang="0">
                  <a:pos x="109" y="5"/>
                </a:cxn>
                <a:cxn ang="0">
                  <a:pos x="113" y="0"/>
                </a:cxn>
              </a:cxnLst>
              <a:rect l="0" t="0" r="r" b="b"/>
              <a:pathLst>
                <a:path w="151" h="109">
                  <a:moveTo>
                    <a:pt x="113" y="0"/>
                  </a:moveTo>
                  <a:lnTo>
                    <a:pt x="122" y="7"/>
                  </a:lnTo>
                  <a:lnTo>
                    <a:pt x="122" y="19"/>
                  </a:lnTo>
                  <a:lnTo>
                    <a:pt x="129" y="16"/>
                  </a:lnTo>
                  <a:lnTo>
                    <a:pt x="129" y="21"/>
                  </a:lnTo>
                  <a:lnTo>
                    <a:pt x="132" y="22"/>
                  </a:lnTo>
                  <a:lnTo>
                    <a:pt x="151" y="30"/>
                  </a:lnTo>
                  <a:lnTo>
                    <a:pt x="134" y="35"/>
                  </a:lnTo>
                  <a:lnTo>
                    <a:pt x="139" y="45"/>
                  </a:lnTo>
                  <a:lnTo>
                    <a:pt x="128" y="47"/>
                  </a:lnTo>
                  <a:lnTo>
                    <a:pt x="125" y="51"/>
                  </a:lnTo>
                  <a:lnTo>
                    <a:pt x="111" y="48"/>
                  </a:lnTo>
                  <a:lnTo>
                    <a:pt x="97" y="47"/>
                  </a:lnTo>
                  <a:lnTo>
                    <a:pt x="93" y="59"/>
                  </a:lnTo>
                  <a:lnTo>
                    <a:pt x="90" y="72"/>
                  </a:lnTo>
                  <a:lnTo>
                    <a:pt x="86" y="81"/>
                  </a:lnTo>
                  <a:lnTo>
                    <a:pt x="79" y="96"/>
                  </a:lnTo>
                  <a:lnTo>
                    <a:pt x="66" y="102"/>
                  </a:lnTo>
                  <a:lnTo>
                    <a:pt x="45" y="97"/>
                  </a:lnTo>
                  <a:lnTo>
                    <a:pt x="39" y="105"/>
                  </a:lnTo>
                  <a:lnTo>
                    <a:pt x="19" y="109"/>
                  </a:lnTo>
                  <a:lnTo>
                    <a:pt x="3" y="100"/>
                  </a:lnTo>
                  <a:lnTo>
                    <a:pt x="0" y="88"/>
                  </a:lnTo>
                  <a:lnTo>
                    <a:pt x="1" y="89"/>
                  </a:lnTo>
                  <a:lnTo>
                    <a:pt x="13" y="96"/>
                  </a:lnTo>
                  <a:lnTo>
                    <a:pt x="25" y="100"/>
                  </a:lnTo>
                  <a:lnTo>
                    <a:pt x="23" y="99"/>
                  </a:lnTo>
                  <a:lnTo>
                    <a:pt x="25" y="95"/>
                  </a:lnTo>
                  <a:lnTo>
                    <a:pt x="26" y="87"/>
                  </a:lnTo>
                  <a:lnTo>
                    <a:pt x="26" y="83"/>
                  </a:lnTo>
                  <a:lnTo>
                    <a:pt x="29" y="77"/>
                  </a:lnTo>
                  <a:lnTo>
                    <a:pt x="39" y="73"/>
                  </a:lnTo>
                  <a:lnTo>
                    <a:pt x="50" y="70"/>
                  </a:lnTo>
                  <a:lnTo>
                    <a:pt x="60" y="57"/>
                  </a:lnTo>
                  <a:lnTo>
                    <a:pt x="69" y="42"/>
                  </a:lnTo>
                  <a:lnTo>
                    <a:pt x="78" y="52"/>
                  </a:lnTo>
                  <a:lnTo>
                    <a:pt x="81" y="46"/>
                  </a:lnTo>
                  <a:lnTo>
                    <a:pt x="84" y="37"/>
                  </a:lnTo>
                  <a:lnTo>
                    <a:pt x="87" y="47"/>
                  </a:lnTo>
                  <a:lnTo>
                    <a:pt x="87" y="40"/>
                  </a:lnTo>
                  <a:lnTo>
                    <a:pt x="91" y="35"/>
                  </a:lnTo>
                  <a:lnTo>
                    <a:pt x="90" y="30"/>
                  </a:lnTo>
                  <a:lnTo>
                    <a:pt x="93" y="25"/>
                  </a:lnTo>
                  <a:lnTo>
                    <a:pt x="101" y="13"/>
                  </a:lnTo>
                  <a:lnTo>
                    <a:pt x="108" y="0"/>
                  </a:lnTo>
                  <a:lnTo>
                    <a:pt x="109" y="5"/>
                  </a:lnTo>
                  <a:lnTo>
                    <a:pt x="11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2" name="Freeform 31">
              <a:extLst>
                <a:ext uri="{FF2B5EF4-FFF2-40B4-BE49-F238E27FC236}">
                  <a16:creationId xmlns:a16="http://schemas.microsoft.com/office/drawing/2014/main" id="{4CA0BA70-ADAD-4FF3-A566-94582CCEFE7C}"/>
                </a:ext>
              </a:extLst>
            </p:cNvPr>
            <p:cNvSpPr>
              <a:spLocks/>
            </p:cNvSpPr>
            <p:nvPr/>
          </p:nvSpPr>
          <p:spPr bwMode="auto">
            <a:xfrm>
              <a:off x="8455776" y="3601840"/>
              <a:ext cx="130046" cy="174550"/>
            </a:xfrm>
            <a:custGeom>
              <a:avLst/>
              <a:gdLst/>
              <a:ahLst/>
              <a:cxnLst>
                <a:cxn ang="0">
                  <a:pos x="59" y="93"/>
                </a:cxn>
                <a:cxn ang="0">
                  <a:pos x="40" y="80"/>
                </a:cxn>
                <a:cxn ang="0">
                  <a:pos x="21" y="66"/>
                </a:cxn>
                <a:cxn ang="0">
                  <a:pos x="12" y="46"/>
                </a:cxn>
                <a:cxn ang="0">
                  <a:pos x="6" y="24"/>
                </a:cxn>
                <a:cxn ang="0">
                  <a:pos x="0" y="3"/>
                </a:cxn>
                <a:cxn ang="0">
                  <a:pos x="1" y="0"/>
                </a:cxn>
                <a:cxn ang="0">
                  <a:pos x="13" y="6"/>
                </a:cxn>
                <a:cxn ang="0">
                  <a:pos x="15" y="14"/>
                </a:cxn>
                <a:cxn ang="0">
                  <a:pos x="25" y="14"/>
                </a:cxn>
                <a:cxn ang="0">
                  <a:pos x="31" y="6"/>
                </a:cxn>
                <a:cxn ang="0">
                  <a:pos x="41" y="16"/>
                </a:cxn>
                <a:cxn ang="0">
                  <a:pos x="52" y="27"/>
                </a:cxn>
                <a:cxn ang="0">
                  <a:pos x="53" y="44"/>
                </a:cxn>
                <a:cxn ang="0">
                  <a:pos x="55" y="60"/>
                </a:cxn>
                <a:cxn ang="0">
                  <a:pos x="63" y="76"/>
                </a:cxn>
                <a:cxn ang="0">
                  <a:pos x="70" y="92"/>
                </a:cxn>
                <a:cxn ang="0">
                  <a:pos x="64" y="89"/>
                </a:cxn>
                <a:cxn ang="0">
                  <a:pos x="59" y="93"/>
                </a:cxn>
              </a:cxnLst>
              <a:rect l="0" t="0" r="r" b="b"/>
              <a:pathLst>
                <a:path w="70" h="93">
                  <a:moveTo>
                    <a:pt x="59" y="93"/>
                  </a:moveTo>
                  <a:lnTo>
                    <a:pt x="40" y="80"/>
                  </a:lnTo>
                  <a:lnTo>
                    <a:pt x="21" y="66"/>
                  </a:lnTo>
                  <a:lnTo>
                    <a:pt x="12" y="46"/>
                  </a:lnTo>
                  <a:lnTo>
                    <a:pt x="6" y="24"/>
                  </a:lnTo>
                  <a:lnTo>
                    <a:pt x="0" y="3"/>
                  </a:lnTo>
                  <a:lnTo>
                    <a:pt x="1" y="0"/>
                  </a:lnTo>
                  <a:lnTo>
                    <a:pt x="13" y="6"/>
                  </a:lnTo>
                  <a:lnTo>
                    <a:pt x="15" y="14"/>
                  </a:lnTo>
                  <a:lnTo>
                    <a:pt x="25" y="14"/>
                  </a:lnTo>
                  <a:lnTo>
                    <a:pt x="31" y="6"/>
                  </a:lnTo>
                  <a:lnTo>
                    <a:pt x="41" y="16"/>
                  </a:lnTo>
                  <a:lnTo>
                    <a:pt x="52" y="27"/>
                  </a:lnTo>
                  <a:lnTo>
                    <a:pt x="53" y="44"/>
                  </a:lnTo>
                  <a:lnTo>
                    <a:pt x="55" y="60"/>
                  </a:lnTo>
                  <a:lnTo>
                    <a:pt x="63" y="76"/>
                  </a:lnTo>
                  <a:lnTo>
                    <a:pt x="70" y="92"/>
                  </a:lnTo>
                  <a:lnTo>
                    <a:pt x="64" y="89"/>
                  </a:lnTo>
                  <a:lnTo>
                    <a:pt x="59" y="9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3" name="Freeform 32">
              <a:extLst>
                <a:ext uri="{FF2B5EF4-FFF2-40B4-BE49-F238E27FC236}">
                  <a16:creationId xmlns:a16="http://schemas.microsoft.com/office/drawing/2014/main" id="{16F46B6F-279F-491E-8CCF-D5357CDDD91E}"/>
                </a:ext>
              </a:extLst>
            </p:cNvPr>
            <p:cNvSpPr>
              <a:spLocks/>
            </p:cNvSpPr>
            <p:nvPr/>
          </p:nvSpPr>
          <p:spPr bwMode="auto">
            <a:xfrm>
              <a:off x="10474914" y="3841419"/>
              <a:ext cx="3422" cy="3423"/>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4" name="Freeform 33">
              <a:extLst>
                <a:ext uri="{FF2B5EF4-FFF2-40B4-BE49-F238E27FC236}">
                  <a16:creationId xmlns:a16="http://schemas.microsoft.com/office/drawing/2014/main" id="{0B93B9C6-1041-417B-9815-32D5C1F174C1}"/>
                </a:ext>
              </a:extLst>
            </p:cNvPr>
            <p:cNvSpPr>
              <a:spLocks/>
            </p:cNvSpPr>
            <p:nvPr/>
          </p:nvSpPr>
          <p:spPr bwMode="auto">
            <a:xfrm>
              <a:off x="9675815" y="3913293"/>
              <a:ext cx="292604" cy="273805"/>
            </a:xfrm>
            <a:custGeom>
              <a:avLst/>
              <a:gdLst/>
              <a:ahLst/>
              <a:cxnLst>
                <a:cxn ang="0">
                  <a:pos x="154" y="137"/>
                </a:cxn>
                <a:cxn ang="0">
                  <a:pos x="148" y="140"/>
                </a:cxn>
                <a:cxn ang="0">
                  <a:pos x="148" y="144"/>
                </a:cxn>
                <a:cxn ang="0">
                  <a:pos x="140" y="141"/>
                </a:cxn>
                <a:cxn ang="0">
                  <a:pos x="124" y="139"/>
                </a:cxn>
                <a:cxn ang="0">
                  <a:pos x="110" y="135"/>
                </a:cxn>
                <a:cxn ang="0">
                  <a:pos x="101" y="126"/>
                </a:cxn>
                <a:cxn ang="0">
                  <a:pos x="93" y="117"/>
                </a:cxn>
                <a:cxn ang="0">
                  <a:pos x="84" y="107"/>
                </a:cxn>
                <a:cxn ang="0">
                  <a:pos x="77" y="96"/>
                </a:cxn>
                <a:cxn ang="0">
                  <a:pos x="57" y="89"/>
                </a:cxn>
                <a:cxn ang="0">
                  <a:pos x="56" y="92"/>
                </a:cxn>
                <a:cxn ang="0">
                  <a:pos x="46" y="89"/>
                </a:cxn>
                <a:cxn ang="0">
                  <a:pos x="47" y="97"/>
                </a:cxn>
                <a:cxn ang="0">
                  <a:pos x="41" y="97"/>
                </a:cxn>
                <a:cxn ang="0">
                  <a:pos x="42" y="101"/>
                </a:cxn>
                <a:cxn ang="0">
                  <a:pos x="21" y="101"/>
                </a:cxn>
                <a:cxn ang="0">
                  <a:pos x="39" y="110"/>
                </a:cxn>
                <a:cxn ang="0">
                  <a:pos x="30" y="117"/>
                </a:cxn>
                <a:cxn ang="0">
                  <a:pos x="16" y="117"/>
                </a:cxn>
                <a:cxn ang="0">
                  <a:pos x="0" y="117"/>
                </a:cxn>
                <a:cxn ang="0">
                  <a:pos x="2" y="102"/>
                </a:cxn>
                <a:cxn ang="0">
                  <a:pos x="3" y="87"/>
                </a:cxn>
                <a:cxn ang="0">
                  <a:pos x="4" y="73"/>
                </a:cxn>
                <a:cxn ang="0">
                  <a:pos x="5" y="59"/>
                </a:cxn>
                <a:cxn ang="0">
                  <a:pos x="6" y="44"/>
                </a:cxn>
                <a:cxn ang="0">
                  <a:pos x="6" y="29"/>
                </a:cxn>
                <a:cxn ang="0">
                  <a:pos x="8" y="14"/>
                </a:cxn>
                <a:cxn ang="0">
                  <a:pos x="8" y="0"/>
                </a:cxn>
                <a:cxn ang="0">
                  <a:pos x="23" y="7"/>
                </a:cxn>
                <a:cxn ang="0">
                  <a:pos x="38" y="13"/>
                </a:cxn>
                <a:cxn ang="0">
                  <a:pos x="53" y="20"/>
                </a:cxn>
                <a:cxn ang="0">
                  <a:pos x="69" y="27"/>
                </a:cxn>
                <a:cxn ang="0">
                  <a:pos x="82" y="44"/>
                </a:cxn>
                <a:cxn ang="0">
                  <a:pos x="83" y="53"/>
                </a:cxn>
                <a:cxn ang="0">
                  <a:pos x="96" y="59"/>
                </a:cxn>
                <a:cxn ang="0">
                  <a:pos x="111" y="65"/>
                </a:cxn>
                <a:cxn ang="0">
                  <a:pos x="112" y="74"/>
                </a:cxn>
                <a:cxn ang="0">
                  <a:pos x="98" y="75"/>
                </a:cxn>
                <a:cxn ang="0">
                  <a:pos x="105" y="91"/>
                </a:cxn>
                <a:cxn ang="0">
                  <a:pos x="116" y="101"/>
                </a:cxn>
                <a:cxn ang="0">
                  <a:pos x="123" y="116"/>
                </a:cxn>
                <a:cxn ang="0">
                  <a:pos x="132" y="117"/>
                </a:cxn>
                <a:cxn ang="0">
                  <a:pos x="131" y="123"/>
                </a:cxn>
                <a:cxn ang="0">
                  <a:pos x="140" y="128"/>
                </a:cxn>
                <a:cxn ang="0">
                  <a:pos x="138" y="132"/>
                </a:cxn>
                <a:cxn ang="0">
                  <a:pos x="154" y="137"/>
                </a:cxn>
              </a:cxnLst>
              <a:rect l="0" t="0" r="r" b="b"/>
              <a:pathLst>
                <a:path w="154" h="144">
                  <a:moveTo>
                    <a:pt x="154" y="137"/>
                  </a:moveTo>
                  <a:lnTo>
                    <a:pt x="148" y="140"/>
                  </a:lnTo>
                  <a:lnTo>
                    <a:pt x="148" y="144"/>
                  </a:lnTo>
                  <a:lnTo>
                    <a:pt x="140" y="141"/>
                  </a:lnTo>
                  <a:lnTo>
                    <a:pt x="124" y="139"/>
                  </a:lnTo>
                  <a:lnTo>
                    <a:pt x="110" y="135"/>
                  </a:lnTo>
                  <a:lnTo>
                    <a:pt x="101" y="126"/>
                  </a:lnTo>
                  <a:lnTo>
                    <a:pt x="93" y="117"/>
                  </a:lnTo>
                  <a:lnTo>
                    <a:pt x="84" y="107"/>
                  </a:lnTo>
                  <a:lnTo>
                    <a:pt x="77" y="96"/>
                  </a:lnTo>
                  <a:lnTo>
                    <a:pt x="57" y="89"/>
                  </a:lnTo>
                  <a:lnTo>
                    <a:pt x="56" y="92"/>
                  </a:lnTo>
                  <a:lnTo>
                    <a:pt x="46" y="89"/>
                  </a:lnTo>
                  <a:lnTo>
                    <a:pt x="47" y="97"/>
                  </a:lnTo>
                  <a:lnTo>
                    <a:pt x="41" y="97"/>
                  </a:lnTo>
                  <a:lnTo>
                    <a:pt x="42" y="101"/>
                  </a:lnTo>
                  <a:lnTo>
                    <a:pt x="21" y="101"/>
                  </a:lnTo>
                  <a:lnTo>
                    <a:pt x="39" y="110"/>
                  </a:lnTo>
                  <a:lnTo>
                    <a:pt x="30" y="117"/>
                  </a:lnTo>
                  <a:lnTo>
                    <a:pt x="16" y="117"/>
                  </a:lnTo>
                  <a:lnTo>
                    <a:pt x="0" y="117"/>
                  </a:lnTo>
                  <a:lnTo>
                    <a:pt x="2" y="102"/>
                  </a:lnTo>
                  <a:lnTo>
                    <a:pt x="3" y="87"/>
                  </a:lnTo>
                  <a:lnTo>
                    <a:pt x="4" y="73"/>
                  </a:lnTo>
                  <a:lnTo>
                    <a:pt x="5" y="59"/>
                  </a:lnTo>
                  <a:lnTo>
                    <a:pt x="6" y="44"/>
                  </a:lnTo>
                  <a:lnTo>
                    <a:pt x="6" y="29"/>
                  </a:lnTo>
                  <a:lnTo>
                    <a:pt x="8" y="14"/>
                  </a:lnTo>
                  <a:lnTo>
                    <a:pt x="8" y="0"/>
                  </a:lnTo>
                  <a:lnTo>
                    <a:pt x="23" y="7"/>
                  </a:lnTo>
                  <a:lnTo>
                    <a:pt x="38" y="13"/>
                  </a:lnTo>
                  <a:lnTo>
                    <a:pt x="53" y="20"/>
                  </a:lnTo>
                  <a:lnTo>
                    <a:pt x="69" y="27"/>
                  </a:lnTo>
                  <a:lnTo>
                    <a:pt x="82" y="44"/>
                  </a:lnTo>
                  <a:lnTo>
                    <a:pt x="83" y="53"/>
                  </a:lnTo>
                  <a:lnTo>
                    <a:pt x="96" y="59"/>
                  </a:lnTo>
                  <a:lnTo>
                    <a:pt x="111" y="65"/>
                  </a:lnTo>
                  <a:lnTo>
                    <a:pt x="112" y="74"/>
                  </a:lnTo>
                  <a:lnTo>
                    <a:pt x="98" y="75"/>
                  </a:lnTo>
                  <a:lnTo>
                    <a:pt x="105" y="91"/>
                  </a:lnTo>
                  <a:lnTo>
                    <a:pt x="116" y="101"/>
                  </a:lnTo>
                  <a:lnTo>
                    <a:pt x="123" y="116"/>
                  </a:lnTo>
                  <a:lnTo>
                    <a:pt x="132" y="117"/>
                  </a:lnTo>
                  <a:lnTo>
                    <a:pt x="131" y="123"/>
                  </a:lnTo>
                  <a:lnTo>
                    <a:pt x="140" y="128"/>
                  </a:lnTo>
                  <a:lnTo>
                    <a:pt x="138" y="132"/>
                  </a:lnTo>
                  <a:lnTo>
                    <a:pt x="154" y="13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 name="Freeform 34">
              <a:extLst>
                <a:ext uri="{FF2B5EF4-FFF2-40B4-BE49-F238E27FC236}">
                  <a16:creationId xmlns:a16="http://schemas.microsoft.com/office/drawing/2014/main" id="{819AD8E8-DA3C-4106-B128-05A078FBBD90}"/>
                </a:ext>
              </a:extLst>
            </p:cNvPr>
            <p:cNvSpPr>
              <a:spLocks/>
            </p:cNvSpPr>
            <p:nvPr/>
          </p:nvSpPr>
          <p:spPr bwMode="auto">
            <a:xfrm>
              <a:off x="9908529" y="3971476"/>
              <a:ext cx="124913" cy="68451"/>
            </a:xfrm>
            <a:custGeom>
              <a:avLst/>
              <a:gdLst/>
              <a:ahLst/>
              <a:cxnLst>
                <a:cxn ang="0">
                  <a:pos x="66" y="1"/>
                </a:cxn>
                <a:cxn ang="0">
                  <a:pos x="61" y="13"/>
                </a:cxn>
                <a:cxn ang="0">
                  <a:pos x="57" y="15"/>
                </a:cxn>
                <a:cxn ang="0">
                  <a:pos x="58" y="21"/>
                </a:cxn>
                <a:cxn ang="0">
                  <a:pos x="48" y="26"/>
                </a:cxn>
                <a:cxn ang="0">
                  <a:pos x="26" y="36"/>
                </a:cxn>
                <a:cxn ang="0">
                  <a:pos x="13" y="32"/>
                </a:cxn>
                <a:cxn ang="0">
                  <a:pos x="3" y="27"/>
                </a:cxn>
                <a:cxn ang="0">
                  <a:pos x="0" y="21"/>
                </a:cxn>
                <a:cxn ang="0">
                  <a:pos x="21" y="23"/>
                </a:cxn>
                <a:cxn ang="0">
                  <a:pos x="27" y="13"/>
                </a:cxn>
                <a:cxn ang="0">
                  <a:pos x="27" y="19"/>
                </a:cxn>
                <a:cxn ang="0">
                  <a:pos x="36" y="23"/>
                </a:cxn>
                <a:cxn ang="0">
                  <a:pos x="51" y="12"/>
                </a:cxn>
                <a:cxn ang="0">
                  <a:pos x="51" y="1"/>
                </a:cxn>
                <a:cxn ang="0">
                  <a:pos x="60" y="0"/>
                </a:cxn>
                <a:cxn ang="0">
                  <a:pos x="66" y="1"/>
                </a:cxn>
              </a:cxnLst>
              <a:rect l="0" t="0" r="r" b="b"/>
              <a:pathLst>
                <a:path w="66" h="36">
                  <a:moveTo>
                    <a:pt x="66" y="1"/>
                  </a:moveTo>
                  <a:lnTo>
                    <a:pt x="61" y="13"/>
                  </a:lnTo>
                  <a:lnTo>
                    <a:pt x="57" y="15"/>
                  </a:lnTo>
                  <a:lnTo>
                    <a:pt x="58" y="21"/>
                  </a:lnTo>
                  <a:lnTo>
                    <a:pt x="48" y="26"/>
                  </a:lnTo>
                  <a:lnTo>
                    <a:pt x="26" y="36"/>
                  </a:lnTo>
                  <a:lnTo>
                    <a:pt x="13" y="32"/>
                  </a:lnTo>
                  <a:lnTo>
                    <a:pt x="3" y="27"/>
                  </a:lnTo>
                  <a:lnTo>
                    <a:pt x="0" y="21"/>
                  </a:lnTo>
                  <a:lnTo>
                    <a:pt x="21" y="23"/>
                  </a:lnTo>
                  <a:lnTo>
                    <a:pt x="27" y="13"/>
                  </a:lnTo>
                  <a:lnTo>
                    <a:pt x="27" y="19"/>
                  </a:lnTo>
                  <a:lnTo>
                    <a:pt x="36" y="23"/>
                  </a:lnTo>
                  <a:lnTo>
                    <a:pt x="51" y="12"/>
                  </a:lnTo>
                  <a:lnTo>
                    <a:pt x="51" y="1"/>
                  </a:lnTo>
                  <a:lnTo>
                    <a:pt x="60" y="0"/>
                  </a:lnTo>
                  <a:lnTo>
                    <a:pt x="66"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 name="Freeform 35">
              <a:extLst>
                <a:ext uri="{FF2B5EF4-FFF2-40B4-BE49-F238E27FC236}">
                  <a16:creationId xmlns:a16="http://schemas.microsoft.com/office/drawing/2014/main" id="{EBD0619E-8995-4AB0-B655-5907B98F0C1A}"/>
                </a:ext>
              </a:extLst>
            </p:cNvPr>
            <p:cNvSpPr>
              <a:spLocks/>
            </p:cNvSpPr>
            <p:nvPr/>
          </p:nvSpPr>
          <p:spPr bwMode="auto">
            <a:xfrm>
              <a:off x="10098465" y="4012547"/>
              <a:ext cx="34223" cy="49627"/>
            </a:xfrm>
            <a:custGeom>
              <a:avLst/>
              <a:gdLst/>
              <a:ahLst/>
              <a:cxnLst>
                <a:cxn ang="0">
                  <a:pos x="18" y="24"/>
                </a:cxn>
                <a:cxn ang="0">
                  <a:pos x="14" y="27"/>
                </a:cxn>
                <a:cxn ang="0">
                  <a:pos x="4" y="15"/>
                </a:cxn>
                <a:cxn ang="0">
                  <a:pos x="0" y="0"/>
                </a:cxn>
                <a:cxn ang="0">
                  <a:pos x="10" y="12"/>
                </a:cxn>
                <a:cxn ang="0">
                  <a:pos x="18" y="24"/>
                </a:cxn>
              </a:cxnLst>
              <a:rect l="0" t="0" r="r" b="b"/>
              <a:pathLst>
                <a:path w="18" h="27">
                  <a:moveTo>
                    <a:pt x="18" y="24"/>
                  </a:moveTo>
                  <a:lnTo>
                    <a:pt x="14" y="27"/>
                  </a:lnTo>
                  <a:lnTo>
                    <a:pt x="4" y="15"/>
                  </a:lnTo>
                  <a:lnTo>
                    <a:pt x="0" y="0"/>
                  </a:lnTo>
                  <a:lnTo>
                    <a:pt x="10" y="12"/>
                  </a:lnTo>
                  <a:lnTo>
                    <a:pt x="18" y="2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 name="Freeform 36">
              <a:extLst>
                <a:ext uri="{FF2B5EF4-FFF2-40B4-BE49-F238E27FC236}">
                  <a16:creationId xmlns:a16="http://schemas.microsoft.com/office/drawing/2014/main" id="{1C2D35D4-125A-467E-AFF6-2C3A844289CA}"/>
                </a:ext>
              </a:extLst>
            </p:cNvPr>
            <p:cNvSpPr>
              <a:spLocks/>
            </p:cNvSpPr>
            <p:nvPr/>
          </p:nvSpPr>
          <p:spPr bwMode="auto">
            <a:xfrm>
              <a:off x="9988952" y="3918427"/>
              <a:ext cx="63312" cy="71874"/>
            </a:xfrm>
            <a:custGeom>
              <a:avLst/>
              <a:gdLst/>
              <a:ahLst/>
              <a:cxnLst>
                <a:cxn ang="0">
                  <a:pos x="33" y="31"/>
                </a:cxn>
                <a:cxn ang="0">
                  <a:pos x="29" y="37"/>
                </a:cxn>
                <a:cxn ang="0">
                  <a:pos x="18" y="16"/>
                </a:cxn>
                <a:cxn ang="0">
                  <a:pos x="9" y="8"/>
                </a:cxn>
                <a:cxn ang="0">
                  <a:pos x="0" y="1"/>
                </a:cxn>
                <a:cxn ang="0">
                  <a:pos x="0" y="0"/>
                </a:cxn>
                <a:cxn ang="0">
                  <a:pos x="12" y="10"/>
                </a:cxn>
                <a:cxn ang="0">
                  <a:pos x="25" y="19"/>
                </a:cxn>
                <a:cxn ang="0">
                  <a:pos x="33" y="31"/>
                </a:cxn>
              </a:cxnLst>
              <a:rect l="0" t="0" r="r" b="b"/>
              <a:pathLst>
                <a:path w="33" h="37">
                  <a:moveTo>
                    <a:pt x="33" y="31"/>
                  </a:moveTo>
                  <a:lnTo>
                    <a:pt x="29" y="37"/>
                  </a:lnTo>
                  <a:lnTo>
                    <a:pt x="18" y="16"/>
                  </a:lnTo>
                  <a:lnTo>
                    <a:pt x="9" y="8"/>
                  </a:lnTo>
                  <a:lnTo>
                    <a:pt x="0" y="1"/>
                  </a:lnTo>
                  <a:lnTo>
                    <a:pt x="0" y="0"/>
                  </a:lnTo>
                  <a:lnTo>
                    <a:pt x="12" y="10"/>
                  </a:lnTo>
                  <a:lnTo>
                    <a:pt x="25" y="19"/>
                  </a:lnTo>
                  <a:lnTo>
                    <a:pt x="33" y="3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 name="Freeform 37">
              <a:extLst>
                <a:ext uri="{FF2B5EF4-FFF2-40B4-BE49-F238E27FC236}">
                  <a16:creationId xmlns:a16="http://schemas.microsoft.com/office/drawing/2014/main" id="{751D1A85-EED7-456B-A21F-824CB7872374}"/>
                </a:ext>
              </a:extLst>
            </p:cNvPr>
            <p:cNvSpPr>
              <a:spLocks/>
            </p:cNvSpPr>
            <p:nvPr/>
          </p:nvSpPr>
          <p:spPr bwMode="auto">
            <a:xfrm>
              <a:off x="9973552" y="4161428"/>
              <a:ext cx="10267" cy="10268"/>
            </a:xfrm>
            <a:custGeom>
              <a:avLst/>
              <a:gdLst/>
              <a:ahLst/>
              <a:cxnLst>
                <a:cxn ang="0">
                  <a:pos x="6" y="3"/>
                </a:cxn>
                <a:cxn ang="0">
                  <a:pos x="3" y="5"/>
                </a:cxn>
                <a:cxn ang="0">
                  <a:pos x="0" y="0"/>
                </a:cxn>
                <a:cxn ang="0">
                  <a:pos x="6" y="3"/>
                </a:cxn>
              </a:cxnLst>
              <a:rect l="0" t="0" r="r" b="b"/>
              <a:pathLst>
                <a:path w="6" h="5">
                  <a:moveTo>
                    <a:pt x="6" y="3"/>
                  </a:moveTo>
                  <a:lnTo>
                    <a:pt x="3" y="5"/>
                  </a:lnTo>
                  <a:lnTo>
                    <a:pt x="0" y="0"/>
                  </a:lnTo>
                  <a:lnTo>
                    <a:pt x="6"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9" name="Freeform 38">
              <a:extLst>
                <a:ext uri="{FF2B5EF4-FFF2-40B4-BE49-F238E27FC236}">
                  <a16:creationId xmlns:a16="http://schemas.microsoft.com/office/drawing/2014/main" id="{B3034183-7812-4D4E-8071-996A187B6AED}"/>
                </a:ext>
              </a:extLst>
            </p:cNvPr>
            <p:cNvSpPr>
              <a:spLocks/>
            </p:cNvSpPr>
            <p:nvPr/>
          </p:nvSpPr>
          <p:spPr bwMode="auto">
            <a:xfrm>
              <a:off x="8026282" y="2920751"/>
              <a:ext cx="148869" cy="189952"/>
            </a:xfrm>
            <a:custGeom>
              <a:avLst/>
              <a:gdLst/>
              <a:ahLst/>
              <a:cxnLst>
                <a:cxn ang="0">
                  <a:pos x="28" y="84"/>
                </a:cxn>
                <a:cxn ang="0">
                  <a:pos x="27" y="85"/>
                </a:cxn>
                <a:cxn ang="0">
                  <a:pos x="24" y="80"/>
                </a:cxn>
                <a:cxn ang="0">
                  <a:pos x="24" y="82"/>
                </a:cxn>
                <a:cxn ang="0">
                  <a:pos x="19" y="68"/>
                </a:cxn>
                <a:cxn ang="0">
                  <a:pos x="14" y="55"/>
                </a:cxn>
                <a:cxn ang="0">
                  <a:pos x="13" y="44"/>
                </a:cxn>
                <a:cxn ang="0">
                  <a:pos x="1" y="34"/>
                </a:cxn>
                <a:cxn ang="0">
                  <a:pos x="6" y="27"/>
                </a:cxn>
                <a:cxn ang="0">
                  <a:pos x="12" y="24"/>
                </a:cxn>
                <a:cxn ang="0">
                  <a:pos x="0" y="13"/>
                </a:cxn>
                <a:cxn ang="0">
                  <a:pos x="0" y="0"/>
                </a:cxn>
                <a:cxn ang="0">
                  <a:pos x="10" y="3"/>
                </a:cxn>
                <a:cxn ang="0">
                  <a:pos x="15" y="9"/>
                </a:cxn>
                <a:cxn ang="0">
                  <a:pos x="19" y="6"/>
                </a:cxn>
                <a:cxn ang="0">
                  <a:pos x="25" y="20"/>
                </a:cxn>
                <a:cxn ang="0">
                  <a:pos x="42" y="22"/>
                </a:cxn>
                <a:cxn ang="0">
                  <a:pos x="58" y="24"/>
                </a:cxn>
                <a:cxn ang="0">
                  <a:pos x="67" y="30"/>
                </a:cxn>
                <a:cxn ang="0">
                  <a:pos x="64" y="37"/>
                </a:cxn>
                <a:cxn ang="0">
                  <a:pos x="52" y="45"/>
                </a:cxn>
                <a:cxn ang="0">
                  <a:pos x="56" y="60"/>
                </a:cxn>
                <a:cxn ang="0">
                  <a:pos x="58" y="63"/>
                </a:cxn>
                <a:cxn ang="0">
                  <a:pos x="66" y="50"/>
                </a:cxn>
                <a:cxn ang="0">
                  <a:pos x="72" y="66"/>
                </a:cxn>
                <a:cxn ang="0">
                  <a:pos x="78" y="81"/>
                </a:cxn>
                <a:cxn ang="0">
                  <a:pos x="79" y="92"/>
                </a:cxn>
                <a:cxn ang="0">
                  <a:pos x="74" y="96"/>
                </a:cxn>
                <a:cxn ang="0">
                  <a:pos x="76" y="100"/>
                </a:cxn>
                <a:cxn ang="0">
                  <a:pos x="67" y="84"/>
                </a:cxn>
                <a:cxn ang="0">
                  <a:pos x="58" y="67"/>
                </a:cxn>
                <a:cxn ang="0">
                  <a:pos x="48" y="66"/>
                </a:cxn>
                <a:cxn ang="0">
                  <a:pos x="43" y="55"/>
                </a:cxn>
                <a:cxn ang="0">
                  <a:pos x="27" y="45"/>
                </a:cxn>
                <a:cxn ang="0">
                  <a:pos x="22" y="46"/>
                </a:cxn>
                <a:cxn ang="0">
                  <a:pos x="39" y="56"/>
                </a:cxn>
                <a:cxn ang="0">
                  <a:pos x="44" y="67"/>
                </a:cxn>
                <a:cxn ang="0">
                  <a:pos x="45" y="70"/>
                </a:cxn>
                <a:cxn ang="0">
                  <a:pos x="42" y="85"/>
                </a:cxn>
                <a:cxn ang="0">
                  <a:pos x="38" y="80"/>
                </a:cxn>
                <a:cxn ang="0">
                  <a:pos x="36" y="80"/>
                </a:cxn>
                <a:cxn ang="0">
                  <a:pos x="32" y="84"/>
                </a:cxn>
                <a:cxn ang="0">
                  <a:pos x="28" y="84"/>
                </a:cxn>
              </a:cxnLst>
              <a:rect l="0" t="0" r="r" b="b"/>
              <a:pathLst>
                <a:path w="79" h="100">
                  <a:moveTo>
                    <a:pt x="28" y="84"/>
                  </a:moveTo>
                  <a:lnTo>
                    <a:pt x="27" y="85"/>
                  </a:lnTo>
                  <a:lnTo>
                    <a:pt x="24" y="80"/>
                  </a:lnTo>
                  <a:lnTo>
                    <a:pt x="24" y="82"/>
                  </a:lnTo>
                  <a:lnTo>
                    <a:pt x="19" y="68"/>
                  </a:lnTo>
                  <a:lnTo>
                    <a:pt x="14" y="55"/>
                  </a:lnTo>
                  <a:lnTo>
                    <a:pt x="13" y="44"/>
                  </a:lnTo>
                  <a:lnTo>
                    <a:pt x="1" y="34"/>
                  </a:lnTo>
                  <a:lnTo>
                    <a:pt x="6" y="27"/>
                  </a:lnTo>
                  <a:lnTo>
                    <a:pt x="12" y="24"/>
                  </a:lnTo>
                  <a:lnTo>
                    <a:pt x="0" y="13"/>
                  </a:lnTo>
                  <a:lnTo>
                    <a:pt x="0" y="0"/>
                  </a:lnTo>
                  <a:lnTo>
                    <a:pt x="10" y="3"/>
                  </a:lnTo>
                  <a:lnTo>
                    <a:pt x="15" y="9"/>
                  </a:lnTo>
                  <a:lnTo>
                    <a:pt x="19" y="6"/>
                  </a:lnTo>
                  <a:lnTo>
                    <a:pt x="25" y="20"/>
                  </a:lnTo>
                  <a:lnTo>
                    <a:pt x="42" y="22"/>
                  </a:lnTo>
                  <a:lnTo>
                    <a:pt x="58" y="24"/>
                  </a:lnTo>
                  <a:lnTo>
                    <a:pt x="67" y="30"/>
                  </a:lnTo>
                  <a:lnTo>
                    <a:pt x="64" y="37"/>
                  </a:lnTo>
                  <a:lnTo>
                    <a:pt x="52" y="45"/>
                  </a:lnTo>
                  <a:lnTo>
                    <a:pt x="56" y="60"/>
                  </a:lnTo>
                  <a:lnTo>
                    <a:pt x="58" y="63"/>
                  </a:lnTo>
                  <a:lnTo>
                    <a:pt x="66" y="50"/>
                  </a:lnTo>
                  <a:lnTo>
                    <a:pt x="72" y="66"/>
                  </a:lnTo>
                  <a:lnTo>
                    <a:pt x="78" y="81"/>
                  </a:lnTo>
                  <a:lnTo>
                    <a:pt x="79" y="92"/>
                  </a:lnTo>
                  <a:lnTo>
                    <a:pt x="74" y="96"/>
                  </a:lnTo>
                  <a:lnTo>
                    <a:pt x="76" y="100"/>
                  </a:lnTo>
                  <a:lnTo>
                    <a:pt x="67" y="84"/>
                  </a:lnTo>
                  <a:lnTo>
                    <a:pt x="58" y="67"/>
                  </a:lnTo>
                  <a:lnTo>
                    <a:pt x="48" y="66"/>
                  </a:lnTo>
                  <a:lnTo>
                    <a:pt x="43" y="55"/>
                  </a:lnTo>
                  <a:lnTo>
                    <a:pt x="27" y="45"/>
                  </a:lnTo>
                  <a:lnTo>
                    <a:pt x="22" y="46"/>
                  </a:lnTo>
                  <a:lnTo>
                    <a:pt x="39" y="56"/>
                  </a:lnTo>
                  <a:lnTo>
                    <a:pt x="44" y="67"/>
                  </a:lnTo>
                  <a:lnTo>
                    <a:pt x="45" y="70"/>
                  </a:lnTo>
                  <a:lnTo>
                    <a:pt x="42" y="85"/>
                  </a:lnTo>
                  <a:lnTo>
                    <a:pt x="38" y="80"/>
                  </a:lnTo>
                  <a:lnTo>
                    <a:pt x="36" y="80"/>
                  </a:lnTo>
                  <a:lnTo>
                    <a:pt x="32" y="84"/>
                  </a:lnTo>
                  <a:lnTo>
                    <a:pt x="28" y="8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0" name="Freeform 39">
              <a:extLst>
                <a:ext uri="{FF2B5EF4-FFF2-40B4-BE49-F238E27FC236}">
                  <a16:creationId xmlns:a16="http://schemas.microsoft.com/office/drawing/2014/main" id="{A3F13183-76F5-4897-A2EC-66F83F005BBC}"/>
                </a:ext>
              </a:extLst>
            </p:cNvPr>
            <p:cNvSpPr>
              <a:spLocks/>
            </p:cNvSpPr>
            <p:nvPr/>
          </p:nvSpPr>
          <p:spPr bwMode="auto">
            <a:xfrm>
              <a:off x="8033126" y="2864279"/>
              <a:ext cx="95824" cy="46205"/>
            </a:xfrm>
            <a:custGeom>
              <a:avLst/>
              <a:gdLst/>
              <a:ahLst/>
              <a:cxnLst>
                <a:cxn ang="0">
                  <a:pos x="33" y="2"/>
                </a:cxn>
                <a:cxn ang="0">
                  <a:pos x="11" y="0"/>
                </a:cxn>
                <a:cxn ang="0">
                  <a:pos x="0" y="15"/>
                </a:cxn>
                <a:cxn ang="0">
                  <a:pos x="3" y="22"/>
                </a:cxn>
                <a:cxn ang="0">
                  <a:pos x="22" y="25"/>
                </a:cxn>
                <a:cxn ang="0">
                  <a:pos x="36" y="24"/>
                </a:cxn>
                <a:cxn ang="0">
                  <a:pos x="51" y="22"/>
                </a:cxn>
                <a:cxn ang="0">
                  <a:pos x="45" y="13"/>
                </a:cxn>
                <a:cxn ang="0">
                  <a:pos x="40" y="7"/>
                </a:cxn>
                <a:cxn ang="0">
                  <a:pos x="33" y="2"/>
                </a:cxn>
              </a:cxnLst>
              <a:rect l="0" t="0" r="r" b="b"/>
              <a:pathLst>
                <a:path w="51" h="25">
                  <a:moveTo>
                    <a:pt x="33" y="2"/>
                  </a:moveTo>
                  <a:lnTo>
                    <a:pt x="11" y="0"/>
                  </a:lnTo>
                  <a:lnTo>
                    <a:pt x="0" y="15"/>
                  </a:lnTo>
                  <a:lnTo>
                    <a:pt x="3" y="22"/>
                  </a:lnTo>
                  <a:lnTo>
                    <a:pt x="22" y="25"/>
                  </a:lnTo>
                  <a:lnTo>
                    <a:pt x="36" y="24"/>
                  </a:lnTo>
                  <a:lnTo>
                    <a:pt x="51" y="22"/>
                  </a:lnTo>
                  <a:lnTo>
                    <a:pt x="45" y="13"/>
                  </a:lnTo>
                  <a:lnTo>
                    <a:pt x="40" y="7"/>
                  </a:lnTo>
                  <a:lnTo>
                    <a:pt x="33"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1" name="Freeform 40">
              <a:extLst>
                <a:ext uri="{FF2B5EF4-FFF2-40B4-BE49-F238E27FC236}">
                  <a16:creationId xmlns:a16="http://schemas.microsoft.com/office/drawing/2014/main" id="{0E95E548-7EC1-430A-8BE5-B02B15B7949F}"/>
                </a:ext>
              </a:extLst>
            </p:cNvPr>
            <p:cNvSpPr>
              <a:spLocks/>
            </p:cNvSpPr>
            <p:nvPr/>
          </p:nvSpPr>
          <p:spPr bwMode="auto">
            <a:xfrm>
              <a:off x="8501977" y="3324613"/>
              <a:ext cx="159135" cy="143747"/>
            </a:xfrm>
            <a:custGeom>
              <a:avLst/>
              <a:gdLst/>
              <a:ahLst/>
              <a:cxnLst>
                <a:cxn ang="0">
                  <a:pos x="59" y="56"/>
                </a:cxn>
                <a:cxn ang="0">
                  <a:pos x="64" y="70"/>
                </a:cxn>
                <a:cxn ang="0">
                  <a:pos x="52" y="68"/>
                </a:cxn>
                <a:cxn ang="0">
                  <a:pos x="48" y="71"/>
                </a:cxn>
                <a:cxn ang="0">
                  <a:pos x="39" y="77"/>
                </a:cxn>
                <a:cxn ang="0">
                  <a:pos x="29" y="74"/>
                </a:cxn>
                <a:cxn ang="0">
                  <a:pos x="24" y="72"/>
                </a:cxn>
                <a:cxn ang="0">
                  <a:pos x="22" y="64"/>
                </a:cxn>
                <a:cxn ang="0">
                  <a:pos x="17" y="68"/>
                </a:cxn>
                <a:cxn ang="0">
                  <a:pos x="14" y="56"/>
                </a:cxn>
                <a:cxn ang="0">
                  <a:pos x="12" y="55"/>
                </a:cxn>
                <a:cxn ang="0">
                  <a:pos x="6" y="41"/>
                </a:cxn>
                <a:cxn ang="0">
                  <a:pos x="0" y="25"/>
                </a:cxn>
                <a:cxn ang="0">
                  <a:pos x="11" y="7"/>
                </a:cxn>
                <a:cxn ang="0">
                  <a:pos x="27" y="7"/>
                </a:cxn>
                <a:cxn ang="0">
                  <a:pos x="44" y="6"/>
                </a:cxn>
                <a:cxn ang="0">
                  <a:pos x="57" y="13"/>
                </a:cxn>
                <a:cxn ang="0">
                  <a:pos x="57" y="8"/>
                </a:cxn>
                <a:cxn ang="0">
                  <a:pos x="63" y="4"/>
                </a:cxn>
                <a:cxn ang="0">
                  <a:pos x="69" y="6"/>
                </a:cxn>
                <a:cxn ang="0">
                  <a:pos x="80" y="0"/>
                </a:cxn>
                <a:cxn ang="0">
                  <a:pos x="81" y="16"/>
                </a:cxn>
                <a:cxn ang="0">
                  <a:pos x="82" y="30"/>
                </a:cxn>
                <a:cxn ang="0">
                  <a:pos x="83" y="44"/>
                </a:cxn>
                <a:cxn ang="0">
                  <a:pos x="68" y="52"/>
                </a:cxn>
                <a:cxn ang="0">
                  <a:pos x="59" y="56"/>
                </a:cxn>
              </a:cxnLst>
              <a:rect l="0" t="0" r="r" b="b"/>
              <a:pathLst>
                <a:path w="83" h="77">
                  <a:moveTo>
                    <a:pt x="59" y="56"/>
                  </a:moveTo>
                  <a:lnTo>
                    <a:pt x="64" y="70"/>
                  </a:lnTo>
                  <a:lnTo>
                    <a:pt x="52" y="68"/>
                  </a:lnTo>
                  <a:lnTo>
                    <a:pt x="48" y="71"/>
                  </a:lnTo>
                  <a:lnTo>
                    <a:pt x="39" y="77"/>
                  </a:lnTo>
                  <a:lnTo>
                    <a:pt x="29" y="74"/>
                  </a:lnTo>
                  <a:lnTo>
                    <a:pt x="24" y="72"/>
                  </a:lnTo>
                  <a:lnTo>
                    <a:pt x="22" y="64"/>
                  </a:lnTo>
                  <a:lnTo>
                    <a:pt x="17" y="68"/>
                  </a:lnTo>
                  <a:lnTo>
                    <a:pt x="14" y="56"/>
                  </a:lnTo>
                  <a:lnTo>
                    <a:pt x="12" y="55"/>
                  </a:lnTo>
                  <a:lnTo>
                    <a:pt x="6" y="41"/>
                  </a:lnTo>
                  <a:lnTo>
                    <a:pt x="0" y="25"/>
                  </a:lnTo>
                  <a:lnTo>
                    <a:pt x="11" y="7"/>
                  </a:lnTo>
                  <a:lnTo>
                    <a:pt x="27" y="7"/>
                  </a:lnTo>
                  <a:lnTo>
                    <a:pt x="44" y="6"/>
                  </a:lnTo>
                  <a:lnTo>
                    <a:pt x="57" y="13"/>
                  </a:lnTo>
                  <a:lnTo>
                    <a:pt x="57" y="8"/>
                  </a:lnTo>
                  <a:lnTo>
                    <a:pt x="63" y="4"/>
                  </a:lnTo>
                  <a:lnTo>
                    <a:pt x="69" y="6"/>
                  </a:lnTo>
                  <a:lnTo>
                    <a:pt x="80" y="0"/>
                  </a:lnTo>
                  <a:lnTo>
                    <a:pt x="81" y="16"/>
                  </a:lnTo>
                  <a:lnTo>
                    <a:pt x="82" y="30"/>
                  </a:lnTo>
                  <a:lnTo>
                    <a:pt x="83" y="44"/>
                  </a:lnTo>
                  <a:lnTo>
                    <a:pt x="68" y="52"/>
                  </a:lnTo>
                  <a:lnTo>
                    <a:pt x="59" y="5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2" name="Freeform 41">
              <a:extLst>
                <a:ext uri="{FF2B5EF4-FFF2-40B4-BE49-F238E27FC236}">
                  <a16:creationId xmlns:a16="http://schemas.microsoft.com/office/drawing/2014/main" id="{63752C25-5D00-441B-A443-F50C94CD1C61}"/>
                </a:ext>
              </a:extLst>
            </p:cNvPr>
            <p:cNvSpPr>
              <a:spLocks/>
            </p:cNvSpPr>
            <p:nvPr/>
          </p:nvSpPr>
          <p:spPr bwMode="auto">
            <a:xfrm>
              <a:off x="8798003" y="3066210"/>
              <a:ext cx="8556" cy="3423"/>
            </a:xfrm>
            <a:custGeom>
              <a:avLst/>
              <a:gdLst/>
              <a:ahLst/>
              <a:cxnLst>
                <a:cxn ang="0">
                  <a:pos x="4" y="0"/>
                </a:cxn>
                <a:cxn ang="0">
                  <a:pos x="3" y="1"/>
                </a:cxn>
                <a:cxn ang="0">
                  <a:pos x="0" y="1"/>
                </a:cxn>
                <a:cxn ang="0">
                  <a:pos x="4" y="0"/>
                </a:cxn>
              </a:cxnLst>
              <a:rect l="0" t="0" r="r" b="b"/>
              <a:pathLst>
                <a:path w="4" h="1">
                  <a:moveTo>
                    <a:pt x="4" y="0"/>
                  </a:moveTo>
                  <a:lnTo>
                    <a:pt x="3" y="1"/>
                  </a:lnTo>
                  <a:lnTo>
                    <a:pt x="0" y="1"/>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3" name="Freeform 42">
              <a:extLst>
                <a:ext uri="{FF2B5EF4-FFF2-40B4-BE49-F238E27FC236}">
                  <a16:creationId xmlns:a16="http://schemas.microsoft.com/office/drawing/2014/main" id="{F4A8FBFF-8B38-4C4B-81FA-66BDC86A766E}"/>
                </a:ext>
              </a:extLst>
            </p:cNvPr>
            <p:cNvSpPr>
              <a:spLocks/>
            </p:cNvSpPr>
            <p:nvPr/>
          </p:nvSpPr>
          <p:spPr bwMode="auto">
            <a:xfrm>
              <a:off x="8402731" y="3062787"/>
              <a:ext cx="251537" cy="287495"/>
            </a:xfrm>
            <a:custGeom>
              <a:avLst/>
              <a:gdLst/>
              <a:ahLst/>
              <a:cxnLst>
                <a:cxn ang="0">
                  <a:pos x="74" y="38"/>
                </a:cxn>
                <a:cxn ang="0">
                  <a:pos x="69" y="34"/>
                </a:cxn>
                <a:cxn ang="0">
                  <a:pos x="60" y="25"/>
                </a:cxn>
                <a:cxn ang="0">
                  <a:pos x="53" y="29"/>
                </a:cxn>
                <a:cxn ang="0">
                  <a:pos x="41" y="19"/>
                </a:cxn>
                <a:cxn ang="0">
                  <a:pos x="38" y="12"/>
                </a:cxn>
                <a:cxn ang="0">
                  <a:pos x="26" y="0"/>
                </a:cxn>
                <a:cxn ang="0">
                  <a:pos x="18" y="0"/>
                </a:cxn>
                <a:cxn ang="0">
                  <a:pos x="21" y="22"/>
                </a:cxn>
                <a:cxn ang="0">
                  <a:pos x="15" y="18"/>
                </a:cxn>
                <a:cxn ang="0">
                  <a:pos x="13" y="14"/>
                </a:cxn>
                <a:cxn ang="0">
                  <a:pos x="6" y="28"/>
                </a:cxn>
                <a:cxn ang="0">
                  <a:pos x="0" y="36"/>
                </a:cxn>
                <a:cxn ang="0">
                  <a:pos x="6" y="38"/>
                </a:cxn>
                <a:cxn ang="0">
                  <a:pos x="7" y="49"/>
                </a:cxn>
                <a:cxn ang="0">
                  <a:pos x="19" y="50"/>
                </a:cxn>
                <a:cxn ang="0">
                  <a:pos x="20" y="68"/>
                </a:cxn>
                <a:cxn ang="0">
                  <a:pos x="21" y="86"/>
                </a:cxn>
                <a:cxn ang="0">
                  <a:pos x="36" y="76"/>
                </a:cxn>
                <a:cxn ang="0">
                  <a:pos x="45" y="79"/>
                </a:cxn>
                <a:cxn ang="0">
                  <a:pos x="53" y="77"/>
                </a:cxn>
                <a:cxn ang="0">
                  <a:pos x="60" y="72"/>
                </a:cxn>
                <a:cxn ang="0">
                  <a:pos x="79" y="88"/>
                </a:cxn>
                <a:cxn ang="0">
                  <a:pos x="81" y="101"/>
                </a:cxn>
                <a:cxn ang="0">
                  <a:pos x="96" y="119"/>
                </a:cxn>
                <a:cxn ang="0">
                  <a:pos x="99" y="134"/>
                </a:cxn>
                <a:cxn ang="0">
                  <a:pos x="95" y="144"/>
                </a:cxn>
                <a:cxn ang="0">
                  <a:pos x="108" y="151"/>
                </a:cxn>
                <a:cxn ang="0">
                  <a:pos x="108" y="146"/>
                </a:cxn>
                <a:cxn ang="0">
                  <a:pos x="114" y="142"/>
                </a:cxn>
                <a:cxn ang="0">
                  <a:pos x="120" y="144"/>
                </a:cxn>
                <a:cxn ang="0">
                  <a:pos x="131" y="138"/>
                </a:cxn>
                <a:cxn ang="0">
                  <a:pos x="128" y="124"/>
                </a:cxn>
                <a:cxn ang="0">
                  <a:pos x="123" y="118"/>
                </a:cxn>
                <a:cxn ang="0">
                  <a:pos x="125" y="114"/>
                </a:cxn>
                <a:cxn ang="0">
                  <a:pos x="110" y="102"/>
                </a:cxn>
                <a:cxn ang="0">
                  <a:pos x="103" y="92"/>
                </a:cxn>
                <a:cxn ang="0">
                  <a:pos x="93" y="80"/>
                </a:cxn>
                <a:cxn ang="0">
                  <a:pos x="84" y="68"/>
                </a:cxn>
                <a:cxn ang="0">
                  <a:pos x="63" y="53"/>
                </a:cxn>
                <a:cxn ang="0">
                  <a:pos x="67" y="48"/>
                </a:cxn>
                <a:cxn ang="0">
                  <a:pos x="75" y="46"/>
                </a:cxn>
                <a:cxn ang="0">
                  <a:pos x="74" y="38"/>
                </a:cxn>
              </a:cxnLst>
              <a:rect l="0" t="0" r="r" b="b"/>
              <a:pathLst>
                <a:path w="131" h="151">
                  <a:moveTo>
                    <a:pt x="74" y="38"/>
                  </a:moveTo>
                  <a:lnTo>
                    <a:pt x="69" y="34"/>
                  </a:lnTo>
                  <a:lnTo>
                    <a:pt x="60" y="25"/>
                  </a:lnTo>
                  <a:lnTo>
                    <a:pt x="53" y="29"/>
                  </a:lnTo>
                  <a:lnTo>
                    <a:pt x="41" y="19"/>
                  </a:lnTo>
                  <a:lnTo>
                    <a:pt x="38" y="12"/>
                  </a:lnTo>
                  <a:lnTo>
                    <a:pt x="26" y="0"/>
                  </a:lnTo>
                  <a:lnTo>
                    <a:pt x="18" y="0"/>
                  </a:lnTo>
                  <a:lnTo>
                    <a:pt x="21" y="22"/>
                  </a:lnTo>
                  <a:lnTo>
                    <a:pt x="15" y="18"/>
                  </a:lnTo>
                  <a:lnTo>
                    <a:pt x="13" y="14"/>
                  </a:lnTo>
                  <a:lnTo>
                    <a:pt x="6" y="28"/>
                  </a:lnTo>
                  <a:lnTo>
                    <a:pt x="0" y="36"/>
                  </a:lnTo>
                  <a:lnTo>
                    <a:pt x="6" y="38"/>
                  </a:lnTo>
                  <a:lnTo>
                    <a:pt x="7" y="49"/>
                  </a:lnTo>
                  <a:lnTo>
                    <a:pt x="19" y="50"/>
                  </a:lnTo>
                  <a:lnTo>
                    <a:pt x="20" y="68"/>
                  </a:lnTo>
                  <a:lnTo>
                    <a:pt x="21" y="86"/>
                  </a:lnTo>
                  <a:lnTo>
                    <a:pt x="36" y="76"/>
                  </a:lnTo>
                  <a:lnTo>
                    <a:pt x="45" y="79"/>
                  </a:lnTo>
                  <a:lnTo>
                    <a:pt x="53" y="77"/>
                  </a:lnTo>
                  <a:lnTo>
                    <a:pt x="60" y="72"/>
                  </a:lnTo>
                  <a:lnTo>
                    <a:pt x="79" y="88"/>
                  </a:lnTo>
                  <a:lnTo>
                    <a:pt x="81" y="101"/>
                  </a:lnTo>
                  <a:lnTo>
                    <a:pt x="96" y="119"/>
                  </a:lnTo>
                  <a:lnTo>
                    <a:pt x="99" y="134"/>
                  </a:lnTo>
                  <a:lnTo>
                    <a:pt x="95" y="144"/>
                  </a:lnTo>
                  <a:lnTo>
                    <a:pt x="108" y="151"/>
                  </a:lnTo>
                  <a:lnTo>
                    <a:pt x="108" y="146"/>
                  </a:lnTo>
                  <a:lnTo>
                    <a:pt x="114" y="142"/>
                  </a:lnTo>
                  <a:lnTo>
                    <a:pt x="120" y="144"/>
                  </a:lnTo>
                  <a:lnTo>
                    <a:pt x="131" y="138"/>
                  </a:lnTo>
                  <a:lnTo>
                    <a:pt x="128" y="124"/>
                  </a:lnTo>
                  <a:lnTo>
                    <a:pt x="123" y="118"/>
                  </a:lnTo>
                  <a:lnTo>
                    <a:pt x="125" y="114"/>
                  </a:lnTo>
                  <a:lnTo>
                    <a:pt x="110" y="102"/>
                  </a:lnTo>
                  <a:lnTo>
                    <a:pt x="103" y="92"/>
                  </a:lnTo>
                  <a:lnTo>
                    <a:pt x="93" y="80"/>
                  </a:lnTo>
                  <a:lnTo>
                    <a:pt x="84" y="68"/>
                  </a:lnTo>
                  <a:lnTo>
                    <a:pt x="63" y="53"/>
                  </a:lnTo>
                  <a:lnTo>
                    <a:pt x="67" y="48"/>
                  </a:lnTo>
                  <a:lnTo>
                    <a:pt x="75" y="46"/>
                  </a:lnTo>
                  <a:lnTo>
                    <a:pt x="74" y="3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4" name="Freeform 43">
              <a:extLst>
                <a:ext uri="{FF2B5EF4-FFF2-40B4-BE49-F238E27FC236}">
                  <a16:creationId xmlns:a16="http://schemas.microsoft.com/office/drawing/2014/main" id="{417E856A-86F0-47A8-8EED-1E70C043BAEC}"/>
                </a:ext>
              </a:extLst>
            </p:cNvPr>
            <p:cNvSpPr>
              <a:spLocks/>
            </p:cNvSpPr>
            <p:nvPr/>
          </p:nvSpPr>
          <p:spPr bwMode="auto">
            <a:xfrm>
              <a:off x="8166595" y="2852300"/>
              <a:ext cx="263515" cy="628039"/>
            </a:xfrm>
            <a:custGeom>
              <a:avLst/>
              <a:gdLst/>
              <a:ahLst/>
              <a:cxnLst>
                <a:cxn ang="0">
                  <a:pos x="76" y="81"/>
                </a:cxn>
                <a:cxn ang="0">
                  <a:pos x="74" y="66"/>
                </a:cxn>
                <a:cxn ang="0">
                  <a:pos x="84" y="45"/>
                </a:cxn>
                <a:cxn ang="0">
                  <a:pos x="78" y="16"/>
                </a:cxn>
                <a:cxn ang="0">
                  <a:pos x="58" y="0"/>
                </a:cxn>
                <a:cxn ang="0">
                  <a:pos x="54" y="14"/>
                </a:cxn>
                <a:cxn ang="0">
                  <a:pos x="55" y="25"/>
                </a:cxn>
                <a:cxn ang="0">
                  <a:pos x="29" y="38"/>
                </a:cxn>
                <a:cxn ang="0">
                  <a:pos x="28" y="61"/>
                </a:cxn>
                <a:cxn ang="0">
                  <a:pos x="11" y="82"/>
                </a:cxn>
                <a:cxn ang="0">
                  <a:pos x="10" y="117"/>
                </a:cxn>
                <a:cxn ang="0">
                  <a:pos x="4" y="117"/>
                </a:cxn>
                <a:cxn ang="0">
                  <a:pos x="0" y="132"/>
                </a:cxn>
                <a:cxn ang="0">
                  <a:pos x="11" y="148"/>
                </a:cxn>
                <a:cxn ang="0">
                  <a:pos x="18" y="156"/>
                </a:cxn>
                <a:cxn ang="0">
                  <a:pos x="26" y="156"/>
                </a:cxn>
                <a:cxn ang="0">
                  <a:pos x="26" y="165"/>
                </a:cxn>
                <a:cxn ang="0">
                  <a:pos x="34" y="165"/>
                </a:cxn>
                <a:cxn ang="0">
                  <a:pos x="44" y="194"/>
                </a:cxn>
                <a:cxn ang="0">
                  <a:pos x="43" y="224"/>
                </a:cxn>
                <a:cxn ang="0">
                  <a:pos x="52" y="225"/>
                </a:cxn>
                <a:cxn ang="0">
                  <a:pos x="58" y="226"/>
                </a:cxn>
                <a:cxn ang="0">
                  <a:pos x="61" y="228"/>
                </a:cxn>
                <a:cxn ang="0">
                  <a:pos x="74" y="213"/>
                </a:cxn>
                <a:cxn ang="0">
                  <a:pos x="83" y="201"/>
                </a:cxn>
                <a:cxn ang="0">
                  <a:pos x="96" y="216"/>
                </a:cxn>
                <a:cxn ang="0">
                  <a:pos x="109" y="266"/>
                </a:cxn>
                <a:cxn ang="0">
                  <a:pos x="115" y="274"/>
                </a:cxn>
                <a:cxn ang="0">
                  <a:pos x="122" y="301"/>
                </a:cxn>
                <a:cxn ang="0">
                  <a:pos x="121" y="330"/>
                </a:cxn>
                <a:cxn ang="0">
                  <a:pos x="131" y="314"/>
                </a:cxn>
                <a:cxn ang="0">
                  <a:pos x="131" y="285"/>
                </a:cxn>
                <a:cxn ang="0">
                  <a:pos x="119" y="259"/>
                </a:cxn>
                <a:cxn ang="0">
                  <a:pos x="110" y="237"/>
                </a:cxn>
                <a:cxn ang="0">
                  <a:pos x="116" y="219"/>
                </a:cxn>
                <a:cxn ang="0">
                  <a:pos x="100" y="199"/>
                </a:cxn>
                <a:cxn ang="0">
                  <a:pos x="91" y="180"/>
                </a:cxn>
                <a:cxn ang="0">
                  <a:pos x="109" y="157"/>
                </a:cxn>
                <a:cxn ang="0">
                  <a:pos x="125" y="146"/>
                </a:cxn>
                <a:cxn ang="0">
                  <a:pos x="138" y="124"/>
                </a:cxn>
                <a:cxn ang="0">
                  <a:pos x="122" y="126"/>
                </a:cxn>
                <a:cxn ang="0">
                  <a:pos x="106" y="112"/>
                </a:cxn>
                <a:cxn ang="0">
                  <a:pos x="97" y="93"/>
                </a:cxn>
                <a:cxn ang="0">
                  <a:pos x="92" y="79"/>
                </a:cxn>
              </a:cxnLst>
              <a:rect l="0" t="0" r="r" b="b"/>
              <a:pathLst>
                <a:path w="138" h="330">
                  <a:moveTo>
                    <a:pt x="92" y="79"/>
                  </a:moveTo>
                  <a:lnTo>
                    <a:pt x="76" y="81"/>
                  </a:lnTo>
                  <a:lnTo>
                    <a:pt x="76" y="73"/>
                  </a:lnTo>
                  <a:lnTo>
                    <a:pt x="74" y="66"/>
                  </a:lnTo>
                  <a:lnTo>
                    <a:pt x="82" y="54"/>
                  </a:lnTo>
                  <a:lnTo>
                    <a:pt x="84" y="45"/>
                  </a:lnTo>
                  <a:lnTo>
                    <a:pt x="80" y="31"/>
                  </a:lnTo>
                  <a:lnTo>
                    <a:pt x="78" y="16"/>
                  </a:lnTo>
                  <a:lnTo>
                    <a:pt x="71" y="13"/>
                  </a:lnTo>
                  <a:lnTo>
                    <a:pt x="58" y="0"/>
                  </a:lnTo>
                  <a:lnTo>
                    <a:pt x="56" y="6"/>
                  </a:lnTo>
                  <a:lnTo>
                    <a:pt x="54" y="14"/>
                  </a:lnTo>
                  <a:lnTo>
                    <a:pt x="53" y="19"/>
                  </a:lnTo>
                  <a:lnTo>
                    <a:pt x="55" y="25"/>
                  </a:lnTo>
                  <a:lnTo>
                    <a:pt x="43" y="22"/>
                  </a:lnTo>
                  <a:lnTo>
                    <a:pt x="29" y="38"/>
                  </a:lnTo>
                  <a:lnTo>
                    <a:pt x="29" y="52"/>
                  </a:lnTo>
                  <a:lnTo>
                    <a:pt x="28" y="61"/>
                  </a:lnTo>
                  <a:lnTo>
                    <a:pt x="20" y="82"/>
                  </a:lnTo>
                  <a:lnTo>
                    <a:pt x="11" y="82"/>
                  </a:lnTo>
                  <a:lnTo>
                    <a:pt x="11" y="98"/>
                  </a:lnTo>
                  <a:lnTo>
                    <a:pt x="10" y="117"/>
                  </a:lnTo>
                  <a:lnTo>
                    <a:pt x="5" y="116"/>
                  </a:lnTo>
                  <a:lnTo>
                    <a:pt x="4" y="117"/>
                  </a:lnTo>
                  <a:lnTo>
                    <a:pt x="5" y="128"/>
                  </a:lnTo>
                  <a:lnTo>
                    <a:pt x="0" y="132"/>
                  </a:lnTo>
                  <a:lnTo>
                    <a:pt x="11" y="147"/>
                  </a:lnTo>
                  <a:lnTo>
                    <a:pt x="11" y="148"/>
                  </a:lnTo>
                  <a:lnTo>
                    <a:pt x="14" y="145"/>
                  </a:lnTo>
                  <a:lnTo>
                    <a:pt x="18" y="156"/>
                  </a:lnTo>
                  <a:lnTo>
                    <a:pt x="19" y="156"/>
                  </a:lnTo>
                  <a:lnTo>
                    <a:pt x="26" y="156"/>
                  </a:lnTo>
                  <a:lnTo>
                    <a:pt x="31" y="163"/>
                  </a:lnTo>
                  <a:lnTo>
                    <a:pt x="26" y="165"/>
                  </a:lnTo>
                  <a:lnTo>
                    <a:pt x="31" y="172"/>
                  </a:lnTo>
                  <a:lnTo>
                    <a:pt x="34" y="165"/>
                  </a:lnTo>
                  <a:lnTo>
                    <a:pt x="40" y="180"/>
                  </a:lnTo>
                  <a:lnTo>
                    <a:pt x="44" y="194"/>
                  </a:lnTo>
                  <a:lnTo>
                    <a:pt x="44" y="208"/>
                  </a:lnTo>
                  <a:lnTo>
                    <a:pt x="43" y="224"/>
                  </a:lnTo>
                  <a:lnTo>
                    <a:pt x="49" y="216"/>
                  </a:lnTo>
                  <a:lnTo>
                    <a:pt x="52" y="225"/>
                  </a:lnTo>
                  <a:lnTo>
                    <a:pt x="54" y="228"/>
                  </a:lnTo>
                  <a:lnTo>
                    <a:pt x="58" y="226"/>
                  </a:lnTo>
                  <a:lnTo>
                    <a:pt x="61" y="225"/>
                  </a:lnTo>
                  <a:lnTo>
                    <a:pt x="61" y="228"/>
                  </a:lnTo>
                  <a:lnTo>
                    <a:pt x="72" y="218"/>
                  </a:lnTo>
                  <a:lnTo>
                    <a:pt x="74" y="213"/>
                  </a:lnTo>
                  <a:lnTo>
                    <a:pt x="78" y="216"/>
                  </a:lnTo>
                  <a:lnTo>
                    <a:pt x="83" y="201"/>
                  </a:lnTo>
                  <a:lnTo>
                    <a:pt x="89" y="210"/>
                  </a:lnTo>
                  <a:lnTo>
                    <a:pt x="96" y="216"/>
                  </a:lnTo>
                  <a:lnTo>
                    <a:pt x="103" y="241"/>
                  </a:lnTo>
                  <a:lnTo>
                    <a:pt x="109" y="266"/>
                  </a:lnTo>
                  <a:lnTo>
                    <a:pt x="110" y="261"/>
                  </a:lnTo>
                  <a:lnTo>
                    <a:pt x="115" y="274"/>
                  </a:lnTo>
                  <a:lnTo>
                    <a:pt x="120" y="288"/>
                  </a:lnTo>
                  <a:lnTo>
                    <a:pt x="122" y="301"/>
                  </a:lnTo>
                  <a:lnTo>
                    <a:pt x="122" y="316"/>
                  </a:lnTo>
                  <a:lnTo>
                    <a:pt x="121" y="330"/>
                  </a:lnTo>
                  <a:lnTo>
                    <a:pt x="125" y="326"/>
                  </a:lnTo>
                  <a:lnTo>
                    <a:pt x="131" y="314"/>
                  </a:lnTo>
                  <a:lnTo>
                    <a:pt x="136" y="303"/>
                  </a:lnTo>
                  <a:lnTo>
                    <a:pt x="131" y="285"/>
                  </a:lnTo>
                  <a:lnTo>
                    <a:pt x="127" y="270"/>
                  </a:lnTo>
                  <a:lnTo>
                    <a:pt x="119" y="259"/>
                  </a:lnTo>
                  <a:lnTo>
                    <a:pt x="110" y="248"/>
                  </a:lnTo>
                  <a:lnTo>
                    <a:pt x="110" y="237"/>
                  </a:lnTo>
                  <a:lnTo>
                    <a:pt x="113" y="230"/>
                  </a:lnTo>
                  <a:lnTo>
                    <a:pt x="116" y="219"/>
                  </a:lnTo>
                  <a:lnTo>
                    <a:pt x="113" y="218"/>
                  </a:lnTo>
                  <a:lnTo>
                    <a:pt x="100" y="199"/>
                  </a:lnTo>
                  <a:lnTo>
                    <a:pt x="86" y="178"/>
                  </a:lnTo>
                  <a:lnTo>
                    <a:pt x="91" y="180"/>
                  </a:lnTo>
                  <a:lnTo>
                    <a:pt x="95" y="159"/>
                  </a:lnTo>
                  <a:lnTo>
                    <a:pt x="109" y="157"/>
                  </a:lnTo>
                  <a:lnTo>
                    <a:pt x="116" y="148"/>
                  </a:lnTo>
                  <a:lnTo>
                    <a:pt x="125" y="146"/>
                  </a:lnTo>
                  <a:lnTo>
                    <a:pt x="131" y="138"/>
                  </a:lnTo>
                  <a:lnTo>
                    <a:pt x="138" y="124"/>
                  </a:lnTo>
                  <a:lnTo>
                    <a:pt x="133" y="122"/>
                  </a:lnTo>
                  <a:lnTo>
                    <a:pt x="122" y="126"/>
                  </a:lnTo>
                  <a:lnTo>
                    <a:pt x="114" y="116"/>
                  </a:lnTo>
                  <a:lnTo>
                    <a:pt x="106" y="112"/>
                  </a:lnTo>
                  <a:lnTo>
                    <a:pt x="108" y="98"/>
                  </a:lnTo>
                  <a:lnTo>
                    <a:pt x="97" y="93"/>
                  </a:lnTo>
                  <a:lnTo>
                    <a:pt x="94" y="81"/>
                  </a:lnTo>
                  <a:lnTo>
                    <a:pt x="92" y="7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5" name="Freeform 44">
              <a:extLst>
                <a:ext uri="{FF2B5EF4-FFF2-40B4-BE49-F238E27FC236}">
                  <a16:creationId xmlns:a16="http://schemas.microsoft.com/office/drawing/2014/main" id="{1BAE31D5-9B6D-4E45-BDC2-9730189ACDBC}"/>
                </a:ext>
              </a:extLst>
            </p:cNvPr>
            <p:cNvSpPr>
              <a:spLocks/>
            </p:cNvSpPr>
            <p:nvPr/>
          </p:nvSpPr>
          <p:spPr bwMode="auto">
            <a:xfrm>
              <a:off x="9015317" y="3191133"/>
              <a:ext cx="140313" cy="205353"/>
            </a:xfrm>
            <a:custGeom>
              <a:avLst/>
              <a:gdLst/>
              <a:ahLst/>
              <a:cxnLst>
                <a:cxn ang="0">
                  <a:pos x="15" y="69"/>
                </a:cxn>
                <a:cxn ang="0">
                  <a:pos x="15" y="76"/>
                </a:cxn>
                <a:cxn ang="0">
                  <a:pos x="4" y="58"/>
                </a:cxn>
                <a:cxn ang="0">
                  <a:pos x="0" y="43"/>
                </a:cxn>
                <a:cxn ang="0">
                  <a:pos x="9" y="45"/>
                </a:cxn>
                <a:cxn ang="0">
                  <a:pos x="6" y="27"/>
                </a:cxn>
                <a:cxn ang="0">
                  <a:pos x="5" y="7"/>
                </a:cxn>
                <a:cxn ang="0">
                  <a:pos x="9" y="0"/>
                </a:cxn>
                <a:cxn ang="0">
                  <a:pos x="29" y="5"/>
                </a:cxn>
                <a:cxn ang="0">
                  <a:pos x="31" y="9"/>
                </a:cxn>
                <a:cxn ang="0">
                  <a:pos x="36" y="23"/>
                </a:cxn>
                <a:cxn ang="0">
                  <a:pos x="39" y="34"/>
                </a:cxn>
                <a:cxn ang="0">
                  <a:pos x="35" y="45"/>
                </a:cxn>
                <a:cxn ang="0">
                  <a:pos x="29" y="52"/>
                </a:cxn>
                <a:cxn ang="0">
                  <a:pos x="29" y="65"/>
                </a:cxn>
                <a:cxn ang="0">
                  <a:pos x="39" y="84"/>
                </a:cxn>
                <a:cxn ang="0">
                  <a:pos x="43" y="83"/>
                </a:cxn>
                <a:cxn ang="0">
                  <a:pos x="45" y="81"/>
                </a:cxn>
                <a:cxn ang="0">
                  <a:pos x="53" y="78"/>
                </a:cxn>
                <a:cxn ang="0">
                  <a:pos x="60" y="88"/>
                </a:cxn>
                <a:cxn ang="0">
                  <a:pos x="61" y="84"/>
                </a:cxn>
                <a:cxn ang="0">
                  <a:pos x="69" y="89"/>
                </a:cxn>
                <a:cxn ang="0">
                  <a:pos x="65" y="91"/>
                </a:cxn>
                <a:cxn ang="0">
                  <a:pos x="72" y="100"/>
                </a:cxn>
                <a:cxn ang="0">
                  <a:pos x="76" y="101"/>
                </a:cxn>
                <a:cxn ang="0">
                  <a:pos x="72" y="108"/>
                </a:cxn>
                <a:cxn ang="0">
                  <a:pos x="72" y="103"/>
                </a:cxn>
                <a:cxn ang="0">
                  <a:pos x="61" y="97"/>
                </a:cxn>
                <a:cxn ang="0">
                  <a:pos x="54" y="89"/>
                </a:cxn>
                <a:cxn ang="0">
                  <a:pos x="48" y="87"/>
                </a:cxn>
                <a:cxn ang="0">
                  <a:pos x="51" y="99"/>
                </a:cxn>
                <a:cxn ang="0">
                  <a:pos x="35" y="85"/>
                </a:cxn>
                <a:cxn ang="0">
                  <a:pos x="25" y="90"/>
                </a:cxn>
                <a:cxn ang="0">
                  <a:pos x="18" y="87"/>
                </a:cxn>
                <a:cxn ang="0">
                  <a:pos x="18" y="78"/>
                </a:cxn>
                <a:cxn ang="0">
                  <a:pos x="21" y="71"/>
                </a:cxn>
                <a:cxn ang="0">
                  <a:pos x="15" y="69"/>
                </a:cxn>
              </a:cxnLst>
              <a:rect l="0" t="0" r="r" b="b"/>
              <a:pathLst>
                <a:path w="76" h="108">
                  <a:moveTo>
                    <a:pt x="15" y="69"/>
                  </a:moveTo>
                  <a:lnTo>
                    <a:pt x="15" y="76"/>
                  </a:lnTo>
                  <a:lnTo>
                    <a:pt x="4" y="58"/>
                  </a:lnTo>
                  <a:lnTo>
                    <a:pt x="0" y="43"/>
                  </a:lnTo>
                  <a:lnTo>
                    <a:pt x="9" y="45"/>
                  </a:lnTo>
                  <a:lnTo>
                    <a:pt x="6" y="27"/>
                  </a:lnTo>
                  <a:lnTo>
                    <a:pt x="5" y="7"/>
                  </a:lnTo>
                  <a:lnTo>
                    <a:pt x="9" y="0"/>
                  </a:lnTo>
                  <a:lnTo>
                    <a:pt x="29" y="5"/>
                  </a:lnTo>
                  <a:lnTo>
                    <a:pt x="31" y="9"/>
                  </a:lnTo>
                  <a:lnTo>
                    <a:pt x="36" y="23"/>
                  </a:lnTo>
                  <a:lnTo>
                    <a:pt x="39" y="34"/>
                  </a:lnTo>
                  <a:lnTo>
                    <a:pt x="35" y="45"/>
                  </a:lnTo>
                  <a:lnTo>
                    <a:pt x="29" y="52"/>
                  </a:lnTo>
                  <a:lnTo>
                    <a:pt x="29" y="65"/>
                  </a:lnTo>
                  <a:lnTo>
                    <a:pt x="39" y="84"/>
                  </a:lnTo>
                  <a:lnTo>
                    <a:pt x="43" y="83"/>
                  </a:lnTo>
                  <a:lnTo>
                    <a:pt x="45" y="81"/>
                  </a:lnTo>
                  <a:lnTo>
                    <a:pt x="53" y="78"/>
                  </a:lnTo>
                  <a:lnTo>
                    <a:pt x="60" y="88"/>
                  </a:lnTo>
                  <a:lnTo>
                    <a:pt x="61" y="84"/>
                  </a:lnTo>
                  <a:lnTo>
                    <a:pt x="69" y="89"/>
                  </a:lnTo>
                  <a:lnTo>
                    <a:pt x="65" y="91"/>
                  </a:lnTo>
                  <a:lnTo>
                    <a:pt x="72" y="100"/>
                  </a:lnTo>
                  <a:lnTo>
                    <a:pt x="76" y="101"/>
                  </a:lnTo>
                  <a:lnTo>
                    <a:pt x="72" y="108"/>
                  </a:lnTo>
                  <a:lnTo>
                    <a:pt x="72" y="103"/>
                  </a:lnTo>
                  <a:lnTo>
                    <a:pt x="61" y="97"/>
                  </a:lnTo>
                  <a:lnTo>
                    <a:pt x="54" y="89"/>
                  </a:lnTo>
                  <a:lnTo>
                    <a:pt x="48" y="87"/>
                  </a:lnTo>
                  <a:lnTo>
                    <a:pt x="51" y="99"/>
                  </a:lnTo>
                  <a:lnTo>
                    <a:pt x="35" y="85"/>
                  </a:lnTo>
                  <a:lnTo>
                    <a:pt x="25" y="90"/>
                  </a:lnTo>
                  <a:lnTo>
                    <a:pt x="18" y="87"/>
                  </a:lnTo>
                  <a:lnTo>
                    <a:pt x="18" y="78"/>
                  </a:lnTo>
                  <a:lnTo>
                    <a:pt x="21" y="71"/>
                  </a:lnTo>
                  <a:lnTo>
                    <a:pt x="15" y="6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6" name="Freeform 45">
              <a:extLst>
                <a:ext uri="{FF2B5EF4-FFF2-40B4-BE49-F238E27FC236}">
                  <a16:creationId xmlns:a16="http://schemas.microsoft.com/office/drawing/2014/main" id="{6490EC0A-4C5C-45C7-8A8D-84FD217FD575}"/>
                </a:ext>
              </a:extLst>
            </p:cNvPr>
            <p:cNvSpPr>
              <a:spLocks/>
            </p:cNvSpPr>
            <p:nvPr/>
          </p:nvSpPr>
          <p:spPr bwMode="auto">
            <a:xfrm>
              <a:off x="9109429" y="3495741"/>
              <a:ext cx="136891" cy="140325"/>
            </a:xfrm>
            <a:custGeom>
              <a:avLst/>
              <a:gdLst/>
              <a:ahLst/>
              <a:cxnLst>
                <a:cxn ang="0">
                  <a:pos x="56" y="73"/>
                </a:cxn>
                <a:cxn ang="0">
                  <a:pos x="54" y="66"/>
                </a:cxn>
                <a:cxn ang="0">
                  <a:pos x="51" y="68"/>
                </a:cxn>
                <a:cxn ang="0">
                  <a:pos x="33" y="58"/>
                </a:cxn>
                <a:cxn ang="0">
                  <a:pos x="36" y="43"/>
                </a:cxn>
                <a:cxn ang="0">
                  <a:pos x="26" y="34"/>
                </a:cxn>
                <a:cxn ang="0">
                  <a:pos x="22" y="38"/>
                </a:cxn>
                <a:cxn ang="0">
                  <a:pos x="19" y="37"/>
                </a:cxn>
                <a:cxn ang="0">
                  <a:pos x="16" y="40"/>
                </a:cxn>
                <a:cxn ang="0">
                  <a:pos x="12" y="35"/>
                </a:cxn>
                <a:cxn ang="0">
                  <a:pos x="4" y="44"/>
                </a:cxn>
                <a:cxn ang="0">
                  <a:pos x="0" y="49"/>
                </a:cxn>
                <a:cxn ang="0">
                  <a:pos x="2" y="36"/>
                </a:cxn>
                <a:cxn ang="0">
                  <a:pos x="14" y="25"/>
                </a:cxn>
                <a:cxn ang="0">
                  <a:pos x="24" y="19"/>
                </a:cxn>
                <a:cxn ang="0">
                  <a:pos x="27" y="29"/>
                </a:cxn>
                <a:cxn ang="0">
                  <a:pos x="34" y="25"/>
                </a:cxn>
                <a:cxn ang="0">
                  <a:pos x="39" y="22"/>
                </a:cxn>
                <a:cxn ang="0">
                  <a:pos x="42" y="13"/>
                </a:cxn>
                <a:cxn ang="0">
                  <a:pos x="49" y="13"/>
                </a:cxn>
                <a:cxn ang="0">
                  <a:pos x="52" y="13"/>
                </a:cxn>
                <a:cxn ang="0">
                  <a:pos x="51" y="0"/>
                </a:cxn>
                <a:cxn ang="0">
                  <a:pos x="63" y="8"/>
                </a:cxn>
                <a:cxn ang="0">
                  <a:pos x="66" y="22"/>
                </a:cxn>
                <a:cxn ang="0">
                  <a:pos x="73" y="43"/>
                </a:cxn>
                <a:cxn ang="0">
                  <a:pos x="69" y="52"/>
                </a:cxn>
                <a:cxn ang="0">
                  <a:pos x="68" y="59"/>
                </a:cxn>
                <a:cxn ang="0">
                  <a:pos x="61" y="44"/>
                </a:cxn>
                <a:cxn ang="0">
                  <a:pos x="56" y="48"/>
                </a:cxn>
                <a:cxn ang="0">
                  <a:pos x="58" y="60"/>
                </a:cxn>
                <a:cxn ang="0">
                  <a:pos x="56" y="73"/>
                </a:cxn>
              </a:cxnLst>
              <a:rect l="0" t="0" r="r" b="b"/>
              <a:pathLst>
                <a:path w="73" h="73">
                  <a:moveTo>
                    <a:pt x="56" y="73"/>
                  </a:moveTo>
                  <a:lnTo>
                    <a:pt x="54" y="66"/>
                  </a:lnTo>
                  <a:lnTo>
                    <a:pt x="51" y="68"/>
                  </a:lnTo>
                  <a:lnTo>
                    <a:pt x="33" y="58"/>
                  </a:lnTo>
                  <a:lnTo>
                    <a:pt x="36" y="43"/>
                  </a:lnTo>
                  <a:lnTo>
                    <a:pt x="26" y="34"/>
                  </a:lnTo>
                  <a:lnTo>
                    <a:pt x="22" y="38"/>
                  </a:lnTo>
                  <a:lnTo>
                    <a:pt x="19" y="37"/>
                  </a:lnTo>
                  <a:lnTo>
                    <a:pt x="16" y="40"/>
                  </a:lnTo>
                  <a:lnTo>
                    <a:pt x="12" y="35"/>
                  </a:lnTo>
                  <a:lnTo>
                    <a:pt x="4" y="44"/>
                  </a:lnTo>
                  <a:lnTo>
                    <a:pt x="0" y="49"/>
                  </a:lnTo>
                  <a:lnTo>
                    <a:pt x="2" y="36"/>
                  </a:lnTo>
                  <a:lnTo>
                    <a:pt x="14" y="25"/>
                  </a:lnTo>
                  <a:lnTo>
                    <a:pt x="24" y="19"/>
                  </a:lnTo>
                  <a:lnTo>
                    <a:pt x="27" y="29"/>
                  </a:lnTo>
                  <a:lnTo>
                    <a:pt x="34" y="25"/>
                  </a:lnTo>
                  <a:lnTo>
                    <a:pt x="39" y="22"/>
                  </a:lnTo>
                  <a:lnTo>
                    <a:pt x="42" y="13"/>
                  </a:lnTo>
                  <a:lnTo>
                    <a:pt x="49" y="13"/>
                  </a:lnTo>
                  <a:lnTo>
                    <a:pt x="52" y="13"/>
                  </a:lnTo>
                  <a:lnTo>
                    <a:pt x="51" y="0"/>
                  </a:lnTo>
                  <a:lnTo>
                    <a:pt x="63" y="8"/>
                  </a:lnTo>
                  <a:lnTo>
                    <a:pt x="66" y="22"/>
                  </a:lnTo>
                  <a:lnTo>
                    <a:pt x="73" y="43"/>
                  </a:lnTo>
                  <a:lnTo>
                    <a:pt x="69" y="52"/>
                  </a:lnTo>
                  <a:lnTo>
                    <a:pt x="68" y="59"/>
                  </a:lnTo>
                  <a:lnTo>
                    <a:pt x="61" y="44"/>
                  </a:lnTo>
                  <a:lnTo>
                    <a:pt x="56" y="48"/>
                  </a:lnTo>
                  <a:lnTo>
                    <a:pt x="58" y="60"/>
                  </a:lnTo>
                  <a:lnTo>
                    <a:pt x="56" y="7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7" name="Freeform 46">
              <a:extLst>
                <a:ext uri="{FF2B5EF4-FFF2-40B4-BE49-F238E27FC236}">
                  <a16:creationId xmlns:a16="http://schemas.microsoft.com/office/drawing/2014/main" id="{FF050C96-1DD2-4692-B61B-31EDE2660AC0}"/>
                </a:ext>
              </a:extLst>
            </p:cNvPr>
            <p:cNvSpPr>
              <a:spLocks/>
            </p:cNvSpPr>
            <p:nvPr/>
          </p:nvSpPr>
          <p:spPr bwMode="auto">
            <a:xfrm>
              <a:off x="9117985" y="3458093"/>
              <a:ext cx="29089" cy="56472"/>
            </a:xfrm>
            <a:custGeom>
              <a:avLst/>
              <a:gdLst/>
              <a:ahLst/>
              <a:cxnLst>
                <a:cxn ang="0">
                  <a:pos x="16" y="0"/>
                </a:cxn>
                <a:cxn ang="0">
                  <a:pos x="12" y="22"/>
                </a:cxn>
                <a:cxn ang="0">
                  <a:pos x="12" y="31"/>
                </a:cxn>
                <a:cxn ang="0">
                  <a:pos x="0" y="20"/>
                </a:cxn>
                <a:cxn ang="0">
                  <a:pos x="4" y="15"/>
                </a:cxn>
                <a:cxn ang="0">
                  <a:pos x="6" y="0"/>
                </a:cxn>
                <a:cxn ang="0">
                  <a:pos x="16" y="0"/>
                </a:cxn>
              </a:cxnLst>
              <a:rect l="0" t="0" r="r" b="b"/>
              <a:pathLst>
                <a:path w="16" h="31">
                  <a:moveTo>
                    <a:pt x="16" y="0"/>
                  </a:moveTo>
                  <a:lnTo>
                    <a:pt x="12" y="22"/>
                  </a:lnTo>
                  <a:lnTo>
                    <a:pt x="12" y="31"/>
                  </a:lnTo>
                  <a:lnTo>
                    <a:pt x="0" y="20"/>
                  </a:lnTo>
                  <a:lnTo>
                    <a:pt x="4" y="15"/>
                  </a:lnTo>
                  <a:lnTo>
                    <a:pt x="6" y="0"/>
                  </a:lnTo>
                  <a:lnTo>
                    <a:pt x="1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8" name="Freeform 47">
              <a:extLst>
                <a:ext uri="{FF2B5EF4-FFF2-40B4-BE49-F238E27FC236}">
                  <a16:creationId xmlns:a16="http://schemas.microsoft.com/office/drawing/2014/main" id="{66CA11AA-A6D7-45D3-B906-1CD2ECD28FFE}"/>
                </a:ext>
              </a:extLst>
            </p:cNvPr>
            <p:cNvSpPr>
              <a:spLocks/>
            </p:cNvSpPr>
            <p:nvPr/>
          </p:nvSpPr>
          <p:spPr bwMode="auto">
            <a:xfrm>
              <a:off x="9162475" y="3396487"/>
              <a:ext cx="49623" cy="53050"/>
            </a:xfrm>
            <a:custGeom>
              <a:avLst/>
              <a:gdLst/>
              <a:ahLst/>
              <a:cxnLst>
                <a:cxn ang="0">
                  <a:pos x="20" y="27"/>
                </a:cxn>
                <a:cxn ang="0">
                  <a:pos x="12" y="18"/>
                </a:cxn>
                <a:cxn ang="0">
                  <a:pos x="0" y="3"/>
                </a:cxn>
                <a:cxn ang="0">
                  <a:pos x="14" y="0"/>
                </a:cxn>
                <a:cxn ang="0">
                  <a:pos x="20" y="11"/>
                </a:cxn>
                <a:cxn ang="0">
                  <a:pos x="27" y="28"/>
                </a:cxn>
                <a:cxn ang="0">
                  <a:pos x="20" y="27"/>
                </a:cxn>
              </a:cxnLst>
              <a:rect l="0" t="0" r="r" b="b"/>
              <a:pathLst>
                <a:path w="27" h="28">
                  <a:moveTo>
                    <a:pt x="20" y="27"/>
                  </a:moveTo>
                  <a:lnTo>
                    <a:pt x="12" y="18"/>
                  </a:lnTo>
                  <a:lnTo>
                    <a:pt x="0" y="3"/>
                  </a:lnTo>
                  <a:lnTo>
                    <a:pt x="14" y="0"/>
                  </a:lnTo>
                  <a:lnTo>
                    <a:pt x="20" y="11"/>
                  </a:lnTo>
                  <a:lnTo>
                    <a:pt x="27" y="28"/>
                  </a:lnTo>
                  <a:lnTo>
                    <a:pt x="20" y="2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49" name="Freeform 48">
              <a:extLst>
                <a:ext uri="{FF2B5EF4-FFF2-40B4-BE49-F238E27FC236}">
                  <a16:creationId xmlns:a16="http://schemas.microsoft.com/office/drawing/2014/main" id="{A40B31E3-4098-45E8-B9C7-CF72F6D7CEB3}"/>
                </a:ext>
              </a:extLst>
            </p:cNvPr>
            <p:cNvSpPr>
              <a:spLocks/>
            </p:cNvSpPr>
            <p:nvPr/>
          </p:nvSpPr>
          <p:spPr bwMode="auto">
            <a:xfrm>
              <a:off x="9094029" y="3423867"/>
              <a:ext cx="39356" cy="44493"/>
            </a:xfrm>
            <a:custGeom>
              <a:avLst/>
              <a:gdLst/>
              <a:ahLst/>
              <a:cxnLst>
                <a:cxn ang="0">
                  <a:pos x="20" y="4"/>
                </a:cxn>
                <a:cxn ang="0">
                  <a:pos x="3" y="0"/>
                </a:cxn>
                <a:cxn ang="0">
                  <a:pos x="0" y="1"/>
                </a:cxn>
                <a:cxn ang="0">
                  <a:pos x="5" y="24"/>
                </a:cxn>
                <a:cxn ang="0">
                  <a:pos x="20" y="9"/>
                </a:cxn>
                <a:cxn ang="0">
                  <a:pos x="21" y="8"/>
                </a:cxn>
                <a:cxn ang="0">
                  <a:pos x="20" y="4"/>
                </a:cxn>
              </a:cxnLst>
              <a:rect l="0" t="0" r="r" b="b"/>
              <a:pathLst>
                <a:path w="21" h="24">
                  <a:moveTo>
                    <a:pt x="20" y="4"/>
                  </a:moveTo>
                  <a:lnTo>
                    <a:pt x="3" y="0"/>
                  </a:lnTo>
                  <a:lnTo>
                    <a:pt x="0" y="1"/>
                  </a:lnTo>
                  <a:lnTo>
                    <a:pt x="5" y="24"/>
                  </a:lnTo>
                  <a:lnTo>
                    <a:pt x="20" y="9"/>
                  </a:lnTo>
                  <a:lnTo>
                    <a:pt x="21" y="8"/>
                  </a:lnTo>
                  <a:lnTo>
                    <a:pt x="20"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0" name="Freeform 49">
              <a:extLst>
                <a:ext uri="{FF2B5EF4-FFF2-40B4-BE49-F238E27FC236}">
                  <a16:creationId xmlns:a16="http://schemas.microsoft.com/office/drawing/2014/main" id="{E8469D1F-5D8A-481D-8FB3-395227A8F6EB}"/>
                </a:ext>
              </a:extLst>
            </p:cNvPr>
            <p:cNvSpPr>
              <a:spLocks/>
            </p:cNvSpPr>
            <p:nvPr/>
          </p:nvSpPr>
          <p:spPr bwMode="auto">
            <a:xfrm>
              <a:off x="8962272" y="3442691"/>
              <a:ext cx="71868" cy="94120"/>
            </a:xfrm>
            <a:custGeom>
              <a:avLst/>
              <a:gdLst/>
              <a:ahLst/>
              <a:cxnLst>
                <a:cxn ang="0">
                  <a:pos x="37" y="15"/>
                </a:cxn>
                <a:cxn ang="0">
                  <a:pos x="23" y="29"/>
                </a:cxn>
                <a:cxn ang="0">
                  <a:pos x="12" y="40"/>
                </a:cxn>
                <a:cxn ang="0">
                  <a:pos x="0" y="52"/>
                </a:cxn>
                <a:cxn ang="0">
                  <a:pos x="1" y="48"/>
                </a:cxn>
                <a:cxn ang="0">
                  <a:pos x="13" y="34"/>
                </a:cxn>
                <a:cxn ang="0">
                  <a:pos x="24" y="21"/>
                </a:cxn>
                <a:cxn ang="0">
                  <a:pos x="29" y="9"/>
                </a:cxn>
                <a:cxn ang="0">
                  <a:pos x="30" y="9"/>
                </a:cxn>
                <a:cxn ang="0">
                  <a:pos x="31" y="0"/>
                </a:cxn>
                <a:cxn ang="0">
                  <a:pos x="37" y="15"/>
                </a:cxn>
              </a:cxnLst>
              <a:rect l="0" t="0" r="r" b="b"/>
              <a:pathLst>
                <a:path w="37" h="52">
                  <a:moveTo>
                    <a:pt x="37" y="15"/>
                  </a:moveTo>
                  <a:lnTo>
                    <a:pt x="23" y="29"/>
                  </a:lnTo>
                  <a:lnTo>
                    <a:pt x="12" y="40"/>
                  </a:lnTo>
                  <a:lnTo>
                    <a:pt x="0" y="52"/>
                  </a:lnTo>
                  <a:lnTo>
                    <a:pt x="1" y="48"/>
                  </a:lnTo>
                  <a:lnTo>
                    <a:pt x="13" y="34"/>
                  </a:lnTo>
                  <a:lnTo>
                    <a:pt x="24" y="21"/>
                  </a:lnTo>
                  <a:lnTo>
                    <a:pt x="29" y="9"/>
                  </a:lnTo>
                  <a:lnTo>
                    <a:pt x="30" y="9"/>
                  </a:lnTo>
                  <a:lnTo>
                    <a:pt x="31" y="0"/>
                  </a:lnTo>
                  <a:lnTo>
                    <a:pt x="37" y="1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1" name="Freeform 50">
              <a:extLst>
                <a:ext uri="{FF2B5EF4-FFF2-40B4-BE49-F238E27FC236}">
                  <a16:creationId xmlns:a16="http://schemas.microsoft.com/office/drawing/2014/main" id="{1115BC72-A2B0-4766-9CEF-B156EEE68D30}"/>
                </a:ext>
              </a:extLst>
            </p:cNvPr>
            <p:cNvSpPr>
              <a:spLocks/>
            </p:cNvSpPr>
            <p:nvPr/>
          </p:nvSpPr>
          <p:spPr bwMode="auto">
            <a:xfrm>
              <a:off x="9037562" y="3365684"/>
              <a:ext cx="41067" cy="42782"/>
            </a:xfrm>
            <a:custGeom>
              <a:avLst/>
              <a:gdLst/>
              <a:ahLst/>
              <a:cxnLst>
                <a:cxn ang="0">
                  <a:pos x="22" y="14"/>
                </a:cxn>
                <a:cxn ang="0">
                  <a:pos x="18" y="20"/>
                </a:cxn>
                <a:cxn ang="0">
                  <a:pos x="10" y="11"/>
                </a:cxn>
                <a:cxn ang="0">
                  <a:pos x="0" y="0"/>
                </a:cxn>
                <a:cxn ang="0">
                  <a:pos x="17" y="2"/>
                </a:cxn>
                <a:cxn ang="0">
                  <a:pos x="22" y="14"/>
                </a:cxn>
              </a:cxnLst>
              <a:rect l="0" t="0" r="r" b="b"/>
              <a:pathLst>
                <a:path w="22" h="20">
                  <a:moveTo>
                    <a:pt x="22" y="14"/>
                  </a:moveTo>
                  <a:lnTo>
                    <a:pt x="18" y="20"/>
                  </a:lnTo>
                  <a:lnTo>
                    <a:pt x="10" y="11"/>
                  </a:lnTo>
                  <a:lnTo>
                    <a:pt x="0" y="0"/>
                  </a:lnTo>
                  <a:lnTo>
                    <a:pt x="17" y="2"/>
                  </a:lnTo>
                  <a:lnTo>
                    <a:pt x="22" y="1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2" name="Freeform 51">
              <a:extLst>
                <a:ext uri="{FF2B5EF4-FFF2-40B4-BE49-F238E27FC236}">
                  <a16:creationId xmlns:a16="http://schemas.microsoft.com/office/drawing/2014/main" id="{8C86ADA9-B0D0-4917-9137-4CB7F3AE0208}"/>
                </a:ext>
              </a:extLst>
            </p:cNvPr>
            <p:cNvSpPr>
              <a:spLocks/>
            </p:cNvSpPr>
            <p:nvPr/>
          </p:nvSpPr>
          <p:spPr bwMode="auto">
            <a:xfrm>
              <a:off x="9171030" y="3434135"/>
              <a:ext cx="30800" cy="46205"/>
            </a:xfrm>
            <a:custGeom>
              <a:avLst/>
              <a:gdLst/>
              <a:ahLst/>
              <a:cxnLst>
                <a:cxn ang="0">
                  <a:pos x="10" y="4"/>
                </a:cxn>
                <a:cxn ang="0">
                  <a:pos x="16" y="21"/>
                </a:cxn>
                <a:cxn ang="0">
                  <a:pos x="12" y="22"/>
                </a:cxn>
                <a:cxn ang="0">
                  <a:pos x="11" y="25"/>
                </a:cxn>
                <a:cxn ang="0">
                  <a:pos x="4" y="10"/>
                </a:cxn>
                <a:cxn ang="0">
                  <a:pos x="0" y="0"/>
                </a:cxn>
                <a:cxn ang="0">
                  <a:pos x="10" y="4"/>
                </a:cxn>
              </a:cxnLst>
              <a:rect l="0" t="0" r="r" b="b"/>
              <a:pathLst>
                <a:path w="16" h="25">
                  <a:moveTo>
                    <a:pt x="10" y="4"/>
                  </a:moveTo>
                  <a:lnTo>
                    <a:pt x="16" y="21"/>
                  </a:lnTo>
                  <a:lnTo>
                    <a:pt x="12" y="22"/>
                  </a:lnTo>
                  <a:lnTo>
                    <a:pt x="11" y="25"/>
                  </a:lnTo>
                  <a:lnTo>
                    <a:pt x="4" y="10"/>
                  </a:lnTo>
                  <a:lnTo>
                    <a:pt x="0" y="0"/>
                  </a:lnTo>
                  <a:lnTo>
                    <a:pt x="10"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3" name="Freeform 52">
              <a:extLst>
                <a:ext uri="{FF2B5EF4-FFF2-40B4-BE49-F238E27FC236}">
                  <a16:creationId xmlns:a16="http://schemas.microsoft.com/office/drawing/2014/main" id="{0754C58B-A8A8-4BFB-85E0-6A28F3DFC785}"/>
                </a:ext>
              </a:extLst>
            </p:cNvPr>
            <p:cNvSpPr>
              <a:spLocks/>
            </p:cNvSpPr>
            <p:nvPr/>
          </p:nvSpPr>
          <p:spPr bwMode="auto">
            <a:xfrm>
              <a:off x="9133385" y="3399909"/>
              <a:ext cx="25667" cy="27380"/>
            </a:xfrm>
            <a:custGeom>
              <a:avLst/>
              <a:gdLst/>
              <a:ahLst/>
              <a:cxnLst>
                <a:cxn ang="0">
                  <a:pos x="14" y="13"/>
                </a:cxn>
                <a:cxn ang="0">
                  <a:pos x="2" y="6"/>
                </a:cxn>
                <a:cxn ang="0">
                  <a:pos x="0" y="7"/>
                </a:cxn>
                <a:cxn ang="0">
                  <a:pos x="1" y="0"/>
                </a:cxn>
                <a:cxn ang="0">
                  <a:pos x="14" y="11"/>
                </a:cxn>
                <a:cxn ang="0">
                  <a:pos x="14" y="13"/>
                </a:cxn>
              </a:cxnLst>
              <a:rect l="0" t="0" r="r" b="b"/>
              <a:pathLst>
                <a:path w="14" h="13">
                  <a:moveTo>
                    <a:pt x="14" y="13"/>
                  </a:moveTo>
                  <a:lnTo>
                    <a:pt x="2" y="6"/>
                  </a:lnTo>
                  <a:lnTo>
                    <a:pt x="0" y="7"/>
                  </a:lnTo>
                  <a:lnTo>
                    <a:pt x="1" y="0"/>
                  </a:lnTo>
                  <a:lnTo>
                    <a:pt x="14" y="11"/>
                  </a:lnTo>
                  <a:lnTo>
                    <a:pt x="14"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4" name="Freeform 53">
              <a:extLst>
                <a:ext uri="{FF2B5EF4-FFF2-40B4-BE49-F238E27FC236}">
                  <a16:creationId xmlns:a16="http://schemas.microsoft.com/office/drawing/2014/main" id="{05768965-FAB9-48CD-8633-DB4B503FE6CD}"/>
                </a:ext>
              </a:extLst>
            </p:cNvPr>
            <p:cNvSpPr>
              <a:spLocks/>
            </p:cNvSpPr>
            <p:nvPr/>
          </p:nvSpPr>
          <p:spPr bwMode="auto">
            <a:xfrm>
              <a:off x="9159052" y="3480339"/>
              <a:ext cx="22245" cy="11979"/>
            </a:xfrm>
            <a:custGeom>
              <a:avLst/>
              <a:gdLst/>
              <a:ahLst/>
              <a:cxnLst>
                <a:cxn ang="0">
                  <a:pos x="12" y="6"/>
                </a:cxn>
                <a:cxn ang="0">
                  <a:pos x="10" y="0"/>
                </a:cxn>
                <a:cxn ang="0">
                  <a:pos x="0" y="6"/>
                </a:cxn>
                <a:cxn ang="0">
                  <a:pos x="12" y="6"/>
                </a:cxn>
              </a:cxnLst>
              <a:rect l="0" t="0" r="r" b="b"/>
              <a:pathLst>
                <a:path w="12" h="6">
                  <a:moveTo>
                    <a:pt x="12" y="6"/>
                  </a:moveTo>
                  <a:lnTo>
                    <a:pt x="10" y="0"/>
                  </a:lnTo>
                  <a:lnTo>
                    <a:pt x="0" y="6"/>
                  </a:lnTo>
                  <a:lnTo>
                    <a:pt x="12"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5" name="Freeform 54">
              <a:extLst>
                <a:ext uri="{FF2B5EF4-FFF2-40B4-BE49-F238E27FC236}">
                  <a16:creationId xmlns:a16="http://schemas.microsoft.com/office/drawing/2014/main" id="{10EE445F-4A25-4430-9D24-5F90FAB268B3}"/>
                </a:ext>
              </a:extLst>
            </p:cNvPr>
            <p:cNvSpPr>
              <a:spLocks/>
            </p:cNvSpPr>
            <p:nvPr/>
          </p:nvSpPr>
          <p:spPr bwMode="auto">
            <a:xfrm>
              <a:off x="9143652" y="3442691"/>
              <a:ext cx="18822" cy="59895"/>
            </a:xfrm>
            <a:custGeom>
              <a:avLst/>
              <a:gdLst/>
              <a:ahLst/>
              <a:cxnLst>
                <a:cxn ang="0">
                  <a:pos x="8" y="0"/>
                </a:cxn>
                <a:cxn ang="0">
                  <a:pos x="8" y="9"/>
                </a:cxn>
                <a:cxn ang="0">
                  <a:pos x="5" y="21"/>
                </a:cxn>
                <a:cxn ang="0">
                  <a:pos x="0" y="33"/>
                </a:cxn>
                <a:cxn ang="0">
                  <a:pos x="5" y="16"/>
                </a:cxn>
                <a:cxn ang="0">
                  <a:pos x="8" y="0"/>
                </a:cxn>
              </a:cxnLst>
              <a:rect l="0" t="0" r="r" b="b"/>
              <a:pathLst>
                <a:path w="8" h="33">
                  <a:moveTo>
                    <a:pt x="8" y="0"/>
                  </a:moveTo>
                  <a:lnTo>
                    <a:pt x="8" y="9"/>
                  </a:lnTo>
                  <a:lnTo>
                    <a:pt x="5" y="21"/>
                  </a:lnTo>
                  <a:lnTo>
                    <a:pt x="0" y="33"/>
                  </a:lnTo>
                  <a:lnTo>
                    <a:pt x="5" y="16"/>
                  </a:lnTo>
                  <a:lnTo>
                    <a:pt x="8"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6" name="Freeform 55">
              <a:extLst>
                <a:ext uri="{FF2B5EF4-FFF2-40B4-BE49-F238E27FC236}">
                  <a16:creationId xmlns:a16="http://schemas.microsoft.com/office/drawing/2014/main" id="{E2AEB22F-67BC-4C15-9434-E0C9ACF25526}"/>
                </a:ext>
              </a:extLst>
            </p:cNvPr>
            <p:cNvSpPr>
              <a:spLocks/>
            </p:cNvSpPr>
            <p:nvPr/>
          </p:nvSpPr>
          <p:spPr bwMode="auto">
            <a:xfrm>
              <a:off x="8330864" y="3131239"/>
              <a:ext cx="261803" cy="497982"/>
            </a:xfrm>
            <a:custGeom>
              <a:avLst/>
              <a:gdLst/>
              <a:ahLst/>
              <a:cxnLst>
                <a:cxn ang="0">
                  <a:pos x="46" y="187"/>
                </a:cxn>
                <a:cxn ang="0">
                  <a:pos x="53" y="155"/>
                </a:cxn>
                <a:cxn ang="0">
                  <a:pos x="54" y="126"/>
                </a:cxn>
                <a:cxn ang="0">
                  <a:pos x="69" y="137"/>
                </a:cxn>
                <a:cxn ang="0">
                  <a:pos x="96" y="150"/>
                </a:cxn>
                <a:cxn ang="0">
                  <a:pos x="96" y="143"/>
                </a:cxn>
                <a:cxn ang="0">
                  <a:pos x="101" y="109"/>
                </a:cxn>
                <a:cxn ang="0">
                  <a:pos x="134" y="108"/>
                </a:cxn>
                <a:cxn ang="0">
                  <a:pos x="135" y="83"/>
                </a:cxn>
                <a:cxn ang="0">
                  <a:pos x="118" y="52"/>
                </a:cxn>
                <a:cxn ang="0">
                  <a:pos x="92" y="41"/>
                </a:cxn>
                <a:cxn ang="0">
                  <a:pos x="75" y="40"/>
                </a:cxn>
                <a:cxn ang="0">
                  <a:pos x="59" y="32"/>
                </a:cxn>
                <a:cxn ang="0">
                  <a:pos x="46" y="13"/>
                </a:cxn>
                <a:cxn ang="0">
                  <a:pos x="39" y="0"/>
                </a:cxn>
                <a:cxn ang="0">
                  <a:pos x="23" y="11"/>
                </a:cxn>
                <a:cxn ang="0">
                  <a:pos x="5" y="34"/>
                </a:cxn>
                <a:cxn ang="0">
                  <a:pos x="14" y="53"/>
                </a:cxn>
                <a:cxn ang="0">
                  <a:pos x="30" y="73"/>
                </a:cxn>
                <a:cxn ang="0">
                  <a:pos x="24" y="91"/>
                </a:cxn>
                <a:cxn ang="0">
                  <a:pos x="33" y="113"/>
                </a:cxn>
                <a:cxn ang="0">
                  <a:pos x="45" y="139"/>
                </a:cxn>
                <a:cxn ang="0">
                  <a:pos x="45" y="168"/>
                </a:cxn>
                <a:cxn ang="0">
                  <a:pos x="39" y="184"/>
                </a:cxn>
                <a:cxn ang="0">
                  <a:pos x="34" y="218"/>
                </a:cxn>
                <a:cxn ang="0">
                  <a:pos x="45" y="226"/>
                </a:cxn>
                <a:cxn ang="0">
                  <a:pos x="58" y="240"/>
                </a:cxn>
                <a:cxn ang="0">
                  <a:pos x="66" y="248"/>
                </a:cxn>
                <a:cxn ang="0">
                  <a:pos x="80" y="262"/>
                </a:cxn>
                <a:cxn ang="0">
                  <a:pos x="96" y="254"/>
                </a:cxn>
                <a:cxn ang="0">
                  <a:pos x="76" y="241"/>
                </a:cxn>
                <a:cxn ang="0">
                  <a:pos x="64" y="218"/>
                </a:cxn>
                <a:cxn ang="0">
                  <a:pos x="51" y="200"/>
                </a:cxn>
              </a:cxnLst>
              <a:rect l="0" t="0" r="r" b="b"/>
              <a:pathLst>
                <a:path w="138" h="262">
                  <a:moveTo>
                    <a:pt x="51" y="200"/>
                  </a:moveTo>
                  <a:lnTo>
                    <a:pt x="46" y="187"/>
                  </a:lnTo>
                  <a:lnTo>
                    <a:pt x="50" y="170"/>
                  </a:lnTo>
                  <a:lnTo>
                    <a:pt x="53" y="155"/>
                  </a:lnTo>
                  <a:lnTo>
                    <a:pt x="53" y="140"/>
                  </a:lnTo>
                  <a:lnTo>
                    <a:pt x="54" y="126"/>
                  </a:lnTo>
                  <a:lnTo>
                    <a:pt x="68" y="124"/>
                  </a:lnTo>
                  <a:lnTo>
                    <a:pt x="69" y="137"/>
                  </a:lnTo>
                  <a:lnTo>
                    <a:pt x="81" y="139"/>
                  </a:lnTo>
                  <a:lnTo>
                    <a:pt x="96" y="150"/>
                  </a:lnTo>
                  <a:lnTo>
                    <a:pt x="102" y="157"/>
                  </a:lnTo>
                  <a:lnTo>
                    <a:pt x="96" y="143"/>
                  </a:lnTo>
                  <a:lnTo>
                    <a:pt x="90" y="127"/>
                  </a:lnTo>
                  <a:lnTo>
                    <a:pt x="101" y="109"/>
                  </a:lnTo>
                  <a:lnTo>
                    <a:pt x="117" y="109"/>
                  </a:lnTo>
                  <a:lnTo>
                    <a:pt x="134" y="108"/>
                  </a:lnTo>
                  <a:lnTo>
                    <a:pt x="138" y="98"/>
                  </a:lnTo>
                  <a:lnTo>
                    <a:pt x="135" y="83"/>
                  </a:lnTo>
                  <a:lnTo>
                    <a:pt x="120" y="65"/>
                  </a:lnTo>
                  <a:lnTo>
                    <a:pt x="118" y="52"/>
                  </a:lnTo>
                  <a:lnTo>
                    <a:pt x="99" y="36"/>
                  </a:lnTo>
                  <a:lnTo>
                    <a:pt x="92" y="41"/>
                  </a:lnTo>
                  <a:lnTo>
                    <a:pt x="84" y="43"/>
                  </a:lnTo>
                  <a:lnTo>
                    <a:pt x="75" y="40"/>
                  </a:lnTo>
                  <a:lnTo>
                    <a:pt x="60" y="50"/>
                  </a:lnTo>
                  <a:lnTo>
                    <a:pt x="59" y="32"/>
                  </a:lnTo>
                  <a:lnTo>
                    <a:pt x="58" y="14"/>
                  </a:lnTo>
                  <a:lnTo>
                    <a:pt x="46" y="13"/>
                  </a:lnTo>
                  <a:lnTo>
                    <a:pt x="45" y="2"/>
                  </a:lnTo>
                  <a:lnTo>
                    <a:pt x="39" y="0"/>
                  </a:lnTo>
                  <a:lnTo>
                    <a:pt x="30" y="2"/>
                  </a:lnTo>
                  <a:lnTo>
                    <a:pt x="23" y="11"/>
                  </a:lnTo>
                  <a:lnTo>
                    <a:pt x="9" y="13"/>
                  </a:lnTo>
                  <a:lnTo>
                    <a:pt x="5" y="34"/>
                  </a:lnTo>
                  <a:lnTo>
                    <a:pt x="0" y="32"/>
                  </a:lnTo>
                  <a:lnTo>
                    <a:pt x="14" y="53"/>
                  </a:lnTo>
                  <a:lnTo>
                    <a:pt x="27" y="72"/>
                  </a:lnTo>
                  <a:lnTo>
                    <a:pt x="30" y="73"/>
                  </a:lnTo>
                  <a:lnTo>
                    <a:pt x="27" y="84"/>
                  </a:lnTo>
                  <a:lnTo>
                    <a:pt x="24" y="91"/>
                  </a:lnTo>
                  <a:lnTo>
                    <a:pt x="24" y="102"/>
                  </a:lnTo>
                  <a:lnTo>
                    <a:pt x="33" y="113"/>
                  </a:lnTo>
                  <a:lnTo>
                    <a:pt x="41" y="124"/>
                  </a:lnTo>
                  <a:lnTo>
                    <a:pt x="45" y="139"/>
                  </a:lnTo>
                  <a:lnTo>
                    <a:pt x="50" y="157"/>
                  </a:lnTo>
                  <a:lnTo>
                    <a:pt x="45" y="168"/>
                  </a:lnTo>
                  <a:lnTo>
                    <a:pt x="39" y="180"/>
                  </a:lnTo>
                  <a:lnTo>
                    <a:pt x="39" y="184"/>
                  </a:lnTo>
                  <a:lnTo>
                    <a:pt x="36" y="200"/>
                  </a:lnTo>
                  <a:lnTo>
                    <a:pt x="34" y="218"/>
                  </a:lnTo>
                  <a:lnTo>
                    <a:pt x="36" y="216"/>
                  </a:lnTo>
                  <a:lnTo>
                    <a:pt x="45" y="226"/>
                  </a:lnTo>
                  <a:lnTo>
                    <a:pt x="53" y="235"/>
                  </a:lnTo>
                  <a:lnTo>
                    <a:pt x="58" y="240"/>
                  </a:lnTo>
                  <a:lnTo>
                    <a:pt x="65" y="251"/>
                  </a:lnTo>
                  <a:lnTo>
                    <a:pt x="66" y="248"/>
                  </a:lnTo>
                  <a:lnTo>
                    <a:pt x="78" y="254"/>
                  </a:lnTo>
                  <a:lnTo>
                    <a:pt x="80" y="262"/>
                  </a:lnTo>
                  <a:lnTo>
                    <a:pt x="90" y="262"/>
                  </a:lnTo>
                  <a:lnTo>
                    <a:pt x="96" y="254"/>
                  </a:lnTo>
                  <a:lnTo>
                    <a:pt x="88" y="244"/>
                  </a:lnTo>
                  <a:lnTo>
                    <a:pt x="76" y="241"/>
                  </a:lnTo>
                  <a:lnTo>
                    <a:pt x="68" y="232"/>
                  </a:lnTo>
                  <a:lnTo>
                    <a:pt x="64" y="218"/>
                  </a:lnTo>
                  <a:lnTo>
                    <a:pt x="58" y="202"/>
                  </a:lnTo>
                  <a:lnTo>
                    <a:pt x="51" y="20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7" name="Freeform 56">
              <a:extLst>
                <a:ext uri="{FF2B5EF4-FFF2-40B4-BE49-F238E27FC236}">
                  <a16:creationId xmlns:a16="http://schemas.microsoft.com/office/drawing/2014/main" id="{7A989192-B6F4-4689-ABFB-05028BC35EC9}"/>
                </a:ext>
              </a:extLst>
            </p:cNvPr>
            <p:cNvSpPr>
              <a:spLocks/>
            </p:cNvSpPr>
            <p:nvPr/>
          </p:nvSpPr>
          <p:spPr bwMode="auto">
            <a:xfrm>
              <a:off x="8455776" y="3031984"/>
              <a:ext cx="261803" cy="497982"/>
            </a:xfrm>
            <a:custGeom>
              <a:avLst/>
              <a:gdLst/>
              <a:ahLst/>
              <a:cxnLst>
                <a:cxn ang="0">
                  <a:pos x="43" y="50"/>
                </a:cxn>
                <a:cxn ang="0">
                  <a:pos x="27" y="45"/>
                </a:cxn>
                <a:cxn ang="0">
                  <a:pos x="12" y="28"/>
                </a:cxn>
                <a:cxn ang="0">
                  <a:pos x="4" y="11"/>
                </a:cxn>
                <a:cxn ang="0">
                  <a:pos x="15" y="11"/>
                </a:cxn>
                <a:cxn ang="0">
                  <a:pos x="25" y="12"/>
                </a:cxn>
                <a:cxn ang="0">
                  <a:pos x="34" y="11"/>
                </a:cxn>
                <a:cxn ang="0">
                  <a:pos x="49" y="2"/>
                </a:cxn>
                <a:cxn ang="0">
                  <a:pos x="71" y="20"/>
                </a:cxn>
                <a:cxn ang="0">
                  <a:pos x="93" y="30"/>
                </a:cxn>
                <a:cxn ang="0">
                  <a:pos x="76" y="42"/>
                </a:cxn>
                <a:cxn ang="0">
                  <a:pos x="70" y="59"/>
                </a:cxn>
                <a:cxn ang="0">
                  <a:pos x="76" y="90"/>
                </a:cxn>
                <a:cxn ang="0">
                  <a:pos x="89" y="110"/>
                </a:cxn>
                <a:cxn ang="0">
                  <a:pos x="113" y="130"/>
                </a:cxn>
                <a:cxn ang="0">
                  <a:pos x="131" y="166"/>
                </a:cxn>
                <a:cxn ang="0">
                  <a:pos x="137" y="196"/>
                </a:cxn>
                <a:cxn ang="0">
                  <a:pos x="135" y="210"/>
                </a:cxn>
                <a:cxn ang="0">
                  <a:pos x="112" y="230"/>
                </a:cxn>
                <a:cxn ang="0">
                  <a:pos x="101" y="232"/>
                </a:cxn>
                <a:cxn ang="0">
                  <a:pos x="99" y="239"/>
                </a:cxn>
                <a:cxn ang="0">
                  <a:pos x="93" y="246"/>
                </a:cxn>
                <a:cxn ang="0">
                  <a:pos x="72" y="262"/>
                </a:cxn>
                <a:cxn ang="0">
                  <a:pos x="64" y="231"/>
                </a:cxn>
                <a:cxn ang="0">
                  <a:pos x="77" y="222"/>
                </a:cxn>
                <a:cxn ang="0">
                  <a:pos x="84" y="210"/>
                </a:cxn>
                <a:cxn ang="0">
                  <a:pos x="108" y="198"/>
                </a:cxn>
                <a:cxn ang="0">
                  <a:pos x="106" y="170"/>
                </a:cxn>
                <a:cxn ang="0">
                  <a:pos x="102" y="140"/>
                </a:cxn>
                <a:cxn ang="0">
                  <a:pos x="99" y="130"/>
                </a:cxn>
                <a:cxn ang="0">
                  <a:pos x="77" y="108"/>
                </a:cxn>
                <a:cxn ang="0">
                  <a:pos x="58" y="84"/>
                </a:cxn>
                <a:cxn ang="0">
                  <a:pos x="41" y="64"/>
                </a:cxn>
                <a:cxn ang="0">
                  <a:pos x="48" y="54"/>
                </a:cxn>
              </a:cxnLst>
              <a:rect l="0" t="0" r="r" b="b"/>
              <a:pathLst>
                <a:path w="138" h="262">
                  <a:moveTo>
                    <a:pt x="48" y="54"/>
                  </a:moveTo>
                  <a:lnTo>
                    <a:pt x="43" y="50"/>
                  </a:lnTo>
                  <a:lnTo>
                    <a:pt x="34" y="41"/>
                  </a:lnTo>
                  <a:lnTo>
                    <a:pt x="27" y="45"/>
                  </a:lnTo>
                  <a:lnTo>
                    <a:pt x="15" y="35"/>
                  </a:lnTo>
                  <a:lnTo>
                    <a:pt x="12" y="28"/>
                  </a:lnTo>
                  <a:lnTo>
                    <a:pt x="0" y="16"/>
                  </a:lnTo>
                  <a:lnTo>
                    <a:pt x="4" y="11"/>
                  </a:lnTo>
                  <a:lnTo>
                    <a:pt x="12" y="14"/>
                  </a:lnTo>
                  <a:lnTo>
                    <a:pt x="15" y="11"/>
                  </a:lnTo>
                  <a:lnTo>
                    <a:pt x="22" y="11"/>
                  </a:lnTo>
                  <a:lnTo>
                    <a:pt x="25" y="12"/>
                  </a:lnTo>
                  <a:lnTo>
                    <a:pt x="28" y="11"/>
                  </a:lnTo>
                  <a:lnTo>
                    <a:pt x="34" y="11"/>
                  </a:lnTo>
                  <a:lnTo>
                    <a:pt x="42" y="0"/>
                  </a:lnTo>
                  <a:lnTo>
                    <a:pt x="49" y="2"/>
                  </a:lnTo>
                  <a:lnTo>
                    <a:pt x="69" y="8"/>
                  </a:lnTo>
                  <a:lnTo>
                    <a:pt x="71" y="20"/>
                  </a:lnTo>
                  <a:lnTo>
                    <a:pt x="77" y="24"/>
                  </a:lnTo>
                  <a:lnTo>
                    <a:pt x="93" y="30"/>
                  </a:lnTo>
                  <a:lnTo>
                    <a:pt x="84" y="38"/>
                  </a:lnTo>
                  <a:lnTo>
                    <a:pt x="76" y="42"/>
                  </a:lnTo>
                  <a:lnTo>
                    <a:pt x="76" y="44"/>
                  </a:lnTo>
                  <a:lnTo>
                    <a:pt x="70" y="59"/>
                  </a:lnTo>
                  <a:lnTo>
                    <a:pt x="64" y="75"/>
                  </a:lnTo>
                  <a:lnTo>
                    <a:pt x="76" y="90"/>
                  </a:lnTo>
                  <a:lnTo>
                    <a:pt x="79" y="100"/>
                  </a:lnTo>
                  <a:lnTo>
                    <a:pt x="89" y="110"/>
                  </a:lnTo>
                  <a:lnTo>
                    <a:pt x="100" y="119"/>
                  </a:lnTo>
                  <a:lnTo>
                    <a:pt x="113" y="130"/>
                  </a:lnTo>
                  <a:lnTo>
                    <a:pt x="124" y="142"/>
                  </a:lnTo>
                  <a:lnTo>
                    <a:pt x="131" y="166"/>
                  </a:lnTo>
                  <a:lnTo>
                    <a:pt x="138" y="190"/>
                  </a:lnTo>
                  <a:lnTo>
                    <a:pt x="137" y="196"/>
                  </a:lnTo>
                  <a:lnTo>
                    <a:pt x="137" y="203"/>
                  </a:lnTo>
                  <a:lnTo>
                    <a:pt x="135" y="210"/>
                  </a:lnTo>
                  <a:lnTo>
                    <a:pt x="124" y="220"/>
                  </a:lnTo>
                  <a:lnTo>
                    <a:pt x="112" y="230"/>
                  </a:lnTo>
                  <a:lnTo>
                    <a:pt x="101" y="227"/>
                  </a:lnTo>
                  <a:lnTo>
                    <a:pt x="101" y="232"/>
                  </a:lnTo>
                  <a:lnTo>
                    <a:pt x="101" y="237"/>
                  </a:lnTo>
                  <a:lnTo>
                    <a:pt x="99" y="239"/>
                  </a:lnTo>
                  <a:lnTo>
                    <a:pt x="99" y="246"/>
                  </a:lnTo>
                  <a:lnTo>
                    <a:pt x="93" y="246"/>
                  </a:lnTo>
                  <a:lnTo>
                    <a:pt x="81" y="260"/>
                  </a:lnTo>
                  <a:lnTo>
                    <a:pt x="72" y="262"/>
                  </a:lnTo>
                  <a:lnTo>
                    <a:pt x="75" y="240"/>
                  </a:lnTo>
                  <a:lnTo>
                    <a:pt x="64" y="231"/>
                  </a:lnTo>
                  <a:lnTo>
                    <a:pt x="73" y="225"/>
                  </a:lnTo>
                  <a:lnTo>
                    <a:pt x="77" y="222"/>
                  </a:lnTo>
                  <a:lnTo>
                    <a:pt x="89" y="224"/>
                  </a:lnTo>
                  <a:lnTo>
                    <a:pt x="84" y="210"/>
                  </a:lnTo>
                  <a:lnTo>
                    <a:pt x="93" y="206"/>
                  </a:lnTo>
                  <a:lnTo>
                    <a:pt x="108" y="198"/>
                  </a:lnTo>
                  <a:lnTo>
                    <a:pt x="107" y="184"/>
                  </a:lnTo>
                  <a:lnTo>
                    <a:pt x="106" y="170"/>
                  </a:lnTo>
                  <a:lnTo>
                    <a:pt x="105" y="154"/>
                  </a:lnTo>
                  <a:lnTo>
                    <a:pt x="102" y="140"/>
                  </a:lnTo>
                  <a:lnTo>
                    <a:pt x="97" y="134"/>
                  </a:lnTo>
                  <a:lnTo>
                    <a:pt x="99" y="130"/>
                  </a:lnTo>
                  <a:lnTo>
                    <a:pt x="84" y="118"/>
                  </a:lnTo>
                  <a:lnTo>
                    <a:pt x="77" y="108"/>
                  </a:lnTo>
                  <a:lnTo>
                    <a:pt x="67" y="96"/>
                  </a:lnTo>
                  <a:lnTo>
                    <a:pt x="58" y="84"/>
                  </a:lnTo>
                  <a:lnTo>
                    <a:pt x="37" y="69"/>
                  </a:lnTo>
                  <a:lnTo>
                    <a:pt x="41" y="64"/>
                  </a:lnTo>
                  <a:lnTo>
                    <a:pt x="49" y="62"/>
                  </a:lnTo>
                  <a:lnTo>
                    <a:pt x="48" y="5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59" name="Freeform 58">
              <a:extLst>
                <a:ext uri="{FF2B5EF4-FFF2-40B4-BE49-F238E27FC236}">
                  <a16:creationId xmlns:a16="http://schemas.microsoft.com/office/drawing/2014/main" id="{F26669E3-54D2-402E-BBB9-C49807350AC1}"/>
                </a:ext>
              </a:extLst>
            </p:cNvPr>
            <p:cNvSpPr>
              <a:spLocks/>
            </p:cNvSpPr>
            <p:nvPr/>
          </p:nvSpPr>
          <p:spPr bwMode="auto">
            <a:xfrm>
              <a:off x="6676197" y="2472396"/>
              <a:ext cx="609164" cy="494560"/>
            </a:xfrm>
            <a:custGeom>
              <a:avLst/>
              <a:gdLst/>
              <a:ahLst/>
              <a:cxnLst>
                <a:cxn ang="0">
                  <a:pos x="36" y="106"/>
                </a:cxn>
                <a:cxn ang="0">
                  <a:pos x="40" y="79"/>
                </a:cxn>
                <a:cxn ang="0">
                  <a:pos x="29" y="66"/>
                </a:cxn>
                <a:cxn ang="0">
                  <a:pos x="5" y="33"/>
                </a:cxn>
                <a:cxn ang="0">
                  <a:pos x="0" y="5"/>
                </a:cxn>
                <a:cxn ang="0">
                  <a:pos x="7" y="1"/>
                </a:cxn>
                <a:cxn ang="0">
                  <a:pos x="28" y="15"/>
                </a:cxn>
                <a:cxn ang="0">
                  <a:pos x="54" y="0"/>
                </a:cxn>
                <a:cxn ang="0">
                  <a:pos x="58" y="13"/>
                </a:cxn>
                <a:cxn ang="0">
                  <a:pos x="79" y="39"/>
                </a:cxn>
                <a:cxn ang="0">
                  <a:pos x="111" y="51"/>
                </a:cxn>
                <a:cxn ang="0">
                  <a:pos x="138" y="53"/>
                </a:cxn>
                <a:cxn ang="0">
                  <a:pos x="151" y="48"/>
                </a:cxn>
                <a:cxn ang="0">
                  <a:pos x="154" y="42"/>
                </a:cxn>
                <a:cxn ang="0">
                  <a:pos x="181" y="29"/>
                </a:cxn>
                <a:cxn ang="0">
                  <a:pos x="220" y="36"/>
                </a:cxn>
                <a:cxn ang="0">
                  <a:pos x="246" y="53"/>
                </a:cxn>
                <a:cxn ang="0">
                  <a:pos x="265" y="73"/>
                </a:cxn>
                <a:cxn ang="0">
                  <a:pos x="261" y="96"/>
                </a:cxn>
                <a:cxn ang="0">
                  <a:pos x="267" y="111"/>
                </a:cxn>
                <a:cxn ang="0">
                  <a:pos x="269" y="129"/>
                </a:cxn>
                <a:cxn ang="0">
                  <a:pos x="287" y="149"/>
                </a:cxn>
                <a:cxn ang="0">
                  <a:pos x="279" y="177"/>
                </a:cxn>
                <a:cxn ang="0">
                  <a:pos x="300" y="201"/>
                </a:cxn>
                <a:cxn ang="0">
                  <a:pos x="317" y="225"/>
                </a:cxn>
                <a:cxn ang="0">
                  <a:pos x="322" y="234"/>
                </a:cxn>
                <a:cxn ang="0">
                  <a:pos x="303" y="246"/>
                </a:cxn>
                <a:cxn ang="0">
                  <a:pos x="285" y="258"/>
                </a:cxn>
                <a:cxn ang="0">
                  <a:pos x="251" y="252"/>
                </a:cxn>
                <a:cxn ang="0">
                  <a:pos x="228" y="238"/>
                </a:cxn>
                <a:cxn ang="0">
                  <a:pos x="209" y="231"/>
                </a:cxn>
                <a:cxn ang="0">
                  <a:pos x="172" y="231"/>
                </a:cxn>
                <a:cxn ang="0">
                  <a:pos x="144" y="213"/>
                </a:cxn>
                <a:cxn ang="0">
                  <a:pos x="125" y="190"/>
                </a:cxn>
                <a:cxn ang="0">
                  <a:pos x="105" y="172"/>
                </a:cxn>
                <a:cxn ang="0">
                  <a:pos x="97" y="166"/>
                </a:cxn>
                <a:cxn ang="0">
                  <a:pos x="90" y="174"/>
                </a:cxn>
                <a:cxn ang="0">
                  <a:pos x="81" y="156"/>
                </a:cxn>
                <a:cxn ang="0">
                  <a:pos x="76" y="142"/>
                </a:cxn>
                <a:cxn ang="0">
                  <a:pos x="57" y="126"/>
                </a:cxn>
              </a:cxnLst>
              <a:rect l="0" t="0" r="r" b="b"/>
              <a:pathLst>
                <a:path w="322" h="261">
                  <a:moveTo>
                    <a:pt x="45" y="118"/>
                  </a:moveTo>
                  <a:lnTo>
                    <a:pt x="36" y="106"/>
                  </a:lnTo>
                  <a:lnTo>
                    <a:pt x="35" y="96"/>
                  </a:lnTo>
                  <a:lnTo>
                    <a:pt x="40" y="79"/>
                  </a:lnTo>
                  <a:lnTo>
                    <a:pt x="40" y="71"/>
                  </a:lnTo>
                  <a:lnTo>
                    <a:pt x="29" y="66"/>
                  </a:lnTo>
                  <a:lnTo>
                    <a:pt x="15" y="46"/>
                  </a:lnTo>
                  <a:lnTo>
                    <a:pt x="5" y="33"/>
                  </a:lnTo>
                  <a:lnTo>
                    <a:pt x="1" y="15"/>
                  </a:lnTo>
                  <a:lnTo>
                    <a:pt x="0" y="5"/>
                  </a:lnTo>
                  <a:lnTo>
                    <a:pt x="6" y="0"/>
                  </a:lnTo>
                  <a:lnTo>
                    <a:pt x="7" y="1"/>
                  </a:lnTo>
                  <a:lnTo>
                    <a:pt x="10" y="5"/>
                  </a:lnTo>
                  <a:lnTo>
                    <a:pt x="28" y="15"/>
                  </a:lnTo>
                  <a:lnTo>
                    <a:pt x="40" y="10"/>
                  </a:lnTo>
                  <a:lnTo>
                    <a:pt x="54" y="0"/>
                  </a:lnTo>
                  <a:lnTo>
                    <a:pt x="59" y="10"/>
                  </a:lnTo>
                  <a:lnTo>
                    <a:pt x="58" y="13"/>
                  </a:lnTo>
                  <a:lnTo>
                    <a:pt x="71" y="23"/>
                  </a:lnTo>
                  <a:lnTo>
                    <a:pt x="79" y="39"/>
                  </a:lnTo>
                  <a:lnTo>
                    <a:pt x="96" y="46"/>
                  </a:lnTo>
                  <a:lnTo>
                    <a:pt x="111" y="51"/>
                  </a:lnTo>
                  <a:lnTo>
                    <a:pt x="125" y="55"/>
                  </a:lnTo>
                  <a:lnTo>
                    <a:pt x="138" y="53"/>
                  </a:lnTo>
                  <a:lnTo>
                    <a:pt x="149" y="51"/>
                  </a:lnTo>
                  <a:lnTo>
                    <a:pt x="151" y="48"/>
                  </a:lnTo>
                  <a:lnTo>
                    <a:pt x="149" y="42"/>
                  </a:lnTo>
                  <a:lnTo>
                    <a:pt x="154" y="42"/>
                  </a:lnTo>
                  <a:lnTo>
                    <a:pt x="165" y="31"/>
                  </a:lnTo>
                  <a:lnTo>
                    <a:pt x="181" y="29"/>
                  </a:lnTo>
                  <a:lnTo>
                    <a:pt x="196" y="28"/>
                  </a:lnTo>
                  <a:lnTo>
                    <a:pt x="220" y="36"/>
                  </a:lnTo>
                  <a:lnTo>
                    <a:pt x="233" y="45"/>
                  </a:lnTo>
                  <a:lnTo>
                    <a:pt x="246" y="53"/>
                  </a:lnTo>
                  <a:lnTo>
                    <a:pt x="259" y="55"/>
                  </a:lnTo>
                  <a:lnTo>
                    <a:pt x="265" y="73"/>
                  </a:lnTo>
                  <a:lnTo>
                    <a:pt x="262" y="94"/>
                  </a:lnTo>
                  <a:lnTo>
                    <a:pt x="261" y="96"/>
                  </a:lnTo>
                  <a:lnTo>
                    <a:pt x="261" y="106"/>
                  </a:lnTo>
                  <a:lnTo>
                    <a:pt x="267" y="111"/>
                  </a:lnTo>
                  <a:lnTo>
                    <a:pt x="265" y="114"/>
                  </a:lnTo>
                  <a:lnTo>
                    <a:pt x="269" y="129"/>
                  </a:lnTo>
                  <a:lnTo>
                    <a:pt x="271" y="144"/>
                  </a:lnTo>
                  <a:lnTo>
                    <a:pt x="287" y="149"/>
                  </a:lnTo>
                  <a:lnTo>
                    <a:pt x="289" y="156"/>
                  </a:lnTo>
                  <a:lnTo>
                    <a:pt x="279" y="177"/>
                  </a:lnTo>
                  <a:lnTo>
                    <a:pt x="289" y="189"/>
                  </a:lnTo>
                  <a:lnTo>
                    <a:pt x="300" y="201"/>
                  </a:lnTo>
                  <a:lnTo>
                    <a:pt x="312" y="207"/>
                  </a:lnTo>
                  <a:lnTo>
                    <a:pt x="317" y="225"/>
                  </a:lnTo>
                  <a:lnTo>
                    <a:pt x="322" y="227"/>
                  </a:lnTo>
                  <a:lnTo>
                    <a:pt x="322" y="234"/>
                  </a:lnTo>
                  <a:lnTo>
                    <a:pt x="309" y="240"/>
                  </a:lnTo>
                  <a:lnTo>
                    <a:pt x="303" y="246"/>
                  </a:lnTo>
                  <a:lnTo>
                    <a:pt x="301" y="261"/>
                  </a:lnTo>
                  <a:lnTo>
                    <a:pt x="285" y="258"/>
                  </a:lnTo>
                  <a:lnTo>
                    <a:pt x="268" y="255"/>
                  </a:lnTo>
                  <a:lnTo>
                    <a:pt x="251" y="252"/>
                  </a:lnTo>
                  <a:lnTo>
                    <a:pt x="234" y="250"/>
                  </a:lnTo>
                  <a:lnTo>
                    <a:pt x="228" y="238"/>
                  </a:lnTo>
                  <a:lnTo>
                    <a:pt x="221" y="226"/>
                  </a:lnTo>
                  <a:lnTo>
                    <a:pt x="209" y="231"/>
                  </a:lnTo>
                  <a:lnTo>
                    <a:pt x="196" y="235"/>
                  </a:lnTo>
                  <a:lnTo>
                    <a:pt x="172" y="231"/>
                  </a:lnTo>
                  <a:lnTo>
                    <a:pt x="159" y="221"/>
                  </a:lnTo>
                  <a:lnTo>
                    <a:pt x="144" y="213"/>
                  </a:lnTo>
                  <a:lnTo>
                    <a:pt x="132" y="201"/>
                  </a:lnTo>
                  <a:lnTo>
                    <a:pt x="125" y="190"/>
                  </a:lnTo>
                  <a:lnTo>
                    <a:pt x="111" y="171"/>
                  </a:lnTo>
                  <a:lnTo>
                    <a:pt x="105" y="172"/>
                  </a:lnTo>
                  <a:lnTo>
                    <a:pt x="97" y="167"/>
                  </a:lnTo>
                  <a:lnTo>
                    <a:pt x="97" y="166"/>
                  </a:lnTo>
                  <a:lnTo>
                    <a:pt x="93" y="174"/>
                  </a:lnTo>
                  <a:lnTo>
                    <a:pt x="90" y="174"/>
                  </a:lnTo>
                  <a:lnTo>
                    <a:pt x="85" y="168"/>
                  </a:lnTo>
                  <a:lnTo>
                    <a:pt x="81" y="156"/>
                  </a:lnTo>
                  <a:lnTo>
                    <a:pt x="75" y="156"/>
                  </a:lnTo>
                  <a:lnTo>
                    <a:pt x="76" y="142"/>
                  </a:lnTo>
                  <a:lnTo>
                    <a:pt x="70" y="135"/>
                  </a:lnTo>
                  <a:lnTo>
                    <a:pt x="57" y="126"/>
                  </a:lnTo>
                  <a:lnTo>
                    <a:pt x="45" y="1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2" name="Freeform 61">
              <a:extLst>
                <a:ext uri="{FF2B5EF4-FFF2-40B4-BE49-F238E27FC236}">
                  <a16:creationId xmlns:a16="http://schemas.microsoft.com/office/drawing/2014/main" id="{3F720FE6-2C79-4784-B747-EEF544DAB97B}"/>
                </a:ext>
              </a:extLst>
            </p:cNvPr>
            <p:cNvSpPr>
              <a:spLocks/>
            </p:cNvSpPr>
            <p:nvPr/>
          </p:nvSpPr>
          <p:spPr bwMode="auto">
            <a:xfrm>
              <a:off x="7771323" y="2783849"/>
              <a:ext cx="242981" cy="136902"/>
            </a:xfrm>
            <a:custGeom>
              <a:avLst/>
              <a:gdLst/>
              <a:ahLst/>
              <a:cxnLst>
                <a:cxn ang="0">
                  <a:pos x="73" y="56"/>
                </a:cxn>
                <a:cxn ang="0">
                  <a:pos x="54" y="54"/>
                </a:cxn>
                <a:cxn ang="0">
                  <a:pos x="39" y="50"/>
                </a:cxn>
                <a:cxn ang="0">
                  <a:pos x="19" y="41"/>
                </a:cxn>
                <a:cxn ang="0">
                  <a:pos x="0" y="30"/>
                </a:cxn>
                <a:cxn ang="0">
                  <a:pos x="0" y="19"/>
                </a:cxn>
                <a:cxn ang="0">
                  <a:pos x="9" y="5"/>
                </a:cxn>
                <a:cxn ang="0">
                  <a:pos x="10" y="6"/>
                </a:cxn>
                <a:cxn ang="0">
                  <a:pos x="16" y="0"/>
                </a:cxn>
                <a:cxn ang="0">
                  <a:pos x="29" y="8"/>
                </a:cxn>
                <a:cxn ang="0">
                  <a:pos x="49" y="23"/>
                </a:cxn>
                <a:cxn ang="0">
                  <a:pos x="55" y="20"/>
                </a:cxn>
                <a:cxn ang="0">
                  <a:pos x="60" y="26"/>
                </a:cxn>
                <a:cxn ang="0">
                  <a:pos x="75" y="32"/>
                </a:cxn>
                <a:cxn ang="0">
                  <a:pos x="77" y="36"/>
                </a:cxn>
                <a:cxn ang="0">
                  <a:pos x="93" y="43"/>
                </a:cxn>
                <a:cxn ang="0">
                  <a:pos x="107" y="44"/>
                </a:cxn>
                <a:cxn ang="0">
                  <a:pos x="125" y="47"/>
                </a:cxn>
                <a:cxn ang="0">
                  <a:pos x="130" y="72"/>
                </a:cxn>
                <a:cxn ang="0">
                  <a:pos x="113" y="71"/>
                </a:cxn>
                <a:cxn ang="0">
                  <a:pos x="93" y="68"/>
                </a:cxn>
                <a:cxn ang="0">
                  <a:pos x="82" y="65"/>
                </a:cxn>
                <a:cxn ang="0">
                  <a:pos x="73" y="56"/>
                </a:cxn>
              </a:cxnLst>
              <a:rect l="0" t="0" r="r" b="b"/>
              <a:pathLst>
                <a:path w="130" h="72">
                  <a:moveTo>
                    <a:pt x="73" y="56"/>
                  </a:moveTo>
                  <a:lnTo>
                    <a:pt x="54" y="54"/>
                  </a:lnTo>
                  <a:lnTo>
                    <a:pt x="39" y="50"/>
                  </a:lnTo>
                  <a:lnTo>
                    <a:pt x="19" y="41"/>
                  </a:lnTo>
                  <a:lnTo>
                    <a:pt x="0" y="30"/>
                  </a:lnTo>
                  <a:lnTo>
                    <a:pt x="0" y="19"/>
                  </a:lnTo>
                  <a:lnTo>
                    <a:pt x="9" y="5"/>
                  </a:lnTo>
                  <a:lnTo>
                    <a:pt x="10" y="6"/>
                  </a:lnTo>
                  <a:lnTo>
                    <a:pt x="16" y="0"/>
                  </a:lnTo>
                  <a:lnTo>
                    <a:pt x="29" y="8"/>
                  </a:lnTo>
                  <a:lnTo>
                    <a:pt x="49" y="23"/>
                  </a:lnTo>
                  <a:lnTo>
                    <a:pt x="55" y="20"/>
                  </a:lnTo>
                  <a:lnTo>
                    <a:pt x="60" y="26"/>
                  </a:lnTo>
                  <a:lnTo>
                    <a:pt x="75" y="32"/>
                  </a:lnTo>
                  <a:lnTo>
                    <a:pt x="77" y="36"/>
                  </a:lnTo>
                  <a:lnTo>
                    <a:pt x="93" y="43"/>
                  </a:lnTo>
                  <a:lnTo>
                    <a:pt x="107" y="44"/>
                  </a:lnTo>
                  <a:lnTo>
                    <a:pt x="125" y="47"/>
                  </a:lnTo>
                  <a:lnTo>
                    <a:pt x="130" y="72"/>
                  </a:lnTo>
                  <a:lnTo>
                    <a:pt x="113" y="71"/>
                  </a:lnTo>
                  <a:lnTo>
                    <a:pt x="93" y="68"/>
                  </a:lnTo>
                  <a:lnTo>
                    <a:pt x="82" y="65"/>
                  </a:lnTo>
                  <a:lnTo>
                    <a:pt x="73" y="5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3" name="Freeform 62">
              <a:extLst>
                <a:ext uri="{FF2B5EF4-FFF2-40B4-BE49-F238E27FC236}">
                  <a16:creationId xmlns:a16="http://schemas.microsoft.com/office/drawing/2014/main" id="{EE8A89FD-9305-46FC-9A2C-245855273FB4}"/>
                </a:ext>
              </a:extLst>
            </p:cNvPr>
            <p:cNvSpPr>
              <a:spLocks/>
            </p:cNvSpPr>
            <p:nvPr/>
          </p:nvSpPr>
          <p:spPr bwMode="auto">
            <a:xfrm>
              <a:off x="7204937" y="2563094"/>
              <a:ext cx="444895" cy="450066"/>
            </a:xfrm>
            <a:custGeom>
              <a:avLst/>
              <a:gdLst/>
              <a:ahLst/>
              <a:cxnLst>
                <a:cxn ang="0">
                  <a:pos x="102" y="217"/>
                </a:cxn>
                <a:cxn ang="0">
                  <a:pos x="116" y="233"/>
                </a:cxn>
                <a:cxn ang="0">
                  <a:pos x="135" y="234"/>
                </a:cxn>
                <a:cxn ang="0">
                  <a:pos x="148" y="229"/>
                </a:cxn>
                <a:cxn ang="0">
                  <a:pos x="169" y="227"/>
                </a:cxn>
                <a:cxn ang="0">
                  <a:pos x="156" y="203"/>
                </a:cxn>
                <a:cxn ang="0">
                  <a:pos x="140" y="185"/>
                </a:cxn>
                <a:cxn ang="0">
                  <a:pos x="154" y="165"/>
                </a:cxn>
                <a:cxn ang="0">
                  <a:pos x="180" y="149"/>
                </a:cxn>
                <a:cxn ang="0">
                  <a:pos x="196" y="120"/>
                </a:cxn>
                <a:cxn ang="0">
                  <a:pos x="200" y="95"/>
                </a:cxn>
                <a:cxn ang="0">
                  <a:pos x="204" y="82"/>
                </a:cxn>
                <a:cxn ang="0">
                  <a:pos x="190" y="71"/>
                </a:cxn>
                <a:cxn ang="0">
                  <a:pos x="187" y="57"/>
                </a:cxn>
                <a:cxn ang="0">
                  <a:pos x="180" y="42"/>
                </a:cxn>
                <a:cxn ang="0">
                  <a:pos x="219" y="40"/>
                </a:cxn>
                <a:cxn ang="0">
                  <a:pos x="213" y="22"/>
                </a:cxn>
                <a:cxn ang="0">
                  <a:pos x="195" y="5"/>
                </a:cxn>
                <a:cxn ang="0">
                  <a:pos x="159" y="4"/>
                </a:cxn>
                <a:cxn ang="0">
                  <a:pos x="134" y="19"/>
                </a:cxn>
                <a:cxn ang="0">
                  <a:pos x="138" y="47"/>
                </a:cxn>
                <a:cxn ang="0">
                  <a:pos x="122" y="57"/>
                </a:cxn>
                <a:cxn ang="0">
                  <a:pos x="118" y="77"/>
                </a:cxn>
                <a:cxn ang="0">
                  <a:pos x="103" y="96"/>
                </a:cxn>
                <a:cxn ang="0">
                  <a:pos x="84" y="107"/>
                </a:cxn>
                <a:cxn ang="0">
                  <a:pos x="81" y="129"/>
                </a:cxn>
                <a:cxn ang="0">
                  <a:pos x="49" y="136"/>
                </a:cxn>
                <a:cxn ang="0">
                  <a:pos x="13" y="132"/>
                </a:cxn>
                <a:cxn ang="0">
                  <a:pos x="10" y="141"/>
                </a:cxn>
                <a:cxn ang="0">
                  <a:pos x="33" y="159"/>
                </a:cxn>
                <a:cxn ang="0">
                  <a:pos x="43" y="179"/>
                </a:cxn>
                <a:cxn ang="0">
                  <a:pos x="30" y="192"/>
                </a:cxn>
                <a:cxn ang="0">
                  <a:pos x="22" y="213"/>
                </a:cxn>
                <a:cxn ang="0">
                  <a:pos x="51" y="211"/>
                </a:cxn>
                <a:cxn ang="0">
                  <a:pos x="80" y="209"/>
                </a:cxn>
              </a:cxnLst>
              <a:rect l="0" t="0" r="r" b="b"/>
              <a:pathLst>
                <a:path w="234" h="238">
                  <a:moveTo>
                    <a:pt x="96" y="208"/>
                  </a:moveTo>
                  <a:lnTo>
                    <a:pt x="102" y="217"/>
                  </a:lnTo>
                  <a:lnTo>
                    <a:pt x="108" y="220"/>
                  </a:lnTo>
                  <a:lnTo>
                    <a:pt x="116" y="233"/>
                  </a:lnTo>
                  <a:lnTo>
                    <a:pt x="128" y="238"/>
                  </a:lnTo>
                  <a:lnTo>
                    <a:pt x="135" y="234"/>
                  </a:lnTo>
                  <a:lnTo>
                    <a:pt x="135" y="228"/>
                  </a:lnTo>
                  <a:lnTo>
                    <a:pt x="148" y="229"/>
                  </a:lnTo>
                  <a:lnTo>
                    <a:pt x="163" y="227"/>
                  </a:lnTo>
                  <a:lnTo>
                    <a:pt x="169" y="227"/>
                  </a:lnTo>
                  <a:lnTo>
                    <a:pt x="162" y="204"/>
                  </a:lnTo>
                  <a:lnTo>
                    <a:pt x="156" y="203"/>
                  </a:lnTo>
                  <a:lnTo>
                    <a:pt x="152" y="191"/>
                  </a:lnTo>
                  <a:lnTo>
                    <a:pt x="140" y="185"/>
                  </a:lnTo>
                  <a:lnTo>
                    <a:pt x="148" y="163"/>
                  </a:lnTo>
                  <a:lnTo>
                    <a:pt x="154" y="165"/>
                  </a:lnTo>
                  <a:lnTo>
                    <a:pt x="170" y="165"/>
                  </a:lnTo>
                  <a:lnTo>
                    <a:pt x="180" y="149"/>
                  </a:lnTo>
                  <a:lnTo>
                    <a:pt x="189" y="133"/>
                  </a:lnTo>
                  <a:lnTo>
                    <a:pt x="196" y="120"/>
                  </a:lnTo>
                  <a:lnTo>
                    <a:pt x="204" y="108"/>
                  </a:lnTo>
                  <a:lnTo>
                    <a:pt x="200" y="95"/>
                  </a:lnTo>
                  <a:lnTo>
                    <a:pt x="211" y="88"/>
                  </a:lnTo>
                  <a:lnTo>
                    <a:pt x="204" y="82"/>
                  </a:lnTo>
                  <a:lnTo>
                    <a:pt x="198" y="76"/>
                  </a:lnTo>
                  <a:lnTo>
                    <a:pt x="190" y="71"/>
                  </a:lnTo>
                  <a:lnTo>
                    <a:pt x="187" y="61"/>
                  </a:lnTo>
                  <a:lnTo>
                    <a:pt x="187" y="57"/>
                  </a:lnTo>
                  <a:lnTo>
                    <a:pt x="180" y="48"/>
                  </a:lnTo>
                  <a:lnTo>
                    <a:pt x="180" y="42"/>
                  </a:lnTo>
                  <a:lnTo>
                    <a:pt x="202" y="46"/>
                  </a:lnTo>
                  <a:lnTo>
                    <a:pt x="219" y="40"/>
                  </a:lnTo>
                  <a:lnTo>
                    <a:pt x="234" y="28"/>
                  </a:lnTo>
                  <a:lnTo>
                    <a:pt x="213" y="22"/>
                  </a:lnTo>
                  <a:lnTo>
                    <a:pt x="202" y="17"/>
                  </a:lnTo>
                  <a:lnTo>
                    <a:pt x="195" y="5"/>
                  </a:lnTo>
                  <a:lnTo>
                    <a:pt x="177" y="0"/>
                  </a:lnTo>
                  <a:lnTo>
                    <a:pt x="159" y="4"/>
                  </a:lnTo>
                  <a:lnTo>
                    <a:pt x="141" y="9"/>
                  </a:lnTo>
                  <a:lnTo>
                    <a:pt x="134" y="19"/>
                  </a:lnTo>
                  <a:lnTo>
                    <a:pt x="142" y="34"/>
                  </a:lnTo>
                  <a:lnTo>
                    <a:pt x="138" y="47"/>
                  </a:lnTo>
                  <a:lnTo>
                    <a:pt x="135" y="55"/>
                  </a:lnTo>
                  <a:lnTo>
                    <a:pt x="122" y="57"/>
                  </a:lnTo>
                  <a:lnTo>
                    <a:pt x="130" y="66"/>
                  </a:lnTo>
                  <a:lnTo>
                    <a:pt x="118" y="77"/>
                  </a:lnTo>
                  <a:lnTo>
                    <a:pt x="117" y="96"/>
                  </a:lnTo>
                  <a:lnTo>
                    <a:pt x="103" y="96"/>
                  </a:lnTo>
                  <a:lnTo>
                    <a:pt x="98" y="101"/>
                  </a:lnTo>
                  <a:lnTo>
                    <a:pt x="84" y="107"/>
                  </a:lnTo>
                  <a:lnTo>
                    <a:pt x="81" y="121"/>
                  </a:lnTo>
                  <a:lnTo>
                    <a:pt x="81" y="129"/>
                  </a:lnTo>
                  <a:lnTo>
                    <a:pt x="66" y="132"/>
                  </a:lnTo>
                  <a:lnTo>
                    <a:pt x="49" y="136"/>
                  </a:lnTo>
                  <a:lnTo>
                    <a:pt x="25" y="137"/>
                  </a:lnTo>
                  <a:lnTo>
                    <a:pt x="13" y="132"/>
                  </a:lnTo>
                  <a:lnTo>
                    <a:pt x="0" y="129"/>
                  </a:lnTo>
                  <a:lnTo>
                    <a:pt x="10" y="141"/>
                  </a:lnTo>
                  <a:lnTo>
                    <a:pt x="21" y="153"/>
                  </a:lnTo>
                  <a:lnTo>
                    <a:pt x="33" y="159"/>
                  </a:lnTo>
                  <a:lnTo>
                    <a:pt x="38" y="177"/>
                  </a:lnTo>
                  <a:lnTo>
                    <a:pt x="43" y="179"/>
                  </a:lnTo>
                  <a:lnTo>
                    <a:pt x="43" y="186"/>
                  </a:lnTo>
                  <a:lnTo>
                    <a:pt x="30" y="192"/>
                  </a:lnTo>
                  <a:lnTo>
                    <a:pt x="24" y="198"/>
                  </a:lnTo>
                  <a:lnTo>
                    <a:pt x="22" y="213"/>
                  </a:lnTo>
                  <a:lnTo>
                    <a:pt x="37" y="211"/>
                  </a:lnTo>
                  <a:lnTo>
                    <a:pt x="51" y="211"/>
                  </a:lnTo>
                  <a:lnTo>
                    <a:pt x="63" y="210"/>
                  </a:lnTo>
                  <a:lnTo>
                    <a:pt x="80" y="209"/>
                  </a:lnTo>
                  <a:lnTo>
                    <a:pt x="96" y="20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65" name="Freeform 64">
              <a:extLst>
                <a:ext uri="{FF2B5EF4-FFF2-40B4-BE49-F238E27FC236}">
                  <a16:creationId xmlns:a16="http://schemas.microsoft.com/office/drawing/2014/main" id="{4A5725F8-4D1A-4B86-BB1B-265084227C89}"/>
                </a:ext>
              </a:extLst>
            </p:cNvPr>
            <p:cNvSpPr>
              <a:spLocks/>
            </p:cNvSpPr>
            <p:nvPr/>
          </p:nvSpPr>
          <p:spPr bwMode="auto">
            <a:xfrm>
              <a:off x="7447918" y="2612721"/>
              <a:ext cx="824767" cy="936069"/>
            </a:xfrm>
            <a:custGeom>
              <a:avLst/>
              <a:gdLst/>
              <a:ahLst/>
              <a:cxnLst>
                <a:cxn ang="0">
                  <a:pos x="74" y="18"/>
                </a:cxn>
                <a:cxn ang="0">
                  <a:pos x="59" y="29"/>
                </a:cxn>
                <a:cxn ang="0">
                  <a:pos x="70" y="48"/>
                </a:cxn>
                <a:cxn ang="0">
                  <a:pos x="72" y="67"/>
                </a:cxn>
                <a:cxn ang="0">
                  <a:pos x="61" y="105"/>
                </a:cxn>
                <a:cxn ang="0">
                  <a:pos x="26" y="137"/>
                </a:cxn>
                <a:cxn ang="0">
                  <a:pos x="24" y="163"/>
                </a:cxn>
                <a:cxn ang="0">
                  <a:pos x="41" y="199"/>
                </a:cxn>
                <a:cxn ang="0">
                  <a:pos x="7" y="200"/>
                </a:cxn>
                <a:cxn ang="0">
                  <a:pos x="0" y="211"/>
                </a:cxn>
                <a:cxn ang="0">
                  <a:pos x="17" y="227"/>
                </a:cxn>
                <a:cxn ang="0">
                  <a:pos x="23" y="235"/>
                </a:cxn>
                <a:cxn ang="0">
                  <a:pos x="42" y="264"/>
                </a:cxn>
                <a:cxn ang="0">
                  <a:pos x="66" y="237"/>
                </a:cxn>
                <a:cxn ang="0">
                  <a:pos x="71" y="246"/>
                </a:cxn>
                <a:cxn ang="0">
                  <a:pos x="77" y="260"/>
                </a:cxn>
                <a:cxn ang="0">
                  <a:pos x="83" y="295"/>
                </a:cxn>
                <a:cxn ang="0">
                  <a:pos x="95" y="339"/>
                </a:cxn>
                <a:cxn ang="0">
                  <a:pos x="113" y="381"/>
                </a:cxn>
                <a:cxn ang="0">
                  <a:pos x="136" y="432"/>
                </a:cxn>
                <a:cxn ang="0">
                  <a:pos x="155" y="473"/>
                </a:cxn>
                <a:cxn ang="0">
                  <a:pos x="179" y="482"/>
                </a:cxn>
                <a:cxn ang="0">
                  <a:pos x="192" y="464"/>
                </a:cxn>
                <a:cxn ang="0">
                  <a:pos x="204" y="438"/>
                </a:cxn>
                <a:cxn ang="0">
                  <a:pos x="208" y="396"/>
                </a:cxn>
                <a:cxn ang="0">
                  <a:pos x="211" y="353"/>
                </a:cxn>
                <a:cxn ang="0">
                  <a:pos x="221" y="343"/>
                </a:cxn>
                <a:cxn ang="0">
                  <a:pos x="251" y="312"/>
                </a:cxn>
                <a:cxn ang="0">
                  <a:pos x="288" y="277"/>
                </a:cxn>
                <a:cxn ang="0">
                  <a:pos x="312" y="241"/>
                </a:cxn>
                <a:cxn ang="0">
                  <a:pos x="324" y="247"/>
                </a:cxn>
                <a:cxn ang="0">
                  <a:pos x="323" y="229"/>
                </a:cxn>
                <a:cxn ang="0">
                  <a:pos x="305" y="195"/>
                </a:cxn>
                <a:cxn ang="0">
                  <a:pos x="304" y="174"/>
                </a:cxn>
                <a:cxn ang="0">
                  <a:pos x="319" y="170"/>
                </a:cxn>
                <a:cxn ang="0">
                  <a:pos x="346" y="183"/>
                </a:cxn>
                <a:cxn ang="0">
                  <a:pos x="368" y="198"/>
                </a:cxn>
                <a:cxn ang="0">
                  <a:pos x="362" y="224"/>
                </a:cxn>
                <a:cxn ang="0">
                  <a:pos x="382" y="242"/>
                </a:cxn>
                <a:cxn ang="0">
                  <a:pos x="389" y="223"/>
                </a:cxn>
                <a:cxn ang="0">
                  <a:pos x="406" y="186"/>
                </a:cxn>
                <a:cxn ang="0">
                  <a:pos x="421" y="147"/>
                </a:cxn>
                <a:cxn ang="0">
                  <a:pos x="432" y="139"/>
                </a:cxn>
                <a:cxn ang="0">
                  <a:pos x="418" y="116"/>
                </a:cxn>
                <a:cxn ang="0">
                  <a:pos x="407" y="109"/>
                </a:cxn>
                <a:cxn ang="0">
                  <a:pos x="374" y="122"/>
                </a:cxn>
                <a:cxn ang="0">
                  <a:pos x="348" y="138"/>
                </a:cxn>
                <a:cxn ang="0">
                  <a:pos x="344" y="155"/>
                </a:cxn>
                <a:cxn ang="0">
                  <a:pos x="308" y="146"/>
                </a:cxn>
                <a:cxn ang="0">
                  <a:pos x="299" y="162"/>
                </a:cxn>
                <a:cxn ang="0">
                  <a:pos x="251" y="155"/>
                </a:cxn>
                <a:cxn ang="0">
                  <a:pos x="208" y="140"/>
                </a:cxn>
                <a:cxn ang="0">
                  <a:pos x="169" y="109"/>
                </a:cxn>
                <a:cxn ang="0">
                  <a:pos x="144" y="74"/>
                </a:cxn>
                <a:cxn ang="0">
                  <a:pos x="139" y="54"/>
                </a:cxn>
                <a:cxn ang="0">
                  <a:pos x="132" y="26"/>
                </a:cxn>
                <a:cxn ang="0">
                  <a:pos x="127" y="19"/>
                </a:cxn>
                <a:cxn ang="0">
                  <a:pos x="122" y="6"/>
                </a:cxn>
                <a:cxn ang="0">
                  <a:pos x="106" y="0"/>
                </a:cxn>
              </a:cxnLst>
              <a:rect l="0" t="0" r="r" b="b"/>
              <a:pathLst>
                <a:path w="434" h="491">
                  <a:moveTo>
                    <a:pt x="106" y="0"/>
                  </a:moveTo>
                  <a:lnTo>
                    <a:pt x="91" y="12"/>
                  </a:lnTo>
                  <a:lnTo>
                    <a:pt x="74" y="18"/>
                  </a:lnTo>
                  <a:lnTo>
                    <a:pt x="52" y="14"/>
                  </a:lnTo>
                  <a:lnTo>
                    <a:pt x="52" y="20"/>
                  </a:lnTo>
                  <a:lnTo>
                    <a:pt x="59" y="29"/>
                  </a:lnTo>
                  <a:lnTo>
                    <a:pt x="59" y="33"/>
                  </a:lnTo>
                  <a:lnTo>
                    <a:pt x="62" y="43"/>
                  </a:lnTo>
                  <a:lnTo>
                    <a:pt x="70" y="48"/>
                  </a:lnTo>
                  <a:lnTo>
                    <a:pt x="76" y="54"/>
                  </a:lnTo>
                  <a:lnTo>
                    <a:pt x="83" y="60"/>
                  </a:lnTo>
                  <a:lnTo>
                    <a:pt x="72" y="67"/>
                  </a:lnTo>
                  <a:lnTo>
                    <a:pt x="76" y="80"/>
                  </a:lnTo>
                  <a:lnTo>
                    <a:pt x="68" y="92"/>
                  </a:lnTo>
                  <a:lnTo>
                    <a:pt x="61" y="105"/>
                  </a:lnTo>
                  <a:lnTo>
                    <a:pt x="52" y="121"/>
                  </a:lnTo>
                  <a:lnTo>
                    <a:pt x="42" y="137"/>
                  </a:lnTo>
                  <a:lnTo>
                    <a:pt x="26" y="137"/>
                  </a:lnTo>
                  <a:lnTo>
                    <a:pt x="20" y="135"/>
                  </a:lnTo>
                  <a:lnTo>
                    <a:pt x="12" y="157"/>
                  </a:lnTo>
                  <a:lnTo>
                    <a:pt x="24" y="163"/>
                  </a:lnTo>
                  <a:lnTo>
                    <a:pt x="28" y="175"/>
                  </a:lnTo>
                  <a:lnTo>
                    <a:pt x="34" y="176"/>
                  </a:lnTo>
                  <a:lnTo>
                    <a:pt x="41" y="199"/>
                  </a:lnTo>
                  <a:lnTo>
                    <a:pt x="35" y="199"/>
                  </a:lnTo>
                  <a:lnTo>
                    <a:pt x="20" y="201"/>
                  </a:lnTo>
                  <a:lnTo>
                    <a:pt x="7" y="200"/>
                  </a:lnTo>
                  <a:lnTo>
                    <a:pt x="7" y="206"/>
                  </a:lnTo>
                  <a:lnTo>
                    <a:pt x="0" y="210"/>
                  </a:lnTo>
                  <a:lnTo>
                    <a:pt x="0" y="211"/>
                  </a:lnTo>
                  <a:lnTo>
                    <a:pt x="6" y="209"/>
                  </a:lnTo>
                  <a:lnTo>
                    <a:pt x="4" y="213"/>
                  </a:lnTo>
                  <a:lnTo>
                    <a:pt x="17" y="227"/>
                  </a:lnTo>
                  <a:lnTo>
                    <a:pt x="35" y="224"/>
                  </a:lnTo>
                  <a:lnTo>
                    <a:pt x="34" y="228"/>
                  </a:lnTo>
                  <a:lnTo>
                    <a:pt x="23" y="235"/>
                  </a:lnTo>
                  <a:lnTo>
                    <a:pt x="14" y="234"/>
                  </a:lnTo>
                  <a:lnTo>
                    <a:pt x="29" y="248"/>
                  </a:lnTo>
                  <a:lnTo>
                    <a:pt x="42" y="264"/>
                  </a:lnTo>
                  <a:lnTo>
                    <a:pt x="64" y="258"/>
                  </a:lnTo>
                  <a:lnTo>
                    <a:pt x="65" y="246"/>
                  </a:lnTo>
                  <a:lnTo>
                    <a:pt x="66" y="237"/>
                  </a:lnTo>
                  <a:lnTo>
                    <a:pt x="74" y="237"/>
                  </a:lnTo>
                  <a:lnTo>
                    <a:pt x="72" y="242"/>
                  </a:lnTo>
                  <a:lnTo>
                    <a:pt x="71" y="246"/>
                  </a:lnTo>
                  <a:lnTo>
                    <a:pt x="79" y="246"/>
                  </a:lnTo>
                  <a:lnTo>
                    <a:pt x="74" y="252"/>
                  </a:lnTo>
                  <a:lnTo>
                    <a:pt x="77" y="260"/>
                  </a:lnTo>
                  <a:lnTo>
                    <a:pt x="77" y="272"/>
                  </a:lnTo>
                  <a:lnTo>
                    <a:pt x="82" y="290"/>
                  </a:lnTo>
                  <a:lnTo>
                    <a:pt x="83" y="295"/>
                  </a:lnTo>
                  <a:lnTo>
                    <a:pt x="84" y="300"/>
                  </a:lnTo>
                  <a:lnTo>
                    <a:pt x="89" y="321"/>
                  </a:lnTo>
                  <a:lnTo>
                    <a:pt x="95" y="339"/>
                  </a:lnTo>
                  <a:lnTo>
                    <a:pt x="101" y="356"/>
                  </a:lnTo>
                  <a:lnTo>
                    <a:pt x="104" y="361"/>
                  </a:lnTo>
                  <a:lnTo>
                    <a:pt x="113" y="381"/>
                  </a:lnTo>
                  <a:lnTo>
                    <a:pt x="121" y="402"/>
                  </a:lnTo>
                  <a:lnTo>
                    <a:pt x="128" y="416"/>
                  </a:lnTo>
                  <a:lnTo>
                    <a:pt x="136" y="432"/>
                  </a:lnTo>
                  <a:lnTo>
                    <a:pt x="143" y="446"/>
                  </a:lnTo>
                  <a:lnTo>
                    <a:pt x="148" y="458"/>
                  </a:lnTo>
                  <a:lnTo>
                    <a:pt x="155" y="473"/>
                  </a:lnTo>
                  <a:lnTo>
                    <a:pt x="161" y="486"/>
                  </a:lnTo>
                  <a:lnTo>
                    <a:pt x="170" y="491"/>
                  </a:lnTo>
                  <a:lnTo>
                    <a:pt x="179" y="482"/>
                  </a:lnTo>
                  <a:lnTo>
                    <a:pt x="188" y="473"/>
                  </a:lnTo>
                  <a:lnTo>
                    <a:pt x="198" y="471"/>
                  </a:lnTo>
                  <a:lnTo>
                    <a:pt x="192" y="464"/>
                  </a:lnTo>
                  <a:lnTo>
                    <a:pt x="200" y="451"/>
                  </a:lnTo>
                  <a:lnTo>
                    <a:pt x="205" y="451"/>
                  </a:lnTo>
                  <a:lnTo>
                    <a:pt x="204" y="438"/>
                  </a:lnTo>
                  <a:lnTo>
                    <a:pt x="202" y="425"/>
                  </a:lnTo>
                  <a:lnTo>
                    <a:pt x="205" y="410"/>
                  </a:lnTo>
                  <a:lnTo>
                    <a:pt x="208" y="396"/>
                  </a:lnTo>
                  <a:lnTo>
                    <a:pt x="204" y="379"/>
                  </a:lnTo>
                  <a:lnTo>
                    <a:pt x="203" y="359"/>
                  </a:lnTo>
                  <a:lnTo>
                    <a:pt x="211" y="353"/>
                  </a:lnTo>
                  <a:lnTo>
                    <a:pt x="214" y="351"/>
                  </a:lnTo>
                  <a:lnTo>
                    <a:pt x="217" y="350"/>
                  </a:lnTo>
                  <a:lnTo>
                    <a:pt x="221" y="343"/>
                  </a:lnTo>
                  <a:lnTo>
                    <a:pt x="234" y="338"/>
                  </a:lnTo>
                  <a:lnTo>
                    <a:pt x="236" y="327"/>
                  </a:lnTo>
                  <a:lnTo>
                    <a:pt x="251" y="312"/>
                  </a:lnTo>
                  <a:lnTo>
                    <a:pt x="266" y="296"/>
                  </a:lnTo>
                  <a:lnTo>
                    <a:pt x="278" y="283"/>
                  </a:lnTo>
                  <a:lnTo>
                    <a:pt x="288" y="277"/>
                  </a:lnTo>
                  <a:lnTo>
                    <a:pt x="296" y="264"/>
                  </a:lnTo>
                  <a:lnTo>
                    <a:pt x="298" y="251"/>
                  </a:lnTo>
                  <a:lnTo>
                    <a:pt x="312" y="241"/>
                  </a:lnTo>
                  <a:lnTo>
                    <a:pt x="316" y="248"/>
                  </a:lnTo>
                  <a:lnTo>
                    <a:pt x="320" y="248"/>
                  </a:lnTo>
                  <a:lnTo>
                    <a:pt x="324" y="247"/>
                  </a:lnTo>
                  <a:lnTo>
                    <a:pt x="328" y="248"/>
                  </a:lnTo>
                  <a:lnTo>
                    <a:pt x="328" y="243"/>
                  </a:lnTo>
                  <a:lnTo>
                    <a:pt x="323" y="229"/>
                  </a:lnTo>
                  <a:lnTo>
                    <a:pt x="318" y="216"/>
                  </a:lnTo>
                  <a:lnTo>
                    <a:pt x="317" y="205"/>
                  </a:lnTo>
                  <a:lnTo>
                    <a:pt x="305" y="195"/>
                  </a:lnTo>
                  <a:lnTo>
                    <a:pt x="310" y="188"/>
                  </a:lnTo>
                  <a:lnTo>
                    <a:pt x="316" y="185"/>
                  </a:lnTo>
                  <a:lnTo>
                    <a:pt x="304" y="174"/>
                  </a:lnTo>
                  <a:lnTo>
                    <a:pt x="304" y="161"/>
                  </a:lnTo>
                  <a:lnTo>
                    <a:pt x="314" y="164"/>
                  </a:lnTo>
                  <a:lnTo>
                    <a:pt x="319" y="170"/>
                  </a:lnTo>
                  <a:lnTo>
                    <a:pt x="323" y="167"/>
                  </a:lnTo>
                  <a:lnTo>
                    <a:pt x="329" y="181"/>
                  </a:lnTo>
                  <a:lnTo>
                    <a:pt x="346" y="183"/>
                  </a:lnTo>
                  <a:lnTo>
                    <a:pt x="362" y="185"/>
                  </a:lnTo>
                  <a:lnTo>
                    <a:pt x="371" y="191"/>
                  </a:lnTo>
                  <a:lnTo>
                    <a:pt x="368" y="198"/>
                  </a:lnTo>
                  <a:lnTo>
                    <a:pt x="356" y="206"/>
                  </a:lnTo>
                  <a:lnTo>
                    <a:pt x="360" y="221"/>
                  </a:lnTo>
                  <a:lnTo>
                    <a:pt x="362" y="224"/>
                  </a:lnTo>
                  <a:lnTo>
                    <a:pt x="370" y="211"/>
                  </a:lnTo>
                  <a:lnTo>
                    <a:pt x="376" y="227"/>
                  </a:lnTo>
                  <a:lnTo>
                    <a:pt x="382" y="242"/>
                  </a:lnTo>
                  <a:lnTo>
                    <a:pt x="383" y="241"/>
                  </a:lnTo>
                  <a:lnTo>
                    <a:pt x="388" y="242"/>
                  </a:lnTo>
                  <a:lnTo>
                    <a:pt x="389" y="223"/>
                  </a:lnTo>
                  <a:lnTo>
                    <a:pt x="389" y="207"/>
                  </a:lnTo>
                  <a:lnTo>
                    <a:pt x="398" y="207"/>
                  </a:lnTo>
                  <a:lnTo>
                    <a:pt x="406" y="186"/>
                  </a:lnTo>
                  <a:lnTo>
                    <a:pt x="407" y="177"/>
                  </a:lnTo>
                  <a:lnTo>
                    <a:pt x="407" y="163"/>
                  </a:lnTo>
                  <a:lnTo>
                    <a:pt x="421" y="147"/>
                  </a:lnTo>
                  <a:lnTo>
                    <a:pt x="433" y="150"/>
                  </a:lnTo>
                  <a:lnTo>
                    <a:pt x="431" y="144"/>
                  </a:lnTo>
                  <a:lnTo>
                    <a:pt x="432" y="139"/>
                  </a:lnTo>
                  <a:lnTo>
                    <a:pt x="434" y="131"/>
                  </a:lnTo>
                  <a:lnTo>
                    <a:pt x="418" y="125"/>
                  </a:lnTo>
                  <a:lnTo>
                    <a:pt x="418" y="116"/>
                  </a:lnTo>
                  <a:lnTo>
                    <a:pt x="412" y="115"/>
                  </a:lnTo>
                  <a:lnTo>
                    <a:pt x="413" y="111"/>
                  </a:lnTo>
                  <a:lnTo>
                    <a:pt x="407" y="109"/>
                  </a:lnTo>
                  <a:lnTo>
                    <a:pt x="398" y="114"/>
                  </a:lnTo>
                  <a:lnTo>
                    <a:pt x="385" y="113"/>
                  </a:lnTo>
                  <a:lnTo>
                    <a:pt x="374" y="122"/>
                  </a:lnTo>
                  <a:lnTo>
                    <a:pt x="362" y="133"/>
                  </a:lnTo>
                  <a:lnTo>
                    <a:pt x="349" y="138"/>
                  </a:lnTo>
                  <a:lnTo>
                    <a:pt x="348" y="138"/>
                  </a:lnTo>
                  <a:lnTo>
                    <a:pt x="353" y="144"/>
                  </a:lnTo>
                  <a:lnTo>
                    <a:pt x="359" y="153"/>
                  </a:lnTo>
                  <a:lnTo>
                    <a:pt x="344" y="155"/>
                  </a:lnTo>
                  <a:lnTo>
                    <a:pt x="330" y="156"/>
                  </a:lnTo>
                  <a:lnTo>
                    <a:pt x="311" y="153"/>
                  </a:lnTo>
                  <a:lnTo>
                    <a:pt x="308" y="146"/>
                  </a:lnTo>
                  <a:lnTo>
                    <a:pt x="301" y="132"/>
                  </a:lnTo>
                  <a:lnTo>
                    <a:pt x="294" y="137"/>
                  </a:lnTo>
                  <a:lnTo>
                    <a:pt x="299" y="162"/>
                  </a:lnTo>
                  <a:lnTo>
                    <a:pt x="282" y="161"/>
                  </a:lnTo>
                  <a:lnTo>
                    <a:pt x="262" y="158"/>
                  </a:lnTo>
                  <a:lnTo>
                    <a:pt x="251" y="155"/>
                  </a:lnTo>
                  <a:lnTo>
                    <a:pt x="242" y="146"/>
                  </a:lnTo>
                  <a:lnTo>
                    <a:pt x="223" y="144"/>
                  </a:lnTo>
                  <a:lnTo>
                    <a:pt x="208" y="140"/>
                  </a:lnTo>
                  <a:lnTo>
                    <a:pt x="188" y="131"/>
                  </a:lnTo>
                  <a:lnTo>
                    <a:pt x="169" y="120"/>
                  </a:lnTo>
                  <a:lnTo>
                    <a:pt x="169" y="109"/>
                  </a:lnTo>
                  <a:lnTo>
                    <a:pt x="178" y="95"/>
                  </a:lnTo>
                  <a:lnTo>
                    <a:pt x="163" y="85"/>
                  </a:lnTo>
                  <a:lnTo>
                    <a:pt x="144" y="74"/>
                  </a:lnTo>
                  <a:lnTo>
                    <a:pt x="137" y="72"/>
                  </a:lnTo>
                  <a:lnTo>
                    <a:pt x="130" y="53"/>
                  </a:lnTo>
                  <a:lnTo>
                    <a:pt x="139" y="54"/>
                  </a:lnTo>
                  <a:lnTo>
                    <a:pt x="142" y="47"/>
                  </a:lnTo>
                  <a:lnTo>
                    <a:pt x="132" y="33"/>
                  </a:lnTo>
                  <a:lnTo>
                    <a:pt x="132" y="26"/>
                  </a:lnTo>
                  <a:lnTo>
                    <a:pt x="131" y="25"/>
                  </a:lnTo>
                  <a:lnTo>
                    <a:pt x="131" y="21"/>
                  </a:lnTo>
                  <a:lnTo>
                    <a:pt x="127" y="19"/>
                  </a:lnTo>
                  <a:lnTo>
                    <a:pt x="125" y="15"/>
                  </a:lnTo>
                  <a:lnTo>
                    <a:pt x="124" y="11"/>
                  </a:lnTo>
                  <a:lnTo>
                    <a:pt x="122" y="6"/>
                  </a:lnTo>
                  <a:lnTo>
                    <a:pt x="118" y="5"/>
                  </a:lnTo>
                  <a:lnTo>
                    <a:pt x="110" y="1"/>
                  </a:lnTo>
                  <a:lnTo>
                    <a:pt x="10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3" name="Freeform 72">
              <a:extLst>
                <a:ext uri="{FF2B5EF4-FFF2-40B4-BE49-F238E27FC236}">
                  <a16:creationId xmlns:a16="http://schemas.microsoft.com/office/drawing/2014/main" id="{9C67C3D3-578B-412C-BFE9-7B66A9D7BF45}"/>
                </a:ext>
              </a:extLst>
            </p:cNvPr>
            <p:cNvSpPr>
              <a:spLocks/>
            </p:cNvSpPr>
            <p:nvPr/>
          </p:nvSpPr>
          <p:spPr bwMode="auto">
            <a:xfrm>
              <a:off x="7839768" y="3492318"/>
              <a:ext cx="65023" cy="131768"/>
            </a:xfrm>
            <a:custGeom>
              <a:avLst/>
              <a:gdLst/>
              <a:ahLst/>
              <a:cxnLst>
                <a:cxn ang="0">
                  <a:pos x="9" y="2"/>
                </a:cxn>
                <a:cxn ang="0">
                  <a:pos x="15" y="12"/>
                </a:cxn>
                <a:cxn ang="0">
                  <a:pos x="22" y="22"/>
                </a:cxn>
                <a:cxn ang="0">
                  <a:pos x="29" y="37"/>
                </a:cxn>
                <a:cxn ang="0">
                  <a:pos x="35" y="50"/>
                </a:cxn>
                <a:cxn ang="0">
                  <a:pos x="27" y="64"/>
                </a:cxn>
                <a:cxn ang="0">
                  <a:pos x="11" y="69"/>
                </a:cxn>
                <a:cxn ang="0">
                  <a:pos x="3" y="45"/>
                </a:cxn>
                <a:cxn ang="0">
                  <a:pos x="0" y="28"/>
                </a:cxn>
                <a:cxn ang="0">
                  <a:pos x="1" y="30"/>
                </a:cxn>
                <a:cxn ang="0">
                  <a:pos x="4" y="18"/>
                </a:cxn>
                <a:cxn ang="0">
                  <a:pos x="6" y="4"/>
                </a:cxn>
                <a:cxn ang="0">
                  <a:pos x="6" y="3"/>
                </a:cxn>
                <a:cxn ang="0">
                  <a:pos x="3" y="0"/>
                </a:cxn>
                <a:cxn ang="0">
                  <a:pos x="9" y="2"/>
                </a:cxn>
              </a:cxnLst>
              <a:rect l="0" t="0" r="r" b="b"/>
              <a:pathLst>
                <a:path w="35" h="69">
                  <a:moveTo>
                    <a:pt x="9" y="2"/>
                  </a:moveTo>
                  <a:lnTo>
                    <a:pt x="15" y="12"/>
                  </a:lnTo>
                  <a:lnTo>
                    <a:pt x="22" y="22"/>
                  </a:lnTo>
                  <a:lnTo>
                    <a:pt x="29" y="37"/>
                  </a:lnTo>
                  <a:lnTo>
                    <a:pt x="35" y="50"/>
                  </a:lnTo>
                  <a:lnTo>
                    <a:pt x="27" y="64"/>
                  </a:lnTo>
                  <a:lnTo>
                    <a:pt x="11" y="69"/>
                  </a:lnTo>
                  <a:lnTo>
                    <a:pt x="3" y="45"/>
                  </a:lnTo>
                  <a:lnTo>
                    <a:pt x="0" y="28"/>
                  </a:lnTo>
                  <a:lnTo>
                    <a:pt x="1" y="30"/>
                  </a:lnTo>
                  <a:lnTo>
                    <a:pt x="4" y="18"/>
                  </a:lnTo>
                  <a:lnTo>
                    <a:pt x="6" y="4"/>
                  </a:lnTo>
                  <a:lnTo>
                    <a:pt x="6" y="3"/>
                  </a:lnTo>
                  <a:lnTo>
                    <a:pt x="3" y="0"/>
                  </a:lnTo>
                  <a:lnTo>
                    <a:pt x="9"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5" name="Freeform 74">
              <a:extLst>
                <a:ext uri="{FF2B5EF4-FFF2-40B4-BE49-F238E27FC236}">
                  <a16:creationId xmlns:a16="http://schemas.microsoft.com/office/drawing/2014/main" id="{851FE100-09CD-4962-A89F-20DA12EACF06}"/>
                </a:ext>
              </a:extLst>
            </p:cNvPr>
            <p:cNvSpPr>
              <a:spLocks/>
            </p:cNvSpPr>
            <p:nvPr/>
          </p:nvSpPr>
          <p:spPr bwMode="auto">
            <a:xfrm>
              <a:off x="7658388" y="3760989"/>
              <a:ext cx="3422" cy="5134"/>
            </a:xfrm>
            <a:custGeom>
              <a:avLst/>
              <a:gdLst/>
              <a:ahLst/>
              <a:cxnLst>
                <a:cxn ang="0">
                  <a:pos x="2" y="1"/>
                </a:cxn>
                <a:cxn ang="0">
                  <a:pos x="0" y="1"/>
                </a:cxn>
                <a:cxn ang="0">
                  <a:pos x="2" y="0"/>
                </a:cxn>
                <a:cxn ang="0">
                  <a:pos x="2" y="1"/>
                </a:cxn>
              </a:cxnLst>
              <a:rect l="0" t="0" r="r" b="b"/>
              <a:pathLst>
                <a:path w="2" h="1">
                  <a:moveTo>
                    <a:pt x="2" y="1"/>
                  </a:moveTo>
                  <a:lnTo>
                    <a:pt x="0" y="1"/>
                  </a:lnTo>
                  <a:lnTo>
                    <a:pt x="2" y="0"/>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6" name="Freeform 75">
              <a:extLst>
                <a:ext uri="{FF2B5EF4-FFF2-40B4-BE49-F238E27FC236}">
                  <a16:creationId xmlns:a16="http://schemas.microsoft.com/office/drawing/2014/main" id="{95B83144-2173-4D3D-B2AE-80606BCEE129}"/>
                </a:ext>
              </a:extLst>
            </p:cNvPr>
            <p:cNvSpPr>
              <a:spLocks/>
            </p:cNvSpPr>
            <p:nvPr/>
          </p:nvSpPr>
          <p:spPr bwMode="auto">
            <a:xfrm>
              <a:off x="7668655" y="3837997"/>
              <a:ext cx="3422" cy="3423"/>
            </a:xfrm>
            <a:custGeom>
              <a:avLst/>
              <a:gdLst/>
              <a:ahLst/>
              <a:cxnLst>
                <a:cxn ang="0">
                  <a:pos x="0" y="0"/>
                </a:cxn>
                <a:cxn ang="0">
                  <a:pos x="1" y="1"/>
                </a:cxn>
                <a:cxn ang="0">
                  <a:pos x="0" y="2"/>
                </a:cxn>
                <a:cxn ang="0">
                  <a:pos x="0" y="0"/>
                </a:cxn>
              </a:cxnLst>
              <a:rect l="0" t="0" r="r" b="b"/>
              <a:pathLst>
                <a:path w="1" h="2">
                  <a:moveTo>
                    <a:pt x="0" y="0"/>
                  </a:moveTo>
                  <a:lnTo>
                    <a:pt x="1" y="1"/>
                  </a:lnTo>
                  <a:lnTo>
                    <a:pt x="0" y="2"/>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7" name="Freeform 76">
              <a:extLst>
                <a:ext uri="{FF2B5EF4-FFF2-40B4-BE49-F238E27FC236}">
                  <a16:creationId xmlns:a16="http://schemas.microsoft.com/office/drawing/2014/main" id="{E712CBA1-19EA-4673-9B98-687DB16E5309}"/>
                </a:ext>
              </a:extLst>
            </p:cNvPr>
            <p:cNvSpPr>
              <a:spLocks/>
            </p:cNvSpPr>
            <p:nvPr/>
          </p:nvSpPr>
          <p:spPr bwMode="auto">
            <a:xfrm>
              <a:off x="7661810" y="3822595"/>
              <a:ext cx="3422" cy="3423"/>
            </a:xfrm>
            <a:custGeom>
              <a:avLst/>
              <a:gdLst/>
              <a:ahLst/>
              <a:cxnLst>
                <a:cxn ang="0">
                  <a:pos x="1" y="0"/>
                </a:cxn>
                <a:cxn ang="0">
                  <a:pos x="1" y="1"/>
                </a:cxn>
                <a:cxn ang="0">
                  <a:pos x="0" y="0"/>
                </a:cxn>
                <a:cxn ang="0">
                  <a:pos x="1" y="0"/>
                </a:cxn>
              </a:cxnLst>
              <a:rect l="0" t="0" r="r" b="b"/>
              <a:pathLst>
                <a:path w="1" h="1">
                  <a:moveTo>
                    <a:pt x="1" y="0"/>
                  </a:moveTo>
                  <a:lnTo>
                    <a:pt x="1" y="1"/>
                  </a:ln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8" name="Freeform 77">
              <a:extLst>
                <a:ext uri="{FF2B5EF4-FFF2-40B4-BE49-F238E27FC236}">
                  <a16:creationId xmlns:a16="http://schemas.microsoft.com/office/drawing/2014/main" id="{2413D5BA-1BE8-44F4-AB69-3E968389C313}"/>
                </a:ext>
              </a:extLst>
            </p:cNvPr>
            <p:cNvSpPr>
              <a:spLocks/>
            </p:cNvSpPr>
            <p:nvPr/>
          </p:nvSpPr>
          <p:spPr bwMode="auto">
            <a:xfrm>
              <a:off x="7649832" y="3849976"/>
              <a:ext cx="3422" cy="3423"/>
            </a:xfrm>
            <a:custGeom>
              <a:avLst/>
              <a:gdLst/>
              <a:ahLst/>
              <a:cxnLst>
                <a:cxn ang="0">
                  <a:pos x="1" y="0"/>
                </a:cxn>
                <a:cxn ang="0">
                  <a:pos x="0" y="1"/>
                </a:cxn>
                <a:cxn ang="0">
                  <a:pos x="0" y="0"/>
                </a:cxn>
                <a:cxn ang="0">
                  <a:pos x="1" y="0"/>
                </a:cxn>
              </a:cxnLst>
              <a:rect l="0" t="0" r="r" b="b"/>
              <a:pathLst>
                <a:path w="1" h="1">
                  <a:moveTo>
                    <a:pt x="1" y="0"/>
                  </a:moveTo>
                  <a:lnTo>
                    <a:pt x="0" y="1"/>
                  </a:ln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79" name="Freeform 78">
              <a:extLst>
                <a:ext uri="{FF2B5EF4-FFF2-40B4-BE49-F238E27FC236}">
                  <a16:creationId xmlns:a16="http://schemas.microsoft.com/office/drawing/2014/main" id="{70F36585-86AB-4A92-A843-0CCEE121C5D1}"/>
                </a:ext>
              </a:extLst>
            </p:cNvPr>
            <p:cNvSpPr>
              <a:spLocks/>
            </p:cNvSpPr>
            <p:nvPr/>
          </p:nvSpPr>
          <p:spPr bwMode="auto">
            <a:xfrm>
              <a:off x="7649832" y="3853398"/>
              <a:ext cx="3422" cy="3423"/>
            </a:xfrm>
            <a:custGeom>
              <a:avLst/>
              <a:gdLst/>
              <a:ahLst/>
              <a:cxnLst>
                <a:cxn ang="0">
                  <a:pos x="1" y="2"/>
                </a:cxn>
                <a:cxn ang="0">
                  <a:pos x="1" y="0"/>
                </a:cxn>
                <a:cxn ang="0">
                  <a:pos x="0" y="2"/>
                </a:cxn>
                <a:cxn ang="0">
                  <a:pos x="1" y="2"/>
                </a:cxn>
              </a:cxnLst>
              <a:rect l="0" t="0" r="r" b="b"/>
              <a:pathLst>
                <a:path w="1" h="2">
                  <a:moveTo>
                    <a:pt x="1" y="2"/>
                  </a:moveTo>
                  <a:lnTo>
                    <a:pt x="1" y="0"/>
                  </a:lnTo>
                  <a:lnTo>
                    <a:pt x="0" y="2"/>
                  </a:lnTo>
                  <a:lnTo>
                    <a:pt x="1" y="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0" name="Freeform 79">
              <a:extLst>
                <a:ext uri="{FF2B5EF4-FFF2-40B4-BE49-F238E27FC236}">
                  <a16:creationId xmlns:a16="http://schemas.microsoft.com/office/drawing/2014/main" id="{DBCB25C3-5572-477C-8FE8-995EE570DCE9}"/>
                </a:ext>
              </a:extLst>
            </p:cNvPr>
            <p:cNvSpPr>
              <a:spLocks/>
            </p:cNvSpPr>
            <p:nvPr/>
          </p:nvSpPr>
          <p:spPr bwMode="auto">
            <a:xfrm>
              <a:off x="7649832" y="3632643"/>
              <a:ext cx="3422" cy="3423"/>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1" name="Freeform 80">
              <a:extLst>
                <a:ext uri="{FF2B5EF4-FFF2-40B4-BE49-F238E27FC236}">
                  <a16:creationId xmlns:a16="http://schemas.microsoft.com/office/drawing/2014/main" id="{72E23A59-B832-4327-B88F-A28D4D041F30}"/>
                </a:ext>
              </a:extLst>
            </p:cNvPr>
            <p:cNvSpPr>
              <a:spLocks/>
            </p:cNvSpPr>
            <p:nvPr/>
          </p:nvSpPr>
          <p:spPr bwMode="auto">
            <a:xfrm>
              <a:off x="7658388" y="3849976"/>
              <a:ext cx="3422" cy="3423"/>
            </a:xfrm>
            <a:custGeom>
              <a:avLst/>
              <a:gdLst/>
              <a:ahLst/>
              <a:cxnLst>
                <a:cxn ang="0">
                  <a:pos x="0" y="1"/>
                </a:cxn>
                <a:cxn ang="0">
                  <a:pos x="0" y="0"/>
                </a:cxn>
                <a:cxn ang="0">
                  <a:pos x="0" y="1"/>
                </a:cxn>
              </a:cxnLst>
              <a:rect l="0" t="0" r="r" b="b"/>
              <a:pathLst>
                <a:path h="1">
                  <a:moveTo>
                    <a:pt x="0" y="1"/>
                  </a:moveTo>
                  <a:lnTo>
                    <a:pt x="0" y="0"/>
                  </a:lnTo>
                  <a:lnTo>
                    <a:pt x="0"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2" name="Freeform 81">
              <a:extLst>
                <a:ext uri="{FF2B5EF4-FFF2-40B4-BE49-F238E27FC236}">
                  <a16:creationId xmlns:a16="http://schemas.microsoft.com/office/drawing/2014/main" id="{C7A42AB2-B0D6-4AAC-AA70-A77C4BA2384F}"/>
                </a:ext>
              </a:extLst>
            </p:cNvPr>
            <p:cNvSpPr>
              <a:spLocks/>
            </p:cNvSpPr>
            <p:nvPr/>
          </p:nvSpPr>
          <p:spPr bwMode="auto">
            <a:xfrm>
              <a:off x="7668655" y="3754144"/>
              <a:ext cx="3422" cy="3423"/>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3" name="Freeform 82">
              <a:extLst>
                <a:ext uri="{FF2B5EF4-FFF2-40B4-BE49-F238E27FC236}">
                  <a16:creationId xmlns:a16="http://schemas.microsoft.com/office/drawing/2014/main" id="{F75BEB9C-CC10-4AB1-9109-5F9912CA8FBA}"/>
                </a:ext>
              </a:extLst>
            </p:cNvPr>
            <p:cNvSpPr>
              <a:spLocks/>
            </p:cNvSpPr>
            <p:nvPr/>
          </p:nvSpPr>
          <p:spPr bwMode="auto">
            <a:xfrm>
              <a:off x="7646410" y="3586439"/>
              <a:ext cx="3422" cy="3423"/>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4" name="Freeform 83">
              <a:extLst>
                <a:ext uri="{FF2B5EF4-FFF2-40B4-BE49-F238E27FC236}">
                  <a16:creationId xmlns:a16="http://schemas.microsoft.com/office/drawing/2014/main" id="{0D44778E-15A3-4C37-870C-8BF1B16D6DE9}"/>
                </a:ext>
              </a:extLst>
            </p:cNvPr>
            <p:cNvSpPr>
              <a:spLocks/>
            </p:cNvSpPr>
            <p:nvPr/>
          </p:nvSpPr>
          <p:spPr bwMode="auto">
            <a:xfrm>
              <a:off x="7658388" y="3766123"/>
              <a:ext cx="3422" cy="3423"/>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5" name="Freeform 84">
              <a:extLst>
                <a:ext uri="{FF2B5EF4-FFF2-40B4-BE49-F238E27FC236}">
                  <a16:creationId xmlns:a16="http://schemas.microsoft.com/office/drawing/2014/main" id="{CA2B861B-1C75-416C-976C-9DF9FDEFDC3D}"/>
                </a:ext>
              </a:extLst>
            </p:cNvPr>
            <p:cNvSpPr>
              <a:spLocks/>
            </p:cNvSpPr>
            <p:nvPr/>
          </p:nvSpPr>
          <p:spPr bwMode="auto">
            <a:xfrm>
              <a:off x="7661810" y="3747299"/>
              <a:ext cx="3422" cy="3423"/>
            </a:xfrm>
            <a:custGeom>
              <a:avLst/>
              <a:gdLst/>
              <a:ahLst/>
              <a:cxnLst>
                <a:cxn ang="0">
                  <a:pos x="1" y="0"/>
                </a:cxn>
                <a:cxn ang="0">
                  <a:pos x="0" y="0"/>
                </a:cxn>
                <a:cxn ang="0">
                  <a:pos x="0" y="1"/>
                </a:cxn>
                <a:cxn ang="0">
                  <a:pos x="1" y="0"/>
                </a:cxn>
              </a:cxnLst>
              <a:rect l="0" t="0" r="r" b="b"/>
              <a:pathLst>
                <a:path w="1" h="1">
                  <a:moveTo>
                    <a:pt x="1" y="0"/>
                  </a:moveTo>
                  <a:lnTo>
                    <a:pt x="0" y="0"/>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6" name="Freeform 85">
              <a:extLst>
                <a:ext uri="{FF2B5EF4-FFF2-40B4-BE49-F238E27FC236}">
                  <a16:creationId xmlns:a16="http://schemas.microsoft.com/office/drawing/2014/main" id="{28194DB2-A880-49B1-8868-3B21EBACC98D}"/>
                </a:ext>
              </a:extLst>
            </p:cNvPr>
            <p:cNvSpPr>
              <a:spLocks/>
            </p:cNvSpPr>
            <p:nvPr/>
          </p:nvSpPr>
          <p:spPr bwMode="auto">
            <a:xfrm>
              <a:off x="7658388" y="3632643"/>
              <a:ext cx="3422" cy="3423"/>
            </a:xfrm>
            <a:custGeom>
              <a:avLst/>
              <a:gdLst/>
              <a:ahLst/>
              <a:cxnLst>
                <a:cxn ang="0">
                  <a:pos x="0" y="0"/>
                </a:cxn>
                <a:cxn ang="0">
                  <a:pos x="0" y="1"/>
                </a:cxn>
                <a:cxn ang="0">
                  <a:pos x="0" y="0"/>
                </a:cxn>
              </a:cxnLst>
              <a:rect l="0" t="0" r="r" b="b"/>
              <a:pathLst>
                <a:path h="1">
                  <a:moveTo>
                    <a:pt x="0" y="0"/>
                  </a:moveTo>
                  <a:lnTo>
                    <a:pt x="0" y="1"/>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7" name="Freeform 86">
              <a:extLst>
                <a:ext uri="{FF2B5EF4-FFF2-40B4-BE49-F238E27FC236}">
                  <a16:creationId xmlns:a16="http://schemas.microsoft.com/office/drawing/2014/main" id="{73D0AD4E-495C-41D6-BE10-F6F8D55EB7C8}"/>
                </a:ext>
              </a:extLst>
            </p:cNvPr>
            <p:cNvSpPr>
              <a:spLocks/>
            </p:cNvSpPr>
            <p:nvPr/>
          </p:nvSpPr>
          <p:spPr bwMode="auto">
            <a:xfrm>
              <a:off x="7642988" y="3598418"/>
              <a:ext cx="3422" cy="3423"/>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8" name="Freeform 87">
              <a:extLst>
                <a:ext uri="{FF2B5EF4-FFF2-40B4-BE49-F238E27FC236}">
                  <a16:creationId xmlns:a16="http://schemas.microsoft.com/office/drawing/2014/main" id="{0D9C90BC-5FE7-40A4-B791-AFC495AE9787}"/>
                </a:ext>
              </a:extLst>
            </p:cNvPr>
            <p:cNvSpPr>
              <a:spLocks/>
            </p:cNvSpPr>
            <p:nvPr/>
          </p:nvSpPr>
          <p:spPr bwMode="auto">
            <a:xfrm>
              <a:off x="7634432" y="3731897"/>
              <a:ext cx="3422" cy="3423"/>
            </a:xfrm>
            <a:custGeom>
              <a:avLst/>
              <a:gdLst/>
              <a:ahLst/>
              <a:cxnLst>
                <a:cxn ang="0">
                  <a:pos x="2" y="1"/>
                </a:cxn>
                <a:cxn ang="0">
                  <a:pos x="2" y="0"/>
                </a:cxn>
                <a:cxn ang="0">
                  <a:pos x="0" y="0"/>
                </a:cxn>
                <a:cxn ang="0">
                  <a:pos x="2" y="1"/>
                </a:cxn>
              </a:cxnLst>
              <a:rect l="0" t="0" r="r" b="b"/>
              <a:pathLst>
                <a:path w="2" h="1">
                  <a:moveTo>
                    <a:pt x="2" y="1"/>
                  </a:moveTo>
                  <a:lnTo>
                    <a:pt x="2" y="0"/>
                  </a:lnTo>
                  <a:lnTo>
                    <a:pt x="0" y="0"/>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89" name="Freeform 88">
              <a:extLst>
                <a:ext uri="{FF2B5EF4-FFF2-40B4-BE49-F238E27FC236}">
                  <a16:creationId xmlns:a16="http://schemas.microsoft.com/office/drawing/2014/main" id="{91EB93D4-D931-4D35-A7D3-8C8B4B675232}"/>
                </a:ext>
              </a:extLst>
            </p:cNvPr>
            <p:cNvSpPr>
              <a:spLocks/>
            </p:cNvSpPr>
            <p:nvPr/>
          </p:nvSpPr>
          <p:spPr bwMode="auto">
            <a:xfrm>
              <a:off x="7637854" y="3583016"/>
              <a:ext cx="5133" cy="342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0" name="Freeform 89">
              <a:extLst>
                <a:ext uri="{FF2B5EF4-FFF2-40B4-BE49-F238E27FC236}">
                  <a16:creationId xmlns:a16="http://schemas.microsoft.com/office/drawing/2014/main" id="{C8E8B623-0927-4B36-9079-A7968B457A30}"/>
                </a:ext>
              </a:extLst>
            </p:cNvPr>
            <p:cNvSpPr>
              <a:spLocks/>
            </p:cNvSpPr>
            <p:nvPr/>
          </p:nvSpPr>
          <p:spPr bwMode="auto">
            <a:xfrm>
              <a:off x="7658388" y="3723341"/>
              <a:ext cx="3422" cy="342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1" name="Freeform 90">
              <a:extLst>
                <a:ext uri="{FF2B5EF4-FFF2-40B4-BE49-F238E27FC236}">
                  <a16:creationId xmlns:a16="http://schemas.microsoft.com/office/drawing/2014/main" id="{14942D30-DC79-4228-8AE6-BFB6331046D8}"/>
                </a:ext>
              </a:extLst>
            </p:cNvPr>
            <p:cNvSpPr>
              <a:spLocks/>
            </p:cNvSpPr>
            <p:nvPr/>
          </p:nvSpPr>
          <p:spPr bwMode="auto">
            <a:xfrm>
              <a:off x="7661810" y="3807194"/>
              <a:ext cx="3422" cy="3423"/>
            </a:xfrm>
            <a:custGeom>
              <a:avLst/>
              <a:gdLst/>
              <a:ahLst/>
              <a:cxnLst>
                <a:cxn ang="0">
                  <a:pos x="1" y="0"/>
                </a:cxn>
                <a:cxn ang="0">
                  <a:pos x="1" y="1"/>
                </a:cxn>
                <a:cxn ang="0">
                  <a:pos x="0" y="1"/>
                </a:cxn>
                <a:cxn ang="0">
                  <a:pos x="1" y="0"/>
                </a:cxn>
              </a:cxnLst>
              <a:rect l="0" t="0" r="r" b="b"/>
              <a:pathLst>
                <a:path w="1" h="1">
                  <a:moveTo>
                    <a:pt x="1" y="0"/>
                  </a:moveTo>
                  <a:lnTo>
                    <a:pt x="1" y="1"/>
                  </a:lnTo>
                  <a:lnTo>
                    <a:pt x="0" y="1"/>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2" name="Freeform 91">
              <a:extLst>
                <a:ext uri="{FF2B5EF4-FFF2-40B4-BE49-F238E27FC236}">
                  <a16:creationId xmlns:a16="http://schemas.microsoft.com/office/drawing/2014/main" id="{73E31AD1-DE4B-4CA7-8245-BB9D0E91A347}"/>
                </a:ext>
              </a:extLst>
            </p:cNvPr>
            <p:cNvSpPr>
              <a:spLocks/>
            </p:cNvSpPr>
            <p:nvPr/>
          </p:nvSpPr>
          <p:spPr bwMode="auto">
            <a:xfrm>
              <a:off x="7637854" y="3589861"/>
              <a:ext cx="5133" cy="5134"/>
            </a:xfrm>
            <a:custGeom>
              <a:avLst/>
              <a:gdLst/>
              <a:ahLst/>
              <a:cxnLst>
                <a:cxn ang="0">
                  <a:pos x="1" y="0"/>
                </a:cxn>
                <a:cxn ang="0">
                  <a:pos x="1" y="1"/>
                </a:cxn>
                <a:cxn ang="0">
                  <a:pos x="0" y="3"/>
                </a:cxn>
                <a:cxn ang="0">
                  <a:pos x="1" y="0"/>
                </a:cxn>
              </a:cxnLst>
              <a:rect l="0" t="0" r="r" b="b"/>
              <a:pathLst>
                <a:path w="1" h="3">
                  <a:moveTo>
                    <a:pt x="1" y="0"/>
                  </a:moveTo>
                  <a:lnTo>
                    <a:pt x="1" y="1"/>
                  </a:lnTo>
                  <a:lnTo>
                    <a:pt x="0" y="3"/>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3" name="Freeform 92">
              <a:extLst>
                <a:ext uri="{FF2B5EF4-FFF2-40B4-BE49-F238E27FC236}">
                  <a16:creationId xmlns:a16="http://schemas.microsoft.com/office/drawing/2014/main" id="{AA1C808A-AD97-4E3F-A801-AF544D135998}"/>
                </a:ext>
              </a:extLst>
            </p:cNvPr>
            <p:cNvSpPr>
              <a:spLocks/>
            </p:cNvSpPr>
            <p:nvPr/>
          </p:nvSpPr>
          <p:spPr bwMode="auto">
            <a:xfrm>
              <a:off x="7658388" y="3738742"/>
              <a:ext cx="3422" cy="3423"/>
            </a:xfrm>
            <a:custGeom>
              <a:avLst/>
              <a:gdLst/>
              <a:ahLst/>
              <a:cxnLst>
                <a:cxn ang="0">
                  <a:pos x="2" y="0"/>
                </a:cxn>
                <a:cxn ang="0">
                  <a:pos x="2" y="2"/>
                </a:cxn>
                <a:cxn ang="0">
                  <a:pos x="0" y="0"/>
                </a:cxn>
                <a:cxn ang="0">
                  <a:pos x="2" y="0"/>
                </a:cxn>
              </a:cxnLst>
              <a:rect l="0" t="0" r="r" b="b"/>
              <a:pathLst>
                <a:path w="2" h="2">
                  <a:moveTo>
                    <a:pt x="2" y="0"/>
                  </a:moveTo>
                  <a:lnTo>
                    <a:pt x="2" y="2"/>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94" name="Freeform 93">
              <a:extLst>
                <a:ext uri="{FF2B5EF4-FFF2-40B4-BE49-F238E27FC236}">
                  <a16:creationId xmlns:a16="http://schemas.microsoft.com/office/drawing/2014/main" id="{430A9539-9AD8-4156-9DB2-80B7C6453ED6}"/>
                </a:ext>
              </a:extLst>
            </p:cNvPr>
            <p:cNvSpPr>
              <a:spLocks/>
            </p:cNvSpPr>
            <p:nvPr/>
          </p:nvSpPr>
          <p:spPr bwMode="auto">
            <a:xfrm>
              <a:off x="7658388" y="3670291"/>
              <a:ext cx="3422" cy="3423"/>
            </a:xfrm>
            <a:custGeom>
              <a:avLst/>
              <a:gdLst/>
              <a:ahLst/>
              <a:cxnLst>
                <a:cxn ang="0">
                  <a:pos x="0" y="0"/>
                </a:cxn>
                <a:cxn ang="0">
                  <a:pos x="0" y="1"/>
                </a:cxn>
                <a:cxn ang="0">
                  <a:pos x="0" y="0"/>
                </a:cxn>
              </a:cxnLst>
              <a:rect l="0" t="0" r="r" b="b"/>
              <a:pathLst>
                <a:path h="1">
                  <a:moveTo>
                    <a:pt x="0" y="0"/>
                  </a:moveTo>
                  <a:lnTo>
                    <a:pt x="0" y="1"/>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6" name="Freeform 105">
              <a:extLst>
                <a:ext uri="{FF2B5EF4-FFF2-40B4-BE49-F238E27FC236}">
                  <a16:creationId xmlns:a16="http://schemas.microsoft.com/office/drawing/2014/main" id="{6335F206-8A5F-4E04-976B-7C07E2DC1000}"/>
                </a:ext>
              </a:extLst>
            </p:cNvPr>
            <p:cNvSpPr>
              <a:spLocks/>
            </p:cNvSpPr>
            <p:nvPr/>
          </p:nvSpPr>
          <p:spPr bwMode="auto">
            <a:xfrm>
              <a:off x="10646028" y="3719918"/>
              <a:ext cx="3422" cy="3423"/>
            </a:xfrm>
            <a:custGeom>
              <a:avLst/>
              <a:gdLst/>
              <a:ahLst/>
              <a:cxnLst>
                <a:cxn ang="0">
                  <a:pos x="3" y="0"/>
                </a:cxn>
                <a:cxn ang="0">
                  <a:pos x="2" y="1"/>
                </a:cxn>
                <a:cxn ang="0">
                  <a:pos x="0" y="1"/>
                </a:cxn>
                <a:cxn ang="0">
                  <a:pos x="2" y="0"/>
                </a:cxn>
                <a:cxn ang="0">
                  <a:pos x="3" y="0"/>
                </a:cxn>
              </a:cxnLst>
              <a:rect l="0" t="0" r="r" b="b"/>
              <a:pathLst>
                <a:path w="3" h="1">
                  <a:moveTo>
                    <a:pt x="3" y="0"/>
                  </a:moveTo>
                  <a:lnTo>
                    <a:pt x="2" y="1"/>
                  </a:lnTo>
                  <a:lnTo>
                    <a:pt x="0" y="1"/>
                  </a:lnTo>
                  <a:lnTo>
                    <a:pt x="2"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7" name="Freeform 106">
              <a:extLst>
                <a:ext uri="{FF2B5EF4-FFF2-40B4-BE49-F238E27FC236}">
                  <a16:creationId xmlns:a16="http://schemas.microsoft.com/office/drawing/2014/main" id="{2709041D-1C92-406A-94FF-5E681916D546}"/>
                </a:ext>
              </a:extLst>
            </p:cNvPr>
            <p:cNvSpPr>
              <a:spLocks/>
            </p:cNvSpPr>
            <p:nvPr/>
          </p:nvSpPr>
          <p:spPr bwMode="auto">
            <a:xfrm>
              <a:off x="10652872" y="3760989"/>
              <a:ext cx="5133" cy="5134"/>
            </a:xfrm>
            <a:custGeom>
              <a:avLst/>
              <a:gdLst/>
              <a:ahLst/>
              <a:cxnLst>
                <a:cxn ang="0">
                  <a:pos x="2" y="4"/>
                </a:cxn>
                <a:cxn ang="0">
                  <a:pos x="1" y="4"/>
                </a:cxn>
                <a:cxn ang="0">
                  <a:pos x="2" y="4"/>
                </a:cxn>
                <a:cxn ang="0">
                  <a:pos x="2" y="3"/>
                </a:cxn>
                <a:cxn ang="0">
                  <a:pos x="0" y="0"/>
                </a:cxn>
                <a:cxn ang="0">
                  <a:pos x="1" y="0"/>
                </a:cxn>
                <a:cxn ang="0">
                  <a:pos x="2" y="3"/>
                </a:cxn>
                <a:cxn ang="0">
                  <a:pos x="2" y="4"/>
                </a:cxn>
              </a:cxnLst>
              <a:rect l="0" t="0" r="r" b="b"/>
              <a:pathLst>
                <a:path w="2" h="4">
                  <a:moveTo>
                    <a:pt x="2" y="4"/>
                  </a:moveTo>
                  <a:lnTo>
                    <a:pt x="1" y="4"/>
                  </a:lnTo>
                  <a:lnTo>
                    <a:pt x="2" y="4"/>
                  </a:lnTo>
                  <a:lnTo>
                    <a:pt x="2" y="3"/>
                  </a:lnTo>
                  <a:lnTo>
                    <a:pt x="0" y="0"/>
                  </a:lnTo>
                  <a:lnTo>
                    <a:pt x="1" y="0"/>
                  </a:lnTo>
                  <a:lnTo>
                    <a:pt x="2" y="3"/>
                  </a:lnTo>
                  <a:lnTo>
                    <a:pt x="2" y="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8" name="Freeform 107">
              <a:extLst>
                <a:ext uri="{FF2B5EF4-FFF2-40B4-BE49-F238E27FC236}">
                  <a16:creationId xmlns:a16="http://schemas.microsoft.com/office/drawing/2014/main" id="{76314D16-42F9-4934-82D5-5DE4C8B0ED86}"/>
                </a:ext>
              </a:extLst>
            </p:cNvPr>
            <p:cNvSpPr>
              <a:spLocks/>
            </p:cNvSpPr>
            <p:nvPr/>
          </p:nvSpPr>
          <p:spPr bwMode="auto">
            <a:xfrm>
              <a:off x="10664850" y="3760989"/>
              <a:ext cx="3422" cy="5134"/>
            </a:xfrm>
            <a:custGeom>
              <a:avLst/>
              <a:gdLst/>
              <a:ahLst/>
              <a:cxnLst>
                <a:cxn ang="0">
                  <a:pos x="1" y="0"/>
                </a:cxn>
                <a:cxn ang="0">
                  <a:pos x="0" y="0"/>
                </a:cxn>
                <a:cxn ang="0">
                  <a:pos x="1" y="0"/>
                </a:cxn>
              </a:cxnLst>
              <a:rect l="0" t="0" r="r" b="b"/>
              <a:pathLst>
                <a:path w="1">
                  <a:moveTo>
                    <a:pt x="1" y="0"/>
                  </a:moveTo>
                  <a:lnTo>
                    <a:pt x="0"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09" name="Freeform 108">
              <a:extLst>
                <a:ext uri="{FF2B5EF4-FFF2-40B4-BE49-F238E27FC236}">
                  <a16:creationId xmlns:a16="http://schemas.microsoft.com/office/drawing/2014/main" id="{6F4648F4-B6EF-4421-AA98-D12F043EBC17}"/>
                </a:ext>
              </a:extLst>
            </p:cNvPr>
            <p:cNvSpPr>
              <a:spLocks/>
            </p:cNvSpPr>
            <p:nvPr/>
          </p:nvSpPr>
          <p:spPr bwMode="auto">
            <a:xfrm>
              <a:off x="10658006" y="3772968"/>
              <a:ext cx="3422" cy="3423"/>
            </a:xfrm>
            <a:custGeom>
              <a:avLst/>
              <a:gdLst/>
              <a:ahLst/>
              <a:cxnLst>
                <a:cxn ang="0">
                  <a:pos x="0" y="1"/>
                </a:cxn>
                <a:cxn ang="0">
                  <a:pos x="0" y="0"/>
                </a:cxn>
                <a:cxn ang="0">
                  <a:pos x="0" y="1"/>
                </a:cxn>
              </a:cxnLst>
              <a:rect l="0" t="0" r="r" b="b"/>
              <a:pathLst>
                <a:path h="1">
                  <a:moveTo>
                    <a:pt x="0" y="1"/>
                  </a:moveTo>
                  <a:lnTo>
                    <a:pt x="0" y="0"/>
                  </a:lnTo>
                  <a:lnTo>
                    <a:pt x="0"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0" name="Freeform 179">
              <a:extLst>
                <a:ext uri="{FF2B5EF4-FFF2-40B4-BE49-F238E27FC236}">
                  <a16:creationId xmlns:a16="http://schemas.microsoft.com/office/drawing/2014/main" id="{3ABACB2A-771F-4377-9348-82ACD9AE1070}"/>
                </a:ext>
              </a:extLst>
            </p:cNvPr>
            <p:cNvSpPr>
              <a:spLocks/>
            </p:cNvSpPr>
            <p:nvPr/>
          </p:nvSpPr>
          <p:spPr bwMode="auto">
            <a:xfrm>
              <a:off x="8722713" y="4195654"/>
              <a:ext cx="1197794" cy="961739"/>
            </a:xfrm>
            <a:custGeom>
              <a:avLst/>
              <a:gdLst/>
              <a:ahLst/>
              <a:cxnLst>
                <a:cxn ang="0">
                  <a:pos x="356" y="12"/>
                </a:cxn>
                <a:cxn ang="0">
                  <a:pos x="361" y="25"/>
                </a:cxn>
                <a:cxn ang="0">
                  <a:pos x="333" y="34"/>
                </a:cxn>
                <a:cxn ang="0">
                  <a:pos x="320" y="48"/>
                </a:cxn>
                <a:cxn ang="0">
                  <a:pos x="314" y="72"/>
                </a:cxn>
                <a:cxn ang="0">
                  <a:pos x="301" y="78"/>
                </a:cxn>
                <a:cxn ang="0">
                  <a:pos x="282" y="85"/>
                </a:cxn>
                <a:cxn ang="0">
                  <a:pos x="269" y="58"/>
                </a:cxn>
                <a:cxn ang="0">
                  <a:pos x="254" y="60"/>
                </a:cxn>
                <a:cxn ang="0">
                  <a:pos x="241" y="79"/>
                </a:cxn>
                <a:cxn ang="0">
                  <a:pos x="225" y="90"/>
                </a:cxn>
                <a:cxn ang="0">
                  <a:pos x="224" y="100"/>
                </a:cxn>
                <a:cxn ang="0">
                  <a:pos x="212" y="100"/>
                </a:cxn>
                <a:cxn ang="0">
                  <a:pos x="209" y="129"/>
                </a:cxn>
                <a:cxn ang="0">
                  <a:pos x="183" y="121"/>
                </a:cxn>
                <a:cxn ang="0">
                  <a:pos x="144" y="165"/>
                </a:cxn>
                <a:cxn ang="0">
                  <a:pos x="92" y="175"/>
                </a:cxn>
                <a:cxn ang="0">
                  <a:pos x="44" y="199"/>
                </a:cxn>
                <a:cxn ang="0">
                  <a:pos x="29" y="264"/>
                </a:cxn>
                <a:cxn ang="0">
                  <a:pos x="21" y="267"/>
                </a:cxn>
                <a:cxn ang="0">
                  <a:pos x="19" y="293"/>
                </a:cxn>
                <a:cxn ang="0">
                  <a:pos x="24" y="354"/>
                </a:cxn>
                <a:cxn ang="0">
                  <a:pos x="8" y="411"/>
                </a:cxn>
                <a:cxn ang="0">
                  <a:pos x="21" y="437"/>
                </a:cxn>
                <a:cxn ang="0">
                  <a:pos x="72" y="418"/>
                </a:cxn>
                <a:cxn ang="0">
                  <a:pos x="141" y="402"/>
                </a:cxn>
                <a:cxn ang="0">
                  <a:pos x="219" y="379"/>
                </a:cxn>
                <a:cxn ang="0">
                  <a:pos x="290" y="385"/>
                </a:cxn>
                <a:cxn ang="0">
                  <a:pos x="300" y="414"/>
                </a:cxn>
                <a:cxn ang="0">
                  <a:pos x="308" y="431"/>
                </a:cxn>
                <a:cxn ang="0">
                  <a:pos x="348" y="406"/>
                </a:cxn>
                <a:cxn ang="0">
                  <a:pos x="330" y="439"/>
                </a:cxn>
                <a:cxn ang="0">
                  <a:pos x="343" y="445"/>
                </a:cxn>
                <a:cxn ang="0">
                  <a:pos x="345" y="489"/>
                </a:cxn>
                <a:cxn ang="0">
                  <a:pos x="403" y="495"/>
                </a:cxn>
                <a:cxn ang="0">
                  <a:pos x="410" y="497"/>
                </a:cxn>
                <a:cxn ang="0">
                  <a:pos x="426" y="502"/>
                </a:cxn>
                <a:cxn ang="0">
                  <a:pos x="495" y="471"/>
                </a:cxn>
                <a:cxn ang="0">
                  <a:pos x="549" y="409"/>
                </a:cxn>
                <a:cxn ang="0">
                  <a:pos x="599" y="358"/>
                </a:cxn>
                <a:cxn ang="0">
                  <a:pos x="621" y="299"/>
                </a:cxn>
                <a:cxn ang="0">
                  <a:pos x="623" y="250"/>
                </a:cxn>
                <a:cxn ang="0">
                  <a:pos x="608" y="213"/>
                </a:cxn>
                <a:cxn ang="0">
                  <a:pos x="594" y="193"/>
                </a:cxn>
                <a:cxn ang="0">
                  <a:pos x="575" y="157"/>
                </a:cxn>
                <a:cxn ang="0">
                  <a:pos x="553" y="97"/>
                </a:cxn>
                <a:cxn ang="0">
                  <a:pos x="533" y="65"/>
                </a:cxn>
                <a:cxn ang="0">
                  <a:pos x="525" y="13"/>
                </a:cxn>
                <a:cxn ang="0">
                  <a:pos x="509" y="23"/>
                </a:cxn>
                <a:cxn ang="0">
                  <a:pos x="503" y="43"/>
                </a:cxn>
                <a:cxn ang="0">
                  <a:pos x="497" y="81"/>
                </a:cxn>
                <a:cxn ang="0">
                  <a:pos x="451" y="114"/>
                </a:cxn>
                <a:cxn ang="0">
                  <a:pos x="401" y="72"/>
                </a:cxn>
                <a:cxn ang="0">
                  <a:pos x="422" y="40"/>
                </a:cxn>
                <a:cxn ang="0">
                  <a:pos x="415" y="27"/>
                </a:cxn>
                <a:cxn ang="0">
                  <a:pos x="387" y="24"/>
                </a:cxn>
              </a:cxnLst>
              <a:rect l="0" t="0" r="r" b="b"/>
              <a:pathLst>
                <a:path w="630" h="508">
                  <a:moveTo>
                    <a:pt x="369" y="12"/>
                  </a:moveTo>
                  <a:lnTo>
                    <a:pt x="362" y="11"/>
                  </a:lnTo>
                  <a:lnTo>
                    <a:pt x="357" y="10"/>
                  </a:lnTo>
                  <a:lnTo>
                    <a:pt x="356" y="12"/>
                  </a:lnTo>
                  <a:lnTo>
                    <a:pt x="351" y="10"/>
                  </a:lnTo>
                  <a:lnTo>
                    <a:pt x="357" y="13"/>
                  </a:lnTo>
                  <a:lnTo>
                    <a:pt x="365" y="18"/>
                  </a:lnTo>
                  <a:lnTo>
                    <a:pt x="361" y="25"/>
                  </a:lnTo>
                  <a:lnTo>
                    <a:pt x="356" y="28"/>
                  </a:lnTo>
                  <a:lnTo>
                    <a:pt x="343" y="25"/>
                  </a:lnTo>
                  <a:lnTo>
                    <a:pt x="337" y="28"/>
                  </a:lnTo>
                  <a:lnTo>
                    <a:pt x="333" y="34"/>
                  </a:lnTo>
                  <a:lnTo>
                    <a:pt x="330" y="31"/>
                  </a:lnTo>
                  <a:lnTo>
                    <a:pt x="327" y="35"/>
                  </a:lnTo>
                  <a:lnTo>
                    <a:pt x="321" y="45"/>
                  </a:lnTo>
                  <a:lnTo>
                    <a:pt x="320" y="48"/>
                  </a:lnTo>
                  <a:lnTo>
                    <a:pt x="314" y="54"/>
                  </a:lnTo>
                  <a:lnTo>
                    <a:pt x="307" y="67"/>
                  </a:lnTo>
                  <a:lnTo>
                    <a:pt x="312" y="70"/>
                  </a:lnTo>
                  <a:lnTo>
                    <a:pt x="314" y="72"/>
                  </a:lnTo>
                  <a:lnTo>
                    <a:pt x="309" y="78"/>
                  </a:lnTo>
                  <a:lnTo>
                    <a:pt x="315" y="84"/>
                  </a:lnTo>
                  <a:lnTo>
                    <a:pt x="303" y="75"/>
                  </a:lnTo>
                  <a:lnTo>
                    <a:pt x="301" y="78"/>
                  </a:lnTo>
                  <a:lnTo>
                    <a:pt x="290" y="73"/>
                  </a:lnTo>
                  <a:lnTo>
                    <a:pt x="288" y="82"/>
                  </a:lnTo>
                  <a:lnTo>
                    <a:pt x="284" y="82"/>
                  </a:lnTo>
                  <a:lnTo>
                    <a:pt x="282" y="85"/>
                  </a:lnTo>
                  <a:lnTo>
                    <a:pt x="282" y="81"/>
                  </a:lnTo>
                  <a:lnTo>
                    <a:pt x="285" y="70"/>
                  </a:lnTo>
                  <a:lnTo>
                    <a:pt x="270" y="54"/>
                  </a:lnTo>
                  <a:lnTo>
                    <a:pt x="269" y="58"/>
                  </a:lnTo>
                  <a:lnTo>
                    <a:pt x="261" y="60"/>
                  </a:lnTo>
                  <a:lnTo>
                    <a:pt x="260" y="58"/>
                  </a:lnTo>
                  <a:lnTo>
                    <a:pt x="258" y="60"/>
                  </a:lnTo>
                  <a:lnTo>
                    <a:pt x="254" y="60"/>
                  </a:lnTo>
                  <a:lnTo>
                    <a:pt x="251" y="70"/>
                  </a:lnTo>
                  <a:lnTo>
                    <a:pt x="248" y="65"/>
                  </a:lnTo>
                  <a:lnTo>
                    <a:pt x="240" y="73"/>
                  </a:lnTo>
                  <a:lnTo>
                    <a:pt x="241" y="79"/>
                  </a:lnTo>
                  <a:lnTo>
                    <a:pt x="235" y="78"/>
                  </a:lnTo>
                  <a:lnTo>
                    <a:pt x="237" y="87"/>
                  </a:lnTo>
                  <a:lnTo>
                    <a:pt x="230" y="83"/>
                  </a:lnTo>
                  <a:lnTo>
                    <a:pt x="225" y="90"/>
                  </a:lnTo>
                  <a:lnTo>
                    <a:pt x="227" y="91"/>
                  </a:lnTo>
                  <a:lnTo>
                    <a:pt x="229" y="91"/>
                  </a:lnTo>
                  <a:lnTo>
                    <a:pt x="224" y="95"/>
                  </a:lnTo>
                  <a:lnTo>
                    <a:pt x="224" y="100"/>
                  </a:lnTo>
                  <a:lnTo>
                    <a:pt x="228" y="101"/>
                  </a:lnTo>
                  <a:lnTo>
                    <a:pt x="219" y="101"/>
                  </a:lnTo>
                  <a:lnTo>
                    <a:pt x="216" y="101"/>
                  </a:lnTo>
                  <a:lnTo>
                    <a:pt x="212" y="100"/>
                  </a:lnTo>
                  <a:lnTo>
                    <a:pt x="210" y="103"/>
                  </a:lnTo>
                  <a:lnTo>
                    <a:pt x="212" y="112"/>
                  </a:lnTo>
                  <a:lnTo>
                    <a:pt x="209" y="114"/>
                  </a:lnTo>
                  <a:lnTo>
                    <a:pt x="209" y="129"/>
                  </a:lnTo>
                  <a:lnTo>
                    <a:pt x="204" y="115"/>
                  </a:lnTo>
                  <a:lnTo>
                    <a:pt x="199" y="102"/>
                  </a:lnTo>
                  <a:lnTo>
                    <a:pt x="194" y="107"/>
                  </a:lnTo>
                  <a:lnTo>
                    <a:pt x="183" y="121"/>
                  </a:lnTo>
                  <a:lnTo>
                    <a:pt x="183" y="133"/>
                  </a:lnTo>
                  <a:lnTo>
                    <a:pt x="168" y="150"/>
                  </a:lnTo>
                  <a:lnTo>
                    <a:pt x="156" y="157"/>
                  </a:lnTo>
                  <a:lnTo>
                    <a:pt x="144" y="165"/>
                  </a:lnTo>
                  <a:lnTo>
                    <a:pt x="126" y="168"/>
                  </a:lnTo>
                  <a:lnTo>
                    <a:pt x="111" y="173"/>
                  </a:lnTo>
                  <a:lnTo>
                    <a:pt x="97" y="178"/>
                  </a:lnTo>
                  <a:lnTo>
                    <a:pt x="92" y="175"/>
                  </a:lnTo>
                  <a:lnTo>
                    <a:pt x="71" y="190"/>
                  </a:lnTo>
                  <a:lnTo>
                    <a:pt x="50" y="204"/>
                  </a:lnTo>
                  <a:lnTo>
                    <a:pt x="43" y="210"/>
                  </a:lnTo>
                  <a:lnTo>
                    <a:pt x="44" y="199"/>
                  </a:lnTo>
                  <a:lnTo>
                    <a:pt x="37" y="216"/>
                  </a:lnTo>
                  <a:lnTo>
                    <a:pt x="29" y="235"/>
                  </a:lnTo>
                  <a:lnTo>
                    <a:pt x="27" y="251"/>
                  </a:lnTo>
                  <a:lnTo>
                    <a:pt x="29" y="264"/>
                  </a:lnTo>
                  <a:lnTo>
                    <a:pt x="30" y="276"/>
                  </a:lnTo>
                  <a:lnTo>
                    <a:pt x="26" y="280"/>
                  </a:lnTo>
                  <a:lnTo>
                    <a:pt x="26" y="275"/>
                  </a:lnTo>
                  <a:lnTo>
                    <a:pt x="21" y="267"/>
                  </a:lnTo>
                  <a:lnTo>
                    <a:pt x="21" y="285"/>
                  </a:lnTo>
                  <a:lnTo>
                    <a:pt x="18" y="277"/>
                  </a:lnTo>
                  <a:lnTo>
                    <a:pt x="17" y="276"/>
                  </a:lnTo>
                  <a:lnTo>
                    <a:pt x="19" y="293"/>
                  </a:lnTo>
                  <a:lnTo>
                    <a:pt x="21" y="310"/>
                  </a:lnTo>
                  <a:lnTo>
                    <a:pt x="23" y="325"/>
                  </a:lnTo>
                  <a:lnTo>
                    <a:pt x="25" y="341"/>
                  </a:lnTo>
                  <a:lnTo>
                    <a:pt x="24" y="354"/>
                  </a:lnTo>
                  <a:lnTo>
                    <a:pt x="23" y="367"/>
                  </a:lnTo>
                  <a:lnTo>
                    <a:pt x="20" y="381"/>
                  </a:lnTo>
                  <a:lnTo>
                    <a:pt x="19" y="393"/>
                  </a:lnTo>
                  <a:lnTo>
                    <a:pt x="8" y="411"/>
                  </a:lnTo>
                  <a:lnTo>
                    <a:pt x="1" y="413"/>
                  </a:lnTo>
                  <a:lnTo>
                    <a:pt x="0" y="424"/>
                  </a:lnTo>
                  <a:lnTo>
                    <a:pt x="11" y="430"/>
                  </a:lnTo>
                  <a:lnTo>
                    <a:pt x="21" y="437"/>
                  </a:lnTo>
                  <a:lnTo>
                    <a:pt x="41" y="435"/>
                  </a:lnTo>
                  <a:lnTo>
                    <a:pt x="60" y="427"/>
                  </a:lnTo>
                  <a:lnTo>
                    <a:pt x="62" y="425"/>
                  </a:lnTo>
                  <a:lnTo>
                    <a:pt x="72" y="418"/>
                  </a:lnTo>
                  <a:lnTo>
                    <a:pt x="89" y="418"/>
                  </a:lnTo>
                  <a:lnTo>
                    <a:pt x="105" y="418"/>
                  </a:lnTo>
                  <a:lnTo>
                    <a:pt x="127" y="417"/>
                  </a:lnTo>
                  <a:lnTo>
                    <a:pt x="141" y="402"/>
                  </a:lnTo>
                  <a:lnTo>
                    <a:pt x="162" y="395"/>
                  </a:lnTo>
                  <a:lnTo>
                    <a:pt x="181" y="387"/>
                  </a:lnTo>
                  <a:lnTo>
                    <a:pt x="200" y="383"/>
                  </a:lnTo>
                  <a:lnTo>
                    <a:pt x="219" y="379"/>
                  </a:lnTo>
                  <a:lnTo>
                    <a:pt x="239" y="377"/>
                  </a:lnTo>
                  <a:lnTo>
                    <a:pt x="258" y="373"/>
                  </a:lnTo>
                  <a:lnTo>
                    <a:pt x="269" y="377"/>
                  </a:lnTo>
                  <a:lnTo>
                    <a:pt x="290" y="385"/>
                  </a:lnTo>
                  <a:lnTo>
                    <a:pt x="294" y="390"/>
                  </a:lnTo>
                  <a:lnTo>
                    <a:pt x="296" y="395"/>
                  </a:lnTo>
                  <a:lnTo>
                    <a:pt x="299" y="402"/>
                  </a:lnTo>
                  <a:lnTo>
                    <a:pt x="300" y="414"/>
                  </a:lnTo>
                  <a:lnTo>
                    <a:pt x="301" y="426"/>
                  </a:lnTo>
                  <a:lnTo>
                    <a:pt x="299" y="426"/>
                  </a:lnTo>
                  <a:lnTo>
                    <a:pt x="306" y="433"/>
                  </a:lnTo>
                  <a:lnTo>
                    <a:pt x="308" y="431"/>
                  </a:lnTo>
                  <a:lnTo>
                    <a:pt x="326" y="415"/>
                  </a:lnTo>
                  <a:lnTo>
                    <a:pt x="344" y="401"/>
                  </a:lnTo>
                  <a:lnTo>
                    <a:pt x="351" y="393"/>
                  </a:lnTo>
                  <a:lnTo>
                    <a:pt x="348" y="406"/>
                  </a:lnTo>
                  <a:lnTo>
                    <a:pt x="337" y="420"/>
                  </a:lnTo>
                  <a:lnTo>
                    <a:pt x="326" y="435"/>
                  </a:lnTo>
                  <a:lnTo>
                    <a:pt x="319" y="439"/>
                  </a:lnTo>
                  <a:lnTo>
                    <a:pt x="330" y="439"/>
                  </a:lnTo>
                  <a:lnTo>
                    <a:pt x="343" y="423"/>
                  </a:lnTo>
                  <a:lnTo>
                    <a:pt x="347" y="431"/>
                  </a:lnTo>
                  <a:lnTo>
                    <a:pt x="335" y="445"/>
                  </a:lnTo>
                  <a:lnTo>
                    <a:pt x="343" y="445"/>
                  </a:lnTo>
                  <a:lnTo>
                    <a:pt x="347" y="447"/>
                  </a:lnTo>
                  <a:lnTo>
                    <a:pt x="350" y="454"/>
                  </a:lnTo>
                  <a:lnTo>
                    <a:pt x="344" y="471"/>
                  </a:lnTo>
                  <a:lnTo>
                    <a:pt x="345" y="489"/>
                  </a:lnTo>
                  <a:lnTo>
                    <a:pt x="360" y="495"/>
                  </a:lnTo>
                  <a:lnTo>
                    <a:pt x="371" y="499"/>
                  </a:lnTo>
                  <a:lnTo>
                    <a:pt x="381" y="503"/>
                  </a:lnTo>
                  <a:lnTo>
                    <a:pt x="403" y="495"/>
                  </a:lnTo>
                  <a:lnTo>
                    <a:pt x="403" y="492"/>
                  </a:lnTo>
                  <a:lnTo>
                    <a:pt x="413" y="489"/>
                  </a:lnTo>
                  <a:lnTo>
                    <a:pt x="407" y="496"/>
                  </a:lnTo>
                  <a:lnTo>
                    <a:pt x="410" y="497"/>
                  </a:lnTo>
                  <a:lnTo>
                    <a:pt x="416" y="497"/>
                  </a:lnTo>
                  <a:lnTo>
                    <a:pt x="419" y="505"/>
                  </a:lnTo>
                  <a:lnTo>
                    <a:pt x="422" y="508"/>
                  </a:lnTo>
                  <a:lnTo>
                    <a:pt x="426" y="502"/>
                  </a:lnTo>
                  <a:lnTo>
                    <a:pt x="455" y="487"/>
                  </a:lnTo>
                  <a:lnTo>
                    <a:pt x="469" y="486"/>
                  </a:lnTo>
                  <a:lnTo>
                    <a:pt x="488" y="480"/>
                  </a:lnTo>
                  <a:lnTo>
                    <a:pt x="495" y="471"/>
                  </a:lnTo>
                  <a:lnTo>
                    <a:pt x="512" y="453"/>
                  </a:lnTo>
                  <a:lnTo>
                    <a:pt x="529" y="435"/>
                  </a:lnTo>
                  <a:lnTo>
                    <a:pt x="543" y="415"/>
                  </a:lnTo>
                  <a:lnTo>
                    <a:pt x="549" y="409"/>
                  </a:lnTo>
                  <a:lnTo>
                    <a:pt x="567" y="395"/>
                  </a:lnTo>
                  <a:lnTo>
                    <a:pt x="573" y="390"/>
                  </a:lnTo>
                  <a:lnTo>
                    <a:pt x="587" y="375"/>
                  </a:lnTo>
                  <a:lnTo>
                    <a:pt x="599" y="358"/>
                  </a:lnTo>
                  <a:lnTo>
                    <a:pt x="611" y="341"/>
                  </a:lnTo>
                  <a:lnTo>
                    <a:pt x="620" y="324"/>
                  </a:lnTo>
                  <a:lnTo>
                    <a:pt x="621" y="311"/>
                  </a:lnTo>
                  <a:lnTo>
                    <a:pt x="621" y="299"/>
                  </a:lnTo>
                  <a:lnTo>
                    <a:pt x="626" y="285"/>
                  </a:lnTo>
                  <a:lnTo>
                    <a:pt x="630" y="270"/>
                  </a:lnTo>
                  <a:lnTo>
                    <a:pt x="629" y="259"/>
                  </a:lnTo>
                  <a:lnTo>
                    <a:pt x="623" y="250"/>
                  </a:lnTo>
                  <a:lnTo>
                    <a:pt x="617" y="240"/>
                  </a:lnTo>
                  <a:lnTo>
                    <a:pt x="607" y="229"/>
                  </a:lnTo>
                  <a:lnTo>
                    <a:pt x="611" y="208"/>
                  </a:lnTo>
                  <a:lnTo>
                    <a:pt x="608" y="213"/>
                  </a:lnTo>
                  <a:lnTo>
                    <a:pt x="601" y="205"/>
                  </a:lnTo>
                  <a:lnTo>
                    <a:pt x="599" y="213"/>
                  </a:lnTo>
                  <a:lnTo>
                    <a:pt x="594" y="208"/>
                  </a:lnTo>
                  <a:lnTo>
                    <a:pt x="594" y="193"/>
                  </a:lnTo>
                  <a:lnTo>
                    <a:pt x="588" y="179"/>
                  </a:lnTo>
                  <a:lnTo>
                    <a:pt x="590" y="174"/>
                  </a:lnTo>
                  <a:lnTo>
                    <a:pt x="585" y="169"/>
                  </a:lnTo>
                  <a:lnTo>
                    <a:pt x="575" y="157"/>
                  </a:lnTo>
                  <a:lnTo>
                    <a:pt x="557" y="144"/>
                  </a:lnTo>
                  <a:lnTo>
                    <a:pt x="557" y="127"/>
                  </a:lnTo>
                  <a:lnTo>
                    <a:pt x="557" y="111"/>
                  </a:lnTo>
                  <a:lnTo>
                    <a:pt x="553" y="97"/>
                  </a:lnTo>
                  <a:lnTo>
                    <a:pt x="555" y="81"/>
                  </a:lnTo>
                  <a:lnTo>
                    <a:pt x="552" y="73"/>
                  </a:lnTo>
                  <a:lnTo>
                    <a:pt x="543" y="64"/>
                  </a:lnTo>
                  <a:lnTo>
                    <a:pt x="533" y="65"/>
                  </a:lnTo>
                  <a:lnTo>
                    <a:pt x="531" y="53"/>
                  </a:lnTo>
                  <a:lnTo>
                    <a:pt x="530" y="40"/>
                  </a:lnTo>
                  <a:lnTo>
                    <a:pt x="529" y="24"/>
                  </a:lnTo>
                  <a:lnTo>
                    <a:pt x="525" y="13"/>
                  </a:lnTo>
                  <a:lnTo>
                    <a:pt x="522" y="5"/>
                  </a:lnTo>
                  <a:lnTo>
                    <a:pt x="521" y="0"/>
                  </a:lnTo>
                  <a:lnTo>
                    <a:pt x="512" y="16"/>
                  </a:lnTo>
                  <a:lnTo>
                    <a:pt x="509" y="23"/>
                  </a:lnTo>
                  <a:lnTo>
                    <a:pt x="505" y="33"/>
                  </a:lnTo>
                  <a:lnTo>
                    <a:pt x="507" y="34"/>
                  </a:lnTo>
                  <a:lnTo>
                    <a:pt x="507" y="36"/>
                  </a:lnTo>
                  <a:lnTo>
                    <a:pt x="503" y="43"/>
                  </a:lnTo>
                  <a:lnTo>
                    <a:pt x="501" y="51"/>
                  </a:lnTo>
                  <a:lnTo>
                    <a:pt x="499" y="51"/>
                  </a:lnTo>
                  <a:lnTo>
                    <a:pt x="498" y="66"/>
                  </a:lnTo>
                  <a:lnTo>
                    <a:pt x="497" y="81"/>
                  </a:lnTo>
                  <a:lnTo>
                    <a:pt x="485" y="101"/>
                  </a:lnTo>
                  <a:lnTo>
                    <a:pt x="474" y="121"/>
                  </a:lnTo>
                  <a:lnTo>
                    <a:pt x="462" y="124"/>
                  </a:lnTo>
                  <a:lnTo>
                    <a:pt x="451" y="114"/>
                  </a:lnTo>
                  <a:lnTo>
                    <a:pt x="435" y="103"/>
                  </a:lnTo>
                  <a:lnTo>
                    <a:pt x="419" y="93"/>
                  </a:lnTo>
                  <a:lnTo>
                    <a:pt x="410" y="82"/>
                  </a:lnTo>
                  <a:lnTo>
                    <a:pt x="401" y="72"/>
                  </a:lnTo>
                  <a:lnTo>
                    <a:pt x="411" y="54"/>
                  </a:lnTo>
                  <a:lnTo>
                    <a:pt x="416" y="43"/>
                  </a:lnTo>
                  <a:lnTo>
                    <a:pt x="419" y="46"/>
                  </a:lnTo>
                  <a:lnTo>
                    <a:pt x="422" y="40"/>
                  </a:lnTo>
                  <a:lnTo>
                    <a:pt x="429" y="29"/>
                  </a:lnTo>
                  <a:lnTo>
                    <a:pt x="422" y="23"/>
                  </a:lnTo>
                  <a:lnTo>
                    <a:pt x="416" y="31"/>
                  </a:lnTo>
                  <a:lnTo>
                    <a:pt x="415" y="27"/>
                  </a:lnTo>
                  <a:lnTo>
                    <a:pt x="410" y="27"/>
                  </a:lnTo>
                  <a:lnTo>
                    <a:pt x="413" y="23"/>
                  </a:lnTo>
                  <a:lnTo>
                    <a:pt x="398" y="27"/>
                  </a:lnTo>
                  <a:lnTo>
                    <a:pt x="387" y="24"/>
                  </a:lnTo>
                  <a:lnTo>
                    <a:pt x="380" y="19"/>
                  </a:lnTo>
                  <a:lnTo>
                    <a:pt x="369"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1" name="Freeform 180">
              <a:extLst>
                <a:ext uri="{FF2B5EF4-FFF2-40B4-BE49-F238E27FC236}">
                  <a16:creationId xmlns:a16="http://schemas.microsoft.com/office/drawing/2014/main" id="{309D7FA5-EC1F-4126-9F4C-CB81493D63E5}"/>
                </a:ext>
              </a:extLst>
            </p:cNvPr>
            <p:cNvSpPr>
              <a:spLocks/>
            </p:cNvSpPr>
            <p:nvPr/>
          </p:nvSpPr>
          <p:spPr bwMode="auto">
            <a:xfrm>
              <a:off x="9425989" y="5217287"/>
              <a:ext cx="118068" cy="95832"/>
            </a:xfrm>
            <a:custGeom>
              <a:avLst/>
              <a:gdLst/>
              <a:ahLst/>
              <a:cxnLst>
                <a:cxn ang="0">
                  <a:pos x="25" y="38"/>
                </a:cxn>
                <a:cxn ang="0">
                  <a:pos x="7" y="50"/>
                </a:cxn>
                <a:cxn ang="0">
                  <a:pos x="0" y="46"/>
                </a:cxn>
                <a:cxn ang="0">
                  <a:pos x="1" y="44"/>
                </a:cxn>
                <a:cxn ang="0">
                  <a:pos x="1" y="29"/>
                </a:cxn>
                <a:cxn ang="0">
                  <a:pos x="4" y="26"/>
                </a:cxn>
                <a:cxn ang="0">
                  <a:pos x="5" y="28"/>
                </a:cxn>
                <a:cxn ang="0">
                  <a:pos x="7" y="16"/>
                </a:cxn>
                <a:cxn ang="0">
                  <a:pos x="9" y="2"/>
                </a:cxn>
                <a:cxn ang="0">
                  <a:pos x="13" y="0"/>
                </a:cxn>
                <a:cxn ang="0">
                  <a:pos x="27" y="5"/>
                </a:cxn>
                <a:cxn ang="0">
                  <a:pos x="40" y="11"/>
                </a:cxn>
                <a:cxn ang="0">
                  <a:pos x="43" y="4"/>
                </a:cxn>
                <a:cxn ang="0">
                  <a:pos x="63" y="2"/>
                </a:cxn>
                <a:cxn ang="0">
                  <a:pos x="48" y="25"/>
                </a:cxn>
                <a:cxn ang="0">
                  <a:pos x="46" y="24"/>
                </a:cxn>
                <a:cxn ang="0">
                  <a:pos x="28" y="43"/>
                </a:cxn>
                <a:cxn ang="0">
                  <a:pos x="30" y="40"/>
                </a:cxn>
                <a:cxn ang="0">
                  <a:pos x="27" y="40"/>
                </a:cxn>
                <a:cxn ang="0">
                  <a:pos x="25" y="38"/>
                </a:cxn>
              </a:cxnLst>
              <a:rect l="0" t="0" r="r" b="b"/>
              <a:pathLst>
                <a:path w="63" h="50">
                  <a:moveTo>
                    <a:pt x="25" y="38"/>
                  </a:moveTo>
                  <a:lnTo>
                    <a:pt x="7" y="50"/>
                  </a:lnTo>
                  <a:lnTo>
                    <a:pt x="0" y="46"/>
                  </a:lnTo>
                  <a:lnTo>
                    <a:pt x="1" y="44"/>
                  </a:lnTo>
                  <a:lnTo>
                    <a:pt x="1" y="29"/>
                  </a:lnTo>
                  <a:lnTo>
                    <a:pt x="4" y="26"/>
                  </a:lnTo>
                  <a:lnTo>
                    <a:pt x="5" y="28"/>
                  </a:lnTo>
                  <a:lnTo>
                    <a:pt x="7" y="16"/>
                  </a:lnTo>
                  <a:lnTo>
                    <a:pt x="9" y="2"/>
                  </a:lnTo>
                  <a:lnTo>
                    <a:pt x="13" y="0"/>
                  </a:lnTo>
                  <a:lnTo>
                    <a:pt x="27" y="5"/>
                  </a:lnTo>
                  <a:lnTo>
                    <a:pt x="40" y="11"/>
                  </a:lnTo>
                  <a:lnTo>
                    <a:pt x="43" y="4"/>
                  </a:lnTo>
                  <a:lnTo>
                    <a:pt x="63" y="2"/>
                  </a:lnTo>
                  <a:lnTo>
                    <a:pt x="48" y="25"/>
                  </a:lnTo>
                  <a:lnTo>
                    <a:pt x="46" y="24"/>
                  </a:lnTo>
                  <a:lnTo>
                    <a:pt x="28" y="43"/>
                  </a:lnTo>
                  <a:lnTo>
                    <a:pt x="30" y="40"/>
                  </a:lnTo>
                  <a:lnTo>
                    <a:pt x="27" y="40"/>
                  </a:lnTo>
                  <a:lnTo>
                    <a:pt x="25" y="3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2" name="Freeform 181">
              <a:extLst>
                <a:ext uri="{FF2B5EF4-FFF2-40B4-BE49-F238E27FC236}">
                  <a16:creationId xmlns:a16="http://schemas.microsoft.com/office/drawing/2014/main" id="{2378CC1F-DC7E-4C59-B874-0F30BE7BD799}"/>
                </a:ext>
              </a:extLst>
            </p:cNvPr>
            <p:cNvSpPr>
              <a:spLocks/>
            </p:cNvSpPr>
            <p:nvPr/>
          </p:nvSpPr>
          <p:spPr bwMode="auto">
            <a:xfrm>
              <a:off x="10714473" y="4419831"/>
              <a:ext cx="37645" cy="25669"/>
            </a:xfrm>
            <a:custGeom>
              <a:avLst/>
              <a:gdLst/>
              <a:ahLst/>
              <a:cxnLst>
                <a:cxn ang="0">
                  <a:pos x="21" y="13"/>
                </a:cxn>
                <a:cxn ang="0">
                  <a:pos x="0" y="14"/>
                </a:cxn>
                <a:cxn ang="0">
                  <a:pos x="1" y="7"/>
                </a:cxn>
                <a:cxn ang="0">
                  <a:pos x="16" y="0"/>
                </a:cxn>
                <a:cxn ang="0">
                  <a:pos x="21" y="12"/>
                </a:cxn>
                <a:cxn ang="0">
                  <a:pos x="21" y="13"/>
                </a:cxn>
              </a:cxnLst>
              <a:rect l="0" t="0" r="r" b="b"/>
              <a:pathLst>
                <a:path w="21" h="14">
                  <a:moveTo>
                    <a:pt x="21" y="13"/>
                  </a:moveTo>
                  <a:lnTo>
                    <a:pt x="0" y="14"/>
                  </a:lnTo>
                  <a:lnTo>
                    <a:pt x="1" y="7"/>
                  </a:lnTo>
                  <a:lnTo>
                    <a:pt x="16" y="0"/>
                  </a:lnTo>
                  <a:lnTo>
                    <a:pt x="21" y="12"/>
                  </a:lnTo>
                  <a:lnTo>
                    <a:pt x="21"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3" name="Freeform 182">
              <a:extLst>
                <a:ext uri="{FF2B5EF4-FFF2-40B4-BE49-F238E27FC236}">
                  <a16:creationId xmlns:a16="http://schemas.microsoft.com/office/drawing/2014/main" id="{E16D482F-CAFF-4601-ACF5-6AECC7C347FF}"/>
                </a:ext>
              </a:extLst>
            </p:cNvPr>
            <p:cNvSpPr>
              <a:spLocks/>
            </p:cNvSpPr>
            <p:nvPr/>
          </p:nvSpPr>
          <p:spPr bwMode="auto">
            <a:xfrm>
              <a:off x="10760674" y="4382183"/>
              <a:ext cx="41067" cy="22247"/>
            </a:xfrm>
            <a:custGeom>
              <a:avLst/>
              <a:gdLst/>
              <a:ahLst/>
              <a:cxnLst>
                <a:cxn ang="0">
                  <a:pos x="16" y="8"/>
                </a:cxn>
                <a:cxn ang="0">
                  <a:pos x="22" y="0"/>
                </a:cxn>
                <a:cxn ang="0">
                  <a:pos x="0" y="7"/>
                </a:cxn>
                <a:cxn ang="0">
                  <a:pos x="0" y="12"/>
                </a:cxn>
                <a:cxn ang="0">
                  <a:pos x="16" y="8"/>
                </a:cxn>
              </a:cxnLst>
              <a:rect l="0" t="0" r="r" b="b"/>
              <a:pathLst>
                <a:path w="22" h="12">
                  <a:moveTo>
                    <a:pt x="16" y="8"/>
                  </a:moveTo>
                  <a:lnTo>
                    <a:pt x="22" y="0"/>
                  </a:lnTo>
                  <a:lnTo>
                    <a:pt x="0" y="7"/>
                  </a:lnTo>
                  <a:lnTo>
                    <a:pt x="0" y="12"/>
                  </a:lnTo>
                  <a:lnTo>
                    <a:pt x="16" y="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4" name="Freeform 183">
              <a:extLst>
                <a:ext uri="{FF2B5EF4-FFF2-40B4-BE49-F238E27FC236}">
                  <a16:creationId xmlns:a16="http://schemas.microsoft.com/office/drawing/2014/main" id="{80D78F70-EC8A-4282-BC41-53543070B2B3}"/>
                </a:ext>
              </a:extLst>
            </p:cNvPr>
            <p:cNvSpPr>
              <a:spLocks/>
            </p:cNvSpPr>
            <p:nvPr/>
          </p:nvSpPr>
          <p:spPr bwMode="auto">
            <a:xfrm>
              <a:off x="10303801" y="4513952"/>
              <a:ext cx="65023" cy="73585"/>
            </a:xfrm>
            <a:custGeom>
              <a:avLst/>
              <a:gdLst/>
              <a:ahLst/>
              <a:cxnLst>
                <a:cxn ang="0">
                  <a:pos x="35" y="38"/>
                </a:cxn>
                <a:cxn ang="0">
                  <a:pos x="27" y="36"/>
                </a:cxn>
                <a:cxn ang="0">
                  <a:pos x="13" y="24"/>
                </a:cxn>
                <a:cxn ang="0">
                  <a:pos x="1" y="11"/>
                </a:cxn>
                <a:cxn ang="0">
                  <a:pos x="0" y="0"/>
                </a:cxn>
                <a:cxn ang="0">
                  <a:pos x="9" y="10"/>
                </a:cxn>
                <a:cxn ang="0">
                  <a:pos x="18" y="18"/>
                </a:cxn>
                <a:cxn ang="0">
                  <a:pos x="27" y="28"/>
                </a:cxn>
                <a:cxn ang="0">
                  <a:pos x="35" y="38"/>
                </a:cxn>
              </a:cxnLst>
              <a:rect l="0" t="0" r="r" b="b"/>
              <a:pathLst>
                <a:path w="35" h="38">
                  <a:moveTo>
                    <a:pt x="35" y="38"/>
                  </a:moveTo>
                  <a:lnTo>
                    <a:pt x="27" y="36"/>
                  </a:lnTo>
                  <a:lnTo>
                    <a:pt x="13" y="24"/>
                  </a:lnTo>
                  <a:lnTo>
                    <a:pt x="1" y="11"/>
                  </a:lnTo>
                  <a:lnTo>
                    <a:pt x="0" y="0"/>
                  </a:lnTo>
                  <a:lnTo>
                    <a:pt x="9" y="10"/>
                  </a:lnTo>
                  <a:lnTo>
                    <a:pt x="18" y="18"/>
                  </a:lnTo>
                  <a:lnTo>
                    <a:pt x="27" y="28"/>
                  </a:lnTo>
                  <a:lnTo>
                    <a:pt x="35" y="3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5" name="Freeform 184">
              <a:extLst>
                <a:ext uri="{FF2B5EF4-FFF2-40B4-BE49-F238E27FC236}">
                  <a16:creationId xmlns:a16="http://schemas.microsoft.com/office/drawing/2014/main" id="{EDFFB6AA-52F7-4622-BFFE-592ABB2C0A7B}"/>
                </a:ext>
              </a:extLst>
            </p:cNvPr>
            <p:cNvSpPr>
              <a:spLocks/>
            </p:cNvSpPr>
            <p:nvPr/>
          </p:nvSpPr>
          <p:spPr bwMode="auto">
            <a:xfrm>
              <a:off x="9915374" y="5210442"/>
              <a:ext cx="338805" cy="205353"/>
            </a:xfrm>
            <a:custGeom>
              <a:avLst/>
              <a:gdLst/>
              <a:ahLst/>
              <a:cxnLst>
                <a:cxn ang="0">
                  <a:pos x="117" y="59"/>
                </a:cxn>
                <a:cxn ang="0">
                  <a:pos x="111" y="48"/>
                </a:cxn>
                <a:cxn ang="0">
                  <a:pos x="109" y="48"/>
                </a:cxn>
                <a:cxn ang="0">
                  <a:pos x="105" y="51"/>
                </a:cxn>
                <a:cxn ang="0">
                  <a:pos x="111" y="60"/>
                </a:cxn>
                <a:cxn ang="0">
                  <a:pos x="99" y="64"/>
                </a:cxn>
                <a:cxn ang="0">
                  <a:pos x="90" y="65"/>
                </a:cxn>
                <a:cxn ang="0">
                  <a:pos x="88" y="72"/>
                </a:cxn>
                <a:cxn ang="0">
                  <a:pos x="82" y="78"/>
                </a:cxn>
                <a:cxn ang="0">
                  <a:pos x="82" y="79"/>
                </a:cxn>
                <a:cxn ang="0">
                  <a:pos x="61" y="95"/>
                </a:cxn>
                <a:cxn ang="0">
                  <a:pos x="27" y="109"/>
                </a:cxn>
                <a:cxn ang="0">
                  <a:pos x="19" y="106"/>
                </a:cxn>
                <a:cxn ang="0">
                  <a:pos x="6" y="102"/>
                </a:cxn>
                <a:cxn ang="0">
                  <a:pos x="1" y="100"/>
                </a:cxn>
                <a:cxn ang="0">
                  <a:pos x="3" y="99"/>
                </a:cxn>
                <a:cxn ang="0">
                  <a:pos x="0" y="97"/>
                </a:cxn>
                <a:cxn ang="0">
                  <a:pos x="9" y="91"/>
                </a:cxn>
                <a:cxn ang="0">
                  <a:pos x="12" y="89"/>
                </a:cxn>
                <a:cxn ang="0">
                  <a:pos x="17" y="85"/>
                </a:cxn>
                <a:cxn ang="0">
                  <a:pos x="18" y="87"/>
                </a:cxn>
                <a:cxn ang="0">
                  <a:pos x="24" y="79"/>
                </a:cxn>
                <a:cxn ang="0">
                  <a:pos x="30" y="77"/>
                </a:cxn>
                <a:cxn ang="0">
                  <a:pos x="40" y="73"/>
                </a:cxn>
                <a:cxn ang="0">
                  <a:pos x="59" y="63"/>
                </a:cxn>
                <a:cxn ang="0">
                  <a:pos x="67" y="60"/>
                </a:cxn>
                <a:cxn ang="0">
                  <a:pos x="95" y="47"/>
                </a:cxn>
                <a:cxn ang="0">
                  <a:pos x="108" y="41"/>
                </a:cxn>
                <a:cxn ang="0">
                  <a:pos x="125" y="31"/>
                </a:cxn>
                <a:cxn ang="0">
                  <a:pos x="120" y="31"/>
                </a:cxn>
                <a:cxn ang="0">
                  <a:pos x="132" y="23"/>
                </a:cxn>
                <a:cxn ang="0">
                  <a:pos x="162" y="3"/>
                </a:cxn>
                <a:cxn ang="0">
                  <a:pos x="169" y="0"/>
                </a:cxn>
                <a:cxn ang="0">
                  <a:pos x="162" y="4"/>
                </a:cxn>
                <a:cxn ang="0">
                  <a:pos x="161" y="12"/>
                </a:cxn>
                <a:cxn ang="0">
                  <a:pos x="175" y="7"/>
                </a:cxn>
                <a:cxn ang="0">
                  <a:pos x="173" y="11"/>
                </a:cxn>
                <a:cxn ang="0">
                  <a:pos x="175" y="12"/>
                </a:cxn>
                <a:cxn ang="0">
                  <a:pos x="174" y="13"/>
                </a:cxn>
                <a:cxn ang="0">
                  <a:pos x="179" y="12"/>
                </a:cxn>
                <a:cxn ang="0">
                  <a:pos x="171" y="21"/>
                </a:cxn>
                <a:cxn ang="0">
                  <a:pos x="151" y="34"/>
                </a:cxn>
                <a:cxn ang="0">
                  <a:pos x="132" y="46"/>
                </a:cxn>
                <a:cxn ang="0">
                  <a:pos x="124" y="49"/>
                </a:cxn>
                <a:cxn ang="0">
                  <a:pos x="123" y="52"/>
                </a:cxn>
                <a:cxn ang="0">
                  <a:pos x="117" y="52"/>
                </a:cxn>
                <a:cxn ang="0">
                  <a:pos x="123" y="55"/>
                </a:cxn>
                <a:cxn ang="0">
                  <a:pos x="124" y="60"/>
                </a:cxn>
                <a:cxn ang="0">
                  <a:pos x="117" y="59"/>
                </a:cxn>
              </a:cxnLst>
              <a:rect l="0" t="0" r="r" b="b"/>
              <a:pathLst>
                <a:path w="179" h="109">
                  <a:moveTo>
                    <a:pt x="117" y="59"/>
                  </a:moveTo>
                  <a:lnTo>
                    <a:pt x="111" y="48"/>
                  </a:lnTo>
                  <a:lnTo>
                    <a:pt x="109" y="48"/>
                  </a:lnTo>
                  <a:lnTo>
                    <a:pt x="105" y="51"/>
                  </a:lnTo>
                  <a:lnTo>
                    <a:pt x="111" y="60"/>
                  </a:lnTo>
                  <a:lnTo>
                    <a:pt x="99" y="64"/>
                  </a:lnTo>
                  <a:lnTo>
                    <a:pt x="90" y="65"/>
                  </a:lnTo>
                  <a:lnTo>
                    <a:pt x="88" y="72"/>
                  </a:lnTo>
                  <a:lnTo>
                    <a:pt x="82" y="78"/>
                  </a:lnTo>
                  <a:lnTo>
                    <a:pt x="82" y="79"/>
                  </a:lnTo>
                  <a:lnTo>
                    <a:pt x="61" y="95"/>
                  </a:lnTo>
                  <a:lnTo>
                    <a:pt x="27" y="109"/>
                  </a:lnTo>
                  <a:lnTo>
                    <a:pt x="19" y="106"/>
                  </a:lnTo>
                  <a:lnTo>
                    <a:pt x="6" y="102"/>
                  </a:lnTo>
                  <a:lnTo>
                    <a:pt x="1" y="100"/>
                  </a:lnTo>
                  <a:lnTo>
                    <a:pt x="3" y="99"/>
                  </a:lnTo>
                  <a:lnTo>
                    <a:pt x="0" y="97"/>
                  </a:lnTo>
                  <a:lnTo>
                    <a:pt x="9" y="91"/>
                  </a:lnTo>
                  <a:lnTo>
                    <a:pt x="12" y="89"/>
                  </a:lnTo>
                  <a:lnTo>
                    <a:pt x="17" y="85"/>
                  </a:lnTo>
                  <a:lnTo>
                    <a:pt x="18" y="87"/>
                  </a:lnTo>
                  <a:lnTo>
                    <a:pt x="24" y="79"/>
                  </a:lnTo>
                  <a:lnTo>
                    <a:pt x="30" y="77"/>
                  </a:lnTo>
                  <a:lnTo>
                    <a:pt x="40" y="73"/>
                  </a:lnTo>
                  <a:lnTo>
                    <a:pt x="59" y="63"/>
                  </a:lnTo>
                  <a:lnTo>
                    <a:pt x="67" y="60"/>
                  </a:lnTo>
                  <a:lnTo>
                    <a:pt x="95" y="47"/>
                  </a:lnTo>
                  <a:lnTo>
                    <a:pt x="108" y="41"/>
                  </a:lnTo>
                  <a:lnTo>
                    <a:pt x="125" y="31"/>
                  </a:lnTo>
                  <a:lnTo>
                    <a:pt x="120" y="31"/>
                  </a:lnTo>
                  <a:lnTo>
                    <a:pt x="132" y="23"/>
                  </a:lnTo>
                  <a:lnTo>
                    <a:pt x="162" y="3"/>
                  </a:lnTo>
                  <a:lnTo>
                    <a:pt x="169" y="0"/>
                  </a:lnTo>
                  <a:lnTo>
                    <a:pt x="162" y="4"/>
                  </a:lnTo>
                  <a:lnTo>
                    <a:pt x="161" y="12"/>
                  </a:lnTo>
                  <a:lnTo>
                    <a:pt x="175" y="7"/>
                  </a:lnTo>
                  <a:lnTo>
                    <a:pt x="173" y="11"/>
                  </a:lnTo>
                  <a:lnTo>
                    <a:pt x="175" y="12"/>
                  </a:lnTo>
                  <a:lnTo>
                    <a:pt x="174" y="13"/>
                  </a:lnTo>
                  <a:lnTo>
                    <a:pt x="179" y="12"/>
                  </a:lnTo>
                  <a:lnTo>
                    <a:pt x="171" y="21"/>
                  </a:lnTo>
                  <a:lnTo>
                    <a:pt x="151" y="34"/>
                  </a:lnTo>
                  <a:lnTo>
                    <a:pt x="132" y="46"/>
                  </a:lnTo>
                  <a:lnTo>
                    <a:pt x="124" y="49"/>
                  </a:lnTo>
                  <a:lnTo>
                    <a:pt x="123" y="52"/>
                  </a:lnTo>
                  <a:lnTo>
                    <a:pt x="117" y="52"/>
                  </a:lnTo>
                  <a:lnTo>
                    <a:pt x="123" y="55"/>
                  </a:lnTo>
                  <a:lnTo>
                    <a:pt x="124" y="60"/>
                  </a:lnTo>
                  <a:lnTo>
                    <a:pt x="117" y="5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6" name="Freeform 185">
              <a:extLst>
                <a:ext uri="{FF2B5EF4-FFF2-40B4-BE49-F238E27FC236}">
                  <a16:creationId xmlns:a16="http://schemas.microsoft.com/office/drawing/2014/main" id="{69E9C3AA-3439-414A-9B52-AB024F335A90}"/>
                </a:ext>
              </a:extLst>
            </p:cNvPr>
            <p:cNvSpPr>
              <a:spLocks/>
            </p:cNvSpPr>
            <p:nvPr/>
          </p:nvSpPr>
          <p:spPr bwMode="auto">
            <a:xfrm>
              <a:off x="10261023" y="5005089"/>
              <a:ext cx="195069" cy="239579"/>
            </a:xfrm>
            <a:custGeom>
              <a:avLst/>
              <a:gdLst/>
              <a:ahLst/>
              <a:cxnLst>
                <a:cxn ang="0">
                  <a:pos x="12" y="85"/>
                </a:cxn>
                <a:cxn ang="0">
                  <a:pos x="18" y="94"/>
                </a:cxn>
                <a:cxn ang="0">
                  <a:pos x="23" y="102"/>
                </a:cxn>
                <a:cxn ang="0">
                  <a:pos x="0" y="123"/>
                </a:cxn>
                <a:cxn ang="0">
                  <a:pos x="3" y="127"/>
                </a:cxn>
                <a:cxn ang="0">
                  <a:pos x="25" y="114"/>
                </a:cxn>
                <a:cxn ang="0">
                  <a:pos x="48" y="101"/>
                </a:cxn>
                <a:cxn ang="0">
                  <a:pos x="59" y="88"/>
                </a:cxn>
                <a:cxn ang="0">
                  <a:pos x="74" y="83"/>
                </a:cxn>
                <a:cxn ang="0">
                  <a:pos x="81" y="76"/>
                </a:cxn>
                <a:cxn ang="0">
                  <a:pos x="102" y="58"/>
                </a:cxn>
                <a:cxn ang="0">
                  <a:pos x="99" y="57"/>
                </a:cxn>
                <a:cxn ang="0">
                  <a:pos x="83" y="63"/>
                </a:cxn>
                <a:cxn ang="0">
                  <a:pos x="66" y="54"/>
                </a:cxn>
                <a:cxn ang="0">
                  <a:pos x="71" y="36"/>
                </a:cxn>
                <a:cxn ang="0">
                  <a:pos x="65" y="47"/>
                </a:cxn>
                <a:cxn ang="0">
                  <a:pos x="56" y="42"/>
                </a:cxn>
                <a:cxn ang="0">
                  <a:pos x="59" y="36"/>
                </a:cxn>
                <a:cxn ang="0">
                  <a:pos x="63" y="23"/>
                </a:cxn>
                <a:cxn ang="0">
                  <a:pos x="67" y="16"/>
                </a:cxn>
                <a:cxn ang="0">
                  <a:pos x="65" y="16"/>
                </a:cxn>
                <a:cxn ang="0">
                  <a:pos x="57" y="7"/>
                </a:cxn>
                <a:cxn ang="0">
                  <a:pos x="54" y="1"/>
                </a:cxn>
                <a:cxn ang="0">
                  <a:pos x="54" y="0"/>
                </a:cxn>
                <a:cxn ang="0">
                  <a:pos x="51" y="12"/>
                </a:cxn>
                <a:cxn ang="0">
                  <a:pos x="54" y="17"/>
                </a:cxn>
                <a:cxn ang="0">
                  <a:pos x="50" y="34"/>
                </a:cxn>
                <a:cxn ang="0">
                  <a:pos x="53" y="27"/>
                </a:cxn>
                <a:cxn ang="0">
                  <a:pos x="55" y="30"/>
                </a:cxn>
                <a:cxn ang="0">
                  <a:pos x="55" y="33"/>
                </a:cxn>
                <a:cxn ang="0">
                  <a:pos x="53" y="37"/>
                </a:cxn>
                <a:cxn ang="0">
                  <a:pos x="49" y="46"/>
                </a:cxn>
                <a:cxn ang="0">
                  <a:pos x="55" y="45"/>
                </a:cxn>
                <a:cxn ang="0">
                  <a:pos x="51" y="48"/>
                </a:cxn>
                <a:cxn ang="0">
                  <a:pos x="47" y="57"/>
                </a:cxn>
                <a:cxn ang="0">
                  <a:pos x="32" y="76"/>
                </a:cxn>
                <a:cxn ang="0">
                  <a:pos x="12" y="85"/>
                </a:cxn>
              </a:cxnLst>
              <a:rect l="0" t="0" r="r" b="b"/>
              <a:pathLst>
                <a:path w="102" h="127">
                  <a:moveTo>
                    <a:pt x="12" y="85"/>
                  </a:moveTo>
                  <a:lnTo>
                    <a:pt x="18" y="94"/>
                  </a:lnTo>
                  <a:lnTo>
                    <a:pt x="23" y="102"/>
                  </a:lnTo>
                  <a:lnTo>
                    <a:pt x="0" y="123"/>
                  </a:lnTo>
                  <a:lnTo>
                    <a:pt x="3" y="127"/>
                  </a:lnTo>
                  <a:lnTo>
                    <a:pt x="25" y="114"/>
                  </a:lnTo>
                  <a:lnTo>
                    <a:pt x="48" y="101"/>
                  </a:lnTo>
                  <a:lnTo>
                    <a:pt x="59" y="88"/>
                  </a:lnTo>
                  <a:lnTo>
                    <a:pt x="74" y="83"/>
                  </a:lnTo>
                  <a:lnTo>
                    <a:pt x="81" y="76"/>
                  </a:lnTo>
                  <a:lnTo>
                    <a:pt x="102" y="58"/>
                  </a:lnTo>
                  <a:lnTo>
                    <a:pt x="99" y="57"/>
                  </a:lnTo>
                  <a:lnTo>
                    <a:pt x="83" y="63"/>
                  </a:lnTo>
                  <a:lnTo>
                    <a:pt x="66" y="54"/>
                  </a:lnTo>
                  <a:lnTo>
                    <a:pt x="71" y="36"/>
                  </a:lnTo>
                  <a:lnTo>
                    <a:pt x="65" y="47"/>
                  </a:lnTo>
                  <a:lnTo>
                    <a:pt x="56" y="42"/>
                  </a:lnTo>
                  <a:lnTo>
                    <a:pt x="59" y="36"/>
                  </a:lnTo>
                  <a:lnTo>
                    <a:pt x="63" y="23"/>
                  </a:lnTo>
                  <a:lnTo>
                    <a:pt x="67" y="16"/>
                  </a:lnTo>
                  <a:lnTo>
                    <a:pt x="65" y="16"/>
                  </a:lnTo>
                  <a:lnTo>
                    <a:pt x="57" y="7"/>
                  </a:lnTo>
                  <a:lnTo>
                    <a:pt x="54" y="1"/>
                  </a:lnTo>
                  <a:lnTo>
                    <a:pt x="54" y="0"/>
                  </a:lnTo>
                  <a:lnTo>
                    <a:pt x="51" y="12"/>
                  </a:lnTo>
                  <a:lnTo>
                    <a:pt x="54" y="17"/>
                  </a:lnTo>
                  <a:lnTo>
                    <a:pt x="50" y="34"/>
                  </a:lnTo>
                  <a:lnTo>
                    <a:pt x="53" y="27"/>
                  </a:lnTo>
                  <a:lnTo>
                    <a:pt x="55" y="30"/>
                  </a:lnTo>
                  <a:lnTo>
                    <a:pt x="55" y="33"/>
                  </a:lnTo>
                  <a:lnTo>
                    <a:pt x="53" y="37"/>
                  </a:lnTo>
                  <a:lnTo>
                    <a:pt x="49" y="46"/>
                  </a:lnTo>
                  <a:lnTo>
                    <a:pt x="55" y="45"/>
                  </a:lnTo>
                  <a:lnTo>
                    <a:pt x="51" y="48"/>
                  </a:lnTo>
                  <a:lnTo>
                    <a:pt x="47" y="57"/>
                  </a:lnTo>
                  <a:lnTo>
                    <a:pt x="32" y="76"/>
                  </a:lnTo>
                  <a:lnTo>
                    <a:pt x="12" y="85"/>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7" name="Freeform 186">
              <a:extLst>
                <a:ext uri="{FF2B5EF4-FFF2-40B4-BE49-F238E27FC236}">
                  <a16:creationId xmlns:a16="http://schemas.microsoft.com/office/drawing/2014/main" id="{5080EE16-A21E-4A00-9C96-E697CAA040E5}"/>
                </a:ext>
              </a:extLst>
            </p:cNvPr>
            <p:cNvSpPr>
              <a:spLocks/>
            </p:cNvSpPr>
            <p:nvPr/>
          </p:nvSpPr>
          <p:spPr bwMode="auto">
            <a:xfrm>
              <a:off x="9911951" y="5419218"/>
              <a:ext cx="18822" cy="11979"/>
            </a:xfrm>
            <a:custGeom>
              <a:avLst/>
              <a:gdLst/>
              <a:ahLst/>
              <a:cxnLst>
                <a:cxn ang="0">
                  <a:pos x="11" y="3"/>
                </a:cxn>
                <a:cxn ang="0">
                  <a:pos x="11" y="1"/>
                </a:cxn>
                <a:cxn ang="0">
                  <a:pos x="6" y="0"/>
                </a:cxn>
                <a:cxn ang="0">
                  <a:pos x="0" y="6"/>
                </a:cxn>
                <a:cxn ang="0">
                  <a:pos x="11" y="3"/>
                </a:cxn>
              </a:cxnLst>
              <a:rect l="0" t="0" r="r" b="b"/>
              <a:pathLst>
                <a:path w="11" h="6">
                  <a:moveTo>
                    <a:pt x="11" y="3"/>
                  </a:moveTo>
                  <a:lnTo>
                    <a:pt x="11" y="1"/>
                  </a:lnTo>
                  <a:lnTo>
                    <a:pt x="6" y="0"/>
                  </a:lnTo>
                  <a:lnTo>
                    <a:pt x="0" y="6"/>
                  </a:lnTo>
                  <a:lnTo>
                    <a:pt x="11" y="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8" name="Freeform 187">
              <a:extLst>
                <a:ext uri="{FF2B5EF4-FFF2-40B4-BE49-F238E27FC236}">
                  <a16:creationId xmlns:a16="http://schemas.microsoft.com/office/drawing/2014/main" id="{C55F5C7A-A0A4-4FD4-BF4C-D6FA3E1BC19C}"/>
                </a:ext>
              </a:extLst>
            </p:cNvPr>
            <p:cNvSpPr>
              <a:spLocks/>
            </p:cNvSpPr>
            <p:nvPr/>
          </p:nvSpPr>
          <p:spPr bwMode="auto">
            <a:xfrm>
              <a:off x="10235356" y="4142604"/>
              <a:ext cx="34223" cy="22247"/>
            </a:xfrm>
            <a:custGeom>
              <a:avLst/>
              <a:gdLst/>
              <a:ahLst/>
              <a:cxnLst>
                <a:cxn ang="0">
                  <a:pos x="17" y="11"/>
                </a:cxn>
                <a:cxn ang="0">
                  <a:pos x="18" y="9"/>
                </a:cxn>
                <a:cxn ang="0">
                  <a:pos x="3" y="0"/>
                </a:cxn>
                <a:cxn ang="0">
                  <a:pos x="0" y="5"/>
                </a:cxn>
                <a:cxn ang="0">
                  <a:pos x="17" y="11"/>
                </a:cxn>
              </a:cxnLst>
              <a:rect l="0" t="0" r="r" b="b"/>
              <a:pathLst>
                <a:path w="18" h="11">
                  <a:moveTo>
                    <a:pt x="17" y="11"/>
                  </a:moveTo>
                  <a:lnTo>
                    <a:pt x="18" y="9"/>
                  </a:lnTo>
                  <a:lnTo>
                    <a:pt x="3" y="0"/>
                  </a:lnTo>
                  <a:lnTo>
                    <a:pt x="0" y="5"/>
                  </a:lnTo>
                  <a:lnTo>
                    <a:pt x="17" y="1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89" name="Freeform 188">
              <a:extLst>
                <a:ext uri="{FF2B5EF4-FFF2-40B4-BE49-F238E27FC236}">
                  <a16:creationId xmlns:a16="http://schemas.microsoft.com/office/drawing/2014/main" id="{00AAFAD2-75BB-4141-9C7E-E0F32160352C}"/>
                </a:ext>
              </a:extLst>
            </p:cNvPr>
            <p:cNvSpPr>
              <a:spLocks/>
            </p:cNvSpPr>
            <p:nvPr/>
          </p:nvSpPr>
          <p:spPr bwMode="auto">
            <a:xfrm>
              <a:off x="10151510" y="4055329"/>
              <a:ext cx="27378" cy="25669"/>
            </a:xfrm>
            <a:custGeom>
              <a:avLst/>
              <a:gdLst/>
              <a:ahLst/>
              <a:cxnLst>
                <a:cxn ang="0">
                  <a:pos x="0" y="0"/>
                </a:cxn>
                <a:cxn ang="0">
                  <a:pos x="14" y="13"/>
                </a:cxn>
                <a:cxn ang="0">
                  <a:pos x="5" y="10"/>
                </a:cxn>
                <a:cxn ang="0">
                  <a:pos x="0" y="0"/>
                </a:cxn>
              </a:cxnLst>
              <a:rect l="0" t="0" r="r" b="b"/>
              <a:pathLst>
                <a:path w="14" h="13">
                  <a:moveTo>
                    <a:pt x="0" y="0"/>
                  </a:moveTo>
                  <a:lnTo>
                    <a:pt x="14" y="13"/>
                  </a:lnTo>
                  <a:lnTo>
                    <a:pt x="5" y="1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0" name="Freeform 189">
              <a:extLst>
                <a:ext uri="{FF2B5EF4-FFF2-40B4-BE49-F238E27FC236}">
                  <a16:creationId xmlns:a16="http://schemas.microsoft.com/office/drawing/2014/main" id="{3FCBCE81-0765-41A1-87D8-E88201C0913E}"/>
                </a:ext>
              </a:extLst>
            </p:cNvPr>
            <p:cNvSpPr>
              <a:spLocks/>
            </p:cNvSpPr>
            <p:nvPr/>
          </p:nvSpPr>
          <p:spPr bwMode="auto">
            <a:xfrm>
              <a:off x="10284979" y="4176830"/>
              <a:ext cx="22245" cy="18824"/>
            </a:xfrm>
            <a:custGeom>
              <a:avLst/>
              <a:gdLst/>
              <a:ahLst/>
              <a:cxnLst>
                <a:cxn ang="0">
                  <a:pos x="13" y="10"/>
                </a:cxn>
                <a:cxn ang="0">
                  <a:pos x="1" y="3"/>
                </a:cxn>
                <a:cxn ang="0">
                  <a:pos x="0" y="0"/>
                </a:cxn>
                <a:cxn ang="0">
                  <a:pos x="13" y="8"/>
                </a:cxn>
                <a:cxn ang="0">
                  <a:pos x="13" y="10"/>
                </a:cxn>
              </a:cxnLst>
              <a:rect l="0" t="0" r="r" b="b"/>
              <a:pathLst>
                <a:path w="13" h="10">
                  <a:moveTo>
                    <a:pt x="13" y="10"/>
                  </a:moveTo>
                  <a:lnTo>
                    <a:pt x="1" y="3"/>
                  </a:lnTo>
                  <a:lnTo>
                    <a:pt x="0" y="0"/>
                  </a:lnTo>
                  <a:lnTo>
                    <a:pt x="13" y="8"/>
                  </a:lnTo>
                  <a:lnTo>
                    <a:pt x="13"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1" name="Freeform 190">
              <a:extLst>
                <a:ext uri="{FF2B5EF4-FFF2-40B4-BE49-F238E27FC236}">
                  <a16:creationId xmlns:a16="http://schemas.microsoft.com/office/drawing/2014/main" id="{072F7B5D-A107-476D-92AD-95D6DA73BF48}"/>
                </a:ext>
              </a:extLst>
            </p:cNvPr>
            <p:cNvSpPr>
              <a:spLocks/>
            </p:cNvSpPr>
            <p:nvPr/>
          </p:nvSpPr>
          <p:spPr bwMode="auto">
            <a:xfrm>
              <a:off x="10170333" y="4099822"/>
              <a:ext cx="15400" cy="18824"/>
            </a:xfrm>
            <a:custGeom>
              <a:avLst/>
              <a:gdLst/>
              <a:ahLst/>
              <a:cxnLst>
                <a:cxn ang="0">
                  <a:pos x="8" y="10"/>
                </a:cxn>
                <a:cxn ang="0">
                  <a:pos x="4" y="0"/>
                </a:cxn>
                <a:cxn ang="0">
                  <a:pos x="0" y="4"/>
                </a:cxn>
                <a:cxn ang="0">
                  <a:pos x="3" y="4"/>
                </a:cxn>
                <a:cxn ang="0">
                  <a:pos x="8" y="10"/>
                </a:cxn>
              </a:cxnLst>
              <a:rect l="0" t="0" r="r" b="b"/>
              <a:pathLst>
                <a:path w="8" h="10">
                  <a:moveTo>
                    <a:pt x="8" y="10"/>
                  </a:moveTo>
                  <a:lnTo>
                    <a:pt x="4" y="0"/>
                  </a:lnTo>
                  <a:lnTo>
                    <a:pt x="0" y="4"/>
                  </a:lnTo>
                  <a:lnTo>
                    <a:pt x="3" y="4"/>
                  </a:lnTo>
                  <a:lnTo>
                    <a:pt x="8" y="1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2" name="Freeform 191">
              <a:extLst>
                <a:ext uri="{FF2B5EF4-FFF2-40B4-BE49-F238E27FC236}">
                  <a16:creationId xmlns:a16="http://schemas.microsoft.com/office/drawing/2014/main" id="{344EE3C7-F102-4DBA-B2B3-AA62C03B90C4}"/>
                </a:ext>
              </a:extLst>
            </p:cNvPr>
            <p:cNvSpPr>
              <a:spLocks/>
            </p:cNvSpPr>
            <p:nvPr/>
          </p:nvSpPr>
          <p:spPr bwMode="auto">
            <a:xfrm>
              <a:off x="10269578" y="4108379"/>
              <a:ext cx="15400" cy="44493"/>
            </a:xfrm>
            <a:custGeom>
              <a:avLst/>
              <a:gdLst/>
              <a:ahLst/>
              <a:cxnLst>
                <a:cxn ang="0">
                  <a:pos x="2" y="0"/>
                </a:cxn>
                <a:cxn ang="0">
                  <a:pos x="9" y="23"/>
                </a:cxn>
                <a:cxn ang="0">
                  <a:pos x="0" y="5"/>
                </a:cxn>
                <a:cxn ang="0">
                  <a:pos x="2" y="0"/>
                </a:cxn>
              </a:cxnLst>
              <a:rect l="0" t="0" r="r" b="b"/>
              <a:pathLst>
                <a:path w="9" h="23">
                  <a:moveTo>
                    <a:pt x="2" y="0"/>
                  </a:moveTo>
                  <a:lnTo>
                    <a:pt x="9" y="23"/>
                  </a:lnTo>
                  <a:lnTo>
                    <a:pt x="0" y="5"/>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3" name="Freeform 192">
              <a:extLst>
                <a:ext uri="{FF2B5EF4-FFF2-40B4-BE49-F238E27FC236}">
                  <a16:creationId xmlns:a16="http://schemas.microsoft.com/office/drawing/2014/main" id="{E1559207-66A0-49C7-8661-8FA4654C2D42}"/>
                </a:ext>
              </a:extLst>
            </p:cNvPr>
            <p:cNvSpPr>
              <a:spLocks/>
            </p:cNvSpPr>
            <p:nvPr/>
          </p:nvSpPr>
          <p:spPr bwMode="auto">
            <a:xfrm>
              <a:off x="10213111" y="4084421"/>
              <a:ext cx="34223" cy="34226"/>
            </a:xfrm>
            <a:custGeom>
              <a:avLst/>
              <a:gdLst/>
              <a:ahLst/>
              <a:cxnLst>
                <a:cxn ang="0">
                  <a:pos x="17" y="18"/>
                </a:cxn>
                <a:cxn ang="0">
                  <a:pos x="19" y="18"/>
                </a:cxn>
                <a:cxn ang="0">
                  <a:pos x="10" y="9"/>
                </a:cxn>
                <a:cxn ang="0">
                  <a:pos x="0" y="0"/>
                </a:cxn>
                <a:cxn ang="0">
                  <a:pos x="9" y="9"/>
                </a:cxn>
                <a:cxn ang="0">
                  <a:pos x="17" y="18"/>
                </a:cxn>
              </a:cxnLst>
              <a:rect l="0" t="0" r="r" b="b"/>
              <a:pathLst>
                <a:path w="19" h="18">
                  <a:moveTo>
                    <a:pt x="17" y="18"/>
                  </a:moveTo>
                  <a:lnTo>
                    <a:pt x="19" y="18"/>
                  </a:lnTo>
                  <a:lnTo>
                    <a:pt x="10" y="9"/>
                  </a:lnTo>
                  <a:lnTo>
                    <a:pt x="0" y="0"/>
                  </a:lnTo>
                  <a:lnTo>
                    <a:pt x="9" y="9"/>
                  </a:lnTo>
                  <a:lnTo>
                    <a:pt x="17" y="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4" name="Freeform 193">
              <a:extLst>
                <a:ext uri="{FF2B5EF4-FFF2-40B4-BE49-F238E27FC236}">
                  <a16:creationId xmlns:a16="http://schemas.microsoft.com/office/drawing/2014/main" id="{6B436DF7-6B2F-414F-ACAB-0AC69AC6AD4D}"/>
                </a:ext>
              </a:extLst>
            </p:cNvPr>
            <p:cNvSpPr>
              <a:spLocks/>
            </p:cNvSpPr>
            <p:nvPr/>
          </p:nvSpPr>
          <p:spPr bwMode="auto">
            <a:xfrm>
              <a:off x="10740140" y="4252126"/>
              <a:ext cx="5133" cy="3423"/>
            </a:xfrm>
            <a:custGeom>
              <a:avLst/>
              <a:gdLst/>
              <a:ahLst/>
              <a:cxnLst>
                <a:cxn ang="0">
                  <a:pos x="2" y="0"/>
                </a:cxn>
                <a:cxn ang="0">
                  <a:pos x="1" y="0"/>
                </a:cxn>
                <a:cxn ang="0">
                  <a:pos x="0" y="0"/>
                </a:cxn>
                <a:cxn ang="0">
                  <a:pos x="2" y="0"/>
                </a:cxn>
              </a:cxnLst>
              <a:rect l="0" t="0" r="r" b="b"/>
              <a:pathLst>
                <a:path w="2">
                  <a:moveTo>
                    <a:pt x="2" y="0"/>
                  </a:moveTo>
                  <a:lnTo>
                    <a:pt x="1" y="0"/>
                  </a:lnTo>
                  <a:lnTo>
                    <a:pt x="0"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5" name="Freeform 194">
              <a:extLst>
                <a:ext uri="{FF2B5EF4-FFF2-40B4-BE49-F238E27FC236}">
                  <a16:creationId xmlns:a16="http://schemas.microsoft.com/office/drawing/2014/main" id="{22F887C4-2CE8-482A-82F9-FF64A7DF04DB}"/>
                </a:ext>
              </a:extLst>
            </p:cNvPr>
            <p:cNvSpPr>
              <a:spLocks/>
            </p:cNvSpPr>
            <p:nvPr/>
          </p:nvSpPr>
          <p:spPr bwMode="auto">
            <a:xfrm>
              <a:off x="10413314" y="4332556"/>
              <a:ext cx="15400" cy="22247"/>
            </a:xfrm>
            <a:custGeom>
              <a:avLst/>
              <a:gdLst/>
              <a:ahLst/>
              <a:cxnLst>
                <a:cxn ang="0">
                  <a:pos x="7" y="13"/>
                </a:cxn>
                <a:cxn ang="0">
                  <a:pos x="8" y="5"/>
                </a:cxn>
                <a:cxn ang="0">
                  <a:pos x="6" y="6"/>
                </a:cxn>
                <a:cxn ang="0">
                  <a:pos x="2" y="0"/>
                </a:cxn>
                <a:cxn ang="0">
                  <a:pos x="0" y="13"/>
                </a:cxn>
                <a:cxn ang="0">
                  <a:pos x="7" y="13"/>
                </a:cxn>
              </a:cxnLst>
              <a:rect l="0" t="0" r="r" b="b"/>
              <a:pathLst>
                <a:path w="8" h="13">
                  <a:moveTo>
                    <a:pt x="7" y="13"/>
                  </a:moveTo>
                  <a:lnTo>
                    <a:pt x="8" y="5"/>
                  </a:lnTo>
                  <a:lnTo>
                    <a:pt x="6" y="6"/>
                  </a:lnTo>
                  <a:lnTo>
                    <a:pt x="2" y="0"/>
                  </a:lnTo>
                  <a:lnTo>
                    <a:pt x="0" y="13"/>
                  </a:lnTo>
                  <a:lnTo>
                    <a:pt x="7" y="13"/>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6" name="Freeform 195">
              <a:extLst>
                <a:ext uri="{FF2B5EF4-FFF2-40B4-BE49-F238E27FC236}">
                  <a16:creationId xmlns:a16="http://schemas.microsoft.com/office/drawing/2014/main" id="{314993F4-130B-43A1-9C91-F1CB6FB0D210}"/>
                </a:ext>
              </a:extLst>
            </p:cNvPr>
            <p:cNvSpPr>
              <a:spLocks/>
            </p:cNvSpPr>
            <p:nvPr/>
          </p:nvSpPr>
          <p:spPr bwMode="auto">
            <a:xfrm>
              <a:off x="10428714" y="4366782"/>
              <a:ext cx="11978" cy="22247"/>
            </a:xfrm>
            <a:custGeom>
              <a:avLst/>
              <a:gdLst/>
              <a:ahLst/>
              <a:cxnLst>
                <a:cxn ang="0">
                  <a:pos x="6" y="12"/>
                </a:cxn>
                <a:cxn ang="0">
                  <a:pos x="0" y="11"/>
                </a:cxn>
                <a:cxn ang="0">
                  <a:pos x="0" y="0"/>
                </a:cxn>
                <a:cxn ang="0">
                  <a:pos x="6" y="12"/>
                </a:cxn>
              </a:cxnLst>
              <a:rect l="0" t="0" r="r" b="b"/>
              <a:pathLst>
                <a:path w="6" h="12">
                  <a:moveTo>
                    <a:pt x="6" y="12"/>
                  </a:moveTo>
                  <a:lnTo>
                    <a:pt x="0" y="11"/>
                  </a:lnTo>
                  <a:lnTo>
                    <a:pt x="0" y="0"/>
                  </a:lnTo>
                  <a:lnTo>
                    <a:pt x="6"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7" name="Freeform 196">
              <a:extLst>
                <a:ext uri="{FF2B5EF4-FFF2-40B4-BE49-F238E27FC236}">
                  <a16:creationId xmlns:a16="http://schemas.microsoft.com/office/drawing/2014/main" id="{3F3EE1BD-AD1E-4E72-98F5-7FE63C02EEAE}"/>
                </a:ext>
              </a:extLst>
            </p:cNvPr>
            <p:cNvSpPr>
              <a:spLocks/>
            </p:cNvSpPr>
            <p:nvPr/>
          </p:nvSpPr>
          <p:spPr bwMode="auto">
            <a:xfrm>
              <a:off x="10447536" y="4377049"/>
              <a:ext cx="8556" cy="8556"/>
            </a:xfrm>
            <a:custGeom>
              <a:avLst/>
              <a:gdLst/>
              <a:ahLst/>
              <a:cxnLst>
                <a:cxn ang="0">
                  <a:pos x="4" y="0"/>
                </a:cxn>
                <a:cxn ang="0">
                  <a:pos x="1" y="5"/>
                </a:cxn>
                <a:cxn ang="0">
                  <a:pos x="0" y="4"/>
                </a:cxn>
                <a:cxn ang="0">
                  <a:pos x="4" y="0"/>
                </a:cxn>
              </a:cxnLst>
              <a:rect l="0" t="0" r="r" b="b"/>
              <a:pathLst>
                <a:path w="4" h="5">
                  <a:moveTo>
                    <a:pt x="4" y="0"/>
                  </a:moveTo>
                  <a:lnTo>
                    <a:pt x="1" y="5"/>
                  </a:lnTo>
                  <a:lnTo>
                    <a:pt x="0" y="4"/>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198" name="Freeform 197">
              <a:extLst>
                <a:ext uri="{FF2B5EF4-FFF2-40B4-BE49-F238E27FC236}">
                  <a16:creationId xmlns:a16="http://schemas.microsoft.com/office/drawing/2014/main" id="{26547FCA-87F8-4F12-A0DB-290EDF1FB163}"/>
                </a:ext>
              </a:extLst>
            </p:cNvPr>
            <p:cNvSpPr>
              <a:spLocks/>
            </p:cNvSpPr>
            <p:nvPr/>
          </p:nvSpPr>
          <p:spPr bwMode="auto">
            <a:xfrm>
              <a:off x="10459514" y="4466036"/>
              <a:ext cx="3422" cy="6845"/>
            </a:xfrm>
            <a:custGeom>
              <a:avLst/>
              <a:gdLst/>
              <a:ahLst/>
              <a:cxnLst>
                <a:cxn ang="0">
                  <a:pos x="2" y="1"/>
                </a:cxn>
                <a:cxn ang="0">
                  <a:pos x="2" y="0"/>
                </a:cxn>
                <a:cxn ang="0">
                  <a:pos x="0" y="5"/>
                </a:cxn>
                <a:cxn ang="0">
                  <a:pos x="2" y="1"/>
                </a:cxn>
              </a:cxnLst>
              <a:rect l="0" t="0" r="r" b="b"/>
              <a:pathLst>
                <a:path w="2" h="5">
                  <a:moveTo>
                    <a:pt x="2" y="1"/>
                  </a:moveTo>
                  <a:lnTo>
                    <a:pt x="2" y="0"/>
                  </a:lnTo>
                  <a:lnTo>
                    <a:pt x="0" y="5"/>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2" name="Freeform 251">
              <a:extLst>
                <a:ext uri="{FF2B5EF4-FFF2-40B4-BE49-F238E27FC236}">
                  <a16:creationId xmlns:a16="http://schemas.microsoft.com/office/drawing/2014/main" id="{4CFF5732-A3C9-4EB1-AF61-B05BD49D50B5}"/>
                </a:ext>
              </a:extLst>
            </p:cNvPr>
            <p:cNvSpPr>
              <a:spLocks/>
            </p:cNvSpPr>
            <p:nvPr/>
          </p:nvSpPr>
          <p:spPr bwMode="auto">
            <a:xfrm>
              <a:off x="7494119" y="2017196"/>
              <a:ext cx="1536598" cy="1117465"/>
            </a:xfrm>
            <a:custGeom>
              <a:avLst/>
              <a:gdLst/>
              <a:ahLst/>
              <a:cxnLst>
                <a:cxn ang="0">
                  <a:pos x="324" y="454"/>
                </a:cxn>
                <a:cxn ang="0">
                  <a:pos x="270" y="453"/>
                </a:cxn>
                <a:cxn ang="0">
                  <a:pos x="205" y="432"/>
                </a:cxn>
                <a:cxn ang="0">
                  <a:pos x="155" y="412"/>
                </a:cxn>
                <a:cxn ang="0">
                  <a:pos x="106" y="369"/>
                </a:cxn>
                <a:cxn ang="0">
                  <a:pos x="107" y="337"/>
                </a:cxn>
                <a:cxn ang="0">
                  <a:pos x="94" y="321"/>
                </a:cxn>
                <a:cxn ang="0">
                  <a:pos x="43" y="293"/>
                </a:cxn>
                <a:cxn ang="0">
                  <a:pos x="31" y="283"/>
                </a:cxn>
                <a:cxn ang="0">
                  <a:pos x="17" y="227"/>
                </a:cxn>
                <a:cxn ang="0">
                  <a:pos x="68" y="204"/>
                </a:cxn>
                <a:cxn ang="0">
                  <a:pos x="72" y="166"/>
                </a:cxn>
                <a:cxn ang="0">
                  <a:pos x="88" y="137"/>
                </a:cxn>
                <a:cxn ang="0">
                  <a:pos x="113" y="91"/>
                </a:cxn>
                <a:cxn ang="0">
                  <a:pos x="144" y="82"/>
                </a:cxn>
                <a:cxn ang="0">
                  <a:pos x="208" y="141"/>
                </a:cxn>
                <a:cxn ang="0">
                  <a:pos x="295" y="173"/>
                </a:cxn>
                <a:cxn ang="0">
                  <a:pos x="389" y="191"/>
                </a:cxn>
                <a:cxn ang="0">
                  <a:pos x="452" y="201"/>
                </a:cxn>
                <a:cxn ang="0">
                  <a:pos x="523" y="169"/>
                </a:cxn>
                <a:cxn ang="0">
                  <a:pos x="560" y="138"/>
                </a:cxn>
                <a:cxn ang="0">
                  <a:pos x="569" y="93"/>
                </a:cxn>
                <a:cxn ang="0">
                  <a:pos x="533" y="89"/>
                </a:cxn>
                <a:cxn ang="0">
                  <a:pos x="556" y="41"/>
                </a:cxn>
                <a:cxn ang="0">
                  <a:pos x="566" y="0"/>
                </a:cxn>
                <a:cxn ang="0">
                  <a:pos x="662" y="48"/>
                </a:cxn>
                <a:cxn ang="0">
                  <a:pos x="751" y="99"/>
                </a:cxn>
                <a:cxn ang="0">
                  <a:pos x="809" y="145"/>
                </a:cxn>
                <a:cxn ang="0">
                  <a:pos x="800" y="187"/>
                </a:cxn>
                <a:cxn ang="0">
                  <a:pos x="773" y="201"/>
                </a:cxn>
                <a:cxn ang="0">
                  <a:pos x="738" y="233"/>
                </a:cxn>
                <a:cxn ang="0">
                  <a:pos x="707" y="246"/>
                </a:cxn>
                <a:cxn ang="0">
                  <a:pos x="676" y="233"/>
                </a:cxn>
                <a:cxn ang="0">
                  <a:pos x="676" y="270"/>
                </a:cxn>
                <a:cxn ang="0">
                  <a:pos x="734" y="283"/>
                </a:cxn>
                <a:cxn ang="0">
                  <a:pos x="708" y="311"/>
                </a:cxn>
                <a:cxn ang="0">
                  <a:pos x="764" y="384"/>
                </a:cxn>
                <a:cxn ang="0">
                  <a:pos x="756" y="407"/>
                </a:cxn>
                <a:cxn ang="0">
                  <a:pos x="774" y="424"/>
                </a:cxn>
                <a:cxn ang="0">
                  <a:pos x="778" y="437"/>
                </a:cxn>
                <a:cxn ang="0">
                  <a:pos x="770" y="455"/>
                </a:cxn>
                <a:cxn ang="0">
                  <a:pos x="756" y="485"/>
                </a:cxn>
                <a:cxn ang="0">
                  <a:pos x="758" y="499"/>
                </a:cxn>
                <a:cxn ang="0">
                  <a:pos x="743" y="515"/>
                </a:cxn>
                <a:cxn ang="0">
                  <a:pos x="721" y="540"/>
                </a:cxn>
                <a:cxn ang="0">
                  <a:pos x="700" y="545"/>
                </a:cxn>
                <a:cxn ang="0">
                  <a:pos x="677" y="543"/>
                </a:cxn>
                <a:cxn ang="0">
                  <a:pos x="668" y="562"/>
                </a:cxn>
                <a:cxn ang="0">
                  <a:pos x="640" y="569"/>
                </a:cxn>
                <a:cxn ang="0">
                  <a:pos x="628" y="569"/>
                </a:cxn>
                <a:cxn ang="0">
                  <a:pos x="604" y="563"/>
                </a:cxn>
                <a:cxn ang="0">
                  <a:pos x="554" y="537"/>
                </a:cxn>
                <a:cxn ang="0">
                  <a:pos x="527" y="546"/>
                </a:cxn>
                <a:cxn ang="0">
                  <a:pos x="497" y="551"/>
                </a:cxn>
                <a:cxn ang="0">
                  <a:pos x="476" y="567"/>
                </a:cxn>
                <a:cxn ang="0">
                  <a:pos x="448" y="522"/>
                </a:cxn>
                <a:cxn ang="0">
                  <a:pos x="436" y="495"/>
                </a:cxn>
                <a:cxn ang="0">
                  <a:pos x="412" y="441"/>
                </a:cxn>
                <a:cxn ang="0">
                  <a:pos x="389" y="427"/>
                </a:cxn>
              </a:cxnLst>
              <a:rect l="0" t="0" r="r" b="b"/>
              <a:pathLst>
                <a:path w="809" h="588">
                  <a:moveTo>
                    <a:pt x="361" y="429"/>
                  </a:moveTo>
                  <a:lnTo>
                    <a:pt x="350" y="438"/>
                  </a:lnTo>
                  <a:lnTo>
                    <a:pt x="338" y="449"/>
                  </a:lnTo>
                  <a:lnTo>
                    <a:pt x="325" y="454"/>
                  </a:lnTo>
                  <a:lnTo>
                    <a:pt x="324" y="454"/>
                  </a:lnTo>
                  <a:lnTo>
                    <a:pt x="317" y="449"/>
                  </a:lnTo>
                  <a:lnTo>
                    <a:pt x="295" y="447"/>
                  </a:lnTo>
                  <a:lnTo>
                    <a:pt x="284" y="462"/>
                  </a:lnTo>
                  <a:lnTo>
                    <a:pt x="277" y="448"/>
                  </a:lnTo>
                  <a:lnTo>
                    <a:pt x="270" y="453"/>
                  </a:lnTo>
                  <a:lnTo>
                    <a:pt x="252" y="450"/>
                  </a:lnTo>
                  <a:lnTo>
                    <a:pt x="238" y="449"/>
                  </a:lnTo>
                  <a:lnTo>
                    <a:pt x="222" y="442"/>
                  </a:lnTo>
                  <a:lnTo>
                    <a:pt x="220" y="438"/>
                  </a:lnTo>
                  <a:lnTo>
                    <a:pt x="205" y="432"/>
                  </a:lnTo>
                  <a:lnTo>
                    <a:pt x="200" y="426"/>
                  </a:lnTo>
                  <a:lnTo>
                    <a:pt x="194" y="429"/>
                  </a:lnTo>
                  <a:lnTo>
                    <a:pt x="174" y="414"/>
                  </a:lnTo>
                  <a:lnTo>
                    <a:pt x="161" y="406"/>
                  </a:lnTo>
                  <a:lnTo>
                    <a:pt x="155" y="412"/>
                  </a:lnTo>
                  <a:lnTo>
                    <a:pt x="154" y="411"/>
                  </a:lnTo>
                  <a:lnTo>
                    <a:pt x="139" y="401"/>
                  </a:lnTo>
                  <a:lnTo>
                    <a:pt x="120" y="390"/>
                  </a:lnTo>
                  <a:lnTo>
                    <a:pt x="113" y="388"/>
                  </a:lnTo>
                  <a:lnTo>
                    <a:pt x="106" y="369"/>
                  </a:lnTo>
                  <a:lnTo>
                    <a:pt x="115" y="370"/>
                  </a:lnTo>
                  <a:lnTo>
                    <a:pt x="118" y="363"/>
                  </a:lnTo>
                  <a:lnTo>
                    <a:pt x="108" y="349"/>
                  </a:lnTo>
                  <a:lnTo>
                    <a:pt x="108" y="342"/>
                  </a:lnTo>
                  <a:lnTo>
                    <a:pt x="107" y="337"/>
                  </a:lnTo>
                  <a:lnTo>
                    <a:pt x="103" y="335"/>
                  </a:lnTo>
                  <a:lnTo>
                    <a:pt x="101" y="331"/>
                  </a:lnTo>
                  <a:lnTo>
                    <a:pt x="100" y="327"/>
                  </a:lnTo>
                  <a:lnTo>
                    <a:pt x="98" y="322"/>
                  </a:lnTo>
                  <a:lnTo>
                    <a:pt x="94" y="321"/>
                  </a:lnTo>
                  <a:lnTo>
                    <a:pt x="86" y="317"/>
                  </a:lnTo>
                  <a:lnTo>
                    <a:pt x="82" y="316"/>
                  </a:lnTo>
                  <a:lnTo>
                    <a:pt x="61" y="310"/>
                  </a:lnTo>
                  <a:lnTo>
                    <a:pt x="50" y="305"/>
                  </a:lnTo>
                  <a:lnTo>
                    <a:pt x="43" y="293"/>
                  </a:lnTo>
                  <a:lnTo>
                    <a:pt x="25" y="288"/>
                  </a:lnTo>
                  <a:lnTo>
                    <a:pt x="25" y="285"/>
                  </a:lnTo>
                  <a:lnTo>
                    <a:pt x="29" y="285"/>
                  </a:lnTo>
                  <a:lnTo>
                    <a:pt x="30" y="285"/>
                  </a:lnTo>
                  <a:lnTo>
                    <a:pt x="31" y="283"/>
                  </a:lnTo>
                  <a:lnTo>
                    <a:pt x="23" y="262"/>
                  </a:lnTo>
                  <a:lnTo>
                    <a:pt x="8" y="261"/>
                  </a:lnTo>
                  <a:lnTo>
                    <a:pt x="0" y="246"/>
                  </a:lnTo>
                  <a:lnTo>
                    <a:pt x="6" y="233"/>
                  </a:lnTo>
                  <a:lnTo>
                    <a:pt x="17" y="227"/>
                  </a:lnTo>
                  <a:lnTo>
                    <a:pt x="24" y="226"/>
                  </a:lnTo>
                  <a:lnTo>
                    <a:pt x="32" y="228"/>
                  </a:lnTo>
                  <a:lnTo>
                    <a:pt x="42" y="217"/>
                  </a:lnTo>
                  <a:lnTo>
                    <a:pt x="58" y="213"/>
                  </a:lnTo>
                  <a:lnTo>
                    <a:pt x="68" y="204"/>
                  </a:lnTo>
                  <a:lnTo>
                    <a:pt x="79" y="195"/>
                  </a:lnTo>
                  <a:lnTo>
                    <a:pt x="76" y="186"/>
                  </a:lnTo>
                  <a:lnTo>
                    <a:pt x="79" y="183"/>
                  </a:lnTo>
                  <a:lnTo>
                    <a:pt x="79" y="179"/>
                  </a:lnTo>
                  <a:lnTo>
                    <a:pt x="72" y="166"/>
                  </a:lnTo>
                  <a:lnTo>
                    <a:pt x="66" y="153"/>
                  </a:lnTo>
                  <a:lnTo>
                    <a:pt x="56" y="149"/>
                  </a:lnTo>
                  <a:lnTo>
                    <a:pt x="73" y="142"/>
                  </a:lnTo>
                  <a:lnTo>
                    <a:pt x="94" y="144"/>
                  </a:lnTo>
                  <a:lnTo>
                    <a:pt x="88" y="137"/>
                  </a:lnTo>
                  <a:lnTo>
                    <a:pt x="86" y="123"/>
                  </a:lnTo>
                  <a:lnTo>
                    <a:pt x="84" y="107"/>
                  </a:lnTo>
                  <a:lnTo>
                    <a:pt x="107" y="112"/>
                  </a:lnTo>
                  <a:lnTo>
                    <a:pt x="120" y="109"/>
                  </a:lnTo>
                  <a:lnTo>
                    <a:pt x="113" y="91"/>
                  </a:lnTo>
                  <a:lnTo>
                    <a:pt x="120" y="87"/>
                  </a:lnTo>
                  <a:lnTo>
                    <a:pt x="126" y="75"/>
                  </a:lnTo>
                  <a:lnTo>
                    <a:pt x="137" y="73"/>
                  </a:lnTo>
                  <a:lnTo>
                    <a:pt x="138" y="76"/>
                  </a:lnTo>
                  <a:lnTo>
                    <a:pt x="144" y="82"/>
                  </a:lnTo>
                  <a:lnTo>
                    <a:pt x="164" y="95"/>
                  </a:lnTo>
                  <a:lnTo>
                    <a:pt x="175" y="97"/>
                  </a:lnTo>
                  <a:lnTo>
                    <a:pt x="197" y="112"/>
                  </a:lnTo>
                  <a:lnTo>
                    <a:pt x="202" y="126"/>
                  </a:lnTo>
                  <a:lnTo>
                    <a:pt x="208" y="141"/>
                  </a:lnTo>
                  <a:lnTo>
                    <a:pt x="224" y="143"/>
                  </a:lnTo>
                  <a:lnTo>
                    <a:pt x="241" y="147"/>
                  </a:lnTo>
                  <a:lnTo>
                    <a:pt x="262" y="153"/>
                  </a:lnTo>
                  <a:lnTo>
                    <a:pt x="282" y="159"/>
                  </a:lnTo>
                  <a:lnTo>
                    <a:pt x="295" y="173"/>
                  </a:lnTo>
                  <a:lnTo>
                    <a:pt x="308" y="186"/>
                  </a:lnTo>
                  <a:lnTo>
                    <a:pt x="329" y="187"/>
                  </a:lnTo>
                  <a:lnTo>
                    <a:pt x="348" y="189"/>
                  </a:lnTo>
                  <a:lnTo>
                    <a:pt x="368" y="190"/>
                  </a:lnTo>
                  <a:lnTo>
                    <a:pt x="389" y="191"/>
                  </a:lnTo>
                  <a:lnTo>
                    <a:pt x="395" y="196"/>
                  </a:lnTo>
                  <a:lnTo>
                    <a:pt x="413" y="199"/>
                  </a:lnTo>
                  <a:lnTo>
                    <a:pt x="431" y="203"/>
                  </a:lnTo>
                  <a:lnTo>
                    <a:pt x="442" y="208"/>
                  </a:lnTo>
                  <a:lnTo>
                    <a:pt x="452" y="201"/>
                  </a:lnTo>
                  <a:lnTo>
                    <a:pt x="462" y="195"/>
                  </a:lnTo>
                  <a:lnTo>
                    <a:pt x="480" y="193"/>
                  </a:lnTo>
                  <a:lnTo>
                    <a:pt x="497" y="192"/>
                  </a:lnTo>
                  <a:lnTo>
                    <a:pt x="510" y="180"/>
                  </a:lnTo>
                  <a:lnTo>
                    <a:pt x="523" y="169"/>
                  </a:lnTo>
                  <a:lnTo>
                    <a:pt x="514" y="161"/>
                  </a:lnTo>
                  <a:lnTo>
                    <a:pt x="511" y="144"/>
                  </a:lnTo>
                  <a:lnTo>
                    <a:pt x="533" y="150"/>
                  </a:lnTo>
                  <a:lnTo>
                    <a:pt x="546" y="142"/>
                  </a:lnTo>
                  <a:lnTo>
                    <a:pt x="560" y="138"/>
                  </a:lnTo>
                  <a:lnTo>
                    <a:pt x="563" y="126"/>
                  </a:lnTo>
                  <a:lnTo>
                    <a:pt x="580" y="118"/>
                  </a:lnTo>
                  <a:lnTo>
                    <a:pt x="604" y="118"/>
                  </a:lnTo>
                  <a:lnTo>
                    <a:pt x="600" y="109"/>
                  </a:lnTo>
                  <a:lnTo>
                    <a:pt x="569" y="93"/>
                  </a:lnTo>
                  <a:lnTo>
                    <a:pt x="562" y="100"/>
                  </a:lnTo>
                  <a:lnTo>
                    <a:pt x="557" y="97"/>
                  </a:lnTo>
                  <a:lnTo>
                    <a:pt x="541" y="97"/>
                  </a:lnTo>
                  <a:lnTo>
                    <a:pt x="529" y="90"/>
                  </a:lnTo>
                  <a:lnTo>
                    <a:pt x="533" y="89"/>
                  </a:lnTo>
                  <a:lnTo>
                    <a:pt x="532" y="75"/>
                  </a:lnTo>
                  <a:lnTo>
                    <a:pt x="529" y="61"/>
                  </a:lnTo>
                  <a:lnTo>
                    <a:pt x="550" y="65"/>
                  </a:lnTo>
                  <a:lnTo>
                    <a:pt x="560" y="54"/>
                  </a:lnTo>
                  <a:lnTo>
                    <a:pt x="556" y="41"/>
                  </a:lnTo>
                  <a:lnTo>
                    <a:pt x="554" y="21"/>
                  </a:lnTo>
                  <a:lnTo>
                    <a:pt x="545" y="13"/>
                  </a:lnTo>
                  <a:lnTo>
                    <a:pt x="539" y="11"/>
                  </a:lnTo>
                  <a:lnTo>
                    <a:pt x="548" y="1"/>
                  </a:lnTo>
                  <a:lnTo>
                    <a:pt x="566" y="0"/>
                  </a:lnTo>
                  <a:lnTo>
                    <a:pt x="584" y="0"/>
                  </a:lnTo>
                  <a:lnTo>
                    <a:pt x="619" y="11"/>
                  </a:lnTo>
                  <a:lnTo>
                    <a:pt x="634" y="24"/>
                  </a:lnTo>
                  <a:lnTo>
                    <a:pt x="648" y="36"/>
                  </a:lnTo>
                  <a:lnTo>
                    <a:pt x="662" y="48"/>
                  </a:lnTo>
                  <a:lnTo>
                    <a:pt x="677" y="60"/>
                  </a:lnTo>
                  <a:lnTo>
                    <a:pt x="692" y="66"/>
                  </a:lnTo>
                  <a:lnTo>
                    <a:pt x="718" y="73"/>
                  </a:lnTo>
                  <a:lnTo>
                    <a:pt x="733" y="79"/>
                  </a:lnTo>
                  <a:lnTo>
                    <a:pt x="751" y="99"/>
                  </a:lnTo>
                  <a:lnTo>
                    <a:pt x="773" y="96"/>
                  </a:lnTo>
                  <a:lnTo>
                    <a:pt x="794" y="88"/>
                  </a:lnTo>
                  <a:lnTo>
                    <a:pt x="803" y="103"/>
                  </a:lnTo>
                  <a:lnTo>
                    <a:pt x="805" y="124"/>
                  </a:lnTo>
                  <a:lnTo>
                    <a:pt x="809" y="145"/>
                  </a:lnTo>
                  <a:lnTo>
                    <a:pt x="790" y="142"/>
                  </a:lnTo>
                  <a:lnTo>
                    <a:pt x="787" y="151"/>
                  </a:lnTo>
                  <a:lnTo>
                    <a:pt x="797" y="167"/>
                  </a:lnTo>
                  <a:lnTo>
                    <a:pt x="806" y="183"/>
                  </a:lnTo>
                  <a:lnTo>
                    <a:pt x="800" y="187"/>
                  </a:lnTo>
                  <a:lnTo>
                    <a:pt x="804" y="192"/>
                  </a:lnTo>
                  <a:lnTo>
                    <a:pt x="787" y="183"/>
                  </a:lnTo>
                  <a:lnTo>
                    <a:pt x="787" y="192"/>
                  </a:lnTo>
                  <a:lnTo>
                    <a:pt x="778" y="199"/>
                  </a:lnTo>
                  <a:lnTo>
                    <a:pt x="773" y="201"/>
                  </a:lnTo>
                  <a:lnTo>
                    <a:pt x="779" y="210"/>
                  </a:lnTo>
                  <a:lnTo>
                    <a:pt x="761" y="205"/>
                  </a:lnTo>
                  <a:lnTo>
                    <a:pt x="755" y="208"/>
                  </a:lnTo>
                  <a:lnTo>
                    <a:pt x="746" y="223"/>
                  </a:lnTo>
                  <a:lnTo>
                    <a:pt x="738" y="233"/>
                  </a:lnTo>
                  <a:lnTo>
                    <a:pt x="731" y="238"/>
                  </a:lnTo>
                  <a:lnTo>
                    <a:pt x="721" y="245"/>
                  </a:lnTo>
                  <a:lnTo>
                    <a:pt x="712" y="251"/>
                  </a:lnTo>
                  <a:lnTo>
                    <a:pt x="701" y="256"/>
                  </a:lnTo>
                  <a:lnTo>
                    <a:pt x="707" y="246"/>
                  </a:lnTo>
                  <a:lnTo>
                    <a:pt x="697" y="243"/>
                  </a:lnTo>
                  <a:lnTo>
                    <a:pt x="701" y="225"/>
                  </a:lnTo>
                  <a:lnTo>
                    <a:pt x="692" y="220"/>
                  </a:lnTo>
                  <a:lnTo>
                    <a:pt x="683" y="222"/>
                  </a:lnTo>
                  <a:lnTo>
                    <a:pt x="676" y="233"/>
                  </a:lnTo>
                  <a:lnTo>
                    <a:pt x="668" y="245"/>
                  </a:lnTo>
                  <a:lnTo>
                    <a:pt x="658" y="251"/>
                  </a:lnTo>
                  <a:lnTo>
                    <a:pt x="649" y="252"/>
                  </a:lnTo>
                  <a:lnTo>
                    <a:pt x="654" y="264"/>
                  </a:lnTo>
                  <a:lnTo>
                    <a:pt x="676" y="270"/>
                  </a:lnTo>
                  <a:lnTo>
                    <a:pt x="683" y="285"/>
                  </a:lnTo>
                  <a:lnTo>
                    <a:pt x="694" y="282"/>
                  </a:lnTo>
                  <a:lnTo>
                    <a:pt x="706" y="274"/>
                  </a:lnTo>
                  <a:lnTo>
                    <a:pt x="725" y="281"/>
                  </a:lnTo>
                  <a:lnTo>
                    <a:pt x="734" y="283"/>
                  </a:lnTo>
                  <a:lnTo>
                    <a:pt x="734" y="292"/>
                  </a:lnTo>
                  <a:lnTo>
                    <a:pt x="726" y="291"/>
                  </a:lnTo>
                  <a:lnTo>
                    <a:pt x="716" y="297"/>
                  </a:lnTo>
                  <a:lnTo>
                    <a:pt x="710" y="305"/>
                  </a:lnTo>
                  <a:lnTo>
                    <a:pt x="708" y="311"/>
                  </a:lnTo>
                  <a:lnTo>
                    <a:pt x="706" y="329"/>
                  </a:lnTo>
                  <a:lnTo>
                    <a:pt x="727" y="342"/>
                  </a:lnTo>
                  <a:lnTo>
                    <a:pt x="738" y="355"/>
                  </a:lnTo>
                  <a:lnTo>
                    <a:pt x="748" y="370"/>
                  </a:lnTo>
                  <a:lnTo>
                    <a:pt x="764" y="384"/>
                  </a:lnTo>
                  <a:lnTo>
                    <a:pt x="740" y="377"/>
                  </a:lnTo>
                  <a:lnTo>
                    <a:pt x="742" y="378"/>
                  </a:lnTo>
                  <a:lnTo>
                    <a:pt x="756" y="388"/>
                  </a:lnTo>
                  <a:lnTo>
                    <a:pt x="770" y="397"/>
                  </a:lnTo>
                  <a:lnTo>
                    <a:pt x="756" y="407"/>
                  </a:lnTo>
                  <a:lnTo>
                    <a:pt x="751" y="411"/>
                  </a:lnTo>
                  <a:lnTo>
                    <a:pt x="760" y="412"/>
                  </a:lnTo>
                  <a:lnTo>
                    <a:pt x="769" y="411"/>
                  </a:lnTo>
                  <a:lnTo>
                    <a:pt x="780" y="417"/>
                  </a:lnTo>
                  <a:lnTo>
                    <a:pt x="774" y="424"/>
                  </a:lnTo>
                  <a:lnTo>
                    <a:pt x="780" y="424"/>
                  </a:lnTo>
                  <a:lnTo>
                    <a:pt x="779" y="426"/>
                  </a:lnTo>
                  <a:lnTo>
                    <a:pt x="775" y="430"/>
                  </a:lnTo>
                  <a:lnTo>
                    <a:pt x="776" y="433"/>
                  </a:lnTo>
                  <a:lnTo>
                    <a:pt x="778" y="437"/>
                  </a:lnTo>
                  <a:lnTo>
                    <a:pt x="775" y="437"/>
                  </a:lnTo>
                  <a:lnTo>
                    <a:pt x="779" y="444"/>
                  </a:lnTo>
                  <a:lnTo>
                    <a:pt x="775" y="445"/>
                  </a:lnTo>
                  <a:lnTo>
                    <a:pt x="767" y="449"/>
                  </a:lnTo>
                  <a:lnTo>
                    <a:pt x="770" y="455"/>
                  </a:lnTo>
                  <a:lnTo>
                    <a:pt x="768" y="463"/>
                  </a:lnTo>
                  <a:lnTo>
                    <a:pt x="762" y="477"/>
                  </a:lnTo>
                  <a:lnTo>
                    <a:pt x="760" y="478"/>
                  </a:lnTo>
                  <a:lnTo>
                    <a:pt x="763" y="481"/>
                  </a:lnTo>
                  <a:lnTo>
                    <a:pt x="756" y="485"/>
                  </a:lnTo>
                  <a:lnTo>
                    <a:pt x="755" y="485"/>
                  </a:lnTo>
                  <a:lnTo>
                    <a:pt x="762" y="487"/>
                  </a:lnTo>
                  <a:lnTo>
                    <a:pt x="763" y="497"/>
                  </a:lnTo>
                  <a:lnTo>
                    <a:pt x="758" y="496"/>
                  </a:lnTo>
                  <a:lnTo>
                    <a:pt x="758" y="499"/>
                  </a:lnTo>
                  <a:lnTo>
                    <a:pt x="755" y="503"/>
                  </a:lnTo>
                  <a:lnTo>
                    <a:pt x="754" y="505"/>
                  </a:lnTo>
                  <a:lnTo>
                    <a:pt x="752" y="511"/>
                  </a:lnTo>
                  <a:lnTo>
                    <a:pt x="744" y="513"/>
                  </a:lnTo>
                  <a:lnTo>
                    <a:pt x="743" y="515"/>
                  </a:lnTo>
                  <a:lnTo>
                    <a:pt x="744" y="519"/>
                  </a:lnTo>
                  <a:lnTo>
                    <a:pt x="739" y="525"/>
                  </a:lnTo>
                  <a:lnTo>
                    <a:pt x="726" y="534"/>
                  </a:lnTo>
                  <a:lnTo>
                    <a:pt x="727" y="535"/>
                  </a:lnTo>
                  <a:lnTo>
                    <a:pt x="721" y="540"/>
                  </a:lnTo>
                  <a:lnTo>
                    <a:pt x="713" y="543"/>
                  </a:lnTo>
                  <a:lnTo>
                    <a:pt x="712" y="543"/>
                  </a:lnTo>
                  <a:lnTo>
                    <a:pt x="709" y="545"/>
                  </a:lnTo>
                  <a:lnTo>
                    <a:pt x="702" y="546"/>
                  </a:lnTo>
                  <a:lnTo>
                    <a:pt x="700" y="545"/>
                  </a:lnTo>
                  <a:lnTo>
                    <a:pt x="696" y="547"/>
                  </a:lnTo>
                  <a:lnTo>
                    <a:pt x="694" y="550"/>
                  </a:lnTo>
                  <a:lnTo>
                    <a:pt x="689" y="550"/>
                  </a:lnTo>
                  <a:lnTo>
                    <a:pt x="680" y="538"/>
                  </a:lnTo>
                  <a:lnTo>
                    <a:pt x="677" y="543"/>
                  </a:lnTo>
                  <a:lnTo>
                    <a:pt x="680" y="555"/>
                  </a:lnTo>
                  <a:lnTo>
                    <a:pt x="677" y="550"/>
                  </a:lnTo>
                  <a:lnTo>
                    <a:pt x="677" y="557"/>
                  </a:lnTo>
                  <a:lnTo>
                    <a:pt x="674" y="556"/>
                  </a:lnTo>
                  <a:lnTo>
                    <a:pt x="668" y="562"/>
                  </a:lnTo>
                  <a:lnTo>
                    <a:pt x="665" y="558"/>
                  </a:lnTo>
                  <a:lnTo>
                    <a:pt x="662" y="562"/>
                  </a:lnTo>
                  <a:lnTo>
                    <a:pt x="658" y="561"/>
                  </a:lnTo>
                  <a:lnTo>
                    <a:pt x="648" y="567"/>
                  </a:lnTo>
                  <a:lnTo>
                    <a:pt x="640" y="569"/>
                  </a:lnTo>
                  <a:lnTo>
                    <a:pt x="637" y="570"/>
                  </a:lnTo>
                  <a:lnTo>
                    <a:pt x="636" y="579"/>
                  </a:lnTo>
                  <a:lnTo>
                    <a:pt x="640" y="588"/>
                  </a:lnTo>
                  <a:lnTo>
                    <a:pt x="631" y="587"/>
                  </a:lnTo>
                  <a:lnTo>
                    <a:pt x="628" y="569"/>
                  </a:lnTo>
                  <a:lnTo>
                    <a:pt x="623" y="565"/>
                  </a:lnTo>
                  <a:lnTo>
                    <a:pt x="617" y="567"/>
                  </a:lnTo>
                  <a:lnTo>
                    <a:pt x="611" y="564"/>
                  </a:lnTo>
                  <a:lnTo>
                    <a:pt x="605" y="561"/>
                  </a:lnTo>
                  <a:lnTo>
                    <a:pt x="604" y="563"/>
                  </a:lnTo>
                  <a:lnTo>
                    <a:pt x="598" y="565"/>
                  </a:lnTo>
                  <a:lnTo>
                    <a:pt x="582" y="559"/>
                  </a:lnTo>
                  <a:lnTo>
                    <a:pt x="576" y="555"/>
                  </a:lnTo>
                  <a:lnTo>
                    <a:pt x="574" y="543"/>
                  </a:lnTo>
                  <a:lnTo>
                    <a:pt x="554" y="537"/>
                  </a:lnTo>
                  <a:lnTo>
                    <a:pt x="547" y="535"/>
                  </a:lnTo>
                  <a:lnTo>
                    <a:pt x="539" y="546"/>
                  </a:lnTo>
                  <a:lnTo>
                    <a:pt x="533" y="546"/>
                  </a:lnTo>
                  <a:lnTo>
                    <a:pt x="530" y="547"/>
                  </a:lnTo>
                  <a:lnTo>
                    <a:pt x="527" y="546"/>
                  </a:lnTo>
                  <a:lnTo>
                    <a:pt x="520" y="546"/>
                  </a:lnTo>
                  <a:lnTo>
                    <a:pt x="517" y="549"/>
                  </a:lnTo>
                  <a:lnTo>
                    <a:pt x="509" y="546"/>
                  </a:lnTo>
                  <a:lnTo>
                    <a:pt x="505" y="551"/>
                  </a:lnTo>
                  <a:lnTo>
                    <a:pt x="497" y="551"/>
                  </a:lnTo>
                  <a:lnTo>
                    <a:pt x="500" y="573"/>
                  </a:lnTo>
                  <a:lnTo>
                    <a:pt x="494" y="569"/>
                  </a:lnTo>
                  <a:lnTo>
                    <a:pt x="492" y="565"/>
                  </a:lnTo>
                  <a:lnTo>
                    <a:pt x="487" y="563"/>
                  </a:lnTo>
                  <a:lnTo>
                    <a:pt x="476" y="567"/>
                  </a:lnTo>
                  <a:lnTo>
                    <a:pt x="468" y="557"/>
                  </a:lnTo>
                  <a:lnTo>
                    <a:pt x="460" y="553"/>
                  </a:lnTo>
                  <a:lnTo>
                    <a:pt x="462" y="539"/>
                  </a:lnTo>
                  <a:lnTo>
                    <a:pt x="451" y="534"/>
                  </a:lnTo>
                  <a:lnTo>
                    <a:pt x="448" y="522"/>
                  </a:lnTo>
                  <a:lnTo>
                    <a:pt x="446" y="520"/>
                  </a:lnTo>
                  <a:lnTo>
                    <a:pt x="430" y="522"/>
                  </a:lnTo>
                  <a:lnTo>
                    <a:pt x="430" y="514"/>
                  </a:lnTo>
                  <a:lnTo>
                    <a:pt x="428" y="507"/>
                  </a:lnTo>
                  <a:lnTo>
                    <a:pt x="436" y="495"/>
                  </a:lnTo>
                  <a:lnTo>
                    <a:pt x="438" y="486"/>
                  </a:lnTo>
                  <a:lnTo>
                    <a:pt x="434" y="472"/>
                  </a:lnTo>
                  <a:lnTo>
                    <a:pt x="432" y="457"/>
                  </a:lnTo>
                  <a:lnTo>
                    <a:pt x="425" y="454"/>
                  </a:lnTo>
                  <a:lnTo>
                    <a:pt x="412" y="441"/>
                  </a:lnTo>
                  <a:lnTo>
                    <a:pt x="410" y="447"/>
                  </a:lnTo>
                  <a:lnTo>
                    <a:pt x="394" y="441"/>
                  </a:lnTo>
                  <a:lnTo>
                    <a:pt x="394" y="432"/>
                  </a:lnTo>
                  <a:lnTo>
                    <a:pt x="388" y="431"/>
                  </a:lnTo>
                  <a:lnTo>
                    <a:pt x="389" y="427"/>
                  </a:lnTo>
                  <a:lnTo>
                    <a:pt x="383" y="425"/>
                  </a:lnTo>
                  <a:lnTo>
                    <a:pt x="374" y="430"/>
                  </a:lnTo>
                  <a:lnTo>
                    <a:pt x="361" y="429"/>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3" name="Freeform 252">
              <a:extLst>
                <a:ext uri="{FF2B5EF4-FFF2-40B4-BE49-F238E27FC236}">
                  <a16:creationId xmlns:a16="http://schemas.microsoft.com/office/drawing/2014/main" id="{198ACEF8-662A-4772-9CF4-6F7E3F979969}"/>
                </a:ext>
              </a:extLst>
            </p:cNvPr>
            <p:cNvSpPr>
              <a:spLocks/>
            </p:cNvSpPr>
            <p:nvPr/>
          </p:nvSpPr>
          <p:spPr bwMode="auto">
            <a:xfrm>
              <a:off x="8664535" y="3144929"/>
              <a:ext cx="68445" cy="58183"/>
            </a:xfrm>
            <a:custGeom>
              <a:avLst/>
              <a:gdLst/>
              <a:ahLst/>
              <a:cxnLst>
                <a:cxn ang="0">
                  <a:pos x="26" y="0"/>
                </a:cxn>
                <a:cxn ang="0">
                  <a:pos x="11" y="3"/>
                </a:cxn>
                <a:cxn ang="0">
                  <a:pos x="0" y="10"/>
                </a:cxn>
                <a:cxn ang="0">
                  <a:pos x="1" y="24"/>
                </a:cxn>
                <a:cxn ang="0">
                  <a:pos x="13" y="30"/>
                </a:cxn>
                <a:cxn ang="0">
                  <a:pos x="19" y="29"/>
                </a:cxn>
                <a:cxn ang="0">
                  <a:pos x="29" y="18"/>
                </a:cxn>
                <a:cxn ang="0">
                  <a:pos x="35" y="6"/>
                </a:cxn>
                <a:cxn ang="0">
                  <a:pos x="32" y="0"/>
                </a:cxn>
                <a:cxn ang="0">
                  <a:pos x="26" y="0"/>
                </a:cxn>
              </a:cxnLst>
              <a:rect l="0" t="0" r="r" b="b"/>
              <a:pathLst>
                <a:path w="35" h="30">
                  <a:moveTo>
                    <a:pt x="26" y="0"/>
                  </a:moveTo>
                  <a:lnTo>
                    <a:pt x="11" y="3"/>
                  </a:lnTo>
                  <a:lnTo>
                    <a:pt x="0" y="10"/>
                  </a:lnTo>
                  <a:lnTo>
                    <a:pt x="1" y="24"/>
                  </a:lnTo>
                  <a:lnTo>
                    <a:pt x="13" y="30"/>
                  </a:lnTo>
                  <a:lnTo>
                    <a:pt x="19" y="29"/>
                  </a:lnTo>
                  <a:lnTo>
                    <a:pt x="29" y="18"/>
                  </a:lnTo>
                  <a:lnTo>
                    <a:pt x="35" y="6"/>
                  </a:lnTo>
                  <a:lnTo>
                    <a:pt x="32" y="0"/>
                  </a:lnTo>
                  <a:lnTo>
                    <a:pt x="2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4" name="Freeform 253">
              <a:extLst>
                <a:ext uri="{FF2B5EF4-FFF2-40B4-BE49-F238E27FC236}">
                  <a16:creationId xmlns:a16="http://schemas.microsoft.com/office/drawing/2014/main" id="{B3E745AC-BEA7-4FA3-8ADD-224295488F12}"/>
                </a:ext>
              </a:extLst>
            </p:cNvPr>
            <p:cNvSpPr>
              <a:spLocks/>
            </p:cNvSpPr>
            <p:nvPr/>
          </p:nvSpPr>
          <p:spPr bwMode="auto">
            <a:xfrm>
              <a:off x="9174453" y="2412502"/>
              <a:ext cx="254959" cy="268671"/>
            </a:xfrm>
            <a:custGeom>
              <a:avLst/>
              <a:gdLst/>
              <a:ahLst/>
              <a:cxnLst>
                <a:cxn ang="0">
                  <a:pos x="125" y="108"/>
                </a:cxn>
                <a:cxn ang="0">
                  <a:pos x="122" y="103"/>
                </a:cxn>
                <a:cxn ang="0">
                  <a:pos x="123" y="112"/>
                </a:cxn>
                <a:cxn ang="0">
                  <a:pos x="116" y="114"/>
                </a:cxn>
                <a:cxn ang="0">
                  <a:pos x="114" y="121"/>
                </a:cxn>
                <a:cxn ang="0">
                  <a:pos x="111" y="113"/>
                </a:cxn>
                <a:cxn ang="0">
                  <a:pos x="107" y="122"/>
                </a:cxn>
                <a:cxn ang="0">
                  <a:pos x="90" y="121"/>
                </a:cxn>
                <a:cxn ang="0">
                  <a:pos x="86" y="119"/>
                </a:cxn>
                <a:cxn ang="0">
                  <a:pos x="81" y="115"/>
                </a:cxn>
                <a:cxn ang="0">
                  <a:pos x="83" y="124"/>
                </a:cxn>
                <a:cxn ang="0">
                  <a:pos x="87" y="128"/>
                </a:cxn>
                <a:cxn ang="0">
                  <a:pos x="81" y="136"/>
                </a:cxn>
                <a:cxn ang="0">
                  <a:pos x="78" y="143"/>
                </a:cxn>
                <a:cxn ang="0">
                  <a:pos x="64" y="132"/>
                </a:cxn>
                <a:cxn ang="0">
                  <a:pos x="63" y="120"/>
                </a:cxn>
                <a:cxn ang="0">
                  <a:pos x="44" y="122"/>
                </a:cxn>
                <a:cxn ang="0">
                  <a:pos x="23" y="127"/>
                </a:cxn>
                <a:cxn ang="0">
                  <a:pos x="17" y="134"/>
                </a:cxn>
                <a:cxn ang="0">
                  <a:pos x="0" y="132"/>
                </a:cxn>
                <a:cxn ang="0">
                  <a:pos x="3" y="126"/>
                </a:cxn>
                <a:cxn ang="0">
                  <a:pos x="14" y="115"/>
                </a:cxn>
                <a:cxn ang="0">
                  <a:pos x="23" y="106"/>
                </a:cxn>
                <a:cxn ang="0">
                  <a:pos x="38" y="104"/>
                </a:cxn>
                <a:cxn ang="0">
                  <a:pos x="53" y="103"/>
                </a:cxn>
                <a:cxn ang="0">
                  <a:pos x="57" y="106"/>
                </a:cxn>
                <a:cxn ang="0">
                  <a:pos x="65" y="101"/>
                </a:cxn>
                <a:cxn ang="0">
                  <a:pos x="63" y="91"/>
                </a:cxn>
                <a:cxn ang="0">
                  <a:pos x="62" y="77"/>
                </a:cxn>
                <a:cxn ang="0">
                  <a:pos x="68" y="73"/>
                </a:cxn>
                <a:cxn ang="0">
                  <a:pos x="66" y="78"/>
                </a:cxn>
                <a:cxn ang="0">
                  <a:pos x="72" y="84"/>
                </a:cxn>
                <a:cxn ang="0">
                  <a:pos x="80" y="77"/>
                </a:cxn>
                <a:cxn ang="0">
                  <a:pos x="87" y="70"/>
                </a:cxn>
                <a:cxn ang="0">
                  <a:pos x="89" y="56"/>
                </a:cxn>
                <a:cxn ang="0">
                  <a:pos x="90" y="42"/>
                </a:cxn>
                <a:cxn ang="0">
                  <a:pos x="82" y="29"/>
                </a:cxn>
                <a:cxn ang="0">
                  <a:pos x="76" y="13"/>
                </a:cxn>
                <a:cxn ang="0">
                  <a:pos x="77" y="5"/>
                </a:cxn>
                <a:cxn ang="0">
                  <a:pos x="86" y="10"/>
                </a:cxn>
                <a:cxn ang="0">
                  <a:pos x="89" y="7"/>
                </a:cxn>
                <a:cxn ang="0">
                  <a:pos x="87" y="4"/>
                </a:cxn>
                <a:cxn ang="0">
                  <a:pos x="81" y="4"/>
                </a:cxn>
                <a:cxn ang="0">
                  <a:pos x="82" y="0"/>
                </a:cxn>
                <a:cxn ang="0">
                  <a:pos x="89" y="2"/>
                </a:cxn>
                <a:cxn ang="0">
                  <a:pos x="102" y="18"/>
                </a:cxn>
                <a:cxn ang="0">
                  <a:pos x="118" y="34"/>
                </a:cxn>
                <a:cxn ang="0">
                  <a:pos x="119" y="55"/>
                </a:cxn>
                <a:cxn ang="0">
                  <a:pos x="116" y="61"/>
                </a:cxn>
                <a:cxn ang="0">
                  <a:pos x="124" y="84"/>
                </a:cxn>
                <a:cxn ang="0">
                  <a:pos x="135" y="101"/>
                </a:cxn>
                <a:cxn ang="0">
                  <a:pos x="129" y="118"/>
                </a:cxn>
                <a:cxn ang="0">
                  <a:pos x="125" y="108"/>
                </a:cxn>
              </a:cxnLst>
              <a:rect l="0" t="0" r="r" b="b"/>
              <a:pathLst>
                <a:path w="135" h="143">
                  <a:moveTo>
                    <a:pt x="125" y="108"/>
                  </a:moveTo>
                  <a:lnTo>
                    <a:pt x="122" y="103"/>
                  </a:lnTo>
                  <a:lnTo>
                    <a:pt x="123" y="112"/>
                  </a:lnTo>
                  <a:lnTo>
                    <a:pt x="116" y="114"/>
                  </a:lnTo>
                  <a:lnTo>
                    <a:pt x="114" y="121"/>
                  </a:lnTo>
                  <a:lnTo>
                    <a:pt x="111" y="113"/>
                  </a:lnTo>
                  <a:lnTo>
                    <a:pt x="107" y="122"/>
                  </a:lnTo>
                  <a:lnTo>
                    <a:pt x="90" y="121"/>
                  </a:lnTo>
                  <a:lnTo>
                    <a:pt x="86" y="119"/>
                  </a:lnTo>
                  <a:lnTo>
                    <a:pt x="81" y="115"/>
                  </a:lnTo>
                  <a:lnTo>
                    <a:pt x="83" y="124"/>
                  </a:lnTo>
                  <a:lnTo>
                    <a:pt x="87" y="128"/>
                  </a:lnTo>
                  <a:lnTo>
                    <a:pt x="81" y="136"/>
                  </a:lnTo>
                  <a:lnTo>
                    <a:pt x="78" y="143"/>
                  </a:lnTo>
                  <a:lnTo>
                    <a:pt x="64" y="132"/>
                  </a:lnTo>
                  <a:lnTo>
                    <a:pt x="63" y="120"/>
                  </a:lnTo>
                  <a:lnTo>
                    <a:pt x="44" y="122"/>
                  </a:lnTo>
                  <a:lnTo>
                    <a:pt x="23" y="127"/>
                  </a:lnTo>
                  <a:lnTo>
                    <a:pt x="17" y="134"/>
                  </a:lnTo>
                  <a:lnTo>
                    <a:pt x="0" y="132"/>
                  </a:lnTo>
                  <a:lnTo>
                    <a:pt x="3" y="126"/>
                  </a:lnTo>
                  <a:lnTo>
                    <a:pt x="14" y="115"/>
                  </a:lnTo>
                  <a:lnTo>
                    <a:pt x="23" y="106"/>
                  </a:lnTo>
                  <a:lnTo>
                    <a:pt x="38" y="104"/>
                  </a:lnTo>
                  <a:lnTo>
                    <a:pt x="53" y="103"/>
                  </a:lnTo>
                  <a:lnTo>
                    <a:pt x="57" y="106"/>
                  </a:lnTo>
                  <a:lnTo>
                    <a:pt x="65" y="101"/>
                  </a:lnTo>
                  <a:lnTo>
                    <a:pt x="63" y="91"/>
                  </a:lnTo>
                  <a:lnTo>
                    <a:pt x="62" y="77"/>
                  </a:lnTo>
                  <a:lnTo>
                    <a:pt x="68" y="73"/>
                  </a:lnTo>
                  <a:lnTo>
                    <a:pt x="66" y="78"/>
                  </a:lnTo>
                  <a:lnTo>
                    <a:pt x="72" y="84"/>
                  </a:lnTo>
                  <a:lnTo>
                    <a:pt x="80" y="77"/>
                  </a:lnTo>
                  <a:lnTo>
                    <a:pt x="87" y="70"/>
                  </a:lnTo>
                  <a:lnTo>
                    <a:pt x="89" y="56"/>
                  </a:lnTo>
                  <a:lnTo>
                    <a:pt x="90" y="42"/>
                  </a:lnTo>
                  <a:lnTo>
                    <a:pt x="82" y="29"/>
                  </a:lnTo>
                  <a:lnTo>
                    <a:pt x="76" y="13"/>
                  </a:lnTo>
                  <a:lnTo>
                    <a:pt x="77" y="5"/>
                  </a:lnTo>
                  <a:lnTo>
                    <a:pt x="86" y="10"/>
                  </a:lnTo>
                  <a:lnTo>
                    <a:pt x="89" y="7"/>
                  </a:lnTo>
                  <a:lnTo>
                    <a:pt x="87" y="4"/>
                  </a:lnTo>
                  <a:lnTo>
                    <a:pt x="81" y="4"/>
                  </a:lnTo>
                  <a:lnTo>
                    <a:pt x="82" y="0"/>
                  </a:lnTo>
                  <a:lnTo>
                    <a:pt x="89" y="2"/>
                  </a:lnTo>
                  <a:lnTo>
                    <a:pt x="102" y="18"/>
                  </a:lnTo>
                  <a:lnTo>
                    <a:pt x="118" y="34"/>
                  </a:lnTo>
                  <a:lnTo>
                    <a:pt x="119" y="55"/>
                  </a:lnTo>
                  <a:lnTo>
                    <a:pt x="116" y="61"/>
                  </a:lnTo>
                  <a:lnTo>
                    <a:pt x="124" y="84"/>
                  </a:lnTo>
                  <a:lnTo>
                    <a:pt x="135" y="101"/>
                  </a:lnTo>
                  <a:lnTo>
                    <a:pt x="129" y="118"/>
                  </a:lnTo>
                  <a:lnTo>
                    <a:pt x="125" y="10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5" name="Freeform 254">
              <a:extLst>
                <a:ext uri="{FF2B5EF4-FFF2-40B4-BE49-F238E27FC236}">
                  <a16:creationId xmlns:a16="http://schemas.microsoft.com/office/drawing/2014/main" id="{B003606E-3C24-40E9-8B5E-13E2255A9A14}"/>
                </a:ext>
              </a:extLst>
            </p:cNvPr>
            <p:cNvSpPr>
              <a:spLocks/>
            </p:cNvSpPr>
            <p:nvPr/>
          </p:nvSpPr>
          <p:spPr bwMode="auto">
            <a:xfrm>
              <a:off x="9265143" y="2275599"/>
              <a:ext cx="148869" cy="136902"/>
            </a:xfrm>
            <a:custGeom>
              <a:avLst/>
              <a:gdLst/>
              <a:ahLst/>
              <a:cxnLst>
                <a:cxn ang="0">
                  <a:pos x="61" y="28"/>
                </a:cxn>
                <a:cxn ang="0">
                  <a:pos x="47" y="24"/>
                </a:cxn>
                <a:cxn ang="0">
                  <a:pos x="24" y="12"/>
                </a:cxn>
                <a:cxn ang="0">
                  <a:pos x="0" y="0"/>
                </a:cxn>
                <a:cxn ang="0">
                  <a:pos x="5" y="10"/>
                </a:cxn>
                <a:cxn ang="0">
                  <a:pos x="12" y="25"/>
                </a:cxn>
                <a:cxn ang="0">
                  <a:pos x="19" y="40"/>
                </a:cxn>
                <a:cxn ang="0">
                  <a:pos x="9" y="40"/>
                </a:cxn>
                <a:cxn ang="0">
                  <a:pos x="6" y="42"/>
                </a:cxn>
                <a:cxn ang="0">
                  <a:pos x="7" y="49"/>
                </a:cxn>
                <a:cxn ang="0">
                  <a:pos x="10" y="59"/>
                </a:cxn>
                <a:cxn ang="0">
                  <a:pos x="21" y="72"/>
                </a:cxn>
                <a:cxn ang="0">
                  <a:pos x="24" y="68"/>
                </a:cxn>
                <a:cxn ang="0">
                  <a:pos x="31" y="67"/>
                </a:cxn>
                <a:cxn ang="0">
                  <a:pos x="13" y="55"/>
                </a:cxn>
                <a:cxn ang="0">
                  <a:pos x="22" y="55"/>
                </a:cxn>
                <a:cxn ang="0">
                  <a:pos x="28" y="53"/>
                </a:cxn>
                <a:cxn ang="0">
                  <a:pos x="58" y="61"/>
                </a:cxn>
                <a:cxn ang="0">
                  <a:pos x="59" y="58"/>
                </a:cxn>
                <a:cxn ang="0">
                  <a:pos x="66" y="46"/>
                </a:cxn>
                <a:cxn ang="0">
                  <a:pos x="78" y="40"/>
                </a:cxn>
                <a:cxn ang="0">
                  <a:pos x="71" y="35"/>
                </a:cxn>
                <a:cxn ang="0">
                  <a:pos x="65" y="22"/>
                </a:cxn>
                <a:cxn ang="0">
                  <a:pos x="61" y="28"/>
                </a:cxn>
              </a:cxnLst>
              <a:rect l="0" t="0" r="r" b="b"/>
              <a:pathLst>
                <a:path w="78" h="72">
                  <a:moveTo>
                    <a:pt x="61" y="28"/>
                  </a:moveTo>
                  <a:lnTo>
                    <a:pt x="47" y="24"/>
                  </a:lnTo>
                  <a:lnTo>
                    <a:pt x="24" y="12"/>
                  </a:lnTo>
                  <a:lnTo>
                    <a:pt x="0" y="0"/>
                  </a:lnTo>
                  <a:lnTo>
                    <a:pt x="5" y="10"/>
                  </a:lnTo>
                  <a:lnTo>
                    <a:pt x="12" y="25"/>
                  </a:lnTo>
                  <a:lnTo>
                    <a:pt x="19" y="40"/>
                  </a:lnTo>
                  <a:lnTo>
                    <a:pt x="9" y="40"/>
                  </a:lnTo>
                  <a:lnTo>
                    <a:pt x="6" y="42"/>
                  </a:lnTo>
                  <a:lnTo>
                    <a:pt x="7" y="49"/>
                  </a:lnTo>
                  <a:lnTo>
                    <a:pt x="10" y="59"/>
                  </a:lnTo>
                  <a:lnTo>
                    <a:pt x="21" y="72"/>
                  </a:lnTo>
                  <a:lnTo>
                    <a:pt x="24" y="68"/>
                  </a:lnTo>
                  <a:lnTo>
                    <a:pt x="31" y="67"/>
                  </a:lnTo>
                  <a:lnTo>
                    <a:pt x="13" y="55"/>
                  </a:lnTo>
                  <a:lnTo>
                    <a:pt x="22" y="55"/>
                  </a:lnTo>
                  <a:lnTo>
                    <a:pt x="28" y="53"/>
                  </a:lnTo>
                  <a:lnTo>
                    <a:pt x="58" y="61"/>
                  </a:lnTo>
                  <a:lnTo>
                    <a:pt x="59" y="58"/>
                  </a:lnTo>
                  <a:lnTo>
                    <a:pt x="66" y="46"/>
                  </a:lnTo>
                  <a:lnTo>
                    <a:pt x="78" y="40"/>
                  </a:lnTo>
                  <a:lnTo>
                    <a:pt x="71" y="35"/>
                  </a:lnTo>
                  <a:lnTo>
                    <a:pt x="65" y="22"/>
                  </a:lnTo>
                  <a:lnTo>
                    <a:pt x="61" y="2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6" name="Freeform 255">
              <a:extLst>
                <a:ext uri="{FF2B5EF4-FFF2-40B4-BE49-F238E27FC236}">
                  <a16:creationId xmlns:a16="http://schemas.microsoft.com/office/drawing/2014/main" id="{735CAF71-0A5A-4FB1-88FB-9742E2CD6C09}"/>
                </a:ext>
              </a:extLst>
            </p:cNvPr>
            <p:cNvSpPr>
              <a:spLocks/>
            </p:cNvSpPr>
            <p:nvPr/>
          </p:nvSpPr>
          <p:spPr bwMode="auto">
            <a:xfrm>
              <a:off x="9152208" y="2670905"/>
              <a:ext cx="71868" cy="90698"/>
            </a:xfrm>
            <a:custGeom>
              <a:avLst/>
              <a:gdLst/>
              <a:ahLst/>
              <a:cxnLst>
                <a:cxn ang="0">
                  <a:pos x="40" y="16"/>
                </a:cxn>
                <a:cxn ang="0">
                  <a:pos x="39" y="30"/>
                </a:cxn>
                <a:cxn ang="0">
                  <a:pos x="37" y="43"/>
                </a:cxn>
                <a:cxn ang="0">
                  <a:pos x="33" y="49"/>
                </a:cxn>
                <a:cxn ang="0">
                  <a:pos x="27" y="39"/>
                </a:cxn>
                <a:cxn ang="0">
                  <a:pos x="28" y="48"/>
                </a:cxn>
                <a:cxn ang="0">
                  <a:pos x="23" y="43"/>
                </a:cxn>
                <a:cxn ang="0">
                  <a:pos x="19" y="30"/>
                </a:cxn>
                <a:cxn ang="0">
                  <a:pos x="19" y="22"/>
                </a:cxn>
                <a:cxn ang="0">
                  <a:pos x="10" y="13"/>
                </a:cxn>
                <a:cxn ang="0">
                  <a:pos x="15" y="22"/>
                </a:cxn>
                <a:cxn ang="0">
                  <a:pos x="9" y="22"/>
                </a:cxn>
                <a:cxn ang="0">
                  <a:pos x="5" y="15"/>
                </a:cxn>
                <a:cxn ang="0">
                  <a:pos x="7" y="15"/>
                </a:cxn>
                <a:cxn ang="0">
                  <a:pos x="0" y="9"/>
                </a:cxn>
                <a:cxn ang="0">
                  <a:pos x="16" y="0"/>
                </a:cxn>
                <a:cxn ang="0">
                  <a:pos x="25" y="4"/>
                </a:cxn>
                <a:cxn ang="0">
                  <a:pos x="30" y="8"/>
                </a:cxn>
                <a:cxn ang="0">
                  <a:pos x="31" y="10"/>
                </a:cxn>
                <a:cxn ang="0">
                  <a:pos x="40" y="16"/>
                </a:cxn>
              </a:cxnLst>
              <a:rect l="0" t="0" r="r" b="b"/>
              <a:pathLst>
                <a:path w="40" h="49">
                  <a:moveTo>
                    <a:pt x="40" y="16"/>
                  </a:moveTo>
                  <a:lnTo>
                    <a:pt x="39" y="30"/>
                  </a:lnTo>
                  <a:lnTo>
                    <a:pt x="37" y="43"/>
                  </a:lnTo>
                  <a:lnTo>
                    <a:pt x="33" y="49"/>
                  </a:lnTo>
                  <a:lnTo>
                    <a:pt x="27" y="39"/>
                  </a:lnTo>
                  <a:lnTo>
                    <a:pt x="28" y="48"/>
                  </a:lnTo>
                  <a:lnTo>
                    <a:pt x="23" y="43"/>
                  </a:lnTo>
                  <a:lnTo>
                    <a:pt x="19" y="30"/>
                  </a:lnTo>
                  <a:lnTo>
                    <a:pt x="19" y="22"/>
                  </a:lnTo>
                  <a:lnTo>
                    <a:pt x="10" y="13"/>
                  </a:lnTo>
                  <a:lnTo>
                    <a:pt x="15" y="22"/>
                  </a:lnTo>
                  <a:lnTo>
                    <a:pt x="9" y="22"/>
                  </a:lnTo>
                  <a:lnTo>
                    <a:pt x="5" y="15"/>
                  </a:lnTo>
                  <a:lnTo>
                    <a:pt x="7" y="15"/>
                  </a:lnTo>
                  <a:lnTo>
                    <a:pt x="0" y="9"/>
                  </a:lnTo>
                  <a:lnTo>
                    <a:pt x="16" y="0"/>
                  </a:lnTo>
                  <a:lnTo>
                    <a:pt x="25" y="4"/>
                  </a:lnTo>
                  <a:lnTo>
                    <a:pt x="30" y="8"/>
                  </a:lnTo>
                  <a:lnTo>
                    <a:pt x="31" y="10"/>
                  </a:lnTo>
                  <a:lnTo>
                    <a:pt x="40" y="1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7" name="Freeform 256">
              <a:extLst>
                <a:ext uri="{FF2B5EF4-FFF2-40B4-BE49-F238E27FC236}">
                  <a16:creationId xmlns:a16="http://schemas.microsoft.com/office/drawing/2014/main" id="{DC2A2B7D-C5BA-4A58-B307-C85ECF16981B}"/>
                </a:ext>
              </a:extLst>
            </p:cNvPr>
            <p:cNvSpPr>
              <a:spLocks/>
            </p:cNvSpPr>
            <p:nvPr/>
          </p:nvSpPr>
          <p:spPr bwMode="auto">
            <a:xfrm>
              <a:off x="9220653" y="2655503"/>
              <a:ext cx="68445" cy="53050"/>
            </a:xfrm>
            <a:custGeom>
              <a:avLst/>
              <a:gdLst/>
              <a:ahLst/>
              <a:cxnLst>
                <a:cxn ang="0">
                  <a:pos x="29" y="18"/>
                </a:cxn>
                <a:cxn ang="0">
                  <a:pos x="17" y="18"/>
                </a:cxn>
                <a:cxn ang="0">
                  <a:pos x="16" y="29"/>
                </a:cxn>
                <a:cxn ang="0">
                  <a:pos x="6" y="22"/>
                </a:cxn>
                <a:cxn ang="0">
                  <a:pos x="3" y="16"/>
                </a:cxn>
                <a:cxn ang="0">
                  <a:pos x="0" y="17"/>
                </a:cxn>
                <a:cxn ang="0">
                  <a:pos x="9" y="6"/>
                </a:cxn>
                <a:cxn ang="0">
                  <a:pos x="17" y="5"/>
                </a:cxn>
                <a:cxn ang="0">
                  <a:pos x="26" y="0"/>
                </a:cxn>
                <a:cxn ang="0">
                  <a:pos x="33" y="5"/>
                </a:cxn>
                <a:cxn ang="0">
                  <a:pos x="36" y="10"/>
                </a:cxn>
                <a:cxn ang="0">
                  <a:pos x="29" y="18"/>
                </a:cxn>
              </a:cxnLst>
              <a:rect l="0" t="0" r="r" b="b"/>
              <a:pathLst>
                <a:path w="36" h="29">
                  <a:moveTo>
                    <a:pt x="29" y="18"/>
                  </a:moveTo>
                  <a:lnTo>
                    <a:pt x="17" y="18"/>
                  </a:lnTo>
                  <a:lnTo>
                    <a:pt x="16" y="29"/>
                  </a:lnTo>
                  <a:lnTo>
                    <a:pt x="6" y="22"/>
                  </a:lnTo>
                  <a:lnTo>
                    <a:pt x="3" y="16"/>
                  </a:lnTo>
                  <a:lnTo>
                    <a:pt x="0" y="17"/>
                  </a:lnTo>
                  <a:lnTo>
                    <a:pt x="9" y="6"/>
                  </a:lnTo>
                  <a:lnTo>
                    <a:pt x="17" y="5"/>
                  </a:lnTo>
                  <a:lnTo>
                    <a:pt x="26" y="0"/>
                  </a:lnTo>
                  <a:lnTo>
                    <a:pt x="33" y="5"/>
                  </a:lnTo>
                  <a:lnTo>
                    <a:pt x="36" y="10"/>
                  </a:lnTo>
                  <a:lnTo>
                    <a:pt x="29" y="1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8" name="Freeform 257">
              <a:extLst>
                <a:ext uri="{FF2B5EF4-FFF2-40B4-BE49-F238E27FC236}">
                  <a16:creationId xmlns:a16="http://schemas.microsoft.com/office/drawing/2014/main" id="{F5C04396-3360-48BD-BE16-C4B9CC5D8E17}"/>
                </a:ext>
              </a:extLst>
            </p:cNvPr>
            <p:cNvSpPr>
              <a:spLocks/>
            </p:cNvSpPr>
            <p:nvPr/>
          </p:nvSpPr>
          <p:spPr bwMode="auto">
            <a:xfrm>
              <a:off x="9174453" y="2910484"/>
              <a:ext cx="15400" cy="22247"/>
            </a:xfrm>
            <a:custGeom>
              <a:avLst/>
              <a:gdLst/>
              <a:ahLst/>
              <a:cxnLst>
                <a:cxn ang="0">
                  <a:pos x="0" y="12"/>
                </a:cxn>
                <a:cxn ang="0">
                  <a:pos x="8" y="1"/>
                </a:cxn>
                <a:cxn ang="0">
                  <a:pos x="6" y="0"/>
                </a:cxn>
                <a:cxn ang="0">
                  <a:pos x="0" y="12"/>
                </a:cxn>
              </a:cxnLst>
              <a:rect l="0" t="0" r="r" b="b"/>
              <a:pathLst>
                <a:path w="8" h="12">
                  <a:moveTo>
                    <a:pt x="0" y="12"/>
                  </a:moveTo>
                  <a:lnTo>
                    <a:pt x="8" y="1"/>
                  </a:lnTo>
                  <a:lnTo>
                    <a:pt x="6" y="0"/>
                  </a:lnTo>
                  <a:lnTo>
                    <a:pt x="0"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59" name="Freeform 258">
              <a:extLst>
                <a:ext uri="{FF2B5EF4-FFF2-40B4-BE49-F238E27FC236}">
                  <a16:creationId xmlns:a16="http://schemas.microsoft.com/office/drawing/2014/main" id="{8EB9840D-5D34-4854-AA92-62E134550B64}"/>
                </a:ext>
              </a:extLst>
            </p:cNvPr>
            <p:cNvSpPr>
              <a:spLocks/>
            </p:cNvSpPr>
            <p:nvPr/>
          </p:nvSpPr>
          <p:spPr bwMode="auto">
            <a:xfrm>
              <a:off x="9323321" y="2518601"/>
              <a:ext cx="3422" cy="10268"/>
            </a:xfrm>
            <a:custGeom>
              <a:avLst/>
              <a:gdLst/>
              <a:ahLst/>
              <a:cxnLst>
                <a:cxn ang="0">
                  <a:pos x="4" y="6"/>
                </a:cxn>
                <a:cxn ang="0">
                  <a:pos x="0" y="0"/>
                </a:cxn>
                <a:cxn ang="0">
                  <a:pos x="0" y="6"/>
                </a:cxn>
                <a:cxn ang="0">
                  <a:pos x="4" y="6"/>
                </a:cxn>
              </a:cxnLst>
              <a:rect l="0" t="0" r="r" b="b"/>
              <a:pathLst>
                <a:path w="4" h="6">
                  <a:moveTo>
                    <a:pt x="4" y="6"/>
                  </a:moveTo>
                  <a:lnTo>
                    <a:pt x="0" y="0"/>
                  </a:lnTo>
                  <a:lnTo>
                    <a:pt x="0" y="6"/>
                  </a:lnTo>
                  <a:lnTo>
                    <a:pt x="4" y="6"/>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0" name="Freeform 259">
              <a:extLst>
                <a:ext uri="{FF2B5EF4-FFF2-40B4-BE49-F238E27FC236}">
                  <a16:creationId xmlns:a16="http://schemas.microsoft.com/office/drawing/2014/main" id="{3AD986FB-45A0-45FA-83C3-C7B374369EBC}"/>
                </a:ext>
              </a:extLst>
            </p:cNvPr>
            <p:cNvSpPr>
              <a:spLocks/>
            </p:cNvSpPr>
            <p:nvPr/>
          </p:nvSpPr>
          <p:spPr bwMode="auto">
            <a:xfrm>
              <a:off x="9174453" y="2715398"/>
              <a:ext cx="3422" cy="8556"/>
            </a:xfrm>
            <a:custGeom>
              <a:avLst/>
              <a:gdLst/>
              <a:ahLst/>
              <a:cxnLst>
                <a:cxn ang="0">
                  <a:pos x="3" y="0"/>
                </a:cxn>
                <a:cxn ang="0">
                  <a:pos x="4" y="2"/>
                </a:cxn>
                <a:cxn ang="0">
                  <a:pos x="0" y="2"/>
                </a:cxn>
                <a:cxn ang="0">
                  <a:pos x="3" y="0"/>
                </a:cxn>
              </a:cxnLst>
              <a:rect l="0" t="0" r="r" b="b"/>
              <a:pathLst>
                <a:path w="4" h="2">
                  <a:moveTo>
                    <a:pt x="3" y="0"/>
                  </a:moveTo>
                  <a:lnTo>
                    <a:pt x="4" y="2"/>
                  </a:lnTo>
                  <a:lnTo>
                    <a:pt x="0" y="2"/>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1" name="Freeform 260">
              <a:extLst>
                <a:ext uri="{FF2B5EF4-FFF2-40B4-BE49-F238E27FC236}">
                  <a16:creationId xmlns:a16="http://schemas.microsoft.com/office/drawing/2014/main" id="{BC73D0CF-D3D0-4072-8AED-FB8AB84B8584}"/>
                </a:ext>
              </a:extLst>
            </p:cNvPr>
            <p:cNvSpPr>
              <a:spLocks/>
            </p:cNvSpPr>
            <p:nvPr/>
          </p:nvSpPr>
          <p:spPr bwMode="auto">
            <a:xfrm>
              <a:off x="8897249" y="2362874"/>
              <a:ext cx="133468" cy="171128"/>
            </a:xfrm>
            <a:custGeom>
              <a:avLst/>
              <a:gdLst/>
              <a:ahLst/>
              <a:cxnLst>
                <a:cxn ang="0">
                  <a:pos x="18" y="61"/>
                </a:cxn>
                <a:cxn ang="0">
                  <a:pos x="8" y="58"/>
                </a:cxn>
                <a:cxn ang="0">
                  <a:pos x="0" y="50"/>
                </a:cxn>
                <a:cxn ang="0">
                  <a:pos x="8" y="40"/>
                </a:cxn>
                <a:cxn ang="0">
                  <a:pos x="17" y="25"/>
                </a:cxn>
                <a:cxn ang="0">
                  <a:pos x="23" y="22"/>
                </a:cxn>
                <a:cxn ang="0">
                  <a:pos x="41" y="27"/>
                </a:cxn>
                <a:cxn ang="0">
                  <a:pos x="35" y="18"/>
                </a:cxn>
                <a:cxn ang="0">
                  <a:pos x="40" y="16"/>
                </a:cxn>
                <a:cxn ang="0">
                  <a:pos x="49" y="9"/>
                </a:cxn>
                <a:cxn ang="0">
                  <a:pos x="49" y="0"/>
                </a:cxn>
                <a:cxn ang="0">
                  <a:pos x="66" y="9"/>
                </a:cxn>
                <a:cxn ang="0">
                  <a:pos x="70" y="12"/>
                </a:cxn>
                <a:cxn ang="0">
                  <a:pos x="61" y="21"/>
                </a:cxn>
                <a:cxn ang="0">
                  <a:pos x="67" y="38"/>
                </a:cxn>
                <a:cxn ang="0">
                  <a:pos x="60" y="49"/>
                </a:cxn>
                <a:cxn ang="0">
                  <a:pos x="52" y="60"/>
                </a:cxn>
                <a:cxn ang="0">
                  <a:pos x="54" y="67"/>
                </a:cxn>
                <a:cxn ang="0">
                  <a:pos x="71" y="76"/>
                </a:cxn>
                <a:cxn ang="0">
                  <a:pos x="65" y="81"/>
                </a:cxn>
                <a:cxn ang="0">
                  <a:pos x="53" y="87"/>
                </a:cxn>
                <a:cxn ang="0">
                  <a:pos x="53" y="91"/>
                </a:cxn>
                <a:cxn ang="0">
                  <a:pos x="38" y="88"/>
                </a:cxn>
                <a:cxn ang="0">
                  <a:pos x="35" y="91"/>
                </a:cxn>
                <a:cxn ang="0">
                  <a:pos x="28" y="87"/>
                </a:cxn>
                <a:cxn ang="0">
                  <a:pos x="23" y="85"/>
                </a:cxn>
                <a:cxn ang="0">
                  <a:pos x="26" y="75"/>
                </a:cxn>
                <a:cxn ang="0">
                  <a:pos x="28" y="75"/>
                </a:cxn>
                <a:cxn ang="0">
                  <a:pos x="22" y="70"/>
                </a:cxn>
                <a:cxn ang="0">
                  <a:pos x="18" y="61"/>
                </a:cxn>
              </a:cxnLst>
              <a:rect l="0" t="0" r="r" b="b"/>
              <a:pathLst>
                <a:path w="71" h="91">
                  <a:moveTo>
                    <a:pt x="18" y="61"/>
                  </a:moveTo>
                  <a:lnTo>
                    <a:pt x="8" y="58"/>
                  </a:lnTo>
                  <a:lnTo>
                    <a:pt x="0" y="50"/>
                  </a:lnTo>
                  <a:lnTo>
                    <a:pt x="8" y="40"/>
                  </a:lnTo>
                  <a:lnTo>
                    <a:pt x="17" y="25"/>
                  </a:lnTo>
                  <a:lnTo>
                    <a:pt x="23" y="22"/>
                  </a:lnTo>
                  <a:lnTo>
                    <a:pt x="41" y="27"/>
                  </a:lnTo>
                  <a:lnTo>
                    <a:pt x="35" y="18"/>
                  </a:lnTo>
                  <a:lnTo>
                    <a:pt x="40" y="16"/>
                  </a:lnTo>
                  <a:lnTo>
                    <a:pt x="49" y="9"/>
                  </a:lnTo>
                  <a:lnTo>
                    <a:pt x="49" y="0"/>
                  </a:lnTo>
                  <a:lnTo>
                    <a:pt x="66" y="9"/>
                  </a:lnTo>
                  <a:lnTo>
                    <a:pt x="70" y="12"/>
                  </a:lnTo>
                  <a:lnTo>
                    <a:pt x="61" y="21"/>
                  </a:lnTo>
                  <a:lnTo>
                    <a:pt x="67" y="38"/>
                  </a:lnTo>
                  <a:lnTo>
                    <a:pt x="60" y="49"/>
                  </a:lnTo>
                  <a:lnTo>
                    <a:pt x="52" y="60"/>
                  </a:lnTo>
                  <a:lnTo>
                    <a:pt x="54" y="67"/>
                  </a:lnTo>
                  <a:lnTo>
                    <a:pt x="71" y="76"/>
                  </a:lnTo>
                  <a:lnTo>
                    <a:pt x="65" y="81"/>
                  </a:lnTo>
                  <a:lnTo>
                    <a:pt x="53" y="87"/>
                  </a:lnTo>
                  <a:lnTo>
                    <a:pt x="53" y="91"/>
                  </a:lnTo>
                  <a:lnTo>
                    <a:pt x="38" y="88"/>
                  </a:lnTo>
                  <a:lnTo>
                    <a:pt x="35" y="91"/>
                  </a:lnTo>
                  <a:lnTo>
                    <a:pt x="28" y="87"/>
                  </a:lnTo>
                  <a:lnTo>
                    <a:pt x="23" y="85"/>
                  </a:lnTo>
                  <a:lnTo>
                    <a:pt x="26" y="75"/>
                  </a:lnTo>
                  <a:lnTo>
                    <a:pt x="28" y="75"/>
                  </a:lnTo>
                  <a:lnTo>
                    <a:pt x="22" y="70"/>
                  </a:lnTo>
                  <a:lnTo>
                    <a:pt x="18" y="6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2" name="Freeform 261">
              <a:extLst>
                <a:ext uri="{FF2B5EF4-FFF2-40B4-BE49-F238E27FC236}">
                  <a16:creationId xmlns:a16="http://schemas.microsoft.com/office/drawing/2014/main" id="{916AA1A8-E61B-4B0D-8A00-6685F38F76F9}"/>
                </a:ext>
              </a:extLst>
            </p:cNvPr>
            <p:cNvSpPr>
              <a:spLocks/>
            </p:cNvSpPr>
            <p:nvPr/>
          </p:nvSpPr>
          <p:spPr bwMode="auto">
            <a:xfrm>
              <a:off x="8996495" y="2506622"/>
              <a:ext cx="112935" cy="145459"/>
            </a:xfrm>
            <a:custGeom>
              <a:avLst/>
              <a:gdLst/>
              <a:ahLst/>
              <a:cxnLst>
                <a:cxn ang="0">
                  <a:pos x="35" y="74"/>
                </a:cxn>
                <a:cxn ang="0">
                  <a:pos x="33" y="71"/>
                </a:cxn>
                <a:cxn ang="0">
                  <a:pos x="29" y="74"/>
                </a:cxn>
                <a:cxn ang="0">
                  <a:pos x="25" y="76"/>
                </a:cxn>
                <a:cxn ang="0">
                  <a:pos x="23" y="72"/>
                </a:cxn>
                <a:cxn ang="0">
                  <a:pos x="23" y="70"/>
                </a:cxn>
                <a:cxn ang="0">
                  <a:pos x="23" y="69"/>
                </a:cxn>
                <a:cxn ang="0">
                  <a:pos x="19" y="65"/>
                </a:cxn>
                <a:cxn ang="0">
                  <a:pos x="17" y="54"/>
                </a:cxn>
                <a:cxn ang="0">
                  <a:pos x="15" y="50"/>
                </a:cxn>
                <a:cxn ang="0">
                  <a:pos x="15" y="47"/>
                </a:cxn>
                <a:cxn ang="0">
                  <a:pos x="6" y="36"/>
                </a:cxn>
                <a:cxn ang="0">
                  <a:pos x="2" y="33"/>
                </a:cxn>
                <a:cxn ang="0">
                  <a:pos x="5" y="32"/>
                </a:cxn>
                <a:cxn ang="0">
                  <a:pos x="12" y="34"/>
                </a:cxn>
                <a:cxn ang="0">
                  <a:pos x="11" y="32"/>
                </a:cxn>
                <a:cxn ang="0">
                  <a:pos x="1" y="17"/>
                </a:cxn>
                <a:cxn ang="0">
                  <a:pos x="0" y="15"/>
                </a:cxn>
                <a:cxn ang="0">
                  <a:pos x="0" y="11"/>
                </a:cxn>
                <a:cxn ang="0">
                  <a:pos x="12" y="5"/>
                </a:cxn>
                <a:cxn ang="0">
                  <a:pos x="18" y="0"/>
                </a:cxn>
                <a:cxn ang="0">
                  <a:pos x="35" y="18"/>
                </a:cxn>
                <a:cxn ang="0">
                  <a:pos x="51" y="35"/>
                </a:cxn>
                <a:cxn ang="0">
                  <a:pos x="60" y="60"/>
                </a:cxn>
                <a:cxn ang="0">
                  <a:pos x="54" y="64"/>
                </a:cxn>
                <a:cxn ang="0">
                  <a:pos x="47" y="68"/>
                </a:cxn>
                <a:cxn ang="0">
                  <a:pos x="43" y="66"/>
                </a:cxn>
                <a:cxn ang="0">
                  <a:pos x="41" y="69"/>
                </a:cxn>
                <a:cxn ang="0">
                  <a:pos x="39" y="70"/>
                </a:cxn>
                <a:cxn ang="0">
                  <a:pos x="37" y="71"/>
                </a:cxn>
                <a:cxn ang="0">
                  <a:pos x="35" y="74"/>
                </a:cxn>
              </a:cxnLst>
              <a:rect l="0" t="0" r="r" b="b"/>
              <a:pathLst>
                <a:path w="60" h="76">
                  <a:moveTo>
                    <a:pt x="35" y="74"/>
                  </a:moveTo>
                  <a:lnTo>
                    <a:pt x="33" y="71"/>
                  </a:lnTo>
                  <a:lnTo>
                    <a:pt x="29" y="74"/>
                  </a:lnTo>
                  <a:lnTo>
                    <a:pt x="25" y="76"/>
                  </a:lnTo>
                  <a:lnTo>
                    <a:pt x="23" y="72"/>
                  </a:lnTo>
                  <a:lnTo>
                    <a:pt x="23" y="70"/>
                  </a:lnTo>
                  <a:lnTo>
                    <a:pt x="23" y="69"/>
                  </a:lnTo>
                  <a:lnTo>
                    <a:pt x="19" y="65"/>
                  </a:lnTo>
                  <a:lnTo>
                    <a:pt x="17" y="54"/>
                  </a:lnTo>
                  <a:lnTo>
                    <a:pt x="15" y="50"/>
                  </a:lnTo>
                  <a:lnTo>
                    <a:pt x="15" y="47"/>
                  </a:lnTo>
                  <a:lnTo>
                    <a:pt x="6" y="36"/>
                  </a:lnTo>
                  <a:lnTo>
                    <a:pt x="2" y="33"/>
                  </a:lnTo>
                  <a:lnTo>
                    <a:pt x="5" y="32"/>
                  </a:lnTo>
                  <a:lnTo>
                    <a:pt x="12" y="34"/>
                  </a:lnTo>
                  <a:lnTo>
                    <a:pt x="11" y="32"/>
                  </a:lnTo>
                  <a:lnTo>
                    <a:pt x="1" y="17"/>
                  </a:lnTo>
                  <a:lnTo>
                    <a:pt x="0" y="15"/>
                  </a:lnTo>
                  <a:lnTo>
                    <a:pt x="0" y="11"/>
                  </a:lnTo>
                  <a:lnTo>
                    <a:pt x="12" y="5"/>
                  </a:lnTo>
                  <a:lnTo>
                    <a:pt x="18" y="0"/>
                  </a:lnTo>
                  <a:lnTo>
                    <a:pt x="35" y="18"/>
                  </a:lnTo>
                  <a:lnTo>
                    <a:pt x="51" y="35"/>
                  </a:lnTo>
                  <a:lnTo>
                    <a:pt x="60" y="60"/>
                  </a:lnTo>
                  <a:lnTo>
                    <a:pt x="54" y="64"/>
                  </a:lnTo>
                  <a:lnTo>
                    <a:pt x="47" y="68"/>
                  </a:lnTo>
                  <a:lnTo>
                    <a:pt x="43" y="66"/>
                  </a:lnTo>
                  <a:lnTo>
                    <a:pt x="41" y="69"/>
                  </a:lnTo>
                  <a:lnTo>
                    <a:pt x="39" y="70"/>
                  </a:lnTo>
                  <a:lnTo>
                    <a:pt x="37" y="71"/>
                  </a:lnTo>
                  <a:lnTo>
                    <a:pt x="35" y="7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3" name="Freeform 262">
              <a:extLst>
                <a:ext uri="{FF2B5EF4-FFF2-40B4-BE49-F238E27FC236}">
                  <a16:creationId xmlns:a16="http://schemas.microsoft.com/office/drawing/2014/main" id="{1900D1D2-890E-4895-A28C-18D94248DEC8}"/>
                </a:ext>
              </a:extLst>
            </p:cNvPr>
            <p:cNvSpPr>
              <a:spLocks/>
            </p:cNvSpPr>
            <p:nvPr/>
          </p:nvSpPr>
          <p:spPr bwMode="auto">
            <a:xfrm>
              <a:off x="8981094" y="2966956"/>
              <a:ext cx="41067" cy="109522"/>
            </a:xfrm>
            <a:custGeom>
              <a:avLst/>
              <a:gdLst/>
              <a:ahLst/>
              <a:cxnLst>
                <a:cxn ang="0">
                  <a:pos x="16" y="57"/>
                </a:cxn>
                <a:cxn ang="0">
                  <a:pos x="3" y="43"/>
                </a:cxn>
                <a:cxn ang="0">
                  <a:pos x="0" y="22"/>
                </a:cxn>
                <a:cxn ang="0">
                  <a:pos x="6" y="12"/>
                </a:cxn>
                <a:cxn ang="0">
                  <a:pos x="12" y="0"/>
                </a:cxn>
                <a:cxn ang="0">
                  <a:pos x="23" y="3"/>
                </a:cxn>
                <a:cxn ang="0">
                  <a:pos x="21" y="16"/>
                </a:cxn>
                <a:cxn ang="0">
                  <a:pos x="19" y="30"/>
                </a:cxn>
                <a:cxn ang="0">
                  <a:pos x="17" y="44"/>
                </a:cxn>
                <a:cxn ang="0">
                  <a:pos x="16" y="57"/>
                </a:cxn>
              </a:cxnLst>
              <a:rect l="0" t="0" r="r" b="b"/>
              <a:pathLst>
                <a:path w="23" h="57">
                  <a:moveTo>
                    <a:pt x="16" y="57"/>
                  </a:moveTo>
                  <a:lnTo>
                    <a:pt x="3" y="43"/>
                  </a:lnTo>
                  <a:lnTo>
                    <a:pt x="0" y="22"/>
                  </a:lnTo>
                  <a:lnTo>
                    <a:pt x="6" y="12"/>
                  </a:lnTo>
                  <a:lnTo>
                    <a:pt x="12" y="0"/>
                  </a:lnTo>
                  <a:lnTo>
                    <a:pt x="23" y="3"/>
                  </a:lnTo>
                  <a:lnTo>
                    <a:pt x="21" y="16"/>
                  </a:lnTo>
                  <a:lnTo>
                    <a:pt x="19" y="30"/>
                  </a:lnTo>
                  <a:lnTo>
                    <a:pt x="17" y="44"/>
                  </a:lnTo>
                  <a:lnTo>
                    <a:pt x="16" y="5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4" name="Freeform 263">
              <a:extLst>
                <a:ext uri="{FF2B5EF4-FFF2-40B4-BE49-F238E27FC236}">
                  <a16:creationId xmlns:a16="http://schemas.microsoft.com/office/drawing/2014/main" id="{E4FF03C7-AAA9-436C-9C78-B124F0FFFA8F}"/>
                </a:ext>
              </a:extLst>
            </p:cNvPr>
            <p:cNvSpPr>
              <a:spLocks/>
            </p:cNvSpPr>
            <p:nvPr/>
          </p:nvSpPr>
          <p:spPr bwMode="auto">
            <a:xfrm>
              <a:off x="7752500" y="2058267"/>
              <a:ext cx="889790" cy="349101"/>
            </a:xfrm>
            <a:custGeom>
              <a:avLst/>
              <a:gdLst/>
              <a:ahLst/>
              <a:cxnLst>
                <a:cxn ang="0">
                  <a:pos x="276" y="176"/>
                </a:cxn>
                <a:cxn ang="0">
                  <a:pos x="252" y="168"/>
                </a:cxn>
                <a:cxn ang="0">
                  <a:pos x="211" y="166"/>
                </a:cxn>
                <a:cxn ang="0">
                  <a:pos x="171" y="163"/>
                </a:cxn>
                <a:cxn ang="0">
                  <a:pos x="145" y="136"/>
                </a:cxn>
                <a:cxn ang="0">
                  <a:pos x="104" y="124"/>
                </a:cxn>
                <a:cxn ang="0">
                  <a:pos x="71" y="118"/>
                </a:cxn>
                <a:cxn ang="0">
                  <a:pos x="60" y="89"/>
                </a:cxn>
                <a:cxn ang="0">
                  <a:pos x="27" y="72"/>
                </a:cxn>
                <a:cxn ang="0">
                  <a:pos x="1" y="53"/>
                </a:cxn>
                <a:cxn ang="0">
                  <a:pos x="7" y="44"/>
                </a:cxn>
                <a:cxn ang="0">
                  <a:pos x="33" y="31"/>
                </a:cxn>
                <a:cxn ang="0">
                  <a:pos x="75" y="25"/>
                </a:cxn>
                <a:cxn ang="0">
                  <a:pos x="102" y="35"/>
                </a:cxn>
                <a:cxn ang="0">
                  <a:pos x="133" y="30"/>
                </a:cxn>
                <a:cxn ang="0">
                  <a:pos x="123" y="0"/>
                </a:cxn>
                <a:cxn ang="0">
                  <a:pos x="171" y="11"/>
                </a:cxn>
                <a:cxn ang="0">
                  <a:pos x="204" y="32"/>
                </a:cxn>
                <a:cxn ang="0">
                  <a:pos x="247" y="31"/>
                </a:cxn>
                <a:cxn ang="0">
                  <a:pos x="275" y="42"/>
                </a:cxn>
                <a:cxn ang="0">
                  <a:pos x="320" y="47"/>
                </a:cxn>
                <a:cxn ang="0">
                  <a:pos x="353" y="31"/>
                </a:cxn>
                <a:cxn ang="0">
                  <a:pos x="392" y="38"/>
                </a:cxn>
                <a:cxn ang="0">
                  <a:pos x="396" y="66"/>
                </a:cxn>
                <a:cxn ang="0">
                  <a:pos x="404" y="74"/>
                </a:cxn>
                <a:cxn ang="0">
                  <a:pos x="425" y="77"/>
                </a:cxn>
                <a:cxn ang="0">
                  <a:pos x="463" y="86"/>
                </a:cxn>
                <a:cxn ang="0">
                  <a:pos x="443" y="95"/>
                </a:cxn>
                <a:cxn ang="0">
                  <a:pos x="423" y="115"/>
                </a:cxn>
                <a:cxn ang="0">
                  <a:pos x="396" y="127"/>
                </a:cxn>
                <a:cxn ang="0">
                  <a:pos x="377" y="138"/>
                </a:cxn>
                <a:cxn ang="0">
                  <a:pos x="373" y="157"/>
                </a:cxn>
                <a:cxn ang="0">
                  <a:pos x="343" y="170"/>
                </a:cxn>
                <a:cxn ang="0">
                  <a:pos x="315" y="178"/>
                </a:cxn>
                <a:cxn ang="0">
                  <a:pos x="294" y="180"/>
                </a:cxn>
              </a:cxnLst>
              <a:rect l="0" t="0" r="r" b="b"/>
              <a:pathLst>
                <a:path w="467" h="185">
                  <a:moveTo>
                    <a:pt x="294" y="180"/>
                  </a:moveTo>
                  <a:lnTo>
                    <a:pt x="276" y="176"/>
                  </a:lnTo>
                  <a:lnTo>
                    <a:pt x="258" y="173"/>
                  </a:lnTo>
                  <a:lnTo>
                    <a:pt x="252" y="168"/>
                  </a:lnTo>
                  <a:lnTo>
                    <a:pt x="231" y="167"/>
                  </a:lnTo>
                  <a:lnTo>
                    <a:pt x="211" y="166"/>
                  </a:lnTo>
                  <a:lnTo>
                    <a:pt x="192" y="164"/>
                  </a:lnTo>
                  <a:lnTo>
                    <a:pt x="171" y="163"/>
                  </a:lnTo>
                  <a:lnTo>
                    <a:pt x="158" y="150"/>
                  </a:lnTo>
                  <a:lnTo>
                    <a:pt x="145" y="136"/>
                  </a:lnTo>
                  <a:lnTo>
                    <a:pt x="125" y="130"/>
                  </a:lnTo>
                  <a:lnTo>
                    <a:pt x="104" y="124"/>
                  </a:lnTo>
                  <a:lnTo>
                    <a:pt x="87" y="120"/>
                  </a:lnTo>
                  <a:lnTo>
                    <a:pt x="71" y="118"/>
                  </a:lnTo>
                  <a:lnTo>
                    <a:pt x="65" y="103"/>
                  </a:lnTo>
                  <a:lnTo>
                    <a:pt x="60" y="89"/>
                  </a:lnTo>
                  <a:lnTo>
                    <a:pt x="38" y="74"/>
                  </a:lnTo>
                  <a:lnTo>
                    <a:pt x="27" y="72"/>
                  </a:lnTo>
                  <a:lnTo>
                    <a:pt x="7" y="59"/>
                  </a:lnTo>
                  <a:lnTo>
                    <a:pt x="1" y="53"/>
                  </a:lnTo>
                  <a:lnTo>
                    <a:pt x="0" y="50"/>
                  </a:lnTo>
                  <a:lnTo>
                    <a:pt x="7" y="44"/>
                  </a:lnTo>
                  <a:lnTo>
                    <a:pt x="19" y="38"/>
                  </a:lnTo>
                  <a:lnTo>
                    <a:pt x="33" y="31"/>
                  </a:lnTo>
                  <a:lnTo>
                    <a:pt x="47" y="23"/>
                  </a:lnTo>
                  <a:lnTo>
                    <a:pt x="75" y="25"/>
                  </a:lnTo>
                  <a:lnTo>
                    <a:pt x="80" y="31"/>
                  </a:lnTo>
                  <a:lnTo>
                    <a:pt x="102" y="35"/>
                  </a:lnTo>
                  <a:lnTo>
                    <a:pt x="122" y="38"/>
                  </a:lnTo>
                  <a:lnTo>
                    <a:pt x="133" y="30"/>
                  </a:lnTo>
                  <a:lnTo>
                    <a:pt x="120" y="18"/>
                  </a:lnTo>
                  <a:lnTo>
                    <a:pt x="123" y="0"/>
                  </a:lnTo>
                  <a:lnTo>
                    <a:pt x="147" y="6"/>
                  </a:lnTo>
                  <a:lnTo>
                    <a:pt x="171" y="11"/>
                  </a:lnTo>
                  <a:lnTo>
                    <a:pt x="182" y="22"/>
                  </a:lnTo>
                  <a:lnTo>
                    <a:pt x="204" y="32"/>
                  </a:lnTo>
                  <a:lnTo>
                    <a:pt x="228" y="28"/>
                  </a:lnTo>
                  <a:lnTo>
                    <a:pt x="247" y="31"/>
                  </a:lnTo>
                  <a:lnTo>
                    <a:pt x="267" y="36"/>
                  </a:lnTo>
                  <a:lnTo>
                    <a:pt x="275" y="42"/>
                  </a:lnTo>
                  <a:lnTo>
                    <a:pt x="303" y="49"/>
                  </a:lnTo>
                  <a:lnTo>
                    <a:pt x="320" y="47"/>
                  </a:lnTo>
                  <a:lnTo>
                    <a:pt x="337" y="43"/>
                  </a:lnTo>
                  <a:lnTo>
                    <a:pt x="353" y="31"/>
                  </a:lnTo>
                  <a:lnTo>
                    <a:pt x="379" y="37"/>
                  </a:lnTo>
                  <a:lnTo>
                    <a:pt x="392" y="38"/>
                  </a:lnTo>
                  <a:lnTo>
                    <a:pt x="395" y="52"/>
                  </a:lnTo>
                  <a:lnTo>
                    <a:pt x="396" y="66"/>
                  </a:lnTo>
                  <a:lnTo>
                    <a:pt x="392" y="67"/>
                  </a:lnTo>
                  <a:lnTo>
                    <a:pt x="404" y="74"/>
                  </a:lnTo>
                  <a:lnTo>
                    <a:pt x="420" y="74"/>
                  </a:lnTo>
                  <a:lnTo>
                    <a:pt x="425" y="77"/>
                  </a:lnTo>
                  <a:lnTo>
                    <a:pt x="432" y="70"/>
                  </a:lnTo>
                  <a:lnTo>
                    <a:pt x="463" y="86"/>
                  </a:lnTo>
                  <a:lnTo>
                    <a:pt x="467" y="95"/>
                  </a:lnTo>
                  <a:lnTo>
                    <a:pt x="443" y="95"/>
                  </a:lnTo>
                  <a:lnTo>
                    <a:pt x="426" y="103"/>
                  </a:lnTo>
                  <a:lnTo>
                    <a:pt x="423" y="115"/>
                  </a:lnTo>
                  <a:lnTo>
                    <a:pt x="409" y="119"/>
                  </a:lnTo>
                  <a:lnTo>
                    <a:pt x="396" y="127"/>
                  </a:lnTo>
                  <a:lnTo>
                    <a:pt x="374" y="121"/>
                  </a:lnTo>
                  <a:lnTo>
                    <a:pt x="377" y="138"/>
                  </a:lnTo>
                  <a:lnTo>
                    <a:pt x="386" y="146"/>
                  </a:lnTo>
                  <a:lnTo>
                    <a:pt x="373" y="157"/>
                  </a:lnTo>
                  <a:lnTo>
                    <a:pt x="360" y="169"/>
                  </a:lnTo>
                  <a:lnTo>
                    <a:pt x="343" y="170"/>
                  </a:lnTo>
                  <a:lnTo>
                    <a:pt x="325" y="172"/>
                  </a:lnTo>
                  <a:lnTo>
                    <a:pt x="315" y="178"/>
                  </a:lnTo>
                  <a:lnTo>
                    <a:pt x="305" y="185"/>
                  </a:lnTo>
                  <a:lnTo>
                    <a:pt x="294" y="18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5" name="Freeform 264">
              <a:extLst>
                <a:ext uri="{FF2B5EF4-FFF2-40B4-BE49-F238E27FC236}">
                  <a16:creationId xmlns:a16="http://schemas.microsoft.com/office/drawing/2014/main" id="{E22314A5-AC23-4124-89C7-880B361519DE}"/>
                </a:ext>
              </a:extLst>
            </p:cNvPr>
            <p:cNvSpPr>
              <a:spLocks/>
            </p:cNvSpPr>
            <p:nvPr/>
          </p:nvSpPr>
          <p:spPr bwMode="auto">
            <a:xfrm>
              <a:off x="6676197" y="1948745"/>
              <a:ext cx="1057481" cy="467179"/>
            </a:xfrm>
            <a:custGeom>
              <a:avLst/>
              <a:gdLst/>
              <a:ahLst/>
              <a:cxnLst>
                <a:cxn ang="0">
                  <a:pos x="65" y="146"/>
                </a:cxn>
                <a:cxn ang="0">
                  <a:pos x="45" y="155"/>
                </a:cxn>
                <a:cxn ang="0">
                  <a:pos x="17" y="125"/>
                </a:cxn>
                <a:cxn ang="0">
                  <a:pos x="3" y="93"/>
                </a:cxn>
                <a:cxn ang="0">
                  <a:pos x="22" y="81"/>
                </a:cxn>
                <a:cxn ang="0">
                  <a:pos x="35" y="65"/>
                </a:cxn>
                <a:cxn ang="0">
                  <a:pos x="65" y="57"/>
                </a:cxn>
                <a:cxn ang="0">
                  <a:pos x="103" y="74"/>
                </a:cxn>
                <a:cxn ang="0">
                  <a:pos x="151" y="72"/>
                </a:cxn>
                <a:cxn ang="0">
                  <a:pos x="180" y="71"/>
                </a:cxn>
                <a:cxn ang="0">
                  <a:pos x="172" y="34"/>
                </a:cxn>
                <a:cxn ang="0">
                  <a:pos x="168" y="27"/>
                </a:cxn>
                <a:cxn ang="0">
                  <a:pos x="204" y="21"/>
                </a:cxn>
                <a:cxn ang="0">
                  <a:pos x="238" y="11"/>
                </a:cxn>
                <a:cxn ang="0">
                  <a:pos x="270" y="2"/>
                </a:cxn>
                <a:cxn ang="0">
                  <a:pos x="293" y="11"/>
                </a:cxn>
                <a:cxn ang="0">
                  <a:pos x="330" y="26"/>
                </a:cxn>
                <a:cxn ang="0">
                  <a:pos x="359" y="21"/>
                </a:cxn>
                <a:cxn ang="0">
                  <a:pos x="379" y="17"/>
                </a:cxn>
                <a:cxn ang="0">
                  <a:pos x="396" y="39"/>
                </a:cxn>
                <a:cxn ang="0">
                  <a:pos x="433" y="64"/>
                </a:cxn>
                <a:cxn ang="0">
                  <a:pos x="456" y="72"/>
                </a:cxn>
                <a:cxn ang="0">
                  <a:pos x="484" y="74"/>
                </a:cxn>
                <a:cxn ang="0">
                  <a:pos x="522" y="96"/>
                </a:cxn>
                <a:cxn ang="0">
                  <a:pos x="557" y="110"/>
                </a:cxn>
                <a:cxn ang="0">
                  <a:pos x="544" y="126"/>
                </a:cxn>
                <a:cxn ang="0">
                  <a:pos x="538" y="147"/>
                </a:cxn>
                <a:cxn ang="0">
                  <a:pos x="517" y="158"/>
                </a:cxn>
                <a:cxn ang="0">
                  <a:pos x="525" y="179"/>
                </a:cxn>
                <a:cxn ang="0">
                  <a:pos x="487" y="184"/>
                </a:cxn>
                <a:cxn ang="0">
                  <a:pos x="503" y="201"/>
                </a:cxn>
                <a:cxn ang="0">
                  <a:pos x="510" y="218"/>
                </a:cxn>
                <a:cxn ang="0">
                  <a:pos x="489" y="210"/>
                </a:cxn>
                <a:cxn ang="0">
                  <a:pos x="450" y="214"/>
                </a:cxn>
                <a:cxn ang="0">
                  <a:pos x="417" y="213"/>
                </a:cxn>
                <a:cxn ang="0">
                  <a:pos x="394" y="221"/>
                </a:cxn>
                <a:cxn ang="0">
                  <a:pos x="369" y="226"/>
                </a:cxn>
                <a:cxn ang="0">
                  <a:pos x="341" y="246"/>
                </a:cxn>
                <a:cxn ang="0">
                  <a:pos x="313" y="232"/>
                </a:cxn>
                <a:cxn ang="0">
                  <a:pos x="297" y="207"/>
                </a:cxn>
                <a:cxn ang="0">
                  <a:pos x="265" y="204"/>
                </a:cxn>
                <a:cxn ang="0">
                  <a:pos x="235" y="202"/>
                </a:cxn>
                <a:cxn ang="0">
                  <a:pos x="202" y="176"/>
                </a:cxn>
                <a:cxn ang="0">
                  <a:pos x="166" y="172"/>
                </a:cxn>
                <a:cxn ang="0">
                  <a:pos x="151" y="195"/>
                </a:cxn>
                <a:cxn ang="0">
                  <a:pos x="160" y="226"/>
                </a:cxn>
                <a:cxn ang="0">
                  <a:pos x="147" y="237"/>
                </a:cxn>
                <a:cxn ang="0">
                  <a:pos x="131" y="220"/>
                </a:cxn>
                <a:cxn ang="0">
                  <a:pos x="94" y="215"/>
                </a:cxn>
                <a:cxn ang="0">
                  <a:pos x="75" y="194"/>
                </a:cxn>
                <a:cxn ang="0">
                  <a:pos x="84" y="188"/>
                </a:cxn>
                <a:cxn ang="0">
                  <a:pos x="85" y="174"/>
                </a:cxn>
                <a:cxn ang="0">
                  <a:pos x="100" y="167"/>
                </a:cxn>
                <a:cxn ang="0">
                  <a:pos x="77" y="147"/>
                </a:cxn>
              </a:cxnLst>
              <a:rect l="0" t="0" r="r" b="b"/>
              <a:pathLst>
                <a:path w="557" h="246">
                  <a:moveTo>
                    <a:pt x="77" y="147"/>
                  </a:moveTo>
                  <a:lnTo>
                    <a:pt x="65" y="146"/>
                  </a:lnTo>
                  <a:lnTo>
                    <a:pt x="47" y="154"/>
                  </a:lnTo>
                  <a:lnTo>
                    <a:pt x="45" y="155"/>
                  </a:lnTo>
                  <a:lnTo>
                    <a:pt x="34" y="138"/>
                  </a:lnTo>
                  <a:lnTo>
                    <a:pt x="17" y="125"/>
                  </a:lnTo>
                  <a:lnTo>
                    <a:pt x="0" y="112"/>
                  </a:lnTo>
                  <a:lnTo>
                    <a:pt x="3" y="93"/>
                  </a:lnTo>
                  <a:lnTo>
                    <a:pt x="5" y="74"/>
                  </a:lnTo>
                  <a:lnTo>
                    <a:pt x="22" y="81"/>
                  </a:lnTo>
                  <a:lnTo>
                    <a:pt x="24" y="74"/>
                  </a:lnTo>
                  <a:lnTo>
                    <a:pt x="35" y="65"/>
                  </a:lnTo>
                  <a:lnTo>
                    <a:pt x="46" y="58"/>
                  </a:lnTo>
                  <a:lnTo>
                    <a:pt x="65" y="57"/>
                  </a:lnTo>
                  <a:lnTo>
                    <a:pt x="84" y="65"/>
                  </a:lnTo>
                  <a:lnTo>
                    <a:pt x="103" y="74"/>
                  </a:lnTo>
                  <a:lnTo>
                    <a:pt x="124" y="72"/>
                  </a:lnTo>
                  <a:lnTo>
                    <a:pt x="151" y="72"/>
                  </a:lnTo>
                  <a:lnTo>
                    <a:pt x="178" y="76"/>
                  </a:lnTo>
                  <a:lnTo>
                    <a:pt x="180" y="71"/>
                  </a:lnTo>
                  <a:lnTo>
                    <a:pt x="166" y="54"/>
                  </a:lnTo>
                  <a:lnTo>
                    <a:pt x="172" y="34"/>
                  </a:lnTo>
                  <a:lnTo>
                    <a:pt x="185" y="35"/>
                  </a:lnTo>
                  <a:lnTo>
                    <a:pt x="168" y="27"/>
                  </a:lnTo>
                  <a:lnTo>
                    <a:pt x="186" y="23"/>
                  </a:lnTo>
                  <a:lnTo>
                    <a:pt x="204" y="21"/>
                  </a:lnTo>
                  <a:lnTo>
                    <a:pt x="221" y="16"/>
                  </a:lnTo>
                  <a:lnTo>
                    <a:pt x="238" y="11"/>
                  </a:lnTo>
                  <a:lnTo>
                    <a:pt x="253" y="6"/>
                  </a:lnTo>
                  <a:lnTo>
                    <a:pt x="270" y="2"/>
                  </a:lnTo>
                  <a:lnTo>
                    <a:pt x="283" y="0"/>
                  </a:lnTo>
                  <a:lnTo>
                    <a:pt x="293" y="11"/>
                  </a:lnTo>
                  <a:lnTo>
                    <a:pt x="319" y="21"/>
                  </a:lnTo>
                  <a:lnTo>
                    <a:pt x="330" y="26"/>
                  </a:lnTo>
                  <a:lnTo>
                    <a:pt x="341" y="28"/>
                  </a:lnTo>
                  <a:lnTo>
                    <a:pt x="359" y="21"/>
                  </a:lnTo>
                  <a:lnTo>
                    <a:pt x="376" y="15"/>
                  </a:lnTo>
                  <a:lnTo>
                    <a:pt x="379" y="17"/>
                  </a:lnTo>
                  <a:lnTo>
                    <a:pt x="377" y="26"/>
                  </a:lnTo>
                  <a:lnTo>
                    <a:pt x="396" y="39"/>
                  </a:lnTo>
                  <a:lnTo>
                    <a:pt x="414" y="51"/>
                  </a:lnTo>
                  <a:lnTo>
                    <a:pt x="433" y="64"/>
                  </a:lnTo>
                  <a:lnTo>
                    <a:pt x="453" y="77"/>
                  </a:lnTo>
                  <a:lnTo>
                    <a:pt x="456" y="72"/>
                  </a:lnTo>
                  <a:lnTo>
                    <a:pt x="466" y="76"/>
                  </a:lnTo>
                  <a:lnTo>
                    <a:pt x="484" y="74"/>
                  </a:lnTo>
                  <a:lnTo>
                    <a:pt x="503" y="86"/>
                  </a:lnTo>
                  <a:lnTo>
                    <a:pt x="522" y="96"/>
                  </a:lnTo>
                  <a:lnTo>
                    <a:pt x="540" y="93"/>
                  </a:lnTo>
                  <a:lnTo>
                    <a:pt x="557" y="110"/>
                  </a:lnTo>
                  <a:lnTo>
                    <a:pt x="551" y="122"/>
                  </a:lnTo>
                  <a:lnTo>
                    <a:pt x="544" y="126"/>
                  </a:lnTo>
                  <a:lnTo>
                    <a:pt x="551" y="144"/>
                  </a:lnTo>
                  <a:lnTo>
                    <a:pt x="538" y="147"/>
                  </a:lnTo>
                  <a:lnTo>
                    <a:pt x="515" y="142"/>
                  </a:lnTo>
                  <a:lnTo>
                    <a:pt x="517" y="158"/>
                  </a:lnTo>
                  <a:lnTo>
                    <a:pt x="519" y="172"/>
                  </a:lnTo>
                  <a:lnTo>
                    <a:pt x="525" y="179"/>
                  </a:lnTo>
                  <a:lnTo>
                    <a:pt x="504" y="177"/>
                  </a:lnTo>
                  <a:lnTo>
                    <a:pt x="487" y="184"/>
                  </a:lnTo>
                  <a:lnTo>
                    <a:pt x="497" y="188"/>
                  </a:lnTo>
                  <a:lnTo>
                    <a:pt x="503" y="201"/>
                  </a:lnTo>
                  <a:lnTo>
                    <a:pt x="510" y="214"/>
                  </a:lnTo>
                  <a:lnTo>
                    <a:pt x="510" y="218"/>
                  </a:lnTo>
                  <a:lnTo>
                    <a:pt x="507" y="221"/>
                  </a:lnTo>
                  <a:lnTo>
                    <a:pt x="489" y="210"/>
                  </a:lnTo>
                  <a:lnTo>
                    <a:pt x="469" y="212"/>
                  </a:lnTo>
                  <a:lnTo>
                    <a:pt x="450" y="214"/>
                  </a:lnTo>
                  <a:lnTo>
                    <a:pt x="430" y="214"/>
                  </a:lnTo>
                  <a:lnTo>
                    <a:pt x="417" y="213"/>
                  </a:lnTo>
                  <a:lnTo>
                    <a:pt x="408" y="222"/>
                  </a:lnTo>
                  <a:lnTo>
                    <a:pt x="394" y="221"/>
                  </a:lnTo>
                  <a:lnTo>
                    <a:pt x="378" y="219"/>
                  </a:lnTo>
                  <a:lnTo>
                    <a:pt x="369" y="226"/>
                  </a:lnTo>
                  <a:lnTo>
                    <a:pt x="355" y="237"/>
                  </a:lnTo>
                  <a:lnTo>
                    <a:pt x="341" y="246"/>
                  </a:lnTo>
                  <a:lnTo>
                    <a:pt x="328" y="239"/>
                  </a:lnTo>
                  <a:lnTo>
                    <a:pt x="313" y="232"/>
                  </a:lnTo>
                  <a:lnTo>
                    <a:pt x="312" y="218"/>
                  </a:lnTo>
                  <a:lnTo>
                    <a:pt x="297" y="207"/>
                  </a:lnTo>
                  <a:lnTo>
                    <a:pt x="281" y="206"/>
                  </a:lnTo>
                  <a:lnTo>
                    <a:pt x="265" y="204"/>
                  </a:lnTo>
                  <a:lnTo>
                    <a:pt x="251" y="203"/>
                  </a:lnTo>
                  <a:lnTo>
                    <a:pt x="235" y="202"/>
                  </a:lnTo>
                  <a:lnTo>
                    <a:pt x="221" y="185"/>
                  </a:lnTo>
                  <a:lnTo>
                    <a:pt x="202" y="176"/>
                  </a:lnTo>
                  <a:lnTo>
                    <a:pt x="183" y="165"/>
                  </a:lnTo>
                  <a:lnTo>
                    <a:pt x="166" y="172"/>
                  </a:lnTo>
                  <a:lnTo>
                    <a:pt x="148" y="178"/>
                  </a:lnTo>
                  <a:lnTo>
                    <a:pt x="151" y="195"/>
                  </a:lnTo>
                  <a:lnTo>
                    <a:pt x="155" y="210"/>
                  </a:lnTo>
                  <a:lnTo>
                    <a:pt x="160" y="226"/>
                  </a:lnTo>
                  <a:lnTo>
                    <a:pt x="163" y="243"/>
                  </a:lnTo>
                  <a:lnTo>
                    <a:pt x="147" y="237"/>
                  </a:lnTo>
                  <a:lnTo>
                    <a:pt x="130" y="232"/>
                  </a:lnTo>
                  <a:lnTo>
                    <a:pt x="131" y="220"/>
                  </a:lnTo>
                  <a:lnTo>
                    <a:pt x="106" y="220"/>
                  </a:lnTo>
                  <a:lnTo>
                    <a:pt x="94" y="215"/>
                  </a:lnTo>
                  <a:lnTo>
                    <a:pt x="88" y="212"/>
                  </a:lnTo>
                  <a:lnTo>
                    <a:pt x="75" y="194"/>
                  </a:lnTo>
                  <a:lnTo>
                    <a:pt x="67" y="189"/>
                  </a:lnTo>
                  <a:lnTo>
                    <a:pt x="84" y="188"/>
                  </a:lnTo>
                  <a:lnTo>
                    <a:pt x="77" y="182"/>
                  </a:lnTo>
                  <a:lnTo>
                    <a:pt x="85" y="174"/>
                  </a:lnTo>
                  <a:lnTo>
                    <a:pt x="103" y="174"/>
                  </a:lnTo>
                  <a:lnTo>
                    <a:pt x="100" y="167"/>
                  </a:lnTo>
                  <a:lnTo>
                    <a:pt x="96" y="148"/>
                  </a:lnTo>
                  <a:lnTo>
                    <a:pt x="77" y="147"/>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7" name="Freeform 266">
              <a:extLst>
                <a:ext uri="{FF2B5EF4-FFF2-40B4-BE49-F238E27FC236}">
                  <a16:creationId xmlns:a16="http://schemas.microsoft.com/office/drawing/2014/main" id="{0149ECF8-B990-431C-A09E-05F4B8EE432F}"/>
                </a:ext>
              </a:extLst>
            </p:cNvPr>
            <p:cNvSpPr>
              <a:spLocks/>
            </p:cNvSpPr>
            <p:nvPr/>
          </p:nvSpPr>
          <p:spPr bwMode="auto">
            <a:xfrm>
              <a:off x="7376051" y="2347473"/>
              <a:ext cx="270359" cy="136902"/>
            </a:xfrm>
            <a:custGeom>
              <a:avLst/>
              <a:gdLst/>
              <a:ahLst/>
              <a:cxnLst>
                <a:cxn ang="0">
                  <a:pos x="46" y="41"/>
                </a:cxn>
                <a:cxn ang="0">
                  <a:pos x="31" y="32"/>
                </a:cxn>
                <a:cxn ang="0">
                  <a:pos x="10" y="29"/>
                </a:cxn>
                <a:cxn ang="0">
                  <a:pos x="0" y="16"/>
                </a:cxn>
                <a:cxn ang="0">
                  <a:pos x="9" y="9"/>
                </a:cxn>
                <a:cxn ang="0">
                  <a:pos x="25" y="11"/>
                </a:cxn>
                <a:cxn ang="0">
                  <a:pos x="39" y="12"/>
                </a:cxn>
                <a:cxn ang="0">
                  <a:pos x="48" y="3"/>
                </a:cxn>
                <a:cxn ang="0">
                  <a:pos x="61" y="4"/>
                </a:cxn>
                <a:cxn ang="0">
                  <a:pos x="81" y="4"/>
                </a:cxn>
                <a:cxn ang="0">
                  <a:pos x="100" y="2"/>
                </a:cxn>
                <a:cxn ang="0">
                  <a:pos x="120" y="0"/>
                </a:cxn>
                <a:cxn ang="0">
                  <a:pos x="138" y="11"/>
                </a:cxn>
                <a:cxn ang="0">
                  <a:pos x="141" y="20"/>
                </a:cxn>
                <a:cxn ang="0">
                  <a:pos x="130" y="29"/>
                </a:cxn>
                <a:cxn ang="0">
                  <a:pos x="120" y="38"/>
                </a:cxn>
                <a:cxn ang="0">
                  <a:pos x="104" y="42"/>
                </a:cxn>
                <a:cxn ang="0">
                  <a:pos x="94" y="53"/>
                </a:cxn>
                <a:cxn ang="0">
                  <a:pos x="86" y="51"/>
                </a:cxn>
                <a:cxn ang="0">
                  <a:pos x="79" y="52"/>
                </a:cxn>
                <a:cxn ang="0">
                  <a:pos x="68" y="58"/>
                </a:cxn>
                <a:cxn ang="0">
                  <a:pos x="62" y="71"/>
                </a:cxn>
                <a:cxn ang="0">
                  <a:pos x="37" y="69"/>
                </a:cxn>
                <a:cxn ang="0">
                  <a:pos x="12" y="65"/>
                </a:cxn>
                <a:cxn ang="0">
                  <a:pos x="10" y="53"/>
                </a:cxn>
                <a:cxn ang="0">
                  <a:pos x="28" y="47"/>
                </a:cxn>
                <a:cxn ang="0">
                  <a:pos x="46" y="41"/>
                </a:cxn>
              </a:cxnLst>
              <a:rect l="0" t="0" r="r" b="b"/>
              <a:pathLst>
                <a:path w="141" h="71">
                  <a:moveTo>
                    <a:pt x="46" y="41"/>
                  </a:moveTo>
                  <a:lnTo>
                    <a:pt x="31" y="32"/>
                  </a:lnTo>
                  <a:lnTo>
                    <a:pt x="10" y="29"/>
                  </a:lnTo>
                  <a:lnTo>
                    <a:pt x="0" y="16"/>
                  </a:lnTo>
                  <a:lnTo>
                    <a:pt x="9" y="9"/>
                  </a:lnTo>
                  <a:lnTo>
                    <a:pt x="25" y="11"/>
                  </a:lnTo>
                  <a:lnTo>
                    <a:pt x="39" y="12"/>
                  </a:lnTo>
                  <a:lnTo>
                    <a:pt x="48" y="3"/>
                  </a:lnTo>
                  <a:lnTo>
                    <a:pt x="61" y="4"/>
                  </a:lnTo>
                  <a:lnTo>
                    <a:pt x="81" y="4"/>
                  </a:lnTo>
                  <a:lnTo>
                    <a:pt x="100" y="2"/>
                  </a:lnTo>
                  <a:lnTo>
                    <a:pt x="120" y="0"/>
                  </a:lnTo>
                  <a:lnTo>
                    <a:pt x="138" y="11"/>
                  </a:lnTo>
                  <a:lnTo>
                    <a:pt x="141" y="20"/>
                  </a:lnTo>
                  <a:lnTo>
                    <a:pt x="130" y="29"/>
                  </a:lnTo>
                  <a:lnTo>
                    <a:pt x="120" y="38"/>
                  </a:lnTo>
                  <a:lnTo>
                    <a:pt x="104" y="42"/>
                  </a:lnTo>
                  <a:lnTo>
                    <a:pt x="94" y="53"/>
                  </a:lnTo>
                  <a:lnTo>
                    <a:pt x="86" y="51"/>
                  </a:lnTo>
                  <a:lnTo>
                    <a:pt x="79" y="52"/>
                  </a:lnTo>
                  <a:lnTo>
                    <a:pt x="68" y="58"/>
                  </a:lnTo>
                  <a:lnTo>
                    <a:pt x="62" y="71"/>
                  </a:lnTo>
                  <a:lnTo>
                    <a:pt x="37" y="69"/>
                  </a:lnTo>
                  <a:lnTo>
                    <a:pt x="12" y="65"/>
                  </a:lnTo>
                  <a:lnTo>
                    <a:pt x="10" y="53"/>
                  </a:lnTo>
                  <a:lnTo>
                    <a:pt x="28" y="47"/>
                  </a:lnTo>
                  <a:lnTo>
                    <a:pt x="46" y="4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8" name="Freeform 267">
              <a:extLst>
                <a:ext uri="{FF2B5EF4-FFF2-40B4-BE49-F238E27FC236}">
                  <a16:creationId xmlns:a16="http://schemas.microsoft.com/office/drawing/2014/main" id="{B60BCB2F-4FA2-4B30-9907-BAE79B2B4293}"/>
                </a:ext>
              </a:extLst>
            </p:cNvPr>
            <p:cNvSpPr>
              <a:spLocks/>
            </p:cNvSpPr>
            <p:nvPr/>
          </p:nvSpPr>
          <p:spPr bwMode="auto">
            <a:xfrm>
              <a:off x="6874689" y="2366297"/>
              <a:ext cx="414094" cy="254981"/>
            </a:xfrm>
            <a:custGeom>
              <a:avLst/>
              <a:gdLst/>
              <a:ahLst/>
              <a:cxnLst>
                <a:cxn ang="0">
                  <a:pos x="206" y="104"/>
                </a:cxn>
                <a:cxn ang="0">
                  <a:pos x="200" y="119"/>
                </a:cxn>
                <a:cxn ang="0">
                  <a:pos x="187" y="126"/>
                </a:cxn>
                <a:cxn ang="0">
                  <a:pos x="182" y="134"/>
                </a:cxn>
                <a:cxn ang="0">
                  <a:pos x="174" y="133"/>
                </a:cxn>
                <a:cxn ang="0">
                  <a:pos x="159" y="128"/>
                </a:cxn>
                <a:cxn ang="0">
                  <a:pos x="153" y="110"/>
                </a:cxn>
                <a:cxn ang="0">
                  <a:pos x="140" y="108"/>
                </a:cxn>
                <a:cxn ang="0">
                  <a:pos x="127" y="100"/>
                </a:cxn>
                <a:cxn ang="0">
                  <a:pos x="114" y="91"/>
                </a:cxn>
                <a:cxn ang="0">
                  <a:pos x="90" y="83"/>
                </a:cxn>
                <a:cxn ang="0">
                  <a:pos x="75" y="84"/>
                </a:cxn>
                <a:cxn ang="0">
                  <a:pos x="59" y="86"/>
                </a:cxn>
                <a:cxn ang="0">
                  <a:pos x="48" y="97"/>
                </a:cxn>
                <a:cxn ang="0">
                  <a:pos x="43" y="97"/>
                </a:cxn>
                <a:cxn ang="0">
                  <a:pos x="39" y="83"/>
                </a:cxn>
                <a:cxn ang="0">
                  <a:pos x="35" y="67"/>
                </a:cxn>
                <a:cxn ang="0">
                  <a:pos x="26" y="61"/>
                </a:cxn>
                <a:cxn ang="0">
                  <a:pos x="25" y="62"/>
                </a:cxn>
                <a:cxn ang="0">
                  <a:pos x="27" y="59"/>
                </a:cxn>
                <a:cxn ang="0">
                  <a:pos x="30" y="56"/>
                </a:cxn>
                <a:cxn ang="0">
                  <a:pos x="26" y="50"/>
                </a:cxn>
                <a:cxn ang="0">
                  <a:pos x="19" y="52"/>
                </a:cxn>
                <a:cxn ang="0">
                  <a:pos x="19" y="53"/>
                </a:cxn>
                <a:cxn ang="0">
                  <a:pos x="14" y="35"/>
                </a:cxn>
                <a:cxn ang="0">
                  <a:pos x="17" y="34"/>
                </a:cxn>
                <a:cxn ang="0">
                  <a:pos x="25" y="34"/>
                </a:cxn>
                <a:cxn ang="0">
                  <a:pos x="32" y="38"/>
                </a:cxn>
                <a:cxn ang="0">
                  <a:pos x="36" y="37"/>
                </a:cxn>
                <a:cxn ang="0">
                  <a:pos x="37" y="35"/>
                </a:cxn>
                <a:cxn ang="0">
                  <a:pos x="39" y="30"/>
                </a:cxn>
                <a:cxn ang="0">
                  <a:pos x="25" y="14"/>
                </a:cxn>
                <a:cxn ang="0">
                  <a:pos x="12" y="13"/>
                </a:cxn>
                <a:cxn ang="0">
                  <a:pos x="13" y="28"/>
                </a:cxn>
                <a:cxn ang="0">
                  <a:pos x="13" y="30"/>
                </a:cxn>
                <a:cxn ang="0">
                  <a:pos x="3" y="11"/>
                </a:cxn>
                <a:cxn ang="0">
                  <a:pos x="5" y="2"/>
                </a:cxn>
                <a:cxn ang="0">
                  <a:pos x="0" y="0"/>
                </a:cxn>
                <a:cxn ang="0">
                  <a:pos x="25" y="0"/>
                </a:cxn>
                <a:cxn ang="0">
                  <a:pos x="24" y="12"/>
                </a:cxn>
                <a:cxn ang="0">
                  <a:pos x="41" y="17"/>
                </a:cxn>
                <a:cxn ang="0">
                  <a:pos x="57" y="23"/>
                </a:cxn>
                <a:cxn ang="0">
                  <a:pos x="78" y="26"/>
                </a:cxn>
                <a:cxn ang="0">
                  <a:pos x="74" y="17"/>
                </a:cxn>
                <a:cxn ang="0">
                  <a:pos x="81" y="13"/>
                </a:cxn>
                <a:cxn ang="0">
                  <a:pos x="93" y="0"/>
                </a:cxn>
                <a:cxn ang="0">
                  <a:pos x="113" y="13"/>
                </a:cxn>
                <a:cxn ang="0">
                  <a:pos x="125" y="31"/>
                </a:cxn>
                <a:cxn ang="0">
                  <a:pos x="144" y="38"/>
                </a:cxn>
                <a:cxn ang="0">
                  <a:pos x="157" y="46"/>
                </a:cxn>
                <a:cxn ang="0">
                  <a:pos x="182" y="61"/>
                </a:cxn>
                <a:cxn ang="0">
                  <a:pos x="207" y="77"/>
                </a:cxn>
                <a:cxn ang="0">
                  <a:pos x="217" y="95"/>
                </a:cxn>
                <a:cxn ang="0">
                  <a:pos x="211" y="100"/>
                </a:cxn>
                <a:cxn ang="0">
                  <a:pos x="206" y="104"/>
                </a:cxn>
              </a:cxnLst>
              <a:rect l="0" t="0" r="r" b="b"/>
              <a:pathLst>
                <a:path w="217" h="134">
                  <a:moveTo>
                    <a:pt x="206" y="104"/>
                  </a:moveTo>
                  <a:lnTo>
                    <a:pt x="200" y="119"/>
                  </a:lnTo>
                  <a:lnTo>
                    <a:pt x="187" y="126"/>
                  </a:lnTo>
                  <a:lnTo>
                    <a:pt x="182" y="134"/>
                  </a:lnTo>
                  <a:lnTo>
                    <a:pt x="174" y="133"/>
                  </a:lnTo>
                  <a:lnTo>
                    <a:pt x="159" y="128"/>
                  </a:lnTo>
                  <a:lnTo>
                    <a:pt x="153" y="110"/>
                  </a:lnTo>
                  <a:lnTo>
                    <a:pt x="140" y="108"/>
                  </a:lnTo>
                  <a:lnTo>
                    <a:pt x="127" y="100"/>
                  </a:lnTo>
                  <a:lnTo>
                    <a:pt x="114" y="91"/>
                  </a:lnTo>
                  <a:lnTo>
                    <a:pt x="90" y="83"/>
                  </a:lnTo>
                  <a:lnTo>
                    <a:pt x="75" y="84"/>
                  </a:lnTo>
                  <a:lnTo>
                    <a:pt x="59" y="86"/>
                  </a:lnTo>
                  <a:lnTo>
                    <a:pt x="48" y="97"/>
                  </a:lnTo>
                  <a:lnTo>
                    <a:pt x="43" y="97"/>
                  </a:lnTo>
                  <a:lnTo>
                    <a:pt x="39" y="83"/>
                  </a:lnTo>
                  <a:lnTo>
                    <a:pt x="35" y="67"/>
                  </a:lnTo>
                  <a:lnTo>
                    <a:pt x="26" y="61"/>
                  </a:lnTo>
                  <a:lnTo>
                    <a:pt x="25" y="62"/>
                  </a:lnTo>
                  <a:lnTo>
                    <a:pt x="27" y="59"/>
                  </a:lnTo>
                  <a:lnTo>
                    <a:pt x="30" y="56"/>
                  </a:lnTo>
                  <a:lnTo>
                    <a:pt x="26" y="50"/>
                  </a:lnTo>
                  <a:lnTo>
                    <a:pt x="19" y="52"/>
                  </a:lnTo>
                  <a:lnTo>
                    <a:pt x="19" y="53"/>
                  </a:lnTo>
                  <a:lnTo>
                    <a:pt x="14" y="35"/>
                  </a:lnTo>
                  <a:lnTo>
                    <a:pt x="17" y="34"/>
                  </a:lnTo>
                  <a:lnTo>
                    <a:pt x="25" y="34"/>
                  </a:lnTo>
                  <a:lnTo>
                    <a:pt x="32" y="38"/>
                  </a:lnTo>
                  <a:lnTo>
                    <a:pt x="36" y="37"/>
                  </a:lnTo>
                  <a:lnTo>
                    <a:pt x="37" y="35"/>
                  </a:lnTo>
                  <a:lnTo>
                    <a:pt x="39" y="30"/>
                  </a:lnTo>
                  <a:lnTo>
                    <a:pt x="25" y="14"/>
                  </a:lnTo>
                  <a:lnTo>
                    <a:pt x="12" y="13"/>
                  </a:lnTo>
                  <a:lnTo>
                    <a:pt x="13" y="28"/>
                  </a:lnTo>
                  <a:lnTo>
                    <a:pt x="13" y="30"/>
                  </a:lnTo>
                  <a:lnTo>
                    <a:pt x="3" y="11"/>
                  </a:lnTo>
                  <a:lnTo>
                    <a:pt x="5" y="2"/>
                  </a:lnTo>
                  <a:lnTo>
                    <a:pt x="0" y="0"/>
                  </a:lnTo>
                  <a:lnTo>
                    <a:pt x="25" y="0"/>
                  </a:lnTo>
                  <a:lnTo>
                    <a:pt x="24" y="12"/>
                  </a:lnTo>
                  <a:lnTo>
                    <a:pt x="41" y="17"/>
                  </a:lnTo>
                  <a:lnTo>
                    <a:pt x="57" y="23"/>
                  </a:lnTo>
                  <a:lnTo>
                    <a:pt x="78" y="26"/>
                  </a:lnTo>
                  <a:lnTo>
                    <a:pt x="74" y="17"/>
                  </a:lnTo>
                  <a:lnTo>
                    <a:pt x="81" y="13"/>
                  </a:lnTo>
                  <a:lnTo>
                    <a:pt x="93" y="0"/>
                  </a:lnTo>
                  <a:lnTo>
                    <a:pt x="113" y="13"/>
                  </a:lnTo>
                  <a:lnTo>
                    <a:pt x="125" y="31"/>
                  </a:lnTo>
                  <a:lnTo>
                    <a:pt x="144" y="38"/>
                  </a:lnTo>
                  <a:lnTo>
                    <a:pt x="157" y="46"/>
                  </a:lnTo>
                  <a:lnTo>
                    <a:pt x="182" y="61"/>
                  </a:lnTo>
                  <a:lnTo>
                    <a:pt x="207" y="77"/>
                  </a:lnTo>
                  <a:lnTo>
                    <a:pt x="217" y="95"/>
                  </a:lnTo>
                  <a:lnTo>
                    <a:pt x="211" y="100"/>
                  </a:lnTo>
                  <a:lnTo>
                    <a:pt x="206" y="104"/>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69" name="Freeform 268">
              <a:extLst>
                <a:ext uri="{FF2B5EF4-FFF2-40B4-BE49-F238E27FC236}">
                  <a16:creationId xmlns:a16="http://schemas.microsoft.com/office/drawing/2014/main" id="{095F0A32-C150-4BEA-A020-47FC0A847DFE}"/>
                </a:ext>
              </a:extLst>
            </p:cNvPr>
            <p:cNvSpPr>
              <a:spLocks/>
            </p:cNvSpPr>
            <p:nvPr/>
          </p:nvSpPr>
          <p:spPr bwMode="auto">
            <a:xfrm>
              <a:off x="7170715" y="2515178"/>
              <a:ext cx="379872" cy="308030"/>
            </a:xfrm>
            <a:custGeom>
              <a:avLst/>
              <a:gdLst/>
              <a:ahLst/>
              <a:cxnLst>
                <a:cxn ang="0">
                  <a:pos x="1" y="71"/>
                </a:cxn>
                <a:cxn ang="0">
                  <a:pos x="0" y="73"/>
                </a:cxn>
                <a:cxn ang="0">
                  <a:pos x="0" y="83"/>
                </a:cxn>
                <a:cxn ang="0">
                  <a:pos x="6" y="88"/>
                </a:cxn>
                <a:cxn ang="0">
                  <a:pos x="4" y="91"/>
                </a:cxn>
                <a:cxn ang="0">
                  <a:pos x="8" y="106"/>
                </a:cxn>
                <a:cxn ang="0">
                  <a:pos x="10" y="121"/>
                </a:cxn>
                <a:cxn ang="0">
                  <a:pos x="26" y="126"/>
                </a:cxn>
                <a:cxn ang="0">
                  <a:pos x="28" y="133"/>
                </a:cxn>
                <a:cxn ang="0">
                  <a:pos x="18" y="154"/>
                </a:cxn>
                <a:cxn ang="0">
                  <a:pos x="31" y="157"/>
                </a:cxn>
                <a:cxn ang="0">
                  <a:pos x="43" y="162"/>
                </a:cxn>
                <a:cxn ang="0">
                  <a:pos x="67" y="161"/>
                </a:cxn>
                <a:cxn ang="0">
                  <a:pos x="84" y="157"/>
                </a:cxn>
                <a:cxn ang="0">
                  <a:pos x="99" y="154"/>
                </a:cxn>
                <a:cxn ang="0">
                  <a:pos x="99" y="146"/>
                </a:cxn>
                <a:cxn ang="0">
                  <a:pos x="102" y="132"/>
                </a:cxn>
                <a:cxn ang="0">
                  <a:pos x="116" y="126"/>
                </a:cxn>
                <a:cxn ang="0">
                  <a:pos x="121" y="121"/>
                </a:cxn>
                <a:cxn ang="0">
                  <a:pos x="135" y="121"/>
                </a:cxn>
                <a:cxn ang="0">
                  <a:pos x="136" y="102"/>
                </a:cxn>
                <a:cxn ang="0">
                  <a:pos x="148" y="91"/>
                </a:cxn>
                <a:cxn ang="0">
                  <a:pos x="140" y="82"/>
                </a:cxn>
                <a:cxn ang="0">
                  <a:pos x="153" y="80"/>
                </a:cxn>
                <a:cxn ang="0">
                  <a:pos x="156" y="72"/>
                </a:cxn>
                <a:cxn ang="0">
                  <a:pos x="160" y="59"/>
                </a:cxn>
                <a:cxn ang="0">
                  <a:pos x="152" y="44"/>
                </a:cxn>
                <a:cxn ang="0">
                  <a:pos x="159" y="34"/>
                </a:cxn>
                <a:cxn ang="0">
                  <a:pos x="177" y="29"/>
                </a:cxn>
                <a:cxn ang="0">
                  <a:pos x="195" y="25"/>
                </a:cxn>
                <a:cxn ang="0">
                  <a:pos x="195" y="22"/>
                </a:cxn>
                <a:cxn ang="0">
                  <a:pos x="199" y="22"/>
                </a:cxn>
                <a:cxn ang="0">
                  <a:pos x="200" y="22"/>
                </a:cxn>
                <a:cxn ang="0">
                  <a:pos x="187" y="20"/>
                </a:cxn>
                <a:cxn ang="0">
                  <a:pos x="182" y="19"/>
                </a:cxn>
                <a:cxn ang="0">
                  <a:pos x="170" y="20"/>
                </a:cxn>
                <a:cxn ang="0">
                  <a:pos x="152" y="30"/>
                </a:cxn>
                <a:cxn ang="0">
                  <a:pos x="146" y="8"/>
                </a:cxn>
                <a:cxn ang="0">
                  <a:pos x="142" y="8"/>
                </a:cxn>
                <a:cxn ang="0">
                  <a:pos x="138" y="0"/>
                </a:cxn>
                <a:cxn ang="0">
                  <a:pos x="130" y="4"/>
                </a:cxn>
                <a:cxn ang="0">
                  <a:pos x="128" y="14"/>
                </a:cxn>
                <a:cxn ang="0">
                  <a:pos x="117" y="19"/>
                </a:cxn>
                <a:cxn ang="0">
                  <a:pos x="114" y="23"/>
                </a:cxn>
                <a:cxn ang="0">
                  <a:pos x="104" y="23"/>
                </a:cxn>
                <a:cxn ang="0">
                  <a:pos x="96" y="24"/>
                </a:cxn>
                <a:cxn ang="0">
                  <a:pos x="91" y="22"/>
                </a:cxn>
                <a:cxn ang="0">
                  <a:pos x="76" y="19"/>
                </a:cxn>
                <a:cxn ang="0">
                  <a:pos x="62" y="17"/>
                </a:cxn>
                <a:cxn ang="0">
                  <a:pos x="56" y="22"/>
                </a:cxn>
                <a:cxn ang="0">
                  <a:pos x="51" y="26"/>
                </a:cxn>
                <a:cxn ang="0">
                  <a:pos x="45" y="41"/>
                </a:cxn>
                <a:cxn ang="0">
                  <a:pos x="32" y="48"/>
                </a:cxn>
                <a:cxn ang="0">
                  <a:pos x="27" y="56"/>
                </a:cxn>
                <a:cxn ang="0">
                  <a:pos x="19" y="55"/>
                </a:cxn>
                <a:cxn ang="0">
                  <a:pos x="4" y="50"/>
                </a:cxn>
                <a:cxn ang="0">
                  <a:pos x="1" y="71"/>
                </a:cxn>
              </a:cxnLst>
              <a:rect l="0" t="0" r="r" b="b"/>
              <a:pathLst>
                <a:path w="200" h="162">
                  <a:moveTo>
                    <a:pt x="1" y="71"/>
                  </a:moveTo>
                  <a:lnTo>
                    <a:pt x="0" y="73"/>
                  </a:lnTo>
                  <a:lnTo>
                    <a:pt x="0" y="83"/>
                  </a:lnTo>
                  <a:lnTo>
                    <a:pt x="6" y="88"/>
                  </a:lnTo>
                  <a:lnTo>
                    <a:pt x="4" y="91"/>
                  </a:lnTo>
                  <a:lnTo>
                    <a:pt x="8" y="106"/>
                  </a:lnTo>
                  <a:lnTo>
                    <a:pt x="10" y="121"/>
                  </a:lnTo>
                  <a:lnTo>
                    <a:pt x="26" y="126"/>
                  </a:lnTo>
                  <a:lnTo>
                    <a:pt x="28" y="133"/>
                  </a:lnTo>
                  <a:lnTo>
                    <a:pt x="18" y="154"/>
                  </a:lnTo>
                  <a:lnTo>
                    <a:pt x="31" y="157"/>
                  </a:lnTo>
                  <a:lnTo>
                    <a:pt x="43" y="162"/>
                  </a:lnTo>
                  <a:lnTo>
                    <a:pt x="67" y="161"/>
                  </a:lnTo>
                  <a:lnTo>
                    <a:pt x="84" y="157"/>
                  </a:lnTo>
                  <a:lnTo>
                    <a:pt x="99" y="154"/>
                  </a:lnTo>
                  <a:lnTo>
                    <a:pt x="99" y="146"/>
                  </a:lnTo>
                  <a:lnTo>
                    <a:pt x="102" y="132"/>
                  </a:lnTo>
                  <a:lnTo>
                    <a:pt x="116" y="126"/>
                  </a:lnTo>
                  <a:lnTo>
                    <a:pt x="121" y="121"/>
                  </a:lnTo>
                  <a:lnTo>
                    <a:pt x="135" y="121"/>
                  </a:lnTo>
                  <a:lnTo>
                    <a:pt x="136" y="102"/>
                  </a:lnTo>
                  <a:lnTo>
                    <a:pt x="148" y="91"/>
                  </a:lnTo>
                  <a:lnTo>
                    <a:pt x="140" y="82"/>
                  </a:lnTo>
                  <a:lnTo>
                    <a:pt x="153" y="80"/>
                  </a:lnTo>
                  <a:lnTo>
                    <a:pt x="156" y="72"/>
                  </a:lnTo>
                  <a:lnTo>
                    <a:pt x="160" y="59"/>
                  </a:lnTo>
                  <a:lnTo>
                    <a:pt x="152" y="44"/>
                  </a:lnTo>
                  <a:lnTo>
                    <a:pt x="159" y="34"/>
                  </a:lnTo>
                  <a:lnTo>
                    <a:pt x="177" y="29"/>
                  </a:lnTo>
                  <a:lnTo>
                    <a:pt x="195" y="25"/>
                  </a:lnTo>
                  <a:lnTo>
                    <a:pt x="195" y="22"/>
                  </a:lnTo>
                  <a:lnTo>
                    <a:pt x="199" y="22"/>
                  </a:lnTo>
                  <a:lnTo>
                    <a:pt x="200" y="22"/>
                  </a:lnTo>
                  <a:lnTo>
                    <a:pt x="187" y="20"/>
                  </a:lnTo>
                  <a:lnTo>
                    <a:pt x="182" y="19"/>
                  </a:lnTo>
                  <a:lnTo>
                    <a:pt x="170" y="20"/>
                  </a:lnTo>
                  <a:lnTo>
                    <a:pt x="152" y="30"/>
                  </a:lnTo>
                  <a:lnTo>
                    <a:pt x="146" y="8"/>
                  </a:lnTo>
                  <a:lnTo>
                    <a:pt x="142" y="8"/>
                  </a:lnTo>
                  <a:lnTo>
                    <a:pt x="138" y="0"/>
                  </a:lnTo>
                  <a:lnTo>
                    <a:pt x="130" y="4"/>
                  </a:lnTo>
                  <a:lnTo>
                    <a:pt x="128" y="14"/>
                  </a:lnTo>
                  <a:lnTo>
                    <a:pt x="117" y="19"/>
                  </a:lnTo>
                  <a:lnTo>
                    <a:pt x="114" y="23"/>
                  </a:lnTo>
                  <a:lnTo>
                    <a:pt x="104" y="23"/>
                  </a:lnTo>
                  <a:lnTo>
                    <a:pt x="96" y="24"/>
                  </a:lnTo>
                  <a:lnTo>
                    <a:pt x="91" y="22"/>
                  </a:lnTo>
                  <a:lnTo>
                    <a:pt x="76" y="19"/>
                  </a:lnTo>
                  <a:lnTo>
                    <a:pt x="62" y="17"/>
                  </a:lnTo>
                  <a:lnTo>
                    <a:pt x="56" y="22"/>
                  </a:lnTo>
                  <a:lnTo>
                    <a:pt x="51" y="26"/>
                  </a:lnTo>
                  <a:lnTo>
                    <a:pt x="45" y="41"/>
                  </a:lnTo>
                  <a:lnTo>
                    <a:pt x="32" y="48"/>
                  </a:lnTo>
                  <a:lnTo>
                    <a:pt x="27" y="56"/>
                  </a:lnTo>
                  <a:lnTo>
                    <a:pt x="19" y="55"/>
                  </a:lnTo>
                  <a:lnTo>
                    <a:pt x="4" y="50"/>
                  </a:lnTo>
                  <a:lnTo>
                    <a:pt x="1" y="7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71" name="Line 270">
              <a:extLst>
                <a:ext uri="{FF2B5EF4-FFF2-40B4-BE49-F238E27FC236}">
                  <a16:creationId xmlns:a16="http://schemas.microsoft.com/office/drawing/2014/main" id="{6072B14D-8D1A-45E5-AD3A-C6992D4E51C6}"/>
                </a:ext>
              </a:extLst>
            </p:cNvPr>
            <p:cNvSpPr>
              <a:spLocks noChangeShapeType="1"/>
            </p:cNvSpPr>
            <p:nvPr/>
          </p:nvSpPr>
          <p:spPr bwMode="auto">
            <a:xfrm>
              <a:off x="7531764" y="2563094"/>
              <a:ext cx="3422" cy="8556"/>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2" name="Line 271">
              <a:extLst>
                <a:ext uri="{FF2B5EF4-FFF2-40B4-BE49-F238E27FC236}">
                  <a16:creationId xmlns:a16="http://schemas.microsoft.com/office/drawing/2014/main" id="{A56D2B5C-F23C-403C-85DA-6B0396BC69A1}"/>
                </a:ext>
              </a:extLst>
            </p:cNvPr>
            <p:cNvSpPr>
              <a:spLocks noChangeShapeType="1"/>
            </p:cNvSpPr>
            <p:nvPr/>
          </p:nvSpPr>
          <p:spPr bwMode="auto">
            <a:xfrm>
              <a:off x="7535186" y="2568228"/>
              <a:ext cx="5133"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3" name="Line 272">
              <a:extLst>
                <a:ext uri="{FF2B5EF4-FFF2-40B4-BE49-F238E27FC236}">
                  <a16:creationId xmlns:a16="http://schemas.microsoft.com/office/drawing/2014/main" id="{33F8F0D2-8AC3-4B92-A59D-E64B90288B0A}"/>
                </a:ext>
              </a:extLst>
            </p:cNvPr>
            <p:cNvSpPr>
              <a:spLocks noChangeShapeType="1"/>
            </p:cNvSpPr>
            <p:nvPr/>
          </p:nvSpPr>
          <p:spPr bwMode="auto">
            <a:xfrm flipH="1">
              <a:off x="7524919" y="2575073"/>
              <a:ext cx="10267"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4" name="Line 273">
              <a:extLst>
                <a:ext uri="{FF2B5EF4-FFF2-40B4-BE49-F238E27FC236}">
                  <a16:creationId xmlns:a16="http://schemas.microsoft.com/office/drawing/2014/main" id="{EB56674D-2356-46FC-BF33-5B503B0E0877}"/>
                </a:ext>
              </a:extLst>
            </p:cNvPr>
            <p:cNvSpPr>
              <a:spLocks noChangeShapeType="1"/>
            </p:cNvSpPr>
            <p:nvPr/>
          </p:nvSpPr>
          <p:spPr bwMode="auto">
            <a:xfrm flipH="1">
              <a:off x="7521497" y="2578496"/>
              <a:ext cx="6845" cy="8556"/>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5" name="Line 274">
              <a:extLst>
                <a:ext uri="{FF2B5EF4-FFF2-40B4-BE49-F238E27FC236}">
                  <a16:creationId xmlns:a16="http://schemas.microsoft.com/office/drawing/2014/main" id="{18CE075B-43B5-444F-8196-9FCA2E380EF6}"/>
                </a:ext>
              </a:extLst>
            </p:cNvPr>
            <p:cNvSpPr>
              <a:spLocks noChangeShapeType="1"/>
            </p:cNvSpPr>
            <p:nvPr/>
          </p:nvSpPr>
          <p:spPr bwMode="auto">
            <a:xfrm flipH="1">
              <a:off x="7512941" y="2587052"/>
              <a:ext cx="8556"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6" name="Line 275">
              <a:extLst>
                <a:ext uri="{FF2B5EF4-FFF2-40B4-BE49-F238E27FC236}">
                  <a16:creationId xmlns:a16="http://schemas.microsoft.com/office/drawing/2014/main" id="{8D794BC0-2E80-45C5-A612-1388A98219B3}"/>
                </a:ext>
              </a:extLst>
            </p:cNvPr>
            <p:cNvSpPr>
              <a:spLocks noChangeShapeType="1"/>
            </p:cNvSpPr>
            <p:nvPr/>
          </p:nvSpPr>
          <p:spPr bwMode="auto">
            <a:xfrm flipH="1">
              <a:off x="7509519" y="2587052"/>
              <a:ext cx="3422" cy="10268"/>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7" name="Line 276">
              <a:extLst>
                <a:ext uri="{FF2B5EF4-FFF2-40B4-BE49-F238E27FC236}">
                  <a16:creationId xmlns:a16="http://schemas.microsoft.com/office/drawing/2014/main" id="{54DE62A6-7B0F-4C66-B95E-B9F745E32DDC}"/>
                </a:ext>
              </a:extLst>
            </p:cNvPr>
            <p:cNvSpPr>
              <a:spLocks noChangeShapeType="1"/>
            </p:cNvSpPr>
            <p:nvPr/>
          </p:nvSpPr>
          <p:spPr bwMode="auto">
            <a:xfrm>
              <a:off x="7509519" y="2593897"/>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8" name="Line 277">
              <a:extLst>
                <a:ext uri="{FF2B5EF4-FFF2-40B4-BE49-F238E27FC236}">
                  <a16:creationId xmlns:a16="http://schemas.microsoft.com/office/drawing/2014/main" id="{C60EB259-E6E1-4489-8D1A-B0A316FE1F55}"/>
                </a:ext>
              </a:extLst>
            </p:cNvPr>
            <p:cNvSpPr>
              <a:spLocks noChangeShapeType="1"/>
            </p:cNvSpPr>
            <p:nvPr/>
          </p:nvSpPr>
          <p:spPr bwMode="auto">
            <a:xfrm>
              <a:off x="7509519" y="2602453"/>
              <a:ext cx="3422" cy="15402"/>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79" name="Line 278">
              <a:extLst>
                <a:ext uri="{FF2B5EF4-FFF2-40B4-BE49-F238E27FC236}">
                  <a16:creationId xmlns:a16="http://schemas.microsoft.com/office/drawing/2014/main" id="{CEFD7694-A226-4BE1-87CB-9B27BDAED699}"/>
                </a:ext>
              </a:extLst>
            </p:cNvPr>
            <p:cNvSpPr>
              <a:spLocks noChangeShapeType="1"/>
            </p:cNvSpPr>
            <p:nvPr/>
          </p:nvSpPr>
          <p:spPr bwMode="auto">
            <a:xfrm>
              <a:off x="7512941" y="2612721"/>
              <a:ext cx="8556"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0" name="Line 279">
              <a:extLst>
                <a:ext uri="{FF2B5EF4-FFF2-40B4-BE49-F238E27FC236}">
                  <a16:creationId xmlns:a16="http://schemas.microsoft.com/office/drawing/2014/main" id="{BAA18CA6-F321-4423-B241-1A305C86C730}"/>
                </a:ext>
              </a:extLst>
            </p:cNvPr>
            <p:cNvSpPr>
              <a:spLocks noChangeShapeType="1"/>
            </p:cNvSpPr>
            <p:nvPr/>
          </p:nvSpPr>
          <p:spPr bwMode="auto">
            <a:xfrm>
              <a:off x="7516364" y="2621278"/>
              <a:ext cx="5133"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1" name="Line 280">
              <a:extLst>
                <a:ext uri="{FF2B5EF4-FFF2-40B4-BE49-F238E27FC236}">
                  <a16:creationId xmlns:a16="http://schemas.microsoft.com/office/drawing/2014/main" id="{7F527C9B-73C3-4F94-AAA2-A2EC0CAA6068}"/>
                </a:ext>
              </a:extLst>
            </p:cNvPr>
            <p:cNvSpPr>
              <a:spLocks noChangeShapeType="1"/>
            </p:cNvSpPr>
            <p:nvPr/>
          </p:nvSpPr>
          <p:spPr bwMode="auto">
            <a:xfrm>
              <a:off x="7535186" y="2665771"/>
              <a:ext cx="5133" cy="513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2" name="Line 281">
              <a:extLst>
                <a:ext uri="{FF2B5EF4-FFF2-40B4-BE49-F238E27FC236}">
                  <a16:creationId xmlns:a16="http://schemas.microsoft.com/office/drawing/2014/main" id="{1AE983E2-4ABC-436E-B7AF-994E8B4C514A}"/>
                </a:ext>
              </a:extLst>
            </p:cNvPr>
            <p:cNvSpPr>
              <a:spLocks noChangeShapeType="1"/>
            </p:cNvSpPr>
            <p:nvPr/>
          </p:nvSpPr>
          <p:spPr bwMode="auto">
            <a:xfrm>
              <a:off x="7535186" y="2665771"/>
              <a:ext cx="15400"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3" name="Line 282">
              <a:extLst>
                <a:ext uri="{FF2B5EF4-FFF2-40B4-BE49-F238E27FC236}">
                  <a16:creationId xmlns:a16="http://schemas.microsoft.com/office/drawing/2014/main" id="{39F58BED-B128-4397-8A83-FE3847D4A78F}"/>
                </a:ext>
              </a:extLst>
            </p:cNvPr>
            <p:cNvSpPr>
              <a:spLocks noChangeShapeType="1"/>
            </p:cNvSpPr>
            <p:nvPr/>
          </p:nvSpPr>
          <p:spPr bwMode="auto">
            <a:xfrm>
              <a:off x="7547164" y="2674327"/>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4" name="Line 283">
              <a:extLst>
                <a:ext uri="{FF2B5EF4-FFF2-40B4-BE49-F238E27FC236}">
                  <a16:creationId xmlns:a16="http://schemas.microsoft.com/office/drawing/2014/main" id="{D974D908-99D9-49DC-8BC2-561939AADDE6}"/>
                </a:ext>
              </a:extLst>
            </p:cNvPr>
            <p:cNvSpPr>
              <a:spLocks noChangeShapeType="1"/>
            </p:cNvSpPr>
            <p:nvPr/>
          </p:nvSpPr>
          <p:spPr bwMode="auto">
            <a:xfrm>
              <a:off x="7547164" y="2681172"/>
              <a:ext cx="3422" cy="11979"/>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5" name="Line 284">
              <a:extLst>
                <a:ext uri="{FF2B5EF4-FFF2-40B4-BE49-F238E27FC236}">
                  <a16:creationId xmlns:a16="http://schemas.microsoft.com/office/drawing/2014/main" id="{A949A6F8-6CEC-41C5-8F72-0AA881686125}"/>
                </a:ext>
              </a:extLst>
            </p:cNvPr>
            <p:cNvSpPr>
              <a:spLocks noChangeShapeType="1"/>
            </p:cNvSpPr>
            <p:nvPr/>
          </p:nvSpPr>
          <p:spPr bwMode="auto">
            <a:xfrm>
              <a:off x="7550586" y="2693151"/>
              <a:ext cx="11978"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6" name="Line 285">
              <a:extLst>
                <a:ext uri="{FF2B5EF4-FFF2-40B4-BE49-F238E27FC236}">
                  <a16:creationId xmlns:a16="http://schemas.microsoft.com/office/drawing/2014/main" id="{C95DD912-44ED-49DC-9C86-71D69C92D737}"/>
                </a:ext>
              </a:extLst>
            </p:cNvPr>
            <p:cNvSpPr>
              <a:spLocks noChangeShapeType="1"/>
            </p:cNvSpPr>
            <p:nvPr/>
          </p:nvSpPr>
          <p:spPr bwMode="auto">
            <a:xfrm>
              <a:off x="7559142" y="2696574"/>
              <a:ext cx="10267"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7" name="Line 286">
              <a:extLst>
                <a:ext uri="{FF2B5EF4-FFF2-40B4-BE49-F238E27FC236}">
                  <a16:creationId xmlns:a16="http://schemas.microsoft.com/office/drawing/2014/main" id="{6D532303-195D-43C2-8339-9890C4D8B296}"/>
                </a:ext>
              </a:extLst>
            </p:cNvPr>
            <p:cNvSpPr>
              <a:spLocks noChangeShapeType="1"/>
            </p:cNvSpPr>
            <p:nvPr/>
          </p:nvSpPr>
          <p:spPr bwMode="auto">
            <a:xfrm flipV="1">
              <a:off x="7699455" y="2655503"/>
              <a:ext cx="15400" cy="10268"/>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8" name="Line 287">
              <a:extLst>
                <a:ext uri="{FF2B5EF4-FFF2-40B4-BE49-F238E27FC236}">
                  <a16:creationId xmlns:a16="http://schemas.microsoft.com/office/drawing/2014/main" id="{5ECFD44D-B35E-4F05-B03F-7EAFDEEB5C8D}"/>
                </a:ext>
              </a:extLst>
            </p:cNvPr>
            <p:cNvSpPr>
              <a:spLocks noChangeShapeType="1"/>
            </p:cNvSpPr>
            <p:nvPr/>
          </p:nvSpPr>
          <p:spPr bwMode="auto">
            <a:xfrm flipV="1">
              <a:off x="7711433" y="2640102"/>
              <a:ext cx="3422" cy="1882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89" name="Line 288">
              <a:extLst>
                <a:ext uri="{FF2B5EF4-FFF2-40B4-BE49-F238E27FC236}">
                  <a16:creationId xmlns:a16="http://schemas.microsoft.com/office/drawing/2014/main" id="{F4166928-72C7-4A15-A5E0-4773CB4A7B04}"/>
                </a:ext>
              </a:extLst>
            </p:cNvPr>
            <p:cNvSpPr>
              <a:spLocks noChangeShapeType="1"/>
            </p:cNvSpPr>
            <p:nvPr/>
          </p:nvSpPr>
          <p:spPr bwMode="auto">
            <a:xfrm flipV="1">
              <a:off x="7714855" y="2612721"/>
              <a:ext cx="3422" cy="3080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0" name="Line 289">
              <a:extLst>
                <a:ext uri="{FF2B5EF4-FFF2-40B4-BE49-F238E27FC236}">
                  <a16:creationId xmlns:a16="http://schemas.microsoft.com/office/drawing/2014/main" id="{56C755CA-0B93-46B1-AEB7-2A767B85FC10}"/>
                </a:ext>
              </a:extLst>
            </p:cNvPr>
            <p:cNvSpPr>
              <a:spLocks noChangeShapeType="1"/>
            </p:cNvSpPr>
            <p:nvPr/>
          </p:nvSpPr>
          <p:spPr bwMode="auto">
            <a:xfrm flipH="1" flipV="1">
              <a:off x="7696033" y="2605876"/>
              <a:ext cx="22245" cy="6845"/>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1" name="Line 290">
              <a:extLst>
                <a:ext uri="{FF2B5EF4-FFF2-40B4-BE49-F238E27FC236}">
                  <a16:creationId xmlns:a16="http://schemas.microsoft.com/office/drawing/2014/main" id="{2C589446-E5E5-44E0-B673-16612EB155A6}"/>
                </a:ext>
              </a:extLst>
            </p:cNvPr>
            <p:cNvSpPr>
              <a:spLocks noChangeShapeType="1"/>
            </p:cNvSpPr>
            <p:nvPr/>
          </p:nvSpPr>
          <p:spPr bwMode="auto">
            <a:xfrm flipH="1" flipV="1">
              <a:off x="7692611" y="2602453"/>
              <a:ext cx="3422" cy="3423"/>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2" name="Line 291">
              <a:extLst>
                <a:ext uri="{FF2B5EF4-FFF2-40B4-BE49-F238E27FC236}">
                  <a16:creationId xmlns:a16="http://schemas.microsoft.com/office/drawing/2014/main" id="{C505B720-F29A-4756-BF8C-4EE0E39AB69D}"/>
                </a:ext>
              </a:extLst>
            </p:cNvPr>
            <p:cNvSpPr>
              <a:spLocks noChangeShapeType="1"/>
            </p:cNvSpPr>
            <p:nvPr/>
          </p:nvSpPr>
          <p:spPr bwMode="auto">
            <a:xfrm flipH="1">
              <a:off x="7646410" y="2612721"/>
              <a:ext cx="3422" cy="5134"/>
            </a:xfrm>
            <a:prstGeom prst="line">
              <a:avLst/>
            </a:prstGeom>
            <a:solidFill>
              <a:schemeClr val="accent3"/>
            </a:solidFill>
            <a:ln w="3175">
              <a:solidFill>
                <a:srgbClr val="FFFFFF"/>
              </a:solidFill>
              <a:round/>
              <a:headEnd/>
              <a:tailEnd/>
            </a:ln>
            <a:effectLst/>
          </p:spPr>
          <p:txBody>
            <a:bodyPr/>
            <a:lstStyle/>
            <a:p>
              <a:pPr>
                <a:buClr>
                  <a:prstClr val="white"/>
                </a:buClr>
                <a:defRPr/>
              </a:pPr>
              <a:endParaRPr lang="en-GB" dirty="0">
                <a:solidFill>
                  <a:srgbClr val="000000"/>
                </a:solidFill>
              </a:endParaRPr>
            </a:p>
          </p:txBody>
        </p:sp>
        <p:sp>
          <p:nvSpPr>
            <p:cNvPr id="295" name="Freeform 294">
              <a:extLst>
                <a:ext uri="{FF2B5EF4-FFF2-40B4-BE49-F238E27FC236}">
                  <a16:creationId xmlns:a16="http://schemas.microsoft.com/office/drawing/2014/main" id="{CD56454E-CA8D-41B2-9AC0-9597DCAC70F7}"/>
                </a:ext>
              </a:extLst>
            </p:cNvPr>
            <p:cNvSpPr>
              <a:spLocks/>
            </p:cNvSpPr>
            <p:nvPr/>
          </p:nvSpPr>
          <p:spPr bwMode="auto">
            <a:xfrm>
              <a:off x="7319583" y="2403945"/>
              <a:ext cx="236136" cy="167705"/>
            </a:xfrm>
            <a:custGeom>
              <a:avLst/>
              <a:gdLst/>
              <a:ahLst/>
              <a:cxnLst>
                <a:cxn ang="0">
                  <a:pos x="104" y="78"/>
                </a:cxn>
                <a:cxn ang="0">
                  <a:pos x="92" y="79"/>
                </a:cxn>
                <a:cxn ang="0">
                  <a:pos x="74" y="89"/>
                </a:cxn>
                <a:cxn ang="0">
                  <a:pos x="68" y="67"/>
                </a:cxn>
                <a:cxn ang="0">
                  <a:pos x="64" y="67"/>
                </a:cxn>
                <a:cxn ang="0">
                  <a:pos x="60" y="59"/>
                </a:cxn>
                <a:cxn ang="0">
                  <a:pos x="52" y="63"/>
                </a:cxn>
                <a:cxn ang="0">
                  <a:pos x="50" y="73"/>
                </a:cxn>
                <a:cxn ang="0">
                  <a:pos x="39" y="78"/>
                </a:cxn>
                <a:cxn ang="0">
                  <a:pos x="36" y="82"/>
                </a:cxn>
                <a:cxn ang="0">
                  <a:pos x="26" y="82"/>
                </a:cxn>
                <a:cxn ang="0">
                  <a:pos x="18" y="83"/>
                </a:cxn>
                <a:cxn ang="0">
                  <a:pos x="13" y="81"/>
                </a:cxn>
                <a:cxn ang="0">
                  <a:pos x="16" y="69"/>
                </a:cxn>
                <a:cxn ang="0">
                  <a:pos x="20" y="57"/>
                </a:cxn>
                <a:cxn ang="0">
                  <a:pos x="16" y="51"/>
                </a:cxn>
                <a:cxn ang="0">
                  <a:pos x="6" y="45"/>
                </a:cxn>
                <a:cxn ang="0">
                  <a:pos x="0" y="37"/>
                </a:cxn>
                <a:cxn ang="0">
                  <a:pos x="14" y="23"/>
                </a:cxn>
                <a:cxn ang="0">
                  <a:pos x="30" y="10"/>
                </a:cxn>
                <a:cxn ang="0">
                  <a:pos x="40" y="0"/>
                </a:cxn>
                <a:cxn ang="0">
                  <a:pos x="61" y="3"/>
                </a:cxn>
                <a:cxn ang="0">
                  <a:pos x="76" y="12"/>
                </a:cxn>
                <a:cxn ang="0">
                  <a:pos x="58" y="18"/>
                </a:cxn>
                <a:cxn ang="0">
                  <a:pos x="40" y="24"/>
                </a:cxn>
                <a:cxn ang="0">
                  <a:pos x="42" y="36"/>
                </a:cxn>
                <a:cxn ang="0">
                  <a:pos x="67" y="40"/>
                </a:cxn>
                <a:cxn ang="0">
                  <a:pos x="92" y="42"/>
                </a:cxn>
                <a:cxn ang="0">
                  <a:pos x="100" y="57"/>
                </a:cxn>
                <a:cxn ang="0">
                  <a:pos x="115" y="58"/>
                </a:cxn>
                <a:cxn ang="0">
                  <a:pos x="123" y="79"/>
                </a:cxn>
                <a:cxn ang="0">
                  <a:pos x="122" y="81"/>
                </a:cxn>
                <a:cxn ang="0">
                  <a:pos x="109" y="79"/>
                </a:cxn>
                <a:cxn ang="0">
                  <a:pos x="104" y="78"/>
                </a:cxn>
              </a:cxnLst>
              <a:rect l="0" t="0" r="r" b="b"/>
              <a:pathLst>
                <a:path w="123" h="89">
                  <a:moveTo>
                    <a:pt x="104" y="78"/>
                  </a:moveTo>
                  <a:lnTo>
                    <a:pt x="92" y="79"/>
                  </a:lnTo>
                  <a:lnTo>
                    <a:pt x="74" y="89"/>
                  </a:lnTo>
                  <a:lnTo>
                    <a:pt x="68" y="67"/>
                  </a:lnTo>
                  <a:lnTo>
                    <a:pt x="64" y="67"/>
                  </a:lnTo>
                  <a:lnTo>
                    <a:pt x="60" y="59"/>
                  </a:lnTo>
                  <a:lnTo>
                    <a:pt x="52" y="63"/>
                  </a:lnTo>
                  <a:lnTo>
                    <a:pt x="50" y="73"/>
                  </a:lnTo>
                  <a:lnTo>
                    <a:pt x="39" y="78"/>
                  </a:lnTo>
                  <a:lnTo>
                    <a:pt x="36" y="82"/>
                  </a:lnTo>
                  <a:lnTo>
                    <a:pt x="26" y="82"/>
                  </a:lnTo>
                  <a:lnTo>
                    <a:pt x="18" y="83"/>
                  </a:lnTo>
                  <a:lnTo>
                    <a:pt x="13" y="81"/>
                  </a:lnTo>
                  <a:lnTo>
                    <a:pt x="16" y="69"/>
                  </a:lnTo>
                  <a:lnTo>
                    <a:pt x="20" y="57"/>
                  </a:lnTo>
                  <a:lnTo>
                    <a:pt x="16" y="51"/>
                  </a:lnTo>
                  <a:lnTo>
                    <a:pt x="6" y="45"/>
                  </a:lnTo>
                  <a:lnTo>
                    <a:pt x="0" y="37"/>
                  </a:lnTo>
                  <a:lnTo>
                    <a:pt x="14" y="23"/>
                  </a:lnTo>
                  <a:lnTo>
                    <a:pt x="30" y="10"/>
                  </a:lnTo>
                  <a:lnTo>
                    <a:pt x="40" y="0"/>
                  </a:lnTo>
                  <a:lnTo>
                    <a:pt x="61" y="3"/>
                  </a:lnTo>
                  <a:lnTo>
                    <a:pt x="76" y="12"/>
                  </a:lnTo>
                  <a:lnTo>
                    <a:pt x="58" y="18"/>
                  </a:lnTo>
                  <a:lnTo>
                    <a:pt x="40" y="24"/>
                  </a:lnTo>
                  <a:lnTo>
                    <a:pt x="42" y="36"/>
                  </a:lnTo>
                  <a:lnTo>
                    <a:pt x="67" y="40"/>
                  </a:lnTo>
                  <a:lnTo>
                    <a:pt x="92" y="42"/>
                  </a:lnTo>
                  <a:lnTo>
                    <a:pt x="100" y="57"/>
                  </a:lnTo>
                  <a:lnTo>
                    <a:pt x="115" y="58"/>
                  </a:lnTo>
                  <a:lnTo>
                    <a:pt x="123" y="79"/>
                  </a:lnTo>
                  <a:lnTo>
                    <a:pt x="122" y="81"/>
                  </a:lnTo>
                  <a:lnTo>
                    <a:pt x="109" y="79"/>
                  </a:lnTo>
                  <a:lnTo>
                    <a:pt x="104" y="78"/>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296" name="Freeform 295">
              <a:extLst>
                <a:ext uri="{FF2B5EF4-FFF2-40B4-BE49-F238E27FC236}">
                  <a16:creationId xmlns:a16="http://schemas.microsoft.com/office/drawing/2014/main" id="{7869C215-97AF-4AB2-BDC6-29C8C4F9927B}"/>
                </a:ext>
              </a:extLst>
            </p:cNvPr>
            <p:cNvSpPr>
              <a:spLocks/>
            </p:cNvSpPr>
            <p:nvPr/>
          </p:nvSpPr>
          <p:spPr bwMode="auto">
            <a:xfrm>
              <a:off x="6953401" y="2260198"/>
              <a:ext cx="441473" cy="296051"/>
            </a:xfrm>
            <a:custGeom>
              <a:avLst/>
              <a:gdLst/>
              <a:ahLst/>
              <a:cxnLst>
                <a:cxn ang="0">
                  <a:pos x="165" y="132"/>
                </a:cxn>
                <a:cxn ang="0">
                  <a:pos x="140" y="116"/>
                </a:cxn>
                <a:cxn ang="0">
                  <a:pos x="115" y="101"/>
                </a:cxn>
                <a:cxn ang="0">
                  <a:pos x="102" y="93"/>
                </a:cxn>
                <a:cxn ang="0">
                  <a:pos x="83" y="86"/>
                </a:cxn>
                <a:cxn ang="0">
                  <a:pos x="71" y="68"/>
                </a:cxn>
                <a:cxn ang="0">
                  <a:pos x="51" y="55"/>
                </a:cxn>
                <a:cxn ang="0">
                  <a:pos x="39" y="68"/>
                </a:cxn>
                <a:cxn ang="0">
                  <a:pos x="32" y="72"/>
                </a:cxn>
                <a:cxn ang="0">
                  <a:pos x="36" y="81"/>
                </a:cxn>
                <a:cxn ang="0">
                  <a:pos x="15" y="78"/>
                </a:cxn>
                <a:cxn ang="0">
                  <a:pos x="12" y="61"/>
                </a:cxn>
                <a:cxn ang="0">
                  <a:pos x="7" y="45"/>
                </a:cxn>
                <a:cxn ang="0">
                  <a:pos x="3" y="30"/>
                </a:cxn>
                <a:cxn ang="0">
                  <a:pos x="0" y="13"/>
                </a:cxn>
                <a:cxn ang="0">
                  <a:pos x="18" y="7"/>
                </a:cxn>
                <a:cxn ang="0">
                  <a:pos x="35" y="0"/>
                </a:cxn>
                <a:cxn ang="0">
                  <a:pos x="54" y="11"/>
                </a:cxn>
                <a:cxn ang="0">
                  <a:pos x="73" y="20"/>
                </a:cxn>
                <a:cxn ang="0">
                  <a:pos x="87" y="37"/>
                </a:cxn>
                <a:cxn ang="0">
                  <a:pos x="103" y="38"/>
                </a:cxn>
                <a:cxn ang="0">
                  <a:pos x="117" y="39"/>
                </a:cxn>
                <a:cxn ang="0">
                  <a:pos x="133" y="41"/>
                </a:cxn>
                <a:cxn ang="0">
                  <a:pos x="149" y="42"/>
                </a:cxn>
                <a:cxn ang="0">
                  <a:pos x="164" y="53"/>
                </a:cxn>
                <a:cxn ang="0">
                  <a:pos x="165" y="67"/>
                </a:cxn>
                <a:cxn ang="0">
                  <a:pos x="180" y="74"/>
                </a:cxn>
                <a:cxn ang="0">
                  <a:pos x="193" y="81"/>
                </a:cxn>
                <a:cxn ang="0">
                  <a:pos x="207" y="72"/>
                </a:cxn>
                <a:cxn ang="0">
                  <a:pos x="221" y="61"/>
                </a:cxn>
                <a:cxn ang="0">
                  <a:pos x="231" y="74"/>
                </a:cxn>
                <a:cxn ang="0">
                  <a:pos x="221" y="84"/>
                </a:cxn>
                <a:cxn ang="0">
                  <a:pos x="205" y="97"/>
                </a:cxn>
                <a:cxn ang="0">
                  <a:pos x="191" y="111"/>
                </a:cxn>
                <a:cxn ang="0">
                  <a:pos x="197" y="119"/>
                </a:cxn>
                <a:cxn ang="0">
                  <a:pos x="207" y="125"/>
                </a:cxn>
                <a:cxn ang="0">
                  <a:pos x="211" y="131"/>
                </a:cxn>
                <a:cxn ang="0">
                  <a:pos x="207" y="143"/>
                </a:cxn>
                <a:cxn ang="0">
                  <a:pos x="204" y="155"/>
                </a:cxn>
                <a:cxn ang="0">
                  <a:pos x="189" y="152"/>
                </a:cxn>
                <a:cxn ang="0">
                  <a:pos x="175" y="150"/>
                </a:cxn>
                <a:cxn ang="0">
                  <a:pos x="165" y="132"/>
                </a:cxn>
              </a:cxnLst>
              <a:rect l="0" t="0" r="r" b="b"/>
              <a:pathLst>
                <a:path w="231" h="155">
                  <a:moveTo>
                    <a:pt x="165" y="132"/>
                  </a:moveTo>
                  <a:lnTo>
                    <a:pt x="140" y="116"/>
                  </a:lnTo>
                  <a:lnTo>
                    <a:pt x="115" y="101"/>
                  </a:lnTo>
                  <a:lnTo>
                    <a:pt x="102" y="93"/>
                  </a:lnTo>
                  <a:lnTo>
                    <a:pt x="83" y="86"/>
                  </a:lnTo>
                  <a:lnTo>
                    <a:pt x="71" y="68"/>
                  </a:lnTo>
                  <a:lnTo>
                    <a:pt x="51" y="55"/>
                  </a:lnTo>
                  <a:lnTo>
                    <a:pt x="39" y="68"/>
                  </a:lnTo>
                  <a:lnTo>
                    <a:pt x="32" y="72"/>
                  </a:lnTo>
                  <a:lnTo>
                    <a:pt x="36" y="81"/>
                  </a:lnTo>
                  <a:lnTo>
                    <a:pt x="15" y="78"/>
                  </a:lnTo>
                  <a:lnTo>
                    <a:pt x="12" y="61"/>
                  </a:lnTo>
                  <a:lnTo>
                    <a:pt x="7" y="45"/>
                  </a:lnTo>
                  <a:lnTo>
                    <a:pt x="3" y="30"/>
                  </a:lnTo>
                  <a:lnTo>
                    <a:pt x="0" y="13"/>
                  </a:lnTo>
                  <a:lnTo>
                    <a:pt x="18" y="7"/>
                  </a:lnTo>
                  <a:lnTo>
                    <a:pt x="35" y="0"/>
                  </a:lnTo>
                  <a:lnTo>
                    <a:pt x="54" y="11"/>
                  </a:lnTo>
                  <a:lnTo>
                    <a:pt x="73" y="20"/>
                  </a:lnTo>
                  <a:lnTo>
                    <a:pt x="87" y="37"/>
                  </a:lnTo>
                  <a:lnTo>
                    <a:pt x="103" y="38"/>
                  </a:lnTo>
                  <a:lnTo>
                    <a:pt x="117" y="39"/>
                  </a:lnTo>
                  <a:lnTo>
                    <a:pt x="133" y="41"/>
                  </a:lnTo>
                  <a:lnTo>
                    <a:pt x="149" y="42"/>
                  </a:lnTo>
                  <a:lnTo>
                    <a:pt x="164" y="53"/>
                  </a:lnTo>
                  <a:lnTo>
                    <a:pt x="165" y="67"/>
                  </a:lnTo>
                  <a:lnTo>
                    <a:pt x="180" y="74"/>
                  </a:lnTo>
                  <a:lnTo>
                    <a:pt x="193" y="81"/>
                  </a:lnTo>
                  <a:lnTo>
                    <a:pt x="207" y="72"/>
                  </a:lnTo>
                  <a:lnTo>
                    <a:pt x="221" y="61"/>
                  </a:lnTo>
                  <a:lnTo>
                    <a:pt x="231" y="74"/>
                  </a:lnTo>
                  <a:lnTo>
                    <a:pt x="221" y="84"/>
                  </a:lnTo>
                  <a:lnTo>
                    <a:pt x="205" y="97"/>
                  </a:lnTo>
                  <a:lnTo>
                    <a:pt x="191" y="111"/>
                  </a:lnTo>
                  <a:lnTo>
                    <a:pt x="197" y="119"/>
                  </a:lnTo>
                  <a:lnTo>
                    <a:pt x="207" y="125"/>
                  </a:lnTo>
                  <a:lnTo>
                    <a:pt x="211" y="131"/>
                  </a:lnTo>
                  <a:lnTo>
                    <a:pt x="207" y="143"/>
                  </a:lnTo>
                  <a:lnTo>
                    <a:pt x="204" y="155"/>
                  </a:lnTo>
                  <a:lnTo>
                    <a:pt x="189" y="152"/>
                  </a:lnTo>
                  <a:lnTo>
                    <a:pt x="175" y="150"/>
                  </a:lnTo>
                  <a:lnTo>
                    <a:pt x="165" y="13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51" name="Freeform 350">
              <a:extLst>
                <a:ext uri="{FF2B5EF4-FFF2-40B4-BE49-F238E27FC236}">
                  <a16:creationId xmlns:a16="http://schemas.microsoft.com/office/drawing/2014/main" id="{268416D9-9154-43F5-AA1C-DA20FABFA88C}"/>
                </a:ext>
              </a:extLst>
            </p:cNvPr>
            <p:cNvSpPr>
              <a:spLocks/>
            </p:cNvSpPr>
            <p:nvPr/>
          </p:nvSpPr>
          <p:spPr bwMode="auto">
            <a:xfrm>
              <a:off x="9044406" y="1982971"/>
              <a:ext cx="248114" cy="277227"/>
            </a:xfrm>
            <a:custGeom>
              <a:avLst/>
              <a:gdLst/>
              <a:ahLst/>
              <a:cxnLst>
                <a:cxn ang="0">
                  <a:pos x="115" y="101"/>
                </a:cxn>
                <a:cxn ang="0">
                  <a:pos x="98" y="85"/>
                </a:cxn>
                <a:cxn ang="0">
                  <a:pos x="80" y="70"/>
                </a:cxn>
                <a:cxn ang="0">
                  <a:pos x="62" y="55"/>
                </a:cxn>
                <a:cxn ang="0">
                  <a:pos x="43" y="40"/>
                </a:cxn>
                <a:cxn ang="0">
                  <a:pos x="40" y="34"/>
                </a:cxn>
                <a:cxn ang="0">
                  <a:pos x="22" y="17"/>
                </a:cxn>
                <a:cxn ang="0">
                  <a:pos x="4" y="0"/>
                </a:cxn>
                <a:cxn ang="0">
                  <a:pos x="0" y="3"/>
                </a:cxn>
                <a:cxn ang="0">
                  <a:pos x="13" y="12"/>
                </a:cxn>
                <a:cxn ang="0">
                  <a:pos x="13" y="18"/>
                </a:cxn>
                <a:cxn ang="0">
                  <a:pos x="6" y="18"/>
                </a:cxn>
                <a:cxn ang="0">
                  <a:pos x="20" y="34"/>
                </a:cxn>
                <a:cxn ang="0">
                  <a:pos x="35" y="49"/>
                </a:cxn>
                <a:cxn ang="0">
                  <a:pos x="49" y="64"/>
                </a:cxn>
                <a:cxn ang="0">
                  <a:pos x="62" y="81"/>
                </a:cxn>
                <a:cxn ang="0">
                  <a:pos x="73" y="99"/>
                </a:cxn>
                <a:cxn ang="0">
                  <a:pos x="85" y="113"/>
                </a:cxn>
                <a:cxn ang="0">
                  <a:pos x="97" y="127"/>
                </a:cxn>
                <a:cxn ang="0">
                  <a:pos x="109" y="145"/>
                </a:cxn>
                <a:cxn ang="0">
                  <a:pos x="113" y="145"/>
                </a:cxn>
                <a:cxn ang="0">
                  <a:pos x="112" y="133"/>
                </a:cxn>
                <a:cxn ang="0">
                  <a:pos x="125" y="139"/>
                </a:cxn>
                <a:cxn ang="0">
                  <a:pos x="131" y="147"/>
                </a:cxn>
                <a:cxn ang="0">
                  <a:pos x="120" y="133"/>
                </a:cxn>
                <a:cxn ang="0">
                  <a:pos x="92" y="112"/>
                </a:cxn>
                <a:cxn ang="0">
                  <a:pos x="86" y="89"/>
                </a:cxn>
                <a:cxn ang="0">
                  <a:pos x="91" y="89"/>
                </a:cxn>
                <a:cxn ang="0">
                  <a:pos x="108" y="95"/>
                </a:cxn>
                <a:cxn ang="0">
                  <a:pos x="115" y="101"/>
                </a:cxn>
              </a:cxnLst>
              <a:rect l="0" t="0" r="r" b="b"/>
              <a:pathLst>
                <a:path w="131" h="147">
                  <a:moveTo>
                    <a:pt x="115" y="101"/>
                  </a:moveTo>
                  <a:lnTo>
                    <a:pt x="98" y="85"/>
                  </a:lnTo>
                  <a:lnTo>
                    <a:pt x="80" y="70"/>
                  </a:lnTo>
                  <a:lnTo>
                    <a:pt x="62" y="55"/>
                  </a:lnTo>
                  <a:lnTo>
                    <a:pt x="43" y="40"/>
                  </a:lnTo>
                  <a:lnTo>
                    <a:pt x="40" y="34"/>
                  </a:lnTo>
                  <a:lnTo>
                    <a:pt x="22" y="17"/>
                  </a:lnTo>
                  <a:lnTo>
                    <a:pt x="4" y="0"/>
                  </a:lnTo>
                  <a:lnTo>
                    <a:pt x="0" y="3"/>
                  </a:lnTo>
                  <a:lnTo>
                    <a:pt x="13" y="12"/>
                  </a:lnTo>
                  <a:lnTo>
                    <a:pt x="13" y="18"/>
                  </a:lnTo>
                  <a:lnTo>
                    <a:pt x="6" y="18"/>
                  </a:lnTo>
                  <a:lnTo>
                    <a:pt x="20" y="34"/>
                  </a:lnTo>
                  <a:lnTo>
                    <a:pt x="35" y="49"/>
                  </a:lnTo>
                  <a:lnTo>
                    <a:pt x="49" y="64"/>
                  </a:lnTo>
                  <a:lnTo>
                    <a:pt x="62" y="81"/>
                  </a:lnTo>
                  <a:lnTo>
                    <a:pt x="73" y="99"/>
                  </a:lnTo>
                  <a:lnTo>
                    <a:pt x="85" y="113"/>
                  </a:lnTo>
                  <a:lnTo>
                    <a:pt x="97" y="127"/>
                  </a:lnTo>
                  <a:lnTo>
                    <a:pt x="109" y="145"/>
                  </a:lnTo>
                  <a:lnTo>
                    <a:pt x="113" y="145"/>
                  </a:lnTo>
                  <a:lnTo>
                    <a:pt x="112" y="133"/>
                  </a:lnTo>
                  <a:lnTo>
                    <a:pt x="125" y="139"/>
                  </a:lnTo>
                  <a:lnTo>
                    <a:pt x="131" y="147"/>
                  </a:lnTo>
                  <a:lnTo>
                    <a:pt x="120" y="133"/>
                  </a:lnTo>
                  <a:lnTo>
                    <a:pt x="92" y="112"/>
                  </a:lnTo>
                  <a:lnTo>
                    <a:pt x="86" y="89"/>
                  </a:lnTo>
                  <a:lnTo>
                    <a:pt x="91" y="89"/>
                  </a:lnTo>
                  <a:lnTo>
                    <a:pt x="108" y="95"/>
                  </a:lnTo>
                  <a:lnTo>
                    <a:pt x="115" y="10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64" name="Freeform 363">
              <a:extLst>
                <a:ext uri="{FF2B5EF4-FFF2-40B4-BE49-F238E27FC236}">
                  <a16:creationId xmlns:a16="http://schemas.microsoft.com/office/drawing/2014/main" id="{86B4106C-07CF-493F-9A1C-9DC495741FD3}"/>
                </a:ext>
              </a:extLst>
            </p:cNvPr>
            <p:cNvSpPr>
              <a:spLocks/>
            </p:cNvSpPr>
            <p:nvPr/>
          </p:nvSpPr>
          <p:spPr bwMode="auto">
            <a:xfrm>
              <a:off x="9425989" y="2279022"/>
              <a:ext cx="25667" cy="34226"/>
            </a:xfrm>
            <a:custGeom>
              <a:avLst/>
              <a:gdLst/>
              <a:ahLst/>
              <a:cxnLst>
                <a:cxn ang="0">
                  <a:pos x="15" y="0"/>
                </a:cxn>
                <a:cxn ang="0">
                  <a:pos x="3" y="5"/>
                </a:cxn>
                <a:cxn ang="0">
                  <a:pos x="0" y="18"/>
                </a:cxn>
                <a:cxn ang="0">
                  <a:pos x="6" y="11"/>
                </a:cxn>
                <a:cxn ang="0">
                  <a:pos x="12" y="3"/>
                </a:cxn>
                <a:cxn ang="0">
                  <a:pos x="15" y="0"/>
                </a:cxn>
              </a:cxnLst>
              <a:rect l="0" t="0" r="r" b="b"/>
              <a:pathLst>
                <a:path w="15" h="18">
                  <a:moveTo>
                    <a:pt x="15" y="0"/>
                  </a:moveTo>
                  <a:lnTo>
                    <a:pt x="3" y="5"/>
                  </a:lnTo>
                  <a:lnTo>
                    <a:pt x="0" y="18"/>
                  </a:lnTo>
                  <a:lnTo>
                    <a:pt x="6" y="11"/>
                  </a:lnTo>
                  <a:lnTo>
                    <a:pt x="12" y="3"/>
                  </a:lnTo>
                  <a:lnTo>
                    <a:pt x="15"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4" name="Freeform 373">
              <a:extLst>
                <a:ext uri="{FF2B5EF4-FFF2-40B4-BE49-F238E27FC236}">
                  <a16:creationId xmlns:a16="http://schemas.microsoft.com/office/drawing/2014/main" id="{27BF6AC6-5985-4766-A8EF-AE410BF7B34A}"/>
                </a:ext>
              </a:extLst>
            </p:cNvPr>
            <p:cNvSpPr>
              <a:spLocks/>
            </p:cNvSpPr>
            <p:nvPr/>
          </p:nvSpPr>
          <p:spPr bwMode="auto">
            <a:xfrm>
              <a:off x="9501279" y="2104471"/>
              <a:ext cx="8556" cy="18824"/>
            </a:xfrm>
            <a:custGeom>
              <a:avLst/>
              <a:gdLst/>
              <a:ahLst/>
              <a:cxnLst>
                <a:cxn ang="0">
                  <a:pos x="5" y="1"/>
                </a:cxn>
                <a:cxn ang="0">
                  <a:pos x="1" y="11"/>
                </a:cxn>
                <a:cxn ang="0">
                  <a:pos x="0" y="0"/>
                </a:cxn>
                <a:cxn ang="0">
                  <a:pos x="5" y="1"/>
                </a:cxn>
              </a:cxnLst>
              <a:rect l="0" t="0" r="r" b="b"/>
              <a:pathLst>
                <a:path w="5" h="11">
                  <a:moveTo>
                    <a:pt x="5" y="1"/>
                  </a:moveTo>
                  <a:lnTo>
                    <a:pt x="1" y="11"/>
                  </a:lnTo>
                  <a:lnTo>
                    <a:pt x="0" y="0"/>
                  </a:lnTo>
                  <a:lnTo>
                    <a:pt x="5" y="1"/>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75" name="Freeform 374">
              <a:extLst>
                <a:ext uri="{FF2B5EF4-FFF2-40B4-BE49-F238E27FC236}">
                  <a16:creationId xmlns:a16="http://schemas.microsoft.com/office/drawing/2014/main" id="{73606DE8-7D27-42D1-8457-4D024E5D330F}"/>
                </a:ext>
              </a:extLst>
            </p:cNvPr>
            <p:cNvSpPr>
              <a:spLocks/>
            </p:cNvSpPr>
            <p:nvPr/>
          </p:nvSpPr>
          <p:spPr bwMode="auto">
            <a:xfrm>
              <a:off x="9402033" y="2313247"/>
              <a:ext cx="11978" cy="18824"/>
            </a:xfrm>
            <a:custGeom>
              <a:avLst/>
              <a:gdLst/>
              <a:ahLst/>
              <a:cxnLst>
                <a:cxn ang="0">
                  <a:pos x="6" y="0"/>
                </a:cxn>
                <a:cxn ang="0">
                  <a:pos x="0" y="11"/>
                </a:cxn>
                <a:cxn ang="0">
                  <a:pos x="0" y="3"/>
                </a:cxn>
                <a:cxn ang="0">
                  <a:pos x="6" y="0"/>
                </a:cxn>
              </a:cxnLst>
              <a:rect l="0" t="0" r="r" b="b"/>
              <a:pathLst>
                <a:path w="6" h="11">
                  <a:moveTo>
                    <a:pt x="6" y="0"/>
                  </a:moveTo>
                  <a:lnTo>
                    <a:pt x="0" y="11"/>
                  </a:lnTo>
                  <a:lnTo>
                    <a:pt x="0" y="3"/>
                  </a:lnTo>
                  <a:lnTo>
                    <a:pt x="6" y="0"/>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sp>
          <p:nvSpPr>
            <p:cNvPr id="380" name="Freeform 379">
              <a:extLst>
                <a:ext uri="{FF2B5EF4-FFF2-40B4-BE49-F238E27FC236}">
                  <a16:creationId xmlns:a16="http://schemas.microsoft.com/office/drawing/2014/main" id="{5E3E959E-FD38-4D17-B160-EB6DB05EE925}"/>
                </a:ext>
              </a:extLst>
            </p:cNvPr>
            <p:cNvSpPr>
              <a:spLocks/>
            </p:cNvSpPr>
            <p:nvPr/>
          </p:nvSpPr>
          <p:spPr bwMode="auto">
            <a:xfrm>
              <a:off x="9607369" y="1952168"/>
              <a:ext cx="42778" cy="22247"/>
            </a:xfrm>
            <a:custGeom>
              <a:avLst/>
              <a:gdLst/>
              <a:ahLst/>
              <a:cxnLst>
                <a:cxn ang="0">
                  <a:pos x="23" y="12"/>
                </a:cxn>
                <a:cxn ang="0">
                  <a:pos x="0" y="0"/>
                </a:cxn>
                <a:cxn ang="0">
                  <a:pos x="19" y="8"/>
                </a:cxn>
                <a:cxn ang="0">
                  <a:pos x="23" y="12"/>
                </a:cxn>
              </a:cxnLst>
              <a:rect l="0" t="0" r="r" b="b"/>
              <a:pathLst>
                <a:path w="23" h="12">
                  <a:moveTo>
                    <a:pt x="23" y="12"/>
                  </a:moveTo>
                  <a:lnTo>
                    <a:pt x="0" y="0"/>
                  </a:lnTo>
                  <a:lnTo>
                    <a:pt x="19" y="8"/>
                  </a:lnTo>
                  <a:lnTo>
                    <a:pt x="23" y="12"/>
                  </a:lnTo>
                  <a:close/>
                </a:path>
              </a:pathLst>
            </a:custGeom>
            <a:solidFill>
              <a:srgbClr val="C1B5B9"/>
            </a:solidFill>
            <a:ln w="3175" cmpd="sng">
              <a:solidFill>
                <a:srgbClr val="FFFFFF"/>
              </a:solidFill>
              <a:prstDash val="solid"/>
              <a:round/>
              <a:headEnd/>
              <a:tailEnd/>
            </a:ln>
            <a:effectLst/>
          </p:spPr>
          <p:txBody>
            <a:bodyPr/>
            <a:lstStyle/>
            <a:p>
              <a:pPr>
                <a:buClr>
                  <a:prstClr val="white"/>
                </a:buClr>
                <a:defRPr/>
              </a:pPr>
              <a:endParaRPr lang="en-GB" dirty="0">
                <a:solidFill>
                  <a:srgbClr val="000000"/>
                </a:solidFill>
              </a:endParaRPr>
            </a:p>
          </p:txBody>
        </p:sp>
      </p:grpSp>
    </p:spTree>
    <p:extLst>
      <p:ext uri="{BB962C8B-B14F-4D97-AF65-F5344CB8AC3E}">
        <p14:creationId xmlns:p14="http://schemas.microsoft.com/office/powerpoint/2010/main" val="32695715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223D93F-9065-41DC-A471-4D98CE5C0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6" name="Objet 5" hidden="1">
                        <a:extLst>
                          <a:ext uri="{FF2B5EF4-FFF2-40B4-BE49-F238E27FC236}">
                            <a16:creationId xmlns:a16="http://schemas.microsoft.com/office/drawing/2014/main" id="{5223D93F-9065-41DC-A471-4D98CE5C0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descr="A close up of an animal&#10;&#10;Description automatically generated">
            <a:extLst>
              <a:ext uri="{FF2B5EF4-FFF2-40B4-BE49-F238E27FC236}">
                <a16:creationId xmlns:a16="http://schemas.microsoft.com/office/drawing/2014/main" id="{A1946428-69AB-4CB5-B1A4-302371483177}"/>
              </a:ext>
            </a:extLst>
          </p:cNvPr>
          <p:cNvPicPr>
            <a:picLocks noChangeAspect="1"/>
          </p:cNvPicPr>
          <p:nvPr/>
        </p:nvPicPr>
        <p:blipFill>
          <a:blip r:embed="rId5"/>
          <a:stretch>
            <a:fillRect/>
          </a:stretch>
        </p:blipFill>
        <p:spPr>
          <a:xfrm>
            <a:off x="3396000" y="1063800"/>
            <a:ext cx="5400000" cy="4730400"/>
          </a:xfrm>
          <a:prstGeom prst="rect">
            <a:avLst/>
          </a:prstGeom>
        </p:spPr>
      </p:pic>
    </p:spTree>
    <p:extLst>
      <p:ext uri="{BB962C8B-B14F-4D97-AF65-F5344CB8AC3E}">
        <p14:creationId xmlns:p14="http://schemas.microsoft.com/office/powerpoint/2010/main" val="41909976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C28C8E0-65A7-471D-9DBB-81C600851E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6" name="Objet 5" hidden="1">
                        <a:extLst>
                          <a:ext uri="{FF2B5EF4-FFF2-40B4-BE49-F238E27FC236}">
                            <a16:creationId xmlns:a16="http://schemas.microsoft.com/office/drawing/2014/main" id="{BC28C8E0-65A7-471D-9DBB-81C600851E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ntent Placeholder 6" descr="A close up of a logo&#10;&#10;Description automatically generated">
            <a:extLst>
              <a:ext uri="{FF2B5EF4-FFF2-40B4-BE49-F238E27FC236}">
                <a16:creationId xmlns:a16="http://schemas.microsoft.com/office/drawing/2014/main" id="{FE6D20A5-7FC3-4551-88DB-7D7A4F2C04F6}"/>
              </a:ext>
            </a:extLst>
          </p:cNvPr>
          <p:cNvPicPr>
            <a:picLocks noGrp="1" noChangeAspect="1"/>
          </p:cNvPicPr>
          <p:nvPr>
            <p:ph idx="1"/>
          </p:nvPr>
        </p:nvPicPr>
        <p:blipFill>
          <a:blip r:embed="rId5"/>
          <a:stretch>
            <a:fillRect/>
          </a:stretch>
        </p:blipFill>
        <p:spPr>
          <a:xfrm>
            <a:off x="3394306" y="1400928"/>
            <a:ext cx="5403388" cy="4056145"/>
          </a:xfrm>
        </p:spPr>
      </p:pic>
    </p:spTree>
    <p:extLst>
      <p:ext uri="{BB962C8B-B14F-4D97-AF65-F5344CB8AC3E}">
        <p14:creationId xmlns:p14="http://schemas.microsoft.com/office/powerpoint/2010/main" val="4257614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4DFCAF12-B656-355D-3252-DFB7E429ED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3" name="Objet 2" hidden="1">
                        <a:extLst>
                          <a:ext uri="{FF2B5EF4-FFF2-40B4-BE49-F238E27FC236}">
                            <a16:creationId xmlns:a16="http://schemas.microsoft.com/office/drawing/2014/main" id="{4DFCAF12-B656-355D-3252-DFB7E429E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e 3">
            <a:extLst>
              <a:ext uri="{FF2B5EF4-FFF2-40B4-BE49-F238E27FC236}">
                <a16:creationId xmlns:a16="http://schemas.microsoft.com/office/drawing/2014/main" id="{1CF07E43-0EAA-AEBE-6A37-52CAAF5B6730}"/>
              </a:ext>
            </a:extLst>
          </p:cNvPr>
          <p:cNvGrpSpPr/>
          <p:nvPr/>
        </p:nvGrpSpPr>
        <p:grpSpPr>
          <a:xfrm>
            <a:off x="2899224" y="1112807"/>
            <a:ext cx="6393554" cy="5241928"/>
            <a:chOff x="1549400" y="261939"/>
            <a:chExt cx="7747001" cy="6351587"/>
          </a:xfrm>
          <a:solidFill>
            <a:schemeClr val="accent3"/>
          </a:solidFill>
        </p:grpSpPr>
        <p:sp>
          <p:nvSpPr>
            <p:cNvPr id="5" name="新疆">
              <a:extLst>
                <a:ext uri="{FF2B5EF4-FFF2-40B4-BE49-F238E27FC236}">
                  <a16:creationId xmlns:a16="http://schemas.microsoft.com/office/drawing/2014/main" id="{E022BF77-4F9E-B723-C767-5E9C592D1057}"/>
                </a:ext>
              </a:extLst>
            </p:cNvPr>
            <p:cNvSpPr>
              <a:spLocks/>
            </p:cNvSpPr>
            <p:nvPr/>
          </p:nvSpPr>
          <p:spPr bwMode="auto">
            <a:xfrm>
              <a:off x="1549400" y="812801"/>
              <a:ext cx="3074988" cy="2389188"/>
            </a:xfrm>
            <a:custGeom>
              <a:avLst/>
              <a:gdLst>
                <a:gd name="T0" fmla="*/ 4160 w 5810"/>
                <a:gd name="T1" fmla="*/ 3635 h 4517"/>
                <a:gd name="T2" fmla="*/ 4032 w 5810"/>
                <a:gd name="T3" fmla="*/ 3730 h 4517"/>
                <a:gd name="T4" fmla="*/ 4162 w 5810"/>
                <a:gd name="T5" fmla="*/ 4032 h 4517"/>
                <a:gd name="T6" fmla="*/ 4137 w 5810"/>
                <a:gd name="T7" fmla="*/ 4224 h 4517"/>
                <a:gd name="T8" fmla="*/ 4127 w 5810"/>
                <a:gd name="T9" fmla="*/ 4373 h 4517"/>
                <a:gd name="T10" fmla="*/ 3992 w 5810"/>
                <a:gd name="T11" fmla="*/ 4468 h 4517"/>
                <a:gd name="T12" fmla="*/ 3796 w 5810"/>
                <a:gd name="T13" fmla="*/ 4439 h 4517"/>
                <a:gd name="T14" fmla="*/ 3596 w 5810"/>
                <a:gd name="T15" fmla="*/ 4326 h 4517"/>
                <a:gd name="T16" fmla="*/ 3429 w 5810"/>
                <a:gd name="T17" fmla="*/ 4227 h 4517"/>
                <a:gd name="T18" fmla="*/ 3109 w 5810"/>
                <a:gd name="T19" fmla="*/ 4212 h 4517"/>
                <a:gd name="T20" fmla="*/ 2832 w 5810"/>
                <a:gd name="T21" fmla="*/ 4244 h 4517"/>
                <a:gd name="T22" fmla="*/ 2606 w 5810"/>
                <a:gd name="T23" fmla="*/ 4310 h 4517"/>
                <a:gd name="T24" fmla="*/ 2434 w 5810"/>
                <a:gd name="T25" fmla="*/ 4291 h 4517"/>
                <a:gd name="T26" fmla="*/ 2193 w 5810"/>
                <a:gd name="T27" fmla="*/ 4304 h 4517"/>
                <a:gd name="T28" fmla="*/ 1977 w 5810"/>
                <a:gd name="T29" fmla="*/ 4226 h 4517"/>
                <a:gd name="T30" fmla="*/ 1813 w 5810"/>
                <a:gd name="T31" fmla="*/ 4131 h 4517"/>
                <a:gd name="T32" fmla="*/ 1539 w 5810"/>
                <a:gd name="T33" fmla="*/ 4140 h 4517"/>
                <a:gd name="T34" fmla="*/ 1323 w 5810"/>
                <a:gd name="T35" fmla="*/ 4054 h 4517"/>
                <a:gd name="T36" fmla="*/ 1205 w 5810"/>
                <a:gd name="T37" fmla="*/ 4120 h 4517"/>
                <a:gd name="T38" fmla="*/ 1067 w 5810"/>
                <a:gd name="T39" fmla="*/ 4286 h 4517"/>
                <a:gd name="T40" fmla="*/ 876 w 5810"/>
                <a:gd name="T41" fmla="*/ 4251 h 4517"/>
                <a:gd name="T42" fmla="*/ 726 w 5810"/>
                <a:gd name="T43" fmla="*/ 4162 h 4517"/>
                <a:gd name="T44" fmla="*/ 675 w 5810"/>
                <a:gd name="T45" fmla="*/ 3942 h 4517"/>
                <a:gd name="T46" fmla="*/ 591 w 5810"/>
                <a:gd name="T47" fmla="*/ 3790 h 4517"/>
                <a:gd name="T48" fmla="*/ 368 w 5810"/>
                <a:gd name="T49" fmla="*/ 3587 h 4517"/>
                <a:gd name="T50" fmla="*/ 240 w 5810"/>
                <a:gd name="T51" fmla="*/ 3471 h 4517"/>
                <a:gd name="T52" fmla="*/ 229 w 5810"/>
                <a:gd name="T53" fmla="*/ 3196 h 4517"/>
                <a:gd name="T54" fmla="*/ 85 w 5810"/>
                <a:gd name="T55" fmla="*/ 3083 h 4517"/>
                <a:gd name="T56" fmla="*/ 63 w 5810"/>
                <a:gd name="T57" fmla="*/ 2963 h 4517"/>
                <a:gd name="T58" fmla="*/ 197 w 5810"/>
                <a:gd name="T59" fmla="*/ 2817 h 4517"/>
                <a:gd name="T60" fmla="*/ 185 w 5810"/>
                <a:gd name="T61" fmla="*/ 2515 h 4517"/>
                <a:gd name="T62" fmla="*/ 27 w 5810"/>
                <a:gd name="T63" fmla="*/ 2345 h 4517"/>
                <a:gd name="T64" fmla="*/ 76 w 5810"/>
                <a:gd name="T65" fmla="*/ 2165 h 4517"/>
                <a:gd name="T66" fmla="*/ 258 w 5810"/>
                <a:gd name="T67" fmla="*/ 2001 h 4517"/>
                <a:gd name="T68" fmla="*/ 505 w 5810"/>
                <a:gd name="T69" fmla="*/ 1965 h 4517"/>
                <a:gd name="T70" fmla="*/ 692 w 5810"/>
                <a:gd name="T71" fmla="*/ 2091 h 4517"/>
                <a:gd name="T72" fmla="*/ 937 w 5810"/>
                <a:gd name="T73" fmla="*/ 2021 h 4517"/>
                <a:gd name="T74" fmla="*/ 1239 w 5810"/>
                <a:gd name="T75" fmla="*/ 2010 h 4517"/>
                <a:gd name="T76" fmla="*/ 1510 w 5810"/>
                <a:gd name="T77" fmla="*/ 1928 h 4517"/>
                <a:gd name="T78" fmla="*/ 1902 w 5810"/>
                <a:gd name="T79" fmla="*/ 1870 h 4517"/>
                <a:gd name="T80" fmla="*/ 2008 w 5810"/>
                <a:gd name="T81" fmla="*/ 1632 h 4517"/>
                <a:gd name="T82" fmla="*/ 2161 w 5810"/>
                <a:gd name="T83" fmla="*/ 1520 h 4517"/>
                <a:gd name="T84" fmla="*/ 2184 w 5810"/>
                <a:gd name="T85" fmla="*/ 1016 h 4517"/>
                <a:gd name="T86" fmla="*/ 2292 w 5810"/>
                <a:gd name="T87" fmla="*/ 914 h 4517"/>
                <a:gd name="T88" fmla="*/ 2648 w 5810"/>
                <a:gd name="T89" fmla="*/ 972 h 4517"/>
                <a:gd name="T90" fmla="*/ 2767 w 5810"/>
                <a:gd name="T91" fmla="*/ 781 h 4517"/>
                <a:gd name="T92" fmla="*/ 3072 w 5810"/>
                <a:gd name="T93" fmla="*/ 407 h 4517"/>
                <a:gd name="T94" fmla="*/ 3419 w 5810"/>
                <a:gd name="T95" fmla="*/ 598 h 4517"/>
                <a:gd name="T96" fmla="*/ 3679 w 5810"/>
                <a:gd name="T97" fmla="*/ 235 h 4517"/>
                <a:gd name="T98" fmla="*/ 3987 w 5810"/>
                <a:gd name="T99" fmla="*/ 60 h 4517"/>
                <a:gd name="T100" fmla="*/ 4237 w 5810"/>
                <a:gd name="T101" fmla="*/ 71 h 4517"/>
                <a:gd name="T102" fmla="*/ 4343 w 5810"/>
                <a:gd name="T103" fmla="*/ 333 h 4517"/>
                <a:gd name="T104" fmla="*/ 4548 w 5810"/>
                <a:gd name="T105" fmla="*/ 506 h 4517"/>
                <a:gd name="T106" fmla="*/ 4699 w 5810"/>
                <a:gd name="T107" fmla="*/ 701 h 4517"/>
                <a:gd name="T108" fmla="*/ 4734 w 5810"/>
                <a:gd name="T109" fmla="*/ 1096 h 4517"/>
                <a:gd name="T110" fmla="*/ 4644 w 5810"/>
                <a:gd name="T111" fmla="*/ 1441 h 4517"/>
                <a:gd name="T112" fmla="*/ 4939 w 5810"/>
                <a:gd name="T113" fmla="*/ 1584 h 4517"/>
                <a:gd name="T114" fmla="*/ 5446 w 5810"/>
                <a:gd name="T115" fmla="*/ 1849 h 4517"/>
                <a:gd name="T116" fmla="*/ 5671 w 5810"/>
                <a:gd name="T117" fmla="*/ 2076 h 4517"/>
                <a:gd name="T118" fmla="*/ 5704 w 5810"/>
                <a:gd name="T119" fmla="*/ 2585 h 4517"/>
                <a:gd name="T120" fmla="*/ 5555 w 5810"/>
                <a:gd name="T121" fmla="*/ 2801 h 4517"/>
                <a:gd name="T122" fmla="*/ 5065 w 5810"/>
                <a:gd name="T123" fmla="*/ 3102 h 4517"/>
                <a:gd name="T124" fmla="*/ 4634 w 5810"/>
                <a:gd name="T125" fmla="*/ 3531 h 4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0" h="4517">
                  <a:moveTo>
                    <a:pt x="4629" y="3594"/>
                  </a:moveTo>
                  <a:lnTo>
                    <a:pt x="4591" y="3595"/>
                  </a:lnTo>
                  <a:lnTo>
                    <a:pt x="4563" y="3603"/>
                  </a:lnTo>
                  <a:lnTo>
                    <a:pt x="4533" y="3604"/>
                  </a:lnTo>
                  <a:lnTo>
                    <a:pt x="4527" y="3606"/>
                  </a:lnTo>
                  <a:lnTo>
                    <a:pt x="4493" y="3621"/>
                  </a:lnTo>
                  <a:lnTo>
                    <a:pt x="4481" y="3624"/>
                  </a:lnTo>
                  <a:lnTo>
                    <a:pt x="4471" y="3624"/>
                  </a:lnTo>
                  <a:lnTo>
                    <a:pt x="4440" y="3622"/>
                  </a:lnTo>
                  <a:lnTo>
                    <a:pt x="4417" y="3623"/>
                  </a:lnTo>
                  <a:lnTo>
                    <a:pt x="4388" y="3629"/>
                  </a:lnTo>
                  <a:lnTo>
                    <a:pt x="4346" y="3639"/>
                  </a:lnTo>
                  <a:lnTo>
                    <a:pt x="4328" y="3642"/>
                  </a:lnTo>
                  <a:lnTo>
                    <a:pt x="4300" y="3641"/>
                  </a:lnTo>
                  <a:lnTo>
                    <a:pt x="4282" y="3642"/>
                  </a:lnTo>
                  <a:lnTo>
                    <a:pt x="4244" y="3642"/>
                  </a:lnTo>
                  <a:lnTo>
                    <a:pt x="4205" y="3646"/>
                  </a:lnTo>
                  <a:lnTo>
                    <a:pt x="4197" y="3640"/>
                  </a:lnTo>
                  <a:lnTo>
                    <a:pt x="4188" y="3631"/>
                  </a:lnTo>
                  <a:lnTo>
                    <a:pt x="4185" y="3629"/>
                  </a:lnTo>
                  <a:lnTo>
                    <a:pt x="4170" y="3623"/>
                  </a:lnTo>
                  <a:lnTo>
                    <a:pt x="4161" y="3623"/>
                  </a:lnTo>
                  <a:lnTo>
                    <a:pt x="4157" y="3624"/>
                  </a:lnTo>
                  <a:lnTo>
                    <a:pt x="4162" y="3631"/>
                  </a:lnTo>
                  <a:lnTo>
                    <a:pt x="4160" y="3635"/>
                  </a:lnTo>
                  <a:lnTo>
                    <a:pt x="4149" y="3642"/>
                  </a:lnTo>
                  <a:lnTo>
                    <a:pt x="4134" y="3650"/>
                  </a:lnTo>
                  <a:lnTo>
                    <a:pt x="4126" y="3652"/>
                  </a:lnTo>
                  <a:lnTo>
                    <a:pt x="4112" y="3655"/>
                  </a:lnTo>
                  <a:lnTo>
                    <a:pt x="4110" y="3658"/>
                  </a:lnTo>
                  <a:lnTo>
                    <a:pt x="4108" y="3666"/>
                  </a:lnTo>
                  <a:lnTo>
                    <a:pt x="4106" y="3672"/>
                  </a:lnTo>
                  <a:lnTo>
                    <a:pt x="4102" y="3676"/>
                  </a:lnTo>
                  <a:lnTo>
                    <a:pt x="4098" y="3678"/>
                  </a:lnTo>
                  <a:lnTo>
                    <a:pt x="4085" y="3681"/>
                  </a:lnTo>
                  <a:lnTo>
                    <a:pt x="4076" y="3681"/>
                  </a:lnTo>
                  <a:lnTo>
                    <a:pt x="4072" y="3678"/>
                  </a:lnTo>
                  <a:lnTo>
                    <a:pt x="4062" y="3672"/>
                  </a:lnTo>
                  <a:lnTo>
                    <a:pt x="4058" y="3671"/>
                  </a:lnTo>
                  <a:lnTo>
                    <a:pt x="4039" y="3667"/>
                  </a:lnTo>
                  <a:lnTo>
                    <a:pt x="4020" y="3665"/>
                  </a:lnTo>
                  <a:lnTo>
                    <a:pt x="4018" y="3671"/>
                  </a:lnTo>
                  <a:lnTo>
                    <a:pt x="4017" y="3688"/>
                  </a:lnTo>
                  <a:lnTo>
                    <a:pt x="4022" y="3690"/>
                  </a:lnTo>
                  <a:lnTo>
                    <a:pt x="4031" y="3692"/>
                  </a:lnTo>
                  <a:lnTo>
                    <a:pt x="4035" y="3697"/>
                  </a:lnTo>
                  <a:lnTo>
                    <a:pt x="4034" y="3701"/>
                  </a:lnTo>
                  <a:lnTo>
                    <a:pt x="4025" y="3713"/>
                  </a:lnTo>
                  <a:lnTo>
                    <a:pt x="4025" y="3720"/>
                  </a:lnTo>
                  <a:lnTo>
                    <a:pt x="4032" y="3730"/>
                  </a:lnTo>
                  <a:lnTo>
                    <a:pt x="4049" y="3749"/>
                  </a:lnTo>
                  <a:lnTo>
                    <a:pt x="4052" y="3751"/>
                  </a:lnTo>
                  <a:lnTo>
                    <a:pt x="4054" y="3751"/>
                  </a:lnTo>
                  <a:lnTo>
                    <a:pt x="4063" y="3749"/>
                  </a:lnTo>
                  <a:lnTo>
                    <a:pt x="4068" y="3739"/>
                  </a:lnTo>
                  <a:lnTo>
                    <a:pt x="4099" y="3740"/>
                  </a:lnTo>
                  <a:lnTo>
                    <a:pt x="4109" y="3741"/>
                  </a:lnTo>
                  <a:lnTo>
                    <a:pt x="4109" y="3751"/>
                  </a:lnTo>
                  <a:lnTo>
                    <a:pt x="4103" y="3773"/>
                  </a:lnTo>
                  <a:lnTo>
                    <a:pt x="4070" y="3915"/>
                  </a:lnTo>
                  <a:lnTo>
                    <a:pt x="4070" y="3922"/>
                  </a:lnTo>
                  <a:lnTo>
                    <a:pt x="4075" y="3936"/>
                  </a:lnTo>
                  <a:lnTo>
                    <a:pt x="4085" y="3941"/>
                  </a:lnTo>
                  <a:lnTo>
                    <a:pt x="4104" y="3947"/>
                  </a:lnTo>
                  <a:lnTo>
                    <a:pt x="4110" y="3953"/>
                  </a:lnTo>
                  <a:lnTo>
                    <a:pt x="4125" y="3970"/>
                  </a:lnTo>
                  <a:lnTo>
                    <a:pt x="4132" y="3977"/>
                  </a:lnTo>
                  <a:lnTo>
                    <a:pt x="4144" y="3986"/>
                  </a:lnTo>
                  <a:lnTo>
                    <a:pt x="4153" y="3989"/>
                  </a:lnTo>
                  <a:lnTo>
                    <a:pt x="4155" y="3993"/>
                  </a:lnTo>
                  <a:lnTo>
                    <a:pt x="4155" y="3996"/>
                  </a:lnTo>
                  <a:lnTo>
                    <a:pt x="4147" y="4009"/>
                  </a:lnTo>
                  <a:lnTo>
                    <a:pt x="4146" y="4013"/>
                  </a:lnTo>
                  <a:lnTo>
                    <a:pt x="4158" y="4025"/>
                  </a:lnTo>
                  <a:lnTo>
                    <a:pt x="4162" y="4032"/>
                  </a:lnTo>
                  <a:lnTo>
                    <a:pt x="4167" y="4034"/>
                  </a:lnTo>
                  <a:lnTo>
                    <a:pt x="4181" y="4035"/>
                  </a:lnTo>
                  <a:lnTo>
                    <a:pt x="4189" y="4037"/>
                  </a:lnTo>
                  <a:lnTo>
                    <a:pt x="4194" y="4043"/>
                  </a:lnTo>
                  <a:lnTo>
                    <a:pt x="4200" y="4050"/>
                  </a:lnTo>
                  <a:lnTo>
                    <a:pt x="4202" y="4057"/>
                  </a:lnTo>
                  <a:lnTo>
                    <a:pt x="4202" y="4089"/>
                  </a:lnTo>
                  <a:lnTo>
                    <a:pt x="4208" y="4107"/>
                  </a:lnTo>
                  <a:lnTo>
                    <a:pt x="4209" y="4134"/>
                  </a:lnTo>
                  <a:lnTo>
                    <a:pt x="4212" y="4141"/>
                  </a:lnTo>
                  <a:lnTo>
                    <a:pt x="4222" y="4153"/>
                  </a:lnTo>
                  <a:lnTo>
                    <a:pt x="4226" y="4162"/>
                  </a:lnTo>
                  <a:lnTo>
                    <a:pt x="4228" y="4185"/>
                  </a:lnTo>
                  <a:lnTo>
                    <a:pt x="4228" y="4203"/>
                  </a:lnTo>
                  <a:lnTo>
                    <a:pt x="4225" y="4205"/>
                  </a:lnTo>
                  <a:lnTo>
                    <a:pt x="4219" y="4206"/>
                  </a:lnTo>
                  <a:lnTo>
                    <a:pt x="4212" y="4204"/>
                  </a:lnTo>
                  <a:lnTo>
                    <a:pt x="4196" y="4197"/>
                  </a:lnTo>
                  <a:lnTo>
                    <a:pt x="4191" y="4197"/>
                  </a:lnTo>
                  <a:lnTo>
                    <a:pt x="4183" y="4202"/>
                  </a:lnTo>
                  <a:lnTo>
                    <a:pt x="4171" y="4211"/>
                  </a:lnTo>
                  <a:lnTo>
                    <a:pt x="4157" y="4212"/>
                  </a:lnTo>
                  <a:lnTo>
                    <a:pt x="4150" y="4222"/>
                  </a:lnTo>
                  <a:lnTo>
                    <a:pt x="4144" y="4224"/>
                  </a:lnTo>
                  <a:lnTo>
                    <a:pt x="4137" y="4224"/>
                  </a:lnTo>
                  <a:lnTo>
                    <a:pt x="4120" y="4221"/>
                  </a:lnTo>
                  <a:lnTo>
                    <a:pt x="4100" y="4220"/>
                  </a:lnTo>
                  <a:lnTo>
                    <a:pt x="4096" y="4223"/>
                  </a:lnTo>
                  <a:lnTo>
                    <a:pt x="4088" y="4231"/>
                  </a:lnTo>
                  <a:lnTo>
                    <a:pt x="4079" y="4237"/>
                  </a:lnTo>
                  <a:lnTo>
                    <a:pt x="4067" y="4243"/>
                  </a:lnTo>
                  <a:lnTo>
                    <a:pt x="4063" y="4245"/>
                  </a:lnTo>
                  <a:lnTo>
                    <a:pt x="4061" y="4249"/>
                  </a:lnTo>
                  <a:lnTo>
                    <a:pt x="4060" y="4259"/>
                  </a:lnTo>
                  <a:lnTo>
                    <a:pt x="4062" y="4272"/>
                  </a:lnTo>
                  <a:lnTo>
                    <a:pt x="4062" y="4276"/>
                  </a:lnTo>
                  <a:lnTo>
                    <a:pt x="4061" y="4278"/>
                  </a:lnTo>
                  <a:lnTo>
                    <a:pt x="4056" y="4282"/>
                  </a:lnTo>
                  <a:lnTo>
                    <a:pt x="4052" y="4293"/>
                  </a:lnTo>
                  <a:lnTo>
                    <a:pt x="4055" y="4304"/>
                  </a:lnTo>
                  <a:lnTo>
                    <a:pt x="4053" y="4313"/>
                  </a:lnTo>
                  <a:lnTo>
                    <a:pt x="4054" y="4317"/>
                  </a:lnTo>
                  <a:lnTo>
                    <a:pt x="4060" y="4322"/>
                  </a:lnTo>
                  <a:lnTo>
                    <a:pt x="4074" y="4331"/>
                  </a:lnTo>
                  <a:lnTo>
                    <a:pt x="4081" y="4338"/>
                  </a:lnTo>
                  <a:lnTo>
                    <a:pt x="4093" y="4341"/>
                  </a:lnTo>
                  <a:lnTo>
                    <a:pt x="4120" y="4352"/>
                  </a:lnTo>
                  <a:lnTo>
                    <a:pt x="4121" y="4355"/>
                  </a:lnTo>
                  <a:lnTo>
                    <a:pt x="4122" y="4365"/>
                  </a:lnTo>
                  <a:lnTo>
                    <a:pt x="4127" y="4373"/>
                  </a:lnTo>
                  <a:lnTo>
                    <a:pt x="4127" y="4377"/>
                  </a:lnTo>
                  <a:lnTo>
                    <a:pt x="4117" y="4398"/>
                  </a:lnTo>
                  <a:lnTo>
                    <a:pt x="4112" y="4417"/>
                  </a:lnTo>
                  <a:lnTo>
                    <a:pt x="4113" y="4426"/>
                  </a:lnTo>
                  <a:lnTo>
                    <a:pt x="4118" y="4435"/>
                  </a:lnTo>
                  <a:lnTo>
                    <a:pt x="4116" y="4440"/>
                  </a:lnTo>
                  <a:lnTo>
                    <a:pt x="4110" y="4447"/>
                  </a:lnTo>
                  <a:lnTo>
                    <a:pt x="4108" y="4454"/>
                  </a:lnTo>
                  <a:lnTo>
                    <a:pt x="4109" y="4459"/>
                  </a:lnTo>
                  <a:lnTo>
                    <a:pt x="4116" y="4476"/>
                  </a:lnTo>
                  <a:lnTo>
                    <a:pt x="4114" y="4491"/>
                  </a:lnTo>
                  <a:lnTo>
                    <a:pt x="4109" y="4500"/>
                  </a:lnTo>
                  <a:lnTo>
                    <a:pt x="4099" y="4500"/>
                  </a:lnTo>
                  <a:lnTo>
                    <a:pt x="4090" y="4496"/>
                  </a:lnTo>
                  <a:lnTo>
                    <a:pt x="4085" y="4495"/>
                  </a:lnTo>
                  <a:lnTo>
                    <a:pt x="4078" y="4499"/>
                  </a:lnTo>
                  <a:lnTo>
                    <a:pt x="4068" y="4512"/>
                  </a:lnTo>
                  <a:lnTo>
                    <a:pt x="4063" y="4515"/>
                  </a:lnTo>
                  <a:lnTo>
                    <a:pt x="4056" y="4517"/>
                  </a:lnTo>
                  <a:lnTo>
                    <a:pt x="4042" y="4515"/>
                  </a:lnTo>
                  <a:lnTo>
                    <a:pt x="4036" y="4510"/>
                  </a:lnTo>
                  <a:lnTo>
                    <a:pt x="4019" y="4481"/>
                  </a:lnTo>
                  <a:lnTo>
                    <a:pt x="4013" y="4476"/>
                  </a:lnTo>
                  <a:lnTo>
                    <a:pt x="4009" y="4474"/>
                  </a:lnTo>
                  <a:lnTo>
                    <a:pt x="3992" y="4468"/>
                  </a:lnTo>
                  <a:lnTo>
                    <a:pt x="3971" y="4457"/>
                  </a:lnTo>
                  <a:lnTo>
                    <a:pt x="3945" y="4456"/>
                  </a:lnTo>
                  <a:lnTo>
                    <a:pt x="3895" y="4439"/>
                  </a:lnTo>
                  <a:lnTo>
                    <a:pt x="3888" y="4431"/>
                  </a:lnTo>
                  <a:lnTo>
                    <a:pt x="3874" y="4424"/>
                  </a:lnTo>
                  <a:lnTo>
                    <a:pt x="3868" y="4420"/>
                  </a:lnTo>
                  <a:lnTo>
                    <a:pt x="3872" y="4405"/>
                  </a:lnTo>
                  <a:lnTo>
                    <a:pt x="3872" y="4403"/>
                  </a:lnTo>
                  <a:lnTo>
                    <a:pt x="3870" y="4401"/>
                  </a:lnTo>
                  <a:lnTo>
                    <a:pt x="3860" y="4392"/>
                  </a:lnTo>
                  <a:lnTo>
                    <a:pt x="3846" y="4387"/>
                  </a:lnTo>
                  <a:lnTo>
                    <a:pt x="3845" y="4387"/>
                  </a:lnTo>
                  <a:lnTo>
                    <a:pt x="3844" y="4389"/>
                  </a:lnTo>
                  <a:lnTo>
                    <a:pt x="3844" y="4396"/>
                  </a:lnTo>
                  <a:lnTo>
                    <a:pt x="3843" y="4401"/>
                  </a:lnTo>
                  <a:lnTo>
                    <a:pt x="3836" y="4416"/>
                  </a:lnTo>
                  <a:lnTo>
                    <a:pt x="3826" y="4427"/>
                  </a:lnTo>
                  <a:lnTo>
                    <a:pt x="3818" y="4431"/>
                  </a:lnTo>
                  <a:lnTo>
                    <a:pt x="3815" y="4437"/>
                  </a:lnTo>
                  <a:lnTo>
                    <a:pt x="3814" y="4446"/>
                  </a:lnTo>
                  <a:lnTo>
                    <a:pt x="3813" y="4449"/>
                  </a:lnTo>
                  <a:lnTo>
                    <a:pt x="3810" y="4448"/>
                  </a:lnTo>
                  <a:lnTo>
                    <a:pt x="3804" y="4442"/>
                  </a:lnTo>
                  <a:lnTo>
                    <a:pt x="3800" y="4440"/>
                  </a:lnTo>
                  <a:lnTo>
                    <a:pt x="3796" y="4439"/>
                  </a:lnTo>
                  <a:lnTo>
                    <a:pt x="3785" y="4442"/>
                  </a:lnTo>
                  <a:lnTo>
                    <a:pt x="3782" y="4442"/>
                  </a:lnTo>
                  <a:lnTo>
                    <a:pt x="3768" y="4437"/>
                  </a:lnTo>
                  <a:lnTo>
                    <a:pt x="3742" y="4424"/>
                  </a:lnTo>
                  <a:lnTo>
                    <a:pt x="3742" y="4424"/>
                  </a:lnTo>
                  <a:lnTo>
                    <a:pt x="3715" y="4407"/>
                  </a:lnTo>
                  <a:lnTo>
                    <a:pt x="3696" y="4393"/>
                  </a:lnTo>
                  <a:lnTo>
                    <a:pt x="3685" y="4382"/>
                  </a:lnTo>
                  <a:lnTo>
                    <a:pt x="3677" y="4366"/>
                  </a:lnTo>
                  <a:lnTo>
                    <a:pt x="3670" y="4364"/>
                  </a:lnTo>
                  <a:lnTo>
                    <a:pt x="3659" y="4363"/>
                  </a:lnTo>
                  <a:lnTo>
                    <a:pt x="3656" y="4360"/>
                  </a:lnTo>
                  <a:lnTo>
                    <a:pt x="3653" y="4353"/>
                  </a:lnTo>
                  <a:lnTo>
                    <a:pt x="3651" y="4338"/>
                  </a:lnTo>
                  <a:lnTo>
                    <a:pt x="3649" y="4334"/>
                  </a:lnTo>
                  <a:lnTo>
                    <a:pt x="3644" y="4333"/>
                  </a:lnTo>
                  <a:lnTo>
                    <a:pt x="3641" y="4333"/>
                  </a:lnTo>
                  <a:lnTo>
                    <a:pt x="3636" y="4336"/>
                  </a:lnTo>
                  <a:lnTo>
                    <a:pt x="3627" y="4345"/>
                  </a:lnTo>
                  <a:lnTo>
                    <a:pt x="3622" y="4347"/>
                  </a:lnTo>
                  <a:lnTo>
                    <a:pt x="3616" y="4347"/>
                  </a:lnTo>
                  <a:lnTo>
                    <a:pt x="3611" y="4342"/>
                  </a:lnTo>
                  <a:lnTo>
                    <a:pt x="3604" y="4330"/>
                  </a:lnTo>
                  <a:lnTo>
                    <a:pt x="3600" y="4327"/>
                  </a:lnTo>
                  <a:lnTo>
                    <a:pt x="3596" y="4326"/>
                  </a:lnTo>
                  <a:lnTo>
                    <a:pt x="3579" y="4323"/>
                  </a:lnTo>
                  <a:lnTo>
                    <a:pt x="3575" y="4321"/>
                  </a:lnTo>
                  <a:lnTo>
                    <a:pt x="3569" y="4313"/>
                  </a:lnTo>
                  <a:lnTo>
                    <a:pt x="3561" y="4297"/>
                  </a:lnTo>
                  <a:lnTo>
                    <a:pt x="3558" y="4293"/>
                  </a:lnTo>
                  <a:lnTo>
                    <a:pt x="3554" y="4292"/>
                  </a:lnTo>
                  <a:lnTo>
                    <a:pt x="3550" y="4292"/>
                  </a:lnTo>
                  <a:lnTo>
                    <a:pt x="3544" y="4295"/>
                  </a:lnTo>
                  <a:lnTo>
                    <a:pt x="3525" y="4314"/>
                  </a:lnTo>
                  <a:lnTo>
                    <a:pt x="3519" y="4313"/>
                  </a:lnTo>
                  <a:lnTo>
                    <a:pt x="3516" y="4303"/>
                  </a:lnTo>
                  <a:lnTo>
                    <a:pt x="3513" y="4286"/>
                  </a:lnTo>
                  <a:lnTo>
                    <a:pt x="3510" y="4282"/>
                  </a:lnTo>
                  <a:lnTo>
                    <a:pt x="3506" y="4280"/>
                  </a:lnTo>
                  <a:lnTo>
                    <a:pt x="3494" y="4277"/>
                  </a:lnTo>
                  <a:lnTo>
                    <a:pt x="3490" y="4273"/>
                  </a:lnTo>
                  <a:lnTo>
                    <a:pt x="3488" y="4260"/>
                  </a:lnTo>
                  <a:lnTo>
                    <a:pt x="3485" y="4252"/>
                  </a:lnTo>
                  <a:lnTo>
                    <a:pt x="3482" y="4251"/>
                  </a:lnTo>
                  <a:lnTo>
                    <a:pt x="3467" y="4247"/>
                  </a:lnTo>
                  <a:lnTo>
                    <a:pt x="3463" y="4243"/>
                  </a:lnTo>
                  <a:lnTo>
                    <a:pt x="3461" y="4237"/>
                  </a:lnTo>
                  <a:lnTo>
                    <a:pt x="3458" y="4234"/>
                  </a:lnTo>
                  <a:lnTo>
                    <a:pt x="3448" y="4232"/>
                  </a:lnTo>
                  <a:lnTo>
                    <a:pt x="3429" y="4227"/>
                  </a:lnTo>
                  <a:lnTo>
                    <a:pt x="3419" y="4233"/>
                  </a:lnTo>
                  <a:lnTo>
                    <a:pt x="3414" y="4232"/>
                  </a:lnTo>
                  <a:lnTo>
                    <a:pt x="3406" y="4228"/>
                  </a:lnTo>
                  <a:lnTo>
                    <a:pt x="3402" y="4227"/>
                  </a:lnTo>
                  <a:lnTo>
                    <a:pt x="3392" y="4231"/>
                  </a:lnTo>
                  <a:lnTo>
                    <a:pt x="3383" y="4230"/>
                  </a:lnTo>
                  <a:lnTo>
                    <a:pt x="3372" y="4233"/>
                  </a:lnTo>
                  <a:lnTo>
                    <a:pt x="3369" y="4233"/>
                  </a:lnTo>
                  <a:lnTo>
                    <a:pt x="3340" y="4226"/>
                  </a:lnTo>
                  <a:lnTo>
                    <a:pt x="3317" y="4221"/>
                  </a:lnTo>
                  <a:lnTo>
                    <a:pt x="3315" y="4222"/>
                  </a:lnTo>
                  <a:lnTo>
                    <a:pt x="3311" y="4229"/>
                  </a:lnTo>
                  <a:lnTo>
                    <a:pt x="3301" y="4231"/>
                  </a:lnTo>
                  <a:lnTo>
                    <a:pt x="3280" y="4232"/>
                  </a:lnTo>
                  <a:lnTo>
                    <a:pt x="3235" y="4227"/>
                  </a:lnTo>
                  <a:lnTo>
                    <a:pt x="3216" y="4230"/>
                  </a:lnTo>
                  <a:lnTo>
                    <a:pt x="3206" y="4225"/>
                  </a:lnTo>
                  <a:lnTo>
                    <a:pt x="3196" y="4219"/>
                  </a:lnTo>
                  <a:lnTo>
                    <a:pt x="3195" y="4215"/>
                  </a:lnTo>
                  <a:lnTo>
                    <a:pt x="3191" y="4201"/>
                  </a:lnTo>
                  <a:lnTo>
                    <a:pt x="3181" y="4196"/>
                  </a:lnTo>
                  <a:lnTo>
                    <a:pt x="3170" y="4193"/>
                  </a:lnTo>
                  <a:lnTo>
                    <a:pt x="3155" y="4202"/>
                  </a:lnTo>
                  <a:lnTo>
                    <a:pt x="3113" y="4207"/>
                  </a:lnTo>
                  <a:lnTo>
                    <a:pt x="3109" y="4212"/>
                  </a:lnTo>
                  <a:lnTo>
                    <a:pt x="3107" y="4219"/>
                  </a:lnTo>
                  <a:lnTo>
                    <a:pt x="3104" y="4221"/>
                  </a:lnTo>
                  <a:lnTo>
                    <a:pt x="3094" y="4219"/>
                  </a:lnTo>
                  <a:lnTo>
                    <a:pt x="3074" y="4210"/>
                  </a:lnTo>
                  <a:lnTo>
                    <a:pt x="3043" y="4208"/>
                  </a:lnTo>
                  <a:lnTo>
                    <a:pt x="3033" y="4200"/>
                  </a:lnTo>
                  <a:lnTo>
                    <a:pt x="3003" y="4195"/>
                  </a:lnTo>
                  <a:lnTo>
                    <a:pt x="2998" y="4196"/>
                  </a:lnTo>
                  <a:lnTo>
                    <a:pt x="2982" y="4204"/>
                  </a:lnTo>
                  <a:lnTo>
                    <a:pt x="2969" y="4205"/>
                  </a:lnTo>
                  <a:lnTo>
                    <a:pt x="2960" y="4206"/>
                  </a:lnTo>
                  <a:lnTo>
                    <a:pt x="2953" y="4206"/>
                  </a:lnTo>
                  <a:lnTo>
                    <a:pt x="2941" y="4204"/>
                  </a:lnTo>
                  <a:lnTo>
                    <a:pt x="2930" y="4208"/>
                  </a:lnTo>
                  <a:lnTo>
                    <a:pt x="2925" y="4208"/>
                  </a:lnTo>
                  <a:lnTo>
                    <a:pt x="2922" y="4207"/>
                  </a:lnTo>
                  <a:lnTo>
                    <a:pt x="2913" y="4197"/>
                  </a:lnTo>
                  <a:lnTo>
                    <a:pt x="2911" y="4197"/>
                  </a:lnTo>
                  <a:lnTo>
                    <a:pt x="2905" y="4200"/>
                  </a:lnTo>
                  <a:lnTo>
                    <a:pt x="2897" y="4205"/>
                  </a:lnTo>
                  <a:lnTo>
                    <a:pt x="2891" y="4207"/>
                  </a:lnTo>
                  <a:lnTo>
                    <a:pt x="2881" y="4208"/>
                  </a:lnTo>
                  <a:lnTo>
                    <a:pt x="2853" y="4208"/>
                  </a:lnTo>
                  <a:lnTo>
                    <a:pt x="2848" y="4215"/>
                  </a:lnTo>
                  <a:lnTo>
                    <a:pt x="2832" y="4244"/>
                  </a:lnTo>
                  <a:lnTo>
                    <a:pt x="2828" y="4248"/>
                  </a:lnTo>
                  <a:lnTo>
                    <a:pt x="2822" y="4250"/>
                  </a:lnTo>
                  <a:lnTo>
                    <a:pt x="2819" y="4254"/>
                  </a:lnTo>
                  <a:lnTo>
                    <a:pt x="2817" y="4269"/>
                  </a:lnTo>
                  <a:lnTo>
                    <a:pt x="2812" y="4273"/>
                  </a:lnTo>
                  <a:lnTo>
                    <a:pt x="2802" y="4275"/>
                  </a:lnTo>
                  <a:lnTo>
                    <a:pt x="2798" y="4279"/>
                  </a:lnTo>
                  <a:lnTo>
                    <a:pt x="2796" y="4282"/>
                  </a:lnTo>
                  <a:lnTo>
                    <a:pt x="2793" y="4300"/>
                  </a:lnTo>
                  <a:lnTo>
                    <a:pt x="2780" y="4301"/>
                  </a:lnTo>
                  <a:lnTo>
                    <a:pt x="2761" y="4308"/>
                  </a:lnTo>
                  <a:lnTo>
                    <a:pt x="2749" y="4304"/>
                  </a:lnTo>
                  <a:lnTo>
                    <a:pt x="2741" y="4303"/>
                  </a:lnTo>
                  <a:lnTo>
                    <a:pt x="2695" y="4310"/>
                  </a:lnTo>
                  <a:lnTo>
                    <a:pt x="2681" y="4312"/>
                  </a:lnTo>
                  <a:lnTo>
                    <a:pt x="2670" y="4318"/>
                  </a:lnTo>
                  <a:lnTo>
                    <a:pt x="2656" y="4336"/>
                  </a:lnTo>
                  <a:lnTo>
                    <a:pt x="2652" y="4339"/>
                  </a:lnTo>
                  <a:lnTo>
                    <a:pt x="2643" y="4338"/>
                  </a:lnTo>
                  <a:lnTo>
                    <a:pt x="2636" y="4336"/>
                  </a:lnTo>
                  <a:lnTo>
                    <a:pt x="2632" y="4329"/>
                  </a:lnTo>
                  <a:lnTo>
                    <a:pt x="2630" y="4317"/>
                  </a:lnTo>
                  <a:lnTo>
                    <a:pt x="2625" y="4314"/>
                  </a:lnTo>
                  <a:lnTo>
                    <a:pt x="2621" y="4312"/>
                  </a:lnTo>
                  <a:lnTo>
                    <a:pt x="2606" y="4310"/>
                  </a:lnTo>
                  <a:lnTo>
                    <a:pt x="2603" y="4308"/>
                  </a:lnTo>
                  <a:lnTo>
                    <a:pt x="2599" y="4302"/>
                  </a:lnTo>
                  <a:lnTo>
                    <a:pt x="2595" y="4288"/>
                  </a:lnTo>
                  <a:lnTo>
                    <a:pt x="2591" y="4285"/>
                  </a:lnTo>
                  <a:lnTo>
                    <a:pt x="2587" y="4282"/>
                  </a:lnTo>
                  <a:lnTo>
                    <a:pt x="2584" y="4272"/>
                  </a:lnTo>
                  <a:lnTo>
                    <a:pt x="2571" y="4273"/>
                  </a:lnTo>
                  <a:lnTo>
                    <a:pt x="2568" y="4272"/>
                  </a:lnTo>
                  <a:lnTo>
                    <a:pt x="2565" y="4267"/>
                  </a:lnTo>
                  <a:lnTo>
                    <a:pt x="2561" y="4267"/>
                  </a:lnTo>
                  <a:lnTo>
                    <a:pt x="2559" y="4268"/>
                  </a:lnTo>
                  <a:lnTo>
                    <a:pt x="2557" y="4275"/>
                  </a:lnTo>
                  <a:lnTo>
                    <a:pt x="2554" y="4277"/>
                  </a:lnTo>
                  <a:lnTo>
                    <a:pt x="2549" y="4279"/>
                  </a:lnTo>
                  <a:lnTo>
                    <a:pt x="2544" y="4279"/>
                  </a:lnTo>
                  <a:lnTo>
                    <a:pt x="2532" y="4276"/>
                  </a:lnTo>
                  <a:lnTo>
                    <a:pt x="2528" y="4274"/>
                  </a:lnTo>
                  <a:lnTo>
                    <a:pt x="2521" y="4266"/>
                  </a:lnTo>
                  <a:lnTo>
                    <a:pt x="2514" y="4264"/>
                  </a:lnTo>
                  <a:lnTo>
                    <a:pt x="2510" y="4265"/>
                  </a:lnTo>
                  <a:lnTo>
                    <a:pt x="2506" y="4266"/>
                  </a:lnTo>
                  <a:lnTo>
                    <a:pt x="2495" y="4279"/>
                  </a:lnTo>
                  <a:lnTo>
                    <a:pt x="2469" y="4280"/>
                  </a:lnTo>
                  <a:lnTo>
                    <a:pt x="2443" y="4291"/>
                  </a:lnTo>
                  <a:lnTo>
                    <a:pt x="2434" y="4291"/>
                  </a:lnTo>
                  <a:lnTo>
                    <a:pt x="2415" y="4290"/>
                  </a:lnTo>
                  <a:lnTo>
                    <a:pt x="2378" y="4292"/>
                  </a:lnTo>
                  <a:lnTo>
                    <a:pt x="2350" y="4290"/>
                  </a:lnTo>
                  <a:lnTo>
                    <a:pt x="2345" y="4291"/>
                  </a:lnTo>
                  <a:lnTo>
                    <a:pt x="2343" y="4292"/>
                  </a:lnTo>
                  <a:lnTo>
                    <a:pt x="2342" y="4294"/>
                  </a:lnTo>
                  <a:lnTo>
                    <a:pt x="2347" y="4302"/>
                  </a:lnTo>
                  <a:lnTo>
                    <a:pt x="2348" y="4306"/>
                  </a:lnTo>
                  <a:lnTo>
                    <a:pt x="2346" y="4309"/>
                  </a:lnTo>
                  <a:lnTo>
                    <a:pt x="2342" y="4312"/>
                  </a:lnTo>
                  <a:lnTo>
                    <a:pt x="2316" y="4321"/>
                  </a:lnTo>
                  <a:lnTo>
                    <a:pt x="2287" y="4324"/>
                  </a:lnTo>
                  <a:lnTo>
                    <a:pt x="2276" y="4330"/>
                  </a:lnTo>
                  <a:lnTo>
                    <a:pt x="2272" y="4330"/>
                  </a:lnTo>
                  <a:lnTo>
                    <a:pt x="2268" y="4329"/>
                  </a:lnTo>
                  <a:lnTo>
                    <a:pt x="2263" y="4323"/>
                  </a:lnTo>
                  <a:lnTo>
                    <a:pt x="2259" y="4321"/>
                  </a:lnTo>
                  <a:lnTo>
                    <a:pt x="2246" y="4323"/>
                  </a:lnTo>
                  <a:lnTo>
                    <a:pt x="2243" y="4320"/>
                  </a:lnTo>
                  <a:lnTo>
                    <a:pt x="2237" y="4310"/>
                  </a:lnTo>
                  <a:lnTo>
                    <a:pt x="2233" y="4305"/>
                  </a:lnTo>
                  <a:lnTo>
                    <a:pt x="2227" y="4302"/>
                  </a:lnTo>
                  <a:lnTo>
                    <a:pt x="2214" y="4298"/>
                  </a:lnTo>
                  <a:lnTo>
                    <a:pt x="2208" y="4298"/>
                  </a:lnTo>
                  <a:lnTo>
                    <a:pt x="2193" y="4304"/>
                  </a:lnTo>
                  <a:lnTo>
                    <a:pt x="2184" y="4308"/>
                  </a:lnTo>
                  <a:lnTo>
                    <a:pt x="2165" y="4310"/>
                  </a:lnTo>
                  <a:lnTo>
                    <a:pt x="2154" y="4304"/>
                  </a:lnTo>
                  <a:lnTo>
                    <a:pt x="2144" y="4295"/>
                  </a:lnTo>
                  <a:lnTo>
                    <a:pt x="2135" y="4295"/>
                  </a:lnTo>
                  <a:lnTo>
                    <a:pt x="2124" y="4298"/>
                  </a:lnTo>
                  <a:lnTo>
                    <a:pt x="2119" y="4299"/>
                  </a:lnTo>
                  <a:lnTo>
                    <a:pt x="2115" y="4294"/>
                  </a:lnTo>
                  <a:lnTo>
                    <a:pt x="2091" y="4283"/>
                  </a:lnTo>
                  <a:lnTo>
                    <a:pt x="2078" y="4275"/>
                  </a:lnTo>
                  <a:lnTo>
                    <a:pt x="2073" y="4275"/>
                  </a:lnTo>
                  <a:lnTo>
                    <a:pt x="2065" y="4278"/>
                  </a:lnTo>
                  <a:lnTo>
                    <a:pt x="2062" y="4278"/>
                  </a:lnTo>
                  <a:lnTo>
                    <a:pt x="2061" y="4276"/>
                  </a:lnTo>
                  <a:lnTo>
                    <a:pt x="2059" y="4268"/>
                  </a:lnTo>
                  <a:lnTo>
                    <a:pt x="2042" y="4261"/>
                  </a:lnTo>
                  <a:lnTo>
                    <a:pt x="2037" y="4257"/>
                  </a:lnTo>
                  <a:lnTo>
                    <a:pt x="2031" y="4249"/>
                  </a:lnTo>
                  <a:lnTo>
                    <a:pt x="2028" y="4248"/>
                  </a:lnTo>
                  <a:lnTo>
                    <a:pt x="2022" y="4248"/>
                  </a:lnTo>
                  <a:lnTo>
                    <a:pt x="2008" y="4252"/>
                  </a:lnTo>
                  <a:lnTo>
                    <a:pt x="2003" y="4252"/>
                  </a:lnTo>
                  <a:lnTo>
                    <a:pt x="2000" y="4248"/>
                  </a:lnTo>
                  <a:lnTo>
                    <a:pt x="1988" y="4230"/>
                  </a:lnTo>
                  <a:lnTo>
                    <a:pt x="1977" y="4226"/>
                  </a:lnTo>
                  <a:lnTo>
                    <a:pt x="1975" y="4225"/>
                  </a:lnTo>
                  <a:lnTo>
                    <a:pt x="1971" y="4211"/>
                  </a:lnTo>
                  <a:lnTo>
                    <a:pt x="1963" y="4198"/>
                  </a:lnTo>
                  <a:lnTo>
                    <a:pt x="1964" y="4193"/>
                  </a:lnTo>
                  <a:lnTo>
                    <a:pt x="1969" y="4178"/>
                  </a:lnTo>
                  <a:lnTo>
                    <a:pt x="1973" y="4161"/>
                  </a:lnTo>
                  <a:lnTo>
                    <a:pt x="1974" y="4155"/>
                  </a:lnTo>
                  <a:lnTo>
                    <a:pt x="1973" y="4153"/>
                  </a:lnTo>
                  <a:lnTo>
                    <a:pt x="1968" y="4150"/>
                  </a:lnTo>
                  <a:lnTo>
                    <a:pt x="1952" y="4142"/>
                  </a:lnTo>
                  <a:lnTo>
                    <a:pt x="1950" y="4140"/>
                  </a:lnTo>
                  <a:lnTo>
                    <a:pt x="1948" y="4134"/>
                  </a:lnTo>
                  <a:lnTo>
                    <a:pt x="1938" y="4131"/>
                  </a:lnTo>
                  <a:lnTo>
                    <a:pt x="1934" y="4131"/>
                  </a:lnTo>
                  <a:lnTo>
                    <a:pt x="1913" y="4141"/>
                  </a:lnTo>
                  <a:lnTo>
                    <a:pt x="1911" y="4141"/>
                  </a:lnTo>
                  <a:lnTo>
                    <a:pt x="1902" y="4134"/>
                  </a:lnTo>
                  <a:lnTo>
                    <a:pt x="1887" y="4119"/>
                  </a:lnTo>
                  <a:lnTo>
                    <a:pt x="1879" y="4112"/>
                  </a:lnTo>
                  <a:lnTo>
                    <a:pt x="1870" y="4107"/>
                  </a:lnTo>
                  <a:lnTo>
                    <a:pt x="1842" y="4094"/>
                  </a:lnTo>
                  <a:lnTo>
                    <a:pt x="1839" y="4094"/>
                  </a:lnTo>
                  <a:lnTo>
                    <a:pt x="1836" y="4095"/>
                  </a:lnTo>
                  <a:lnTo>
                    <a:pt x="1820" y="4104"/>
                  </a:lnTo>
                  <a:lnTo>
                    <a:pt x="1813" y="4131"/>
                  </a:lnTo>
                  <a:lnTo>
                    <a:pt x="1811" y="4133"/>
                  </a:lnTo>
                  <a:lnTo>
                    <a:pt x="1807" y="4136"/>
                  </a:lnTo>
                  <a:lnTo>
                    <a:pt x="1798" y="4139"/>
                  </a:lnTo>
                  <a:lnTo>
                    <a:pt x="1786" y="4142"/>
                  </a:lnTo>
                  <a:lnTo>
                    <a:pt x="1744" y="4150"/>
                  </a:lnTo>
                  <a:lnTo>
                    <a:pt x="1714" y="4158"/>
                  </a:lnTo>
                  <a:lnTo>
                    <a:pt x="1710" y="4170"/>
                  </a:lnTo>
                  <a:lnTo>
                    <a:pt x="1706" y="4191"/>
                  </a:lnTo>
                  <a:lnTo>
                    <a:pt x="1704" y="4194"/>
                  </a:lnTo>
                  <a:lnTo>
                    <a:pt x="1700" y="4197"/>
                  </a:lnTo>
                  <a:lnTo>
                    <a:pt x="1694" y="4200"/>
                  </a:lnTo>
                  <a:lnTo>
                    <a:pt x="1682" y="4202"/>
                  </a:lnTo>
                  <a:lnTo>
                    <a:pt x="1650" y="4202"/>
                  </a:lnTo>
                  <a:lnTo>
                    <a:pt x="1627" y="4194"/>
                  </a:lnTo>
                  <a:lnTo>
                    <a:pt x="1602" y="4192"/>
                  </a:lnTo>
                  <a:lnTo>
                    <a:pt x="1589" y="4190"/>
                  </a:lnTo>
                  <a:lnTo>
                    <a:pt x="1579" y="4188"/>
                  </a:lnTo>
                  <a:lnTo>
                    <a:pt x="1571" y="4184"/>
                  </a:lnTo>
                  <a:lnTo>
                    <a:pt x="1567" y="4179"/>
                  </a:lnTo>
                  <a:lnTo>
                    <a:pt x="1560" y="4154"/>
                  </a:lnTo>
                  <a:lnTo>
                    <a:pt x="1558" y="4149"/>
                  </a:lnTo>
                  <a:lnTo>
                    <a:pt x="1554" y="4142"/>
                  </a:lnTo>
                  <a:lnTo>
                    <a:pt x="1549" y="4140"/>
                  </a:lnTo>
                  <a:lnTo>
                    <a:pt x="1542" y="4141"/>
                  </a:lnTo>
                  <a:lnTo>
                    <a:pt x="1539" y="4140"/>
                  </a:lnTo>
                  <a:lnTo>
                    <a:pt x="1532" y="4134"/>
                  </a:lnTo>
                  <a:lnTo>
                    <a:pt x="1526" y="4132"/>
                  </a:lnTo>
                  <a:lnTo>
                    <a:pt x="1501" y="4131"/>
                  </a:lnTo>
                  <a:lnTo>
                    <a:pt x="1494" y="4129"/>
                  </a:lnTo>
                  <a:lnTo>
                    <a:pt x="1490" y="4126"/>
                  </a:lnTo>
                  <a:lnTo>
                    <a:pt x="1489" y="4118"/>
                  </a:lnTo>
                  <a:lnTo>
                    <a:pt x="1487" y="4115"/>
                  </a:lnTo>
                  <a:lnTo>
                    <a:pt x="1469" y="4107"/>
                  </a:lnTo>
                  <a:lnTo>
                    <a:pt x="1467" y="4095"/>
                  </a:lnTo>
                  <a:lnTo>
                    <a:pt x="1463" y="4090"/>
                  </a:lnTo>
                  <a:lnTo>
                    <a:pt x="1460" y="4090"/>
                  </a:lnTo>
                  <a:lnTo>
                    <a:pt x="1455" y="4091"/>
                  </a:lnTo>
                  <a:lnTo>
                    <a:pt x="1451" y="4096"/>
                  </a:lnTo>
                  <a:lnTo>
                    <a:pt x="1448" y="4104"/>
                  </a:lnTo>
                  <a:lnTo>
                    <a:pt x="1447" y="4122"/>
                  </a:lnTo>
                  <a:lnTo>
                    <a:pt x="1443" y="4123"/>
                  </a:lnTo>
                  <a:lnTo>
                    <a:pt x="1437" y="4122"/>
                  </a:lnTo>
                  <a:lnTo>
                    <a:pt x="1430" y="4119"/>
                  </a:lnTo>
                  <a:lnTo>
                    <a:pt x="1391" y="4091"/>
                  </a:lnTo>
                  <a:lnTo>
                    <a:pt x="1364" y="4087"/>
                  </a:lnTo>
                  <a:lnTo>
                    <a:pt x="1362" y="4085"/>
                  </a:lnTo>
                  <a:lnTo>
                    <a:pt x="1356" y="4067"/>
                  </a:lnTo>
                  <a:lnTo>
                    <a:pt x="1349" y="4060"/>
                  </a:lnTo>
                  <a:lnTo>
                    <a:pt x="1343" y="4057"/>
                  </a:lnTo>
                  <a:lnTo>
                    <a:pt x="1323" y="4054"/>
                  </a:lnTo>
                  <a:lnTo>
                    <a:pt x="1317" y="4051"/>
                  </a:lnTo>
                  <a:lnTo>
                    <a:pt x="1311" y="4046"/>
                  </a:lnTo>
                  <a:lnTo>
                    <a:pt x="1306" y="4039"/>
                  </a:lnTo>
                  <a:lnTo>
                    <a:pt x="1308" y="4025"/>
                  </a:lnTo>
                  <a:lnTo>
                    <a:pt x="1306" y="4023"/>
                  </a:lnTo>
                  <a:lnTo>
                    <a:pt x="1303" y="4022"/>
                  </a:lnTo>
                  <a:lnTo>
                    <a:pt x="1300" y="4024"/>
                  </a:lnTo>
                  <a:lnTo>
                    <a:pt x="1289" y="4035"/>
                  </a:lnTo>
                  <a:lnTo>
                    <a:pt x="1284" y="4035"/>
                  </a:lnTo>
                  <a:lnTo>
                    <a:pt x="1275" y="4034"/>
                  </a:lnTo>
                  <a:lnTo>
                    <a:pt x="1271" y="4035"/>
                  </a:lnTo>
                  <a:lnTo>
                    <a:pt x="1267" y="4041"/>
                  </a:lnTo>
                  <a:lnTo>
                    <a:pt x="1257" y="4053"/>
                  </a:lnTo>
                  <a:lnTo>
                    <a:pt x="1253" y="4061"/>
                  </a:lnTo>
                  <a:lnTo>
                    <a:pt x="1251" y="4069"/>
                  </a:lnTo>
                  <a:lnTo>
                    <a:pt x="1254" y="4075"/>
                  </a:lnTo>
                  <a:lnTo>
                    <a:pt x="1262" y="4085"/>
                  </a:lnTo>
                  <a:lnTo>
                    <a:pt x="1262" y="4088"/>
                  </a:lnTo>
                  <a:lnTo>
                    <a:pt x="1261" y="4090"/>
                  </a:lnTo>
                  <a:lnTo>
                    <a:pt x="1255" y="4090"/>
                  </a:lnTo>
                  <a:lnTo>
                    <a:pt x="1237" y="4087"/>
                  </a:lnTo>
                  <a:lnTo>
                    <a:pt x="1233" y="4087"/>
                  </a:lnTo>
                  <a:lnTo>
                    <a:pt x="1232" y="4089"/>
                  </a:lnTo>
                  <a:lnTo>
                    <a:pt x="1229" y="4104"/>
                  </a:lnTo>
                  <a:lnTo>
                    <a:pt x="1205" y="4120"/>
                  </a:lnTo>
                  <a:lnTo>
                    <a:pt x="1185" y="4122"/>
                  </a:lnTo>
                  <a:lnTo>
                    <a:pt x="1166" y="4118"/>
                  </a:lnTo>
                  <a:lnTo>
                    <a:pt x="1160" y="4120"/>
                  </a:lnTo>
                  <a:lnTo>
                    <a:pt x="1158" y="4124"/>
                  </a:lnTo>
                  <a:lnTo>
                    <a:pt x="1145" y="4162"/>
                  </a:lnTo>
                  <a:lnTo>
                    <a:pt x="1142" y="4166"/>
                  </a:lnTo>
                  <a:lnTo>
                    <a:pt x="1138" y="4169"/>
                  </a:lnTo>
                  <a:lnTo>
                    <a:pt x="1120" y="4173"/>
                  </a:lnTo>
                  <a:lnTo>
                    <a:pt x="1116" y="4175"/>
                  </a:lnTo>
                  <a:lnTo>
                    <a:pt x="1115" y="4178"/>
                  </a:lnTo>
                  <a:lnTo>
                    <a:pt x="1115" y="4192"/>
                  </a:lnTo>
                  <a:lnTo>
                    <a:pt x="1097" y="4219"/>
                  </a:lnTo>
                  <a:lnTo>
                    <a:pt x="1098" y="4233"/>
                  </a:lnTo>
                  <a:lnTo>
                    <a:pt x="1092" y="4236"/>
                  </a:lnTo>
                  <a:lnTo>
                    <a:pt x="1082" y="4237"/>
                  </a:lnTo>
                  <a:lnTo>
                    <a:pt x="1080" y="4239"/>
                  </a:lnTo>
                  <a:lnTo>
                    <a:pt x="1080" y="4241"/>
                  </a:lnTo>
                  <a:lnTo>
                    <a:pt x="1081" y="4241"/>
                  </a:lnTo>
                  <a:lnTo>
                    <a:pt x="1081" y="4241"/>
                  </a:lnTo>
                  <a:lnTo>
                    <a:pt x="1080" y="4247"/>
                  </a:lnTo>
                  <a:lnTo>
                    <a:pt x="1082" y="4260"/>
                  </a:lnTo>
                  <a:lnTo>
                    <a:pt x="1077" y="4262"/>
                  </a:lnTo>
                  <a:lnTo>
                    <a:pt x="1068" y="4267"/>
                  </a:lnTo>
                  <a:lnTo>
                    <a:pt x="1064" y="4273"/>
                  </a:lnTo>
                  <a:lnTo>
                    <a:pt x="1067" y="4286"/>
                  </a:lnTo>
                  <a:lnTo>
                    <a:pt x="1065" y="4292"/>
                  </a:lnTo>
                  <a:lnTo>
                    <a:pt x="1063" y="4293"/>
                  </a:lnTo>
                  <a:lnTo>
                    <a:pt x="1048" y="4294"/>
                  </a:lnTo>
                  <a:lnTo>
                    <a:pt x="1035" y="4297"/>
                  </a:lnTo>
                  <a:lnTo>
                    <a:pt x="1030" y="4297"/>
                  </a:lnTo>
                  <a:lnTo>
                    <a:pt x="1020" y="4287"/>
                  </a:lnTo>
                  <a:lnTo>
                    <a:pt x="1018" y="4286"/>
                  </a:lnTo>
                  <a:lnTo>
                    <a:pt x="1014" y="4287"/>
                  </a:lnTo>
                  <a:lnTo>
                    <a:pt x="1003" y="4293"/>
                  </a:lnTo>
                  <a:lnTo>
                    <a:pt x="998" y="4293"/>
                  </a:lnTo>
                  <a:lnTo>
                    <a:pt x="992" y="4292"/>
                  </a:lnTo>
                  <a:lnTo>
                    <a:pt x="981" y="4287"/>
                  </a:lnTo>
                  <a:lnTo>
                    <a:pt x="973" y="4279"/>
                  </a:lnTo>
                  <a:lnTo>
                    <a:pt x="971" y="4278"/>
                  </a:lnTo>
                  <a:lnTo>
                    <a:pt x="967" y="4278"/>
                  </a:lnTo>
                  <a:lnTo>
                    <a:pt x="956" y="4282"/>
                  </a:lnTo>
                  <a:lnTo>
                    <a:pt x="946" y="4281"/>
                  </a:lnTo>
                  <a:lnTo>
                    <a:pt x="937" y="4277"/>
                  </a:lnTo>
                  <a:lnTo>
                    <a:pt x="924" y="4267"/>
                  </a:lnTo>
                  <a:lnTo>
                    <a:pt x="918" y="4265"/>
                  </a:lnTo>
                  <a:lnTo>
                    <a:pt x="912" y="4265"/>
                  </a:lnTo>
                  <a:lnTo>
                    <a:pt x="892" y="4268"/>
                  </a:lnTo>
                  <a:lnTo>
                    <a:pt x="887" y="4267"/>
                  </a:lnTo>
                  <a:lnTo>
                    <a:pt x="882" y="4263"/>
                  </a:lnTo>
                  <a:lnTo>
                    <a:pt x="876" y="4251"/>
                  </a:lnTo>
                  <a:lnTo>
                    <a:pt x="874" y="4249"/>
                  </a:lnTo>
                  <a:lnTo>
                    <a:pt x="859" y="4252"/>
                  </a:lnTo>
                  <a:lnTo>
                    <a:pt x="848" y="4248"/>
                  </a:lnTo>
                  <a:lnTo>
                    <a:pt x="842" y="4250"/>
                  </a:lnTo>
                  <a:lnTo>
                    <a:pt x="839" y="4254"/>
                  </a:lnTo>
                  <a:lnTo>
                    <a:pt x="839" y="4257"/>
                  </a:lnTo>
                  <a:lnTo>
                    <a:pt x="841" y="4266"/>
                  </a:lnTo>
                  <a:lnTo>
                    <a:pt x="841" y="4270"/>
                  </a:lnTo>
                  <a:lnTo>
                    <a:pt x="839" y="4273"/>
                  </a:lnTo>
                  <a:lnTo>
                    <a:pt x="835" y="4275"/>
                  </a:lnTo>
                  <a:lnTo>
                    <a:pt x="835" y="4275"/>
                  </a:lnTo>
                  <a:lnTo>
                    <a:pt x="830" y="4264"/>
                  </a:lnTo>
                  <a:lnTo>
                    <a:pt x="825" y="4259"/>
                  </a:lnTo>
                  <a:lnTo>
                    <a:pt x="816" y="4255"/>
                  </a:lnTo>
                  <a:lnTo>
                    <a:pt x="804" y="4252"/>
                  </a:lnTo>
                  <a:lnTo>
                    <a:pt x="799" y="4248"/>
                  </a:lnTo>
                  <a:lnTo>
                    <a:pt x="787" y="4231"/>
                  </a:lnTo>
                  <a:lnTo>
                    <a:pt x="771" y="4213"/>
                  </a:lnTo>
                  <a:lnTo>
                    <a:pt x="760" y="4188"/>
                  </a:lnTo>
                  <a:lnTo>
                    <a:pt x="755" y="4184"/>
                  </a:lnTo>
                  <a:lnTo>
                    <a:pt x="748" y="4181"/>
                  </a:lnTo>
                  <a:lnTo>
                    <a:pt x="742" y="4180"/>
                  </a:lnTo>
                  <a:lnTo>
                    <a:pt x="734" y="4180"/>
                  </a:lnTo>
                  <a:lnTo>
                    <a:pt x="731" y="4176"/>
                  </a:lnTo>
                  <a:lnTo>
                    <a:pt x="726" y="4162"/>
                  </a:lnTo>
                  <a:lnTo>
                    <a:pt x="723" y="4158"/>
                  </a:lnTo>
                  <a:lnTo>
                    <a:pt x="720" y="4156"/>
                  </a:lnTo>
                  <a:lnTo>
                    <a:pt x="701" y="4149"/>
                  </a:lnTo>
                  <a:lnTo>
                    <a:pt x="697" y="4147"/>
                  </a:lnTo>
                  <a:lnTo>
                    <a:pt x="694" y="4141"/>
                  </a:lnTo>
                  <a:lnTo>
                    <a:pt x="691" y="4138"/>
                  </a:lnTo>
                  <a:lnTo>
                    <a:pt x="672" y="4125"/>
                  </a:lnTo>
                  <a:lnTo>
                    <a:pt x="671" y="4121"/>
                  </a:lnTo>
                  <a:lnTo>
                    <a:pt x="670" y="4109"/>
                  </a:lnTo>
                  <a:lnTo>
                    <a:pt x="672" y="4098"/>
                  </a:lnTo>
                  <a:lnTo>
                    <a:pt x="671" y="4093"/>
                  </a:lnTo>
                  <a:lnTo>
                    <a:pt x="666" y="4083"/>
                  </a:lnTo>
                  <a:lnTo>
                    <a:pt x="665" y="4081"/>
                  </a:lnTo>
                  <a:lnTo>
                    <a:pt x="668" y="4068"/>
                  </a:lnTo>
                  <a:lnTo>
                    <a:pt x="671" y="4061"/>
                  </a:lnTo>
                  <a:lnTo>
                    <a:pt x="676" y="4052"/>
                  </a:lnTo>
                  <a:lnTo>
                    <a:pt x="679" y="4040"/>
                  </a:lnTo>
                  <a:lnTo>
                    <a:pt x="679" y="4030"/>
                  </a:lnTo>
                  <a:lnTo>
                    <a:pt x="678" y="4019"/>
                  </a:lnTo>
                  <a:lnTo>
                    <a:pt x="674" y="3980"/>
                  </a:lnTo>
                  <a:lnTo>
                    <a:pt x="675" y="3971"/>
                  </a:lnTo>
                  <a:lnTo>
                    <a:pt x="680" y="3958"/>
                  </a:lnTo>
                  <a:lnTo>
                    <a:pt x="681" y="3952"/>
                  </a:lnTo>
                  <a:lnTo>
                    <a:pt x="680" y="3946"/>
                  </a:lnTo>
                  <a:lnTo>
                    <a:pt x="675" y="3942"/>
                  </a:lnTo>
                  <a:lnTo>
                    <a:pt x="673" y="3938"/>
                  </a:lnTo>
                  <a:lnTo>
                    <a:pt x="669" y="3925"/>
                  </a:lnTo>
                  <a:lnTo>
                    <a:pt x="668" y="3908"/>
                  </a:lnTo>
                  <a:lnTo>
                    <a:pt x="669" y="3883"/>
                  </a:lnTo>
                  <a:lnTo>
                    <a:pt x="674" y="3869"/>
                  </a:lnTo>
                  <a:lnTo>
                    <a:pt x="680" y="3859"/>
                  </a:lnTo>
                  <a:lnTo>
                    <a:pt x="691" y="3851"/>
                  </a:lnTo>
                  <a:lnTo>
                    <a:pt x="711" y="3839"/>
                  </a:lnTo>
                  <a:lnTo>
                    <a:pt x="721" y="3831"/>
                  </a:lnTo>
                  <a:lnTo>
                    <a:pt x="723" y="3829"/>
                  </a:lnTo>
                  <a:lnTo>
                    <a:pt x="723" y="3828"/>
                  </a:lnTo>
                  <a:lnTo>
                    <a:pt x="720" y="3825"/>
                  </a:lnTo>
                  <a:lnTo>
                    <a:pt x="714" y="3824"/>
                  </a:lnTo>
                  <a:lnTo>
                    <a:pt x="691" y="3819"/>
                  </a:lnTo>
                  <a:lnTo>
                    <a:pt x="676" y="3813"/>
                  </a:lnTo>
                  <a:lnTo>
                    <a:pt x="672" y="3813"/>
                  </a:lnTo>
                  <a:lnTo>
                    <a:pt x="661" y="3815"/>
                  </a:lnTo>
                  <a:lnTo>
                    <a:pt x="657" y="3815"/>
                  </a:lnTo>
                  <a:lnTo>
                    <a:pt x="652" y="3812"/>
                  </a:lnTo>
                  <a:lnTo>
                    <a:pt x="638" y="3800"/>
                  </a:lnTo>
                  <a:lnTo>
                    <a:pt x="635" y="3798"/>
                  </a:lnTo>
                  <a:lnTo>
                    <a:pt x="629" y="3799"/>
                  </a:lnTo>
                  <a:lnTo>
                    <a:pt x="611" y="3803"/>
                  </a:lnTo>
                  <a:lnTo>
                    <a:pt x="608" y="3802"/>
                  </a:lnTo>
                  <a:lnTo>
                    <a:pt x="591" y="3790"/>
                  </a:lnTo>
                  <a:lnTo>
                    <a:pt x="586" y="3788"/>
                  </a:lnTo>
                  <a:lnTo>
                    <a:pt x="575" y="3783"/>
                  </a:lnTo>
                  <a:lnTo>
                    <a:pt x="553" y="3780"/>
                  </a:lnTo>
                  <a:lnTo>
                    <a:pt x="543" y="3775"/>
                  </a:lnTo>
                  <a:lnTo>
                    <a:pt x="532" y="3766"/>
                  </a:lnTo>
                  <a:lnTo>
                    <a:pt x="522" y="3753"/>
                  </a:lnTo>
                  <a:lnTo>
                    <a:pt x="517" y="3751"/>
                  </a:lnTo>
                  <a:lnTo>
                    <a:pt x="510" y="3745"/>
                  </a:lnTo>
                  <a:lnTo>
                    <a:pt x="490" y="3735"/>
                  </a:lnTo>
                  <a:lnTo>
                    <a:pt x="478" y="3727"/>
                  </a:lnTo>
                  <a:lnTo>
                    <a:pt x="453" y="3702"/>
                  </a:lnTo>
                  <a:lnTo>
                    <a:pt x="447" y="3698"/>
                  </a:lnTo>
                  <a:lnTo>
                    <a:pt x="438" y="3693"/>
                  </a:lnTo>
                  <a:lnTo>
                    <a:pt x="432" y="3690"/>
                  </a:lnTo>
                  <a:lnTo>
                    <a:pt x="427" y="3685"/>
                  </a:lnTo>
                  <a:lnTo>
                    <a:pt x="418" y="3669"/>
                  </a:lnTo>
                  <a:lnTo>
                    <a:pt x="414" y="3666"/>
                  </a:lnTo>
                  <a:lnTo>
                    <a:pt x="401" y="3659"/>
                  </a:lnTo>
                  <a:lnTo>
                    <a:pt x="391" y="3648"/>
                  </a:lnTo>
                  <a:lnTo>
                    <a:pt x="382" y="3623"/>
                  </a:lnTo>
                  <a:lnTo>
                    <a:pt x="379" y="3618"/>
                  </a:lnTo>
                  <a:lnTo>
                    <a:pt x="371" y="3609"/>
                  </a:lnTo>
                  <a:lnTo>
                    <a:pt x="367" y="3598"/>
                  </a:lnTo>
                  <a:lnTo>
                    <a:pt x="367" y="3594"/>
                  </a:lnTo>
                  <a:lnTo>
                    <a:pt x="368" y="3587"/>
                  </a:lnTo>
                  <a:lnTo>
                    <a:pt x="370" y="3583"/>
                  </a:lnTo>
                  <a:lnTo>
                    <a:pt x="376" y="3574"/>
                  </a:lnTo>
                  <a:lnTo>
                    <a:pt x="377" y="3569"/>
                  </a:lnTo>
                  <a:lnTo>
                    <a:pt x="377" y="3562"/>
                  </a:lnTo>
                  <a:lnTo>
                    <a:pt x="372" y="3557"/>
                  </a:lnTo>
                  <a:lnTo>
                    <a:pt x="369" y="3556"/>
                  </a:lnTo>
                  <a:lnTo>
                    <a:pt x="364" y="3557"/>
                  </a:lnTo>
                  <a:lnTo>
                    <a:pt x="344" y="3561"/>
                  </a:lnTo>
                  <a:lnTo>
                    <a:pt x="322" y="3561"/>
                  </a:lnTo>
                  <a:lnTo>
                    <a:pt x="318" y="3563"/>
                  </a:lnTo>
                  <a:lnTo>
                    <a:pt x="315" y="3566"/>
                  </a:lnTo>
                  <a:lnTo>
                    <a:pt x="312" y="3567"/>
                  </a:lnTo>
                  <a:lnTo>
                    <a:pt x="306" y="3565"/>
                  </a:lnTo>
                  <a:lnTo>
                    <a:pt x="294" y="3560"/>
                  </a:lnTo>
                  <a:lnTo>
                    <a:pt x="275" y="3556"/>
                  </a:lnTo>
                  <a:lnTo>
                    <a:pt x="271" y="3552"/>
                  </a:lnTo>
                  <a:lnTo>
                    <a:pt x="266" y="3546"/>
                  </a:lnTo>
                  <a:lnTo>
                    <a:pt x="264" y="3539"/>
                  </a:lnTo>
                  <a:lnTo>
                    <a:pt x="268" y="3516"/>
                  </a:lnTo>
                  <a:lnTo>
                    <a:pt x="266" y="3489"/>
                  </a:lnTo>
                  <a:lnTo>
                    <a:pt x="265" y="3486"/>
                  </a:lnTo>
                  <a:lnTo>
                    <a:pt x="262" y="3483"/>
                  </a:lnTo>
                  <a:lnTo>
                    <a:pt x="248" y="3480"/>
                  </a:lnTo>
                  <a:lnTo>
                    <a:pt x="243" y="3476"/>
                  </a:lnTo>
                  <a:lnTo>
                    <a:pt x="240" y="3471"/>
                  </a:lnTo>
                  <a:lnTo>
                    <a:pt x="238" y="3465"/>
                  </a:lnTo>
                  <a:lnTo>
                    <a:pt x="237" y="3449"/>
                  </a:lnTo>
                  <a:lnTo>
                    <a:pt x="238" y="3441"/>
                  </a:lnTo>
                  <a:lnTo>
                    <a:pt x="242" y="3435"/>
                  </a:lnTo>
                  <a:lnTo>
                    <a:pt x="247" y="3431"/>
                  </a:lnTo>
                  <a:lnTo>
                    <a:pt x="260" y="3425"/>
                  </a:lnTo>
                  <a:lnTo>
                    <a:pt x="266" y="3417"/>
                  </a:lnTo>
                  <a:lnTo>
                    <a:pt x="273" y="3413"/>
                  </a:lnTo>
                  <a:lnTo>
                    <a:pt x="276" y="3408"/>
                  </a:lnTo>
                  <a:lnTo>
                    <a:pt x="278" y="3401"/>
                  </a:lnTo>
                  <a:lnTo>
                    <a:pt x="278" y="3385"/>
                  </a:lnTo>
                  <a:lnTo>
                    <a:pt x="280" y="3376"/>
                  </a:lnTo>
                  <a:lnTo>
                    <a:pt x="283" y="3367"/>
                  </a:lnTo>
                  <a:lnTo>
                    <a:pt x="293" y="3350"/>
                  </a:lnTo>
                  <a:lnTo>
                    <a:pt x="297" y="3341"/>
                  </a:lnTo>
                  <a:lnTo>
                    <a:pt x="297" y="3338"/>
                  </a:lnTo>
                  <a:lnTo>
                    <a:pt x="293" y="3324"/>
                  </a:lnTo>
                  <a:lnTo>
                    <a:pt x="290" y="3310"/>
                  </a:lnTo>
                  <a:lnTo>
                    <a:pt x="292" y="3280"/>
                  </a:lnTo>
                  <a:lnTo>
                    <a:pt x="286" y="3266"/>
                  </a:lnTo>
                  <a:lnTo>
                    <a:pt x="272" y="3240"/>
                  </a:lnTo>
                  <a:lnTo>
                    <a:pt x="258" y="3218"/>
                  </a:lnTo>
                  <a:lnTo>
                    <a:pt x="252" y="3209"/>
                  </a:lnTo>
                  <a:lnTo>
                    <a:pt x="243" y="3203"/>
                  </a:lnTo>
                  <a:lnTo>
                    <a:pt x="229" y="3196"/>
                  </a:lnTo>
                  <a:lnTo>
                    <a:pt x="221" y="3192"/>
                  </a:lnTo>
                  <a:lnTo>
                    <a:pt x="216" y="3194"/>
                  </a:lnTo>
                  <a:lnTo>
                    <a:pt x="210" y="3202"/>
                  </a:lnTo>
                  <a:lnTo>
                    <a:pt x="204" y="3204"/>
                  </a:lnTo>
                  <a:lnTo>
                    <a:pt x="196" y="3204"/>
                  </a:lnTo>
                  <a:lnTo>
                    <a:pt x="191" y="3202"/>
                  </a:lnTo>
                  <a:lnTo>
                    <a:pt x="189" y="3201"/>
                  </a:lnTo>
                  <a:lnTo>
                    <a:pt x="188" y="3191"/>
                  </a:lnTo>
                  <a:lnTo>
                    <a:pt x="190" y="3175"/>
                  </a:lnTo>
                  <a:lnTo>
                    <a:pt x="199" y="3136"/>
                  </a:lnTo>
                  <a:lnTo>
                    <a:pt x="204" y="3126"/>
                  </a:lnTo>
                  <a:lnTo>
                    <a:pt x="203" y="3123"/>
                  </a:lnTo>
                  <a:lnTo>
                    <a:pt x="201" y="3119"/>
                  </a:lnTo>
                  <a:lnTo>
                    <a:pt x="193" y="3115"/>
                  </a:lnTo>
                  <a:lnTo>
                    <a:pt x="171" y="3111"/>
                  </a:lnTo>
                  <a:lnTo>
                    <a:pt x="164" y="3108"/>
                  </a:lnTo>
                  <a:lnTo>
                    <a:pt x="160" y="3102"/>
                  </a:lnTo>
                  <a:lnTo>
                    <a:pt x="155" y="3091"/>
                  </a:lnTo>
                  <a:lnTo>
                    <a:pt x="152" y="3084"/>
                  </a:lnTo>
                  <a:lnTo>
                    <a:pt x="144" y="3077"/>
                  </a:lnTo>
                  <a:lnTo>
                    <a:pt x="136" y="3073"/>
                  </a:lnTo>
                  <a:lnTo>
                    <a:pt x="119" y="3070"/>
                  </a:lnTo>
                  <a:lnTo>
                    <a:pt x="104" y="3070"/>
                  </a:lnTo>
                  <a:lnTo>
                    <a:pt x="95" y="3074"/>
                  </a:lnTo>
                  <a:lnTo>
                    <a:pt x="85" y="3083"/>
                  </a:lnTo>
                  <a:lnTo>
                    <a:pt x="81" y="3085"/>
                  </a:lnTo>
                  <a:lnTo>
                    <a:pt x="78" y="3084"/>
                  </a:lnTo>
                  <a:lnTo>
                    <a:pt x="76" y="3082"/>
                  </a:lnTo>
                  <a:lnTo>
                    <a:pt x="74" y="3078"/>
                  </a:lnTo>
                  <a:lnTo>
                    <a:pt x="73" y="3057"/>
                  </a:lnTo>
                  <a:lnTo>
                    <a:pt x="70" y="3043"/>
                  </a:lnTo>
                  <a:lnTo>
                    <a:pt x="67" y="3039"/>
                  </a:lnTo>
                  <a:lnTo>
                    <a:pt x="46" y="3034"/>
                  </a:lnTo>
                  <a:lnTo>
                    <a:pt x="42" y="3030"/>
                  </a:lnTo>
                  <a:lnTo>
                    <a:pt x="39" y="3025"/>
                  </a:lnTo>
                  <a:lnTo>
                    <a:pt x="34" y="3022"/>
                  </a:lnTo>
                  <a:lnTo>
                    <a:pt x="27" y="3022"/>
                  </a:lnTo>
                  <a:lnTo>
                    <a:pt x="18" y="3025"/>
                  </a:lnTo>
                  <a:lnTo>
                    <a:pt x="13" y="3025"/>
                  </a:lnTo>
                  <a:lnTo>
                    <a:pt x="6" y="3022"/>
                  </a:lnTo>
                  <a:lnTo>
                    <a:pt x="2" y="3017"/>
                  </a:lnTo>
                  <a:lnTo>
                    <a:pt x="0" y="3010"/>
                  </a:lnTo>
                  <a:lnTo>
                    <a:pt x="0" y="3000"/>
                  </a:lnTo>
                  <a:lnTo>
                    <a:pt x="1" y="2976"/>
                  </a:lnTo>
                  <a:lnTo>
                    <a:pt x="8" y="2962"/>
                  </a:lnTo>
                  <a:lnTo>
                    <a:pt x="12" y="2956"/>
                  </a:lnTo>
                  <a:lnTo>
                    <a:pt x="16" y="2954"/>
                  </a:lnTo>
                  <a:lnTo>
                    <a:pt x="38" y="2956"/>
                  </a:lnTo>
                  <a:lnTo>
                    <a:pt x="46" y="2956"/>
                  </a:lnTo>
                  <a:lnTo>
                    <a:pt x="63" y="2963"/>
                  </a:lnTo>
                  <a:lnTo>
                    <a:pt x="75" y="2963"/>
                  </a:lnTo>
                  <a:lnTo>
                    <a:pt x="78" y="2965"/>
                  </a:lnTo>
                  <a:lnTo>
                    <a:pt x="84" y="2973"/>
                  </a:lnTo>
                  <a:lnTo>
                    <a:pt x="90" y="2979"/>
                  </a:lnTo>
                  <a:lnTo>
                    <a:pt x="97" y="2983"/>
                  </a:lnTo>
                  <a:lnTo>
                    <a:pt x="104" y="2985"/>
                  </a:lnTo>
                  <a:lnTo>
                    <a:pt x="135" y="2980"/>
                  </a:lnTo>
                  <a:lnTo>
                    <a:pt x="156" y="2980"/>
                  </a:lnTo>
                  <a:lnTo>
                    <a:pt x="172" y="2979"/>
                  </a:lnTo>
                  <a:lnTo>
                    <a:pt x="180" y="2976"/>
                  </a:lnTo>
                  <a:lnTo>
                    <a:pt x="185" y="2970"/>
                  </a:lnTo>
                  <a:lnTo>
                    <a:pt x="191" y="2954"/>
                  </a:lnTo>
                  <a:lnTo>
                    <a:pt x="190" y="2941"/>
                  </a:lnTo>
                  <a:lnTo>
                    <a:pt x="187" y="2931"/>
                  </a:lnTo>
                  <a:lnTo>
                    <a:pt x="173" y="2910"/>
                  </a:lnTo>
                  <a:lnTo>
                    <a:pt x="167" y="2898"/>
                  </a:lnTo>
                  <a:lnTo>
                    <a:pt x="162" y="2877"/>
                  </a:lnTo>
                  <a:lnTo>
                    <a:pt x="161" y="2866"/>
                  </a:lnTo>
                  <a:lnTo>
                    <a:pt x="162" y="2860"/>
                  </a:lnTo>
                  <a:lnTo>
                    <a:pt x="164" y="2851"/>
                  </a:lnTo>
                  <a:lnTo>
                    <a:pt x="176" y="2841"/>
                  </a:lnTo>
                  <a:lnTo>
                    <a:pt x="186" y="2835"/>
                  </a:lnTo>
                  <a:lnTo>
                    <a:pt x="190" y="2830"/>
                  </a:lnTo>
                  <a:lnTo>
                    <a:pt x="194" y="2823"/>
                  </a:lnTo>
                  <a:lnTo>
                    <a:pt x="197" y="2817"/>
                  </a:lnTo>
                  <a:lnTo>
                    <a:pt x="197" y="2812"/>
                  </a:lnTo>
                  <a:lnTo>
                    <a:pt x="190" y="2791"/>
                  </a:lnTo>
                  <a:lnTo>
                    <a:pt x="189" y="2783"/>
                  </a:lnTo>
                  <a:lnTo>
                    <a:pt x="191" y="2772"/>
                  </a:lnTo>
                  <a:lnTo>
                    <a:pt x="200" y="2751"/>
                  </a:lnTo>
                  <a:lnTo>
                    <a:pt x="202" y="2737"/>
                  </a:lnTo>
                  <a:lnTo>
                    <a:pt x="201" y="2733"/>
                  </a:lnTo>
                  <a:lnTo>
                    <a:pt x="197" y="2725"/>
                  </a:lnTo>
                  <a:lnTo>
                    <a:pt x="194" y="2718"/>
                  </a:lnTo>
                  <a:lnTo>
                    <a:pt x="193" y="2709"/>
                  </a:lnTo>
                  <a:lnTo>
                    <a:pt x="193" y="2696"/>
                  </a:lnTo>
                  <a:lnTo>
                    <a:pt x="196" y="2677"/>
                  </a:lnTo>
                  <a:lnTo>
                    <a:pt x="206" y="2639"/>
                  </a:lnTo>
                  <a:lnTo>
                    <a:pt x="211" y="2630"/>
                  </a:lnTo>
                  <a:lnTo>
                    <a:pt x="226" y="2618"/>
                  </a:lnTo>
                  <a:lnTo>
                    <a:pt x="236" y="2609"/>
                  </a:lnTo>
                  <a:lnTo>
                    <a:pt x="242" y="2600"/>
                  </a:lnTo>
                  <a:lnTo>
                    <a:pt x="244" y="2593"/>
                  </a:lnTo>
                  <a:lnTo>
                    <a:pt x="243" y="2589"/>
                  </a:lnTo>
                  <a:lnTo>
                    <a:pt x="241" y="2585"/>
                  </a:lnTo>
                  <a:lnTo>
                    <a:pt x="230" y="2574"/>
                  </a:lnTo>
                  <a:lnTo>
                    <a:pt x="221" y="2562"/>
                  </a:lnTo>
                  <a:lnTo>
                    <a:pt x="202" y="2531"/>
                  </a:lnTo>
                  <a:lnTo>
                    <a:pt x="197" y="2525"/>
                  </a:lnTo>
                  <a:lnTo>
                    <a:pt x="185" y="2515"/>
                  </a:lnTo>
                  <a:lnTo>
                    <a:pt x="150" y="2491"/>
                  </a:lnTo>
                  <a:lnTo>
                    <a:pt x="109" y="2472"/>
                  </a:lnTo>
                  <a:lnTo>
                    <a:pt x="102" y="2470"/>
                  </a:lnTo>
                  <a:lnTo>
                    <a:pt x="94" y="2469"/>
                  </a:lnTo>
                  <a:lnTo>
                    <a:pt x="85" y="2471"/>
                  </a:lnTo>
                  <a:lnTo>
                    <a:pt x="78" y="2476"/>
                  </a:lnTo>
                  <a:lnTo>
                    <a:pt x="74" y="2481"/>
                  </a:lnTo>
                  <a:lnTo>
                    <a:pt x="70" y="2489"/>
                  </a:lnTo>
                  <a:lnTo>
                    <a:pt x="66" y="2491"/>
                  </a:lnTo>
                  <a:lnTo>
                    <a:pt x="59" y="2494"/>
                  </a:lnTo>
                  <a:lnTo>
                    <a:pt x="52" y="2494"/>
                  </a:lnTo>
                  <a:lnTo>
                    <a:pt x="44" y="2490"/>
                  </a:lnTo>
                  <a:lnTo>
                    <a:pt x="36" y="2484"/>
                  </a:lnTo>
                  <a:lnTo>
                    <a:pt x="24" y="2470"/>
                  </a:lnTo>
                  <a:lnTo>
                    <a:pt x="19" y="2463"/>
                  </a:lnTo>
                  <a:lnTo>
                    <a:pt x="11" y="2444"/>
                  </a:lnTo>
                  <a:lnTo>
                    <a:pt x="10" y="2430"/>
                  </a:lnTo>
                  <a:lnTo>
                    <a:pt x="12" y="2406"/>
                  </a:lnTo>
                  <a:lnTo>
                    <a:pt x="17" y="2394"/>
                  </a:lnTo>
                  <a:lnTo>
                    <a:pt x="19" y="2386"/>
                  </a:lnTo>
                  <a:lnTo>
                    <a:pt x="19" y="2375"/>
                  </a:lnTo>
                  <a:lnTo>
                    <a:pt x="18" y="2363"/>
                  </a:lnTo>
                  <a:lnTo>
                    <a:pt x="19" y="2358"/>
                  </a:lnTo>
                  <a:lnTo>
                    <a:pt x="24" y="2348"/>
                  </a:lnTo>
                  <a:lnTo>
                    <a:pt x="27" y="2345"/>
                  </a:lnTo>
                  <a:lnTo>
                    <a:pt x="30" y="2344"/>
                  </a:lnTo>
                  <a:lnTo>
                    <a:pt x="35" y="2344"/>
                  </a:lnTo>
                  <a:lnTo>
                    <a:pt x="49" y="2348"/>
                  </a:lnTo>
                  <a:lnTo>
                    <a:pt x="55" y="2348"/>
                  </a:lnTo>
                  <a:lnTo>
                    <a:pt x="58" y="2345"/>
                  </a:lnTo>
                  <a:lnTo>
                    <a:pt x="62" y="2338"/>
                  </a:lnTo>
                  <a:lnTo>
                    <a:pt x="64" y="2330"/>
                  </a:lnTo>
                  <a:lnTo>
                    <a:pt x="65" y="2322"/>
                  </a:lnTo>
                  <a:lnTo>
                    <a:pt x="65" y="2318"/>
                  </a:lnTo>
                  <a:lnTo>
                    <a:pt x="62" y="2315"/>
                  </a:lnTo>
                  <a:lnTo>
                    <a:pt x="49" y="2308"/>
                  </a:lnTo>
                  <a:lnTo>
                    <a:pt x="46" y="2305"/>
                  </a:lnTo>
                  <a:lnTo>
                    <a:pt x="46" y="2299"/>
                  </a:lnTo>
                  <a:lnTo>
                    <a:pt x="46" y="2281"/>
                  </a:lnTo>
                  <a:lnTo>
                    <a:pt x="43" y="2264"/>
                  </a:lnTo>
                  <a:lnTo>
                    <a:pt x="42" y="2249"/>
                  </a:lnTo>
                  <a:lnTo>
                    <a:pt x="39" y="2242"/>
                  </a:lnTo>
                  <a:lnTo>
                    <a:pt x="27" y="2220"/>
                  </a:lnTo>
                  <a:lnTo>
                    <a:pt x="27" y="2211"/>
                  </a:lnTo>
                  <a:lnTo>
                    <a:pt x="36" y="2181"/>
                  </a:lnTo>
                  <a:lnTo>
                    <a:pt x="41" y="2177"/>
                  </a:lnTo>
                  <a:lnTo>
                    <a:pt x="53" y="2172"/>
                  </a:lnTo>
                  <a:lnTo>
                    <a:pt x="59" y="2167"/>
                  </a:lnTo>
                  <a:lnTo>
                    <a:pt x="66" y="2166"/>
                  </a:lnTo>
                  <a:lnTo>
                    <a:pt x="76" y="2165"/>
                  </a:lnTo>
                  <a:lnTo>
                    <a:pt x="93" y="2171"/>
                  </a:lnTo>
                  <a:lnTo>
                    <a:pt x="101" y="2172"/>
                  </a:lnTo>
                  <a:lnTo>
                    <a:pt x="110" y="2172"/>
                  </a:lnTo>
                  <a:lnTo>
                    <a:pt x="116" y="2169"/>
                  </a:lnTo>
                  <a:lnTo>
                    <a:pt x="124" y="2166"/>
                  </a:lnTo>
                  <a:lnTo>
                    <a:pt x="136" y="2155"/>
                  </a:lnTo>
                  <a:lnTo>
                    <a:pt x="147" y="2149"/>
                  </a:lnTo>
                  <a:lnTo>
                    <a:pt x="155" y="2144"/>
                  </a:lnTo>
                  <a:lnTo>
                    <a:pt x="163" y="2133"/>
                  </a:lnTo>
                  <a:lnTo>
                    <a:pt x="167" y="2119"/>
                  </a:lnTo>
                  <a:lnTo>
                    <a:pt x="167" y="2107"/>
                  </a:lnTo>
                  <a:lnTo>
                    <a:pt x="163" y="2097"/>
                  </a:lnTo>
                  <a:lnTo>
                    <a:pt x="162" y="2090"/>
                  </a:lnTo>
                  <a:lnTo>
                    <a:pt x="162" y="2083"/>
                  </a:lnTo>
                  <a:lnTo>
                    <a:pt x="164" y="2076"/>
                  </a:lnTo>
                  <a:lnTo>
                    <a:pt x="169" y="2071"/>
                  </a:lnTo>
                  <a:lnTo>
                    <a:pt x="189" y="2055"/>
                  </a:lnTo>
                  <a:lnTo>
                    <a:pt x="206" y="2036"/>
                  </a:lnTo>
                  <a:lnTo>
                    <a:pt x="216" y="2029"/>
                  </a:lnTo>
                  <a:lnTo>
                    <a:pt x="219" y="2024"/>
                  </a:lnTo>
                  <a:lnTo>
                    <a:pt x="222" y="2014"/>
                  </a:lnTo>
                  <a:lnTo>
                    <a:pt x="229" y="2009"/>
                  </a:lnTo>
                  <a:lnTo>
                    <a:pt x="245" y="2002"/>
                  </a:lnTo>
                  <a:lnTo>
                    <a:pt x="253" y="2001"/>
                  </a:lnTo>
                  <a:lnTo>
                    <a:pt x="258" y="2001"/>
                  </a:lnTo>
                  <a:lnTo>
                    <a:pt x="293" y="2007"/>
                  </a:lnTo>
                  <a:lnTo>
                    <a:pt x="298" y="2011"/>
                  </a:lnTo>
                  <a:lnTo>
                    <a:pt x="313" y="2022"/>
                  </a:lnTo>
                  <a:lnTo>
                    <a:pt x="325" y="2023"/>
                  </a:lnTo>
                  <a:lnTo>
                    <a:pt x="334" y="2022"/>
                  </a:lnTo>
                  <a:lnTo>
                    <a:pt x="343" y="2020"/>
                  </a:lnTo>
                  <a:lnTo>
                    <a:pt x="397" y="1997"/>
                  </a:lnTo>
                  <a:lnTo>
                    <a:pt x="414" y="1995"/>
                  </a:lnTo>
                  <a:lnTo>
                    <a:pt x="433" y="1984"/>
                  </a:lnTo>
                  <a:lnTo>
                    <a:pt x="443" y="1986"/>
                  </a:lnTo>
                  <a:lnTo>
                    <a:pt x="464" y="1996"/>
                  </a:lnTo>
                  <a:lnTo>
                    <a:pt x="473" y="1997"/>
                  </a:lnTo>
                  <a:lnTo>
                    <a:pt x="478" y="1994"/>
                  </a:lnTo>
                  <a:lnTo>
                    <a:pt x="480" y="1992"/>
                  </a:lnTo>
                  <a:lnTo>
                    <a:pt x="480" y="1989"/>
                  </a:lnTo>
                  <a:lnTo>
                    <a:pt x="470" y="1969"/>
                  </a:lnTo>
                  <a:lnTo>
                    <a:pt x="468" y="1963"/>
                  </a:lnTo>
                  <a:lnTo>
                    <a:pt x="470" y="1959"/>
                  </a:lnTo>
                  <a:lnTo>
                    <a:pt x="474" y="1951"/>
                  </a:lnTo>
                  <a:lnTo>
                    <a:pt x="479" y="1945"/>
                  </a:lnTo>
                  <a:lnTo>
                    <a:pt x="483" y="1942"/>
                  </a:lnTo>
                  <a:lnTo>
                    <a:pt x="486" y="1943"/>
                  </a:lnTo>
                  <a:lnTo>
                    <a:pt x="489" y="1945"/>
                  </a:lnTo>
                  <a:lnTo>
                    <a:pt x="500" y="1961"/>
                  </a:lnTo>
                  <a:lnTo>
                    <a:pt x="505" y="1965"/>
                  </a:lnTo>
                  <a:lnTo>
                    <a:pt x="527" y="1983"/>
                  </a:lnTo>
                  <a:lnTo>
                    <a:pt x="537" y="1987"/>
                  </a:lnTo>
                  <a:lnTo>
                    <a:pt x="553" y="1991"/>
                  </a:lnTo>
                  <a:lnTo>
                    <a:pt x="567" y="1991"/>
                  </a:lnTo>
                  <a:lnTo>
                    <a:pt x="577" y="1989"/>
                  </a:lnTo>
                  <a:lnTo>
                    <a:pt x="595" y="1983"/>
                  </a:lnTo>
                  <a:lnTo>
                    <a:pt x="651" y="1961"/>
                  </a:lnTo>
                  <a:lnTo>
                    <a:pt x="661" y="1959"/>
                  </a:lnTo>
                  <a:lnTo>
                    <a:pt x="670" y="1961"/>
                  </a:lnTo>
                  <a:lnTo>
                    <a:pt x="675" y="1964"/>
                  </a:lnTo>
                  <a:lnTo>
                    <a:pt x="677" y="1971"/>
                  </a:lnTo>
                  <a:lnTo>
                    <a:pt x="677" y="1979"/>
                  </a:lnTo>
                  <a:lnTo>
                    <a:pt x="674" y="1996"/>
                  </a:lnTo>
                  <a:lnTo>
                    <a:pt x="673" y="2007"/>
                  </a:lnTo>
                  <a:lnTo>
                    <a:pt x="674" y="2015"/>
                  </a:lnTo>
                  <a:lnTo>
                    <a:pt x="677" y="2023"/>
                  </a:lnTo>
                  <a:lnTo>
                    <a:pt x="678" y="2029"/>
                  </a:lnTo>
                  <a:lnTo>
                    <a:pt x="676" y="2034"/>
                  </a:lnTo>
                  <a:lnTo>
                    <a:pt x="663" y="2052"/>
                  </a:lnTo>
                  <a:lnTo>
                    <a:pt x="656" y="2066"/>
                  </a:lnTo>
                  <a:lnTo>
                    <a:pt x="654" y="2076"/>
                  </a:lnTo>
                  <a:lnTo>
                    <a:pt x="654" y="2079"/>
                  </a:lnTo>
                  <a:lnTo>
                    <a:pt x="656" y="2082"/>
                  </a:lnTo>
                  <a:lnTo>
                    <a:pt x="661" y="2085"/>
                  </a:lnTo>
                  <a:lnTo>
                    <a:pt x="692" y="2091"/>
                  </a:lnTo>
                  <a:lnTo>
                    <a:pt x="706" y="2097"/>
                  </a:lnTo>
                  <a:lnTo>
                    <a:pt x="716" y="2095"/>
                  </a:lnTo>
                  <a:lnTo>
                    <a:pt x="728" y="2089"/>
                  </a:lnTo>
                  <a:lnTo>
                    <a:pt x="731" y="2088"/>
                  </a:lnTo>
                  <a:lnTo>
                    <a:pt x="738" y="2089"/>
                  </a:lnTo>
                  <a:lnTo>
                    <a:pt x="747" y="2093"/>
                  </a:lnTo>
                  <a:lnTo>
                    <a:pt x="758" y="2090"/>
                  </a:lnTo>
                  <a:lnTo>
                    <a:pt x="765" y="2089"/>
                  </a:lnTo>
                  <a:lnTo>
                    <a:pt x="783" y="2092"/>
                  </a:lnTo>
                  <a:lnTo>
                    <a:pt x="805" y="2091"/>
                  </a:lnTo>
                  <a:lnTo>
                    <a:pt x="809" y="2093"/>
                  </a:lnTo>
                  <a:lnTo>
                    <a:pt x="813" y="2099"/>
                  </a:lnTo>
                  <a:lnTo>
                    <a:pt x="816" y="2105"/>
                  </a:lnTo>
                  <a:lnTo>
                    <a:pt x="818" y="2117"/>
                  </a:lnTo>
                  <a:lnTo>
                    <a:pt x="819" y="2118"/>
                  </a:lnTo>
                  <a:lnTo>
                    <a:pt x="822" y="2118"/>
                  </a:lnTo>
                  <a:lnTo>
                    <a:pt x="834" y="2115"/>
                  </a:lnTo>
                  <a:lnTo>
                    <a:pt x="853" y="2108"/>
                  </a:lnTo>
                  <a:lnTo>
                    <a:pt x="863" y="2103"/>
                  </a:lnTo>
                  <a:lnTo>
                    <a:pt x="873" y="2095"/>
                  </a:lnTo>
                  <a:lnTo>
                    <a:pt x="891" y="2076"/>
                  </a:lnTo>
                  <a:lnTo>
                    <a:pt x="919" y="2054"/>
                  </a:lnTo>
                  <a:lnTo>
                    <a:pt x="931" y="2042"/>
                  </a:lnTo>
                  <a:lnTo>
                    <a:pt x="935" y="2029"/>
                  </a:lnTo>
                  <a:lnTo>
                    <a:pt x="937" y="2021"/>
                  </a:lnTo>
                  <a:lnTo>
                    <a:pt x="941" y="2016"/>
                  </a:lnTo>
                  <a:lnTo>
                    <a:pt x="958" y="2000"/>
                  </a:lnTo>
                  <a:lnTo>
                    <a:pt x="973" y="1975"/>
                  </a:lnTo>
                  <a:lnTo>
                    <a:pt x="978" y="1968"/>
                  </a:lnTo>
                  <a:lnTo>
                    <a:pt x="991" y="1959"/>
                  </a:lnTo>
                  <a:lnTo>
                    <a:pt x="1016" y="1950"/>
                  </a:lnTo>
                  <a:lnTo>
                    <a:pt x="1033" y="1950"/>
                  </a:lnTo>
                  <a:lnTo>
                    <a:pt x="1037" y="1949"/>
                  </a:lnTo>
                  <a:lnTo>
                    <a:pt x="1047" y="1944"/>
                  </a:lnTo>
                  <a:lnTo>
                    <a:pt x="1050" y="1943"/>
                  </a:lnTo>
                  <a:lnTo>
                    <a:pt x="1054" y="1944"/>
                  </a:lnTo>
                  <a:lnTo>
                    <a:pt x="1058" y="1945"/>
                  </a:lnTo>
                  <a:lnTo>
                    <a:pt x="1063" y="1949"/>
                  </a:lnTo>
                  <a:lnTo>
                    <a:pt x="1080" y="1971"/>
                  </a:lnTo>
                  <a:lnTo>
                    <a:pt x="1084" y="1974"/>
                  </a:lnTo>
                  <a:lnTo>
                    <a:pt x="1115" y="1984"/>
                  </a:lnTo>
                  <a:lnTo>
                    <a:pt x="1124" y="1985"/>
                  </a:lnTo>
                  <a:lnTo>
                    <a:pt x="1136" y="1984"/>
                  </a:lnTo>
                  <a:lnTo>
                    <a:pt x="1146" y="1987"/>
                  </a:lnTo>
                  <a:lnTo>
                    <a:pt x="1175" y="2004"/>
                  </a:lnTo>
                  <a:lnTo>
                    <a:pt x="1191" y="2012"/>
                  </a:lnTo>
                  <a:lnTo>
                    <a:pt x="1208" y="2015"/>
                  </a:lnTo>
                  <a:lnTo>
                    <a:pt x="1221" y="2015"/>
                  </a:lnTo>
                  <a:lnTo>
                    <a:pt x="1232" y="2013"/>
                  </a:lnTo>
                  <a:lnTo>
                    <a:pt x="1239" y="2010"/>
                  </a:lnTo>
                  <a:lnTo>
                    <a:pt x="1251" y="1996"/>
                  </a:lnTo>
                  <a:lnTo>
                    <a:pt x="1257" y="1988"/>
                  </a:lnTo>
                  <a:lnTo>
                    <a:pt x="1264" y="1984"/>
                  </a:lnTo>
                  <a:lnTo>
                    <a:pt x="1270" y="1981"/>
                  </a:lnTo>
                  <a:lnTo>
                    <a:pt x="1278" y="1981"/>
                  </a:lnTo>
                  <a:lnTo>
                    <a:pt x="1289" y="1985"/>
                  </a:lnTo>
                  <a:lnTo>
                    <a:pt x="1301" y="1986"/>
                  </a:lnTo>
                  <a:lnTo>
                    <a:pt x="1336" y="1984"/>
                  </a:lnTo>
                  <a:lnTo>
                    <a:pt x="1342" y="1983"/>
                  </a:lnTo>
                  <a:lnTo>
                    <a:pt x="1345" y="1980"/>
                  </a:lnTo>
                  <a:lnTo>
                    <a:pt x="1354" y="1958"/>
                  </a:lnTo>
                  <a:lnTo>
                    <a:pt x="1358" y="1952"/>
                  </a:lnTo>
                  <a:lnTo>
                    <a:pt x="1367" y="1944"/>
                  </a:lnTo>
                  <a:lnTo>
                    <a:pt x="1376" y="1939"/>
                  </a:lnTo>
                  <a:lnTo>
                    <a:pt x="1386" y="1939"/>
                  </a:lnTo>
                  <a:lnTo>
                    <a:pt x="1410" y="1946"/>
                  </a:lnTo>
                  <a:lnTo>
                    <a:pt x="1426" y="1947"/>
                  </a:lnTo>
                  <a:lnTo>
                    <a:pt x="1442" y="1947"/>
                  </a:lnTo>
                  <a:lnTo>
                    <a:pt x="1467" y="1941"/>
                  </a:lnTo>
                  <a:lnTo>
                    <a:pt x="1472" y="1941"/>
                  </a:lnTo>
                  <a:lnTo>
                    <a:pt x="1478" y="1942"/>
                  </a:lnTo>
                  <a:lnTo>
                    <a:pt x="1485" y="1942"/>
                  </a:lnTo>
                  <a:lnTo>
                    <a:pt x="1495" y="1938"/>
                  </a:lnTo>
                  <a:lnTo>
                    <a:pt x="1503" y="1931"/>
                  </a:lnTo>
                  <a:lnTo>
                    <a:pt x="1510" y="1928"/>
                  </a:lnTo>
                  <a:lnTo>
                    <a:pt x="1550" y="1923"/>
                  </a:lnTo>
                  <a:lnTo>
                    <a:pt x="1598" y="1908"/>
                  </a:lnTo>
                  <a:lnTo>
                    <a:pt x="1648" y="1898"/>
                  </a:lnTo>
                  <a:lnTo>
                    <a:pt x="1669" y="1892"/>
                  </a:lnTo>
                  <a:lnTo>
                    <a:pt x="1678" y="1891"/>
                  </a:lnTo>
                  <a:lnTo>
                    <a:pt x="1694" y="1892"/>
                  </a:lnTo>
                  <a:lnTo>
                    <a:pt x="1712" y="1886"/>
                  </a:lnTo>
                  <a:lnTo>
                    <a:pt x="1729" y="1895"/>
                  </a:lnTo>
                  <a:lnTo>
                    <a:pt x="1736" y="1898"/>
                  </a:lnTo>
                  <a:lnTo>
                    <a:pt x="1746" y="1896"/>
                  </a:lnTo>
                  <a:lnTo>
                    <a:pt x="1773" y="1889"/>
                  </a:lnTo>
                  <a:lnTo>
                    <a:pt x="1779" y="1889"/>
                  </a:lnTo>
                  <a:lnTo>
                    <a:pt x="1794" y="1893"/>
                  </a:lnTo>
                  <a:lnTo>
                    <a:pt x="1798" y="1891"/>
                  </a:lnTo>
                  <a:lnTo>
                    <a:pt x="1803" y="1887"/>
                  </a:lnTo>
                  <a:lnTo>
                    <a:pt x="1808" y="1879"/>
                  </a:lnTo>
                  <a:lnTo>
                    <a:pt x="1813" y="1871"/>
                  </a:lnTo>
                  <a:lnTo>
                    <a:pt x="1816" y="1867"/>
                  </a:lnTo>
                  <a:lnTo>
                    <a:pt x="1827" y="1861"/>
                  </a:lnTo>
                  <a:lnTo>
                    <a:pt x="1837" y="1858"/>
                  </a:lnTo>
                  <a:lnTo>
                    <a:pt x="1845" y="1858"/>
                  </a:lnTo>
                  <a:lnTo>
                    <a:pt x="1855" y="1860"/>
                  </a:lnTo>
                  <a:lnTo>
                    <a:pt x="1885" y="1872"/>
                  </a:lnTo>
                  <a:lnTo>
                    <a:pt x="1894" y="1872"/>
                  </a:lnTo>
                  <a:lnTo>
                    <a:pt x="1902" y="1870"/>
                  </a:lnTo>
                  <a:lnTo>
                    <a:pt x="1906" y="1867"/>
                  </a:lnTo>
                  <a:lnTo>
                    <a:pt x="1912" y="1858"/>
                  </a:lnTo>
                  <a:lnTo>
                    <a:pt x="1915" y="1851"/>
                  </a:lnTo>
                  <a:lnTo>
                    <a:pt x="1919" y="1838"/>
                  </a:lnTo>
                  <a:lnTo>
                    <a:pt x="1922" y="1833"/>
                  </a:lnTo>
                  <a:lnTo>
                    <a:pt x="1930" y="1824"/>
                  </a:lnTo>
                  <a:lnTo>
                    <a:pt x="1942" y="1816"/>
                  </a:lnTo>
                  <a:lnTo>
                    <a:pt x="1948" y="1807"/>
                  </a:lnTo>
                  <a:lnTo>
                    <a:pt x="1950" y="1800"/>
                  </a:lnTo>
                  <a:lnTo>
                    <a:pt x="1952" y="1791"/>
                  </a:lnTo>
                  <a:lnTo>
                    <a:pt x="1951" y="1771"/>
                  </a:lnTo>
                  <a:lnTo>
                    <a:pt x="1951" y="1757"/>
                  </a:lnTo>
                  <a:lnTo>
                    <a:pt x="1957" y="1736"/>
                  </a:lnTo>
                  <a:lnTo>
                    <a:pt x="1959" y="1727"/>
                  </a:lnTo>
                  <a:lnTo>
                    <a:pt x="1959" y="1721"/>
                  </a:lnTo>
                  <a:lnTo>
                    <a:pt x="1955" y="1712"/>
                  </a:lnTo>
                  <a:lnTo>
                    <a:pt x="1954" y="1707"/>
                  </a:lnTo>
                  <a:lnTo>
                    <a:pt x="1954" y="1698"/>
                  </a:lnTo>
                  <a:lnTo>
                    <a:pt x="1955" y="1690"/>
                  </a:lnTo>
                  <a:lnTo>
                    <a:pt x="1958" y="1683"/>
                  </a:lnTo>
                  <a:lnTo>
                    <a:pt x="1964" y="1675"/>
                  </a:lnTo>
                  <a:lnTo>
                    <a:pt x="1982" y="1656"/>
                  </a:lnTo>
                  <a:lnTo>
                    <a:pt x="1991" y="1638"/>
                  </a:lnTo>
                  <a:lnTo>
                    <a:pt x="1998" y="1634"/>
                  </a:lnTo>
                  <a:lnTo>
                    <a:pt x="2008" y="1632"/>
                  </a:lnTo>
                  <a:lnTo>
                    <a:pt x="2022" y="1637"/>
                  </a:lnTo>
                  <a:lnTo>
                    <a:pt x="2030" y="1638"/>
                  </a:lnTo>
                  <a:lnTo>
                    <a:pt x="2077" y="1634"/>
                  </a:lnTo>
                  <a:lnTo>
                    <a:pt x="2085" y="1630"/>
                  </a:lnTo>
                  <a:lnTo>
                    <a:pt x="2086" y="1629"/>
                  </a:lnTo>
                  <a:lnTo>
                    <a:pt x="2086" y="1628"/>
                  </a:lnTo>
                  <a:lnTo>
                    <a:pt x="2079" y="1618"/>
                  </a:lnTo>
                  <a:lnTo>
                    <a:pt x="2072" y="1609"/>
                  </a:lnTo>
                  <a:lnTo>
                    <a:pt x="2055" y="1592"/>
                  </a:lnTo>
                  <a:lnTo>
                    <a:pt x="2050" y="1587"/>
                  </a:lnTo>
                  <a:lnTo>
                    <a:pt x="2049" y="1583"/>
                  </a:lnTo>
                  <a:lnTo>
                    <a:pt x="2049" y="1579"/>
                  </a:lnTo>
                  <a:lnTo>
                    <a:pt x="2053" y="1571"/>
                  </a:lnTo>
                  <a:lnTo>
                    <a:pt x="2058" y="1567"/>
                  </a:lnTo>
                  <a:lnTo>
                    <a:pt x="2089" y="1561"/>
                  </a:lnTo>
                  <a:lnTo>
                    <a:pt x="2114" y="1552"/>
                  </a:lnTo>
                  <a:lnTo>
                    <a:pt x="2120" y="1553"/>
                  </a:lnTo>
                  <a:lnTo>
                    <a:pt x="2139" y="1560"/>
                  </a:lnTo>
                  <a:lnTo>
                    <a:pt x="2146" y="1561"/>
                  </a:lnTo>
                  <a:lnTo>
                    <a:pt x="2150" y="1557"/>
                  </a:lnTo>
                  <a:lnTo>
                    <a:pt x="2154" y="1553"/>
                  </a:lnTo>
                  <a:lnTo>
                    <a:pt x="2157" y="1547"/>
                  </a:lnTo>
                  <a:lnTo>
                    <a:pt x="2160" y="1540"/>
                  </a:lnTo>
                  <a:lnTo>
                    <a:pt x="2161" y="1532"/>
                  </a:lnTo>
                  <a:lnTo>
                    <a:pt x="2161" y="1520"/>
                  </a:lnTo>
                  <a:lnTo>
                    <a:pt x="2158" y="1512"/>
                  </a:lnTo>
                  <a:lnTo>
                    <a:pt x="2154" y="1502"/>
                  </a:lnTo>
                  <a:lnTo>
                    <a:pt x="2155" y="1496"/>
                  </a:lnTo>
                  <a:lnTo>
                    <a:pt x="2158" y="1486"/>
                  </a:lnTo>
                  <a:lnTo>
                    <a:pt x="2166" y="1475"/>
                  </a:lnTo>
                  <a:lnTo>
                    <a:pt x="2171" y="1465"/>
                  </a:lnTo>
                  <a:lnTo>
                    <a:pt x="2174" y="1455"/>
                  </a:lnTo>
                  <a:lnTo>
                    <a:pt x="2175" y="1447"/>
                  </a:lnTo>
                  <a:lnTo>
                    <a:pt x="2172" y="1404"/>
                  </a:lnTo>
                  <a:lnTo>
                    <a:pt x="2165" y="1323"/>
                  </a:lnTo>
                  <a:lnTo>
                    <a:pt x="2163" y="1277"/>
                  </a:lnTo>
                  <a:lnTo>
                    <a:pt x="2166" y="1240"/>
                  </a:lnTo>
                  <a:lnTo>
                    <a:pt x="2163" y="1229"/>
                  </a:lnTo>
                  <a:lnTo>
                    <a:pt x="2163" y="1222"/>
                  </a:lnTo>
                  <a:lnTo>
                    <a:pt x="2168" y="1204"/>
                  </a:lnTo>
                  <a:lnTo>
                    <a:pt x="2171" y="1191"/>
                  </a:lnTo>
                  <a:lnTo>
                    <a:pt x="2178" y="1152"/>
                  </a:lnTo>
                  <a:lnTo>
                    <a:pt x="2183" y="1109"/>
                  </a:lnTo>
                  <a:lnTo>
                    <a:pt x="2190" y="1090"/>
                  </a:lnTo>
                  <a:lnTo>
                    <a:pt x="2205" y="1068"/>
                  </a:lnTo>
                  <a:lnTo>
                    <a:pt x="2205" y="1061"/>
                  </a:lnTo>
                  <a:lnTo>
                    <a:pt x="2203" y="1045"/>
                  </a:lnTo>
                  <a:lnTo>
                    <a:pt x="2200" y="1035"/>
                  </a:lnTo>
                  <a:lnTo>
                    <a:pt x="2196" y="1028"/>
                  </a:lnTo>
                  <a:lnTo>
                    <a:pt x="2184" y="1016"/>
                  </a:lnTo>
                  <a:lnTo>
                    <a:pt x="2178" y="1005"/>
                  </a:lnTo>
                  <a:lnTo>
                    <a:pt x="2176" y="996"/>
                  </a:lnTo>
                  <a:lnTo>
                    <a:pt x="2178" y="979"/>
                  </a:lnTo>
                  <a:lnTo>
                    <a:pt x="2170" y="976"/>
                  </a:lnTo>
                  <a:lnTo>
                    <a:pt x="2155" y="977"/>
                  </a:lnTo>
                  <a:lnTo>
                    <a:pt x="2144" y="976"/>
                  </a:lnTo>
                  <a:lnTo>
                    <a:pt x="2138" y="974"/>
                  </a:lnTo>
                  <a:lnTo>
                    <a:pt x="2134" y="972"/>
                  </a:lnTo>
                  <a:lnTo>
                    <a:pt x="2132" y="965"/>
                  </a:lnTo>
                  <a:lnTo>
                    <a:pt x="2130" y="946"/>
                  </a:lnTo>
                  <a:lnTo>
                    <a:pt x="2126" y="936"/>
                  </a:lnTo>
                  <a:lnTo>
                    <a:pt x="2126" y="931"/>
                  </a:lnTo>
                  <a:lnTo>
                    <a:pt x="2129" y="927"/>
                  </a:lnTo>
                  <a:lnTo>
                    <a:pt x="2161" y="908"/>
                  </a:lnTo>
                  <a:lnTo>
                    <a:pt x="2169" y="906"/>
                  </a:lnTo>
                  <a:lnTo>
                    <a:pt x="2176" y="905"/>
                  </a:lnTo>
                  <a:lnTo>
                    <a:pt x="2183" y="905"/>
                  </a:lnTo>
                  <a:lnTo>
                    <a:pt x="2207" y="914"/>
                  </a:lnTo>
                  <a:lnTo>
                    <a:pt x="2233" y="915"/>
                  </a:lnTo>
                  <a:lnTo>
                    <a:pt x="2246" y="917"/>
                  </a:lnTo>
                  <a:lnTo>
                    <a:pt x="2253" y="916"/>
                  </a:lnTo>
                  <a:lnTo>
                    <a:pt x="2261" y="908"/>
                  </a:lnTo>
                  <a:lnTo>
                    <a:pt x="2269" y="905"/>
                  </a:lnTo>
                  <a:lnTo>
                    <a:pt x="2277" y="906"/>
                  </a:lnTo>
                  <a:lnTo>
                    <a:pt x="2292" y="914"/>
                  </a:lnTo>
                  <a:lnTo>
                    <a:pt x="2306" y="916"/>
                  </a:lnTo>
                  <a:lnTo>
                    <a:pt x="2328" y="915"/>
                  </a:lnTo>
                  <a:lnTo>
                    <a:pt x="2329" y="914"/>
                  </a:lnTo>
                  <a:lnTo>
                    <a:pt x="2329" y="907"/>
                  </a:lnTo>
                  <a:lnTo>
                    <a:pt x="2330" y="906"/>
                  </a:lnTo>
                  <a:lnTo>
                    <a:pt x="2361" y="922"/>
                  </a:lnTo>
                  <a:lnTo>
                    <a:pt x="2375" y="925"/>
                  </a:lnTo>
                  <a:lnTo>
                    <a:pt x="2388" y="926"/>
                  </a:lnTo>
                  <a:lnTo>
                    <a:pt x="2395" y="925"/>
                  </a:lnTo>
                  <a:lnTo>
                    <a:pt x="2411" y="921"/>
                  </a:lnTo>
                  <a:lnTo>
                    <a:pt x="2431" y="920"/>
                  </a:lnTo>
                  <a:lnTo>
                    <a:pt x="2449" y="917"/>
                  </a:lnTo>
                  <a:lnTo>
                    <a:pt x="2473" y="920"/>
                  </a:lnTo>
                  <a:lnTo>
                    <a:pt x="2513" y="921"/>
                  </a:lnTo>
                  <a:lnTo>
                    <a:pt x="2543" y="909"/>
                  </a:lnTo>
                  <a:lnTo>
                    <a:pt x="2554" y="907"/>
                  </a:lnTo>
                  <a:lnTo>
                    <a:pt x="2567" y="907"/>
                  </a:lnTo>
                  <a:lnTo>
                    <a:pt x="2580" y="911"/>
                  </a:lnTo>
                  <a:lnTo>
                    <a:pt x="2588" y="918"/>
                  </a:lnTo>
                  <a:lnTo>
                    <a:pt x="2602" y="950"/>
                  </a:lnTo>
                  <a:lnTo>
                    <a:pt x="2604" y="953"/>
                  </a:lnTo>
                  <a:lnTo>
                    <a:pt x="2609" y="956"/>
                  </a:lnTo>
                  <a:lnTo>
                    <a:pt x="2641" y="967"/>
                  </a:lnTo>
                  <a:lnTo>
                    <a:pt x="2645" y="970"/>
                  </a:lnTo>
                  <a:lnTo>
                    <a:pt x="2648" y="972"/>
                  </a:lnTo>
                  <a:lnTo>
                    <a:pt x="2648" y="975"/>
                  </a:lnTo>
                  <a:lnTo>
                    <a:pt x="2651" y="977"/>
                  </a:lnTo>
                  <a:lnTo>
                    <a:pt x="2674" y="980"/>
                  </a:lnTo>
                  <a:lnTo>
                    <a:pt x="2691" y="987"/>
                  </a:lnTo>
                  <a:lnTo>
                    <a:pt x="2704" y="993"/>
                  </a:lnTo>
                  <a:lnTo>
                    <a:pt x="2721" y="1005"/>
                  </a:lnTo>
                  <a:lnTo>
                    <a:pt x="2732" y="1010"/>
                  </a:lnTo>
                  <a:lnTo>
                    <a:pt x="2742" y="1012"/>
                  </a:lnTo>
                  <a:lnTo>
                    <a:pt x="2753" y="1009"/>
                  </a:lnTo>
                  <a:lnTo>
                    <a:pt x="2763" y="1003"/>
                  </a:lnTo>
                  <a:lnTo>
                    <a:pt x="2768" y="993"/>
                  </a:lnTo>
                  <a:lnTo>
                    <a:pt x="2771" y="981"/>
                  </a:lnTo>
                  <a:lnTo>
                    <a:pt x="2771" y="968"/>
                  </a:lnTo>
                  <a:lnTo>
                    <a:pt x="2768" y="954"/>
                  </a:lnTo>
                  <a:lnTo>
                    <a:pt x="2765" y="943"/>
                  </a:lnTo>
                  <a:lnTo>
                    <a:pt x="2735" y="911"/>
                  </a:lnTo>
                  <a:lnTo>
                    <a:pt x="2730" y="903"/>
                  </a:lnTo>
                  <a:lnTo>
                    <a:pt x="2727" y="897"/>
                  </a:lnTo>
                  <a:lnTo>
                    <a:pt x="2725" y="873"/>
                  </a:lnTo>
                  <a:lnTo>
                    <a:pt x="2733" y="847"/>
                  </a:lnTo>
                  <a:lnTo>
                    <a:pt x="2745" y="828"/>
                  </a:lnTo>
                  <a:lnTo>
                    <a:pt x="2757" y="813"/>
                  </a:lnTo>
                  <a:lnTo>
                    <a:pt x="2761" y="807"/>
                  </a:lnTo>
                  <a:lnTo>
                    <a:pt x="2764" y="797"/>
                  </a:lnTo>
                  <a:lnTo>
                    <a:pt x="2767" y="781"/>
                  </a:lnTo>
                  <a:lnTo>
                    <a:pt x="2773" y="771"/>
                  </a:lnTo>
                  <a:lnTo>
                    <a:pt x="2779" y="763"/>
                  </a:lnTo>
                  <a:lnTo>
                    <a:pt x="2793" y="755"/>
                  </a:lnTo>
                  <a:lnTo>
                    <a:pt x="2805" y="743"/>
                  </a:lnTo>
                  <a:lnTo>
                    <a:pt x="2821" y="720"/>
                  </a:lnTo>
                  <a:lnTo>
                    <a:pt x="2838" y="695"/>
                  </a:lnTo>
                  <a:lnTo>
                    <a:pt x="2874" y="650"/>
                  </a:lnTo>
                  <a:lnTo>
                    <a:pt x="2910" y="603"/>
                  </a:lnTo>
                  <a:lnTo>
                    <a:pt x="2923" y="581"/>
                  </a:lnTo>
                  <a:lnTo>
                    <a:pt x="2938" y="548"/>
                  </a:lnTo>
                  <a:lnTo>
                    <a:pt x="2942" y="542"/>
                  </a:lnTo>
                  <a:lnTo>
                    <a:pt x="2958" y="524"/>
                  </a:lnTo>
                  <a:lnTo>
                    <a:pt x="2965" y="507"/>
                  </a:lnTo>
                  <a:lnTo>
                    <a:pt x="2968" y="503"/>
                  </a:lnTo>
                  <a:lnTo>
                    <a:pt x="2983" y="489"/>
                  </a:lnTo>
                  <a:lnTo>
                    <a:pt x="3003" y="465"/>
                  </a:lnTo>
                  <a:lnTo>
                    <a:pt x="3028" y="421"/>
                  </a:lnTo>
                  <a:lnTo>
                    <a:pt x="3032" y="411"/>
                  </a:lnTo>
                  <a:lnTo>
                    <a:pt x="3035" y="401"/>
                  </a:lnTo>
                  <a:lnTo>
                    <a:pt x="3038" y="397"/>
                  </a:lnTo>
                  <a:lnTo>
                    <a:pt x="3043" y="396"/>
                  </a:lnTo>
                  <a:lnTo>
                    <a:pt x="3050" y="396"/>
                  </a:lnTo>
                  <a:lnTo>
                    <a:pt x="3059" y="399"/>
                  </a:lnTo>
                  <a:lnTo>
                    <a:pt x="3069" y="403"/>
                  </a:lnTo>
                  <a:lnTo>
                    <a:pt x="3072" y="407"/>
                  </a:lnTo>
                  <a:lnTo>
                    <a:pt x="3077" y="415"/>
                  </a:lnTo>
                  <a:lnTo>
                    <a:pt x="3083" y="420"/>
                  </a:lnTo>
                  <a:lnTo>
                    <a:pt x="3087" y="422"/>
                  </a:lnTo>
                  <a:lnTo>
                    <a:pt x="3099" y="428"/>
                  </a:lnTo>
                  <a:lnTo>
                    <a:pt x="3104" y="431"/>
                  </a:lnTo>
                  <a:lnTo>
                    <a:pt x="3116" y="447"/>
                  </a:lnTo>
                  <a:lnTo>
                    <a:pt x="3133" y="460"/>
                  </a:lnTo>
                  <a:lnTo>
                    <a:pt x="3151" y="480"/>
                  </a:lnTo>
                  <a:lnTo>
                    <a:pt x="3171" y="498"/>
                  </a:lnTo>
                  <a:lnTo>
                    <a:pt x="3191" y="508"/>
                  </a:lnTo>
                  <a:lnTo>
                    <a:pt x="3212" y="523"/>
                  </a:lnTo>
                  <a:lnTo>
                    <a:pt x="3254" y="534"/>
                  </a:lnTo>
                  <a:lnTo>
                    <a:pt x="3263" y="536"/>
                  </a:lnTo>
                  <a:lnTo>
                    <a:pt x="3273" y="534"/>
                  </a:lnTo>
                  <a:lnTo>
                    <a:pt x="3283" y="534"/>
                  </a:lnTo>
                  <a:lnTo>
                    <a:pt x="3317" y="541"/>
                  </a:lnTo>
                  <a:lnTo>
                    <a:pt x="3324" y="543"/>
                  </a:lnTo>
                  <a:lnTo>
                    <a:pt x="3341" y="552"/>
                  </a:lnTo>
                  <a:lnTo>
                    <a:pt x="3348" y="556"/>
                  </a:lnTo>
                  <a:lnTo>
                    <a:pt x="3377" y="559"/>
                  </a:lnTo>
                  <a:lnTo>
                    <a:pt x="3395" y="558"/>
                  </a:lnTo>
                  <a:lnTo>
                    <a:pt x="3402" y="560"/>
                  </a:lnTo>
                  <a:lnTo>
                    <a:pt x="3407" y="562"/>
                  </a:lnTo>
                  <a:lnTo>
                    <a:pt x="3411" y="568"/>
                  </a:lnTo>
                  <a:lnTo>
                    <a:pt x="3419" y="598"/>
                  </a:lnTo>
                  <a:lnTo>
                    <a:pt x="3424" y="602"/>
                  </a:lnTo>
                  <a:lnTo>
                    <a:pt x="3430" y="605"/>
                  </a:lnTo>
                  <a:lnTo>
                    <a:pt x="3440" y="608"/>
                  </a:lnTo>
                  <a:lnTo>
                    <a:pt x="3471" y="598"/>
                  </a:lnTo>
                  <a:lnTo>
                    <a:pt x="3480" y="594"/>
                  </a:lnTo>
                  <a:lnTo>
                    <a:pt x="3495" y="582"/>
                  </a:lnTo>
                  <a:lnTo>
                    <a:pt x="3497" y="582"/>
                  </a:lnTo>
                  <a:lnTo>
                    <a:pt x="3509" y="582"/>
                  </a:lnTo>
                  <a:lnTo>
                    <a:pt x="3556" y="588"/>
                  </a:lnTo>
                  <a:lnTo>
                    <a:pt x="3566" y="587"/>
                  </a:lnTo>
                  <a:lnTo>
                    <a:pt x="3574" y="585"/>
                  </a:lnTo>
                  <a:lnTo>
                    <a:pt x="3580" y="582"/>
                  </a:lnTo>
                  <a:lnTo>
                    <a:pt x="3593" y="573"/>
                  </a:lnTo>
                  <a:lnTo>
                    <a:pt x="3623" y="546"/>
                  </a:lnTo>
                  <a:lnTo>
                    <a:pt x="3631" y="539"/>
                  </a:lnTo>
                  <a:lnTo>
                    <a:pt x="3631" y="520"/>
                  </a:lnTo>
                  <a:lnTo>
                    <a:pt x="3639" y="493"/>
                  </a:lnTo>
                  <a:lnTo>
                    <a:pt x="3631" y="456"/>
                  </a:lnTo>
                  <a:lnTo>
                    <a:pt x="3631" y="448"/>
                  </a:lnTo>
                  <a:lnTo>
                    <a:pt x="3632" y="436"/>
                  </a:lnTo>
                  <a:lnTo>
                    <a:pt x="3643" y="388"/>
                  </a:lnTo>
                  <a:lnTo>
                    <a:pt x="3658" y="293"/>
                  </a:lnTo>
                  <a:lnTo>
                    <a:pt x="3670" y="254"/>
                  </a:lnTo>
                  <a:lnTo>
                    <a:pt x="3675" y="242"/>
                  </a:lnTo>
                  <a:lnTo>
                    <a:pt x="3679" y="235"/>
                  </a:lnTo>
                  <a:lnTo>
                    <a:pt x="3700" y="216"/>
                  </a:lnTo>
                  <a:lnTo>
                    <a:pt x="3728" y="183"/>
                  </a:lnTo>
                  <a:lnTo>
                    <a:pt x="3737" y="176"/>
                  </a:lnTo>
                  <a:lnTo>
                    <a:pt x="3748" y="170"/>
                  </a:lnTo>
                  <a:lnTo>
                    <a:pt x="3757" y="169"/>
                  </a:lnTo>
                  <a:lnTo>
                    <a:pt x="3772" y="169"/>
                  </a:lnTo>
                  <a:lnTo>
                    <a:pt x="3814" y="186"/>
                  </a:lnTo>
                  <a:lnTo>
                    <a:pt x="3827" y="189"/>
                  </a:lnTo>
                  <a:lnTo>
                    <a:pt x="3837" y="191"/>
                  </a:lnTo>
                  <a:lnTo>
                    <a:pt x="3846" y="189"/>
                  </a:lnTo>
                  <a:lnTo>
                    <a:pt x="3865" y="181"/>
                  </a:lnTo>
                  <a:lnTo>
                    <a:pt x="3893" y="182"/>
                  </a:lnTo>
                  <a:lnTo>
                    <a:pt x="3921" y="173"/>
                  </a:lnTo>
                  <a:lnTo>
                    <a:pt x="3930" y="163"/>
                  </a:lnTo>
                  <a:lnTo>
                    <a:pt x="3937" y="155"/>
                  </a:lnTo>
                  <a:lnTo>
                    <a:pt x="3954" y="139"/>
                  </a:lnTo>
                  <a:lnTo>
                    <a:pt x="3971" y="126"/>
                  </a:lnTo>
                  <a:lnTo>
                    <a:pt x="3975" y="121"/>
                  </a:lnTo>
                  <a:lnTo>
                    <a:pt x="3983" y="99"/>
                  </a:lnTo>
                  <a:lnTo>
                    <a:pt x="3986" y="94"/>
                  </a:lnTo>
                  <a:lnTo>
                    <a:pt x="3992" y="88"/>
                  </a:lnTo>
                  <a:lnTo>
                    <a:pt x="3994" y="82"/>
                  </a:lnTo>
                  <a:lnTo>
                    <a:pt x="3994" y="79"/>
                  </a:lnTo>
                  <a:lnTo>
                    <a:pt x="3989" y="70"/>
                  </a:lnTo>
                  <a:lnTo>
                    <a:pt x="3987" y="60"/>
                  </a:lnTo>
                  <a:lnTo>
                    <a:pt x="3987" y="49"/>
                  </a:lnTo>
                  <a:lnTo>
                    <a:pt x="3988" y="40"/>
                  </a:lnTo>
                  <a:lnTo>
                    <a:pt x="3995" y="31"/>
                  </a:lnTo>
                  <a:lnTo>
                    <a:pt x="4012" y="19"/>
                  </a:lnTo>
                  <a:lnTo>
                    <a:pt x="4025" y="5"/>
                  </a:lnTo>
                  <a:lnTo>
                    <a:pt x="4032" y="0"/>
                  </a:lnTo>
                  <a:lnTo>
                    <a:pt x="4043" y="0"/>
                  </a:lnTo>
                  <a:lnTo>
                    <a:pt x="4059" y="1"/>
                  </a:lnTo>
                  <a:lnTo>
                    <a:pt x="4068" y="3"/>
                  </a:lnTo>
                  <a:lnTo>
                    <a:pt x="4082" y="7"/>
                  </a:lnTo>
                  <a:lnTo>
                    <a:pt x="4109" y="18"/>
                  </a:lnTo>
                  <a:lnTo>
                    <a:pt x="4128" y="27"/>
                  </a:lnTo>
                  <a:lnTo>
                    <a:pt x="4144" y="37"/>
                  </a:lnTo>
                  <a:lnTo>
                    <a:pt x="4152" y="41"/>
                  </a:lnTo>
                  <a:lnTo>
                    <a:pt x="4156" y="41"/>
                  </a:lnTo>
                  <a:lnTo>
                    <a:pt x="4161" y="39"/>
                  </a:lnTo>
                  <a:lnTo>
                    <a:pt x="4165" y="34"/>
                  </a:lnTo>
                  <a:lnTo>
                    <a:pt x="4170" y="24"/>
                  </a:lnTo>
                  <a:lnTo>
                    <a:pt x="4171" y="23"/>
                  </a:lnTo>
                  <a:lnTo>
                    <a:pt x="4224" y="26"/>
                  </a:lnTo>
                  <a:lnTo>
                    <a:pt x="4232" y="28"/>
                  </a:lnTo>
                  <a:lnTo>
                    <a:pt x="4236" y="31"/>
                  </a:lnTo>
                  <a:lnTo>
                    <a:pt x="4239" y="37"/>
                  </a:lnTo>
                  <a:lnTo>
                    <a:pt x="4239" y="46"/>
                  </a:lnTo>
                  <a:lnTo>
                    <a:pt x="4237" y="71"/>
                  </a:lnTo>
                  <a:lnTo>
                    <a:pt x="4234" y="88"/>
                  </a:lnTo>
                  <a:lnTo>
                    <a:pt x="4229" y="95"/>
                  </a:lnTo>
                  <a:lnTo>
                    <a:pt x="4226" y="99"/>
                  </a:lnTo>
                  <a:lnTo>
                    <a:pt x="4211" y="108"/>
                  </a:lnTo>
                  <a:lnTo>
                    <a:pt x="4204" y="115"/>
                  </a:lnTo>
                  <a:lnTo>
                    <a:pt x="4202" y="118"/>
                  </a:lnTo>
                  <a:lnTo>
                    <a:pt x="4202" y="123"/>
                  </a:lnTo>
                  <a:lnTo>
                    <a:pt x="4206" y="130"/>
                  </a:lnTo>
                  <a:lnTo>
                    <a:pt x="4215" y="142"/>
                  </a:lnTo>
                  <a:lnTo>
                    <a:pt x="4235" y="167"/>
                  </a:lnTo>
                  <a:lnTo>
                    <a:pt x="4247" y="180"/>
                  </a:lnTo>
                  <a:lnTo>
                    <a:pt x="4256" y="191"/>
                  </a:lnTo>
                  <a:lnTo>
                    <a:pt x="4251" y="207"/>
                  </a:lnTo>
                  <a:lnTo>
                    <a:pt x="4241" y="224"/>
                  </a:lnTo>
                  <a:lnTo>
                    <a:pt x="4240" y="230"/>
                  </a:lnTo>
                  <a:lnTo>
                    <a:pt x="4242" y="235"/>
                  </a:lnTo>
                  <a:lnTo>
                    <a:pt x="4261" y="251"/>
                  </a:lnTo>
                  <a:lnTo>
                    <a:pt x="4270" y="262"/>
                  </a:lnTo>
                  <a:lnTo>
                    <a:pt x="4282" y="268"/>
                  </a:lnTo>
                  <a:lnTo>
                    <a:pt x="4298" y="280"/>
                  </a:lnTo>
                  <a:lnTo>
                    <a:pt x="4302" y="287"/>
                  </a:lnTo>
                  <a:lnTo>
                    <a:pt x="4309" y="300"/>
                  </a:lnTo>
                  <a:lnTo>
                    <a:pt x="4316" y="313"/>
                  </a:lnTo>
                  <a:lnTo>
                    <a:pt x="4336" y="325"/>
                  </a:lnTo>
                  <a:lnTo>
                    <a:pt x="4343" y="333"/>
                  </a:lnTo>
                  <a:lnTo>
                    <a:pt x="4345" y="340"/>
                  </a:lnTo>
                  <a:lnTo>
                    <a:pt x="4346" y="344"/>
                  </a:lnTo>
                  <a:lnTo>
                    <a:pt x="4342" y="357"/>
                  </a:lnTo>
                  <a:lnTo>
                    <a:pt x="4342" y="369"/>
                  </a:lnTo>
                  <a:lnTo>
                    <a:pt x="4343" y="385"/>
                  </a:lnTo>
                  <a:lnTo>
                    <a:pt x="4346" y="390"/>
                  </a:lnTo>
                  <a:lnTo>
                    <a:pt x="4360" y="399"/>
                  </a:lnTo>
                  <a:lnTo>
                    <a:pt x="4379" y="418"/>
                  </a:lnTo>
                  <a:lnTo>
                    <a:pt x="4406" y="437"/>
                  </a:lnTo>
                  <a:lnTo>
                    <a:pt x="4411" y="443"/>
                  </a:lnTo>
                  <a:lnTo>
                    <a:pt x="4418" y="456"/>
                  </a:lnTo>
                  <a:lnTo>
                    <a:pt x="4425" y="467"/>
                  </a:lnTo>
                  <a:lnTo>
                    <a:pt x="4431" y="472"/>
                  </a:lnTo>
                  <a:lnTo>
                    <a:pt x="4435" y="474"/>
                  </a:lnTo>
                  <a:lnTo>
                    <a:pt x="4452" y="480"/>
                  </a:lnTo>
                  <a:lnTo>
                    <a:pt x="4462" y="483"/>
                  </a:lnTo>
                  <a:lnTo>
                    <a:pt x="4477" y="482"/>
                  </a:lnTo>
                  <a:lnTo>
                    <a:pt x="4494" y="475"/>
                  </a:lnTo>
                  <a:lnTo>
                    <a:pt x="4504" y="474"/>
                  </a:lnTo>
                  <a:lnTo>
                    <a:pt x="4519" y="479"/>
                  </a:lnTo>
                  <a:lnTo>
                    <a:pt x="4537" y="484"/>
                  </a:lnTo>
                  <a:lnTo>
                    <a:pt x="4542" y="486"/>
                  </a:lnTo>
                  <a:lnTo>
                    <a:pt x="4546" y="490"/>
                  </a:lnTo>
                  <a:lnTo>
                    <a:pt x="4548" y="494"/>
                  </a:lnTo>
                  <a:lnTo>
                    <a:pt x="4548" y="506"/>
                  </a:lnTo>
                  <a:lnTo>
                    <a:pt x="4552" y="518"/>
                  </a:lnTo>
                  <a:lnTo>
                    <a:pt x="4562" y="531"/>
                  </a:lnTo>
                  <a:lnTo>
                    <a:pt x="4569" y="546"/>
                  </a:lnTo>
                  <a:lnTo>
                    <a:pt x="4573" y="551"/>
                  </a:lnTo>
                  <a:lnTo>
                    <a:pt x="4578" y="555"/>
                  </a:lnTo>
                  <a:lnTo>
                    <a:pt x="4584" y="558"/>
                  </a:lnTo>
                  <a:lnTo>
                    <a:pt x="4600" y="561"/>
                  </a:lnTo>
                  <a:lnTo>
                    <a:pt x="4606" y="561"/>
                  </a:lnTo>
                  <a:lnTo>
                    <a:pt x="4617" y="552"/>
                  </a:lnTo>
                  <a:lnTo>
                    <a:pt x="4621" y="550"/>
                  </a:lnTo>
                  <a:lnTo>
                    <a:pt x="4627" y="551"/>
                  </a:lnTo>
                  <a:lnTo>
                    <a:pt x="4635" y="556"/>
                  </a:lnTo>
                  <a:lnTo>
                    <a:pt x="4639" y="561"/>
                  </a:lnTo>
                  <a:lnTo>
                    <a:pt x="4641" y="564"/>
                  </a:lnTo>
                  <a:lnTo>
                    <a:pt x="4641" y="592"/>
                  </a:lnTo>
                  <a:lnTo>
                    <a:pt x="4641" y="597"/>
                  </a:lnTo>
                  <a:lnTo>
                    <a:pt x="4643" y="600"/>
                  </a:lnTo>
                  <a:lnTo>
                    <a:pt x="4653" y="611"/>
                  </a:lnTo>
                  <a:lnTo>
                    <a:pt x="4680" y="630"/>
                  </a:lnTo>
                  <a:lnTo>
                    <a:pt x="4685" y="636"/>
                  </a:lnTo>
                  <a:lnTo>
                    <a:pt x="4689" y="644"/>
                  </a:lnTo>
                  <a:lnTo>
                    <a:pt x="4690" y="650"/>
                  </a:lnTo>
                  <a:lnTo>
                    <a:pt x="4689" y="662"/>
                  </a:lnTo>
                  <a:lnTo>
                    <a:pt x="4690" y="675"/>
                  </a:lnTo>
                  <a:lnTo>
                    <a:pt x="4699" y="701"/>
                  </a:lnTo>
                  <a:lnTo>
                    <a:pt x="4702" y="707"/>
                  </a:lnTo>
                  <a:lnTo>
                    <a:pt x="4701" y="713"/>
                  </a:lnTo>
                  <a:lnTo>
                    <a:pt x="4698" y="725"/>
                  </a:lnTo>
                  <a:lnTo>
                    <a:pt x="4703" y="743"/>
                  </a:lnTo>
                  <a:lnTo>
                    <a:pt x="4701" y="756"/>
                  </a:lnTo>
                  <a:lnTo>
                    <a:pt x="4701" y="773"/>
                  </a:lnTo>
                  <a:lnTo>
                    <a:pt x="4702" y="783"/>
                  </a:lnTo>
                  <a:lnTo>
                    <a:pt x="4707" y="808"/>
                  </a:lnTo>
                  <a:lnTo>
                    <a:pt x="4735" y="869"/>
                  </a:lnTo>
                  <a:lnTo>
                    <a:pt x="4744" y="880"/>
                  </a:lnTo>
                  <a:lnTo>
                    <a:pt x="4761" y="893"/>
                  </a:lnTo>
                  <a:lnTo>
                    <a:pt x="4768" y="904"/>
                  </a:lnTo>
                  <a:lnTo>
                    <a:pt x="4769" y="915"/>
                  </a:lnTo>
                  <a:lnTo>
                    <a:pt x="4767" y="935"/>
                  </a:lnTo>
                  <a:lnTo>
                    <a:pt x="4767" y="942"/>
                  </a:lnTo>
                  <a:lnTo>
                    <a:pt x="4770" y="959"/>
                  </a:lnTo>
                  <a:lnTo>
                    <a:pt x="4777" y="976"/>
                  </a:lnTo>
                  <a:lnTo>
                    <a:pt x="4778" y="986"/>
                  </a:lnTo>
                  <a:lnTo>
                    <a:pt x="4777" y="995"/>
                  </a:lnTo>
                  <a:lnTo>
                    <a:pt x="4769" y="1022"/>
                  </a:lnTo>
                  <a:lnTo>
                    <a:pt x="4768" y="1039"/>
                  </a:lnTo>
                  <a:lnTo>
                    <a:pt x="4765" y="1049"/>
                  </a:lnTo>
                  <a:lnTo>
                    <a:pt x="4752" y="1077"/>
                  </a:lnTo>
                  <a:lnTo>
                    <a:pt x="4745" y="1086"/>
                  </a:lnTo>
                  <a:lnTo>
                    <a:pt x="4734" y="1096"/>
                  </a:lnTo>
                  <a:lnTo>
                    <a:pt x="4731" y="1101"/>
                  </a:lnTo>
                  <a:lnTo>
                    <a:pt x="4728" y="1111"/>
                  </a:lnTo>
                  <a:lnTo>
                    <a:pt x="4727" y="1124"/>
                  </a:lnTo>
                  <a:lnTo>
                    <a:pt x="4733" y="1172"/>
                  </a:lnTo>
                  <a:lnTo>
                    <a:pt x="4733" y="1187"/>
                  </a:lnTo>
                  <a:lnTo>
                    <a:pt x="4730" y="1200"/>
                  </a:lnTo>
                  <a:lnTo>
                    <a:pt x="4724" y="1209"/>
                  </a:lnTo>
                  <a:lnTo>
                    <a:pt x="4715" y="1221"/>
                  </a:lnTo>
                  <a:lnTo>
                    <a:pt x="4686" y="1244"/>
                  </a:lnTo>
                  <a:lnTo>
                    <a:pt x="4675" y="1255"/>
                  </a:lnTo>
                  <a:lnTo>
                    <a:pt x="4667" y="1261"/>
                  </a:lnTo>
                  <a:lnTo>
                    <a:pt x="4655" y="1275"/>
                  </a:lnTo>
                  <a:lnTo>
                    <a:pt x="4647" y="1287"/>
                  </a:lnTo>
                  <a:lnTo>
                    <a:pt x="4641" y="1298"/>
                  </a:lnTo>
                  <a:lnTo>
                    <a:pt x="4625" y="1332"/>
                  </a:lnTo>
                  <a:lnTo>
                    <a:pt x="4620" y="1349"/>
                  </a:lnTo>
                  <a:lnTo>
                    <a:pt x="4618" y="1357"/>
                  </a:lnTo>
                  <a:lnTo>
                    <a:pt x="4619" y="1363"/>
                  </a:lnTo>
                  <a:lnTo>
                    <a:pt x="4631" y="1387"/>
                  </a:lnTo>
                  <a:lnTo>
                    <a:pt x="4634" y="1396"/>
                  </a:lnTo>
                  <a:lnTo>
                    <a:pt x="4635" y="1407"/>
                  </a:lnTo>
                  <a:lnTo>
                    <a:pt x="4633" y="1424"/>
                  </a:lnTo>
                  <a:lnTo>
                    <a:pt x="4633" y="1430"/>
                  </a:lnTo>
                  <a:lnTo>
                    <a:pt x="4636" y="1436"/>
                  </a:lnTo>
                  <a:lnTo>
                    <a:pt x="4644" y="1441"/>
                  </a:lnTo>
                  <a:lnTo>
                    <a:pt x="4649" y="1448"/>
                  </a:lnTo>
                  <a:lnTo>
                    <a:pt x="4649" y="1456"/>
                  </a:lnTo>
                  <a:lnTo>
                    <a:pt x="4643" y="1464"/>
                  </a:lnTo>
                  <a:lnTo>
                    <a:pt x="4643" y="1470"/>
                  </a:lnTo>
                  <a:lnTo>
                    <a:pt x="4648" y="1472"/>
                  </a:lnTo>
                  <a:lnTo>
                    <a:pt x="4683" y="1472"/>
                  </a:lnTo>
                  <a:lnTo>
                    <a:pt x="4694" y="1475"/>
                  </a:lnTo>
                  <a:lnTo>
                    <a:pt x="4702" y="1478"/>
                  </a:lnTo>
                  <a:lnTo>
                    <a:pt x="4714" y="1494"/>
                  </a:lnTo>
                  <a:lnTo>
                    <a:pt x="4721" y="1498"/>
                  </a:lnTo>
                  <a:lnTo>
                    <a:pt x="4758" y="1514"/>
                  </a:lnTo>
                  <a:lnTo>
                    <a:pt x="4763" y="1514"/>
                  </a:lnTo>
                  <a:lnTo>
                    <a:pt x="4770" y="1511"/>
                  </a:lnTo>
                  <a:lnTo>
                    <a:pt x="4775" y="1512"/>
                  </a:lnTo>
                  <a:lnTo>
                    <a:pt x="4779" y="1517"/>
                  </a:lnTo>
                  <a:lnTo>
                    <a:pt x="4792" y="1536"/>
                  </a:lnTo>
                  <a:lnTo>
                    <a:pt x="4795" y="1539"/>
                  </a:lnTo>
                  <a:lnTo>
                    <a:pt x="4799" y="1542"/>
                  </a:lnTo>
                  <a:lnTo>
                    <a:pt x="4814" y="1547"/>
                  </a:lnTo>
                  <a:lnTo>
                    <a:pt x="4829" y="1550"/>
                  </a:lnTo>
                  <a:lnTo>
                    <a:pt x="4874" y="1555"/>
                  </a:lnTo>
                  <a:lnTo>
                    <a:pt x="4906" y="1561"/>
                  </a:lnTo>
                  <a:lnTo>
                    <a:pt x="4920" y="1567"/>
                  </a:lnTo>
                  <a:lnTo>
                    <a:pt x="4932" y="1580"/>
                  </a:lnTo>
                  <a:lnTo>
                    <a:pt x="4939" y="1584"/>
                  </a:lnTo>
                  <a:lnTo>
                    <a:pt x="4960" y="1589"/>
                  </a:lnTo>
                  <a:lnTo>
                    <a:pt x="4983" y="1598"/>
                  </a:lnTo>
                  <a:lnTo>
                    <a:pt x="4993" y="1599"/>
                  </a:lnTo>
                  <a:lnTo>
                    <a:pt x="5022" y="1600"/>
                  </a:lnTo>
                  <a:lnTo>
                    <a:pt x="5048" y="1604"/>
                  </a:lnTo>
                  <a:lnTo>
                    <a:pt x="5080" y="1606"/>
                  </a:lnTo>
                  <a:lnTo>
                    <a:pt x="5091" y="1609"/>
                  </a:lnTo>
                  <a:lnTo>
                    <a:pt x="5125" y="1620"/>
                  </a:lnTo>
                  <a:lnTo>
                    <a:pt x="5141" y="1623"/>
                  </a:lnTo>
                  <a:lnTo>
                    <a:pt x="5172" y="1625"/>
                  </a:lnTo>
                  <a:lnTo>
                    <a:pt x="5183" y="1627"/>
                  </a:lnTo>
                  <a:lnTo>
                    <a:pt x="5192" y="1630"/>
                  </a:lnTo>
                  <a:lnTo>
                    <a:pt x="5226" y="1653"/>
                  </a:lnTo>
                  <a:lnTo>
                    <a:pt x="5242" y="1659"/>
                  </a:lnTo>
                  <a:lnTo>
                    <a:pt x="5248" y="1661"/>
                  </a:lnTo>
                  <a:lnTo>
                    <a:pt x="5285" y="1699"/>
                  </a:lnTo>
                  <a:lnTo>
                    <a:pt x="5338" y="1742"/>
                  </a:lnTo>
                  <a:lnTo>
                    <a:pt x="5362" y="1762"/>
                  </a:lnTo>
                  <a:lnTo>
                    <a:pt x="5380" y="1780"/>
                  </a:lnTo>
                  <a:lnTo>
                    <a:pt x="5404" y="1807"/>
                  </a:lnTo>
                  <a:lnTo>
                    <a:pt x="5409" y="1815"/>
                  </a:lnTo>
                  <a:lnTo>
                    <a:pt x="5412" y="1826"/>
                  </a:lnTo>
                  <a:lnTo>
                    <a:pt x="5415" y="1831"/>
                  </a:lnTo>
                  <a:lnTo>
                    <a:pt x="5424" y="1838"/>
                  </a:lnTo>
                  <a:lnTo>
                    <a:pt x="5446" y="1849"/>
                  </a:lnTo>
                  <a:lnTo>
                    <a:pt x="5468" y="1869"/>
                  </a:lnTo>
                  <a:lnTo>
                    <a:pt x="5480" y="1884"/>
                  </a:lnTo>
                  <a:lnTo>
                    <a:pt x="5485" y="1895"/>
                  </a:lnTo>
                  <a:lnTo>
                    <a:pt x="5489" y="1903"/>
                  </a:lnTo>
                  <a:lnTo>
                    <a:pt x="5497" y="1911"/>
                  </a:lnTo>
                  <a:lnTo>
                    <a:pt x="5503" y="1916"/>
                  </a:lnTo>
                  <a:lnTo>
                    <a:pt x="5530" y="1931"/>
                  </a:lnTo>
                  <a:lnTo>
                    <a:pt x="5550" y="1946"/>
                  </a:lnTo>
                  <a:lnTo>
                    <a:pt x="5587" y="1950"/>
                  </a:lnTo>
                  <a:lnTo>
                    <a:pt x="5638" y="1951"/>
                  </a:lnTo>
                  <a:lnTo>
                    <a:pt x="5645" y="1953"/>
                  </a:lnTo>
                  <a:lnTo>
                    <a:pt x="5650" y="1956"/>
                  </a:lnTo>
                  <a:lnTo>
                    <a:pt x="5651" y="1957"/>
                  </a:lnTo>
                  <a:lnTo>
                    <a:pt x="5651" y="1959"/>
                  </a:lnTo>
                  <a:lnTo>
                    <a:pt x="5638" y="1978"/>
                  </a:lnTo>
                  <a:lnTo>
                    <a:pt x="5632" y="1986"/>
                  </a:lnTo>
                  <a:lnTo>
                    <a:pt x="5623" y="2020"/>
                  </a:lnTo>
                  <a:lnTo>
                    <a:pt x="5616" y="2036"/>
                  </a:lnTo>
                  <a:lnTo>
                    <a:pt x="5616" y="2039"/>
                  </a:lnTo>
                  <a:lnTo>
                    <a:pt x="5617" y="2040"/>
                  </a:lnTo>
                  <a:lnTo>
                    <a:pt x="5621" y="2042"/>
                  </a:lnTo>
                  <a:lnTo>
                    <a:pt x="5646" y="2049"/>
                  </a:lnTo>
                  <a:lnTo>
                    <a:pt x="5658" y="2054"/>
                  </a:lnTo>
                  <a:lnTo>
                    <a:pt x="5664" y="2061"/>
                  </a:lnTo>
                  <a:lnTo>
                    <a:pt x="5671" y="2076"/>
                  </a:lnTo>
                  <a:lnTo>
                    <a:pt x="5678" y="2094"/>
                  </a:lnTo>
                  <a:lnTo>
                    <a:pt x="5684" y="2139"/>
                  </a:lnTo>
                  <a:lnTo>
                    <a:pt x="5693" y="2202"/>
                  </a:lnTo>
                  <a:lnTo>
                    <a:pt x="5703" y="2235"/>
                  </a:lnTo>
                  <a:lnTo>
                    <a:pt x="5708" y="2258"/>
                  </a:lnTo>
                  <a:lnTo>
                    <a:pt x="5711" y="2275"/>
                  </a:lnTo>
                  <a:lnTo>
                    <a:pt x="5711" y="2300"/>
                  </a:lnTo>
                  <a:lnTo>
                    <a:pt x="5713" y="2310"/>
                  </a:lnTo>
                  <a:lnTo>
                    <a:pt x="5720" y="2326"/>
                  </a:lnTo>
                  <a:lnTo>
                    <a:pt x="5732" y="2344"/>
                  </a:lnTo>
                  <a:lnTo>
                    <a:pt x="5794" y="2425"/>
                  </a:lnTo>
                  <a:lnTo>
                    <a:pt x="5807" y="2444"/>
                  </a:lnTo>
                  <a:lnTo>
                    <a:pt x="5809" y="2451"/>
                  </a:lnTo>
                  <a:lnTo>
                    <a:pt x="5810" y="2458"/>
                  </a:lnTo>
                  <a:lnTo>
                    <a:pt x="5806" y="2482"/>
                  </a:lnTo>
                  <a:lnTo>
                    <a:pt x="5805" y="2498"/>
                  </a:lnTo>
                  <a:lnTo>
                    <a:pt x="5806" y="2505"/>
                  </a:lnTo>
                  <a:lnTo>
                    <a:pt x="5809" y="2508"/>
                  </a:lnTo>
                  <a:lnTo>
                    <a:pt x="5809" y="2508"/>
                  </a:lnTo>
                  <a:lnTo>
                    <a:pt x="5768" y="2526"/>
                  </a:lnTo>
                  <a:lnTo>
                    <a:pt x="5740" y="2540"/>
                  </a:lnTo>
                  <a:lnTo>
                    <a:pt x="5725" y="2549"/>
                  </a:lnTo>
                  <a:lnTo>
                    <a:pt x="5717" y="2557"/>
                  </a:lnTo>
                  <a:lnTo>
                    <a:pt x="5715" y="2564"/>
                  </a:lnTo>
                  <a:lnTo>
                    <a:pt x="5704" y="2585"/>
                  </a:lnTo>
                  <a:lnTo>
                    <a:pt x="5702" y="2593"/>
                  </a:lnTo>
                  <a:lnTo>
                    <a:pt x="5703" y="2598"/>
                  </a:lnTo>
                  <a:lnTo>
                    <a:pt x="5711" y="2605"/>
                  </a:lnTo>
                  <a:lnTo>
                    <a:pt x="5714" y="2610"/>
                  </a:lnTo>
                  <a:lnTo>
                    <a:pt x="5715" y="2615"/>
                  </a:lnTo>
                  <a:lnTo>
                    <a:pt x="5717" y="2639"/>
                  </a:lnTo>
                  <a:lnTo>
                    <a:pt x="5719" y="2646"/>
                  </a:lnTo>
                  <a:lnTo>
                    <a:pt x="5730" y="2663"/>
                  </a:lnTo>
                  <a:lnTo>
                    <a:pt x="5731" y="2666"/>
                  </a:lnTo>
                  <a:lnTo>
                    <a:pt x="5731" y="2675"/>
                  </a:lnTo>
                  <a:lnTo>
                    <a:pt x="5729" y="2682"/>
                  </a:lnTo>
                  <a:lnTo>
                    <a:pt x="5718" y="2702"/>
                  </a:lnTo>
                  <a:lnTo>
                    <a:pt x="5717" y="2707"/>
                  </a:lnTo>
                  <a:lnTo>
                    <a:pt x="5719" y="2733"/>
                  </a:lnTo>
                  <a:lnTo>
                    <a:pt x="5719" y="2739"/>
                  </a:lnTo>
                  <a:lnTo>
                    <a:pt x="5717" y="2742"/>
                  </a:lnTo>
                  <a:lnTo>
                    <a:pt x="5713" y="2750"/>
                  </a:lnTo>
                  <a:lnTo>
                    <a:pt x="5704" y="2757"/>
                  </a:lnTo>
                  <a:lnTo>
                    <a:pt x="5681" y="2774"/>
                  </a:lnTo>
                  <a:lnTo>
                    <a:pt x="5669" y="2781"/>
                  </a:lnTo>
                  <a:lnTo>
                    <a:pt x="5639" y="2786"/>
                  </a:lnTo>
                  <a:lnTo>
                    <a:pt x="5585" y="2784"/>
                  </a:lnTo>
                  <a:lnTo>
                    <a:pt x="5578" y="2785"/>
                  </a:lnTo>
                  <a:lnTo>
                    <a:pt x="5570" y="2790"/>
                  </a:lnTo>
                  <a:lnTo>
                    <a:pt x="5555" y="2801"/>
                  </a:lnTo>
                  <a:lnTo>
                    <a:pt x="5502" y="2846"/>
                  </a:lnTo>
                  <a:lnTo>
                    <a:pt x="5491" y="2855"/>
                  </a:lnTo>
                  <a:lnTo>
                    <a:pt x="5485" y="2858"/>
                  </a:lnTo>
                  <a:lnTo>
                    <a:pt x="5482" y="2857"/>
                  </a:lnTo>
                  <a:lnTo>
                    <a:pt x="5477" y="2847"/>
                  </a:lnTo>
                  <a:lnTo>
                    <a:pt x="5465" y="2802"/>
                  </a:lnTo>
                  <a:lnTo>
                    <a:pt x="5461" y="2796"/>
                  </a:lnTo>
                  <a:lnTo>
                    <a:pt x="5453" y="2796"/>
                  </a:lnTo>
                  <a:lnTo>
                    <a:pt x="5415" y="2805"/>
                  </a:lnTo>
                  <a:lnTo>
                    <a:pt x="5399" y="2810"/>
                  </a:lnTo>
                  <a:lnTo>
                    <a:pt x="5388" y="2815"/>
                  </a:lnTo>
                  <a:lnTo>
                    <a:pt x="5355" y="2850"/>
                  </a:lnTo>
                  <a:lnTo>
                    <a:pt x="5346" y="2857"/>
                  </a:lnTo>
                  <a:lnTo>
                    <a:pt x="5339" y="2859"/>
                  </a:lnTo>
                  <a:lnTo>
                    <a:pt x="5298" y="2867"/>
                  </a:lnTo>
                  <a:lnTo>
                    <a:pt x="5272" y="2875"/>
                  </a:lnTo>
                  <a:lnTo>
                    <a:pt x="5226" y="2909"/>
                  </a:lnTo>
                  <a:lnTo>
                    <a:pt x="5169" y="2955"/>
                  </a:lnTo>
                  <a:lnTo>
                    <a:pt x="5138" y="2983"/>
                  </a:lnTo>
                  <a:lnTo>
                    <a:pt x="5106" y="3015"/>
                  </a:lnTo>
                  <a:lnTo>
                    <a:pt x="5098" y="3025"/>
                  </a:lnTo>
                  <a:lnTo>
                    <a:pt x="5090" y="3036"/>
                  </a:lnTo>
                  <a:lnTo>
                    <a:pt x="5081" y="3065"/>
                  </a:lnTo>
                  <a:lnTo>
                    <a:pt x="5073" y="3085"/>
                  </a:lnTo>
                  <a:lnTo>
                    <a:pt x="5065" y="3102"/>
                  </a:lnTo>
                  <a:lnTo>
                    <a:pt x="5059" y="3108"/>
                  </a:lnTo>
                  <a:lnTo>
                    <a:pt x="5056" y="3109"/>
                  </a:lnTo>
                  <a:lnTo>
                    <a:pt x="5049" y="3108"/>
                  </a:lnTo>
                  <a:lnTo>
                    <a:pt x="5003" y="3100"/>
                  </a:lnTo>
                  <a:lnTo>
                    <a:pt x="4981" y="3099"/>
                  </a:lnTo>
                  <a:lnTo>
                    <a:pt x="4871" y="3098"/>
                  </a:lnTo>
                  <a:lnTo>
                    <a:pt x="4867" y="3099"/>
                  </a:lnTo>
                  <a:lnTo>
                    <a:pt x="4861" y="3102"/>
                  </a:lnTo>
                  <a:lnTo>
                    <a:pt x="4853" y="3112"/>
                  </a:lnTo>
                  <a:lnTo>
                    <a:pt x="4843" y="3133"/>
                  </a:lnTo>
                  <a:lnTo>
                    <a:pt x="4835" y="3157"/>
                  </a:lnTo>
                  <a:lnTo>
                    <a:pt x="4828" y="3187"/>
                  </a:lnTo>
                  <a:lnTo>
                    <a:pt x="4815" y="3201"/>
                  </a:lnTo>
                  <a:lnTo>
                    <a:pt x="4791" y="3222"/>
                  </a:lnTo>
                  <a:lnTo>
                    <a:pt x="4783" y="3235"/>
                  </a:lnTo>
                  <a:lnTo>
                    <a:pt x="4771" y="3268"/>
                  </a:lnTo>
                  <a:lnTo>
                    <a:pt x="4751" y="3342"/>
                  </a:lnTo>
                  <a:lnTo>
                    <a:pt x="4740" y="3380"/>
                  </a:lnTo>
                  <a:lnTo>
                    <a:pt x="4725" y="3421"/>
                  </a:lnTo>
                  <a:lnTo>
                    <a:pt x="4709" y="3453"/>
                  </a:lnTo>
                  <a:lnTo>
                    <a:pt x="4696" y="3475"/>
                  </a:lnTo>
                  <a:lnTo>
                    <a:pt x="4685" y="3489"/>
                  </a:lnTo>
                  <a:lnTo>
                    <a:pt x="4671" y="3502"/>
                  </a:lnTo>
                  <a:lnTo>
                    <a:pt x="4640" y="3526"/>
                  </a:lnTo>
                  <a:lnTo>
                    <a:pt x="4634" y="3531"/>
                  </a:lnTo>
                  <a:lnTo>
                    <a:pt x="4631" y="3538"/>
                  </a:lnTo>
                  <a:lnTo>
                    <a:pt x="4629" y="3544"/>
                  </a:lnTo>
                  <a:lnTo>
                    <a:pt x="4627" y="3552"/>
                  </a:lnTo>
                  <a:lnTo>
                    <a:pt x="4629" y="3594"/>
                  </a:lnTo>
                  <a:lnTo>
                    <a:pt x="4629" y="3594"/>
                  </a:lnTo>
                  <a:lnTo>
                    <a:pt x="4629" y="3594"/>
                  </a:lnTo>
                  <a:lnTo>
                    <a:pt x="4629" y="3594"/>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 name="青海">
              <a:extLst>
                <a:ext uri="{FF2B5EF4-FFF2-40B4-BE49-F238E27FC236}">
                  <a16:creationId xmlns:a16="http://schemas.microsoft.com/office/drawing/2014/main" id="{E83EE95D-2D67-2284-727F-D5D3D9241B2B}"/>
                </a:ext>
              </a:extLst>
            </p:cNvPr>
            <p:cNvSpPr>
              <a:spLocks/>
            </p:cNvSpPr>
            <p:nvPr/>
          </p:nvSpPr>
          <p:spPr bwMode="auto">
            <a:xfrm>
              <a:off x="3449639" y="2697163"/>
              <a:ext cx="1941513" cy="1409700"/>
            </a:xfrm>
            <a:custGeom>
              <a:avLst/>
              <a:gdLst>
                <a:gd name="T0" fmla="*/ 1240 w 3669"/>
                <a:gd name="T1" fmla="*/ 103 h 2664"/>
                <a:gd name="T2" fmla="*/ 1388 w 3669"/>
                <a:gd name="T3" fmla="*/ 196 h 2664"/>
                <a:gd name="T4" fmla="*/ 1710 w 3669"/>
                <a:gd name="T5" fmla="*/ 363 h 2664"/>
                <a:gd name="T6" fmla="*/ 1894 w 3669"/>
                <a:gd name="T7" fmla="*/ 428 h 2664"/>
                <a:gd name="T8" fmla="*/ 2087 w 3669"/>
                <a:gd name="T9" fmla="*/ 391 h 2664"/>
                <a:gd name="T10" fmla="*/ 2184 w 3669"/>
                <a:gd name="T11" fmla="*/ 323 h 2664"/>
                <a:gd name="T12" fmla="*/ 2370 w 3669"/>
                <a:gd name="T13" fmla="*/ 256 h 2664"/>
                <a:gd name="T14" fmla="*/ 2584 w 3669"/>
                <a:gd name="T15" fmla="*/ 282 h 2664"/>
                <a:gd name="T16" fmla="*/ 2750 w 3669"/>
                <a:gd name="T17" fmla="*/ 357 h 2664"/>
                <a:gd name="T18" fmla="*/ 2963 w 3669"/>
                <a:gd name="T19" fmla="*/ 531 h 2664"/>
                <a:gd name="T20" fmla="*/ 3092 w 3669"/>
                <a:gd name="T21" fmla="*/ 579 h 2664"/>
                <a:gd name="T22" fmla="*/ 3259 w 3669"/>
                <a:gd name="T23" fmla="*/ 746 h 2664"/>
                <a:gd name="T24" fmla="*/ 3440 w 3669"/>
                <a:gd name="T25" fmla="*/ 796 h 2664"/>
                <a:gd name="T26" fmla="*/ 3576 w 3669"/>
                <a:gd name="T27" fmla="*/ 978 h 2664"/>
                <a:gd name="T28" fmla="*/ 3610 w 3669"/>
                <a:gd name="T29" fmla="*/ 1196 h 2664"/>
                <a:gd name="T30" fmla="*/ 3635 w 3669"/>
                <a:gd name="T31" fmla="*/ 1422 h 2664"/>
                <a:gd name="T32" fmla="*/ 3570 w 3669"/>
                <a:gd name="T33" fmla="*/ 1553 h 2664"/>
                <a:gd name="T34" fmla="*/ 3442 w 3669"/>
                <a:gd name="T35" fmla="*/ 1609 h 2664"/>
                <a:gd name="T36" fmla="*/ 3340 w 3669"/>
                <a:gd name="T37" fmla="*/ 1742 h 2664"/>
                <a:gd name="T38" fmla="*/ 3353 w 3669"/>
                <a:gd name="T39" fmla="*/ 1960 h 2664"/>
                <a:gd name="T40" fmla="*/ 3135 w 3669"/>
                <a:gd name="T41" fmla="*/ 1925 h 2664"/>
                <a:gd name="T42" fmla="*/ 3049 w 3669"/>
                <a:gd name="T43" fmla="*/ 2034 h 2664"/>
                <a:gd name="T44" fmla="*/ 3167 w 3669"/>
                <a:gd name="T45" fmla="*/ 2137 h 2664"/>
                <a:gd name="T46" fmla="*/ 3218 w 3669"/>
                <a:gd name="T47" fmla="*/ 2267 h 2664"/>
                <a:gd name="T48" fmla="*/ 3138 w 3669"/>
                <a:gd name="T49" fmla="*/ 2315 h 2664"/>
                <a:gd name="T50" fmla="*/ 3085 w 3669"/>
                <a:gd name="T51" fmla="*/ 2354 h 2664"/>
                <a:gd name="T52" fmla="*/ 3006 w 3669"/>
                <a:gd name="T53" fmla="*/ 2486 h 2664"/>
                <a:gd name="T54" fmla="*/ 2863 w 3669"/>
                <a:gd name="T55" fmla="*/ 2447 h 2664"/>
                <a:gd name="T56" fmla="*/ 2779 w 3669"/>
                <a:gd name="T57" fmla="*/ 2428 h 2664"/>
                <a:gd name="T58" fmla="*/ 2642 w 3669"/>
                <a:gd name="T59" fmla="*/ 2389 h 2664"/>
                <a:gd name="T60" fmla="*/ 2428 w 3669"/>
                <a:gd name="T61" fmla="*/ 2175 h 2664"/>
                <a:gd name="T62" fmla="*/ 2363 w 3669"/>
                <a:gd name="T63" fmla="*/ 1955 h 2664"/>
                <a:gd name="T64" fmla="*/ 2145 w 3669"/>
                <a:gd name="T65" fmla="*/ 1944 h 2664"/>
                <a:gd name="T66" fmla="*/ 2130 w 3669"/>
                <a:gd name="T67" fmla="*/ 2108 h 2664"/>
                <a:gd name="T68" fmla="*/ 2067 w 3669"/>
                <a:gd name="T69" fmla="*/ 2256 h 2664"/>
                <a:gd name="T70" fmla="*/ 2035 w 3669"/>
                <a:gd name="T71" fmla="*/ 2397 h 2664"/>
                <a:gd name="T72" fmla="*/ 1984 w 3669"/>
                <a:gd name="T73" fmla="*/ 2482 h 2664"/>
                <a:gd name="T74" fmla="*/ 1876 w 3669"/>
                <a:gd name="T75" fmla="*/ 2567 h 2664"/>
                <a:gd name="T76" fmla="*/ 1809 w 3669"/>
                <a:gd name="T77" fmla="*/ 2619 h 2664"/>
                <a:gd name="T78" fmla="*/ 1730 w 3669"/>
                <a:gd name="T79" fmla="*/ 2626 h 2664"/>
                <a:gd name="T80" fmla="*/ 1650 w 3669"/>
                <a:gd name="T81" fmla="*/ 2661 h 2664"/>
                <a:gd name="T82" fmla="*/ 1476 w 3669"/>
                <a:gd name="T83" fmla="*/ 2602 h 2664"/>
                <a:gd name="T84" fmla="*/ 1429 w 3669"/>
                <a:gd name="T85" fmla="*/ 2460 h 2664"/>
                <a:gd name="T86" fmla="*/ 1333 w 3669"/>
                <a:gd name="T87" fmla="*/ 2339 h 2664"/>
                <a:gd name="T88" fmla="*/ 1171 w 3669"/>
                <a:gd name="T89" fmla="*/ 2285 h 2664"/>
                <a:gd name="T90" fmla="*/ 992 w 3669"/>
                <a:gd name="T91" fmla="*/ 2243 h 2664"/>
                <a:gd name="T92" fmla="*/ 836 w 3669"/>
                <a:gd name="T93" fmla="*/ 2197 h 2664"/>
                <a:gd name="T94" fmla="*/ 650 w 3669"/>
                <a:gd name="T95" fmla="*/ 2122 h 2664"/>
                <a:gd name="T96" fmla="*/ 520 w 3669"/>
                <a:gd name="T97" fmla="*/ 2019 h 2664"/>
                <a:gd name="T98" fmla="*/ 310 w 3669"/>
                <a:gd name="T99" fmla="*/ 1912 h 2664"/>
                <a:gd name="T100" fmla="*/ 61 w 3669"/>
                <a:gd name="T101" fmla="*/ 1708 h 2664"/>
                <a:gd name="T102" fmla="*/ 68 w 3669"/>
                <a:gd name="T103" fmla="*/ 1485 h 2664"/>
                <a:gd name="T104" fmla="*/ 90 w 3669"/>
                <a:gd name="T105" fmla="*/ 1274 h 2664"/>
                <a:gd name="T106" fmla="*/ 53 w 3669"/>
                <a:gd name="T107" fmla="*/ 1118 h 2664"/>
                <a:gd name="T108" fmla="*/ 156 w 3669"/>
                <a:gd name="T109" fmla="*/ 989 h 2664"/>
                <a:gd name="T110" fmla="*/ 150 w 3669"/>
                <a:gd name="T111" fmla="*/ 862 h 2664"/>
                <a:gd name="T112" fmla="*/ 280 w 3669"/>
                <a:gd name="T113" fmla="*/ 843 h 2664"/>
                <a:gd name="T114" fmla="*/ 517 w 3669"/>
                <a:gd name="T115" fmla="*/ 897 h 2664"/>
                <a:gd name="T116" fmla="*/ 470 w 3669"/>
                <a:gd name="T117" fmla="*/ 714 h 2664"/>
                <a:gd name="T118" fmla="*/ 636 w 3669"/>
                <a:gd name="T119" fmla="*/ 623 h 2664"/>
                <a:gd name="T120" fmla="*/ 518 w 3669"/>
                <a:gd name="T121" fmla="*/ 391 h 2664"/>
                <a:gd name="T122" fmla="*/ 426 w 3669"/>
                <a:gd name="T123" fmla="*/ 109 h 2664"/>
                <a:gd name="T124" fmla="*/ 596 w 3669"/>
                <a:gd name="T125" fmla="*/ 69 h 2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9" h="2664">
                  <a:moveTo>
                    <a:pt x="1037" y="32"/>
                  </a:moveTo>
                  <a:lnTo>
                    <a:pt x="1040" y="29"/>
                  </a:lnTo>
                  <a:lnTo>
                    <a:pt x="1043" y="21"/>
                  </a:lnTo>
                  <a:lnTo>
                    <a:pt x="1045" y="18"/>
                  </a:lnTo>
                  <a:lnTo>
                    <a:pt x="1060" y="17"/>
                  </a:lnTo>
                  <a:lnTo>
                    <a:pt x="1062" y="13"/>
                  </a:lnTo>
                  <a:lnTo>
                    <a:pt x="1065" y="3"/>
                  </a:lnTo>
                  <a:lnTo>
                    <a:pt x="1067" y="0"/>
                  </a:lnTo>
                  <a:lnTo>
                    <a:pt x="1163" y="11"/>
                  </a:lnTo>
                  <a:lnTo>
                    <a:pt x="1177" y="6"/>
                  </a:lnTo>
                  <a:lnTo>
                    <a:pt x="1192" y="14"/>
                  </a:lnTo>
                  <a:lnTo>
                    <a:pt x="1201" y="16"/>
                  </a:lnTo>
                  <a:lnTo>
                    <a:pt x="1222" y="10"/>
                  </a:lnTo>
                  <a:lnTo>
                    <a:pt x="1226" y="10"/>
                  </a:lnTo>
                  <a:lnTo>
                    <a:pt x="1229" y="12"/>
                  </a:lnTo>
                  <a:lnTo>
                    <a:pt x="1231" y="16"/>
                  </a:lnTo>
                  <a:lnTo>
                    <a:pt x="1235" y="40"/>
                  </a:lnTo>
                  <a:lnTo>
                    <a:pt x="1240" y="47"/>
                  </a:lnTo>
                  <a:lnTo>
                    <a:pt x="1241" y="50"/>
                  </a:lnTo>
                  <a:lnTo>
                    <a:pt x="1241" y="60"/>
                  </a:lnTo>
                  <a:lnTo>
                    <a:pt x="1236" y="91"/>
                  </a:lnTo>
                  <a:lnTo>
                    <a:pt x="1237" y="98"/>
                  </a:lnTo>
                  <a:lnTo>
                    <a:pt x="1240" y="103"/>
                  </a:lnTo>
                  <a:lnTo>
                    <a:pt x="1251" y="106"/>
                  </a:lnTo>
                  <a:lnTo>
                    <a:pt x="1271" y="107"/>
                  </a:lnTo>
                  <a:lnTo>
                    <a:pt x="1286" y="107"/>
                  </a:lnTo>
                  <a:lnTo>
                    <a:pt x="1301" y="105"/>
                  </a:lnTo>
                  <a:lnTo>
                    <a:pt x="1314" y="105"/>
                  </a:lnTo>
                  <a:lnTo>
                    <a:pt x="1339" y="109"/>
                  </a:lnTo>
                  <a:lnTo>
                    <a:pt x="1361" y="115"/>
                  </a:lnTo>
                  <a:lnTo>
                    <a:pt x="1370" y="123"/>
                  </a:lnTo>
                  <a:lnTo>
                    <a:pt x="1387" y="140"/>
                  </a:lnTo>
                  <a:lnTo>
                    <a:pt x="1398" y="141"/>
                  </a:lnTo>
                  <a:lnTo>
                    <a:pt x="1400" y="143"/>
                  </a:lnTo>
                  <a:lnTo>
                    <a:pt x="1401" y="148"/>
                  </a:lnTo>
                  <a:lnTo>
                    <a:pt x="1400" y="156"/>
                  </a:lnTo>
                  <a:lnTo>
                    <a:pt x="1399" y="160"/>
                  </a:lnTo>
                  <a:lnTo>
                    <a:pt x="1395" y="162"/>
                  </a:lnTo>
                  <a:lnTo>
                    <a:pt x="1392" y="163"/>
                  </a:lnTo>
                  <a:lnTo>
                    <a:pt x="1369" y="160"/>
                  </a:lnTo>
                  <a:lnTo>
                    <a:pt x="1367" y="162"/>
                  </a:lnTo>
                  <a:lnTo>
                    <a:pt x="1366" y="165"/>
                  </a:lnTo>
                  <a:lnTo>
                    <a:pt x="1366" y="173"/>
                  </a:lnTo>
                  <a:lnTo>
                    <a:pt x="1371" y="182"/>
                  </a:lnTo>
                  <a:lnTo>
                    <a:pt x="1380" y="190"/>
                  </a:lnTo>
                  <a:lnTo>
                    <a:pt x="1388" y="196"/>
                  </a:lnTo>
                  <a:lnTo>
                    <a:pt x="1400" y="198"/>
                  </a:lnTo>
                  <a:lnTo>
                    <a:pt x="1412" y="200"/>
                  </a:lnTo>
                  <a:lnTo>
                    <a:pt x="1500" y="204"/>
                  </a:lnTo>
                  <a:lnTo>
                    <a:pt x="1513" y="208"/>
                  </a:lnTo>
                  <a:lnTo>
                    <a:pt x="1519" y="211"/>
                  </a:lnTo>
                  <a:lnTo>
                    <a:pt x="1523" y="217"/>
                  </a:lnTo>
                  <a:lnTo>
                    <a:pt x="1524" y="228"/>
                  </a:lnTo>
                  <a:lnTo>
                    <a:pt x="1523" y="258"/>
                  </a:lnTo>
                  <a:lnTo>
                    <a:pt x="1529" y="280"/>
                  </a:lnTo>
                  <a:lnTo>
                    <a:pt x="1539" y="313"/>
                  </a:lnTo>
                  <a:lnTo>
                    <a:pt x="1541" y="323"/>
                  </a:lnTo>
                  <a:lnTo>
                    <a:pt x="1539" y="335"/>
                  </a:lnTo>
                  <a:lnTo>
                    <a:pt x="1542" y="339"/>
                  </a:lnTo>
                  <a:lnTo>
                    <a:pt x="1585" y="341"/>
                  </a:lnTo>
                  <a:lnTo>
                    <a:pt x="1613" y="344"/>
                  </a:lnTo>
                  <a:lnTo>
                    <a:pt x="1620" y="343"/>
                  </a:lnTo>
                  <a:lnTo>
                    <a:pt x="1631" y="338"/>
                  </a:lnTo>
                  <a:lnTo>
                    <a:pt x="1638" y="337"/>
                  </a:lnTo>
                  <a:lnTo>
                    <a:pt x="1643" y="338"/>
                  </a:lnTo>
                  <a:lnTo>
                    <a:pt x="1669" y="345"/>
                  </a:lnTo>
                  <a:lnTo>
                    <a:pt x="1686" y="342"/>
                  </a:lnTo>
                  <a:lnTo>
                    <a:pt x="1704" y="357"/>
                  </a:lnTo>
                  <a:lnTo>
                    <a:pt x="1710" y="363"/>
                  </a:lnTo>
                  <a:lnTo>
                    <a:pt x="1712" y="366"/>
                  </a:lnTo>
                  <a:lnTo>
                    <a:pt x="1714" y="380"/>
                  </a:lnTo>
                  <a:lnTo>
                    <a:pt x="1717" y="387"/>
                  </a:lnTo>
                  <a:lnTo>
                    <a:pt x="1720" y="392"/>
                  </a:lnTo>
                  <a:lnTo>
                    <a:pt x="1727" y="395"/>
                  </a:lnTo>
                  <a:lnTo>
                    <a:pt x="1737" y="389"/>
                  </a:lnTo>
                  <a:lnTo>
                    <a:pt x="1754" y="393"/>
                  </a:lnTo>
                  <a:lnTo>
                    <a:pt x="1767" y="395"/>
                  </a:lnTo>
                  <a:lnTo>
                    <a:pt x="1787" y="395"/>
                  </a:lnTo>
                  <a:lnTo>
                    <a:pt x="1798" y="393"/>
                  </a:lnTo>
                  <a:lnTo>
                    <a:pt x="1806" y="391"/>
                  </a:lnTo>
                  <a:lnTo>
                    <a:pt x="1815" y="387"/>
                  </a:lnTo>
                  <a:lnTo>
                    <a:pt x="1821" y="381"/>
                  </a:lnTo>
                  <a:lnTo>
                    <a:pt x="1830" y="372"/>
                  </a:lnTo>
                  <a:lnTo>
                    <a:pt x="1833" y="370"/>
                  </a:lnTo>
                  <a:lnTo>
                    <a:pt x="1837" y="370"/>
                  </a:lnTo>
                  <a:lnTo>
                    <a:pt x="1845" y="374"/>
                  </a:lnTo>
                  <a:lnTo>
                    <a:pt x="1854" y="380"/>
                  </a:lnTo>
                  <a:lnTo>
                    <a:pt x="1871" y="390"/>
                  </a:lnTo>
                  <a:lnTo>
                    <a:pt x="1873" y="396"/>
                  </a:lnTo>
                  <a:lnTo>
                    <a:pt x="1877" y="415"/>
                  </a:lnTo>
                  <a:lnTo>
                    <a:pt x="1881" y="423"/>
                  </a:lnTo>
                  <a:lnTo>
                    <a:pt x="1894" y="428"/>
                  </a:lnTo>
                  <a:lnTo>
                    <a:pt x="1902" y="439"/>
                  </a:lnTo>
                  <a:lnTo>
                    <a:pt x="1906" y="443"/>
                  </a:lnTo>
                  <a:lnTo>
                    <a:pt x="1929" y="450"/>
                  </a:lnTo>
                  <a:lnTo>
                    <a:pt x="1949" y="465"/>
                  </a:lnTo>
                  <a:lnTo>
                    <a:pt x="1960" y="470"/>
                  </a:lnTo>
                  <a:lnTo>
                    <a:pt x="1969" y="471"/>
                  </a:lnTo>
                  <a:lnTo>
                    <a:pt x="1976" y="469"/>
                  </a:lnTo>
                  <a:lnTo>
                    <a:pt x="1981" y="463"/>
                  </a:lnTo>
                  <a:lnTo>
                    <a:pt x="1989" y="449"/>
                  </a:lnTo>
                  <a:lnTo>
                    <a:pt x="1994" y="444"/>
                  </a:lnTo>
                  <a:lnTo>
                    <a:pt x="2002" y="438"/>
                  </a:lnTo>
                  <a:lnTo>
                    <a:pt x="2013" y="435"/>
                  </a:lnTo>
                  <a:lnTo>
                    <a:pt x="2026" y="441"/>
                  </a:lnTo>
                  <a:lnTo>
                    <a:pt x="2048" y="454"/>
                  </a:lnTo>
                  <a:lnTo>
                    <a:pt x="2062" y="462"/>
                  </a:lnTo>
                  <a:lnTo>
                    <a:pt x="2071" y="465"/>
                  </a:lnTo>
                  <a:lnTo>
                    <a:pt x="2071" y="453"/>
                  </a:lnTo>
                  <a:lnTo>
                    <a:pt x="2069" y="441"/>
                  </a:lnTo>
                  <a:lnTo>
                    <a:pt x="2070" y="432"/>
                  </a:lnTo>
                  <a:lnTo>
                    <a:pt x="2075" y="419"/>
                  </a:lnTo>
                  <a:lnTo>
                    <a:pt x="2085" y="405"/>
                  </a:lnTo>
                  <a:lnTo>
                    <a:pt x="2088" y="397"/>
                  </a:lnTo>
                  <a:lnTo>
                    <a:pt x="2087" y="391"/>
                  </a:lnTo>
                  <a:lnTo>
                    <a:pt x="2083" y="378"/>
                  </a:lnTo>
                  <a:lnTo>
                    <a:pt x="2082" y="376"/>
                  </a:lnTo>
                  <a:lnTo>
                    <a:pt x="2084" y="372"/>
                  </a:lnTo>
                  <a:lnTo>
                    <a:pt x="2087" y="371"/>
                  </a:lnTo>
                  <a:lnTo>
                    <a:pt x="2108" y="369"/>
                  </a:lnTo>
                  <a:lnTo>
                    <a:pt x="2108" y="363"/>
                  </a:lnTo>
                  <a:lnTo>
                    <a:pt x="2104" y="355"/>
                  </a:lnTo>
                  <a:lnTo>
                    <a:pt x="2103" y="348"/>
                  </a:lnTo>
                  <a:lnTo>
                    <a:pt x="2111" y="346"/>
                  </a:lnTo>
                  <a:lnTo>
                    <a:pt x="2115" y="334"/>
                  </a:lnTo>
                  <a:lnTo>
                    <a:pt x="2118" y="335"/>
                  </a:lnTo>
                  <a:lnTo>
                    <a:pt x="2124" y="344"/>
                  </a:lnTo>
                  <a:lnTo>
                    <a:pt x="2130" y="348"/>
                  </a:lnTo>
                  <a:lnTo>
                    <a:pt x="2141" y="355"/>
                  </a:lnTo>
                  <a:lnTo>
                    <a:pt x="2159" y="361"/>
                  </a:lnTo>
                  <a:lnTo>
                    <a:pt x="2162" y="361"/>
                  </a:lnTo>
                  <a:lnTo>
                    <a:pt x="2166" y="360"/>
                  </a:lnTo>
                  <a:lnTo>
                    <a:pt x="2179" y="356"/>
                  </a:lnTo>
                  <a:lnTo>
                    <a:pt x="2183" y="354"/>
                  </a:lnTo>
                  <a:lnTo>
                    <a:pt x="2186" y="345"/>
                  </a:lnTo>
                  <a:lnTo>
                    <a:pt x="2188" y="330"/>
                  </a:lnTo>
                  <a:lnTo>
                    <a:pt x="2187" y="325"/>
                  </a:lnTo>
                  <a:lnTo>
                    <a:pt x="2184" y="323"/>
                  </a:lnTo>
                  <a:lnTo>
                    <a:pt x="2183" y="319"/>
                  </a:lnTo>
                  <a:lnTo>
                    <a:pt x="2184" y="297"/>
                  </a:lnTo>
                  <a:lnTo>
                    <a:pt x="2182" y="281"/>
                  </a:lnTo>
                  <a:lnTo>
                    <a:pt x="2184" y="268"/>
                  </a:lnTo>
                  <a:lnTo>
                    <a:pt x="2182" y="241"/>
                  </a:lnTo>
                  <a:lnTo>
                    <a:pt x="2188" y="211"/>
                  </a:lnTo>
                  <a:lnTo>
                    <a:pt x="2193" y="187"/>
                  </a:lnTo>
                  <a:lnTo>
                    <a:pt x="2205" y="176"/>
                  </a:lnTo>
                  <a:lnTo>
                    <a:pt x="2201" y="164"/>
                  </a:lnTo>
                  <a:lnTo>
                    <a:pt x="2199" y="158"/>
                  </a:lnTo>
                  <a:lnTo>
                    <a:pt x="2200" y="153"/>
                  </a:lnTo>
                  <a:lnTo>
                    <a:pt x="2204" y="149"/>
                  </a:lnTo>
                  <a:lnTo>
                    <a:pt x="2219" y="148"/>
                  </a:lnTo>
                  <a:lnTo>
                    <a:pt x="2235" y="151"/>
                  </a:lnTo>
                  <a:lnTo>
                    <a:pt x="2275" y="167"/>
                  </a:lnTo>
                  <a:lnTo>
                    <a:pt x="2287" y="169"/>
                  </a:lnTo>
                  <a:lnTo>
                    <a:pt x="2290" y="172"/>
                  </a:lnTo>
                  <a:lnTo>
                    <a:pt x="2295" y="179"/>
                  </a:lnTo>
                  <a:lnTo>
                    <a:pt x="2308" y="183"/>
                  </a:lnTo>
                  <a:lnTo>
                    <a:pt x="2335" y="212"/>
                  </a:lnTo>
                  <a:lnTo>
                    <a:pt x="2366" y="239"/>
                  </a:lnTo>
                  <a:lnTo>
                    <a:pt x="2367" y="244"/>
                  </a:lnTo>
                  <a:lnTo>
                    <a:pt x="2370" y="256"/>
                  </a:lnTo>
                  <a:lnTo>
                    <a:pt x="2372" y="258"/>
                  </a:lnTo>
                  <a:lnTo>
                    <a:pt x="2375" y="261"/>
                  </a:lnTo>
                  <a:lnTo>
                    <a:pt x="2392" y="265"/>
                  </a:lnTo>
                  <a:lnTo>
                    <a:pt x="2406" y="273"/>
                  </a:lnTo>
                  <a:lnTo>
                    <a:pt x="2450" y="309"/>
                  </a:lnTo>
                  <a:lnTo>
                    <a:pt x="2454" y="313"/>
                  </a:lnTo>
                  <a:lnTo>
                    <a:pt x="2458" y="322"/>
                  </a:lnTo>
                  <a:lnTo>
                    <a:pt x="2461" y="324"/>
                  </a:lnTo>
                  <a:lnTo>
                    <a:pt x="2474" y="313"/>
                  </a:lnTo>
                  <a:lnTo>
                    <a:pt x="2494" y="301"/>
                  </a:lnTo>
                  <a:lnTo>
                    <a:pt x="2511" y="287"/>
                  </a:lnTo>
                  <a:lnTo>
                    <a:pt x="2515" y="282"/>
                  </a:lnTo>
                  <a:lnTo>
                    <a:pt x="2518" y="271"/>
                  </a:lnTo>
                  <a:lnTo>
                    <a:pt x="2523" y="248"/>
                  </a:lnTo>
                  <a:lnTo>
                    <a:pt x="2525" y="244"/>
                  </a:lnTo>
                  <a:lnTo>
                    <a:pt x="2540" y="246"/>
                  </a:lnTo>
                  <a:lnTo>
                    <a:pt x="2547" y="250"/>
                  </a:lnTo>
                  <a:lnTo>
                    <a:pt x="2551" y="257"/>
                  </a:lnTo>
                  <a:lnTo>
                    <a:pt x="2559" y="262"/>
                  </a:lnTo>
                  <a:lnTo>
                    <a:pt x="2558" y="272"/>
                  </a:lnTo>
                  <a:lnTo>
                    <a:pt x="2560" y="275"/>
                  </a:lnTo>
                  <a:lnTo>
                    <a:pt x="2566" y="279"/>
                  </a:lnTo>
                  <a:lnTo>
                    <a:pt x="2584" y="282"/>
                  </a:lnTo>
                  <a:lnTo>
                    <a:pt x="2593" y="289"/>
                  </a:lnTo>
                  <a:lnTo>
                    <a:pt x="2596" y="287"/>
                  </a:lnTo>
                  <a:lnTo>
                    <a:pt x="2601" y="281"/>
                  </a:lnTo>
                  <a:lnTo>
                    <a:pt x="2608" y="267"/>
                  </a:lnTo>
                  <a:lnTo>
                    <a:pt x="2617" y="262"/>
                  </a:lnTo>
                  <a:lnTo>
                    <a:pt x="2624" y="255"/>
                  </a:lnTo>
                  <a:lnTo>
                    <a:pt x="2630" y="244"/>
                  </a:lnTo>
                  <a:lnTo>
                    <a:pt x="2634" y="241"/>
                  </a:lnTo>
                  <a:lnTo>
                    <a:pt x="2639" y="241"/>
                  </a:lnTo>
                  <a:lnTo>
                    <a:pt x="2646" y="245"/>
                  </a:lnTo>
                  <a:lnTo>
                    <a:pt x="2652" y="250"/>
                  </a:lnTo>
                  <a:lnTo>
                    <a:pt x="2674" y="272"/>
                  </a:lnTo>
                  <a:lnTo>
                    <a:pt x="2687" y="283"/>
                  </a:lnTo>
                  <a:lnTo>
                    <a:pt x="2701" y="290"/>
                  </a:lnTo>
                  <a:lnTo>
                    <a:pt x="2722" y="298"/>
                  </a:lnTo>
                  <a:lnTo>
                    <a:pt x="2728" y="301"/>
                  </a:lnTo>
                  <a:lnTo>
                    <a:pt x="2728" y="303"/>
                  </a:lnTo>
                  <a:lnTo>
                    <a:pt x="2726" y="304"/>
                  </a:lnTo>
                  <a:lnTo>
                    <a:pt x="2715" y="315"/>
                  </a:lnTo>
                  <a:lnTo>
                    <a:pt x="2714" y="317"/>
                  </a:lnTo>
                  <a:lnTo>
                    <a:pt x="2715" y="319"/>
                  </a:lnTo>
                  <a:lnTo>
                    <a:pt x="2743" y="353"/>
                  </a:lnTo>
                  <a:lnTo>
                    <a:pt x="2750" y="357"/>
                  </a:lnTo>
                  <a:lnTo>
                    <a:pt x="2763" y="364"/>
                  </a:lnTo>
                  <a:lnTo>
                    <a:pt x="2771" y="371"/>
                  </a:lnTo>
                  <a:lnTo>
                    <a:pt x="2786" y="395"/>
                  </a:lnTo>
                  <a:lnTo>
                    <a:pt x="2800" y="417"/>
                  </a:lnTo>
                  <a:lnTo>
                    <a:pt x="2816" y="430"/>
                  </a:lnTo>
                  <a:lnTo>
                    <a:pt x="2819" y="435"/>
                  </a:lnTo>
                  <a:lnTo>
                    <a:pt x="2819" y="445"/>
                  </a:lnTo>
                  <a:lnTo>
                    <a:pt x="2822" y="450"/>
                  </a:lnTo>
                  <a:lnTo>
                    <a:pt x="2833" y="463"/>
                  </a:lnTo>
                  <a:lnTo>
                    <a:pt x="2845" y="480"/>
                  </a:lnTo>
                  <a:lnTo>
                    <a:pt x="2857" y="490"/>
                  </a:lnTo>
                  <a:lnTo>
                    <a:pt x="2891" y="518"/>
                  </a:lnTo>
                  <a:lnTo>
                    <a:pt x="2914" y="532"/>
                  </a:lnTo>
                  <a:lnTo>
                    <a:pt x="2954" y="553"/>
                  </a:lnTo>
                  <a:lnTo>
                    <a:pt x="2956" y="555"/>
                  </a:lnTo>
                  <a:lnTo>
                    <a:pt x="2960" y="563"/>
                  </a:lnTo>
                  <a:lnTo>
                    <a:pt x="2961" y="565"/>
                  </a:lnTo>
                  <a:lnTo>
                    <a:pt x="2968" y="568"/>
                  </a:lnTo>
                  <a:lnTo>
                    <a:pt x="2972" y="567"/>
                  </a:lnTo>
                  <a:lnTo>
                    <a:pt x="2973" y="558"/>
                  </a:lnTo>
                  <a:lnTo>
                    <a:pt x="2972" y="542"/>
                  </a:lnTo>
                  <a:lnTo>
                    <a:pt x="2971" y="539"/>
                  </a:lnTo>
                  <a:lnTo>
                    <a:pt x="2963" y="531"/>
                  </a:lnTo>
                  <a:lnTo>
                    <a:pt x="2962" y="513"/>
                  </a:lnTo>
                  <a:lnTo>
                    <a:pt x="2959" y="507"/>
                  </a:lnTo>
                  <a:lnTo>
                    <a:pt x="2950" y="500"/>
                  </a:lnTo>
                  <a:lnTo>
                    <a:pt x="2948" y="496"/>
                  </a:lnTo>
                  <a:lnTo>
                    <a:pt x="2950" y="490"/>
                  </a:lnTo>
                  <a:lnTo>
                    <a:pt x="2953" y="485"/>
                  </a:lnTo>
                  <a:lnTo>
                    <a:pt x="2971" y="473"/>
                  </a:lnTo>
                  <a:lnTo>
                    <a:pt x="2984" y="493"/>
                  </a:lnTo>
                  <a:lnTo>
                    <a:pt x="2995" y="504"/>
                  </a:lnTo>
                  <a:lnTo>
                    <a:pt x="2997" y="510"/>
                  </a:lnTo>
                  <a:lnTo>
                    <a:pt x="2998" y="521"/>
                  </a:lnTo>
                  <a:lnTo>
                    <a:pt x="3001" y="526"/>
                  </a:lnTo>
                  <a:lnTo>
                    <a:pt x="3003" y="528"/>
                  </a:lnTo>
                  <a:lnTo>
                    <a:pt x="3008" y="529"/>
                  </a:lnTo>
                  <a:lnTo>
                    <a:pt x="3011" y="532"/>
                  </a:lnTo>
                  <a:lnTo>
                    <a:pt x="3013" y="535"/>
                  </a:lnTo>
                  <a:lnTo>
                    <a:pt x="3017" y="549"/>
                  </a:lnTo>
                  <a:lnTo>
                    <a:pt x="3022" y="555"/>
                  </a:lnTo>
                  <a:lnTo>
                    <a:pt x="3032" y="556"/>
                  </a:lnTo>
                  <a:lnTo>
                    <a:pt x="3043" y="560"/>
                  </a:lnTo>
                  <a:lnTo>
                    <a:pt x="3060" y="560"/>
                  </a:lnTo>
                  <a:lnTo>
                    <a:pt x="3083" y="576"/>
                  </a:lnTo>
                  <a:lnTo>
                    <a:pt x="3092" y="579"/>
                  </a:lnTo>
                  <a:lnTo>
                    <a:pt x="3115" y="581"/>
                  </a:lnTo>
                  <a:lnTo>
                    <a:pt x="3123" y="583"/>
                  </a:lnTo>
                  <a:lnTo>
                    <a:pt x="3128" y="590"/>
                  </a:lnTo>
                  <a:lnTo>
                    <a:pt x="3136" y="610"/>
                  </a:lnTo>
                  <a:lnTo>
                    <a:pt x="3141" y="616"/>
                  </a:lnTo>
                  <a:lnTo>
                    <a:pt x="3167" y="612"/>
                  </a:lnTo>
                  <a:lnTo>
                    <a:pt x="3164" y="628"/>
                  </a:lnTo>
                  <a:lnTo>
                    <a:pt x="3155" y="652"/>
                  </a:lnTo>
                  <a:lnTo>
                    <a:pt x="3155" y="658"/>
                  </a:lnTo>
                  <a:lnTo>
                    <a:pt x="3157" y="664"/>
                  </a:lnTo>
                  <a:lnTo>
                    <a:pt x="3159" y="666"/>
                  </a:lnTo>
                  <a:lnTo>
                    <a:pt x="3168" y="664"/>
                  </a:lnTo>
                  <a:lnTo>
                    <a:pt x="3170" y="665"/>
                  </a:lnTo>
                  <a:lnTo>
                    <a:pt x="3212" y="695"/>
                  </a:lnTo>
                  <a:lnTo>
                    <a:pt x="3215" y="699"/>
                  </a:lnTo>
                  <a:lnTo>
                    <a:pt x="3218" y="711"/>
                  </a:lnTo>
                  <a:lnTo>
                    <a:pt x="3220" y="718"/>
                  </a:lnTo>
                  <a:lnTo>
                    <a:pt x="3223" y="724"/>
                  </a:lnTo>
                  <a:lnTo>
                    <a:pt x="3227" y="728"/>
                  </a:lnTo>
                  <a:lnTo>
                    <a:pt x="3230" y="730"/>
                  </a:lnTo>
                  <a:lnTo>
                    <a:pt x="3238" y="731"/>
                  </a:lnTo>
                  <a:lnTo>
                    <a:pt x="3242" y="733"/>
                  </a:lnTo>
                  <a:lnTo>
                    <a:pt x="3259" y="746"/>
                  </a:lnTo>
                  <a:lnTo>
                    <a:pt x="3268" y="751"/>
                  </a:lnTo>
                  <a:lnTo>
                    <a:pt x="3272" y="750"/>
                  </a:lnTo>
                  <a:lnTo>
                    <a:pt x="3275" y="747"/>
                  </a:lnTo>
                  <a:lnTo>
                    <a:pt x="3284" y="733"/>
                  </a:lnTo>
                  <a:lnTo>
                    <a:pt x="3291" y="728"/>
                  </a:lnTo>
                  <a:lnTo>
                    <a:pt x="3303" y="725"/>
                  </a:lnTo>
                  <a:lnTo>
                    <a:pt x="3316" y="728"/>
                  </a:lnTo>
                  <a:lnTo>
                    <a:pt x="3322" y="734"/>
                  </a:lnTo>
                  <a:lnTo>
                    <a:pt x="3336" y="752"/>
                  </a:lnTo>
                  <a:lnTo>
                    <a:pt x="3347" y="764"/>
                  </a:lnTo>
                  <a:lnTo>
                    <a:pt x="3349" y="769"/>
                  </a:lnTo>
                  <a:lnTo>
                    <a:pt x="3351" y="779"/>
                  </a:lnTo>
                  <a:lnTo>
                    <a:pt x="3355" y="785"/>
                  </a:lnTo>
                  <a:lnTo>
                    <a:pt x="3376" y="791"/>
                  </a:lnTo>
                  <a:lnTo>
                    <a:pt x="3380" y="794"/>
                  </a:lnTo>
                  <a:lnTo>
                    <a:pt x="3384" y="803"/>
                  </a:lnTo>
                  <a:lnTo>
                    <a:pt x="3388" y="806"/>
                  </a:lnTo>
                  <a:lnTo>
                    <a:pt x="3390" y="805"/>
                  </a:lnTo>
                  <a:lnTo>
                    <a:pt x="3407" y="793"/>
                  </a:lnTo>
                  <a:lnTo>
                    <a:pt x="3429" y="791"/>
                  </a:lnTo>
                  <a:lnTo>
                    <a:pt x="3435" y="791"/>
                  </a:lnTo>
                  <a:lnTo>
                    <a:pt x="3437" y="792"/>
                  </a:lnTo>
                  <a:lnTo>
                    <a:pt x="3440" y="796"/>
                  </a:lnTo>
                  <a:lnTo>
                    <a:pt x="3445" y="816"/>
                  </a:lnTo>
                  <a:lnTo>
                    <a:pt x="3451" y="826"/>
                  </a:lnTo>
                  <a:lnTo>
                    <a:pt x="3454" y="829"/>
                  </a:lnTo>
                  <a:lnTo>
                    <a:pt x="3465" y="836"/>
                  </a:lnTo>
                  <a:lnTo>
                    <a:pt x="3470" y="843"/>
                  </a:lnTo>
                  <a:lnTo>
                    <a:pt x="3470" y="848"/>
                  </a:lnTo>
                  <a:lnTo>
                    <a:pt x="3467" y="858"/>
                  </a:lnTo>
                  <a:lnTo>
                    <a:pt x="3460" y="877"/>
                  </a:lnTo>
                  <a:lnTo>
                    <a:pt x="3461" y="881"/>
                  </a:lnTo>
                  <a:lnTo>
                    <a:pt x="3464" y="882"/>
                  </a:lnTo>
                  <a:lnTo>
                    <a:pt x="3477" y="887"/>
                  </a:lnTo>
                  <a:lnTo>
                    <a:pt x="3483" y="891"/>
                  </a:lnTo>
                  <a:lnTo>
                    <a:pt x="3487" y="894"/>
                  </a:lnTo>
                  <a:lnTo>
                    <a:pt x="3489" y="897"/>
                  </a:lnTo>
                  <a:lnTo>
                    <a:pt x="3490" y="908"/>
                  </a:lnTo>
                  <a:lnTo>
                    <a:pt x="3506" y="915"/>
                  </a:lnTo>
                  <a:lnTo>
                    <a:pt x="3530" y="932"/>
                  </a:lnTo>
                  <a:lnTo>
                    <a:pt x="3537" y="950"/>
                  </a:lnTo>
                  <a:lnTo>
                    <a:pt x="3543" y="959"/>
                  </a:lnTo>
                  <a:lnTo>
                    <a:pt x="3548" y="964"/>
                  </a:lnTo>
                  <a:lnTo>
                    <a:pt x="3562" y="969"/>
                  </a:lnTo>
                  <a:lnTo>
                    <a:pt x="3566" y="973"/>
                  </a:lnTo>
                  <a:lnTo>
                    <a:pt x="3576" y="978"/>
                  </a:lnTo>
                  <a:lnTo>
                    <a:pt x="3587" y="1000"/>
                  </a:lnTo>
                  <a:lnTo>
                    <a:pt x="3587" y="1003"/>
                  </a:lnTo>
                  <a:lnTo>
                    <a:pt x="3583" y="1005"/>
                  </a:lnTo>
                  <a:lnTo>
                    <a:pt x="3553" y="1000"/>
                  </a:lnTo>
                  <a:lnTo>
                    <a:pt x="3550" y="1001"/>
                  </a:lnTo>
                  <a:lnTo>
                    <a:pt x="3548" y="1006"/>
                  </a:lnTo>
                  <a:lnTo>
                    <a:pt x="3546" y="1027"/>
                  </a:lnTo>
                  <a:lnTo>
                    <a:pt x="3544" y="1034"/>
                  </a:lnTo>
                  <a:lnTo>
                    <a:pt x="3539" y="1038"/>
                  </a:lnTo>
                  <a:lnTo>
                    <a:pt x="3542" y="1043"/>
                  </a:lnTo>
                  <a:lnTo>
                    <a:pt x="3557" y="1060"/>
                  </a:lnTo>
                  <a:lnTo>
                    <a:pt x="3581" y="1092"/>
                  </a:lnTo>
                  <a:lnTo>
                    <a:pt x="3594" y="1119"/>
                  </a:lnTo>
                  <a:lnTo>
                    <a:pt x="3568" y="1134"/>
                  </a:lnTo>
                  <a:lnTo>
                    <a:pt x="3565" y="1139"/>
                  </a:lnTo>
                  <a:lnTo>
                    <a:pt x="3565" y="1146"/>
                  </a:lnTo>
                  <a:lnTo>
                    <a:pt x="3568" y="1155"/>
                  </a:lnTo>
                  <a:lnTo>
                    <a:pt x="3572" y="1162"/>
                  </a:lnTo>
                  <a:lnTo>
                    <a:pt x="3589" y="1175"/>
                  </a:lnTo>
                  <a:lnTo>
                    <a:pt x="3596" y="1184"/>
                  </a:lnTo>
                  <a:lnTo>
                    <a:pt x="3606" y="1187"/>
                  </a:lnTo>
                  <a:lnTo>
                    <a:pt x="3611" y="1191"/>
                  </a:lnTo>
                  <a:lnTo>
                    <a:pt x="3610" y="1196"/>
                  </a:lnTo>
                  <a:lnTo>
                    <a:pt x="3604" y="1202"/>
                  </a:lnTo>
                  <a:lnTo>
                    <a:pt x="3602" y="1207"/>
                  </a:lnTo>
                  <a:lnTo>
                    <a:pt x="3607" y="1216"/>
                  </a:lnTo>
                  <a:lnTo>
                    <a:pt x="3605" y="1229"/>
                  </a:lnTo>
                  <a:lnTo>
                    <a:pt x="3605" y="1232"/>
                  </a:lnTo>
                  <a:lnTo>
                    <a:pt x="3617" y="1249"/>
                  </a:lnTo>
                  <a:lnTo>
                    <a:pt x="3614" y="1255"/>
                  </a:lnTo>
                  <a:lnTo>
                    <a:pt x="3616" y="1269"/>
                  </a:lnTo>
                  <a:lnTo>
                    <a:pt x="3620" y="1272"/>
                  </a:lnTo>
                  <a:lnTo>
                    <a:pt x="3643" y="1287"/>
                  </a:lnTo>
                  <a:lnTo>
                    <a:pt x="3669" y="1314"/>
                  </a:lnTo>
                  <a:lnTo>
                    <a:pt x="3656" y="1319"/>
                  </a:lnTo>
                  <a:lnTo>
                    <a:pt x="3647" y="1325"/>
                  </a:lnTo>
                  <a:lnTo>
                    <a:pt x="3638" y="1336"/>
                  </a:lnTo>
                  <a:lnTo>
                    <a:pt x="3634" y="1345"/>
                  </a:lnTo>
                  <a:lnTo>
                    <a:pt x="3630" y="1349"/>
                  </a:lnTo>
                  <a:lnTo>
                    <a:pt x="3621" y="1353"/>
                  </a:lnTo>
                  <a:lnTo>
                    <a:pt x="3620" y="1354"/>
                  </a:lnTo>
                  <a:lnTo>
                    <a:pt x="3620" y="1359"/>
                  </a:lnTo>
                  <a:lnTo>
                    <a:pt x="3639" y="1366"/>
                  </a:lnTo>
                  <a:lnTo>
                    <a:pt x="3641" y="1369"/>
                  </a:lnTo>
                  <a:lnTo>
                    <a:pt x="3640" y="1397"/>
                  </a:lnTo>
                  <a:lnTo>
                    <a:pt x="3635" y="1422"/>
                  </a:lnTo>
                  <a:lnTo>
                    <a:pt x="3632" y="1431"/>
                  </a:lnTo>
                  <a:lnTo>
                    <a:pt x="3628" y="1433"/>
                  </a:lnTo>
                  <a:lnTo>
                    <a:pt x="3624" y="1434"/>
                  </a:lnTo>
                  <a:lnTo>
                    <a:pt x="3599" y="1431"/>
                  </a:lnTo>
                  <a:lnTo>
                    <a:pt x="3585" y="1432"/>
                  </a:lnTo>
                  <a:lnTo>
                    <a:pt x="3578" y="1436"/>
                  </a:lnTo>
                  <a:lnTo>
                    <a:pt x="3566" y="1444"/>
                  </a:lnTo>
                  <a:lnTo>
                    <a:pt x="3563" y="1448"/>
                  </a:lnTo>
                  <a:lnTo>
                    <a:pt x="3561" y="1452"/>
                  </a:lnTo>
                  <a:lnTo>
                    <a:pt x="3560" y="1459"/>
                  </a:lnTo>
                  <a:lnTo>
                    <a:pt x="3563" y="1473"/>
                  </a:lnTo>
                  <a:lnTo>
                    <a:pt x="3587" y="1515"/>
                  </a:lnTo>
                  <a:lnTo>
                    <a:pt x="3592" y="1528"/>
                  </a:lnTo>
                  <a:lnTo>
                    <a:pt x="3592" y="1532"/>
                  </a:lnTo>
                  <a:lnTo>
                    <a:pt x="3581" y="1534"/>
                  </a:lnTo>
                  <a:lnTo>
                    <a:pt x="3578" y="1537"/>
                  </a:lnTo>
                  <a:lnTo>
                    <a:pt x="3579" y="1541"/>
                  </a:lnTo>
                  <a:lnTo>
                    <a:pt x="3584" y="1546"/>
                  </a:lnTo>
                  <a:lnTo>
                    <a:pt x="3584" y="1549"/>
                  </a:lnTo>
                  <a:lnTo>
                    <a:pt x="3582" y="1553"/>
                  </a:lnTo>
                  <a:lnTo>
                    <a:pt x="3578" y="1556"/>
                  </a:lnTo>
                  <a:lnTo>
                    <a:pt x="3573" y="1557"/>
                  </a:lnTo>
                  <a:lnTo>
                    <a:pt x="3570" y="1553"/>
                  </a:lnTo>
                  <a:lnTo>
                    <a:pt x="3565" y="1545"/>
                  </a:lnTo>
                  <a:lnTo>
                    <a:pt x="3561" y="1542"/>
                  </a:lnTo>
                  <a:lnTo>
                    <a:pt x="3532" y="1530"/>
                  </a:lnTo>
                  <a:lnTo>
                    <a:pt x="3512" y="1519"/>
                  </a:lnTo>
                  <a:lnTo>
                    <a:pt x="3508" y="1517"/>
                  </a:lnTo>
                  <a:lnTo>
                    <a:pt x="3503" y="1528"/>
                  </a:lnTo>
                  <a:lnTo>
                    <a:pt x="3497" y="1539"/>
                  </a:lnTo>
                  <a:lnTo>
                    <a:pt x="3492" y="1562"/>
                  </a:lnTo>
                  <a:lnTo>
                    <a:pt x="3490" y="1563"/>
                  </a:lnTo>
                  <a:lnTo>
                    <a:pt x="3484" y="1564"/>
                  </a:lnTo>
                  <a:lnTo>
                    <a:pt x="3479" y="1569"/>
                  </a:lnTo>
                  <a:lnTo>
                    <a:pt x="3475" y="1569"/>
                  </a:lnTo>
                  <a:lnTo>
                    <a:pt x="3463" y="1564"/>
                  </a:lnTo>
                  <a:lnTo>
                    <a:pt x="3458" y="1564"/>
                  </a:lnTo>
                  <a:lnTo>
                    <a:pt x="3456" y="1566"/>
                  </a:lnTo>
                  <a:lnTo>
                    <a:pt x="3451" y="1573"/>
                  </a:lnTo>
                  <a:lnTo>
                    <a:pt x="3447" y="1579"/>
                  </a:lnTo>
                  <a:lnTo>
                    <a:pt x="3454" y="1596"/>
                  </a:lnTo>
                  <a:lnTo>
                    <a:pt x="3451" y="1599"/>
                  </a:lnTo>
                  <a:lnTo>
                    <a:pt x="3442" y="1602"/>
                  </a:lnTo>
                  <a:lnTo>
                    <a:pt x="3439" y="1604"/>
                  </a:lnTo>
                  <a:lnTo>
                    <a:pt x="3440" y="1606"/>
                  </a:lnTo>
                  <a:lnTo>
                    <a:pt x="3442" y="1609"/>
                  </a:lnTo>
                  <a:lnTo>
                    <a:pt x="3456" y="1611"/>
                  </a:lnTo>
                  <a:lnTo>
                    <a:pt x="3459" y="1613"/>
                  </a:lnTo>
                  <a:lnTo>
                    <a:pt x="3462" y="1631"/>
                  </a:lnTo>
                  <a:lnTo>
                    <a:pt x="3466" y="1637"/>
                  </a:lnTo>
                  <a:lnTo>
                    <a:pt x="3467" y="1642"/>
                  </a:lnTo>
                  <a:lnTo>
                    <a:pt x="3467" y="1648"/>
                  </a:lnTo>
                  <a:lnTo>
                    <a:pt x="3465" y="1652"/>
                  </a:lnTo>
                  <a:lnTo>
                    <a:pt x="3461" y="1654"/>
                  </a:lnTo>
                  <a:lnTo>
                    <a:pt x="3457" y="1653"/>
                  </a:lnTo>
                  <a:lnTo>
                    <a:pt x="3453" y="1656"/>
                  </a:lnTo>
                  <a:lnTo>
                    <a:pt x="3448" y="1660"/>
                  </a:lnTo>
                  <a:lnTo>
                    <a:pt x="3437" y="1678"/>
                  </a:lnTo>
                  <a:lnTo>
                    <a:pt x="3433" y="1682"/>
                  </a:lnTo>
                  <a:lnTo>
                    <a:pt x="3426" y="1684"/>
                  </a:lnTo>
                  <a:lnTo>
                    <a:pt x="3419" y="1683"/>
                  </a:lnTo>
                  <a:lnTo>
                    <a:pt x="3415" y="1684"/>
                  </a:lnTo>
                  <a:lnTo>
                    <a:pt x="3404" y="1690"/>
                  </a:lnTo>
                  <a:lnTo>
                    <a:pt x="3388" y="1696"/>
                  </a:lnTo>
                  <a:lnTo>
                    <a:pt x="3377" y="1710"/>
                  </a:lnTo>
                  <a:lnTo>
                    <a:pt x="3368" y="1725"/>
                  </a:lnTo>
                  <a:lnTo>
                    <a:pt x="3367" y="1738"/>
                  </a:lnTo>
                  <a:lnTo>
                    <a:pt x="3361" y="1740"/>
                  </a:lnTo>
                  <a:lnTo>
                    <a:pt x="3340" y="1742"/>
                  </a:lnTo>
                  <a:lnTo>
                    <a:pt x="3336" y="1743"/>
                  </a:lnTo>
                  <a:lnTo>
                    <a:pt x="3332" y="1760"/>
                  </a:lnTo>
                  <a:lnTo>
                    <a:pt x="3331" y="1772"/>
                  </a:lnTo>
                  <a:lnTo>
                    <a:pt x="3330" y="1820"/>
                  </a:lnTo>
                  <a:lnTo>
                    <a:pt x="3332" y="1846"/>
                  </a:lnTo>
                  <a:lnTo>
                    <a:pt x="3336" y="1852"/>
                  </a:lnTo>
                  <a:lnTo>
                    <a:pt x="3343" y="1857"/>
                  </a:lnTo>
                  <a:lnTo>
                    <a:pt x="3348" y="1861"/>
                  </a:lnTo>
                  <a:lnTo>
                    <a:pt x="3372" y="1866"/>
                  </a:lnTo>
                  <a:lnTo>
                    <a:pt x="3382" y="1874"/>
                  </a:lnTo>
                  <a:lnTo>
                    <a:pt x="3401" y="1912"/>
                  </a:lnTo>
                  <a:lnTo>
                    <a:pt x="3405" y="1926"/>
                  </a:lnTo>
                  <a:lnTo>
                    <a:pt x="3404" y="1929"/>
                  </a:lnTo>
                  <a:lnTo>
                    <a:pt x="3401" y="1930"/>
                  </a:lnTo>
                  <a:lnTo>
                    <a:pt x="3391" y="1927"/>
                  </a:lnTo>
                  <a:lnTo>
                    <a:pt x="3387" y="1927"/>
                  </a:lnTo>
                  <a:lnTo>
                    <a:pt x="3384" y="1932"/>
                  </a:lnTo>
                  <a:lnTo>
                    <a:pt x="3380" y="1941"/>
                  </a:lnTo>
                  <a:lnTo>
                    <a:pt x="3375" y="1945"/>
                  </a:lnTo>
                  <a:lnTo>
                    <a:pt x="3359" y="1945"/>
                  </a:lnTo>
                  <a:lnTo>
                    <a:pt x="3355" y="1946"/>
                  </a:lnTo>
                  <a:lnTo>
                    <a:pt x="3352" y="1953"/>
                  </a:lnTo>
                  <a:lnTo>
                    <a:pt x="3353" y="1960"/>
                  </a:lnTo>
                  <a:lnTo>
                    <a:pt x="3352" y="1963"/>
                  </a:lnTo>
                  <a:lnTo>
                    <a:pt x="3351" y="1964"/>
                  </a:lnTo>
                  <a:lnTo>
                    <a:pt x="3340" y="1963"/>
                  </a:lnTo>
                  <a:lnTo>
                    <a:pt x="3340" y="1966"/>
                  </a:lnTo>
                  <a:lnTo>
                    <a:pt x="3340" y="1975"/>
                  </a:lnTo>
                  <a:lnTo>
                    <a:pt x="3339" y="1979"/>
                  </a:lnTo>
                  <a:lnTo>
                    <a:pt x="3335" y="1986"/>
                  </a:lnTo>
                  <a:lnTo>
                    <a:pt x="3326" y="1991"/>
                  </a:lnTo>
                  <a:lnTo>
                    <a:pt x="3325" y="1994"/>
                  </a:lnTo>
                  <a:lnTo>
                    <a:pt x="3322" y="2002"/>
                  </a:lnTo>
                  <a:lnTo>
                    <a:pt x="3319" y="2004"/>
                  </a:lnTo>
                  <a:lnTo>
                    <a:pt x="3313" y="2001"/>
                  </a:lnTo>
                  <a:lnTo>
                    <a:pt x="3295" y="1988"/>
                  </a:lnTo>
                  <a:lnTo>
                    <a:pt x="3283" y="1994"/>
                  </a:lnTo>
                  <a:lnTo>
                    <a:pt x="3273" y="1999"/>
                  </a:lnTo>
                  <a:lnTo>
                    <a:pt x="3261" y="2007"/>
                  </a:lnTo>
                  <a:lnTo>
                    <a:pt x="3243" y="1992"/>
                  </a:lnTo>
                  <a:lnTo>
                    <a:pt x="3233" y="1978"/>
                  </a:lnTo>
                  <a:lnTo>
                    <a:pt x="3217" y="1963"/>
                  </a:lnTo>
                  <a:lnTo>
                    <a:pt x="3211" y="1961"/>
                  </a:lnTo>
                  <a:lnTo>
                    <a:pt x="3175" y="1950"/>
                  </a:lnTo>
                  <a:lnTo>
                    <a:pt x="3157" y="1939"/>
                  </a:lnTo>
                  <a:lnTo>
                    <a:pt x="3135" y="1925"/>
                  </a:lnTo>
                  <a:lnTo>
                    <a:pt x="3121" y="1917"/>
                  </a:lnTo>
                  <a:lnTo>
                    <a:pt x="3110" y="1908"/>
                  </a:lnTo>
                  <a:lnTo>
                    <a:pt x="3105" y="1908"/>
                  </a:lnTo>
                  <a:lnTo>
                    <a:pt x="3097" y="1910"/>
                  </a:lnTo>
                  <a:lnTo>
                    <a:pt x="3087" y="1908"/>
                  </a:lnTo>
                  <a:lnTo>
                    <a:pt x="3077" y="1903"/>
                  </a:lnTo>
                  <a:lnTo>
                    <a:pt x="3057" y="1889"/>
                  </a:lnTo>
                  <a:lnTo>
                    <a:pt x="3047" y="1887"/>
                  </a:lnTo>
                  <a:lnTo>
                    <a:pt x="3044" y="1887"/>
                  </a:lnTo>
                  <a:lnTo>
                    <a:pt x="3038" y="1893"/>
                  </a:lnTo>
                  <a:lnTo>
                    <a:pt x="3032" y="1897"/>
                  </a:lnTo>
                  <a:lnTo>
                    <a:pt x="3020" y="1899"/>
                  </a:lnTo>
                  <a:lnTo>
                    <a:pt x="3016" y="1901"/>
                  </a:lnTo>
                  <a:lnTo>
                    <a:pt x="3015" y="1906"/>
                  </a:lnTo>
                  <a:lnTo>
                    <a:pt x="3015" y="1925"/>
                  </a:lnTo>
                  <a:lnTo>
                    <a:pt x="3014" y="1936"/>
                  </a:lnTo>
                  <a:lnTo>
                    <a:pt x="3005" y="1944"/>
                  </a:lnTo>
                  <a:lnTo>
                    <a:pt x="3002" y="1951"/>
                  </a:lnTo>
                  <a:lnTo>
                    <a:pt x="3025" y="1982"/>
                  </a:lnTo>
                  <a:lnTo>
                    <a:pt x="3029" y="1991"/>
                  </a:lnTo>
                  <a:lnTo>
                    <a:pt x="3031" y="2001"/>
                  </a:lnTo>
                  <a:lnTo>
                    <a:pt x="3038" y="2009"/>
                  </a:lnTo>
                  <a:lnTo>
                    <a:pt x="3049" y="2034"/>
                  </a:lnTo>
                  <a:lnTo>
                    <a:pt x="3061" y="2054"/>
                  </a:lnTo>
                  <a:lnTo>
                    <a:pt x="3066" y="2061"/>
                  </a:lnTo>
                  <a:lnTo>
                    <a:pt x="3070" y="2067"/>
                  </a:lnTo>
                  <a:lnTo>
                    <a:pt x="3074" y="2069"/>
                  </a:lnTo>
                  <a:lnTo>
                    <a:pt x="3089" y="2073"/>
                  </a:lnTo>
                  <a:lnTo>
                    <a:pt x="3092" y="2074"/>
                  </a:lnTo>
                  <a:lnTo>
                    <a:pt x="3098" y="2085"/>
                  </a:lnTo>
                  <a:lnTo>
                    <a:pt x="3109" y="2102"/>
                  </a:lnTo>
                  <a:lnTo>
                    <a:pt x="3105" y="2117"/>
                  </a:lnTo>
                  <a:lnTo>
                    <a:pt x="3100" y="2126"/>
                  </a:lnTo>
                  <a:lnTo>
                    <a:pt x="3099" y="2133"/>
                  </a:lnTo>
                  <a:lnTo>
                    <a:pt x="3098" y="2144"/>
                  </a:lnTo>
                  <a:lnTo>
                    <a:pt x="3100" y="2153"/>
                  </a:lnTo>
                  <a:lnTo>
                    <a:pt x="3101" y="2153"/>
                  </a:lnTo>
                  <a:lnTo>
                    <a:pt x="3102" y="2153"/>
                  </a:lnTo>
                  <a:lnTo>
                    <a:pt x="3113" y="2143"/>
                  </a:lnTo>
                  <a:lnTo>
                    <a:pt x="3117" y="2142"/>
                  </a:lnTo>
                  <a:lnTo>
                    <a:pt x="3122" y="2142"/>
                  </a:lnTo>
                  <a:lnTo>
                    <a:pt x="3141" y="2150"/>
                  </a:lnTo>
                  <a:lnTo>
                    <a:pt x="3147" y="2151"/>
                  </a:lnTo>
                  <a:lnTo>
                    <a:pt x="3160" y="2144"/>
                  </a:lnTo>
                  <a:lnTo>
                    <a:pt x="3166" y="2138"/>
                  </a:lnTo>
                  <a:lnTo>
                    <a:pt x="3167" y="2137"/>
                  </a:lnTo>
                  <a:lnTo>
                    <a:pt x="3185" y="2135"/>
                  </a:lnTo>
                  <a:lnTo>
                    <a:pt x="3196" y="2136"/>
                  </a:lnTo>
                  <a:lnTo>
                    <a:pt x="3209" y="2144"/>
                  </a:lnTo>
                  <a:lnTo>
                    <a:pt x="3212" y="2163"/>
                  </a:lnTo>
                  <a:lnTo>
                    <a:pt x="3217" y="2176"/>
                  </a:lnTo>
                  <a:lnTo>
                    <a:pt x="3215" y="2183"/>
                  </a:lnTo>
                  <a:lnTo>
                    <a:pt x="3212" y="2197"/>
                  </a:lnTo>
                  <a:lnTo>
                    <a:pt x="3213" y="2204"/>
                  </a:lnTo>
                  <a:lnTo>
                    <a:pt x="3214" y="2208"/>
                  </a:lnTo>
                  <a:lnTo>
                    <a:pt x="3225" y="2211"/>
                  </a:lnTo>
                  <a:lnTo>
                    <a:pt x="3238" y="2211"/>
                  </a:lnTo>
                  <a:lnTo>
                    <a:pt x="3245" y="2209"/>
                  </a:lnTo>
                  <a:lnTo>
                    <a:pt x="3258" y="2203"/>
                  </a:lnTo>
                  <a:lnTo>
                    <a:pt x="3258" y="2203"/>
                  </a:lnTo>
                  <a:lnTo>
                    <a:pt x="3259" y="2216"/>
                  </a:lnTo>
                  <a:lnTo>
                    <a:pt x="3258" y="2222"/>
                  </a:lnTo>
                  <a:lnTo>
                    <a:pt x="3250" y="2226"/>
                  </a:lnTo>
                  <a:lnTo>
                    <a:pt x="3237" y="2228"/>
                  </a:lnTo>
                  <a:lnTo>
                    <a:pt x="3228" y="2230"/>
                  </a:lnTo>
                  <a:lnTo>
                    <a:pt x="3225" y="2234"/>
                  </a:lnTo>
                  <a:lnTo>
                    <a:pt x="3221" y="2242"/>
                  </a:lnTo>
                  <a:lnTo>
                    <a:pt x="3218" y="2256"/>
                  </a:lnTo>
                  <a:lnTo>
                    <a:pt x="3218" y="2267"/>
                  </a:lnTo>
                  <a:lnTo>
                    <a:pt x="3222" y="2271"/>
                  </a:lnTo>
                  <a:lnTo>
                    <a:pt x="3231" y="2274"/>
                  </a:lnTo>
                  <a:lnTo>
                    <a:pt x="3236" y="2276"/>
                  </a:lnTo>
                  <a:lnTo>
                    <a:pt x="3237" y="2279"/>
                  </a:lnTo>
                  <a:lnTo>
                    <a:pt x="3238" y="2284"/>
                  </a:lnTo>
                  <a:lnTo>
                    <a:pt x="3237" y="2286"/>
                  </a:lnTo>
                  <a:lnTo>
                    <a:pt x="3235" y="2289"/>
                  </a:lnTo>
                  <a:lnTo>
                    <a:pt x="3224" y="2295"/>
                  </a:lnTo>
                  <a:lnTo>
                    <a:pt x="3220" y="2301"/>
                  </a:lnTo>
                  <a:lnTo>
                    <a:pt x="3215" y="2312"/>
                  </a:lnTo>
                  <a:lnTo>
                    <a:pt x="3212" y="2331"/>
                  </a:lnTo>
                  <a:lnTo>
                    <a:pt x="3209" y="2334"/>
                  </a:lnTo>
                  <a:lnTo>
                    <a:pt x="3206" y="2333"/>
                  </a:lnTo>
                  <a:lnTo>
                    <a:pt x="3201" y="2329"/>
                  </a:lnTo>
                  <a:lnTo>
                    <a:pt x="3178" y="2297"/>
                  </a:lnTo>
                  <a:lnTo>
                    <a:pt x="3172" y="2293"/>
                  </a:lnTo>
                  <a:lnTo>
                    <a:pt x="3166" y="2289"/>
                  </a:lnTo>
                  <a:lnTo>
                    <a:pt x="3155" y="2288"/>
                  </a:lnTo>
                  <a:lnTo>
                    <a:pt x="3148" y="2291"/>
                  </a:lnTo>
                  <a:lnTo>
                    <a:pt x="3146" y="2294"/>
                  </a:lnTo>
                  <a:lnTo>
                    <a:pt x="3142" y="2314"/>
                  </a:lnTo>
                  <a:lnTo>
                    <a:pt x="3140" y="2315"/>
                  </a:lnTo>
                  <a:lnTo>
                    <a:pt x="3138" y="2315"/>
                  </a:lnTo>
                  <a:lnTo>
                    <a:pt x="3136" y="2312"/>
                  </a:lnTo>
                  <a:lnTo>
                    <a:pt x="3130" y="2293"/>
                  </a:lnTo>
                  <a:lnTo>
                    <a:pt x="3125" y="2285"/>
                  </a:lnTo>
                  <a:lnTo>
                    <a:pt x="3117" y="2274"/>
                  </a:lnTo>
                  <a:lnTo>
                    <a:pt x="3112" y="2269"/>
                  </a:lnTo>
                  <a:lnTo>
                    <a:pt x="3109" y="2268"/>
                  </a:lnTo>
                  <a:lnTo>
                    <a:pt x="3098" y="2266"/>
                  </a:lnTo>
                  <a:lnTo>
                    <a:pt x="3089" y="2268"/>
                  </a:lnTo>
                  <a:lnTo>
                    <a:pt x="3071" y="2279"/>
                  </a:lnTo>
                  <a:lnTo>
                    <a:pt x="3062" y="2287"/>
                  </a:lnTo>
                  <a:lnTo>
                    <a:pt x="3061" y="2289"/>
                  </a:lnTo>
                  <a:lnTo>
                    <a:pt x="3062" y="2291"/>
                  </a:lnTo>
                  <a:lnTo>
                    <a:pt x="3076" y="2305"/>
                  </a:lnTo>
                  <a:lnTo>
                    <a:pt x="3079" y="2311"/>
                  </a:lnTo>
                  <a:lnTo>
                    <a:pt x="3080" y="2315"/>
                  </a:lnTo>
                  <a:lnTo>
                    <a:pt x="3080" y="2319"/>
                  </a:lnTo>
                  <a:lnTo>
                    <a:pt x="3078" y="2323"/>
                  </a:lnTo>
                  <a:lnTo>
                    <a:pt x="3074" y="2325"/>
                  </a:lnTo>
                  <a:lnTo>
                    <a:pt x="3073" y="2328"/>
                  </a:lnTo>
                  <a:lnTo>
                    <a:pt x="3071" y="2338"/>
                  </a:lnTo>
                  <a:lnTo>
                    <a:pt x="3076" y="2347"/>
                  </a:lnTo>
                  <a:lnTo>
                    <a:pt x="3085" y="2352"/>
                  </a:lnTo>
                  <a:lnTo>
                    <a:pt x="3085" y="2354"/>
                  </a:lnTo>
                  <a:lnTo>
                    <a:pt x="3084" y="2359"/>
                  </a:lnTo>
                  <a:lnTo>
                    <a:pt x="3082" y="2363"/>
                  </a:lnTo>
                  <a:lnTo>
                    <a:pt x="3068" y="2364"/>
                  </a:lnTo>
                  <a:lnTo>
                    <a:pt x="3063" y="2367"/>
                  </a:lnTo>
                  <a:lnTo>
                    <a:pt x="3061" y="2378"/>
                  </a:lnTo>
                  <a:lnTo>
                    <a:pt x="3059" y="2388"/>
                  </a:lnTo>
                  <a:lnTo>
                    <a:pt x="3061" y="2391"/>
                  </a:lnTo>
                  <a:lnTo>
                    <a:pt x="3075" y="2399"/>
                  </a:lnTo>
                  <a:lnTo>
                    <a:pt x="3082" y="2405"/>
                  </a:lnTo>
                  <a:lnTo>
                    <a:pt x="3084" y="2408"/>
                  </a:lnTo>
                  <a:lnTo>
                    <a:pt x="3086" y="2417"/>
                  </a:lnTo>
                  <a:lnTo>
                    <a:pt x="3087" y="2432"/>
                  </a:lnTo>
                  <a:lnTo>
                    <a:pt x="3085" y="2447"/>
                  </a:lnTo>
                  <a:lnTo>
                    <a:pt x="3078" y="2459"/>
                  </a:lnTo>
                  <a:lnTo>
                    <a:pt x="3070" y="2467"/>
                  </a:lnTo>
                  <a:lnTo>
                    <a:pt x="3061" y="2472"/>
                  </a:lnTo>
                  <a:lnTo>
                    <a:pt x="3051" y="2474"/>
                  </a:lnTo>
                  <a:lnTo>
                    <a:pt x="3040" y="2467"/>
                  </a:lnTo>
                  <a:lnTo>
                    <a:pt x="3034" y="2467"/>
                  </a:lnTo>
                  <a:lnTo>
                    <a:pt x="3027" y="2471"/>
                  </a:lnTo>
                  <a:lnTo>
                    <a:pt x="3017" y="2480"/>
                  </a:lnTo>
                  <a:lnTo>
                    <a:pt x="3011" y="2484"/>
                  </a:lnTo>
                  <a:lnTo>
                    <a:pt x="3006" y="2486"/>
                  </a:lnTo>
                  <a:lnTo>
                    <a:pt x="2998" y="2487"/>
                  </a:lnTo>
                  <a:lnTo>
                    <a:pt x="2986" y="2476"/>
                  </a:lnTo>
                  <a:lnTo>
                    <a:pt x="2955" y="2466"/>
                  </a:lnTo>
                  <a:lnTo>
                    <a:pt x="2938" y="2458"/>
                  </a:lnTo>
                  <a:lnTo>
                    <a:pt x="2932" y="2457"/>
                  </a:lnTo>
                  <a:lnTo>
                    <a:pt x="2931" y="2459"/>
                  </a:lnTo>
                  <a:lnTo>
                    <a:pt x="2932" y="2463"/>
                  </a:lnTo>
                  <a:lnTo>
                    <a:pt x="2937" y="2476"/>
                  </a:lnTo>
                  <a:lnTo>
                    <a:pt x="2938" y="2482"/>
                  </a:lnTo>
                  <a:lnTo>
                    <a:pt x="2936" y="2483"/>
                  </a:lnTo>
                  <a:lnTo>
                    <a:pt x="2929" y="2484"/>
                  </a:lnTo>
                  <a:lnTo>
                    <a:pt x="2924" y="2487"/>
                  </a:lnTo>
                  <a:lnTo>
                    <a:pt x="2921" y="2491"/>
                  </a:lnTo>
                  <a:lnTo>
                    <a:pt x="2919" y="2500"/>
                  </a:lnTo>
                  <a:lnTo>
                    <a:pt x="2917" y="2502"/>
                  </a:lnTo>
                  <a:lnTo>
                    <a:pt x="2916" y="2503"/>
                  </a:lnTo>
                  <a:lnTo>
                    <a:pt x="2902" y="2495"/>
                  </a:lnTo>
                  <a:lnTo>
                    <a:pt x="2887" y="2483"/>
                  </a:lnTo>
                  <a:lnTo>
                    <a:pt x="2884" y="2478"/>
                  </a:lnTo>
                  <a:lnTo>
                    <a:pt x="2875" y="2457"/>
                  </a:lnTo>
                  <a:lnTo>
                    <a:pt x="2867" y="2448"/>
                  </a:lnTo>
                  <a:lnTo>
                    <a:pt x="2864" y="2447"/>
                  </a:lnTo>
                  <a:lnTo>
                    <a:pt x="2863" y="2447"/>
                  </a:lnTo>
                  <a:lnTo>
                    <a:pt x="2857" y="2453"/>
                  </a:lnTo>
                  <a:lnTo>
                    <a:pt x="2854" y="2454"/>
                  </a:lnTo>
                  <a:lnTo>
                    <a:pt x="2853" y="2454"/>
                  </a:lnTo>
                  <a:lnTo>
                    <a:pt x="2851" y="2450"/>
                  </a:lnTo>
                  <a:lnTo>
                    <a:pt x="2852" y="2446"/>
                  </a:lnTo>
                  <a:lnTo>
                    <a:pt x="2858" y="2436"/>
                  </a:lnTo>
                  <a:lnTo>
                    <a:pt x="2855" y="2431"/>
                  </a:lnTo>
                  <a:lnTo>
                    <a:pt x="2851" y="2430"/>
                  </a:lnTo>
                  <a:lnTo>
                    <a:pt x="2841" y="2432"/>
                  </a:lnTo>
                  <a:lnTo>
                    <a:pt x="2833" y="2432"/>
                  </a:lnTo>
                  <a:lnTo>
                    <a:pt x="2818" y="2426"/>
                  </a:lnTo>
                  <a:lnTo>
                    <a:pt x="2814" y="2426"/>
                  </a:lnTo>
                  <a:lnTo>
                    <a:pt x="2812" y="2429"/>
                  </a:lnTo>
                  <a:lnTo>
                    <a:pt x="2808" y="2450"/>
                  </a:lnTo>
                  <a:lnTo>
                    <a:pt x="2804" y="2461"/>
                  </a:lnTo>
                  <a:lnTo>
                    <a:pt x="2799" y="2465"/>
                  </a:lnTo>
                  <a:lnTo>
                    <a:pt x="2796" y="2466"/>
                  </a:lnTo>
                  <a:lnTo>
                    <a:pt x="2789" y="2458"/>
                  </a:lnTo>
                  <a:lnTo>
                    <a:pt x="2775" y="2453"/>
                  </a:lnTo>
                  <a:lnTo>
                    <a:pt x="2771" y="2449"/>
                  </a:lnTo>
                  <a:lnTo>
                    <a:pt x="2770" y="2448"/>
                  </a:lnTo>
                  <a:lnTo>
                    <a:pt x="2772" y="2442"/>
                  </a:lnTo>
                  <a:lnTo>
                    <a:pt x="2779" y="2428"/>
                  </a:lnTo>
                  <a:lnTo>
                    <a:pt x="2781" y="2419"/>
                  </a:lnTo>
                  <a:lnTo>
                    <a:pt x="2781" y="2399"/>
                  </a:lnTo>
                  <a:lnTo>
                    <a:pt x="2778" y="2382"/>
                  </a:lnTo>
                  <a:lnTo>
                    <a:pt x="2776" y="2378"/>
                  </a:lnTo>
                  <a:lnTo>
                    <a:pt x="2767" y="2372"/>
                  </a:lnTo>
                  <a:lnTo>
                    <a:pt x="2765" y="2368"/>
                  </a:lnTo>
                  <a:lnTo>
                    <a:pt x="2764" y="2361"/>
                  </a:lnTo>
                  <a:lnTo>
                    <a:pt x="2762" y="2357"/>
                  </a:lnTo>
                  <a:lnTo>
                    <a:pt x="2751" y="2349"/>
                  </a:lnTo>
                  <a:lnTo>
                    <a:pt x="2745" y="2342"/>
                  </a:lnTo>
                  <a:lnTo>
                    <a:pt x="2725" y="2315"/>
                  </a:lnTo>
                  <a:lnTo>
                    <a:pt x="2723" y="2314"/>
                  </a:lnTo>
                  <a:lnTo>
                    <a:pt x="2722" y="2315"/>
                  </a:lnTo>
                  <a:lnTo>
                    <a:pt x="2718" y="2330"/>
                  </a:lnTo>
                  <a:lnTo>
                    <a:pt x="2717" y="2332"/>
                  </a:lnTo>
                  <a:lnTo>
                    <a:pt x="2713" y="2334"/>
                  </a:lnTo>
                  <a:lnTo>
                    <a:pt x="2702" y="2338"/>
                  </a:lnTo>
                  <a:lnTo>
                    <a:pt x="2697" y="2341"/>
                  </a:lnTo>
                  <a:lnTo>
                    <a:pt x="2695" y="2370"/>
                  </a:lnTo>
                  <a:lnTo>
                    <a:pt x="2669" y="2417"/>
                  </a:lnTo>
                  <a:lnTo>
                    <a:pt x="2662" y="2401"/>
                  </a:lnTo>
                  <a:lnTo>
                    <a:pt x="2651" y="2393"/>
                  </a:lnTo>
                  <a:lnTo>
                    <a:pt x="2642" y="2389"/>
                  </a:lnTo>
                  <a:lnTo>
                    <a:pt x="2627" y="2374"/>
                  </a:lnTo>
                  <a:lnTo>
                    <a:pt x="2621" y="2371"/>
                  </a:lnTo>
                  <a:lnTo>
                    <a:pt x="2589" y="2353"/>
                  </a:lnTo>
                  <a:lnTo>
                    <a:pt x="2560" y="2349"/>
                  </a:lnTo>
                  <a:lnTo>
                    <a:pt x="2553" y="2346"/>
                  </a:lnTo>
                  <a:lnTo>
                    <a:pt x="2550" y="2339"/>
                  </a:lnTo>
                  <a:lnTo>
                    <a:pt x="2540" y="2310"/>
                  </a:lnTo>
                  <a:lnTo>
                    <a:pt x="2534" y="2296"/>
                  </a:lnTo>
                  <a:lnTo>
                    <a:pt x="2528" y="2292"/>
                  </a:lnTo>
                  <a:lnTo>
                    <a:pt x="2520" y="2287"/>
                  </a:lnTo>
                  <a:lnTo>
                    <a:pt x="2508" y="2277"/>
                  </a:lnTo>
                  <a:lnTo>
                    <a:pt x="2501" y="2271"/>
                  </a:lnTo>
                  <a:lnTo>
                    <a:pt x="2491" y="2269"/>
                  </a:lnTo>
                  <a:lnTo>
                    <a:pt x="2486" y="2273"/>
                  </a:lnTo>
                  <a:lnTo>
                    <a:pt x="2481" y="2271"/>
                  </a:lnTo>
                  <a:lnTo>
                    <a:pt x="2442" y="2241"/>
                  </a:lnTo>
                  <a:lnTo>
                    <a:pt x="2438" y="2235"/>
                  </a:lnTo>
                  <a:lnTo>
                    <a:pt x="2435" y="2226"/>
                  </a:lnTo>
                  <a:lnTo>
                    <a:pt x="2433" y="2205"/>
                  </a:lnTo>
                  <a:lnTo>
                    <a:pt x="2430" y="2199"/>
                  </a:lnTo>
                  <a:lnTo>
                    <a:pt x="2422" y="2191"/>
                  </a:lnTo>
                  <a:lnTo>
                    <a:pt x="2420" y="2187"/>
                  </a:lnTo>
                  <a:lnTo>
                    <a:pt x="2428" y="2175"/>
                  </a:lnTo>
                  <a:lnTo>
                    <a:pt x="2429" y="2171"/>
                  </a:lnTo>
                  <a:lnTo>
                    <a:pt x="2429" y="2168"/>
                  </a:lnTo>
                  <a:lnTo>
                    <a:pt x="2425" y="2160"/>
                  </a:lnTo>
                  <a:lnTo>
                    <a:pt x="2424" y="2154"/>
                  </a:lnTo>
                  <a:lnTo>
                    <a:pt x="2426" y="2130"/>
                  </a:lnTo>
                  <a:lnTo>
                    <a:pt x="2426" y="2125"/>
                  </a:lnTo>
                  <a:lnTo>
                    <a:pt x="2422" y="2122"/>
                  </a:lnTo>
                  <a:lnTo>
                    <a:pt x="2410" y="2109"/>
                  </a:lnTo>
                  <a:lnTo>
                    <a:pt x="2406" y="2103"/>
                  </a:lnTo>
                  <a:lnTo>
                    <a:pt x="2406" y="2100"/>
                  </a:lnTo>
                  <a:lnTo>
                    <a:pt x="2411" y="2088"/>
                  </a:lnTo>
                  <a:lnTo>
                    <a:pt x="2411" y="2084"/>
                  </a:lnTo>
                  <a:lnTo>
                    <a:pt x="2404" y="2076"/>
                  </a:lnTo>
                  <a:lnTo>
                    <a:pt x="2401" y="2061"/>
                  </a:lnTo>
                  <a:lnTo>
                    <a:pt x="2396" y="2050"/>
                  </a:lnTo>
                  <a:lnTo>
                    <a:pt x="2390" y="2041"/>
                  </a:lnTo>
                  <a:lnTo>
                    <a:pt x="2379" y="2027"/>
                  </a:lnTo>
                  <a:lnTo>
                    <a:pt x="2373" y="2017"/>
                  </a:lnTo>
                  <a:lnTo>
                    <a:pt x="2370" y="2007"/>
                  </a:lnTo>
                  <a:lnTo>
                    <a:pt x="2366" y="1997"/>
                  </a:lnTo>
                  <a:lnTo>
                    <a:pt x="2360" y="1982"/>
                  </a:lnTo>
                  <a:lnTo>
                    <a:pt x="2358" y="1969"/>
                  </a:lnTo>
                  <a:lnTo>
                    <a:pt x="2363" y="1955"/>
                  </a:lnTo>
                  <a:lnTo>
                    <a:pt x="2363" y="1946"/>
                  </a:lnTo>
                  <a:lnTo>
                    <a:pt x="2363" y="1940"/>
                  </a:lnTo>
                  <a:lnTo>
                    <a:pt x="2359" y="1926"/>
                  </a:lnTo>
                  <a:lnTo>
                    <a:pt x="2357" y="1914"/>
                  </a:lnTo>
                  <a:lnTo>
                    <a:pt x="2329" y="1911"/>
                  </a:lnTo>
                  <a:lnTo>
                    <a:pt x="2311" y="1909"/>
                  </a:lnTo>
                  <a:lnTo>
                    <a:pt x="2304" y="1907"/>
                  </a:lnTo>
                  <a:lnTo>
                    <a:pt x="2280" y="1894"/>
                  </a:lnTo>
                  <a:lnTo>
                    <a:pt x="2266" y="1891"/>
                  </a:lnTo>
                  <a:lnTo>
                    <a:pt x="2255" y="1891"/>
                  </a:lnTo>
                  <a:lnTo>
                    <a:pt x="2240" y="1874"/>
                  </a:lnTo>
                  <a:lnTo>
                    <a:pt x="2223" y="1853"/>
                  </a:lnTo>
                  <a:lnTo>
                    <a:pt x="2216" y="1850"/>
                  </a:lnTo>
                  <a:lnTo>
                    <a:pt x="2206" y="1849"/>
                  </a:lnTo>
                  <a:lnTo>
                    <a:pt x="2199" y="1852"/>
                  </a:lnTo>
                  <a:lnTo>
                    <a:pt x="2187" y="1863"/>
                  </a:lnTo>
                  <a:lnTo>
                    <a:pt x="2169" y="1875"/>
                  </a:lnTo>
                  <a:lnTo>
                    <a:pt x="2167" y="1883"/>
                  </a:lnTo>
                  <a:lnTo>
                    <a:pt x="2161" y="1909"/>
                  </a:lnTo>
                  <a:lnTo>
                    <a:pt x="2156" y="1921"/>
                  </a:lnTo>
                  <a:lnTo>
                    <a:pt x="2150" y="1940"/>
                  </a:lnTo>
                  <a:lnTo>
                    <a:pt x="2148" y="1943"/>
                  </a:lnTo>
                  <a:lnTo>
                    <a:pt x="2145" y="1944"/>
                  </a:lnTo>
                  <a:lnTo>
                    <a:pt x="2139" y="1943"/>
                  </a:lnTo>
                  <a:lnTo>
                    <a:pt x="2126" y="1944"/>
                  </a:lnTo>
                  <a:lnTo>
                    <a:pt x="2098" y="1948"/>
                  </a:lnTo>
                  <a:lnTo>
                    <a:pt x="2078" y="1946"/>
                  </a:lnTo>
                  <a:lnTo>
                    <a:pt x="2075" y="1964"/>
                  </a:lnTo>
                  <a:lnTo>
                    <a:pt x="2068" y="1970"/>
                  </a:lnTo>
                  <a:lnTo>
                    <a:pt x="2067" y="1972"/>
                  </a:lnTo>
                  <a:lnTo>
                    <a:pt x="2067" y="1978"/>
                  </a:lnTo>
                  <a:lnTo>
                    <a:pt x="2074" y="1998"/>
                  </a:lnTo>
                  <a:lnTo>
                    <a:pt x="2076" y="2012"/>
                  </a:lnTo>
                  <a:lnTo>
                    <a:pt x="2075" y="2022"/>
                  </a:lnTo>
                  <a:lnTo>
                    <a:pt x="2068" y="2037"/>
                  </a:lnTo>
                  <a:lnTo>
                    <a:pt x="2070" y="2047"/>
                  </a:lnTo>
                  <a:lnTo>
                    <a:pt x="2076" y="2051"/>
                  </a:lnTo>
                  <a:lnTo>
                    <a:pt x="2087" y="2054"/>
                  </a:lnTo>
                  <a:lnTo>
                    <a:pt x="2091" y="2056"/>
                  </a:lnTo>
                  <a:lnTo>
                    <a:pt x="2094" y="2080"/>
                  </a:lnTo>
                  <a:lnTo>
                    <a:pt x="2095" y="2082"/>
                  </a:lnTo>
                  <a:lnTo>
                    <a:pt x="2097" y="2084"/>
                  </a:lnTo>
                  <a:lnTo>
                    <a:pt x="2106" y="2092"/>
                  </a:lnTo>
                  <a:lnTo>
                    <a:pt x="2115" y="2095"/>
                  </a:lnTo>
                  <a:lnTo>
                    <a:pt x="2119" y="2097"/>
                  </a:lnTo>
                  <a:lnTo>
                    <a:pt x="2130" y="2108"/>
                  </a:lnTo>
                  <a:lnTo>
                    <a:pt x="2136" y="2112"/>
                  </a:lnTo>
                  <a:lnTo>
                    <a:pt x="2151" y="2119"/>
                  </a:lnTo>
                  <a:lnTo>
                    <a:pt x="2152" y="2123"/>
                  </a:lnTo>
                  <a:lnTo>
                    <a:pt x="2148" y="2128"/>
                  </a:lnTo>
                  <a:lnTo>
                    <a:pt x="2136" y="2136"/>
                  </a:lnTo>
                  <a:lnTo>
                    <a:pt x="2129" y="2138"/>
                  </a:lnTo>
                  <a:lnTo>
                    <a:pt x="2122" y="2139"/>
                  </a:lnTo>
                  <a:lnTo>
                    <a:pt x="2119" y="2141"/>
                  </a:lnTo>
                  <a:lnTo>
                    <a:pt x="2113" y="2148"/>
                  </a:lnTo>
                  <a:lnTo>
                    <a:pt x="2102" y="2166"/>
                  </a:lnTo>
                  <a:lnTo>
                    <a:pt x="2092" y="2175"/>
                  </a:lnTo>
                  <a:lnTo>
                    <a:pt x="2085" y="2181"/>
                  </a:lnTo>
                  <a:lnTo>
                    <a:pt x="2069" y="2192"/>
                  </a:lnTo>
                  <a:lnTo>
                    <a:pt x="2064" y="2197"/>
                  </a:lnTo>
                  <a:lnTo>
                    <a:pt x="2064" y="2199"/>
                  </a:lnTo>
                  <a:lnTo>
                    <a:pt x="2065" y="2205"/>
                  </a:lnTo>
                  <a:lnTo>
                    <a:pt x="2076" y="2221"/>
                  </a:lnTo>
                  <a:lnTo>
                    <a:pt x="2080" y="2229"/>
                  </a:lnTo>
                  <a:lnTo>
                    <a:pt x="2080" y="2233"/>
                  </a:lnTo>
                  <a:lnTo>
                    <a:pt x="2073" y="2243"/>
                  </a:lnTo>
                  <a:lnTo>
                    <a:pt x="2071" y="2250"/>
                  </a:lnTo>
                  <a:lnTo>
                    <a:pt x="2069" y="2255"/>
                  </a:lnTo>
                  <a:lnTo>
                    <a:pt x="2067" y="2256"/>
                  </a:lnTo>
                  <a:lnTo>
                    <a:pt x="2039" y="2253"/>
                  </a:lnTo>
                  <a:lnTo>
                    <a:pt x="2034" y="2255"/>
                  </a:lnTo>
                  <a:lnTo>
                    <a:pt x="2029" y="2258"/>
                  </a:lnTo>
                  <a:lnTo>
                    <a:pt x="2020" y="2277"/>
                  </a:lnTo>
                  <a:lnTo>
                    <a:pt x="2026" y="2286"/>
                  </a:lnTo>
                  <a:lnTo>
                    <a:pt x="2029" y="2292"/>
                  </a:lnTo>
                  <a:lnTo>
                    <a:pt x="2030" y="2300"/>
                  </a:lnTo>
                  <a:lnTo>
                    <a:pt x="2026" y="2310"/>
                  </a:lnTo>
                  <a:lnTo>
                    <a:pt x="2025" y="2314"/>
                  </a:lnTo>
                  <a:lnTo>
                    <a:pt x="2030" y="2327"/>
                  </a:lnTo>
                  <a:lnTo>
                    <a:pt x="2034" y="2337"/>
                  </a:lnTo>
                  <a:lnTo>
                    <a:pt x="2037" y="2341"/>
                  </a:lnTo>
                  <a:lnTo>
                    <a:pt x="2057" y="2355"/>
                  </a:lnTo>
                  <a:lnTo>
                    <a:pt x="2068" y="2365"/>
                  </a:lnTo>
                  <a:lnTo>
                    <a:pt x="2077" y="2375"/>
                  </a:lnTo>
                  <a:lnTo>
                    <a:pt x="2095" y="2400"/>
                  </a:lnTo>
                  <a:lnTo>
                    <a:pt x="2110" y="2414"/>
                  </a:lnTo>
                  <a:lnTo>
                    <a:pt x="2110" y="2414"/>
                  </a:lnTo>
                  <a:lnTo>
                    <a:pt x="2108" y="2415"/>
                  </a:lnTo>
                  <a:lnTo>
                    <a:pt x="2097" y="2415"/>
                  </a:lnTo>
                  <a:lnTo>
                    <a:pt x="2078" y="2411"/>
                  </a:lnTo>
                  <a:lnTo>
                    <a:pt x="2039" y="2400"/>
                  </a:lnTo>
                  <a:lnTo>
                    <a:pt x="2035" y="2397"/>
                  </a:lnTo>
                  <a:lnTo>
                    <a:pt x="2031" y="2393"/>
                  </a:lnTo>
                  <a:lnTo>
                    <a:pt x="2028" y="2391"/>
                  </a:lnTo>
                  <a:lnTo>
                    <a:pt x="2021" y="2392"/>
                  </a:lnTo>
                  <a:lnTo>
                    <a:pt x="2014" y="2393"/>
                  </a:lnTo>
                  <a:lnTo>
                    <a:pt x="2007" y="2396"/>
                  </a:lnTo>
                  <a:lnTo>
                    <a:pt x="2002" y="2400"/>
                  </a:lnTo>
                  <a:lnTo>
                    <a:pt x="2002" y="2403"/>
                  </a:lnTo>
                  <a:lnTo>
                    <a:pt x="2002" y="2407"/>
                  </a:lnTo>
                  <a:lnTo>
                    <a:pt x="2014" y="2413"/>
                  </a:lnTo>
                  <a:lnTo>
                    <a:pt x="2015" y="2415"/>
                  </a:lnTo>
                  <a:lnTo>
                    <a:pt x="2014" y="2419"/>
                  </a:lnTo>
                  <a:lnTo>
                    <a:pt x="2002" y="2428"/>
                  </a:lnTo>
                  <a:lnTo>
                    <a:pt x="1999" y="2433"/>
                  </a:lnTo>
                  <a:lnTo>
                    <a:pt x="2001" y="2438"/>
                  </a:lnTo>
                  <a:lnTo>
                    <a:pt x="2015" y="2445"/>
                  </a:lnTo>
                  <a:lnTo>
                    <a:pt x="2019" y="2449"/>
                  </a:lnTo>
                  <a:lnTo>
                    <a:pt x="2014" y="2467"/>
                  </a:lnTo>
                  <a:lnTo>
                    <a:pt x="2015" y="2481"/>
                  </a:lnTo>
                  <a:lnTo>
                    <a:pt x="2013" y="2482"/>
                  </a:lnTo>
                  <a:lnTo>
                    <a:pt x="2005" y="2483"/>
                  </a:lnTo>
                  <a:lnTo>
                    <a:pt x="1995" y="2479"/>
                  </a:lnTo>
                  <a:lnTo>
                    <a:pt x="1992" y="2478"/>
                  </a:lnTo>
                  <a:lnTo>
                    <a:pt x="1984" y="2482"/>
                  </a:lnTo>
                  <a:lnTo>
                    <a:pt x="1980" y="2486"/>
                  </a:lnTo>
                  <a:lnTo>
                    <a:pt x="1976" y="2500"/>
                  </a:lnTo>
                  <a:lnTo>
                    <a:pt x="1974" y="2517"/>
                  </a:lnTo>
                  <a:lnTo>
                    <a:pt x="1975" y="2526"/>
                  </a:lnTo>
                  <a:lnTo>
                    <a:pt x="1979" y="2531"/>
                  </a:lnTo>
                  <a:lnTo>
                    <a:pt x="1980" y="2534"/>
                  </a:lnTo>
                  <a:lnTo>
                    <a:pt x="1979" y="2552"/>
                  </a:lnTo>
                  <a:lnTo>
                    <a:pt x="1968" y="2552"/>
                  </a:lnTo>
                  <a:lnTo>
                    <a:pt x="1960" y="2544"/>
                  </a:lnTo>
                  <a:lnTo>
                    <a:pt x="1953" y="2541"/>
                  </a:lnTo>
                  <a:lnTo>
                    <a:pt x="1949" y="2559"/>
                  </a:lnTo>
                  <a:lnTo>
                    <a:pt x="1948" y="2559"/>
                  </a:lnTo>
                  <a:lnTo>
                    <a:pt x="1943" y="2559"/>
                  </a:lnTo>
                  <a:lnTo>
                    <a:pt x="1936" y="2563"/>
                  </a:lnTo>
                  <a:lnTo>
                    <a:pt x="1916" y="2554"/>
                  </a:lnTo>
                  <a:lnTo>
                    <a:pt x="1904" y="2543"/>
                  </a:lnTo>
                  <a:lnTo>
                    <a:pt x="1894" y="2537"/>
                  </a:lnTo>
                  <a:lnTo>
                    <a:pt x="1890" y="2536"/>
                  </a:lnTo>
                  <a:lnTo>
                    <a:pt x="1885" y="2538"/>
                  </a:lnTo>
                  <a:lnTo>
                    <a:pt x="1881" y="2543"/>
                  </a:lnTo>
                  <a:lnTo>
                    <a:pt x="1880" y="2550"/>
                  </a:lnTo>
                  <a:lnTo>
                    <a:pt x="1881" y="2557"/>
                  </a:lnTo>
                  <a:lnTo>
                    <a:pt x="1876" y="2567"/>
                  </a:lnTo>
                  <a:lnTo>
                    <a:pt x="1866" y="2566"/>
                  </a:lnTo>
                  <a:lnTo>
                    <a:pt x="1861" y="2567"/>
                  </a:lnTo>
                  <a:lnTo>
                    <a:pt x="1856" y="2571"/>
                  </a:lnTo>
                  <a:lnTo>
                    <a:pt x="1855" y="2577"/>
                  </a:lnTo>
                  <a:lnTo>
                    <a:pt x="1849" y="2575"/>
                  </a:lnTo>
                  <a:lnTo>
                    <a:pt x="1846" y="2573"/>
                  </a:lnTo>
                  <a:lnTo>
                    <a:pt x="1844" y="2569"/>
                  </a:lnTo>
                  <a:lnTo>
                    <a:pt x="1843" y="2563"/>
                  </a:lnTo>
                  <a:lnTo>
                    <a:pt x="1842" y="2561"/>
                  </a:lnTo>
                  <a:lnTo>
                    <a:pt x="1827" y="2555"/>
                  </a:lnTo>
                  <a:lnTo>
                    <a:pt x="1807" y="2547"/>
                  </a:lnTo>
                  <a:lnTo>
                    <a:pt x="1804" y="2548"/>
                  </a:lnTo>
                  <a:lnTo>
                    <a:pt x="1803" y="2550"/>
                  </a:lnTo>
                  <a:lnTo>
                    <a:pt x="1803" y="2553"/>
                  </a:lnTo>
                  <a:lnTo>
                    <a:pt x="1810" y="2563"/>
                  </a:lnTo>
                  <a:lnTo>
                    <a:pt x="1818" y="2581"/>
                  </a:lnTo>
                  <a:lnTo>
                    <a:pt x="1823" y="2589"/>
                  </a:lnTo>
                  <a:lnTo>
                    <a:pt x="1824" y="2593"/>
                  </a:lnTo>
                  <a:lnTo>
                    <a:pt x="1822" y="2597"/>
                  </a:lnTo>
                  <a:lnTo>
                    <a:pt x="1810" y="2601"/>
                  </a:lnTo>
                  <a:lnTo>
                    <a:pt x="1808" y="2604"/>
                  </a:lnTo>
                  <a:lnTo>
                    <a:pt x="1808" y="2611"/>
                  </a:lnTo>
                  <a:lnTo>
                    <a:pt x="1809" y="2619"/>
                  </a:lnTo>
                  <a:lnTo>
                    <a:pt x="1822" y="2638"/>
                  </a:lnTo>
                  <a:lnTo>
                    <a:pt x="1824" y="2644"/>
                  </a:lnTo>
                  <a:lnTo>
                    <a:pt x="1825" y="2650"/>
                  </a:lnTo>
                  <a:lnTo>
                    <a:pt x="1825" y="2653"/>
                  </a:lnTo>
                  <a:lnTo>
                    <a:pt x="1824" y="2655"/>
                  </a:lnTo>
                  <a:lnTo>
                    <a:pt x="1810" y="2664"/>
                  </a:lnTo>
                  <a:lnTo>
                    <a:pt x="1805" y="2663"/>
                  </a:lnTo>
                  <a:lnTo>
                    <a:pt x="1799" y="2659"/>
                  </a:lnTo>
                  <a:lnTo>
                    <a:pt x="1796" y="2655"/>
                  </a:lnTo>
                  <a:lnTo>
                    <a:pt x="1791" y="2646"/>
                  </a:lnTo>
                  <a:lnTo>
                    <a:pt x="1788" y="2643"/>
                  </a:lnTo>
                  <a:lnTo>
                    <a:pt x="1786" y="2644"/>
                  </a:lnTo>
                  <a:lnTo>
                    <a:pt x="1779" y="2650"/>
                  </a:lnTo>
                  <a:lnTo>
                    <a:pt x="1776" y="2650"/>
                  </a:lnTo>
                  <a:lnTo>
                    <a:pt x="1772" y="2648"/>
                  </a:lnTo>
                  <a:lnTo>
                    <a:pt x="1768" y="2640"/>
                  </a:lnTo>
                  <a:lnTo>
                    <a:pt x="1764" y="2637"/>
                  </a:lnTo>
                  <a:lnTo>
                    <a:pt x="1763" y="2638"/>
                  </a:lnTo>
                  <a:lnTo>
                    <a:pt x="1761" y="2644"/>
                  </a:lnTo>
                  <a:lnTo>
                    <a:pt x="1759" y="2645"/>
                  </a:lnTo>
                  <a:lnTo>
                    <a:pt x="1749" y="2642"/>
                  </a:lnTo>
                  <a:lnTo>
                    <a:pt x="1740" y="2636"/>
                  </a:lnTo>
                  <a:lnTo>
                    <a:pt x="1730" y="2626"/>
                  </a:lnTo>
                  <a:lnTo>
                    <a:pt x="1717" y="2609"/>
                  </a:lnTo>
                  <a:lnTo>
                    <a:pt x="1709" y="2595"/>
                  </a:lnTo>
                  <a:lnTo>
                    <a:pt x="1705" y="2583"/>
                  </a:lnTo>
                  <a:lnTo>
                    <a:pt x="1702" y="2579"/>
                  </a:lnTo>
                  <a:lnTo>
                    <a:pt x="1699" y="2577"/>
                  </a:lnTo>
                  <a:lnTo>
                    <a:pt x="1691" y="2574"/>
                  </a:lnTo>
                  <a:lnTo>
                    <a:pt x="1673" y="2563"/>
                  </a:lnTo>
                  <a:lnTo>
                    <a:pt x="1665" y="2564"/>
                  </a:lnTo>
                  <a:lnTo>
                    <a:pt x="1661" y="2568"/>
                  </a:lnTo>
                  <a:lnTo>
                    <a:pt x="1660" y="2571"/>
                  </a:lnTo>
                  <a:lnTo>
                    <a:pt x="1663" y="2587"/>
                  </a:lnTo>
                  <a:lnTo>
                    <a:pt x="1661" y="2589"/>
                  </a:lnTo>
                  <a:lnTo>
                    <a:pt x="1653" y="2593"/>
                  </a:lnTo>
                  <a:lnTo>
                    <a:pt x="1651" y="2598"/>
                  </a:lnTo>
                  <a:lnTo>
                    <a:pt x="1650" y="2601"/>
                  </a:lnTo>
                  <a:lnTo>
                    <a:pt x="1650" y="2607"/>
                  </a:lnTo>
                  <a:lnTo>
                    <a:pt x="1652" y="2613"/>
                  </a:lnTo>
                  <a:lnTo>
                    <a:pt x="1659" y="2628"/>
                  </a:lnTo>
                  <a:lnTo>
                    <a:pt x="1663" y="2638"/>
                  </a:lnTo>
                  <a:lnTo>
                    <a:pt x="1663" y="2641"/>
                  </a:lnTo>
                  <a:lnTo>
                    <a:pt x="1663" y="2644"/>
                  </a:lnTo>
                  <a:lnTo>
                    <a:pt x="1657" y="2654"/>
                  </a:lnTo>
                  <a:lnTo>
                    <a:pt x="1650" y="2661"/>
                  </a:lnTo>
                  <a:lnTo>
                    <a:pt x="1644" y="2663"/>
                  </a:lnTo>
                  <a:lnTo>
                    <a:pt x="1637" y="2662"/>
                  </a:lnTo>
                  <a:lnTo>
                    <a:pt x="1628" y="2658"/>
                  </a:lnTo>
                  <a:lnTo>
                    <a:pt x="1629" y="2641"/>
                  </a:lnTo>
                  <a:lnTo>
                    <a:pt x="1616" y="2633"/>
                  </a:lnTo>
                  <a:lnTo>
                    <a:pt x="1609" y="2625"/>
                  </a:lnTo>
                  <a:lnTo>
                    <a:pt x="1597" y="2615"/>
                  </a:lnTo>
                  <a:lnTo>
                    <a:pt x="1591" y="2608"/>
                  </a:lnTo>
                  <a:lnTo>
                    <a:pt x="1585" y="2597"/>
                  </a:lnTo>
                  <a:lnTo>
                    <a:pt x="1580" y="2591"/>
                  </a:lnTo>
                  <a:lnTo>
                    <a:pt x="1573" y="2591"/>
                  </a:lnTo>
                  <a:lnTo>
                    <a:pt x="1569" y="2594"/>
                  </a:lnTo>
                  <a:lnTo>
                    <a:pt x="1563" y="2603"/>
                  </a:lnTo>
                  <a:lnTo>
                    <a:pt x="1552" y="2621"/>
                  </a:lnTo>
                  <a:lnTo>
                    <a:pt x="1549" y="2623"/>
                  </a:lnTo>
                  <a:lnTo>
                    <a:pt x="1545" y="2622"/>
                  </a:lnTo>
                  <a:lnTo>
                    <a:pt x="1542" y="2620"/>
                  </a:lnTo>
                  <a:lnTo>
                    <a:pt x="1529" y="2605"/>
                  </a:lnTo>
                  <a:lnTo>
                    <a:pt x="1518" y="2594"/>
                  </a:lnTo>
                  <a:lnTo>
                    <a:pt x="1501" y="2586"/>
                  </a:lnTo>
                  <a:lnTo>
                    <a:pt x="1497" y="2584"/>
                  </a:lnTo>
                  <a:lnTo>
                    <a:pt x="1494" y="2585"/>
                  </a:lnTo>
                  <a:lnTo>
                    <a:pt x="1476" y="2602"/>
                  </a:lnTo>
                  <a:lnTo>
                    <a:pt x="1471" y="2599"/>
                  </a:lnTo>
                  <a:lnTo>
                    <a:pt x="1462" y="2591"/>
                  </a:lnTo>
                  <a:lnTo>
                    <a:pt x="1454" y="2579"/>
                  </a:lnTo>
                  <a:lnTo>
                    <a:pt x="1443" y="2562"/>
                  </a:lnTo>
                  <a:lnTo>
                    <a:pt x="1428" y="2529"/>
                  </a:lnTo>
                  <a:lnTo>
                    <a:pt x="1427" y="2523"/>
                  </a:lnTo>
                  <a:lnTo>
                    <a:pt x="1428" y="2517"/>
                  </a:lnTo>
                  <a:lnTo>
                    <a:pt x="1434" y="2511"/>
                  </a:lnTo>
                  <a:lnTo>
                    <a:pt x="1439" y="2507"/>
                  </a:lnTo>
                  <a:lnTo>
                    <a:pt x="1447" y="2504"/>
                  </a:lnTo>
                  <a:lnTo>
                    <a:pt x="1451" y="2503"/>
                  </a:lnTo>
                  <a:lnTo>
                    <a:pt x="1454" y="2489"/>
                  </a:lnTo>
                  <a:lnTo>
                    <a:pt x="1461" y="2481"/>
                  </a:lnTo>
                  <a:lnTo>
                    <a:pt x="1461" y="2478"/>
                  </a:lnTo>
                  <a:lnTo>
                    <a:pt x="1457" y="2472"/>
                  </a:lnTo>
                  <a:lnTo>
                    <a:pt x="1454" y="2465"/>
                  </a:lnTo>
                  <a:lnTo>
                    <a:pt x="1455" y="2448"/>
                  </a:lnTo>
                  <a:lnTo>
                    <a:pt x="1452" y="2445"/>
                  </a:lnTo>
                  <a:lnTo>
                    <a:pt x="1445" y="2443"/>
                  </a:lnTo>
                  <a:lnTo>
                    <a:pt x="1442" y="2447"/>
                  </a:lnTo>
                  <a:lnTo>
                    <a:pt x="1437" y="2458"/>
                  </a:lnTo>
                  <a:lnTo>
                    <a:pt x="1433" y="2460"/>
                  </a:lnTo>
                  <a:lnTo>
                    <a:pt x="1429" y="2460"/>
                  </a:lnTo>
                  <a:lnTo>
                    <a:pt x="1425" y="2455"/>
                  </a:lnTo>
                  <a:lnTo>
                    <a:pt x="1422" y="2450"/>
                  </a:lnTo>
                  <a:lnTo>
                    <a:pt x="1411" y="2405"/>
                  </a:lnTo>
                  <a:lnTo>
                    <a:pt x="1408" y="2397"/>
                  </a:lnTo>
                  <a:lnTo>
                    <a:pt x="1404" y="2396"/>
                  </a:lnTo>
                  <a:lnTo>
                    <a:pt x="1383" y="2403"/>
                  </a:lnTo>
                  <a:lnTo>
                    <a:pt x="1379" y="2401"/>
                  </a:lnTo>
                  <a:lnTo>
                    <a:pt x="1375" y="2396"/>
                  </a:lnTo>
                  <a:lnTo>
                    <a:pt x="1376" y="2387"/>
                  </a:lnTo>
                  <a:lnTo>
                    <a:pt x="1379" y="2386"/>
                  </a:lnTo>
                  <a:lnTo>
                    <a:pt x="1390" y="2384"/>
                  </a:lnTo>
                  <a:lnTo>
                    <a:pt x="1418" y="2381"/>
                  </a:lnTo>
                  <a:lnTo>
                    <a:pt x="1411" y="2371"/>
                  </a:lnTo>
                  <a:lnTo>
                    <a:pt x="1409" y="2360"/>
                  </a:lnTo>
                  <a:lnTo>
                    <a:pt x="1407" y="2359"/>
                  </a:lnTo>
                  <a:lnTo>
                    <a:pt x="1401" y="2361"/>
                  </a:lnTo>
                  <a:lnTo>
                    <a:pt x="1392" y="2363"/>
                  </a:lnTo>
                  <a:lnTo>
                    <a:pt x="1385" y="2361"/>
                  </a:lnTo>
                  <a:lnTo>
                    <a:pt x="1372" y="2356"/>
                  </a:lnTo>
                  <a:lnTo>
                    <a:pt x="1353" y="2343"/>
                  </a:lnTo>
                  <a:lnTo>
                    <a:pt x="1347" y="2342"/>
                  </a:lnTo>
                  <a:lnTo>
                    <a:pt x="1337" y="2341"/>
                  </a:lnTo>
                  <a:lnTo>
                    <a:pt x="1333" y="2339"/>
                  </a:lnTo>
                  <a:lnTo>
                    <a:pt x="1330" y="2336"/>
                  </a:lnTo>
                  <a:lnTo>
                    <a:pt x="1330" y="2328"/>
                  </a:lnTo>
                  <a:lnTo>
                    <a:pt x="1328" y="2324"/>
                  </a:lnTo>
                  <a:lnTo>
                    <a:pt x="1326" y="2323"/>
                  </a:lnTo>
                  <a:lnTo>
                    <a:pt x="1314" y="2319"/>
                  </a:lnTo>
                  <a:lnTo>
                    <a:pt x="1303" y="2309"/>
                  </a:lnTo>
                  <a:lnTo>
                    <a:pt x="1302" y="2304"/>
                  </a:lnTo>
                  <a:lnTo>
                    <a:pt x="1299" y="2285"/>
                  </a:lnTo>
                  <a:lnTo>
                    <a:pt x="1296" y="2279"/>
                  </a:lnTo>
                  <a:lnTo>
                    <a:pt x="1279" y="2270"/>
                  </a:lnTo>
                  <a:lnTo>
                    <a:pt x="1262" y="2250"/>
                  </a:lnTo>
                  <a:lnTo>
                    <a:pt x="1260" y="2250"/>
                  </a:lnTo>
                  <a:lnTo>
                    <a:pt x="1258" y="2251"/>
                  </a:lnTo>
                  <a:lnTo>
                    <a:pt x="1248" y="2261"/>
                  </a:lnTo>
                  <a:lnTo>
                    <a:pt x="1241" y="2265"/>
                  </a:lnTo>
                  <a:lnTo>
                    <a:pt x="1220" y="2268"/>
                  </a:lnTo>
                  <a:lnTo>
                    <a:pt x="1210" y="2275"/>
                  </a:lnTo>
                  <a:lnTo>
                    <a:pt x="1205" y="2273"/>
                  </a:lnTo>
                  <a:lnTo>
                    <a:pt x="1200" y="2267"/>
                  </a:lnTo>
                  <a:lnTo>
                    <a:pt x="1197" y="2266"/>
                  </a:lnTo>
                  <a:lnTo>
                    <a:pt x="1186" y="2280"/>
                  </a:lnTo>
                  <a:lnTo>
                    <a:pt x="1183" y="2282"/>
                  </a:lnTo>
                  <a:lnTo>
                    <a:pt x="1171" y="2285"/>
                  </a:lnTo>
                  <a:lnTo>
                    <a:pt x="1148" y="2284"/>
                  </a:lnTo>
                  <a:lnTo>
                    <a:pt x="1139" y="2288"/>
                  </a:lnTo>
                  <a:lnTo>
                    <a:pt x="1124" y="2297"/>
                  </a:lnTo>
                  <a:lnTo>
                    <a:pt x="1117" y="2300"/>
                  </a:lnTo>
                  <a:lnTo>
                    <a:pt x="1107" y="2293"/>
                  </a:lnTo>
                  <a:lnTo>
                    <a:pt x="1103" y="2292"/>
                  </a:lnTo>
                  <a:lnTo>
                    <a:pt x="1098" y="2291"/>
                  </a:lnTo>
                  <a:lnTo>
                    <a:pt x="1088" y="2293"/>
                  </a:lnTo>
                  <a:lnTo>
                    <a:pt x="1084" y="2293"/>
                  </a:lnTo>
                  <a:lnTo>
                    <a:pt x="1080" y="2280"/>
                  </a:lnTo>
                  <a:lnTo>
                    <a:pt x="1078" y="2278"/>
                  </a:lnTo>
                  <a:lnTo>
                    <a:pt x="1074" y="2279"/>
                  </a:lnTo>
                  <a:lnTo>
                    <a:pt x="1066" y="2285"/>
                  </a:lnTo>
                  <a:lnTo>
                    <a:pt x="1062" y="2287"/>
                  </a:lnTo>
                  <a:lnTo>
                    <a:pt x="1058" y="2286"/>
                  </a:lnTo>
                  <a:lnTo>
                    <a:pt x="1055" y="2282"/>
                  </a:lnTo>
                  <a:lnTo>
                    <a:pt x="1047" y="2280"/>
                  </a:lnTo>
                  <a:lnTo>
                    <a:pt x="1043" y="2257"/>
                  </a:lnTo>
                  <a:lnTo>
                    <a:pt x="1040" y="2253"/>
                  </a:lnTo>
                  <a:lnTo>
                    <a:pt x="1033" y="2250"/>
                  </a:lnTo>
                  <a:lnTo>
                    <a:pt x="1021" y="2246"/>
                  </a:lnTo>
                  <a:lnTo>
                    <a:pt x="1001" y="2243"/>
                  </a:lnTo>
                  <a:lnTo>
                    <a:pt x="992" y="2243"/>
                  </a:lnTo>
                  <a:lnTo>
                    <a:pt x="989" y="2244"/>
                  </a:lnTo>
                  <a:lnTo>
                    <a:pt x="986" y="2250"/>
                  </a:lnTo>
                  <a:lnTo>
                    <a:pt x="983" y="2253"/>
                  </a:lnTo>
                  <a:lnTo>
                    <a:pt x="973" y="2258"/>
                  </a:lnTo>
                  <a:lnTo>
                    <a:pt x="962" y="2263"/>
                  </a:lnTo>
                  <a:lnTo>
                    <a:pt x="957" y="2264"/>
                  </a:lnTo>
                  <a:lnTo>
                    <a:pt x="954" y="2264"/>
                  </a:lnTo>
                  <a:lnTo>
                    <a:pt x="951" y="2259"/>
                  </a:lnTo>
                  <a:lnTo>
                    <a:pt x="944" y="2250"/>
                  </a:lnTo>
                  <a:lnTo>
                    <a:pt x="939" y="2242"/>
                  </a:lnTo>
                  <a:lnTo>
                    <a:pt x="935" y="2237"/>
                  </a:lnTo>
                  <a:lnTo>
                    <a:pt x="932" y="2235"/>
                  </a:lnTo>
                  <a:lnTo>
                    <a:pt x="919" y="2239"/>
                  </a:lnTo>
                  <a:lnTo>
                    <a:pt x="916" y="2239"/>
                  </a:lnTo>
                  <a:lnTo>
                    <a:pt x="904" y="2222"/>
                  </a:lnTo>
                  <a:lnTo>
                    <a:pt x="890" y="2207"/>
                  </a:lnTo>
                  <a:lnTo>
                    <a:pt x="888" y="2196"/>
                  </a:lnTo>
                  <a:lnTo>
                    <a:pt x="882" y="2191"/>
                  </a:lnTo>
                  <a:lnTo>
                    <a:pt x="875" y="2189"/>
                  </a:lnTo>
                  <a:lnTo>
                    <a:pt x="860" y="2189"/>
                  </a:lnTo>
                  <a:lnTo>
                    <a:pt x="845" y="2196"/>
                  </a:lnTo>
                  <a:lnTo>
                    <a:pt x="839" y="2197"/>
                  </a:lnTo>
                  <a:lnTo>
                    <a:pt x="836" y="2197"/>
                  </a:lnTo>
                  <a:lnTo>
                    <a:pt x="831" y="2189"/>
                  </a:lnTo>
                  <a:lnTo>
                    <a:pt x="828" y="2157"/>
                  </a:lnTo>
                  <a:lnTo>
                    <a:pt x="824" y="2153"/>
                  </a:lnTo>
                  <a:lnTo>
                    <a:pt x="821" y="2153"/>
                  </a:lnTo>
                  <a:lnTo>
                    <a:pt x="812" y="2157"/>
                  </a:lnTo>
                  <a:lnTo>
                    <a:pt x="795" y="2161"/>
                  </a:lnTo>
                  <a:lnTo>
                    <a:pt x="792" y="2163"/>
                  </a:lnTo>
                  <a:lnTo>
                    <a:pt x="788" y="2168"/>
                  </a:lnTo>
                  <a:lnTo>
                    <a:pt x="785" y="2170"/>
                  </a:lnTo>
                  <a:lnTo>
                    <a:pt x="777" y="2158"/>
                  </a:lnTo>
                  <a:lnTo>
                    <a:pt x="758" y="2147"/>
                  </a:lnTo>
                  <a:lnTo>
                    <a:pt x="754" y="2137"/>
                  </a:lnTo>
                  <a:lnTo>
                    <a:pt x="752" y="2135"/>
                  </a:lnTo>
                  <a:lnTo>
                    <a:pt x="747" y="2136"/>
                  </a:lnTo>
                  <a:lnTo>
                    <a:pt x="738" y="2140"/>
                  </a:lnTo>
                  <a:lnTo>
                    <a:pt x="727" y="2140"/>
                  </a:lnTo>
                  <a:lnTo>
                    <a:pt x="709" y="2136"/>
                  </a:lnTo>
                  <a:lnTo>
                    <a:pt x="689" y="2132"/>
                  </a:lnTo>
                  <a:lnTo>
                    <a:pt x="684" y="2130"/>
                  </a:lnTo>
                  <a:lnTo>
                    <a:pt x="678" y="2123"/>
                  </a:lnTo>
                  <a:lnTo>
                    <a:pt x="669" y="2120"/>
                  </a:lnTo>
                  <a:lnTo>
                    <a:pt x="662" y="2119"/>
                  </a:lnTo>
                  <a:lnTo>
                    <a:pt x="650" y="2122"/>
                  </a:lnTo>
                  <a:lnTo>
                    <a:pt x="644" y="2119"/>
                  </a:lnTo>
                  <a:lnTo>
                    <a:pt x="622" y="2117"/>
                  </a:lnTo>
                  <a:lnTo>
                    <a:pt x="613" y="2115"/>
                  </a:lnTo>
                  <a:lnTo>
                    <a:pt x="611" y="2110"/>
                  </a:lnTo>
                  <a:lnTo>
                    <a:pt x="611" y="2099"/>
                  </a:lnTo>
                  <a:lnTo>
                    <a:pt x="614" y="2094"/>
                  </a:lnTo>
                  <a:lnTo>
                    <a:pt x="625" y="2078"/>
                  </a:lnTo>
                  <a:lnTo>
                    <a:pt x="625" y="2076"/>
                  </a:lnTo>
                  <a:lnTo>
                    <a:pt x="624" y="2072"/>
                  </a:lnTo>
                  <a:lnTo>
                    <a:pt x="612" y="2072"/>
                  </a:lnTo>
                  <a:lnTo>
                    <a:pt x="609" y="2070"/>
                  </a:lnTo>
                  <a:lnTo>
                    <a:pt x="605" y="2064"/>
                  </a:lnTo>
                  <a:lnTo>
                    <a:pt x="601" y="2063"/>
                  </a:lnTo>
                  <a:lnTo>
                    <a:pt x="590" y="2064"/>
                  </a:lnTo>
                  <a:lnTo>
                    <a:pt x="579" y="2063"/>
                  </a:lnTo>
                  <a:lnTo>
                    <a:pt x="575" y="2064"/>
                  </a:lnTo>
                  <a:lnTo>
                    <a:pt x="570" y="2071"/>
                  </a:lnTo>
                  <a:lnTo>
                    <a:pt x="564" y="2076"/>
                  </a:lnTo>
                  <a:lnTo>
                    <a:pt x="558" y="2076"/>
                  </a:lnTo>
                  <a:lnTo>
                    <a:pt x="550" y="2073"/>
                  </a:lnTo>
                  <a:lnTo>
                    <a:pt x="541" y="2054"/>
                  </a:lnTo>
                  <a:lnTo>
                    <a:pt x="526" y="2037"/>
                  </a:lnTo>
                  <a:lnTo>
                    <a:pt x="520" y="2019"/>
                  </a:lnTo>
                  <a:lnTo>
                    <a:pt x="517" y="2017"/>
                  </a:lnTo>
                  <a:lnTo>
                    <a:pt x="500" y="2018"/>
                  </a:lnTo>
                  <a:lnTo>
                    <a:pt x="492" y="2015"/>
                  </a:lnTo>
                  <a:lnTo>
                    <a:pt x="485" y="2009"/>
                  </a:lnTo>
                  <a:lnTo>
                    <a:pt x="468" y="1991"/>
                  </a:lnTo>
                  <a:lnTo>
                    <a:pt x="458" y="1983"/>
                  </a:lnTo>
                  <a:lnTo>
                    <a:pt x="452" y="1976"/>
                  </a:lnTo>
                  <a:lnTo>
                    <a:pt x="450" y="1972"/>
                  </a:lnTo>
                  <a:lnTo>
                    <a:pt x="447" y="1956"/>
                  </a:lnTo>
                  <a:lnTo>
                    <a:pt x="444" y="1953"/>
                  </a:lnTo>
                  <a:lnTo>
                    <a:pt x="438" y="1952"/>
                  </a:lnTo>
                  <a:lnTo>
                    <a:pt x="428" y="1953"/>
                  </a:lnTo>
                  <a:lnTo>
                    <a:pt x="419" y="1951"/>
                  </a:lnTo>
                  <a:lnTo>
                    <a:pt x="408" y="1944"/>
                  </a:lnTo>
                  <a:lnTo>
                    <a:pt x="379" y="1923"/>
                  </a:lnTo>
                  <a:lnTo>
                    <a:pt x="365" y="1917"/>
                  </a:lnTo>
                  <a:lnTo>
                    <a:pt x="360" y="1917"/>
                  </a:lnTo>
                  <a:lnTo>
                    <a:pt x="344" y="1925"/>
                  </a:lnTo>
                  <a:lnTo>
                    <a:pt x="341" y="1926"/>
                  </a:lnTo>
                  <a:lnTo>
                    <a:pt x="331" y="1923"/>
                  </a:lnTo>
                  <a:lnTo>
                    <a:pt x="319" y="1912"/>
                  </a:lnTo>
                  <a:lnTo>
                    <a:pt x="317" y="1912"/>
                  </a:lnTo>
                  <a:lnTo>
                    <a:pt x="310" y="1912"/>
                  </a:lnTo>
                  <a:lnTo>
                    <a:pt x="298" y="1905"/>
                  </a:lnTo>
                  <a:lnTo>
                    <a:pt x="293" y="1905"/>
                  </a:lnTo>
                  <a:lnTo>
                    <a:pt x="288" y="1910"/>
                  </a:lnTo>
                  <a:lnTo>
                    <a:pt x="285" y="1912"/>
                  </a:lnTo>
                  <a:lnTo>
                    <a:pt x="277" y="1907"/>
                  </a:lnTo>
                  <a:lnTo>
                    <a:pt x="272" y="1905"/>
                  </a:lnTo>
                  <a:lnTo>
                    <a:pt x="223" y="1893"/>
                  </a:lnTo>
                  <a:lnTo>
                    <a:pt x="217" y="1891"/>
                  </a:lnTo>
                  <a:lnTo>
                    <a:pt x="212" y="1887"/>
                  </a:lnTo>
                  <a:lnTo>
                    <a:pt x="181" y="1856"/>
                  </a:lnTo>
                  <a:lnTo>
                    <a:pt x="167" y="1851"/>
                  </a:lnTo>
                  <a:lnTo>
                    <a:pt x="151" y="1842"/>
                  </a:lnTo>
                  <a:lnTo>
                    <a:pt x="144" y="1833"/>
                  </a:lnTo>
                  <a:lnTo>
                    <a:pt x="134" y="1815"/>
                  </a:lnTo>
                  <a:lnTo>
                    <a:pt x="125" y="1800"/>
                  </a:lnTo>
                  <a:lnTo>
                    <a:pt x="119" y="1779"/>
                  </a:lnTo>
                  <a:lnTo>
                    <a:pt x="116" y="1775"/>
                  </a:lnTo>
                  <a:lnTo>
                    <a:pt x="110" y="1770"/>
                  </a:lnTo>
                  <a:lnTo>
                    <a:pt x="91" y="1759"/>
                  </a:lnTo>
                  <a:lnTo>
                    <a:pt x="83" y="1752"/>
                  </a:lnTo>
                  <a:lnTo>
                    <a:pt x="78" y="1730"/>
                  </a:lnTo>
                  <a:lnTo>
                    <a:pt x="64" y="1713"/>
                  </a:lnTo>
                  <a:lnTo>
                    <a:pt x="61" y="1708"/>
                  </a:lnTo>
                  <a:lnTo>
                    <a:pt x="61" y="1703"/>
                  </a:lnTo>
                  <a:lnTo>
                    <a:pt x="67" y="1688"/>
                  </a:lnTo>
                  <a:lnTo>
                    <a:pt x="68" y="1675"/>
                  </a:lnTo>
                  <a:lnTo>
                    <a:pt x="65" y="1671"/>
                  </a:lnTo>
                  <a:lnTo>
                    <a:pt x="56" y="1664"/>
                  </a:lnTo>
                  <a:lnTo>
                    <a:pt x="53" y="1659"/>
                  </a:lnTo>
                  <a:lnTo>
                    <a:pt x="53" y="1655"/>
                  </a:lnTo>
                  <a:lnTo>
                    <a:pt x="62" y="1639"/>
                  </a:lnTo>
                  <a:lnTo>
                    <a:pt x="46" y="1619"/>
                  </a:lnTo>
                  <a:lnTo>
                    <a:pt x="41" y="1617"/>
                  </a:lnTo>
                  <a:lnTo>
                    <a:pt x="34" y="1614"/>
                  </a:lnTo>
                  <a:lnTo>
                    <a:pt x="31" y="1611"/>
                  </a:lnTo>
                  <a:lnTo>
                    <a:pt x="20" y="1587"/>
                  </a:lnTo>
                  <a:lnTo>
                    <a:pt x="10" y="1575"/>
                  </a:lnTo>
                  <a:lnTo>
                    <a:pt x="6" y="1562"/>
                  </a:lnTo>
                  <a:lnTo>
                    <a:pt x="0" y="1551"/>
                  </a:lnTo>
                  <a:lnTo>
                    <a:pt x="2" y="1546"/>
                  </a:lnTo>
                  <a:lnTo>
                    <a:pt x="11" y="1540"/>
                  </a:lnTo>
                  <a:lnTo>
                    <a:pt x="19" y="1528"/>
                  </a:lnTo>
                  <a:lnTo>
                    <a:pt x="43" y="1522"/>
                  </a:lnTo>
                  <a:lnTo>
                    <a:pt x="61" y="1517"/>
                  </a:lnTo>
                  <a:lnTo>
                    <a:pt x="66" y="1489"/>
                  </a:lnTo>
                  <a:lnTo>
                    <a:pt x="68" y="1485"/>
                  </a:lnTo>
                  <a:lnTo>
                    <a:pt x="79" y="1470"/>
                  </a:lnTo>
                  <a:lnTo>
                    <a:pt x="83" y="1463"/>
                  </a:lnTo>
                  <a:lnTo>
                    <a:pt x="74" y="1445"/>
                  </a:lnTo>
                  <a:lnTo>
                    <a:pt x="80" y="1398"/>
                  </a:lnTo>
                  <a:lnTo>
                    <a:pt x="75" y="1383"/>
                  </a:lnTo>
                  <a:lnTo>
                    <a:pt x="74" y="1379"/>
                  </a:lnTo>
                  <a:lnTo>
                    <a:pt x="75" y="1375"/>
                  </a:lnTo>
                  <a:lnTo>
                    <a:pt x="79" y="1368"/>
                  </a:lnTo>
                  <a:lnTo>
                    <a:pt x="80" y="1362"/>
                  </a:lnTo>
                  <a:lnTo>
                    <a:pt x="79" y="1360"/>
                  </a:lnTo>
                  <a:lnTo>
                    <a:pt x="66" y="1351"/>
                  </a:lnTo>
                  <a:lnTo>
                    <a:pt x="65" y="1349"/>
                  </a:lnTo>
                  <a:lnTo>
                    <a:pt x="66" y="1346"/>
                  </a:lnTo>
                  <a:lnTo>
                    <a:pt x="70" y="1339"/>
                  </a:lnTo>
                  <a:lnTo>
                    <a:pt x="80" y="1327"/>
                  </a:lnTo>
                  <a:lnTo>
                    <a:pt x="97" y="1323"/>
                  </a:lnTo>
                  <a:lnTo>
                    <a:pt x="106" y="1310"/>
                  </a:lnTo>
                  <a:lnTo>
                    <a:pt x="110" y="1305"/>
                  </a:lnTo>
                  <a:lnTo>
                    <a:pt x="112" y="1299"/>
                  </a:lnTo>
                  <a:lnTo>
                    <a:pt x="111" y="1296"/>
                  </a:lnTo>
                  <a:lnTo>
                    <a:pt x="105" y="1285"/>
                  </a:lnTo>
                  <a:lnTo>
                    <a:pt x="103" y="1275"/>
                  </a:lnTo>
                  <a:lnTo>
                    <a:pt x="90" y="1274"/>
                  </a:lnTo>
                  <a:lnTo>
                    <a:pt x="86" y="1272"/>
                  </a:lnTo>
                  <a:lnTo>
                    <a:pt x="82" y="1268"/>
                  </a:lnTo>
                  <a:lnTo>
                    <a:pt x="77" y="1267"/>
                  </a:lnTo>
                  <a:lnTo>
                    <a:pt x="64" y="1276"/>
                  </a:lnTo>
                  <a:lnTo>
                    <a:pt x="59" y="1277"/>
                  </a:lnTo>
                  <a:lnTo>
                    <a:pt x="49" y="1271"/>
                  </a:lnTo>
                  <a:lnTo>
                    <a:pt x="44" y="1267"/>
                  </a:lnTo>
                  <a:lnTo>
                    <a:pt x="41" y="1261"/>
                  </a:lnTo>
                  <a:lnTo>
                    <a:pt x="39" y="1255"/>
                  </a:lnTo>
                  <a:lnTo>
                    <a:pt x="58" y="1209"/>
                  </a:lnTo>
                  <a:lnTo>
                    <a:pt x="59" y="1202"/>
                  </a:lnTo>
                  <a:lnTo>
                    <a:pt x="58" y="1197"/>
                  </a:lnTo>
                  <a:lnTo>
                    <a:pt x="55" y="1191"/>
                  </a:lnTo>
                  <a:lnTo>
                    <a:pt x="49" y="1183"/>
                  </a:lnTo>
                  <a:lnTo>
                    <a:pt x="42" y="1172"/>
                  </a:lnTo>
                  <a:lnTo>
                    <a:pt x="32" y="1157"/>
                  </a:lnTo>
                  <a:lnTo>
                    <a:pt x="31" y="1149"/>
                  </a:lnTo>
                  <a:lnTo>
                    <a:pt x="35" y="1145"/>
                  </a:lnTo>
                  <a:lnTo>
                    <a:pt x="44" y="1142"/>
                  </a:lnTo>
                  <a:lnTo>
                    <a:pt x="50" y="1137"/>
                  </a:lnTo>
                  <a:lnTo>
                    <a:pt x="43" y="1132"/>
                  </a:lnTo>
                  <a:lnTo>
                    <a:pt x="53" y="1122"/>
                  </a:lnTo>
                  <a:lnTo>
                    <a:pt x="53" y="1118"/>
                  </a:lnTo>
                  <a:lnTo>
                    <a:pt x="53" y="1108"/>
                  </a:lnTo>
                  <a:lnTo>
                    <a:pt x="56" y="1103"/>
                  </a:lnTo>
                  <a:lnTo>
                    <a:pt x="65" y="1100"/>
                  </a:lnTo>
                  <a:lnTo>
                    <a:pt x="90" y="1097"/>
                  </a:lnTo>
                  <a:lnTo>
                    <a:pt x="106" y="1099"/>
                  </a:lnTo>
                  <a:lnTo>
                    <a:pt x="121" y="1085"/>
                  </a:lnTo>
                  <a:lnTo>
                    <a:pt x="130" y="1082"/>
                  </a:lnTo>
                  <a:lnTo>
                    <a:pt x="133" y="1079"/>
                  </a:lnTo>
                  <a:lnTo>
                    <a:pt x="134" y="1076"/>
                  </a:lnTo>
                  <a:lnTo>
                    <a:pt x="134" y="1075"/>
                  </a:lnTo>
                  <a:lnTo>
                    <a:pt x="123" y="1070"/>
                  </a:lnTo>
                  <a:lnTo>
                    <a:pt x="122" y="1067"/>
                  </a:lnTo>
                  <a:lnTo>
                    <a:pt x="121" y="1061"/>
                  </a:lnTo>
                  <a:lnTo>
                    <a:pt x="121" y="1054"/>
                  </a:lnTo>
                  <a:lnTo>
                    <a:pt x="122" y="1053"/>
                  </a:lnTo>
                  <a:lnTo>
                    <a:pt x="133" y="1053"/>
                  </a:lnTo>
                  <a:lnTo>
                    <a:pt x="137" y="1049"/>
                  </a:lnTo>
                  <a:lnTo>
                    <a:pt x="137" y="1046"/>
                  </a:lnTo>
                  <a:lnTo>
                    <a:pt x="131" y="1029"/>
                  </a:lnTo>
                  <a:lnTo>
                    <a:pt x="137" y="1019"/>
                  </a:lnTo>
                  <a:lnTo>
                    <a:pt x="140" y="996"/>
                  </a:lnTo>
                  <a:lnTo>
                    <a:pt x="144" y="992"/>
                  </a:lnTo>
                  <a:lnTo>
                    <a:pt x="156" y="989"/>
                  </a:lnTo>
                  <a:lnTo>
                    <a:pt x="157" y="982"/>
                  </a:lnTo>
                  <a:lnTo>
                    <a:pt x="158" y="970"/>
                  </a:lnTo>
                  <a:lnTo>
                    <a:pt x="164" y="956"/>
                  </a:lnTo>
                  <a:lnTo>
                    <a:pt x="164" y="953"/>
                  </a:lnTo>
                  <a:lnTo>
                    <a:pt x="162" y="952"/>
                  </a:lnTo>
                  <a:lnTo>
                    <a:pt x="148" y="953"/>
                  </a:lnTo>
                  <a:lnTo>
                    <a:pt x="139" y="952"/>
                  </a:lnTo>
                  <a:lnTo>
                    <a:pt x="120" y="949"/>
                  </a:lnTo>
                  <a:lnTo>
                    <a:pt x="105" y="946"/>
                  </a:lnTo>
                  <a:lnTo>
                    <a:pt x="98" y="941"/>
                  </a:lnTo>
                  <a:lnTo>
                    <a:pt x="82" y="928"/>
                  </a:lnTo>
                  <a:lnTo>
                    <a:pt x="76" y="922"/>
                  </a:lnTo>
                  <a:lnTo>
                    <a:pt x="75" y="917"/>
                  </a:lnTo>
                  <a:lnTo>
                    <a:pt x="74" y="876"/>
                  </a:lnTo>
                  <a:lnTo>
                    <a:pt x="77" y="868"/>
                  </a:lnTo>
                  <a:lnTo>
                    <a:pt x="79" y="866"/>
                  </a:lnTo>
                  <a:lnTo>
                    <a:pt x="97" y="880"/>
                  </a:lnTo>
                  <a:lnTo>
                    <a:pt x="103" y="882"/>
                  </a:lnTo>
                  <a:lnTo>
                    <a:pt x="109" y="882"/>
                  </a:lnTo>
                  <a:lnTo>
                    <a:pt x="123" y="878"/>
                  </a:lnTo>
                  <a:lnTo>
                    <a:pt x="134" y="873"/>
                  </a:lnTo>
                  <a:lnTo>
                    <a:pt x="143" y="868"/>
                  </a:lnTo>
                  <a:lnTo>
                    <a:pt x="150" y="862"/>
                  </a:lnTo>
                  <a:lnTo>
                    <a:pt x="150" y="862"/>
                  </a:lnTo>
                  <a:lnTo>
                    <a:pt x="176" y="875"/>
                  </a:lnTo>
                  <a:lnTo>
                    <a:pt x="190" y="880"/>
                  </a:lnTo>
                  <a:lnTo>
                    <a:pt x="193" y="880"/>
                  </a:lnTo>
                  <a:lnTo>
                    <a:pt x="204" y="877"/>
                  </a:lnTo>
                  <a:lnTo>
                    <a:pt x="208" y="878"/>
                  </a:lnTo>
                  <a:lnTo>
                    <a:pt x="212" y="880"/>
                  </a:lnTo>
                  <a:lnTo>
                    <a:pt x="218" y="886"/>
                  </a:lnTo>
                  <a:lnTo>
                    <a:pt x="221" y="887"/>
                  </a:lnTo>
                  <a:lnTo>
                    <a:pt x="222" y="884"/>
                  </a:lnTo>
                  <a:lnTo>
                    <a:pt x="223" y="875"/>
                  </a:lnTo>
                  <a:lnTo>
                    <a:pt x="226" y="869"/>
                  </a:lnTo>
                  <a:lnTo>
                    <a:pt x="234" y="865"/>
                  </a:lnTo>
                  <a:lnTo>
                    <a:pt x="244" y="854"/>
                  </a:lnTo>
                  <a:lnTo>
                    <a:pt x="251" y="839"/>
                  </a:lnTo>
                  <a:lnTo>
                    <a:pt x="252" y="834"/>
                  </a:lnTo>
                  <a:lnTo>
                    <a:pt x="252" y="827"/>
                  </a:lnTo>
                  <a:lnTo>
                    <a:pt x="253" y="825"/>
                  </a:lnTo>
                  <a:lnTo>
                    <a:pt x="254" y="825"/>
                  </a:lnTo>
                  <a:lnTo>
                    <a:pt x="268" y="830"/>
                  </a:lnTo>
                  <a:lnTo>
                    <a:pt x="278" y="839"/>
                  </a:lnTo>
                  <a:lnTo>
                    <a:pt x="280" y="841"/>
                  </a:lnTo>
                  <a:lnTo>
                    <a:pt x="280" y="843"/>
                  </a:lnTo>
                  <a:lnTo>
                    <a:pt x="276" y="858"/>
                  </a:lnTo>
                  <a:lnTo>
                    <a:pt x="282" y="862"/>
                  </a:lnTo>
                  <a:lnTo>
                    <a:pt x="296" y="869"/>
                  </a:lnTo>
                  <a:lnTo>
                    <a:pt x="303" y="877"/>
                  </a:lnTo>
                  <a:lnTo>
                    <a:pt x="353" y="894"/>
                  </a:lnTo>
                  <a:lnTo>
                    <a:pt x="379" y="895"/>
                  </a:lnTo>
                  <a:lnTo>
                    <a:pt x="400" y="906"/>
                  </a:lnTo>
                  <a:lnTo>
                    <a:pt x="417" y="912"/>
                  </a:lnTo>
                  <a:lnTo>
                    <a:pt x="421" y="914"/>
                  </a:lnTo>
                  <a:lnTo>
                    <a:pt x="427" y="919"/>
                  </a:lnTo>
                  <a:lnTo>
                    <a:pt x="444" y="948"/>
                  </a:lnTo>
                  <a:lnTo>
                    <a:pt x="450" y="953"/>
                  </a:lnTo>
                  <a:lnTo>
                    <a:pt x="464" y="955"/>
                  </a:lnTo>
                  <a:lnTo>
                    <a:pt x="471" y="953"/>
                  </a:lnTo>
                  <a:lnTo>
                    <a:pt x="476" y="950"/>
                  </a:lnTo>
                  <a:lnTo>
                    <a:pt x="486" y="937"/>
                  </a:lnTo>
                  <a:lnTo>
                    <a:pt x="493" y="933"/>
                  </a:lnTo>
                  <a:lnTo>
                    <a:pt x="498" y="934"/>
                  </a:lnTo>
                  <a:lnTo>
                    <a:pt x="507" y="938"/>
                  </a:lnTo>
                  <a:lnTo>
                    <a:pt x="517" y="938"/>
                  </a:lnTo>
                  <a:lnTo>
                    <a:pt x="522" y="929"/>
                  </a:lnTo>
                  <a:lnTo>
                    <a:pt x="524" y="914"/>
                  </a:lnTo>
                  <a:lnTo>
                    <a:pt x="517" y="897"/>
                  </a:lnTo>
                  <a:lnTo>
                    <a:pt x="516" y="892"/>
                  </a:lnTo>
                  <a:lnTo>
                    <a:pt x="518" y="885"/>
                  </a:lnTo>
                  <a:lnTo>
                    <a:pt x="524" y="878"/>
                  </a:lnTo>
                  <a:lnTo>
                    <a:pt x="526" y="873"/>
                  </a:lnTo>
                  <a:lnTo>
                    <a:pt x="521" y="864"/>
                  </a:lnTo>
                  <a:lnTo>
                    <a:pt x="520" y="855"/>
                  </a:lnTo>
                  <a:lnTo>
                    <a:pt x="525" y="836"/>
                  </a:lnTo>
                  <a:lnTo>
                    <a:pt x="535" y="815"/>
                  </a:lnTo>
                  <a:lnTo>
                    <a:pt x="535" y="811"/>
                  </a:lnTo>
                  <a:lnTo>
                    <a:pt x="530" y="803"/>
                  </a:lnTo>
                  <a:lnTo>
                    <a:pt x="529" y="793"/>
                  </a:lnTo>
                  <a:lnTo>
                    <a:pt x="528" y="790"/>
                  </a:lnTo>
                  <a:lnTo>
                    <a:pt x="501" y="779"/>
                  </a:lnTo>
                  <a:lnTo>
                    <a:pt x="489" y="776"/>
                  </a:lnTo>
                  <a:lnTo>
                    <a:pt x="482" y="769"/>
                  </a:lnTo>
                  <a:lnTo>
                    <a:pt x="468" y="760"/>
                  </a:lnTo>
                  <a:lnTo>
                    <a:pt x="462" y="755"/>
                  </a:lnTo>
                  <a:lnTo>
                    <a:pt x="461" y="751"/>
                  </a:lnTo>
                  <a:lnTo>
                    <a:pt x="463" y="742"/>
                  </a:lnTo>
                  <a:lnTo>
                    <a:pt x="460" y="731"/>
                  </a:lnTo>
                  <a:lnTo>
                    <a:pt x="464" y="720"/>
                  </a:lnTo>
                  <a:lnTo>
                    <a:pt x="469" y="716"/>
                  </a:lnTo>
                  <a:lnTo>
                    <a:pt x="470" y="714"/>
                  </a:lnTo>
                  <a:lnTo>
                    <a:pt x="470" y="710"/>
                  </a:lnTo>
                  <a:lnTo>
                    <a:pt x="468" y="697"/>
                  </a:lnTo>
                  <a:lnTo>
                    <a:pt x="469" y="687"/>
                  </a:lnTo>
                  <a:lnTo>
                    <a:pt x="471" y="683"/>
                  </a:lnTo>
                  <a:lnTo>
                    <a:pt x="475" y="681"/>
                  </a:lnTo>
                  <a:lnTo>
                    <a:pt x="487" y="675"/>
                  </a:lnTo>
                  <a:lnTo>
                    <a:pt x="496" y="669"/>
                  </a:lnTo>
                  <a:lnTo>
                    <a:pt x="504" y="661"/>
                  </a:lnTo>
                  <a:lnTo>
                    <a:pt x="508" y="658"/>
                  </a:lnTo>
                  <a:lnTo>
                    <a:pt x="528" y="659"/>
                  </a:lnTo>
                  <a:lnTo>
                    <a:pt x="545" y="662"/>
                  </a:lnTo>
                  <a:lnTo>
                    <a:pt x="552" y="662"/>
                  </a:lnTo>
                  <a:lnTo>
                    <a:pt x="558" y="660"/>
                  </a:lnTo>
                  <a:lnTo>
                    <a:pt x="565" y="650"/>
                  </a:lnTo>
                  <a:lnTo>
                    <a:pt x="579" y="649"/>
                  </a:lnTo>
                  <a:lnTo>
                    <a:pt x="591" y="640"/>
                  </a:lnTo>
                  <a:lnTo>
                    <a:pt x="599" y="635"/>
                  </a:lnTo>
                  <a:lnTo>
                    <a:pt x="604" y="635"/>
                  </a:lnTo>
                  <a:lnTo>
                    <a:pt x="620" y="642"/>
                  </a:lnTo>
                  <a:lnTo>
                    <a:pt x="627" y="644"/>
                  </a:lnTo>
                  <a:lnTo>
                    <a:pt x="633" y="643"/>
                  </a:lnTo>
                  <a:lnTo>
                    <a:pt x="636" y="641"/>
                  </a:lnTo>
                  <a:lnTo>
                    <a:pt x="636" y="623"/>
                  </a:lnTo>
                  <a:lnTo>
                    <a:pt x="634" y="600"/>
                  </a:lnTo>
                  <a:lnTo>
                    <a:pt x="630" y="591"/>
                  </a:lnTo>
                  <a:lnTo>
                    <a:pt x="620" y="579"/>
                  </a:lnTo>
                  <a:lnTo>
                    <a:pt x="617" y="572"/>
                  </a:lnTo>
                  <a:lnTo>
                    <a:pt x="616" y="545"/>
                  </a:lnTo>
                  <a:lnTo>
                    <a:pt x="610" y="527"/>
                  </a:lnTo>
                  <a:lnTo>
                    <a:pt x="610" y="495"/>
                  </a:lnTo>
                  <a:lnTo>
                    <a:pt x="608" y="488"/>
                  </a:lnTo>
                  <a:lnTo>
                    <a:pt x="602" y="481"/>
                  </a:lnTo>
                  <a:lnTo>
                    <a:pt x="597" y="475"/>
                  </a:lnTo>
                  <a:lnTo>
                    <a:pt x="589" y="473"/>
                  </a:lnTo>
                  <a:lnTo>
                    <a:pt x="575" y="472"/>
                  </a:lnTo>
                  <a:lnTo>
                    <a:pt x="570" y="470"/>
                  </a:lnTo>
                  <a:lnTo>
                    <a:pt x="566" y="463"/>
                  </a:lnTo>
                  <a:lnTo>
                    <a:pt x="554" y="451"/>
                  </a:lnTo>
                  <a:lnTo>
                    <a:pt x="555" y="447"/>
                  </a:lnTo>
                  <a:lnTo>
                    <a:pt x="563" y="434"/>
                  </a:lnTo>
                  <a:lnTo>
                    <a:pt x="563" y="431"/>
                  </a:lnTo>
                  <a:lnTo>
                    <a:pt x="561" y="427"/>
                  </a:lnTo>
                  <a:lnTo>
                    <a:pt x="552" y="424"/>
                  </a:lnTo>
                  <a:lnTo>
                    <a:pt x="540" y="415"/>
                  </a:lnTo>
                  <a:lnTo>
                    <a:pt x="533" y="408"/>
                  </a:lnTo>
                  <a:lnTo>
                    <a:pt x="518" y="391"/>
                  </a:lnTo>
                  <a:lnTo>
                    <a:pt x="512" y="385"/>
                  </a:lnTo>
                  <a:lnTo>
                    <a:pt x="493" y="379"/>
                  </a:lnTo>
                  <a:lnTo>
                    <a:pt x="483" y="374"/>
                  </a:lnTo>
                  <a:lnTo>
                    <a:pt x="478" y="360"/>
                  </a:lnTo>
                  <a:lnTo>
                    <a:pt x="478" y="353"/>
                  </a:lnTo>
                  <a:lnTo>
                    <a:pt x="511" y="211"/>
                  </a:lnTo>
                  <a:lnTo>
                    <a:pt x="517" y="189"/>
                  </a:lnTo>
                  <a:lnTo>
                    <a:pt x="517" y="179"/>
                  </a:lnTo>
                  <a:lnTo>
                    <a:pt x="507" y="178"/>
                  </a:lnTo>
                  <a:lnTo>
                    <a:pt x="476" y="177"/>
                  </a:lnTo>
                  <a:lnTo>
                    <a:pt x="471" y="187"/>
                  </a:lnTo>
                  <a:lnTo>
                    <a:pt x="462" y="189"/>
                  </a:lnTo>
                  <a:lnTo>
                    <a:pt x="460" y="189"/>
                  </a:lnTo>
                  <a:lnTo>
                    <a:pt x="457" y="187"/>
                  </a:lnTo>
                  <a:lnTo>
                    <a:pt x="440" y="168"/>
                  </a:lnTo>
                  <a:lnTo>
                    <a:pt x="433" y="158"/>
                  </a:lnTo>
                  <a:lnTo>
                    <a:pt x="433" y="151"/>
                  </a:lnTo>
                  <a:lnTo>
                    <a:pt x="442" y="139"/>
                  </a:lnTo>
                  <a:lnTo>
                    <a:pt x="443" y="135"/>
                  </a:lnTo>
                  <a:lnTo>
                    <a:pt x="439" y="130"/>
                  </a:lnTo>
                  <a:lnTo>
                    <a:pt x="430" y="128"/>
                  </a:lnTo>
                  <a:lnTo>
                    <a:pt x="425" y="126"/>
                  </a:lnTo>
                  <a:lnTo>
                    <a:pt x="426" y="109"/>
                  </a:lnTo>
                  <a:lnTo>
                    <a:pt x="428" y="103"/>
                  </a:lnTo>
                  <a:lnTo>
                    <a:pt x="447" y="105"/>
                  </a:lnTo>
                  <a:lnTo>
                    <a:pt x="466" y="109"/>
                  </a:lnTo>
                  <a:lnTo>
                    <a:pt x="470" y="110"/>
                  </a:lnTo>
                  <a:lnTo>
                    <a:pt x="480" y="116"/>
                  </a:lnTo>
                  <a:lnTo>
                    <a:pt x="484" y="119"/>
                  </a:lnTo>
                  <a:lnTo>
                    <a:pt x="493" y="119"/>
                  </a:lnTo>
                  <a:lnTo>
                    <a:pt x="506" y="116"/>
                  </a:lnTo>
                  <a:lnTo>
                    <a:pt x="510" y="114"/>
                  </a:lnTo>
                  <a:lnTo>
                    <a:pt x="514" y="110"/>
                  </a:lnTo>
                  <a:lnTo>
                    <a:pt x="516" y="104"/>
                  </a:lnTo>
                  <a:lnTo>
                    <a:pt x="518" y="96"/>
                  </a:lnTo>
                  <a:lnTo>
                    <a:pt x="520" y="93"/>
                  </a:lnTo>
                  <a:lnTo>
                    <a:pt x="534" y="90"/>
                  </a:lnTo>
                  <a:lnTo>
                    <a:pt x="542" y="88"/>
                  </a:lnTo>
                  <a:lnTo>
                    <a:pt x="557" y="80"/>
                  </a:lnTo>
                  <a:lnTo>
                    <a:pt x="568" y="73"/>
                  </a:lnTo>
                  <a:lnTo>
                    <a:pt x="570" y="69"/>
                  </a:lnTo>
                  <a:lnTo>
                    <a:pt x="565" y="62"/>
                  </a:lnTo>
                  <a:lnTo>
                    <a:pt x="569" y="61"/>
                  </a:lnTo>
                  <a:lnTo>
                    <a:pt x="578" y="61"/>
                  </a:lnTo>
                  <a:lnTo>
                    <a:pt x="593" y="67"/>
                  </a:lnTo>
                  <a:lnTo>
                    <a:pt x="596" y="69"/>
                  </a:lnTo>
                  <a:lnTo>
                    <a:pt x="605" y="78"/>
                  </a:lnTo>
                  <a:lnTo>
                    <a:pt x="613" y="84"/>
                  </a:lnTo>
                  <a:lnTo>
                    <a:pt x="652" y="80"/>
                  </a:lnTo>
                  <a:lnTo>
                    <a:pt x="690" y="80"/>
                  </a:lnTo>
                  <a:lnTo>
                    <a:pt x="708" y="79"/>
                  </a:lnTo>
                  <a:lnTo>
                    <a:pt x="736" y="80"/>
                  </a:lnTo>
                  <a:lnTo>
                    <a:pt x="754" y="77"/>
                  </a:lnTo>
                  <a:lnTo>
                    <a:pt x="796" y="67"/>
                  </a:lnTo>
                  <a:lnTo>
                    <a:pt x="825" y="61"/>
                  </a:lnTo>
                  <a:lnTo>
                    <a:pt x="848" y="60"/>
                  </a:lnTo>
                  <a:lnTo>
                    <a:pt x="879" y="62"/>
                  </a:lnTo>
                  <a:lnTo>
                    <a:pt x="889" y="62"/>
                  </a:lnTo>
                  <a:lnTo>
                    <a:pt x="901" y="59"/>
                  </a:lnTo>
                  <a:lnTo>
                    <a:pt x="935" y="44"/>
                  </a:lnTo>
                  <a:lnTo>
                    <a:pt x="941" y="42"/>
                  </a:lnTo>
                  <a:lnTo>
                    <a:pt x="971" y="41"/>
                  </a:lnTo>
                  <a:lnTo>
                    <a:pt x="999" y="33"/>
                  </a:lnTo>
                  <a:lnTo>
                    <a:pt x="1037" y="32"/>
                  </a:lnTo>
                  <a:lnTo>
                    <a:pt x="1037" y="32"/>
                  </a:lnTo>
                  <a:lnTo>
                    <a:pt x="1037" y="32"/>
                  </a:lnTo>
                  <a:lnTo>
                    <a:pt x="1037" y="32"/>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 name="西藏">
              <a:extLst>
                <a:ext uri="{FF2B5EF4-FFF2-40B4-BE49-F238E27FC236}">
                  <a16:creationId xmlns:a16="http://schemas.microsoft.com/office/drawing/2014/main" id="{60B5AF6C-F0C3-C160-C3BA-9AD77C9A5463}"/>
                </a:ext>
              </a:extLst>
            </p:cNvPr>
            <p:cNvSpPr>
              <a:spLocks/>
            </p:cNvSpPr>
            <p:nvPr/>
          </p:nvSpPr>
          <p:spPr bwMode="auto">
            <a:xfrm>
              <a:off x="1787526" y="2940051"/>
              <a:ext cx="2924175" cy="1931988"/>
            </a:xfrm>
            <a:custGeom>
              <a:avLst/>
              <a:gdLst>
                <a:gd name="T0" fmla="*/ 3274 w 5527"/>
                <a:gd name="T1" fmla="*/ 569 h 3649"/>
                <a:gd name="T2" fmla="*/ 3192 w 5527"/>
                <a:gd name="T3" fmla="*/ 723 h 3649"/>
                <a:gd name="T4" fmla="*/ 3223 w 5527"/>
                <a:gd name="T5" fmla="*/ 902 h 3649"/>
                <a:gd name="T6" fmla="*/ 3208 w 5527"/>
                <a:gd name="T7" fmla="*/ 1211 h 3649"/>
                <a:gd name="T8" fmla="*/ 3460 w 5527"/>
                <a:gd name="T9" fmla="*/ 1452 h 3649"/>
                <a:gd name="T10" fmla="*/ 3713 w 5527"/>
                <a:gd name="T11" fmla="*/ 1611 h 3649"/>
                <a:gd name="T12" fmla="*/ 3897 w 5527"/>
                <a:gd name="T13" fmla="*/ 1677 h 3649"/>
                <a:gd name="T14" fmla="*/ 4097 w 5527"/>
                <a:gd name="T15" fmla="*/ 1804 h 3649"/>
                <a:gd name="T16" fmla="*/ 4282 w 5527"/>
                <a:gd name="T17" fmla="*/ 1828 h 3649"/>
                <a:gd name="T18" fmla="*/ 4496 w 5527"/>
                <a:gd name="T19" fmla="*/ 1883 h 3649"/>
                <a:gd name="T20" fmla="*/ 4600 w 5527"/>
                <a:gd name="T21" fmla="*/ 2012 h 3649"/>
                <a:gd name="T22" fmla="*/ 4723 w 5527"/>
                <a:gd name="T23" fmla="*/ 2131 h 3649"/>
                <a:gd name="T24" fmla="*/ 4842 w 5527"/>
                <a:gd name="T25" fmla="*/ 2117 h 3649"/>
                <a:gd name="T26" fmla="*/ 4952 w 5527"/>
                <a:gd name="T27" fmla="*/ 2159 h 3649"/>
                <a:gd name="T28" fmla="*/ 5033 w 5527"/>
                <a:gd name="T29" fmla="*/ 2076 h 3649"/>
                <a:gd name="T30" fmla="*/ 5142 w 5527"/>
                <a:gd name="T31" fmla="*/ 1973 h 3649"/>
                <a:gd name="T32" fmla="*/ 5373 w 5527"/>
                <a:gd name="T33" fmla="*/ 2031 h 3649"/>
                <a:gd name="T34" fmla="*/ 5465 w 5527"/>
                <a:gd name="T35" fmla="*/ 2386 h 3649"/>
                <a:gd name="T36" fmla="*/ 5516 w 5527"/>
                <a:gd name="T37" fmla="*/ 2706 h 3649"/>
                <a:gd name="T38" fmla="*/ 5481 w 5527"/>
                <a:gd name="T39" fmla="*/ 3165 h 3649"/>
                <a:gd name="T40" fmla="*/ 5347 w 5527"/>
                <a:gd name="T41" fmla="*/ 3334 h 3649"/>
                <a:gd name="T42" fmla="*/ 5265 w 5527"/>
                <a:gd name="T43" fmla="*/ 3401 h 3649"/>
                <a:gd name="T44" fmla="*/ 5132 w 5527"/>
                <a:gd name="T45" fmla="*/ 3356 h 3649"/>
                <a:gd name="T46" fmla="*/ 4965 w 5527"/>
                <a:gd name="T47" fmla="*/ 3399 h 3649"/>
                <a:gd name="T48" fmla="*/ 4822 w 5527"/>
                <a:gd name="T49" fmla="*/ 3479 h 3649"/>
                <a:gd name="T50" fmla="*/ 4564 w 5527"/>
                <a:gd name="T51" fmla="*/ 3334 h 3649"/>
                <a:gd name="T52" fmla="*/ 4007 w 5527"/>
                <a:gd name="T53" fmla="*/ 3495 h 3649"/>
                <a:gd name="T54" fmla="*/ 3379 w 5527"/>
                <a:gd name="T55" fmla="*/ 3589 h 3649"/>
                <a:gd name="T56" fmla="*/ 3272 w 5527"/>
                <a:gd name="T57" fmla="*/ 3254 h 3649"/>
                <a:gd name="T58" fmla="*/ 3131 w 5527"/>
                <a:gd name="T59" fmla="*/ 3206 h 3649"/>
                <a:gd name="T60" fmla="*/ 2786 w 5527"/>
                <a:gd name="T61" fmla="*/ 3019 h 3649"/>
                <a:gd name="T62" fmla="*/ 2495 w 5527"/>
                <a:gd name="T63" fmla="*/ 3298 h 3649"/>
                <a:gd name="T64" fmla="*/ 2394 w 5527"/>
                <a:gd name="T65" fmla="*/ 3006 h 3649"/>
                <a:gd name="T66" fmla="*/ 2109 w 5527"/>
                <a:gd name="T67" fmla="*/ 3011 h 3649"/>
                <a:gd name="T68" fmla="*/ 1889 w 5527"/>
                <a:gd name="T69" fmla="*/ 2865 h 3649"/>
                <a:gd name="T70" fmla="*/ 1711 w 5527"/>
                <a:gd name="T71" fmla="*/ 2846 h 3649"/>
                <a:gd name="T72" fmla="*/ 1598 w 5527"/>
                <a:gd name="T73" fmla="*/ 2729 h 3649"/>
                <a:gd name="T74" fmla="*/ 1493 w 5527"/>
                <a:gd name="T75" fmla="*/ 2565 h 3649"/>
                <a:gd name="T76" fmla="*/ 1266 w 5527"/>
                <a:gd name="T77" fmla="*/ 2418 h 3649"/>
                <a:gd name="T78" fmla="*/ 1081 w 5527"/>
                <a:gd name="T79" fmla="*/ 2237 h 3649"/>
                <a:gd name="T80" fmla="*/ 918 w 5527"/>
                <a:gd name="T81" fmla="*/ 2022 h 3649"/>
                <a:gd name="T82" fmla="*/ 748 w 5527"/>
                <a:gd name="T83" fmla="*/ 1774 h 3649"/>
                <a:gd name="T84" fmla="*/ 537 w 5527"/>
                <a:gd name="T85" fmla="*/ 1825 h 3649"/>
                <a:gd name="T86" fmla="*/ 250 w 5527"/>
                <a:gd name="T87" fmla="*/ 1450 h 3649"/>
                <a:gd name="T88" fmla="*/ 79 w 5527"/>
                <a:gd name="T89" fmla="*/ 1335 h 3649"/>
                <a:gd name="T90" fmla="*/ 46 w 5527"/>
                <a:gd name="T91" fmla="*/ 1114 h 3649"/>
                <a:gd name="T92" fmla="*/ 29 w 5527"/>
                <a:gd name="T93" fmla="*/ 855 h 3649"/>
                <a:gd name="T94" fmla="*/ 256 w 5527"/>
                <a:gd name="T95" fmla="*/ 847 h 3649"/>
                <a:gd name="T96" fmla="*/ 231 w 5527"/>
                <a:gd name="T97" fmla="*/ 441 h 3649"/>
                <a:gd name="T98" fmla="*/ 399 w 5527"/>
                <a:gd name="T99" fmla="*/ 226 h 3649"/>
                <a:gd name="T100" fmla="*/ 618 w 5527"/>
                <a:gd name="T101" fmla="*/ 264 h 3649"/>
                <a:gd name="T102" fmla="*/ 784 w 5527"/>
                <a:gd name="T103" fmla="*/ 65 h 3649"/>
                <a:gd name="T104" fmla="*/ 942 w 5527"/>
                <a:gd name="T105" fmla="*/ 69 h 3649"/>
                <a:gd name="T106" fmla="*/ 1140 w 5527"/>
                <a:gd name="T107" fmla="*/ 168 h 3649"/>
                <a:gd name="T108" fmla="*/ 1489 w 5527"/>
                <a:gd name="T109" fmla="*/ 109 h 3649"/>
                <a:gd name="T110" fmla="*/ 1629 w 5527"/>
                <a:gd name="T111" fmla="*/ 253 h 3649"/>
                <a:gd name="T112" fmla="*/ 1898 w 5527"/>
                <a:gd name="T113" fmla="*/ 280 h 3649"/>
                <a:gd name="T114" fmla="*/ 2142 w 5527"/>
                <a:gd name="T115" fmla="*/ 263 h 3649"/>
                <a:gd name="T116" fmla="*/ 2379 w 5527"/>
                <a:gd name="T117" fmla="*/ 226 h 3649"/>
                <a:gd name="T118" fmla="*/ 2706 w 5527"/>
                <a:gd name="T119" fmla="*/ 180 h 3649"/>
                <a:gd name="T120" fmla="*/ 3018 w 5527"/>
                <a:gd name="T121" fmla="*/ 225 h 3649"/>
                <a:gd name="T122" fmla="*/ 3192 w 5527"/>
                <a:gd name="T123" fmla="*/ 311 h 3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27" h="3649">
                  <a:moveTo>
                    <a:pt x="3293" y="402"/>
                  </a:moveTo>
                  <a:lnTo>
                    <a:pt x="3286" y="408"/>
                  </a:lnTo>
                  <a:lnTo>
                    <a:pt x="3277" y="413"/>
                  </a:lnTo>
                  <a:lnTo>
                    <a:pt x="3266" y="418"/>
                  </a:lnTo>
                  <a:lnTo>
                    <a:pt x="3252" y="422"/>
                  </a:lnTo>
                  <a:lnTo>
                    <a:pt x="3246" y="422"/>
                  </a:lnTo>
                  <a:lnTo>
                    <a:pt x="3240" y="420"/>
                  </a:lnTo>
                  <a:lnTo>
                    <a:pt x="3222" y="406"/>
                  </a:lnTo>
                  <a:lnTo>
                    <a:pt x="3220" y="408"/>
                  </a:lnTo>
                  <a:lnTo>
                    <a:pt x="3217" y="416"/>
                  </a:lnTo>
                  <a:lnTo>
                    <a:pt x="3218" y="457"/>
                  </a:lnTo>
                  <a:lnTo>
                    <a:pt x="3219" y="462"/>
                  </a:lnTo>
                  <a:lnTo>
                    <a:pt x="3225" y="468"/>
                  </a:lnTo>
                  <a:lnTo>
                    <a:pt x="3241" y="481"/>
                  </a:lnTo>
                  <a:lnTo>
                    <a:pt x="3248" y="486"/>
                  </a:lnTo>
                  <a:lnTo>
                    <a:pt x="3263" y="489"/>
                  </a:lnTo>
                  <a:lnTo>
                    <a:pt x="3282" y="492"/>
                  </a:lnTo>
                  <a:lnTo>
                    <a:pt x="3291" y="493"/>
                  </a:lnTo>
                  <a:lnTo>
                    <a:pt x="3305" y="492"/>
                  </a:lnTo>
                  <a:lnTo>
                    <a:pt x="3307" y="493"/>
                  </a:lnTo>
                  <a:lnTo>
                    <a:pt x="3307" y="496"/>
                  </a:lnTo>
                  <a:lnTo>
                    <a:pt x="3301" y="510"/>
                  </a:lnTo>
                  <a:lnTo>
                    <a:pt x="3300" y="522"/>
                  </a:lnTo>
                  <a:lnTo>
                    <a:pt x="3299" y="529"/>
                  </a:lnTo>
                  <a:lnTo>
                    <a:pt x="3287" y="532"/>
                  </a:lnTo>
                  <a:lnTo>
                    <a:pt x="3283" y="536"/>
                  </a:lnTo>
                  <a:lnTo>
                    <a:pt x="3280" y="559"/>
                  </a:lnTo>
                  <a:lnTo>
                    <a:pt x="3274" y="569"/>
                  </a:lnTo>
                  <a:lnTo>
                    <a:pt x="3280" y="586"/>
                  </a:lnTo>
                  <a:lnTo>
                    <a:pt x="3280" y="589"/>
                  </a:lnTo>
                  <a:lnTo>
                    <a:pt x="3276" y="593"/>
                  </a:lnTo>
                  <a:lnTo>
                    <a:pt x="3265" y="593"/>
                  </a:lnTo>
                  <a:lnTo>
                    <a:pt x="3264" y="594"/>
                  </a:lnTo>
                  <a:lnTo>
                    <a:pt x="3264" y="601"/>
                  </a:lnTo>
                  <a:lnTo>
                    <a:pt x="3265" y="607"/>
                  </a:lnTo>
                  <a:lnTo>
                    <a:pt x="3266" y="610"/>
                  </a:lnTo>
                  <a:lnTo>
                    <a:pt x="3277" y="615"/>
                  </a:lnTo>
                  <a:lnTo>
                    <a:pt x="3277" y="616"/>
                  </a:lnTo>
                  <a:lnTo>
                    <a:pt x="3276" y="619"/>
                  </a:lnTo>
                  <a:lnTo>
                    <a:pt x="3273" y="622"/>
                  </a:lnTo>
                  <a:lnTo>
                    <a:pt x="3264" y="625"/>
                  </a:lnTo>
                  <a:lnTo>
                    <a:pt x="3249" y="639"/>
                  </a:lnTo>
                  <a:lnTo>
                    <a:pt x="3233" y="637"/>
                  </a:lnTo>
                  <a:lnTo>
                    <a:pt x="3208" y="640"/>
                  </a:lnTo>
                  <a:lnTo>
                    <a:pt x="3199" y="643"/>
                  </a:lnTo>
                  <a:lnTo>
                    <a:pt x="3196" y="648"/>
                  </a:lnTo>
                  <a:lnTo>
                    <a:pt x="3196" y="658"/>
                  </a:lnTo>
                  <a:lnTo>
                    <a:pt x="3196" y="662"/>
                  </a:lnTo>
                  <a:lnTo>
                    <a:pt x="3186" y="672"/>
                  </a:lnTo>
                  <a:lnTo>
                    <a:pt x="3193" y="677"/>
                  </a:lnTo>
                  <a:lnTo>
                    <a:pt x="3187" y="682"/>
                  </a:lnTo>
                  <a:lnTo>
                    <a:pt x="3178" y="685"/>
                  </a:lnTo>
                  <a:lnTo>
                    <a:pt x="3174" y="689"/>
                  </a:lnTo>
                  <a:lnTo>
                    <a:pt x="3175" y="697"/>
                  </a:lnTo>
                  <a:lnTo>
                    <a:pt x="3185" y="712"/>
                  </a:lnTo>
                  <a:lnTo>
                    <a:pt x="3192" y="723"/>
                  </a:lnTo>
                  <a:lnTo>
                    <a:pt x="3198" y="731"/>
                  </a:lnTo>
                  <a:lnTo>
                    <a:pt x="3201" y="737"/>
                  </a:lnTo>
                  <a:lnTo>
                    <a:pt x="3202" y="742"/>
                  </a:lnTo>
                  <a:lnTo>
                    <a:pt x="3201" y="749"/>
                  </a:lnTo>
                  <a:lnTo>
                    <a:pt x="3182" y="795"/>
                  </a:lnTo>
                  <a:lnTo>
                    <a:pt x="3184" y="801"/>
                  </a:lnTo>
                  <a:lnTo>
                    <a:pt x="3187" y="807"/>
                  </a:lnTo>
                  <a:lnTo>
                    <a:pt x="3192" y="811"/>
                  </a:lnTo>
                  <a:lnTo>
                    <a:pt x="3202" y="817"/>
                  </a:lnTo>
                  <a:lnTo>
                    <a:pt x="3207" y="816"/>
                  </a:lnTo>
                  <a:lnTo>
                    <a:pt x="3220" y="807"/>
                  </a:lnTo>
                  <a:lnTo>
                    <a:pt x="3225" y="808"/>
                  </a:lnTo>
                  <a:lnTo>
                    <a:pt x="3229" y="812"/>
                  </a:lnTo>
                  <a:lnTo>
                    <a:pt x="3233" y="814"/>
                  </a:lnTo>
                  <a:lnTo>
                    <a:pt x="3246" y="815"/>
                  </a:lnTo>
                  <a:lnTo>
                    <a:pt x="3248" y="825"/>
                  </a:lnTo>
                  <a:lnTo>
                    <a:pt x="3254" y="836"/>
                  </a:lnTo>
                  <a:lnTo>
                    <a:pt x="3255" y="839"/>
                  </a:lnTo>
                  <a:lnTo>
                    <a:pt x="3253" y="845"/>
                  </a:lnTo>
                  <a:lnTo>
                    <a:pt x="3249" y="850"/>
                  </a:lnTo>
                  <a:lnTo>
                    <a:pt x="3240" y="863"/>
                  </a:lnTo>
                  <a:lnTo>
                    <a:pt x="3223" y="867"/>
                  </a:lnTo>
                  <a:lnTo>
                    <a:pt x="3213" y="879"/>
                  </a:lnTo>
                  <a:lnTo>
                    <a:pt x="3209" y="886"/>
                  </a:lnTo>
                  <a:lnTo>
                    <a:pt x="3208" y="889"/>
                  </a:lnTo>
                  <a:lnTo>
                    <a:pt x="3209" y="891"/>
                  </a:lnTo>
                  <a:lnTo>
                    <a:pt x="3222" y="900"/>
                  </a:lnTo>
                  <a:lnTo>
                    <a:pt x="3223" y="902"/>
                  </a:lnTo>
                  <a:lnTo>
                    <a:pt x="3222" y="908"/>
                  </a:lnTo>
                  <a:lnTo>
                    <a:pt x="3218" y="915"/>
                  </a:lnTo>
                  <a:lnTo>
                    <a:pt x="3217" y="919"/>
                  </a:lnTo>
                  <a:lnTo>
                    <a:pt x="3218" y="923"/>
                  </a:lnTo>
                  <a:lnTo>
                    <a:pt x="3223" y="938"/>
                  </a:lnTo>
                  <a:lnTo>
                    <a:pt x="3217" y="985"/>
                  </a:lnTo>
                  <a:lnTo>
                    <a:pt x="3226" y="1003"/>
                  </a:lnTo>
                  <a:lnTo>
                    <a:pt x="3222" y="1010"/>
                  </a:lnTo>
                  <a:lnTo>
                    <a:pt x="3211" y="1025"/>
                  </a:lnTo>
                  <a:lnTo>
                    <a:pt x="3209" y="1029"/>
                  </a:lnTo>
                  <a:lnTo>
                    <a:pt x="3204" y="1057"/>
                  </a:lnTo>
                  <a:lnTo>
                    <a:pt x="3186" y="1062"/>
                  </a:lnTo>
                  <a:lnTo>
                    <a:pt x="3162" y="1068"/>
                  </a:lnTo>
                  <a:lnTo>
                    <a:pt x="3154" y="1080"/>
                  </a:lnTo>
                  <a:lnTo>
                    <a:pt x="3145" y="1086"/>
                  </a:lnTo>
                  <a:lnTo>
                    <a:pt x="3143" y="1091"/>
                  </a:lnTo>
                  <a:lnTo>
                    <a:pt x="3149" y="1102"/>
                  </a:lnTo>
                  <a:lnTo>
                    <a:pt x="3153" y="1115"/>
                  </a:lnTo>
                  <a:lnTo>
                    <a:pt x="3163" y="1127"/>
                  </a:lnTo>
                  <a:lnTo>
                    <a:pt x="3174" y="1151"/>
                  </a:lnTo>
                  <a:lnTo>
                    <a:pt x="3177" y="1154"/>
                  </a:lnTo>
                  <a:lnTo>
                    <a:pt x="3184" y="1157"/>
                  </a:lnTo>
                  <a:lnTo>
                    <a:pt x="3189" y="1159"/>
                  </a:lnTo>
                  <a:lnTo>
                    <a:pt x="3205" y="1179"/>
                  </a:lnTo>
                  <a:lnTo>
                    <a:pt x="3196" y="1195"/>
                  </a:lnTo>
                  <a:lnTo>
                    <a:pt x="3196" y="1199"/>
                  </a:lnTo>
                  <a:lnTo>
                    <a:pt x="3199" y="1204"/>
                  </a:lnTo>
                  <a:lnTo>
                    <a:pt x="3208" y="1211"/>
                  </a:lnTo>
                  <a:lnTo>
                    <a:pt x="3211" y="1215"/>
                  </a:lnTo>
                  <a:lnTo>
                    <a:pt x="3210" y="1228"/>
                  </a:lnTo>
                  <a:lnTo>
                    <a:pt x="3204" y="1243"/>
                  </a:lnTo>
                  <a:lnTo>
                    <a:pt x="3204" y="1248"/>
                  </a:lnTo>
                  <a:lnTo>
                    <a:pt x="3207" y="1253"/>
                  </a:lnTo>
                  <a:lnTo>
                    <a:pt x="3221" y="1270"/>
                  </a:lnTo>
                  <a:lnTo>
                    <a:pt x="3226" y="1292"/>
                  </a:lnTo>
                  <a:lnTo>
                    <a:pt x="3234" y="1299"/>
                  </a:lnTo>
                  <a:lnTo>
                    <a:pt x="3253" y="1310"/>
                  </a:lnTo>
                  <a:lnTo>
                    <a:pt x="3259" y="1315"/>
                  </a:lnTo>
                  <a:lnTo>
                    <a:pt x="3262" y="1319"/>
                  </a:lnTo>
                  <a:lnTo>
                    <a:pt x="3268" y="1340"/>
                  </a:lnTo>
                  <a:lnTo>
                    <a:pt x="3277" y="1355"/>
                  </a:lnTo>
                  <a:lnTo>
                    <a:pt x="3287" y="1373"/>
                  </a:lnTo>
                  <a:lnTo>
                    <a:pt x="3294" y="1382"/>
                  </a:lnTo>
                  <a:lnTo>
                    <a:pt x="3310" y="1391"/>
                  </a:lnTo>
                  <a:lnTo>
                    <a:pt x="3324" y="1396"/>
                  </a:lnTo>
                  <a:lnTo>
                    <a:pt x="3355" y="1427"/>
                  </a:lnTo>
                  <a:lnTo>
                    <a:pt x="3360" y="1431"/>
                  </a:lnTo>
                  <a:lnTo>
                    <a:pt x="3366" y="1433"/>
                  </a:lnTo>
                  <a:lnTo>
                    <a:pt x="3415" y="1445"/>
                  </a:lnTo>
                  <a:lnTo>
                    <a:pt x="3420" y="1447"/>
                  </a:lnTo>
                  <a:lnTo>
                    <a:pt x="3428" y="1452"/>
                  </a:lnTo>
                  <a:lnTo>
                    <a:pt x="3431" y="1450"/>
                  </a:lnTo>
                  <a:lnTo>
                    <a:pt x="3436" y="1445"/>
                  </a:lnTo>
                  <a:lnTo>
                    <a:pt x="3441" y="1445"/>
                  </a:lnTo>
                  <a:lnTo>
                    <a:pt x="3453" y="1452"/>
                  </a:lnTo>
                  <a:lnTo>
                    <a:pt x="3460" y="1452"/>
                  </a:lnTo>
                  <a:lnTo>
                    <a:pt x="3462" y="1452"/>
                  </a:lnTo>
                  <a:lnTo>
                    <a:pt x="3474" y="1463"/>
                  </a:lnTo>
                  <a:lnTo>
                    <a:pt x="3484" y="1466"/>
                  </a:lnTo>
                  <a:lnTo>
                    <a:pt x="3487" y="1465"/>
                  </a:lnTo>
                  <a:lnTo>
                    <a:pt x="3503" y="1457"/>
                  </a:lnTo>
                  <a:lnTo>
                    <a:pt x="3508" y="1457"/>
                  </a:lnTo>
                  <a:lnTo>
                    <a:pt x="3522" y="1463"/>
                  </a:lnTo>
                  <a:lnTo>
                    <a:pt x="3551" y="1484"/>
                  </a:lnTo>
                  <a:lnTo>
                    <a:pt x="3562" y="1491"/>
                  </a:lnTo>
                  <a:lnTo>
                    <a:pt x="3571" y="1493"/>
                  </a:lnTo>
                  <a:lnTo>
                    <a:pt x="3581" y="1492"/>
                  </a:lnTo>
                  <a:lnTo>
                    <a:pt x="3587" y="1493"/>
                  </a:lnTo>
                  <a:lnTo>
                    <a:pt x="3590" y="1496"/>
                  </a:lnTo>
                  <a:lnTo>
                    <a:pt x="3593" y="1512"/>
                  </a:lnTo>
                  <a:lnTo>
                    <a:pt x="3595" y="1516"/>
                  </a:lnTo>
                  <a:lnTo>
                    <a:pt x="3601" y="1523"/>
                  </a:lnTo>
                  <a:lnTo>
                    <a:pt x="3611" y="1531"/>
                  </a:lnTo>
                  <a:lnTo>
                    <a:pt x="3628" y="1549"/>
                  </a:lnTo>
                  <a:lnTo>
                    <a:pt x="3635" y="1555"/>
                  </a:lnTo>
                  <a:lnTo>
                    <a:pt x="3643" y="1558"/>
                  </a:lnTo>
                  <a:lnTo>
                    <a:pt x="3660" y="1557"/>
                  </a:lnTo>
                  <a:lnTo>
                    <a:pt x="3663" y="1559"/>
                  </a:lnTo>
                  <a:lnTo>
                    <a:pt x="3669" y="1577"/>
                  </a:lnTo>
                  <a:lnTo>
                    <a:pt x="3684" y="1594"/>
                  </a:lnTo>
                  <a:lnTo>
                    <a:pt x="3693" y="1613"/>
                  </a:lnTo>
                  <a:lnTo>
                    <a:pt x="3701" y="1616"/>
                  </a:lnTo>
                  <a:lnTo>
                    <a:pt x="3707" y="1616"/>
                  </a:lnTo>
                  <a:lnTo>
                    <a:pt x="3713" y="1611"/>
                  </a:lnTo>
                  <a:lnTo>
                    <a:pt x="3718" y="1604"/>
                  </a:lnTo>
                  <a:lnTo>
                    <a:pt x="3722" y="1603"/>
                  </a:lnTo>
                  <a:lnTo>
                    <a:pt x="3733" y="1604"/>
                  </a:lnTo>
                  <a:lnTo>
                    <a:pt x="3744" y="1603"/>
                  </a:lnTo>
                  <a:lnTo>
                    <a:pt x="3748" y="1604"/>
                  </a:lnTo>
                  <a:lnTo>
                    <a:pt x="3752" y="1610"/>
                  </a:lnTo>
                  <a:lnTo>
                    <a:pt x="3755" y="1612"/>
                  </a:lnTo>
                  <a:lnTo>
                    <a:pt x="3767" y="1612"/>
                  </a:lnTo>
                  <a:lnTo>
                    <a:pt x="3768" y="1616"/>
                  </a:lnTo>
                  <a:lnTo>
                    <a:pt x="3768" y="1618"/>
                  </a:lnTo>
                  <a:lnTo>
                    <a:pt x="3757" y="1634"/>
                  </a:lnTo>
                  <a:lnTo>
                    <a:pt x="3754" y="1639"/>
                  </a:lnTo>
                  <a:lnTo>
                    <a:pt x="3754" y="1650"/>
                  </a:lnTo>
                  <a:lnTo>
                    <a:pt x="3756" y="1655"/>
                  </a:lnTo>
                  <a:lnTo>
                    <a:pt x="3765" y="1657"/>
                  </a:lnTo>
                  <a:lnTo>
                    <a:pt x="3787" y="1659"/>
                  </a:lnTo>
                  <a:lnTo>
                    <a:pt x="3793" y="1662"/>
                  </a:lnTo>
                  <a:lnTo>
                    <a:pt x="3805" y="1659"/>
                  </a:lnTo>
                  <a:lnTo>
                    <a:pt x="3812" y="1660"/>
                  </a:lnTo>
                  <a:lnTo>
                    <a:pt x="3821" y="1663"/>
                  </a:lnTo>
                  <a:lnTo>
                    <a:pt x="3827" y="1670"/>
                  </a:lnTo>
                  <a:lnTo>
                    <a:pt x="3832" y="1672"/>
                  </a:lnTo>
                  <a:lnTo>
                    <a:pt x="3852" y="1676"/>
                  </a:lnTo>
                  <a:lnTo>
                    <a:pt x="3870" y="1680"/>
                  </a:lnTo>
                  <a:lnTo>
                    <a:pt x="3881" y="1680"/>
                  </a:lnTo>
                  <a:lnTo>
                    <a:pt x="3890" y="1676"/>
                  </a:lnTo>
                  <a:lnTo>
                    <a:pt x="3895" y="1675"/>
                  </a:lnTo>
                  <a:lnTo>
                    <a:pt x="3897" y="1677"/>
                  </a:lnTo>
                  <a:lnTo>
                    <a:pt x="3901" y="1687"/>
                  </a:lnTo>
                  <a:lnTo>
                    <a:pt x="3920" y="1698"/>
                  </a:lnTo>
                  <a:lnTo>
                    <a:pt x="3928" y="1710"/>
                  </a:lnTo>
                  <a:lnTo>
                    <a:pt x="3931" y="1708"/>
                  </a:lnTo>
                  <a:lnTo>
                    <a:pt x="3935" y="1703"/>
                  </a:lnTo>
                  <a:lnTo>
                    <a:pt x="3938" y="1701"/>
                  </a:lnTo>
                  <a:lnTo>
                    <a:pt x="3955" y="1697"/>
                  </a:lnTo>
                  <a:lnTo>
                    <a:pt x="3964" y="1693"/>
                  </a:lnTo>
                  <a:lnTo>
                    <a:pt x="3967" y="1693"/>
                  </a:lnTo>
                  <a:lnTo>
                    <a:pt x="3971" y="1697"/>
                  </a:lnTo>
                  <a:lnTo>
                    <a:pt x="3974" y="1729"/>
                  </a:lnTo>
                  <a:lnTo>
                    <a:pt x="3979" y="1737"/>
                  </a:lnTo>
                  <a:lnTo>
                    <a:pt x="3982" y="1737"/>
                  </a:lnTo>
                  <a:lnTo>
                    <a:pt x="3988" y="1736"/>
                  </a:lnTo>
                  <a:lnTo>
                    <a:pt x="4003" y="1729"/>
                  </a:lnTo>
                  <a:lnTo>
                    <a:pt x="4018" y="1729"/>
                  </a:lnTo>
                  <a:lnTo>
                    <a:pt x="4025" y="1731"/>
                  </a:lnTo>
                  <a:lnTo>
                    <a:pt x="4031" y="1736"/>
                  </a:lnTo>
                  <a:lnTo>
                    <a:pt x="4033" y="1747"/>
                  </a:lnTo>
                  <a:lnTo>
                    <a:pt x="4047" y="1762"/>
                  </a:lnTo>
                  <a:lnTo>
                    <a:pt x="4059" y="1779"/>
                  </a:lnTo>
                  <a:lnTo>
                    <a:pt x="4062" y="1779"/>
                  </a:lnTo>
                  <a:lnTo>
                    <a:pt x="4075" y="1775"/>
                  </a:lnTo>
                  <a:lnTo>
                    <a:pt x="4078" y="1777"/>
                  </a:lnTo>
                  <a:lnTo>
                    <a:pt x="4082" y="1782"/>
                  </a:lnTo>
                  <a:lnTo>
                    <a:pt x="4087" y="1790"/>
                  </a:lnTo>
                  <a:lnTo>
                    <a:pt x="4094" y="1799"/>
                  </a:lnTo>
                  <a:lnTo>
                    <a:pt x="4097" y="1804"/>
                  </a:lnTo>
                  <a:lnTo>
                    <a:pt x="4100" y="1804"/>
                  </a:lnTo>
                  <a:lnTo>
                    <a:pt x="4105" y="1803"/>
                  </a:lnTo>
                  <a:lnTo>
                    <a:pt x="4116" y="1798"/>
                  </a:lnTo>
                  <a:lnTo>
                    <a:pt x="4126" y="1793"/>
                  </a:lnTo>
                  <a:lnTo>
                    <a:pt x="4129" y="1790"/>
                  </a:lnTo>
                  <a:lnTo>
                    <a:pt x="4132" y="1784"/>
                  </a:lnTo>
                  <a:lnTo>
                    <a:pt x="4135" y="1783"/>
                  </a:lnTo>
                  <a:lnTo>
                    <a:pt x="4144" y="1783"/>
                  </a:lnTo>
                  <a:lnTo>
                    <a:pt x="4164" y="1786"/>
                  </a:lnTo>
                  <a:lnTo>
                    <a:pt x="4176" y="1790"/>
                  </a:lnTo>
                  <a:lnTo>
                    <a:pt x="4183" y="1793"/>
                  </a:lnTo>
                  <a:lnTo>
                    <a:pt x="4186" y="1797"/>
                  </a:lnTo>
                  <a:lnTo>
                    <a:pt x="4190" y="1820"/>
                  </a:lnTo>
                  <a:lnTo>
                    <a:pt x="4198" y="1822"/>
                  </a:lnTo>
                  <a:lnTo>
                    <a:pt x="4201" y="1826"/>
                  </a:lnTo>
                  <a:lnTo>
                    <a:pt x="4205" y="1827"/>
                  </a:lnTo>
                  <a:lnTo>
                    <a:pt x="4209" y="1825"/>
                  </a:lnTo>
                  <a:lnTo>
                    <a:pt x="4217" y="1819"/>
                  </a:lnTo>
                  <a:lnTo>
                    <a:pt x="4221" y="1818"/>
                  </a:lnTo>
                  <a:lnTo>
                    <a:pt x="4223" y="1820"/>
                  </a:lnTo>
                  <a:lnTo>
                    <a:pt x="4227" y="1833"/>
                  </a:lnTo>
                  <a:lnTo>
                    <a:pt x="4231" y="1833"/>
                  </a:lnTo>
                  <a:lnTo>
                    <a:pt x="4241" y="1831"/>
                  </a:lnTo>
                  <a:lnTo>
                    <a:pt x="4246" y="1832"/>
                  </a:lnTo>
                  <a:lnTo>
                    <a:pt x="4250" y="1833"/>
                  </a:lnTo>
                  <a:lnTo>
                    <a:pt x="4260" y="1840"/>
                  </a:lnTo>
                  <a:lnTo>
                    <a:pt x="4267" y="1837"/>
                  </a:lnTo>
                  <a:lnTo>
                    <a:pt x="4282" y="1828"/>
                  </a:lnTo>
                  <a:lnTo>
                    <a:pt x="4291" y="1824"/>
                  </a:lnTo>
                  <a:lnTo>
                    <a:pt x="4314" y="1825"/>
                  </a:lnTo>
                  <a:lnTo>
                    <a:pt x="4326" y="1822"/>
                  </a:lnTo>
                  <a:lnTo>
                    <a:pt x="4329" y="1820"/>
                  </a:lnTo>
                  <a:lnTo>
                    <a:pt x="4340" y="1806"/>
                  </a:lnTo>
                  <a:lnTo>
                    <a:pt x="4343" y="1807"/>
                  </a:lnTo>
                  <a:lnTo>
                    <a:pt x="4348" y="1813"/>
                  </a:lnTo>
                  <a:lnTo>
                    <a:pt x="4353" y="1815"/>
                  </a:lnTo>
                  <a:lnTo>
                    <a:pt x="4363" y="1808"/>
                  </a:lnTo>
                  <a:lnTo>
                    <a:pt x="4384" y="1805"/>
                  </a:lnTo>
                  <a:lnTo>
                    <a:pt x="4391" y="1801"/>
                  </a:lnTo>
                  <a:lnTo>
                    <a:pt x="4401" y="1791"/>
                  </a:lnTo>
                  <a:lnTo>
                    <a:pt x="4403" y="1790"/>
                  </a:lnTo>
                  <a:lnTo>
                    <a:pt x="4405" y="1790"/>
                  </a:lnTo>
                  <a:lnTo>
                    <a:pt x="4422" y="1810"/>
                  </a:lnTo>
                  <a:lnTo>
                    <a:pt x="4439" y="1819"/>
                  </a:lnTo>
                  <a:lnTo>
                    <a:pt x="4442" y="1825"/>
                  </a:lnTo>
                  <a:lnTo>
                    <a:pt x="4445" y="1844"/>
                  </a:lnTo>
                  <a:lnTo>
                    <a:pt x="4446" y="1849"/>
                  </a:lnTo>
                  <a:lnTo>
                    <a:pt x="4457" y="1859"/>
                  </a:lnTo>
                  <a:lnTo>
                    <a:pt x="4469" y="1863"/>
                  </a:lnTo>
                  <a:lnTo>
                    <a:pt x="4471" y="1864"/>
                  </a:lnTo>
                  <a:lnTo>
                    <a:pt x="4473" y="1868"/>
                  </a:lnTo>
                  <a:lnTo>
                    <a:pt x="4473" y="1876"/>
                  </a:lnTo>
                  <a:lnTo>
                    <a:pt x="4476" y="1879"/>
                  </a:lnTo>
                  <a:lnTo>
                    <a:pt x="4480" y="1881"/>
                  </a:lnTo>
                  <a:lnTo>
                    <a:pt x="4490" y="1882"/>
                  </a:lnTo>
                  <a:lnTo>
                    <a:pt x="4496" y="1883"/>
                  </a:lnTo>
                  <a:lnTo>
                    <a:pt x="4515" y="1896"/>
                  </a:lnTo>
                  <a:lnTo>
                    <a:pt x="4528" y="1901"/>
                  </a:lnTo>
                  <a:lnTo>
                    <a:pt x="4535" y="1903"/>
                  </a:lnTo>
                  <a:lnTo>
                    <a:pt x="4544" y="1901"/>
                  </a:lnTo>
                  <a:lnTo>
                    <a:pt x="4550" y="1899"/>
                  </a:lnTo>
                  <a:lnTo>
                    <a:pt x="4552" y="1900"/>
                  </a:lnTo>
                  <a:lnTo>
                    <a:pt x="4554" y="1911"/>
                  </a:lnTo>
                  <a:lnTo>
                    <a:pt x="4561" y="1921"/>
                  </a:lnTo>
                  <a:lnTo>
                    <a:pt x="4533" y="1924"/>
                  </a:lnTo>
                  <a:lnTo>
                    <a:pt x="4522" y="1926"/>
                  </a:lnTo>
                  <a:lnTo>
                    <a:pt x="4519" y="1927"/>
                  </a:lnTo>
                  <a:lnTo>
                    <a:pt x="4518" y="1936"/>
                  </a:lnTo>
                  <a:lnTo>
                    <a:pt x="4522" y="1941"/>
                  </a:lnTo>
                  <a:lnTo>
                    <a:pt x="4526" y="1943"/>
                  </a:lnTo>
                  <a:lnTo>
                    <a:pt x="4547" y="1936"/>
                  </a:lnTo>
                  <a:lnTo>
                    <a:pt x="4551" y="1937"/>
                  </a:lnTo>
                  <a:lnTo>
                    <a:pt x="4554" y="1945"/>
                  </a:lnTo>
                  <a:lnTo>
                    <a:pt x="4565" y="1990"/>
                  </a:lnTo>
                  <a:lnTo>
                    <a:pt x="4568" y="1995"/>
                  </a:lnTo>
                  <a:lnTo>
                    <a:pt x="4572" y="2000"/>
                  </a:lnTo>
                  <a:lnTo>
                    <a:pt x="4576" y="2000"/>
                  </a:lnTo>
                  <a:lnTo>
                    <a:pt x="4580" y="1998"/>
                  </a:lnTo>
                  <a:lnTo>
                    <a:pt x="4585" y="1987"/>
                  </a:lnTo>
                  <a:lnTo>
                    <a:pt x="4588" y="1983"/>
                  </a:lnTo>
                  <a:lnTo>
                    <a:pt x="4595" y="1985"/>
                  </a:lnTo>
                  <a:lnTo>
                    <a:pt x="4598" y="1988"/>
                  </a:lnTo>
                  <a:lnTo>
                    <a:pt x="4597" y="2005"/>
                  </a:lnTo>
                  <a:lnTo>
                    <a:pt x="4600" y="2012"/>
                  </a:lnTo>
                  <a:lnTo>
                    <a:pt x="4604" y="2018"/>
                  </a:lnTo>
                  <a:lnTo>
                    <a:pt x="4604" y="2021"/>
                  </a:lnTo>
                  <a:lnTo>
                    <a:pt x="4597" y="2029"/>
                  </a:lnTo>
                  <a:lnTo>
                    <a:pt x="4594" y="2043"/>
                  </a:lnTo>
                  <a:lnTo>
                    <a:pt x="4590" y="2044"/>
                  </a:lnTo>
                  <a:lnTo>
                    <a:pt x="4582" y="2047"/>
                  </a:lnTo>
                  <a:lnTo>
                    <a:pt x="4577" y="2051"/>
                  </a:lnTo>
                  <a:lnTo>
                    <a:pt x="4571" y="2057"/>
                  </a:lnTo>
                  <a:lnTo>
                    <a:pt x="4570" y="2063"/>
                  </a:lnTo>
                  <a:lnTo>
                    <a:pt x="4571" y="2069"/>
                  </a:lnTo>
                  <a:lnTo>
                    <a:pt x="4586" y="2102"/>
                  </a:lnTo>
                  <a:lnTo>
                    <a:pt x="4597" y="2119"/>
                  </a:lnTo>
                  <a:lnTo>
                    <a:pt x="4605" y="2131"/>
                  </a:lnTo>
                  <a:lnTo>
                    <a:pt x="4614" y="2139"/>
                  </a:lnTo>
                  <a:lnTo>
                    <a:pt x="4619" y="2142"/>
                  </a:lnTo>
                  <a:lnTo>
                    <a:pt x="4637" y="2125"/>
                  </a:lnTo>
                  <a:lnTo>
                    <a:pt x="4640" y="2124"/>
                  </a:lnTo>
                  <a:lnTo>
                    <a:pt x="4644" y="2126"/>
                  </a:lnTo>
                  <a:lnTo>
                    <a:pt x="4661" y="2134"/>
                  </a:lnTo>
                  <a:lnTo>
                    <a:pt x="4672" y="2145"/>
                  </a:lnTo>
                  <a:lnTo>
                    <a:pt x="4685" y="2160"/>
                  </a:lnTo>
                  <a:lnTo>
                    <a:pt x="4688" y="2162"/>
                  </a:lnTo>
                  <a:lnTo>
                    <a:pt x="4692" y="2163"/>
                  </a:lnTo>
                  <a:lnTo>
                    <a:pt x="4695" y="2161"/>
                  </a:lnTo>
                  <a:lnTo>
                    <a:pt x="4706" y="2143"/>
                  </a:lnTo>
                  <a:lnTo>
                    <a:pt x="4712" y="2134"/>
                  </a:lnTo>
                  <a:lnTo>
                    <a:pt x="4716" y="2131"/>
                  </a:lnTo>
                  <a:lnTo>
                    <a:pt x="4723" y="2131"/>
                  </a:lnTo>
                  <a:lnTo>
                    <a:pt x="4728" y="2137"/>
                  </a:lnTo>
                  <a:lnTo>
                    <a:pt x="4734" y="2148"/>
                  </a:lnTo>
                  <a:lnTo>
                    <a:pt x="4740" y="2155"/>
                  </a:lnTo>
                  <a:lnTo>
                    <a:pt x="4752" y="2165"/>
                  </a:lnTo>
                  <a:lnTo>
                    <a:pt x="4759" y="2173"/>
                  </a:lnTo>
                  <a:lnTo>
                    <a:pt x="4772" y="2181"/>
                  </a:lnTo>
                  <a:lnTo>
                    <a:pt x="4771" y="2198"/>
                  </a:lnTo>
                  <a:lnTo>
                    <a:pt x="4780" y="2202"/>
                  </a:lnTo>
                  <a:lnTo>
                    <a:pt x="4787" y="2203"/>
                  </a:lnTo>
                  <a:lnTo>
                    <a:pt x="4793" y="2201"/>
                  </a:lnTo>
                  <a:lnTo>
                    <a:pt x="4800" y="2194"/>
                  </a:lnTo>
                  <a:lnTo>
                    <a:pt x="4806" y="2184"/>
                  </a:lnTo>
                  <a:lnTo>
                    <a:pt x="4806" y="2181"/>
                  </a:lnTo>
                  <a:lnTo>
                    <a:pt x="4806" y="2178"/>
                  </a:lnTo>
                  <a:lnTo>
                    <a:pt x="4802" y="2168"/>
                  </a:lnTo>
                  <a:lnTo>
                    <a:pt x="4795" y="2153"/>
                  </a:lnTo>
                  <a:lnTo>
                    <a:pt x="4793" y="2147"/>
                  </a:lnTo>
                  <a:lnTo>
                    <a:pt x="4793" y="2141"/>
                  </a:lnTo>
                  <a:lnTo>
                    <a:pt x="4794" y="2138"/>
                  </a:lnTo>
                  <a:lnTo>
                    <a:pt x="4796" y="2133"/>
                  </a:lnTo>
                  <a:lnTo>
                    <a:pt x="4804" y="2129"/>
                  </a:lnTo>
                  <a:lnTo>
                    <a:pt x="4806" y="2127"/>
                  </a:lnTo>
                  <a:lnTo>
                    <a:pt x="4803" y="2111"/>
                  </a:lnTo>
                  <a:lnTo>
                    <a:pt x="4804" y="2108"/>
                  </a:lnTo>
                  <a:lnTo>
                    <a:pt x="4808" y="2104"/>
                  </a:lnTo>
                  <a:lnTo>
                    <a:pt x="4816" y="2103"/>
                  </a:lnTo>
                  <a:lnTo>
                    <a:pt x="4834" y="2114"/>
                  </a:lnTo>
                  <a:lnTo>
                    <a:pt x="4842" y="2117"/>
                  </a:lnTo>
                  <a:lnTo>
                    <a:pt x="4845" y="2119"/>
                  </a:lnTo>
                  <a:lnTo>
                    <a:pt x="4848" y="2123"/>
                  </a:lnTo>
                  <a:lnTo>
                    <a:pt x="4852" y="2135"/>
                  </a:lnTo>
                  <a:lnTo>
                    <a:pt x="4860" y="2149"/>
                  </a:lnTo>
                  <a:lnTo>
                    <a:pt x="4873" y="2166"/>
                  </a:lnTo>
                  <a:lnTo>
                    <a:pt x="4883" y="2176"/>
                  </a:lnTo>
                  <a:lnTo>
                    <a:pt x="4892" y="2182"/>
                  </a:lnTo>
                  <a:lnTo>
                    <a:pt x="4902" y="2185"/>
                  </a:lnTo>
                  <a:lnTo>
                    <a:pt x="4904" y="2184"/>
                  </a:lnTo>
                  <a:lnTo>
                    <a:pt x="4906" y="2178"/>
                  </a:lnTo>
                  <a:lnTo>
                    <a:pt x="4907" y="2177"/>
                  </a:lnTo>
                  <a:lnTo>
                    <a:pt x="4911" y="2180"/>
                  </a:lnTo>
                  <a:lnTo>
                    <a:pt x="4915" y="2188"/>
                  </a:lnTo>
                  <a:lnTo>
                    <a:pt x="4919" y="2190"/>
                  </a:lnTo>
                  <a:lnTo>
                    <a:pt x="4922" y="2190"/>
                  </a:lnTo>
                  <a:lnTo>
                    <a:pt x="4929" y="2184"/>
                  </a:lnTo>
                  <a:lnTo>
                    <a:pt x="4931" y="2183"/>
                  </a:lnTo>
                  <a:lnTo>
                    <a:pt x="4934" y="2186"/>
                  </a:lnTo>
                  <a:lnTo>
                    <a:pt x="4939" y="2195"/>
                  </a:lnTo>
                  <a:lnTo>
                    <a:pt x="4942" y="2199"/>
                  </a:lnTo>
                  <a:lnTo>
                    <a:pt x="4948" y="2203"/>
                  </a:lnTo>
                  <a:lnTo>
                    <a:pt x="4953" y="2204"/>
                  </a:lnTo>
                  <a:lnTo>
                    <a:pt x="4967" y="2195"/>
                  </a:lnTo>
                  <a:lnTo>
                    <a:pt x="4968" y="2193"/>
                  </a:lnTo>
                  <a:lnTo>
                    <a:pt x="4968" y="2190"/>
                  </a:lnTo>
                  <a:lnTo>
                    <a:pt x="4967" y="2184"/>
                  </a:lnTo>
                  <a:lnTo>
                    <a:pt x="4965" y="2178"/>
                  </a:lnTo>
                  <a:lnTo>
                    <a:pt x="4952" y="2159"/>
                  </a:lnTo>
                  <a:lnTo>
                    <a:pt x="4951" y="2151"/>
                  </a:lnTo>
                  <a:lnTo>
                    <a:pt x="4951" y="2144"/>
                  </a:lnTo>
                  <a:lnTo>
                    <a:pt x="4953" y="2141"/>
                  </a:lnTo>
                  <a:lnTo>
                    <a:pt x="4965" y="2137"/>
                  </a:lnTo>
                  <a:lnTo>
                    <a:pt x="4967" y="2133"/>
                  </a:lnTo>
                  <a:lnTo>
                    <a:pt x="4966" y="2129"/>
                  </a:lnTo>
                  <a:lnTo>
                    <a:pt x="4961" y="2121"/>
                  </a:lnTo>
                  <a:lnTo>
                    <a:pt x="4953" y="2103"/>
                  </a:lnTo>
                  <a:lnTo>
                    <a:pt x="4946" y="2093"/>
                  </a:lnTo>
                  <a:lnTo>
                    <a:pt x="4946" y="2090"/>
                  </a:lnTo>
                  <a:lnTo>
                    <a:pt x="4947" y="2088"/>
                  </a:lnTo>
                  <a:lnTo>
                    <a:pt x="4950" y="2087"/>
                  </a:lnTo>
                  <a:lnTo>
                    <a:pt x="4970" y="2095"/>
                  </a:lnTo>
                  <a:lnTo>
                    <a:pt x="4985" y="2101"/>
                  </a:lnTo>
                  <a:lnTo>
                    <a:pt x="4986" y="2103"/>
                  </a:lnTo>
                  <a:lnTo>
                    <a:pt x="4987" y="2109"/>
                  </a:lnTo>
                  <a:lnTo>
                    <a:pt x="4989" y="2113"/>
                  </a:lnTo>
                  <a:lnTo>
                    <a:pt x="4992" y="2115"/>
                  </a:lnTo>
                  <a:lnTo>
                    <a:pt x="4998" y="2117"/>
                  </a:lnTo>
                  <a:lnTo>
                    <a:pt x="4999" y="2111"/>
                  </a:lnTo>
                  <a:lnTo>
                    <a:pt x="5004" y="2107"/>
                  </a:lnTo>
                  <a:lnTo>
                    <a:pt x="5009" y="2106"/>
                  </a:lnTo>
                  <a:lnTo>
                    <a:pt x="5019" y="2107"/>
                  </a:lnTo>
                  <a:lnTo>
                    <a:pt x="5024" y="2097"/>
                  </a:lnTo>
                  <a:lnTo>
                    <a:pt x="5023" y="2090"/>
                  </a:lnTo>
                  <a:lnTo>
                    <a:pt x="5024" y="2083"/>
                  </a:lnTo>
                  <a:lnTo>
                    <a:pt x="5028" y="2078"/>
                  </a:lnTo>
                  <a:lnTo>
                    <a:pt x="5033" y="2076"/>
                  </a:lnTo>
                  <a:lnTo>
                    <a:pt x="5037" y="2077"/>
                  </a:lnTo>
                  <a:lnTo>
                    <a:pt x="5047" y="2083"/>
                  </a:lnTo>
                  <a:lnTo>
                    <a:pt x="5059" y="2094"/>
                  </a:lnTo>
                  <a:lnTo>
                    <a:pt x="5079" y="2103"/>
                  </a:lnTo>
                  <a:lnTo>
                    <a:pt x="5086" y="2099"/>
                  </a:lnTo>
                  <a:lnTo>
                    <a:pt x="5091" y="2099"/>
                  </a:lnTo>
                  <a:lnTo>
                    <a:pt x="5092" y="2099"/>
                  </a:lnTo>
                  <a:lnTo>
                    <a:pt x="5096" y="2081"/>
                  </a:lnTo>
                  <a:lnTo>
                    <a:pt x="5103" y="2084"/>
                  </a:lnTo>
                  <a:lnTo>
                    <a:pt x="5111" y="2092"/>
                  </a:lnTo>
                  <a:lnTo>
                    <a:pt x="5122" y="2092"/>
                  </a:lnTo>
                  <a:lnTo>
                    <a:pt x="5123" y="2074"/>
                  </a:lnTo>
                  <a:lnTo>
                    <a:pt x="5122" y="2071"/>
                  </a:lnTo>
                  <a:lnTo>
                    <a:pt x="5118" y="2066"/>
                  </a:lnTo>
                  <a:lnTo>
                    <a:pt x="5117" y="2057"/>
                  </a:lnTo>
                  <a:lnTo>
                    <a:pt x="5119" y="2040"/>
                  </a:lnTo>
                  <a:lnTo>
                    <a:pt x="5123" y="2026"/>
                  </a:lnTo>
                  <a:lnTo>
                    <a:pt x="5127" y="2022"/>
                  </a:lnTo>
                  <a:lnTo>
                    <a:pt x="5135" y="2018"/>
                  </a:lnTo>
                  <a:lnTo>
                    <a:pt x="5138" y="2019"/>
                  </a:lnTo>
                  <a:lnTo>
                    <a:pt x="5148" y="2023"/>
                  </a:lnTo>
                  <a:lnTo>
                    <a:pt x="5156" y="2022"/>
                  </a:lnTo>
                  <a:lnTo>
                    <a:pt x="5158" y="2021"/>
                  </a:lnTo>
                  <a:lnTo>
                    <a:pt x="5157" y="2007"/>
                  </a:lnTo>
                  <a:lnTo>
                    <a:pt x="5162" y="1989"/>
                  </a:lnTo>
                  <a:lnTo>
                    <a:pt x="5158" y="1985"/>
                  </a:lnTo>
                  <a:lnTo>
                    <a:pt x="5144" y="1978"/>
                  </a:lnTo>
                  <a:lnTo>
                    <a:pt x="5142" y="1973"/>
                  </a:lnTo>
                  <a:lnTo>
                    <a:pt x="5145" y="1968"/>
                  </a:lnTo>
                  <a:lnTo>
                    <a:pt x="5157" y="1959"/>
                  </a:lnTo>
                  <a:lnTo>
                    <a:pt x="5158" y="1955"/>
                  </a:lnTo>
                  <a:lnTo>
                    <a:pt x="5157" y="1953"/>
                  </a:lnTo>
                  <a:lnTo>
                    <a:pt x="5145" y="1947"/>
                  </a:lnTo>
                  <a:lnTo>
                    <a:pt x="5145" y="1943"/>
                  </a:lnTo>
                  <a:lnTo>
                    <a:pt x="5145" y="1940"/>
                  </a:lnTo>
                  <a:lnTo>
                    <a:pt x="5150" y="1936"/>
                  </a:lnTo>
                  <a:lnTo>
                    <a:pt x="5157" y="1933"/>
                  </a:lnTo>
                  <a:lnTo>
                    <a:pt x="5164" y="1932"/>
                  </a:lnTo>
                  <a:lnTo>
                    <a:pt x="5171" y="1931"/>
                  </a:lnTo>
                  <a:lnTo>
                    <a:pt x="5174" y="1933"/>
                  </a:lnTo>
                  <a:lnTo>
                    <a:pt x="5178" y="1937"/>
                  </a:lnTo>
                  <a:lnTo>
                    <a:pt x="5182" y="1940"/>
                  </a:lnTo>
                  <a:lnTo>
                    <a:pt x="5221" y="1951"/>
                  </a:lnTo>
                  <a:lnTo>
                    <a:pt x="5240" y="1955"/>
                  </a:lnTo>
                  <a:lnTo>
                    <a:pt x="5251" y="1955"/>
                  </a:lnTo>
                  <a:lnTo>
                    <a:pt x="5253" y="1954"/>
                  </a:lnTo>
                  <a:lnTo>
                    <a:pt x="5253" y="1954"/>
                  </a:lnTo>
                  <a:lnTo>
                    <a:pt x="5264" y="1960"/>
                  </a:lnTo>
                  <a:lnTo>
                    <a:pt x="5279" y="1970"/>
                  </a:lnTo>
                  <a:lnTo>
                    <a:pt x="5290" y="1980"/>
                  </a:lnTo>
                  <a:lnTo>
                    <a:pt x="5306" y="1994"/>
                  </a:lnTo>
                  <a:lnTo>
                    <a:pt x="5315" y="1998"/>
                  </a:lnTo>
                  <a:lnTo>
                    <a:pt x="5334" y="2001"/>
                  </a:lnTo>
                  <a:lnTo>
                    <a:pt x="5351" y="2016"/>
                  </a:lnTo>
                  <a:lnTo>
                    <a:pt x="5369" y="2025"/>
                  </a:lnTo>
                  <a:lnTo>
                    <a:pt x="5373" y="2031"/>
                  </a:lnTo>
                  <a:lnTo>
                    <a:pt x="5376" y="2036"/>
                  </a:lnTo>
                  <a:lnTo>
                    <a:pt x="5377" y="2056"/>
                  </a:lnTo>
                  <a:lnTo>
                    <a:pt x="5379" y="2069"/>
                  </a:lnTo>
                  <a:lnTo>
                    <a:pt x="5387" y="2083"/>
                  </a:lnTo>
                  <a:lnTo>
                    <a:pt x="5398" y="2111"/>
                  </a:lnTo>
                  <a:lnTo>
                    <a:pt x="5415" y="2135"/>
                  </a:lnTo>
                  <a:lnTo>
                    <a:pt x="5424" y="2158"/>
                  </a:lnTo>
                  <a:lnTo>
                    <a:pt x="5424" y="2164"/>
                  </a:lnTo>
                  <a:lnTo>
                    <a:pt x="5423" y="2173"/>
                  </a:lnTo>
                  <a:lnTo>
                    <a:pt x="5413" y="2194"/>
                  </a:lnTo>
                  <a:lnTo>
                    <a:pt x="5413" y="2199"/>
                  </a:lnTo>
                  <a:lnTo>
                    <a:pt x="5416" y="2206"/>
                  </a:lnTo>
                  <a:lnTo>
                    <a:pt x="5438" y="2246"/>
                  </a:lnTo>
                  <a:lnTo>
                    <a:pt x="5443" y="2257"/>
                  </a:lnTo>
                  <a:lnTo>
                    <a:pt x="5448" y="2275"/>
                  </a:lnTo>
                  <a:lnTo>
                    <a:pt x="5453" y="2287"/>
                  </a:lnTo>
                  <a:lnTo>
                    <a:pt x="5487" y="2331"/>
                  </a:lnTo>
                  <a:lnTo>
                    <a:pt x="5517" y="2365"/>
                  </a:lnTo>
                  <a:lnTo>
                    <a:pt x="5527" y="2380"/>
                  </a:lnTo>
                  <a:lnTo>
                    <a:pt x="5523" y="2386"/>
                  </a:lnTo>
                  <a:lnTo>
                    <a:pt x="5508" y="2398"/>
                  </a:lnTo>
                  <a:lnTo>
                    <a:pt x="5499" y="2411"/>
                  </a:lnTo>
                  <a:lnTo>
                    <a:pt x="5490" y="2414"/>
                  </a:lnTo>
                  <a:lnTo>
                    <a:pt x="5487" y="2414"/>
                  </a:lnTo>
                  <a:lnTo>
                    <a:pt x="5485" y="2412"/>
                  </a:lnTo>
                  <a:lnTo>
                    <a:pt x="5479" y="2398"/>
                  </a:lnTo>
                  <a:lnTo>
                    <a:pt x="5472" y="2390"/>
                  </a:lnTo>
                  <a:lnTo>
                    <a:pt x="5465" y="2386"/>
                  </a:lnTo>
                  <a:lnTo>
                    <a:pt x="5457" y="2385"/>
                  </a:lnTo>
                  <a:lnTo>
                    <a:pt x="5452" y="2393"/>
                  </a:lnTo>
                  <a:lnTo>
                    <a:pt x="5447" y="2404"/>
                  </a:lnTo>
                  <a:lnTo>
                    <a:pt x="5445" y="2415"/>
                  </a:lnTo>
                  <a:lnTo>
                    <a:pt x="5446" y="2425"/>
                  </a:lnTo>
                  <a:lnTo>
                    <a:pt x="5443" y="2435"/>
                  </a:lnTo>
                  <a:lnTo>
                    <a:pt x="5456" y="2446"/>
                  </a:lnTo>
                  <a:lnTo>
                    <a:pt x="5463" y="2454"/>
                  </a:lnTo>
                  <a:lnTo>
                    <a:pt x="5468" y="2463"/>
                  </a:lnTo>
                  <a:lnTo>
                    <a:pt x="5472" y="2479"/>
                  </a:lnTo>
                  <a:lnTo>
                    <a:pt x="5475" y="2487"/>
                  </a:lnTo>
                  <a:lnTo>
                    <a:pt x="5491" y="2505"/>
                  </a:lnTo>
                  <a:lnTo>
                    <a:pt x="5491" y="2511"/>
                  </a:lnTo>
                  <a:lnTo>
                    <a:pt x="5481" y="2536"/>
                  </a:lnTo>
                  <a:lnTo>
                    <a:pt x="5482" y="2541"/>
                  </a:lnTo>
                  <a:lnTo>
                    <a:pt x="5485" y="2544"/>
                  </a:lnTo>
                  <a:lnTo>
                    <a:pt x="5498" y="2556"/>
                  </a:lnTo>
                  <a:lnTo>
                    <a:pt x="5508" y="2577"/>
                  </a:lnTo>
                  <a:lnTo>
                    <a:pt x="5520" y="2582"/>
                  </a:lnTo>
                  <a:lnTo>
                    <a:pt x="5524" y="2587"/>
                  </a:lnTo>
                  <a:lnTo>
                    <a:pt x="5526" y="2592"/>
                  </a:lnTo>
                  <a:lnTo>
                    <a:pt x="5524" y="2598"/>
                  </a:lnTo>
                  <a:lnTo>
                    <a:pt x="5509" y="2611"/>
                  </a:lnTo>
                  <a:lnTo>
                    <a:pt x="5508" y="2616"/>
                  </a:lnTo>
                  <a:lnTo>
                    <a:pt x="5510" y="2638"/>
                  </a:lnTo>
                  <a:lnTo>
                    <a:pt x="5509" y="2663"/>
                  </a:lnTo>
                  <a:lnTo>
                    <a:pt x="5515" y="2691"/>
                  </a:lnTo>
                  <a:lnTo>
                    <a:pt x="5516" y="2706"/>
                  </a:lnTo>
                  <a:lnTo>
                    <a:pt x="5516" y="2723"/>
                  </a:lnTo>
                  <a:lnTo>
                    <a:pt x="5513" y="2769"/>
                  </a:lnTo>
                  <a:lnTo>
                    <a:pt x="5513" y="2784"/>
                  </a:lnTo>
                  <a:lnTo>
                    <a:pt x="5514" y="2792"/>
                  </a:lnTo>
                  <a:lnTo>
                    <a:pt x="5518" y="2801"/>
                  </a:lnTo>
                  <a:lnTo>
                    <a:pt x="5522" y="2815"/>
                  </a:lnTo>
                  <a:lnTo>
                    <a:pt x="5524" y="2870"/>
                  </a:lnTo>
                  <a:lnTo>
                    <a:pt x="5522" y="2880"/>
                  </a:lnTo>
                  <a:lnTo>
                    <a:pt x="5510" y="2905"/>
                  </a:lnTo>
                  <a:lnTo>
                    <a:pt x="5502" y="2928"/>
                  </a:lnTo>
                  <a:lnTo>
                    <a:pt x="5499" y="2941"/>
                  </a:lnTo>
                  <a:lnTo>
                    <a:pt x="5497" y="2956"/>
                  </a:lnTo>
                  <a:lnTo>
                    <a:pt x="5498" y="2969"/>
                  </a:lnTo>
                  <a:lnTo>
                    <a:pt x="5503" y="2988"/>
                  </a:lnTo>
                  <a:lnTo>
                    <a:pt x="5505" y="3003"/>
                  </a:lnTo>
                  <a:lnTo>
                    <a:pt x="5506" y="3071"/>
                  </a:lnTo>
                  <a:lnTo>
                    <a:pt x="5507" y="3081"/>
                  </a:lnTo>
                  <a:lnTo>
                    <a:pt x="5513" y="3105"/>
                  </a:lnTo>
                  <a:lnTo>
                    <a:pt x="5513" y="3105"/>
                  </a:lnTo>
                  <a:lnTo>
                    <a:pt x="5501" y="3108"/>
                  </a:lnTo>
                  <a:lnTo>
                    <a:pt x="5482" y="3109"/>
                  </a:lnTo>
                  <a:lnTo>
                    <a:pt x="5477" y="3111"/>
                  </a:lnTo>
                  <a:lnTo>
                    <a:pt x="5473" y="3114"/>
                  </a:lnTo>
                  <a:lnTo>
                    <a:pt x="5473" y="3118"/>
                  </a:lnTo>
                  <a:lnTo>
                    <a:pt x="5474" y="3125"/>
                  </a:lnTo>
                  <a:lnTo>
                    <a:pt x="5483" y="3148"/>
                  </a:lnTo>
                  <a:lnTo>
                    <a:pt x="5485" y="3161"/>
                  </a:lnTo>
                  <a:lnTo>
                    <a:pt x="5481" y="3165"/>
                  </a:lnTo>
                  <a:lnTo>
                    <a:pt x="5457" y="3182"/>
                  </a:lnTo>
                  <a:lnTo>
                    <a:pt x="5451" y="3194"/>
                  </a:lnTo>
                  <a:lnTo>
                    <a:pt x="5450" y="3201"/>
                  </a:lnTo>
                  <a:lnTo>
                    <a:pt x="5452" y="3209"/>
                  </a:lnTo>
                  <a:lnTo>
                    <a:pt x="5464" y="3218"/>
                  </a:lnTo>
                  <a:lnTo>
                    <a:pt x="5466" y="3221"/>
                  </a:lnTo>
                  <a:lnTo>
                    <a:pt x="5466" y="3224"/>
                  </a:lnTo>
                  <a:lnTo>
                    <a:pt x="5461" y="3228"/>
                  </a:lnTo>
                  <a:lnTo>
                    <a:pt x="5448" y="3233"/>
                  </a:lnTo>
                  <a:lnTo>
                    <a:pt x="5441" y="3238"/>
                  </a:lnTo>
                  <a:lnTo>
                    <a:pt x="5430" y="3238"/>
                  </a:lnTo>
                  <a:lnTo>
                    <a:pt x="5420" y="3235"/>
                  </a:lnTo>
                  <a:lnTo>
                    <a:pt x="5416" y="3176"/>
                  </a:lnTo>
                  <a:lnTo>
                    <a:pt x="5414" y="3171"/>
                  </a:lnTo>
                  <a:lnTo>
                    <a:pt x="5411" y="3167"/>
                  </a:lnTo>
                  <a:lnTo>
                    <a:pt x="5409" y="3167"/>
                  </a:lnTo>
                  <a:lnTo>
                    <a:pt x="5406" y="3168"/>
                  </a:lnTo>
                  <a:lnTo>
                    <a:pt x="5396" y="3175"/>
                  </a:lnTo>
                  <a:lnTo>
                    <a:pt x="5391" y="3179"/>
                  </a:lnTo>
                  <a:lnTo>
                    <a:pt x="5364" y="3180"/>
                  </a:lnTo>
                  <a:lnTo>
                    <a:pt x="5370" y="3200"/>
                  </a:lnTo>
                  <a:lnTo>
                    <a:pt x="5366" y="3210"/>
                  </a:lnTo>
                  <a:lnTo>
                    <a:pt x="5371" y="3256"/>
                  </a:lnTo>
                  <a:lnTo>
                    <a:pt x="5370" y="3259"/>
                  </a:lnTo>
                  <a:lnTo>
                    <a:pt x="5365" y="3263"/>
                  </a:lnTo>
                  <a:lnTo>
                    <a:pt x="5354" y="3271"/>
                  </a:lnTo>
                  <a:lnTo>
                    <a:pt x="5349" y="3301"/>
                  </a:lnTo>
                  <a:lnTo>
                    <a:pt x="5347" y="3334"/>
                  </a:lnTo>
                  <a:lnTo>
                    <a:pt x="5351" y="3340"/>
                  </a:lnTo>
                  <a:lnTo>
                    <a:pt x="5371" y="3368"/>
                  </a:lnTo>
                  <a:lnTo>
                    <a:pt x="5376" y="3379"/>
                  </a:lnTo>
                  <a:lnTo>
                    <a:pt x="5377" y="3385"/>
                  </a:lnTo>
                  <a:lnTo>
                    <a:pt x="5376" y="3390"/>
                  </a:lnTo>
                  <a:lnTo>
                    <a:pt x="5369" y="3401"/>
                  </a:lnTo>
                  <a:lnTo>
                    <a:pt x="5363" y="3423"/>
                  </a:lnTo>
                  <a:lnTo>
                    <a:pt x="5360" y="3428"/>
                  </a:lnTo>
                  <a:lnTo>
                    <a:pt x="5345" y="3437"/>
                  </a:lnTo>
                  <a:lnTo>
                    <a:pt x="5341" y="3439"/>
                  </a:lnTo>
                  <a:lnTo>
                    <a:pt x="5336" y="3439"/>
                  </a:lnTo>
                  <a:lnTo>
                    <a:pt x="5324" y="3435"/>
                  </a:lnTo>
                  <a:lnTo>
                    <a:pt x="5317" y="3434"/>
                  </a:lnTo>
                  <a:lnTo>
                    <a:pt x="5313" y="3435"/>
                  </a:lnTo>
                  <a:lnTo>
                    <a:pt x="5306" y="3442"/>
                  </a:lnTo>
                  <a:lnTo>
                    <a:pt x="5303" y="3443"/>
                  </a:lnTo>
                  <a:lnTo>
                    <a:pt x="5300" y="3443"/>
                  </a:lnTo>
                  <a:lnTo>
                    <a:pt x="5292" y="3440"/>
                  </a:lnTo>
                  <a:lnTo>
                    <a:pt x="5289" y="3440"/>
                  </a:lnTo>
                  <a:lnTo>
                    <a:pt x="5287" y="3442"/>
                  </a:lnTo>
                  <a:lnTo>
                    <a:pt x="5282" y="3451"/>
                  </a:lnTo>
                  <a:lnTo>
                    <a:pt x="5279" y="3452"/>
                  </a:lnTo>
                  <a:lnTo>
                    <a:pt x="5275" y="3452"/>
                  </a:lnTo>
                  <a:lnTo>
                    <a:pt x="5272" y="3446"/>
                  </a:lnTo>
                  <a:lnTo>
                    <a:pt x="5269" y="3440"/>
                  </a:lnTo>
                  <a:lnTo>
                    <a:pt x="5268" y="3428"/>
                  </a:lnTo>
                  <a:lnTo>
                    <a:pt x="5267" y="3409"/>
                  </a:lnTo>
                  <a:lnTo>
                    <a:pt x="5265" y="3401"/>
                  </a:lnTo>
                  <a:lnTo>
                    <a:pt x="5249" y="3361"/>
                  </a:lnTo>
                  <a:lnTo>
                    <a:pt x="5246" y="3358"/>
                  </a:lnTo>
                  <a:lnTo>
                    <a:pt x="5243" y="3356"/>
                  </a:lnTo>
                  <a:lnTo>
                    <a:pt x="5225" y="3361"/>
                  </a:lnTo>
                  <a:lnTo>
                    <a:pt x="5222" y="3363"/>
                  </a:lnTo>
                  <a:lnTo>
                    <a:pt x="5223" y="3368"/>
                  </a:lnTo>
                  <a:lnTo>
                    <a:pt x="5231" y="3390"/>
                  </a:lnTo>
                  <a:lnTo>
                    <a:pt x="5233" y="3401"/>
                  </a:lnTo>
                  <a:lnTo>
                    <a:pt x="5232" y="3405"/>
                  </a:lnTo>
                  <a:lnTo>
                    <a:pt x="5228" y="3408"/>
                  </a:lnTo>
                  <a:lnTo>
                    <a:pt x="5221" y="3413"/>
                  </a:lnTo>
                  <a:lnTo>
                    <a:pt x="5207" y="3417"/>
                  </a:lnTo>
                  <a:lnTo>
                    <a:pt x="5204" y="3420"/>
                  </a:lnTo>
                  <a:lnTo>
                    <a:pt x="5203" y="3430"/>
                  </a:lnTo>
                  <a:lnTo>
                    <a:pt x="5199" y="3433"/>
                  </a:lnTo>
                  <a:lnTo>
                    <a:pt x="5192" y="3436"/>
                  </a:lnTo>
                  <a:lnTo>
                    <a:pt x="5192" y="3436"/>
                  </a:lnTo>
                  <a:lnTo>
                    <a:pt x="5185" y="3427"/>
                  </a:lnTo>
                  <a:lnTo>
                    <a:pt x="5180" y="3423"/>
                  </a:lnTo>
                  <a:lnTo>
                    <a:pt x="5172" y="3420"/>
                  </a:lnTo>
                  <a:lnTo>
                    <a:pt x="5160" y="3420"/>
                  </a:lnTo>
                  <a:lnTo>
                    <a:pt x="5156" y="3417"/>
                  </a:lnTo>
                  <a:lnTo>
                    <a:pt x="5153" y="3408"/>
                  </a:lnTo>
                  <a:lnTo>
                    <a:pt x="5153" y="3397"/>
                  </a:lnTo>
                  <a:lnTo>
                    <a:pt x="5151" y="3390"/>
                  </a:lnTo>
                  <a:lnTo>
                    <a:pt x="5142" y="3365"/>
                  </a:lnTo>
                  <a:lnTo>
                    <a:pt x="5140" y="3362"/>
                  </a:lnTo>
                  <a:lnTo>
                    <a:pt x="5132" y="3356"/>
                  </a:lnTo>
                  <a:lnTo>
                    <a:pt x="5125" y="3354"/>
                  </a:lnTo>
                  <a:lnTo>
                    <a:pt x="5121" y="3354"/>
                  </a:lnTo>
                  <a:lnTo>
                    <a:pt x="5114" y="3359"/>
                  </a:lnTo>
                  <a:lnTo>
                    <a:pt x="5107" y="3361"/>
                  </a:lnTo>
                  <a:lnTo>
                    <a:pt x="5102" y="3361"/>
                  </a:lnTo>
                  <a:lnTo>
                    <a:pt x="5096" y="3359"/>
                  </a:lnTo>
                  <a:lnTo>
                    <a:pt x="5092" y="3353"/>
                  </a:lnTo>
                  <a:lnTo>
                    <a:pt x="5087" y="3344"/>
                  </a:lnTo>
                  <a:lnTo>
                    <a:pt x="5084" y="3333"/>
                  </a:lnTo>
                  <a:lnTo>
                    <a:pt x="5081" y="3314"/>
                  </a:lnTo>
                  <a:lnTo>
                    <a:pt x="5074" y="3302"/>
                  </a:lnTo>
                  <a:lnTo>
                    <a:pt x="5071" y="3299"/>
                  </a:lnTo>
                  <a:lnTo>
                    <a:pt x="5068" y="3297"/>
                  </a:lnTo>
                  <a:lnTo>
                    <a:pt x="5047" y="3290"/>
                  </a:lnTo>
                  <a:lnTo>
                    <a:pt x="5042" y="3290"/>
                  </a:lnTo>
                  <a:lnTo>
                    <a:pt x="5036" y="3293"/>
                  </a:lnTo>
                  <a:lnTo>
                    <a:pt x="5030" y="3297"/>
                  </a:lnTo>
                  <a:lnTo>
                    <a:pt x="5025" y="3301"/>
                  </a:lnTo>
                  <a:lnTo>
                    <a:pt x="5023" y="3306"/>
                  </a:lnTo>
                  <a:lnTo>
                    <a:pt x="5020" y="3322"/>
                  </a:lnTo>
                  <a:lnTo>
                    <a:pt x="5019" y="3346"/>
                  </a:lnTo>
                  <a:lnTo>
                    <a:pt x="5016" y="3352"/>
                  </a:lnTo>
                  <a:lnTo>
                    <a:pt x="5013" y="3354"/>
                  </a:lnTo>
                  <a:lnTo>
                    <a:pt x="4994" y="3363"/>
                  </a:lnTo>
                  <a:lnTo>
                    <a:pt x="4984" y="3367"/>
                  </a:lnTo>
                  <a:lnTo>
                    <a:pt x="4974" y="3378"/>
                  </a:lnTo>
                  <a:lnTo>
                    <a:pt x="4967" y="3387"/>
                  </a:lnTo>
                  <a:lnTo>
                    <a:pt x="4965" y="3399"/>
                  </a:lnTo>
                  <a:lnTo>
                    <a:pt x="4958" y="3413"/>
                  </a:lnTo>
                  <a:lnTo>
                    <a:pt x="4956" y="3421"/>
                  </a:lnTo>
                  <a:lnTo>
                    <a:pt x="4957" y="3425"/>
                  </a:lnTo>
                  <a:lnTo>
                    <a:pt x="4966" y="3440"/>
                  </a:lnTo>
                  <a:lnTo>
                    <a:pt x="4967" y="3445"/>
                  </a:lnTo>
                  <a:lnTo>
                    <a:pt x="4967" y="3449"/>
                  </a:lnTo>
                  <a:lnTo>
                    <a:pt x="4963" y="3466"/>
                  </a:lnTo>
                  <a:lnTo>
                    <a:pt x="4962" y="3476"/>
                  </a:lnTo>
                  <a:lnTo>
                    <a:pt x="4963" y="3484"/>
                  </a:lnTo>
                  <a:lnTo>
                    <a:pt x="4966" y="3490"/>
                  </a:lnTo>
                  <a:lnTo>
                    <a:pt x="4962" y="3493"/>
                  </a:lnTo>
                  <a:lnTo>
                    <a:pt x="4957" y="3494"/>
                  </a:lnTo>
                  <a:lnTo>
                    <a:pt x="4947" y="3492"/>
                  </a:lnTo>
                  <a:lnTo>
                    <a:pt x="4939" y="3488"/>
                  </a:lnTo>
                  <a:lnTo>
                    <a:pt x="4933" y="3489"/>
                  </a:lnTo>
                  <a:lnTo>
                    <a:pt x="4926" y="3491"/>
                  </a:lnTo>
                  <a:lnTo>
                    <a:pt x="4920" y="3494"/>
                  </a:lnTo>
                  <a:lnTo>
                    <a:pt x="4903" y="3509"/>
                  </a:lnTo>
                  <a:lnTo>
                    <a:pt x="4888" y="3517"/>
                  </a:lnTo>
                  <a:lnTo>
                    <a:pt x="4871" y="3532"/>
                  </a:lnTo>
                  <a:lnTo>
                    <a:pt x="4866" y="3529"/>
                  </a:lnTo>
                  <a:lnTo>
                    <a:pt x="4859" y="3524"/>
                  </a:lnTo>
                  <a:lnTo>
                    <a:pt x="4856" y="3518"/>
                  </a:lnTo>
                  <a:lnTo>
                    <a:pt x="4854" y="3510"/>
                  </a:lnTo>
                  <a:lnTo>
                    <a:pt x="4852" y="3508"/>
                  </a:lnTo>
                  <a:lnTo>
                    <a:pt x="4838" y="3495"/>
                  </a:lnTo>
                  <a:lnTo>
                    <a:pt x="4826" y="3481"/>
                  </a:lnTo>
                  <a:lnTo>
                    <a:pt x="4822" y="3479"/>
                  </a:lnTo>
                  <a:lnTo>
                    <a:pt x="4814" y="3478"/>
                  </a:lnTo>
                  <a:lnTo>
                    <a:pt x="4802" y="3474"/>
                  </a:lnTo>
                  <a:lnTo>
                    <a:pt x="4797" y="3471"/>
                  </a:lnTo>
                  <a:lnTo>
                    <a:pt x="4788" y="3461"/>
                  </a:lnTo>
                  <a:lnTo>
                    <a:pt x="4780" y="3454"/>
                  </a:lnTo>
                  <a:lnTo>
                    <a:pt x="4756" y="3441"/>
                  </a:lnTo>
                  <a:lnTo>
                    <a:pt x="4752" y="3437"/>
                  </a:lnTo>
                  <a:lnTo>
                    <a:pt x="4745" y="3423"/>
                  </a:lnTo>
                  <a:lnTo>
                    <a:pt x="4743" y="3420"/>
                  </a:lnTo>
                  <a:lnTo>
                    <a:pt x="4732" y="3410"/>
                  </a:lnTo>
                  <a:lnTo>
                    <a:pt x="4720" y="3403"/>
                  </a:lnTo>
                  <a:lnTo>
                    <a:pt x="4714" y="3399"/>
                  </a:lnTo>
                  <a:lnTo>
                    <a:pt x="4702" y="3377"/>
                  </a:lnTo>
                  <a:lnTo>
                    <a:pt x="4695" y="3374"/>
                  </a:lnTo>
                  <a:lnTo>
                    <a:pt x="4677" y="3374"/>
                  </a:lnTo>
                  <a:lnTo>
                    <a:pt x="4673" y="3372"/>
                  </a:lnTo>
                  <a:lnTo>
                    <a:pt x="4667" y="3368"/>
                  </a:lnTo>
                  <a:lnTo>
                    <a:pt x="4659" y="3360"/>
                  </a:lnTo>
                  <a:lnTo>
                    <a:pt x="4655" y="3354"/>
                  </a:lnTo>
                  <a:lnTo>
                    <a:pt x="4651" y="3347"/>
                  </a:lnTo>
                  <a:lnTo>
                    <a:pt x="4648" y="3344"/>
                  </a:lnTo>
                  <a:lnTo>
                    <a:pt x="4643" y="3341"/>
                  </a:lnTo>
                  <a:lnTo>
                    <a:pt x="4635" y="3340"/>
                  </a:lnTo>
                  <a:lnTo>
                    <a:pt x="4616" y="3343"/>
                  </a:lnTo>
                  <a:lnTo>
                    <a:pt x="4587" y="3343"/>
                  </a:lnTo>
                  <a:lnTo>
                    <a:pt x="4578" y="3342"/>
                  </a:lnTo>
                  <a:lnTo>
                    <a:pt x="4571" y="3340"/>
                  </a:lnTo>
                  <a:lnTo>
                    <a:pt x="4564" y="3334"/>
                  </a:lnTo>
                  <a:lnTo>
                    <a:pt x="4553" y="3324"/>
                  </a:lnTo>
                  <a:lnTo>
                    <a:pt x="4543" y="3313"/>
                  </a:lnTo>
                  <a:lnTo>
                    <a:pt x="4535" y="3308"/>
                  </a:lnTo>
                  <a:lnTo>
                    <a:pt x="4526" y="3305"/>
                  </a:lnTo>
                  <a:lnTo>
                    <a:pt x="4513" y="3304"/>
                  </a:lnTo>
                  <a:lnTo>
                    <a:pt x="4490" y="3305"/>
                  </a:lnTo>
                  <a:lnTo>
                    <a:pt x="4479" y="3307"/>
                  </a:lnTo>
                  <a:lnTo>
                    <a:pt x="4462" y="3312"/>
                  </a:lnTo>
                  <a:lnTo>
                    <a:pt x="4447" y="3318"/>
                  </a:lnTo>
                  <a:lnTo>
                    <a:pt x="4427" y="3329"/>
                  </a:lnTo>
                  <a:lnTo>
                    <a:pt x="4410" y="3334"/>
                  </a:lnTo>
                  <a:lnTo>
                    <a:pt x="4394" y="3342"/>
                  </a:lnTo>
                  <a:lnTo>
                    <a:pt x="4385" y="3350"/>
                  </a:lnTo>
                  <a:lnTo>
                    <a:pt x="4376" y="3363"/>
                  </a:lnTo>
                  <a:lnTo>
                    <a:pt x="4366" y="3386"/>
                  </a:lnTo>
                  <a:lnTo>
                    <a:pt x="4353" y="3397"/>
                  </a:lnTo>
                  <a:lnTo>
                    <a:pt x="4339" y="3403"/>
                  </a:lnTo>
                  <a:lnTo>
                    <a:pt x="4292" y="3416"/>
                  </a:lnTo>
                  <a:lnTo>
                    <a:pt x="4235" y="3439"/>
                  </a:lnTo>
                  <a:lnTo>
                    <a:pt x="4166" y="3461"/>
                  </a:lnTo>
                  <a:lnTo>
                    <a:pt x="4135" y="3473"/>
                  </a:lnTo>
                  <a:lnTo>
                    <a:pt x="4124" y="3474"/>
                  </a:lnTo>
                  <a:lnTo>
                    <a:pt x="4112" y="3475"/>
                  </a:lnTo>
                  <a:lnTo>
                    <a:pt x="4049" y="3468"/>
                  </a:lnTo>
                  <a:lnTo>
                    <a:pt x="4040" y="3468"/>
                  </a:lnTo>
                  <a:lnTo>
                    <a:pt x="4032" y="3470"/>
                  </a:lnTo>
                  <a:lnTo>
                    <a:pt x="4026" y="3475"/>
                  </a:lnTo>
                  <a:lnTo>
                    <a:pt x="4007" y="3495"/>
                  </a:lnTo>
                  <a:lnTo>
                    <a:pt x="3942" y="3545"/>
                  </a:lnTo>
                  <a:lnTo>
                    <a:pt x="3910" y="3575"/>
                  </a:lnTo>
                  <a:lnTo>
                    <a:pt x="3902" y="3582"/>
                  </a:lnTo>
                  <a:lnTo>
                    <a:pt x="3898" y="3589"/>
                  </a:lnTo>
                  <a:lnTo>
                    <a:pt x="3889" y="3620"/>
                  </a:lnTo>
                  <a:lnTo>
                    <a:pt x="3884" y="3626"/>
                  </a:lnTo>
                  <a:lnTo>
                    <a:pt x="3877" y="3631"/>
                  </a:lnTo>
                  <a:lnTo>
                    <a:pt x="3856" y="3635"/>
                  </a:lnTo>
                  <a:lnTo>
                    <a:pt x="3826" y="3647"/>
                  </a:lnTo>
                  <a:lnTo>
                    <a:pt x="3811" y="3649"/>
                  </a:lnTo>
                  <a:lnTo>
                    <a:pt x="3801" y="3649"/>
                  </a:lnTo>
                  <a:lnTo>
                    <a:pt x="3763" y="3643"/>
                  </a:lnTo>
                  <a:lnTo>
                    <a:pt x="3693" y="3647"/>
                  </a:lnTo>
                  <a:lnTo>
                    <a:pt x="3668" y="3644"/>
                  </a:lnTo>
                  <a:lnTo>
                    <a:pt x="3657" y="3642"/>
                  </a:lnTo>
                  <a:lnTo>
                    <a:pt x="3639" y="3632"/>
                  </a:lnTo>
                  <a:lnTo>
                    <a:pt x="3629" y="3629"/>
                  </a:lnTo>
                  <a:lnTo>
                    <a:pt x="3613" y="3624"/>
                  </a:lnTo>
                  <a:lnTo>
                    <a:pt x="3586" y="3620"/>
                  </a:lnTo>
                  <a:lnTo>
                    <a:pt x="3571" y="3617"/>
                  </a:lnTo>
                  <a:lnTo>
                    <a:pt x="3563" y="3613"/>
                  </a:lnTo>
                  <a:lnTo>
                    <a:pt x="3541" y="3598"/>
                  </a:lnTo>
                  <a:lnTo>
                    <a:pt x="3524" y="3593"/>
                  </a:lnTo>
                  <a:lnTo>
                    <a:pt x="3511" y="3592"/>
                  </a:lnTo>
                  <a:lnTo>
                    <a:pt x="3481" y="3597"/>
                  </a:lnTo>
                  <a:lnTo>
                    <a:pt x="3451" y="3599"/>
                  </a:lnTo>
                  <a:lnTo>
                    <a:pt x="3383" y="3592"/>
                  </a:lnTo>
                  <a:lnTo>
                    <a:pt x="3379" y="3589"/>
                  </a:lnTo>
                  <a:lnTo>
                    <a:pt x="3378" y="3586"/>
                  </a:lnTo>
                  <a:lnTo>
                    <a:pt x="3376" y="3581"/>
                  </a:lnTo>
                  <a:lnTo>
                    <a:pt x="3372" y="3549"/>
                  </a:lnTo>
                  <a:lnTo>
                    <a:pt x="3367" y="3542"/>
                  </a:lnTo>
                  <a:lnTo>
                    <a:pt x="3363" y="3534"/>
                  </a:lnTo>
                  <a:lnTo>
                    <a:pt x="3359" y="3510"/>
                  </a:lnTo>
                  <a:lnTo>
                    <a:pt x="3363" y="3498"/>
                  </a:lnTo>
                  <a:lnTo>
                    <a:pt x="3369" y="3486"/>
                  </a:lnTo>
                  <a:lnTo>
                    <a:pt x="3378" y="3473"/>
                  </a:lnTo>
                  <a:lnTo>
                    <a:pt x="3392" y="3460"/>
                  </a:lnTo>
                  <a:lnTo>
                    <a:pt x="3395" y="3456"/>
                  </a:lnTo>
                  <a:lnTo>
                    <a:pt x="3397" y="3451"/>
                  </a:lnTo>
                  <a:lnTo>
                    <a:pt x="3397" y="3446"/>
                  </a:lnTo>
                  <a:lnTo>
                    <a:pt x="3396" y="3440"/>
                  </a:lnTo>
                  <a:lnTo>
                    <a:pt x="3387" y="3418"/>
                  </a:lnTo>
                  <a:lnTo>
                    <a:pt x="3381" y="3396"/>
                  </a:lnTo>
                  <a:lnTo>
                    <a:pt x="3378" y="3391"/>
                  </a:lnTo>
                  <a:lnTo>
                    <a:pt x="3372" y="3389"/>
                  </a:lnTo>
                  <a:lnTo>
                    <a:pt x="3322" y="3380"/>
                  </a:lnTo>
                  <a:lnTo>
                    <a:pt x="3289" y="3369"/>
                  </a:lnTo>
                  <a:lnTo>
                    <a:pt x="3283" y="3367"/>
                  </a:lnTo>
                  <a:lnTo>
                    <a:pt x="3277" y="3362"/>
                  </a:lnTo>
                  <a:lnTo>
                    <a:pt x="3273" y="3351"/>
                  </a:lnTo>
                  <a:lnTo>
                    <a:pt x="3272" y="3323"/>
                  </a:lnTo>
                  <a:lnTo>
                    <a:pt x="3275" y="3301"/>
                  </a:lnTo>
                  <a:lnTo>
                    <a:pt x="3283" y="3273"/>
                  </a:lnTo>
                  <a:lnTo>
                    <a:pt x="3285" y="3260"/>
                  </a:lnTo>
                  <a:lnTo>
                    <a:pt x="3272" y="3254"/>
                  </a:lnTo>
                  <a:lnTo>
                    <a:pt x="3269" y="3251"/>
                  </a:lnTo>
                  <a:lnTo>
                    <a:pt x="3268" y="3247"/>
                  </a:lnTo>
                  <a:lnTo>
                    <a:pt x="3269" y="3245"/>
                  </a:lnTo>
                  <a:lnTo>
                    <a:pt x="3270" y="3243"/>
                  </a:lnTo>
                  <a:lnTo>
                    <a:pt x="3282" y="3237"/>
                  </a:lnTo>
                  <a:lnTo>
                    <a:pt x="3284" y="3236"/>
                  </a:lnTo>
                  <a:lnTo>
                    <a:pt x="3284" y="3234"/>
                  </a:lnTo>
                  <a:lnTo>
                    <a:pt x="3280" y="3227"/>
                  </a:lnTo>
                  <a:lnTo>
                    <a:pt x="3266" y="3218"/>
                  </a:lnTo>
                  <a:lnTo>
                    <a:pt x="3261" y="3212"/>
                  </a:lnTo>
                  <a:lnTo>
                    <a:pt x="3241" y="3189"/>
                  </a:lnTo>
                  <a:lnTo>
                    <a:pt x="3226" y="3169"/>
                  </a:lnTo>
                  <a:lnTo>
                    <a:pt x="3222" y="3166"/>
                  </a:lnTo>
                  <a:lnTo>
                    <a:pt x="3216" y="3166"/>
                  </a:lnTo>
                  <a:lnTo>
                    <a:pt x="3208" y="3168"/>
                  </a:lnTo>
                  <a:lnTo>
                    <a:pt x="3204" y="3171"/>
                  </a:lnTo>
                  <a:lnTo>
                    <a:pt x="3199" y="3177"/>
                  </a:lnTo>
                  <a:lnTo>
                    <a:pt x="3192" y="3182"/>
                  </a:lnTo>
                  <a:lnTo>
                    <a:pt x="3182" y="3182"/>
                  </a:lnTo>
                  <a:lnTo>
                    <a:pt x="3169" y="3180"/>
                  </a:lnTo>
                  <a:lnTo>
                    <a:pt x="3166" y="3180"/>
                  </a:lnTo>
                  <a:lnTo>
                    <a:pt x="3164" y="3182"/>
                  </a:lnTo>
                  <a:lnTo>
                    <a:pt x="3158" y="3197"/>
                  </a:lnTo>
                  <a:lnTo>
                    <a:pt x="3151" y="3206"/>
                  </a:lnTo>
                  <a:lnTo>
                    <a:pt x="3148" y="3208"/>
                  </a:lnTo>
                  <a:lnTo>
                    <a:pt x="3144" y="3208"/>
                  </a:lnTo>
                  <a:lnTo>
                    <a:pt x="3139" y="3208"/>
                  </a:lnTo>
                  <a:lnTo>
                    <a:pt x="3131" y="3206"/>
                  </a:lnTo>
                  <a:lnTo>
                    <a:pt x="3123" y="3203"/>
                  </a:lnTo>
                  <a:lnTo>
                    <a:pt x="3114" y="3198"/>
                  </a:lnTo>
                  <a:lnTo>
                    <a:pt x="3094" y="3181"/>
                  </a:lnTo>
                  <a:lnTo>
                    <a:pt x="3069" y="3153"/>
                  </a:lnTo>
                  <a:lnTo>
                    <a:pt x="3056" y="3133"/>
                  </a:lnTo>
                  <a:lnTo>
                    <a:pt x="3051" y="3128"/>
                  </a:lnTo>
                  <a:lnTo>
                    <a:pt x="3047" y="3126"/>
                  </a:lnTo>
                  <a:lnTo>
                    <a:pt x="3038" y="3121"/>
                  </a:lnTo>
                  <a:lnTo>
                    <a:pt x="3031" y="3119"/>
                  </a:lnTo>
                  <a:lnTo>
                    <a:pt x="3010" y="3120"/>
                  </a:lnTo>
                  <a:lnTo>
                    <a:pt x="3000" y="3119"/>
                  </a:lnTo>
                  <a:lnTo>
                    <a:pt x="2994" y="3117"/>
                  </a:lnTo>
                  <a:lnTo>
                    <a:pt x="2971" y="3103"/>
                  </a:lnTo>
                  <a:lnTo>
                    <a:pt x="2952" y="3097"/>
                  </a:lnTo>
                  <a:lnTo>
                    <a:pt x="2933" y="3080"/>
                  </a:lnTo>
                  <a:lnTo>
                    <a:pt x="2926" y="3074"/>
                  </a:lnTo>
                  <a:lnTo>
                    <a:pt x="2903" y="3067"/>
                  </a:lnTo>
                  <a:lnTo>
                    <a:pt x="2887" y="3049"/>
                  </a:lnTo>
                  <a:lnTo>
                    <a:pt x="2873" y="3060"/>
                  </a:lnTo>
                  <a:lnTo>
                    <a:pt x="2868" y="3062"/>
                  </a:lnTo>
                  <a:lnTo>
                    <a:pt x="2865" y="3062"/>
                  </a:lnTo>
                  <a:lnTo>
                    <a:pt x="2852" y="3057"/>
                  </a:lnTo>
                  <a:lnTo>
                    <a:pt x="2833" y="3043"/>
                  </a:lnTo>
                  <a:lnTo>
                    <a:pt x="2815" y="3032"/>
                  </a:lnTo>
                  <a:lnTo>
                    <a:pt x="2797" y="3019"/>
                  </a:lnTo>
                  <a:lnTo>
                    <a:pt x="2794" y="3018"/>
                  </a:lnTo>
                  <a:lnTo>
                    <a:pt x="2790" y="3018"/>
                  </a:lnTo>
                  <a:lnTo>
                    <a:pt x="2786" y="3019"/>
                  </a:lnTo>
                  <a:lnTo>
                    <a:pt x="2777" y="3026"/>
                  </a:lnTo>
                  <a:lnTo>
                    <a:pt x="2768" y="3029"/>
                  </a:lnTo>
                  <a:lnTo>
                    <a:pt x="2760" y="3029"/>
                  </a:lnTo>
                  <a:lnTo>
                    <a:pt x="2743" y="3028"/>
                  </a:lnTo>
                  <a:lnTo>
                    <a:pt x="2732" y="3030"/>
                  </a:lnTo>
                  <a:lnTo>
                    <a:pt x="2703" y="3047"/>
                  </a:lnTo>
                  <a:lnTo>
                    <a:pt x="2686" y="3059"/>
                  </a:lnTo>
                  <a:lnTo>
                    <a:pt x="2678" y="3066"/>
                  </a:lnTo>
                  <a:lnTo>
                    <a:pt x="2664" y="3086"/>
                  </a:lnTo>
                  <a:lnTo>
                    <a:pt x="2659" y="3091"/>
                  </a:lnTo>
                  <a:lnTo>
                    <a:pt x="2644" y="3099"/>
                  </a:lnTo>
                  <a:lnTo>
                    <a:pt x="2613" y="3116"/>
                  </a:lnTo>
                  <a:lnTo>
                    <a:pt x="2601" y="3123"/>
                  </a:lnTo>
                  <a:lnTo>
                    <a:pt x="2590" y="3136"/>
                  </a:lnTo>
                  <a:lnTo>
                    <a:pt x="2574" y="3155"/>
                  </a:lnTo>
                  <a:lnTo>
                    <a:pt x="2559" y="3179"/>
                  </a:lnTo>
                  <a:lnTo>
                    <a:pt x="2551" y="3191"/>
                  </a:lnTo>
                  <a:lnTo>
                    <a:pt x="2548" y="3204"/>
                  </a:lnTo>
                  <a:lnTo>
                    <a:pt x="2546" y="3217"/>
                  </a:lnTo>
                  <a:lnTo>
                    <a:pt x="2546" y="3235"/>
                  </a:lnTo>
                  <a:lnTo>
                    <a:pt x="2549" y="3254"/>
                  </a:lnTo>
                  <a:lnTo>
                    <a:pt x="2548" y="3259"/>
                  </a:lnTo>
                  <a:lnTo>
                    <a:pt x="2545" y="3266"/>
                  </a:lnTo>
                  <a:lnTo>
                    <a:pt x="2537" y="3274"/>
                  </a:lnTo>
                  <a:lnTo>
                    <a:pt x="2515" y="3289"/>
                  </a:lnTo>
                  <a:lnTo>
                    <a:pt x="2508" y="3293"/>
                  </a:lnTo>
                  <a:lnTo>
                    <a:pt x="2500" y="3294"/>
                  </a:lnTo>
                  <a:lnTo>
                    <a:pt x="2495" y="3298"/>
                  </a:lnTo>
                  <a:lnTo>
                    <a:pt x="2493" y="3298"/>
                  </a:lnTo>
                  <a:lnTo>
                    <a:pt x="2487" y="3293"/>
                  </a:lnTo>
                  <a:lnTo>
                    <a:pt x="2475" y="3278"/>
                  </a:lnTo>
                  <a:lnTo>
                    <a:pt x="2472" y="3271"/>
                  </a:lnTo>
                  <a:lnTo>
                    <a:pt x="2472" y="3258"/>
                  </a:lnTo>
                  <a:lnTo>
                    <a:pt x="2457" y="3241"/>
                  </a:lnTo>
                  <a:lnTo>
                    <a:pt x="2451" y="3228"/>
                  </a:lnTo>
                  <a:lnTo>
                    <a:pt x="2445" y="3211"/>
                  </a:lnTo>
                  <a:lnTo>
                    <a:pt x="2444" y="3190"/>
                  </a:lnTo>
                  <a:lnTo>
                    <a:pt x="2444" y="3184"/>
                  </a:lnTo>
                  <a:lnTo>
                    <a:pt x="2446" y="3180"/>
                  </a:lnTo>
                  <a:lnTo>
                    <a:pt x="2479" y="3138"/>
                  </a:lnTo>
                  <a:lnTo>
                    <a:pt x="2488" y="3120"/>
                  </a:lnTo>
                  <a:lnTo>
                    <a:pt x="2492" y="3097"/>
                  </a:lnTo>
                  <a:lnTo>
                    <a:pt x="2493" y="3080"/>
                  </a:lnTo>
                  <a:lnTo>
                    <a:pt x="2495" y="3054"/>
                  </a:lnTo>
                  <a:lnTo>
                    <a:pt x="2494" y="3039"/>
                  </a:lnTo>
                  <a:lnTo>
                    <a:pt x="2491" y="3027"/>
                  </a:lnTo>
                  <a:lnTo>
                    <a:pt x="2487" y="3021"/>
                  </a:lnTo>
                  <a:lnTo>
                    <a:pt x="2473" y="3008"/>
                  </a:lnTo>
                  <a:lnTo>
                    <a:pt x="2448" y="2991"/>
                  </a:lnTo>
                  <a:lnTo>
                    <a:pt x="2442" y="2989"/>
                  </a:lnTo>
                  <a:lnTo>
                    <a:pt x="2434" y="2991"/>
                  </a:lnTo>
                  <a:lnTo>
                    <a:pt x="2426" y="2994"/>
                  </a:lnTo>
                  <a:lnTo>
                    <a:pt x="2422" y="3000"/>
                  </a:lnTo>
                  <a:lnTo>
                    <a:pt x="2418" y="3002"/>
                  </a:lnTo>
                  <a:lnTo>
                    <a:pt x="2410" y="3004"/>
                  </a:lnTo>
                  <a:lnTo>
                    <a:pt x="2394" y="3006"/>
                  </a:lnTo>
                  <a:lnTo>
                    <a:pt x="2371" y="3018"/>
                  </a:lnTo>
                  <a:lnTo>
                    <a:pt x="2350" y="3022"/>
                  </a:lnTo>
                  <a:lnTo>
                    <a:pt x="2339" y="3025"/>
                  </a:lnTo>
                  <a:lnTo>
                    <a:pt x="2322" y="3027"/>
                  </a:lnTo>
                  <a:lnTo>
                    <a:pt x="2313" y="3025"/>
                  </a:lnTo>
                  <a:lnTo>
                    <a:pt x="2304" y="3023"/>
                  </a:lnTo>
                  <a:lnTo>
                    <a:pt x="2297" y="3023"/>
                  </a:lnTo>
                  <a:lnTo>
                    <a:pt x="2292" y="3027"/>
                  </a:lnTo>
                  <a:lnTo>
                    <a:pt x="2288" y="3037"/>
                  </a:lnTo>
                  <a:lnTo>
                    <a:pt x="2283" y="3038"/>
                  </a:lnTo>
                  <a:lnTo>
                    <a:pt x="2278" y="3038"/>
                  </a:lnTo>
                  <a:lnTo>
                    <a:pt x="2274" y="3036"/>
                  </a:lnTo>
                  <a:lnTo>
                    <a:pt x="2260" y="3025"/>
                  </a:lnTo>
                  <a:lnTo>
                    <a:pt x="2239" y="3018"/>
                  </a:lnTo>
                  <a:lnTo>
                    <a:pt x="2220" y="3002"/>
                  </a:lnTo>
                  <a:lnTo>
                    <a:pt x="2209" y="2996"/>
                  </a:lnTo>
                  <a:lnTo>
                    <a:pt x="2202" y="2995"/>
                  </a:lnTo>
                  <a:lnTo>
                    <a:pt x="2195" y="2999"/>
                  </a:lnTo>
                  <a:lnTo>
                    <a:pt x="2184" y="3015"/>
                  </a:lnTo>
                  <a:lnTo>
                    <a:pt x="2171" y="3028"/>
                  </a:lnTo>
                  <a:lnTo>
                    <a:pt x="2164" y="3031"/>
                  </a:lnTo>
                  <a:lnTo>
                    <a:pt x="2154" y="3031"/>
                  </a:lnTo>
                  <a:lnTo>
                    <a:pt x="2149" y="3029"/>
                  </a:lnTo>
                  <a:lnTo>
                    <a:pt x="2142" y="3024"/>
                  </a:lnTo>
                  <a:lnTo>
                    <a:pt x="2131" y="3020"/>
                  </a:lnTo>
                  <a:lnTo>
                    <a:pt x="2123" y="3014"/>
                  </a:lnTo>
                  <a:lnTo>
                    <a:pt x="2117" y="3012"/>
                  </a:lnTo>
                  <a:lnTo>
                    <a:pt x="2109" y="3011"/>
                  </a:lnTo>
                  <a:lnTo>
                    <a:pt x="2096" y="3013"/>
                  </a:lnTo>
                  <a:lnTo>
                    <a:pt x="2090" y="3012"/>
                  </a:lnTo>
                  <a:lnTo>
                    <a:pt x="2086" y="3010"/>
                  </a:lnTo>
                  <a:lnTo>
                    <a:pt x="2084" y="3002"/>
                  </a:lnTo>
                  <a:lnTo>
                    <a:pt x="2081" y="3000"/>
                  </a:lnTo>
                  <a:lnTo>
                    <a:pt x="2052" y="2996"/>
                  </a:lnTo>
                  <a:lnTo>
                    <a:pt x="2033" y="2991"/>
                  </a:lnTo>
                  <a:lnTo>
                    <a:pt x="2010" y="2987"/>
                  </a:lnTo>
                  <a:lnTo>
                    <a:pt x="2003" y="2984"/>
                  </a:lnTo>
                  <a:lnTo>
                    <a:pt x="1998" y="2981"/>
                  </a:lnTo>
                  <a:lnTo>
                    <a:pt x="1994" y="2975"/>
                  </a:lnTo>
                  <a:lnTo>
                    <a:pt x="1992" y="2969"/>
                  </a:lnTo>
                  <a:lnTo>
                    <a:pt x="1989" y="2955"/>
                  </a:lnTo>
                  <a:lnTo>
                    <a:pt x="1987" y="2951"/>
                  </a:lnTo>
                  <a:lnTo>
                    <a:pt x="1970" y="2937"/>
                  </a:lnTo>
                  <a:lnTo>
                    <a:pt x="1961" y="2934"/>
                  </a:lnTo>
                  <a:lnTo>
                    <a:pt x="1959" y="2932"/>
                  </a:lnTo>
                  <a:lnTo>
                    <a:pt x="1944" y="2914"/>
                  </a:lnTo>
                  <a:lnTo>
                    <a:pt x="1938" y="2909"/>
                  </a:lnTo>
                  <a:lnTo>
                    <a:pt x="1932" y="2905"/>
                  </a:lnTo>
                  <a:lnTo>
                    <a:pt x="1923" y="2902"/>
                  </a:lnTo>
                  <a:lnTo>
                    <a:pt x="1921" y="2901"/>
                  </a:lnTo>
                  <a:lnTo>
                    <a:pt x="1915" y="2893"/>
                  </a:lnTo>
                  <a:lnTo>
                    <a:pt x="1910" y="2878"/>
                  </a:lnTo>
                  <a:lnTo>
                    <a:pt x="1907" y="2874"/>
                  </a:lnTo>
                  <a:lnTo>
                    <a:pt x="1902" y="2869"/>
                  </a:lnTo>
                  <a:lnTo>
                    <a:pt x="1893" y="2865"/>
                  </a:lnTo>
                  <a:lnTo>
                    <a:pt x="1889" y="2865"/>
                  </a:lnTo>
                  <a:lnTo>
                    <a:pt x="1883" y="2866"/>
                  </a:lnTo>
                  <a:lnTo>
                    <a:pt x="1876" y="2866"/>
                  </a:lnTo>
                  <a:lnTo>
                    <a:pt x="1868" y="2864"/>
                  </a:lnTo>
                  <a:lnTo>
                    <a:pt x="1860" y="2859"/>
                  </a:lnTo>
                  <a:lnTo>
                    <a:pt x="1856" y="2859"/>
                  </a:lnTo>
                  <a:lnTo>
                    <a:pt x="1852" y="2859"/>
                  </a:lnTo>
                  <a:lnTo>
                    <a:pt x="1846" y="2864"/>
                  </a:lnTo>
                  <a:lnTo>
                    <a:pt x="1835" y="2884"/>
                  </a:lnTo>
                  <a:lnTo>
                    <a:pt x="1829" y="2892"/>
                  </a:lnTo>
                  <a:lnTo>
                    <a:pt x="1819" y="2901"/>
                  </a:lnTo>
                  <a:lnTo>
                    <a:pt x="1811" y="2906"/>
                  </a:lnTo>
                  <a:lnTo>
                    <a:pt x="1805" y="2909"/>
                  </a:lnTo>
                  <a:lnTo>
                    <a:pt x="1801" y="2906"/>
                  </a:lnTo>
                  <a:lnTo>
                    <a:pt x="1781" y="2889"/>
                  </a:lnTo>
                  <a:lnTo>
                    <a:pt x="1761" y="2876"/>
                  </a:lnTo>
                  <a:lnTo>
                    <a:pt x="1752" y="2866"/>
                  </a:lnTo>
                  <a:lnTo>
                    <a:pt x="1751" y="2864"/>
                  </a:lnTo>
                  <a:lnTo>
                    <a:pt x="1751" y="2859"/>
                  </a:lnTo>
                  <a:lnTo>
                    <a:pt x="1756" y="2832"/>
                  </a:lnTo>
                  <a:lnTo>
                    <a:pt x="1757" y="2824"/>
                  </a:lnTo>
                  <a:lnTo>
                    <a:pt x="1756" y="2815"/>
                  </a:lnTo>
                  <a:lnTo>
                    <a:pt x="1754" y="2811"/>
                  </a:lnTo>
                  <a:lnTo>
                    <a:pt x="1753" y="2809"/>
                  </a:lnTo>
                  <a:lnTo>
                    <a:pt x="1748" y="2809"/>
                  </a:lnTo>
                  <a:lnTo>
                    <a:pt x="1739" y="2812"/>
                  </a:lnTo>
                  <a:lnTo>
                    <a:pt x="1727" y="2819"/>
                  </a:lnTo>
                  <a:lnTo>
                    <a:pt x="1723" y="2822"/>
                  </a:lnTo>
                  <a:lnTo>
                    <a:pt x="1711" y="2846"/>
                  </a:lnTo>
                  <a:lnTo>
                    <a:pt x="1709" y="2857"/>
                  </a:lnTo>
                  <a:lnTo>
                    <a:pt x="1712" y="2868"/>
                  </a:lnTo>
                  <a:lnTo>
                    <a:pt x="1711" y="2873"/>
                  </a:lnTo>
                  <a:lnTo>
                    <a:pt x="1707" y="2876"/>
                  </a:lnTo>
                  <a:lnTo>
                    <a:pt x="1703" y="2879"/>
                  </a:lnTo>
                  <a:lnTo>
                    <a:pt x="1698" y="2880"/>
                  </a:lnTo>
                  <a:lnTo>
                    <a:pt x="1690" y="2880"/>
                  </a:lnTo>
                  <a:lnTo>
                    <a:pt x="1684" y="2878"/>
                  </a:lnTo>
                  <a:lnTo>
                    <a:pt x="1680" y="2873"/>
                  </a:lnTo>
                  <a:lnTo>
                    <a:pt x="1677" y="2867"/>
                  </a:lnTo>
                  <a:lnTo>
                    <a:pt x="1676" y="2861"/>
                  </a:lnTo>
                  <a:lnTo>
                    <a:pt x="1678" y="2844"/>
                  </a:lnTo>
                  <a:lnTo>
                    <a:pt x="1671" y="2833"/>
                  </a:lnTo>
                  <a:lnTo>
                    <a:pt x="1668" y="2827"/>
                  </a:lnTo>
                  <a:lnTo>
                    <a:pt x="1662" y="2790"/>
                  </a:lnTo>
                  <a:lnTo>
                    <a:pt x="1647" y="2768"/>
                  </a:lnTo>
                  <a:lnTo>
                    <a:pt x="1644" y="2760"/>
                  </a:lnTo>
                  <a:lnTo>
                    <a:pt x="1641" y="2743"/>
                  </a:lnTo>
                  <a:lnTo>
                    <a:pt x="1639" y="2717"/>
                  </a:lnTo>
                  <a:lnTo>
                    <a:pt x="1637" y="2712"/>
                  </a:lnTo>
                  <a:lnTo>
                    <a:pt x="1634" y="2707"/>
                  </a:lnTo>
                  <a:lnTo>
                    <a:pt x="1630" y="2705"/>
                  </a:lnTo>
                  <a:lnTo>
                    <a:pt x="1626" y="2706"/>
                  </a:lnTo>
                  <a:lnTo>
                    <a:pt x="1611" y="2727"/>
                  </a:lnTo>
                  <a:lnTo>
                    <a:pt x="1607" y="2732"/>
                  </a:lnTo>
                  <a:lnTo>
                    <a:pt x="1603" y="2732"/>
                  </a:lnTo>
                  <a:lnTo>
                    <a:pt x="1600" y="2731"/>
                  </a:lnTo>
                  <a:lnTo>
                    <a:pt x="1598" y="2729"/>
                  </a:lnTo>
                  <a:lnTo>
                    <a:pt x="1594" y="2718"/>
                  </a:lnTo>
                  <a:lnTo>
                    <a:pt x="1592" y="2716"/>
                  </a:lnTo>
                  <a:lnTo>
                    <a:pt x="1582" y="2709"/>
                  </a:lnTo>
                  <a:lnTo>
                    <a:pt x="1574" y="2704"/>
                  </a:lnTo>
                  <a:lnTo>
                    <a:pt x="1565" y="2702"/>
                  </a:lnTo>
                  <a:lnTo>
                    <a:pt x="1555" y="2701"/>
                  </a:lnTo>
                  <a:lnTo>
                    <a:pt x="1532" y="2704"/>
                  </a:lnTo>
                  <a:lnTo>
                    <a:pt x="1518" y="2703"/>
                  </a:lnTo>
                  <a:lnTo>
                    <a:pt x="1514" y="2701"/>
                  </a:lnTo>
                  <a:lnTo>
                    <a:pt x="1498" y="2685"/>
                  </a:lnTo>
                  <a:lnTo>
                    <a:pt x="1495" y="2684"/>
                  </a:lnTo>
                  <a:lnTo>
                    <a:pt x="1487" y="2683"/>
                  </a:lnTo>
                  <a:lnTo>
                    <a:pt x="1480" y="2679"/>
                  </a:lnTo>
                  <a:lnTo>
                    <a:pt x="1472" y="2671"/>
                  </a:lnTo>
                  <a:lnTo>
                    <a:pt x="1469" y="2664"/>
                  </a:lnTo>
                  <a:lnTo>
                    <a:pt x="1468" y="2659"/>
                  </a:lnTo>
                  <a:lnTo>
                    <a:pt x="1468" y="2648"/>
                  </a:lnTo>
                  <a:lnTo>
                    <a:pt x="1471" y="2637"/>
                  </a:lnTo>
                  <a:lnTo>
                    <a:pt x="1474" y="2631"/>
                  </a:lnTo>
                  <a:lnTo>
                    <a:pt x="1483" y="2623"/>
                  </a:lnTo>
                  <a:lnTo>
                    <a:pt x="1493" y="2610"/>
                  </a:lnTo>
                  <a:lnTo>
                    <a:pt x="1499" y="2607"/>
                  </a:lnTo>
                  <a:lnTo>
                    <a:pt x="1506" y="2592"/>
                  </a:lnTo>
                  <a:lnTo>
                    <a:pt x="1507" y="2588"/>
                  </a:lnTo>
                  <a:lnTo>
                    <a:pt x="1506" y="2581"/>
                  </a:lnTo>
                  <a:lnTo>
                    <a:pt x="1503" y="2575"/>
                  </a:lnTo>
                  <a:lnTo>
                    <a:pt x="1498" y="2570"/>
                  </a:lnTo>
                  <a:lnTo>
                    <a:pt x="1493" y="2565"/>
                  </a:lnTo>
                  <a:lnTo>
                    <a:pt x="1490" y="2563"/>
                  </a:lnTo>
                  <a:lnTo>
                    <a:pt x="1477" y="2562"/>
                  </a:lnTo>
                  <a:lnTo>
                    <a:pt x="1467" y="2563"/>
                  </a:lnTo>
                  <a:lnTo>
                    <a:pt x="1448" y="2576"/>
                  </a:lnTo>
                  <a:lnTo>
                    <a:pt x="1441" y="2579"/>
                  </a:lnTo>
                  <a:lnTo>
                    <a:pt x="1418" y="2577"/>
                  </a:lnTo>
                  <a:lnTo>
                    <a:pt x="1412" y="2575"/>
                  </a:lnTo>
                  <a:lnTo>
                    <a:pt x="1396" y="2561"/>
                  </a:lnTo>
                  <a:lnTo>
                    <a:pt x="1385" y="2557"/>
                  </a:lnTo>
                  <a:lnTo>
                    <a:pt x="1378" y="2552"/>
                  </a:lnTo>
                  <a:lnTo>
                    <a:pt x="1375" y="2545"/>
                  </a:lnTo>
                  <a:lnTo>
                    <a:pt x="1372" y="2537"/>
                  </a:lnTo>
                  <a:lnTo>
                    <a:pt x="1366" y="2528"/>
                  </a:lnTo>
                  <a:lnTo>
                    <a:pt x="1357" y="2516"/>
                  </a:lnTo>
                  <a:lnTo>
                    <a:pt x="1347" y="2506"/>
                  </a:lnTo>
                  <a:lnTo>
                    <a:pt x="1339" y="2501"/>
                  </a:lnTo>
                  <a:lnTo>
                    <a:pt x="1325" y="2499"/>
                  </a:lnTo>
                  <a:lnTo>
                    <a:pt x="1321" y="2497"/>
                  </a:lnTo>
                  <a:lnTo>
                    <a:pt x="1318" y="2493"/>
                  </a:lnTo>
                  <a:lnTo>
                    <a:pt x="1315" y="2489"/>
                  </a:lnTo>
                  <a:lnTo>
                    <a:pt x="1313" y="2484"/>
                  </a:lnTo>
                  <a:lnTo>
                    <a:pt x="1311" y="2457"/>
                  </a:lnTo>
                  <a:lnTo>
                    <a:pt x="1310" y="2454"/>
                  </a:lnTo>
                  <a:lnTo>
                    <a:pt x="1298" y="2447"/>
                  </a:lnTo>
                  <a:lnTo>
                    <a:pt x="1274" y="2436"/>
                  </a:lnTo>
                  <a:lnTo>
                    <a:pt x="1268" y="2432"/>
                  </a:lnTo>
                  <a:lnTo>
                    <a:pt x="1266" y="2426"/>
                  </a:lnTo>
                  <a:lnTo>
                    <a:pt x="1266" y="2418"/>
                  </a:lnTo>
                  <a:lnTo>
                    <a:pt x="1275" y="2397"/>
                  </a:lnTo>
                  <a:lnTo>
                    <a:pt x="1277" y="2389"/>
                  </a:lnTo>
                  <a:lnTo>
                    <a:pt x="1276" y="2384"/>
                  </a:lnTo>
                  <a:lnTo>
                    <a:pt x="1269" y="2371"/>
                  </a:lnTo>
                  <a:lnTo>
                    <a:pt x="1268" y="2365"/>
                  </a:lnTo>
                  <a:lnTo>
                    <a:pt x="1271" y="2336"/>
                  </a:lnTo>
                  <a:lnTo>
                    <a:pt x="1276" y="2324"/>
                  </a:lnTo>
                  <a:lnTo>
                    <a:pt x="1276" y="2317"/>
                  </a:lnTo>
                  <a:lnTo>
                    <a:pt x="1273" y="2311"/>
                  </a:lnTo>
                  <a:lnTo>
                    <a:pt x="1267" y="2307"/>
                  </a:lnTo>
                  <a:lnTo>
                    <a:pt x="1252" y="2293"/>
                  </a:lnTo>
                  <a:lnTo>
                    <a:pt x="1237" y="2286"/>
                  </a:lnTo>
                  <a:lnTo>
                    <a:pt x="1221" y="2273"/>
                  </a:lnTo>
                  <a:lnTo>
                    <a:pt x="1215" y="2271"/>
                  </a:lnTo>
                  <a:lnTo>
                    <a:pt x="1207" y="2269"/>
                  </a:lnTo>
                  <a:lnTo>
                    <a:pt x="1192" y="2267"/>
                  </a:lnTo>
                  <a:lnTo>
                    <a:pt x="1183" y="2267"/>
                  </a:lnTo>
                  <a:lnTo>
                    <a:pt x="1180" y="2269"/>
                  </a:lnTo>
                  <a:lnTo>
                    <a:pt x="1171" y="2277"/>
                  </a:lnTo>
                  <a:lnTo>
                    <a:pt x="1149" y="2278"/>
                  </a:lnTo>
                  <a:lnTo>
                    <a:pt x="1144" y="2280"/>
                  </a:lnTo>
                  <a:lnTo>
                    <a:pt x="1128" y="2291"/>
                  </a:lnTo>
                  <a:lnTo>
                    <a:pt x="1122" y="2294"/>
                  </a:lnTo>
                  <a:lnTo>
                    <a:pt x="1114" y="2291"/>
                  </a:lnTo>
                  <a:lnTo>
                    <a:pt x="1104" y="2282"/>
                  </a:lnTo>
                  <a:lnTo>
                    <a:pt x="1099" y="2274"/>
                  </a:lnTo>
                  <a:lnTo>
                    <a:pt x="1091" y="2253"/>
                  </a:lnTo>
                  <a:lnTo>
                    <a:pt x="1081" y="2237"/>
                  </a:lnTo>
                  <a:lnTo>
                    <a:pt x="1078" y="2202"/>
                  </a:lnTo>
                  <a:lnTo>
                    <a:pt x="1074" y="2191"/>
                  </a:lnTo>
                  <a:lnTo>
                    <a:pt x="1070" y="2169"/>
                  </a:lnTo>
                  <a:lnTo>
                    <a:pt x="1066" y="2161"/>
                  </a:lnTo>
                  <a:lnTo>
                    <a:pt x="1056" y="2152"/>
                  </a:lnTo>
                  <a:lnTo>
                    <a:pt x="1052" y="2147"/>
                  </a:lnTo>
                  <a:lnTo>
                    <a:pt x="1051" y="2142"/>
                  </a:lnTo>
                  <a:lnTo>
                    <a:pt x="1053" y="2138"/>
                  </a:lnTo>
                  <a:lnTo>
                    <a:pt x="1051" y="2132"/>
                  </a:lnTo>
                  <a:lnTo>
                    <a:pt x="1042" y="2125"/>
                  </a:lnTo>
                  <a:lnTo>
                    <a:pt x="1033" y="2121"/>
                  </a:lnTo>
                  <a:lnTo>
                    <a:pt x="1009" y="2106"/>
                  </a:lnTo>
                  <a:lnTo>
                    <a:pt x="1000" y="2095"/>
                  </a:lnTo>
                  <a:lnTo>
                    <a:pt x="983" y="2080"/>
                  </a:lnTo>
                  <a:lnTo>
                    <a:pt x="980" y="2076"/>
                  </a:lnTo>
                  <a:lnTo>
                    <a:pt x="979" y="2071"/>
                  </a:lnTo>
                  <a:lnTo>
                    <a:pt x="975" y="2067"/>
                  </a:lnTo>
                  <a:lnTo>
                    <a:pt x="969" y="2065"/>
                  </a:lnTo>
                  <a:lnTo>
                    <a:pt x="959" y="2067"/>
                  </a:lnTo>
                  <a:lnTo>
                    <a:pt x="955" y="2067"/>
                  </a:lnTo>
                  <a:lnTo>
                    <a:pt x="950" y="2066"/>
                  </a:lnTo>
                  <a:lnTo>
                    <a:pt x="946" y="2062"/>
                  </a:lnTo>
                  <a:lnTo>
                    <a:pt x="942" y="2054"/>
                  </a:lnTo>
                  <a:lnTo>
                    <a:pt x="933" y="2045"/>
                  </a:lnTo>
                  <a:lnTo>
                    <a:pt x="925" y="2039"/>
                  </a:lnTo>
                  <a:lnTo>
                    <a:pt x="915" y="2036"/>
                  </a:lnTo>
                  <a:lnTo>
                    <a:pt x="914" y="2032"/>
                  </a:lnTo>
                  <a:lnTo>
                    <a:pt x="918" y="2022"/>
                  </a:lnTo>
                  <a:lnTo>
                    <a:pt x="918" y="2014"/>
                  </a:lnTo>
                  <a:lnTo>
                    <a:pt x="913" y="2006"/>
                  </a:lnTo>
                  <a:lnTo>
                    <a:pt x="908" y="2003"/>
                  </a:lnTo>
                  <a:lnTo>
                    <a:pt x="905" y="1999"/>
                  </a:lnTo>
                  <a:lnTo>
                    <a:pt x="903" y="1984"/>
                  </a:lnTo>
                  <a:lnTo>
                    <a:pt x="895" y="1960"/>
                  </a:lnTo>
                  <a:lnTo>
                    <a:pt x="891" y="1957"/>
                  </a:lnTo>
                  <a:lnTo>
                    <a:pt x="882" y="1952"/>
                  </a:lnTo>
                  <a:lnTo>
                    <a:pt x="873" y="1948"/>
                  </a:lnTo>
                  <a:lnTo>
                    <a:pt x="866" y="1941"/>
                  </a:lnTo>
                  <a:lnTo>
                    <a:pt x="862" y="1932"/>
                  </a:lnTo>
                  <a:lnTo>
                    <a:pt x="859" y="1928"/>
                  </a:lnTo>
                  <a:lnTo>
                    <a:pt x="847" y="1918"/>
                  </a:lnTo>
                  <a:lnTo>
                    <a:pt x="841" y="1912"/>
                  </a:lnTo>
                  <a:lnTo>
                    <a:pt x="831" y="1904"/>
                  </a:lnTo>
                  <a:lnTo>
                    <a:pt x="806" y="1889"/>
                  </a:lnTo>
                  <a:lnTo>
                    <a:pt x="805" y="1882"/>
                  </a:lnTo>
                  <a:lnTo>
                    <a:pt x="806" y="1859"/>
                  </a:lnTo>
                  <a:lnTo>
                    <a:pt x="799" y="1832"/>
                  </a:lnTo>
                  <a:lnTo>
                    <a:pt x="799" y="1828"/>
                  </a:lnTo>
                  <a:lnTo>
                    <a:pt x="803" y="1816"/>
                  </a:lnTo>
                  <a:lnTo>
                    <a:pt x="805" y="1806"/>
                  </a:lnTo>
                  <a:lnTo>
                    <a:pt x="804" y="1800"/>
                  </a:lnTo>
                  <a:lnTo>
                    <a:pt x="802" y="1796"/>
                  </a:lnTo>
                  <a:lnTo>
                    <a:pt x="793" y="1792"/>
                  </a:lnTo>
                  <a:lnTo>
                    <a:pt x="772" y="1790"/>
                  </a:lnTo>
                  <a:lnTo>
                    <a:pt x="767" y="1788"/>
                  </a:lnTo>
                  <a:lnTo>
                    <a:pt x="748" y="1774"/>
                  </a:lnTo>
                  <a:lnTo>
                    <a:pt x="722" y="1759"/>
                  </a:lnTo>
                  <a:lnTo>
                    <a:pt x="684" y="1728"/>
                  </a:lnTo>
                  <a:lnTo>
                    <a:pt x="671" y="1730"/>
                  </a:lnTo>
                  <a:lnTo>
                    <a:pt x="658" y="1736"/>
                  </a:lnTo>
                  <a:lnTo>
                    <a:pt x="653" y="1737"/>
                  </a:lnTo>
                  <a:lnTo>
                    <a:pt x="645" y="1735"/>
                  </a:lnTo>
                  <a:lnTo>
                    <a:pt x="633" y="1728"/>
                  </a:lnTo>
                  <a:lnTo>
                    <a:pt x="625" y="1726"/>
                  </a:lnTo>
                  <a:lnTo>
                    <a:pt x="621" y="1728"/>
                  </a:lnTo>
                  <a:lnTo>
                    <a:pt x="620" y="1731"/>
                  </a:lnTo>
                  <a:lnTo>
                    <a:pt x="615" y="1738"/>
                  </a:lnTo>
                  <a:lnTo>
                    <a:pt x="614" y="1750"/>
                  </a:lnTo>
                  <a:lnTo>
                    <a:pt x="608" y="1762"/>
                  </a:lnTo>
                  <a:lnTo>
                    <a:pt x="596" y="1781"/>
                  </a:lnTo>
                  <a:lnTo>
                    <a:pt x="588" y="1788"/>
                  </a:lnTo>
                  <a:lnTo>
                    <a:pt x="583" y="1792"/>
                  </a:lnTo>
                  <a:lnTo>
                    <a:pt x="577" y="1792"/>
                  </a:lnTo>
                  <a:lnTo>
                    <a:pt x="570" y="1790"/>
                  </a:lnTo>
                  <a:lnTo>
                    <a:pt x="564" y="1784"/>
                  </a:lnTo>
                  <a:lnTo>
                    <a:pt x="563" y="1784"/>
                  </a:lnTo>
                  <a:lnTo>
                    <a:pt x="560" y="1786"/>
                  </a:lnTo>
                  <a:lnTo>
                    <a:pt x="558" y="1791"/>
                  </a:lnTo>
                  <a:lnTo>
                    <a:pt x="556" y="1805"/>
                  </a:lnTo>
                  <a:lnTo>
                    <a:pt x="553" y="1815"/>
                  </a:lnTo>
                  <a:lnTo>
                    <a:pt x="551" y="1820"/>
                  </a:lnTo>
                  <a:lnTo>
                    <a:pt x="549" y="1823"/>
                  </a:lnTo>
                  <a:lnTo>
                    <a:pt x="545" y="1824"/>
                  </a:lnTo>
                  <a:lnTo>
                    <a:pt x="537" y="1825"/>
                  </a:lnTo>
                  <a:lnTo>
                    <a:pt x="526" y="1823"/>
                  </a:lnTo>
                  <a:lnTo>
                    <a:pt x="517" y="1821"/>
                  </a:lnTo>
                  <a:lnTo>
                    <a:pt x="514" y="1816"/>
                  </a:lnTo>
                  <a:lnTo>
                    <a:pt x="510" y="1804"/>
                  </a:lnTo>
                  <a:lnTo>
                    <a:pt x="501" y="1748"/>
                  </a:lnTo>
                  <a:lnTo>
                    <a:pt x="497" y="1737"/>
                  </a:lnTo>
                  <a:lnTo>
                    <a:pt x="493" y="1732"/>
                  </a:lnTo>
                  <a:lnTo>
                    <a:pt x="483" y="1725"/>
                  </a:lnTo>
                  <a:lnTo>
                    <a:pt x="465" y="1708"/>
                  </a:lnTo>
                  <a:lnTo>
                    <a:pt x="455" y="1695"/>
                  </a:lnTo>
                  <a:lnTo>
                    <a:pt x="428" y="1662"/>
                  </a:lnTo>
                  <a:lnTo>
                    <a:pt x="415" y="1641"/>
                  </a:lnTo>
                  <a:lnTo>
                    <a:pt x="408" y="1636"/>
                  </a:lnTo>
                  <a:lnTo>
                    <a:pt x="394" y="1629"/>
                  </a:lnTo>
                  <a:lnTo>
                    <a:pt x="389" y="1626"/>
                  </a:lnTo>
                  <a:lnTo>
                    <a:pt x="369" y="1608"/>
                  </a:lnTo>
                  <a:lnTo>
                    <a:pt x="348" y="1591"/>
                  </a:lnTo>
                  <a:lnTo>
                    <a:pt x="325" y="1570"/>
                  </a:lnTo>
                  <a:lnTo>
                    <a:pt x="318" y="1567"/>
                  </a:lnTo>
                  <a:lnTo>
                    <a:pt x="291" y="1556"/>
                  </a:lnTo>
                  <a:lnTo>
                    <a:pt x="284" y="1552"/>
                  </a:lnTo>
                  <a:lnTo>
                    <a:pt x="281" y="1548"/>
                  </a:lnTo>
                  <a:lnTo>
                    <a:pt x="275" y="1537"/>
                  </a:lnTo>
                  <a:lnTo>
                    <a:pt x="261" y="1518"/>
                  </a:lnTo>
                  <a:lnTo>
                    <a:pt x="260" y="1510"/>
                  </a:lnTo>
                  <a:lnTo>
                    <a:pt x="261" y="1485"/>
                  </a:lnTo>
                  <a:lnTo>
                    <a:pt x="254" y="1454"/>
                  </a:lnTo>
                  <a:lnTo>
                    <a:pt x="250" y="1450"/>
                  </a:lnTo>
                  <a:lnTo>
                    <a:pt x="240" y="1442"/>
                  </a:lnTo>
                  <a:lnTo>
                    <a:pt x="229" y="1416"/>
                  </a:lnTo>
                  <a:lnTo>
                    <a:pt x="210" y="1386"/>
                  </a:lnTo>
                  <a:lnTo>
                    <a:pt x="209" y="1385"/>
                  </a:lnTo>
                  <a:lnTo>
                    <a:pt x="207" y="1385"/>
                  </a:lnTo>
                  <a:lnTo>
                    <a:pt x="191" y="1393"/>
                  </a:lnTo>
                  <a:lnTo>
                    <a:pt x="186" y="1395"/>
                  </a:lnTo>
                  <a:lnTo>
                    <a:pt x="183" y="1394"/>
                  </a:lnTo>
                  <a:lnTo>
                    <a:pt x="178" y="1392"/>
                  </a:lnTo>
                  <a:lnTo>
                    <a:pt x="175" y="1388"/>
                  </a:lnTo>
                  <a:lnTo>
                    <a:pt x="169" y="1372"/>
                  </a:lnTo>
                  <a:lnTo>
                    <a:pt x="156" y="1359"/>
                  </a:lnTo>
                  <a:lnTo>
                    <a:pt x="151" y="1348"/>
                  </a:lnTo>
                  <a:lnTo>
                    <a:pt x="147" y="1343"/>
                  </a:lnTo>
                  <a:lnTo>
                    <a:pt x="138" y="1341"/>
                  </a:lnTo>
                  <a:lnTo>
                    <a:pt x="129" y="1343"/>
                  </a:lnTo>
                  <a:lnTo>
                    <a:pt x="121" y="1347"/>
                  </a:lnTo>
                  <a:lnTo>
                    <a:pt x="118" y="1350"/>
                  </a:lnTo>
                  <a:lnTo>
                    <a:pt x="117" y="1352"/>
                  </a:lnTo>
                  <a:lnTo>
                    <a:pt x="117" y="1357"/>
                  </a:lnTo>
                  <a:lnTo>
                    <a:pt x="115" y="1359"/>
                  </a:lnTo>
                  <a:lnTo>
                    <a:pt x="109" y="1361"/>
                  </a:lnTo>
                  <a:lnTo>
                    <a:pt x="100" y="1360"/>
                  </a:lnTo>
                  <a:lnTo>
                    <a:pt x="95" y="1357"/>
                  </a:lnTo>
                  <a:lnTo>
                    <a:pt x="90" y="1353"/>
                  </a:lnTo>
                  <a:lnTo>
                    <a:pt x="86" y="1348"/>
                  </a:lnTo>
                  <a:lnTo>
                    <a:pt x="83" y="1340"/>
                  </a:lnTo>
                  <a:lnTo>
                    <a:pt x="79" y="1335"/>
                  </a:lnTo>
                  <a:lnTo>
                    <a:pt x="68" y="1331"/>
                  </a:lnTo>
                  <a:lnTo>
                    <a:pt x="48" y="1326"/>
                  </a:lnTo>
                  <a:lnTo>
                    <a:pt x="44" y="1323"/>
                  </a:lnTo>
                  <a:lnTo>
                    <a:pt x="41" y="1318"/>
                  </a:lnTo>
                  <a:lnTo>
                    <a:pt x="32" y="1293"/>
                  </a:lnTo>
                  <a:lnTo>
                    <a:pt x="32" y="1287"/>
                  </a:lnTo>
                  <a:lnTo>
                    <a:pt x="32" y="1276"/>
                  </a:lnTo>
                  <a:lnTo>
                    <a:pt x="37" y="1261"/>
                  </a:lnTo>
                  <a:lnTo>
                    <a:pt x="38" y="1257"/>
                  </a:lnTo>
                  <a:lnTo>
                    <a:pt x="26" y="1227"/>
                  </a:lnTo>
                  <a:lnTo>
                    <a:pt x="26" y="1212"/>
                  </a:lnTo>
                  <a:lnTo>
                    <a:pt x="24" y="1210"/>
                  </a:lnTo>
                  <a:lnTo>
                    <a:pt x="14" y="1212"/>
                  </a:lnTo>
                  <a:lnTo>
                    <a:pt x="12" y="1210"/>
                  </a:lnTo>
                  <a:lnTo>
                    <a:pt x="10" y="1205"/>
                  </a:lnTo>
                  <a:lnTo>
                    <a:pt x="4" y="1204"/>
                  </a:lnTo>
                  <a:lnTo>
                    <a:pt x="0" y="1192"/>
                  </a:lnTo>
                  <a:lnTo>
                    <a:pt x="2" y="1186"/>
                  </a:lnTo>
                  <a:lnTo>
                    <a:pt x="12" y="1164"/>
                  </a:lnTo>
                  <a:lnTo>
                    <a:pt x="12" y="1161"/>
                  </a:lnTo>
                  <a:lnTo>
                    <a:pt x="9" y="1146"/>
                  </a:lnTo>
                  <a:lnTo>
                    <a:pt x="9" y="1141"/>
                  </a:lnTo>
                  <a:lnTo>
                    <a:pt x="11" y="1139"/>
                  </a:lnTo>
                  <a:lnTo>
                    <a:pt x="14" y="1135"/>
                  </a:lnTo>
                  <a:lnTo>
                    <a:pt x="20" y="1132"/>
                  </a:lnTo>
                  <a:lnTo>
                    <a:pt x="42" y="1122"/>
                  </a:lnTo>
                  <a:lnTo>
                    <a:pt x="44" y="1119"/>
                  </a:lnTo>
                  <a:lnTo>
                    <a:pt x="46" y="1114"/>
                  </a:lnTo>
                  <a:lnTo>
                    <a:pt x="46" y="1105"/>
                  </a:lnTo>
                  <a:lnTo>
                    <a:pt x="45" y="1101"/>
                  </a:lnTo>
                  <a:lnTo>
                    <a:pt x="34" y="1084"/>
                  </a:lnTo>
                  <a:lnTo>
                    <a:pt x="31" y="1074"/>
                  </a:lnTo>
                  <a:lnTo>
                    <a:pt x="27" y="1052"/>
                  </a:lnTo>
                  <a:lnTo>
                    <a:pt x="26" y="1043"/>
                  </a:lnTo>
                  <a:lnTo>
                    <a:pt x="27" y="1037"/>
                  </a:lnTo>
                  <a:lnTo>
                    <a:pt x="33" y="1026"/>
                  </a:lnTo>
                  <a:lnTo>
                    <a:pt x="40" y="1019"/>
                  </a:lnTo>
                  <a:lnTo>
                    <a:pt x="46" y="1014"/>
                  </a:lnTo>
                  <a:lnTo>
                    <a:pt x="58" y="1011"/>
                  </a:lnTo>
                  <a:lnTo>
                    <a:pt x="60" y="1007"/>
                  </a:lnTo>
                  <a:lnTo>
                    <a:pt x="62" y="1003"/>
                  </a:lnTo>
                  <a:lnTo>
                    <a:pt x="61" y="998"/>
                  </a:lnTo>
                  <a:lnTo>
                    <a:pt x="60" y="996"/>
                  </a:lnTo>
                  <a:lnTo>
                    <a:pt x="48" y="984"/>
                  </a:lnTo>
                  <a:lnTo>
                    <a:pt x="33" y="965"/>
                  </a:lnTo>
                  <a:lnTo>
                    <a:pt x="30" y="947"/>
                  </a:lnTo>
                  <a:lnTo>
                    <a:pt x="18" y="929"/>
                  </a:lnTo>
                  <a:lnTo>
                    <a:pt x="5" y="907"/>
                  </a:lnTo>
                  <a:lnTo>
                    <a:pt x="2" y="899"/>
                  </a:lnTo>
                  <a:lnTo>
                    <a:pt x="3" y="892"/>
                  </a:lnTo>
                  <a:lnTo>
                    <a:pt x="8" y="885"/>
                  </a:lnTo>
                  <a:lnTo>
                    <a:pt x="12" y="881"/>
                  </a:lnTo>
                  <a:lnTo>
                    <a:pt x="25" y="875"/>
                  </a:lnTo>
                  <a:lnTo>
                    <a:pt x="27" y="872"/>
                  </a:lnTo>
                  <a:lnTo>
                    <a:pt x="28" y="869"/>
                  </a:lnTo>
                  <a:lnTo>
                    <a:pt x="29" y="855"/>
                  </a:lnTo>
                  <a:lnTo>
                    <a:pt x="34" y="833"/>
                  </a:lnTo>
                  <a:lnTo>
                    <a:pt x="36" y="826"/>
                  </a:lnTo>
                  <a:lnTo>
                    <a:pt x="33" y="813"/>
                  </a:lnTo>
                  <a:lnTo>
                    <a:pt x="29" y="793"/>
                  </a:lnTo>
                  <a:lnTo>
                    <a:pt x="30" y="783"/>
                  </a:lnTo>
                  <a:lnTo>
                    <a:pt x="32" y="779"/>
                  </a:lnTo>
                  <a:lnTo>
                    <a:pt x="36" y="777"/>
                  </a:lnTo>
                  <a:lnTo>
                    <a:pt x="48" y="772"/>
                  </a:lnTo>
                  <a:lnTo>
                    <a:pt x="88" y="765"/>
                  </a:lnTo>
                  <a:lnTo>
                    <a:pt x="123" y="755"/>
                  </a:lnTo>
                  <a:lnTo>
                    <a:pt x="128" y="756"/>
                  </a:lnTo>
                  <a:lnTo>
                    <a:pt x="133" y="762"/>
                  </a:lnTo>
                  <a:lnTo>
                    <a:pt x="135" y="772"/>
                  </a:lnTo>
                  <a:lnTo>
                    <a:pt x="131" y="816"/>
                  </a:lnTo>
                  <a:lnTo>
                    <a:pt x="133" y="839"/>
                  </a:lnTo>
                  <a:lnTo>
                    <a:pt x="136" y="853"/>
                  </a:lnTo>
                  <a:lnTo>
                    <a:pt x="141" y="861"/>
                  </a:lnTo>
                  <a:lnTo>
                    <a:pt x="148" y="866"/>
                  </a:lnTo>
                  <a:lnTo>
                    <a:pt x="160" y="873"/>
                  </a:lnTo>
                  <a:lnTo>
                    <a:pt x="171" y="886"/>
                  </a:lnTo>
                  <a:lnTo>
                    <a:pt x="177" y="890"/>
                  </a:lnTo>
                  <a:lnTo>
                    <a:pt x="188" y="890"/>
                  </a:lnTo>
                  <a:lnTo>
                    <a:pt x="199" y="888"/>
                  </a:lnTo>
                  <a:lnTo>
                    <a:pt x="207" y="868"/>
                  </a:lnTo>
                  <a:lnTo>
                    <a:pt x="216" y="864"/>
                  </a:lnTo>
                  <a:lnTo>
                    <a:pt x="242" y="856"/>
                  </a:lnTo>
                  <a:lnTo>
                    <a:pt x="250" y="852"/>
                  </a:lnTo>
                  <a:lnTo>
                    <a:pt x="256" y="847"/>
                  </a:lnTo>
                  <a:lnTo>
                    <a:pt x="272" y="818"/>
                  </a:lnTo>
                  <a:lnTo>
                    <a:pt x="278" y="800"/>
                  </a:lnTo>
                  <a:lnTo>
                    <a:pt x="280" y="787"/>
                  </a:lnTo>
                  <a:lnTo>
                    <a:pt x="277" y="762"/>
                  </a:lnTo>
                  <a:lnTo>
                    <a:pt x="278" y="754"/>
                  </a:lnTo>
                  <a:lnTo>
                    <a:pt x="289" y="722"/>
                  </a:lnTo>
                  <a:lnTo>
                    <a:pt x="291" y="711"/>
                  </a:lnTo>
                  <a:lnTo>
                    <a:pt x="290" y="707"/>
                  </a:lnTo>
                  <a:lnTo>
                    <a:pt x="282" y="699"/>
                  </a:lnTo>
                  <a:lnTo>
                    <a:pt x="282" y="688"/>
                  </a:lnTo>
                  <a:lnTo>
                    <a:pt x="280" y="678"/>
                  </a:lnTo>
                  <a:lnTo>
                    <a:pt x="281" y="659"/>
                  </a:lnTo>
                  <a:lnTo>
                    <a:pt x="288" y="639"/>
                  </a:lnTo>
                  <a:lnTo>
                    <a:pt x="288" y="633"/>
                  </a:lnTo>
                  <a:lnTo>
                    <a:pt x="284" y="630"/>
                  </a:lnTo>
                  <a:lnTo>
                    <a:pt x="277" y="617"/>
                  </a:lnTo>
                  <a:lnTo>
                    <a:pt x="274" y="610"/>
                  </a:lnTo>
                  <a:lnTo>
                    <a:pt x="274" y="596"/>
                  </a:lnTo>
                  <a:lnTo>
                    <a:pt x="272" y="589"/>
                  </a:lnTo>
                  <a:lnTo>
                    <a:pt x="262" y="569"/>
                  </a:lnTo>
                  <a:lnTo>
                    <a:pt x="258" y="558"/>
                  </a:lnTo>
                  <a:lnTo>
                    <a:pt x="238" y="524"/>
                  </a:lnTo>
                  <a:lnTo>
                    <a:pt x="234" y="504"/>
                  </a:lnTo>
                  <a:lnTo>
                    <a:pt x="226" y="480"/>
                  </a:lnTo>
                  <a:lnTo>
                    <a:pt x="227" y="474"/>
                  </a:lnTo>
                  <a:lnTo>
                    <a:pt x="235" y="461"/>
                  </a:lnTo>
                  <a:lnTo>
                    <a:pt x="230" y="451"/>
                  </a:lnTo>
                  <a:lnTo>
                    <a:pt x="231" y="441"/>
                  </a:lnTo>
                  <a:lnTo>
                    <a:pt x="236" y="437"/>
                  </a:lnTo>
                  <a:lnTo>
                    <a:pt x="254" y="425"/>
                  </a:lnTo>
                  <a:lnTo>
                    <a:pt x="258" y="399"/>
                  </a:lnTo>
                  <a:lnTo>
                    <a:pt x="267" y="366"/>
                  </a:lnTo>
                  <a:lnTo>
                    <a:pt x="267" y="354"/>
                  </a:lnTo>
                  <a:lnTo>
                    <a:pt x="266" y="344"/>
                  </a:lnTo>
                  <a:lnTo>
                    <a:pt x="263" y="336"/>
                  </a:lnTo>
                  <a:lnTo>
                    <a:pt x="257" y="327"/>
                  </a:lnTo>
                  <a:lnTo>
                    <a:pt x="256" y="320"/>
                  </a:lnTo>
                  <a:lnTo>
                    <a:pt x="258" y="316"/>
                  </a:lnTo>
                  <a:lnTo>
                    <a:pt x="261" y="313"/>
                  </a:lnTo>
                  <a:lnTo>
                    <a:pt x="276" y="307"/>
                  </a:lnTo>
                  <a:lnTo>
                    <a:pt x="289" y="304"/>
                  </a:lnTo>
                  <a:lnTo>
                    <a:pt x="317" y="299"/>
                  </a:lnTo>
                  <a:lnTo>
                    <a:pt x="336" y="294"/>
                  </a:lnTo>
                  <a:lnTo>
                    <a:pt x="344" y="288"/>
                  </a:lnTo>
                  <a:lnTo>
                    <a:pt x="364" y="268"/>
                  </a:lnTo>
                  <a:lnTo>
                    <a:pt x="385" y="258"/>
                  </a:lnTo>
                  <a:lnTo>
                    <a:pt x="386" y="256"/>
                  </a:lnTo>
                  <a:lnTo>
                    <a:pt x="386" y="253"/>
                  </a:lnTo>
                  <a:lnTo>
                    <a:pt x="386" y="253"/>
                  </a:lnTo>
                  <a:lnTo>
                    <a:pt x="390" y="251"/>
                  </a:lnTo>
                  <a:lnTo>
                    <a:pt x="392" y="248"/>
                  </a:lnTo>
                  <a:lnTo>
                    <a:pt x="392" y="244"/>
                  </a:lnTo>
                  <a:lnTo>
                    <a:pt x="390" y="235"/>
                  </a:lnTo>
                  <a:lnTo>
                    <a:pt x="390" y="232"/>
                  </a:lnTo>
                  <a:lnTo>
                    <a:pt x="393" y="228"/>
                  </a:lnTo>
                  <a:lnTo>
                    <a:pt x="399" y="226"/>
                  </a:lnTo>
                  <a:lnTo>
                    <a:pt x="410" y="230"/>
                  </a:lnTo>
                  <a:lnTo>
                    <a:pt x="425" y="227"/>
                  </a:lnTo>
                  <a:lnTo>
                    <a:pt x="427" y="229"/>
                  </a:lnTo>
                  <a:lnTo>
                    <a:pt x="433" y="241"/>
                  </a:lnTo>
                  <a:lnTo>
                    <a:pt x="438" y="245"/>
                  </a:lnTo>
                  <a:lnTo>
                    <a:pt x="443" y="246"/>
                  </a:lnTo>
                  <a:lnTo>
                    <a:pt x="463" y="243"/>
                  </a:lnTo>
                  <a:lnTo>
                    <a:pt x="469" y="243"/>
                  </a:lnTo>
                  <a:lnTo>
                    <a:pt x="475" y="245"/>
                  </a:lnTo>
                  <a:lnTo>
                    <a:pt x="488" y="255"/>
                  </a:lnTo>
                  <a:lnTo>
                    <a:pt x="497" y="259"/>
                  </a:lnTo>
                  <a:lnTo>
                    <a:pt x="507" y="260"/>
                  </a:lnTo>
                  <a:lnTo>
                    <a:pt x="518" y="256"/>
                  </a:lnTo>
                  <a:lnTo>
                    <a:pt x="522" y="256"/>
                  </a:lnTo>
                  <a:lnTo>
                    <a:pt x="524" y="257"/>
                  </a:lnTo>
                  <a:lnTo>
                    <a:pt x="532" y="265"/>
                  </a:lnTo>
                  <a:lnTo>
                    <a:pt x="543" y="270"/>
                  </a:lnTo>
                  <a:lnTo>
                    <a:pt x="549" y="271"/>
                  </a:lnTo>
                  <a:lnTo>
                    <a:pt x="554" y="271"/>
                  </a:lnTo>
                  <a:lnTo>
                    <a:pt x="565" y="265"/>
                  </a:lnTo>
                  <a:lnTo>
                    <a:pt x="569" y="264"/>
                  </a:lnTo>
                  <a:lnTo>
                    <a:pt x="571" y="265"/>
                  </a:lnTo>
                  <a:lnTo>
                    <a:pt x="581" y="275"/>
                  </a:lnTo>
                  <a:lnTo>
                    <a:pt x="586" y="275"/>
                  </a:lnTo>
                  <a:lnTo>
                    <a:pt x="599" y="272"/>
                  </a:lnTo>
                  <a:lnTo>
                    <a:pt x="614" y="271"/>
                  </a:lnTo>
                  <a:lnTo>
                    <a:pt x="616" y="270"/>
                  </a:lnTo>
                  <a:lnTo>
                    <a:pt x="618" y="264"/>
                  </a:lnTo>
                  <a:lnTo>
                    <a:pt x="615" y="251"/>
                  </a:lnTo>
                  <a:lnTo>
                    <a:pt x="619" y="245"/>
                  </a:lnTo>
                  <a:lnTo>
                    <a:pt x="628" y="240"/>
                  </a:lnTo>
                  <a:lnTo>
                    <a:pt x="633" y="238"/>
                  </a:lnTo>
                  <a:lnTo>
                    <a:pt x="631" y="225"/>
                  </a:lnTo>
                  <a:lnTo>
                    <a:pt x="632" y="219"/>
                  </a:lnTo>
                  <a:lnTo>
                    <a:pt x="632" y="219"/>
                  </a:lnTo>
                  <a:lnTo>
                    <a:pt x="631" y="219"/>
                  </a:lnTo>
                  <a:lnTo>
                    <a:pt x="631" y="217"/>
                  </a:lnTo>
                  <a:lnTo>
                    <a:pt x="633" y="215"/>
                  </a:lnTo>
                  <a:lnTo>
                    <a:pt x="643" y="214"/>
                  </a:lnTo>
                  <a:lnTo>
                    <a:pt x="649" y="211"/>
                  </a:lnTo>
                  <a:lnTo>
                    <a:pt x="648" y="197"/>
                  </a:lnTo>
                  <a:lnTo>
                    <a:pt x="666" y="170"/>
                  </a:lnTo>
                  <a:lnTo>
                    <a:pt x="666" y="156"/>
                  </a:lnTo>
                  <a:lnTo>
                    <a:pt x="667" y="153"/>
                  </a:lnTo>
                  <a:lnTo>
                    <a:pt x="671" y="151"/>
                  </a:lnTo>
                  <a:lnTo>
                    <a:pt x="689" y="147"/>
                  </a:lnTo>
                  <a:lnTo>
                    <a:pt x="693" y="144"/>
                  </a:lnTo>
                  <a:lnTo>
                    <a:pt x="696" y="140"/>
                  </a:lnTo>
                  <a:lnTo>
                    <a:pt x="709" y="102"/>
                  </a:lnTo>
                  <a:lnTo>
                    <a:pt x="711" y="98"/>
                  </a:lnTo>
                  <a:lnTo>
                    <a:pt x="717" y="96"/>
                  </a:lnTo>
                  <a:lnTo>
                    <a:pt x="736" y="100"/>
                  </a:lnTo>
                  <a:lnTo>
                    <a:pt x="756" y="98"/>
                  </a:lnTo>
                  <a:lnTo>
                    <a:pt x="780" y="82"/>
                  </a:lnTo>
                  <a:lnTo>
                    <a:pt x="783" y="67"/>
                  </a:lnTo>
                  <a:lnTo>
                    <a:pt x="784" y="65"/>
                  </a:lnTo>
                  <a:lnTo>
                    <a:pt x="788" y="65"/>
                  </a:lnTo>
                  <a:lnTo>
                    <a:pt x="806" y="68"/>
                  </a:lnTo>
                  <a:lnTo>
                    <a:pt x="812" y="68"/>
                  </a:lnTo>
                  <a:lnTo>
                    <a:pt x="813" y="66"/>
                  </a:lnTo>
                  <a:lnTo>
                    <a:pt x="813" y="63"/>
                  </a:lnTo>
                  <a:lnTo>
                    <a:pt x="805" y="53"/>
                  </a:lnTo>
                  <a:lnTo>
                    <a:pt x="802" y="47"/>
                  </a:lnTo>
                  <a:lnTo>
                    <a:pt x="804" y="39"/>
                  </a:lnTo>
                  <a:lnTo>
                    <a:pt x="808" y="31"/>
                  </a:lnTo>
                  <a:lnTo>
                    <a:pt x="818" y="19"/>
                  </a:lnTo>
                  <a:lnTo>
                    <a:pt x="822" y="13"/>
                  </a:lnTo>
                  <a:lnTo>
                    <a:pt x="826" y="12"/>
                  </a:lnTo>
                  <a:lnTo>
                    <a:pt x="835" y="13"/>
                  </a:lnTo>
                  <a:lnTo>
                    <a:pt x="840" y="13"/>
                  </a:lnTo>
                  <a:lnTo>
                    <a:pt x="851" y="2"/>
                  </a:lnTo>
                  <a:lnTo>
                    <a:pt x="854" y="0"/>
                  </a:lnTo>
                  <a:lnTo>
                    <a:pt x="857" y="1"/>
                  </a:lnTo>
                  <a:lnTo>
                    <a:pt x="859" y="3"/>
                  </a:lnTo>
                  <a:lnTo>
                    <a:pt x="857" y="17"/>
                  </a:lnTo>
                  <a:lnTo>
                    <a:pt x="862" y="24"/>
                  </a:lnTo>
                  <a:lnTo>
                    <a:pt x="868" y="29"/>
                  </a:lnTo>
                  <a:lnTo>
                    <a:pt x="874" y="32"/>
                  </a:lnTo>
                  <a:lnTo>
                    <a:pt x="894" y="35"/>
                  </a:lnTo>
                  <a:lnTo>
                    <a:pt x="900" y="38"/>
                  </a:lnTo>
                  <a:lnTo>
                    <a:pt x="907" y="45"/>
                  </a:lnTo>
                  <a:lnTo>
                    <a:pt x="913" y="63"/>
                  </a:lnTo>
                  <a:lnTo>
                    <a:pt x="915" y="65"/>
                  </a:lnTo>
                  <a:lnTo>
                    <a:pt x="942" y="69"/>
                  </a:lnTo>
                  <a:lnTo>
                    <a:pt x="981" y="97"/>
                  </a:lnTo>
                  <a:lnTo>
                    <a:pt x="988" y="100"/>
                  </a:lnTo>
                  <a:lnTo>
                    <a:pt x="994" y="101"/>
                  </a:lnTo>
                  <a:lnTo>
                    <a:pt x="998" y="100"/>
                  </a:lnTo>
                  <a:lnTo>
                    <a:pt x="999" y="82"/>
                  </a:lnTo>
                  <a:lnTo>
                    <a:pt x="1002" y="74"/>
                  </a:lnTo>
                  <a:lnTo>
                    <a:pt x="1006" y="69"/>
                  </a:lnTo>
                  <a:lnTo>
                    <a:pt x="1011" y="68"/>
                  </a:lnTo>
                  <a:lnTo>
                    <a:pt x="1014" y="68"/>
                  </a:lnTo>
                  <a:lnTo>
                    <a:pt x="1018" y="73"/>
                  </a:lnTo>
                  <a:lnTo>
                    <a:pt x="1020" y="85"/>
                  </a:lnTo>
                  <a:lnTo>
                    <a:pt x="1038" y="93"/>
                  </a:lnTo>
                  <a:lnTo>
                    <a:pt x="1040" y="96"/>
                  </a:lnTo>
                  <a:lnTo>
                    <a:pt x="1041" y="104"/>
                  </a:lnTo>
                  <a:lnTo>
                    <a:pt x="1045" y="107"/>
                  </a:lnTo>
                  <a:lnTo>
                    <a:pt x="1052" y="109"/>
                  </a:lnTo>
                  <a:lnTo>
                    <a:pt x="1077" y="110"/>
                  </a:lnTo>
                  <a:lnTo>
                    <a:pt x="1083" y="112"/>
                  </a:lnTo>
                  <a:lnTo>
                    <a:pt x="1090" y="118"/>
                  </a:lnTo>
                  <a:lnTo>
                    <a:pt x="1093" y="119"/>
                  </a:lnTo>
                  <a:lnTo>
                    <a:pt x="1100" y="118"/>
                  </a:lnTo>
                  <a:lnTo>
                    <a:pt x="1105" y="120"/>
                  </a:lnTo>
                  <a:lnTo>
                    <a:pt x="1109" y="127"/>
                  </a:lnTo>
                  <a:lnTo>
                    <a:pt x="1111" y="132"/>
                  </a:lnTo>
                  <a:lnTo>
                    <a:pt x="1118" y="157"/>
                  </a:lnTo>
                  <a:lnTo>
                    <a:pt x="1122" y="162"/>
                  </a:lnTo>
                  <a:lnTo>
                    <a:pt x="1130" y="166"/>
                  </a:lnTo>
                  <a:lnTo>
                    <a:pt x="1140" y="168"/>
                  </a:lnTo>
                  <a:lnTo>
                    <a:pt x="1153" y="170"/>
                  </a:lnTo>
                  <a:lnTo>
                    <a:pt x="1178" y="172"/>
                  </a:lnTo>
                  <a:lnTo>
                    <a:pt x="1201" y="180"/>
                  </a:lnTo>
                  <a:lnTo>
                    <a:pt x="1233" y="180"/>
                  </a:lnTo>
                  <a:lnTo>
                    <a:pt x="1245" y="178"/>
                  </a:lnTo>
                  <a:lnTo>
                    <a:pt x="1251" y="175"/>
                  </a:lnTo>
                  <a:lnTo>
                    <a:pt x="1255" y="172"/>
                  </a:lnTo>
                  <a:lnTo>
                    <a:pt x="1257" y="169"/>
                  </a:lnTo>
                  <a:lnTo>
                    <a:pt x="1261" y="148"/>
                  </a:lnTo>
                  <a:lnTo>
                    <a:pt x="1265" y="136"/>
                  </a:lnTo>
                  <a:lnTo>
                    <a:pt x="1295" y="128"/>
                  </a:lnTo>
                  <a:lnTo>
                    <a:pt x="1337" y="120"/>
                  </a:lnTo>
                  <a:lnTo>
                    <a:pt x="1349" y="117"/>
                  </a:lnTo>
                  <a:lnTo>
                    <a:pt x="1358" y="114"/>
                  </a:lnTo>
                  <a:lnTo>
                    <a:pt x="1362" y="111"/>
                  </a:lnTo>
                  <a:lnTo>
                    <a:pt x="1364" y="109"/>
                  </a:lnTo>
                  <a:lnTo>
                    <a:pt x="1371" y="82"/>
                  </a:lnTo>
                  <a:lnTo>
                    <a:pt x="1387" y="73"/>
                  </a:lnTo>
                  <a:lnTo>
                    <a:pt x="1390" y="72"/>
                  </a:lnTo>
                  <a:lnTo>
                    <a:pt x="1393" y="72"/>
                  </a:lnTo>
                  <a:lnTo>
                    <a:pt x="1421" y="85"/>
                  </a:lnTo>
                  <a:lnTo>
                    <a:pt x="1430" y="90"/>
                  </a:lnTo>
                  <a:lnTo>
                    <a:pt x="1438" y="97"/>
                  </a:lnTo>
                  <a:lnTo>
                    <a:pt x="1453" y="112"/>
                  </a:lnTo>
                  <a:lnTo>
                    <a:pt x="1462" y="119"/>
                  </a:lnTo>
                  <a:lnTo>
                    <a:pt x="1464" y="119"/>
                  </a:lnTo>
                  <a:lnTo>
                    <a:pt x="1485" y="109"/>
                  </a:lnTo>
                  <a:lnTo>
                    <a:pt x="1489" y="109"/>
                  </a:lnTo>
                  <a:lnTo>
                    <a:pt x="1499" y="112"/>
                  </a:lnTo>
                  <a:lnTo>
                    <a:pt x="1501" y="118"/>
                  </a:lnTo>
                  <a:lnTo>
                    <a:pt x="1503" y="120"/>
                  </a:lnTo>
                  <a:lnTo>
                    <a:pt x="1519" y="128"/>
                  </a:lnTo>
                  <a:lnTo>
                    <a:pt x="1524" y="131"/>
                  </a:lnTo>
                  <a:lnTo>
                    <a:pt x="1525" y="133"/>
                  </a:lnTo>
                  <a:lnTo>
                    <a:pt x="1524" y="139"/>
                  </a:lnTo>
                  <a:lnTo>
                    <a:pt x="1520" y="156"/>
                  </a:lnTo>
                  <a:lnTo>
                    <a:pt x="1515" y="171"/>
                  </a:lnTo>
                  <a:lnTo>
                    <a:pt x="1514" y="176"/>
                  </a:lnTo>
                  <a:lnTo>
                    <a:pt x="1522" y="189"/>
                  </a:lnTo>
                  <a:lnTo>
                    <a:pt x="1526" y="203"/>
                  </a:lnTo>
                  <a:lnTo>
                    <a:pt x="1528" y="204"/>
                  </a:lnTo>
                  <a:lnTo>
                    <a:pt x="1539" y="208"/>
                  </a:lnTo>
                  <a:lnTo>
                    <a:pt x="1551" y="226"/>
                  </a:lnTo>
                  <a:lnTo>
                    <a:pt x="1554" y="230"/>
                  </a:lnTo>
                  <a:lnTo>
                    <a:pt x="1559" y="230"/>
                  </a:lnTo>
                  <a:lnTo>
                    <a:pt x="1573" y="226"/>
                  </a:lnTo>
                  <a:lnTo>
                    <a:pt x="1579" y="226"/>
                  </a:lnTo>
                  <a:lnTo>
                    <a:pt x="1582" y="227"/>
                  </a:lnTo>
                  <a:lnTo>
                    <a:pt x="1588" y="235"/>
                  </a:lnTo>
                  <a:lnTo>
                    <a:pt x="1593" y="239"/>
                  </a:lnTo>
                  <a:lnTo>
                    <a:pt x="1610" y="246"/>
                  </a:lnTo>
                  <a:lnTo>
                    <a:pt x="1612" y="254"/>
                  </a:lnTo>
                  <a:lnTo>
                    <a:pt x="1613" y="256"/>
                  </a:lnTo>
                  <a:lnTo>
                    <a:pt x="1616" y="256"/>
                  </a:lnTo>
                  <a:lnTo>
                    <a:pt x="1624" y="253"/>
                  </a:lnTo>
                  <a:lnTo>
                    <a:pt x="1629" y="253"/>
                  </a:lnTo>
                  <a:lnTo>
                    <a:pt x="1642" y="261"/>
                  </a:lnTo>
                  <a:lnTo>
                    <a:pt x="1666" y="272"/>
                  </a:lnTo>
                  <a:lnTo>
                    <a:pt x="1670" y="277"/>
                  </a:lnTo>
                  <a:lnTo>
                    <a:pt x="1675" y="276"/>
                  </a:lnTo>
                  <a:lnTo>
                    <a:pt x="1686" y="273"/>
                  </a:lnTo>
                  <a:lnTo>
                    <a:pt x="1695" y="273"/>
                  </a:lnTo>
                  <a:lnTo>
                    <a:pt x="1705" y="282"/>
                  </a:lnTo>
                  <a:lnTo>
                    <a:pt x="1716" y="288"/>
                  </a:lnTo>
                  <a:lnTo>
                    <a:pt x="1735" y="286"/>
                  </a:lnTo>
                  <a:lnTo>
                    <a:pt x="1744" y="282"/>
                  </a:lnTo>
                  <a:lnTo>
                    <a:pt x="1759" y="276"/>
                  </a:lnTo>
                  <a:lnTo>
                    <a:pt x="1765" y="276"/>
                  </a:lnTo>
                  <a:lnTo>
                    <a:pt x="1778" y="280"/>
                  </a:lnTo>
                  <a:lnTo>
                    <a:pt x="1784" y="283"/>
                  </a:lnTo>
                  <a:lnTo>
                    <a:pt x="1788" y="288"/>
                  </a:lnTo>
                  <a:lnTo>
                    <a:pt x="1794" y="298"/>
                  </a:lnTo>
                  <a:lnTo>
                    <a:pt x="1797" y="301"/>
                  </a:lnTo>
                  <a:lnTo>
                    <a:pt x="1810" y="299"/>
                  </a:lnTo>
                  <a:lnTo>
                    <a:pt x="1814" y="301"/>
                  </a:lnTo>
                  <a:lnTo>
                    <a:pt x="1819" y="307"/>
                  </a:lnTo>
                  <a:lnTo>
                    <a:pt x="1823" y="308"/>
                  </a:lnTo>
                  <a:lnTo>
                    <a:pt x="1827" y="308"/>
                  </a:lnTo>
                  <a:lnTo>
                    <a:pt x="1838" y="302"/>
                  </a:lnTo>
                  <a:lnTo>
                    <a:pt x="1867" y="299"/>
                  </a:lnTo>
                  <a:lnTo>
                    <a:pt x="1893" y="290"/>
                  </a:lnTo>
                  <a:lnTo>
                    <a:pt x="1897" y="287"/>
                  </a:lnTo>
                  <a:lnTo>
                    <a:pt x="1899" y="284"/>
                  </a:lnTo>
                  <a:lnTo>
                    <a:pt x="1898" y="280"/>
                  </a:lnTo>
                  <a:lnTo>
                    <a:pt x="1893" y="272"/>
                  </a:lnTo>
                  <a:lnTo>
                    <a:pt x="1894" y="270"/>
                  </a:lnTo>
                  <a:lnTo>
                    <a:pt x="1896" y="269"/>
                  </a:lnTo>
                  <a:lnTo>
                    <a:pt x="1901" y="268"/>
                  </a:lnTo>
                  <a:lnTo>
                    <a:pt x="1929" y="270"/>
                  </a:lnTo>
                  <a:lnTo>
                    <a:pt x="1966" y="268"/>
                  </a:lnTo>
                  <a:lnTo>
                    <a:pt x="1985" y="269"/>
                  </a:lnTo>
                  <a:lnTo>
                    <a:pt x="1994" y="269"/>
                  </a:lnTo>
                  <a:lnTo>
                    <a:pt x="2020" y="258"/>
                  </a:lnTo>
                  <a:lnTo>
                    <a:pt x="2046" y="257"/>
                  </a:lnTo>
                  <a:lnTo>
                    <a:pt x="2057" y="244"/>
                  </a:lnTo>
                  <a:lnTo>
                    <a:pt x="2061" y="243"/>
                  </a:lnTo>
                  <a:lnTo>
                    <a:pt x="2065" y="242"/>
                  </a:lnTo>
                  <a:lnTo>
                    <a:pt x="2072" y="244"/>
                  </a:lnTo>
                  <a:lnTo>
                    <a:pt x="2079" y="252"/>
                  </a:lnTo>
                  <a:lnTo>
                    <a:pt x="2083" y="254"/>
                  </a:lnTo>
                  <a:lnTo>
                    <a:pt x="2095" y="257"/>
                  </a:lnTo>
                  <a:lnTo>
                    <a:pt x="2100" y="257"/>
                  </a:lnTo>
                  <a:lnTo>
                    <a:pt x="2105" y="255"/>
                  </a:lnTo>
                  <a:lnTo>
                    <a:pt x="2108" y="253"/>
                  </a:lnTo>
                  <a:lnTo>
                    <a:pt x="2110" y="246"/>
                  </a:lnTo>
                  <a:lnTo>
                    <a:pt x="2112" y="245"/>
                  </a:lnTo>
                  <a:lnTo>
                    <a:pt x="2116" y="245"/>
                  </a:lnTo>
                  <a:lnTo>
                    <a:pt x="2119" y="250"/>
                  </a:lnTo>
                  <a:lnTo>
                    <a:pt x="2122" y="251"/>
                  </a:lnTo>
                  <a:lnTo>
                    <a:pt x="2135" y="250"/>
                  </a:lnTo>
                  <a:lnTo>
                    <a:pt x="2138" y="260"/>
                  </a:lnTo>
                  <a:lnTo>
                    <a:pt x="2142" y="263"/>
                  </a:lnTo>
                  <a:lnTo>
                    <a:pt x="2146" y="266"/>
                  </a:lnTo>
                  <a:lnTo>
                    <a:pt x="2150" y="280"/>
                  </a:lnTo>
                  <a:lnTo>
                    <a:pt x="2154" y="286"/>
                  </a:lnTo>
                  <a:lnTo>
                    <a:pt x="2157" y="288"/>
                  </a:lnTo>
                  <a:lnTo>
                    <a:pt x="2172" y="290"/>
                  </a:lnTo>
                  <a:lnTo>
                    <a:pt x="2176" y="292"/>
                  </a:lnTo>
                  <a:lnTo>
                    <a:pt x="2181" y="295"/>
                  </a:lnTo>
                  <a:lnTo>
                    <a:pt x="2183" y="307"/>
                  </a:lnTo>
                  <a:lnTo>
                    <a:pt x="2187" y="314"/>
                  </a:lnTo>
                  <a:lnTo>
                    <a:pt x="2194" y="316"/>
                  </a:lnTo>
                  <a:lnTo>
                    <a:pt x="2203" y="317"/>
                  </a:lnTo>
                  <a:lnTo>
                    <a:pt x="2207" y="314"/>
                  </a:lnTo>
                  <a:lnTo>
                    <a:pt x="2221" y="296"/>
                  </a:lnTo>
                  <a:lnTo>
                    <a:pt x="2232" y="290"/>
                  </a:lnTo>
                  <a:lnTo>
                    <a:pt x="2246" y="288"/>
                  </a:lnTo>
                  <a:lnTo>
                    <a:pt x="2292" y="281"/>
                  </a:lnTo>
                  <a:lnTo>
                    <a:pt x="2300" y="282"/>
                  </a:lnTo>
                  <a:lnTo>
                    <a:pt x="2312" y="286"/>
                  </a:lnTo>
                  <a:lnTo>
                    <a:pt x="2331" y="279"/>
                  </a:lnTo>
                  <a:lnTo>
                    <a:pt x="2344" y="278"/>
                  </a:lnTo>
                  <a:lnTo>
                    <a:pt x="2347" y="260"/>
                  </a:lnTo>
                  <a:lnTo>
                    <a:pt x="2349" y="257"/>
                  </a:lnTo>
                  <a:lnTo>
                    <a:pt x="2353" y="253"/>
                  </a:lnTo>
                  <a:lnTo>
                    <a:pt x="2363" y="251"/>
                  </a:lnTo>
                  <a:lnTo>
                    <a:pt x="2368" y="247"/>
                  </a:lnTo>
                  <a:lnTo>
                    <a:pt x="2370" y="232"/>
                  </a:lnTo>
                  <a:lnTo>
                    <a:pt x="2373" y="228"/>
                  </a:lnTo>
                  <a:lnTo>
                    <a:pt x="2379" y="226"/>
                  </a:lnTo>
                  <a:lnTo>
                    <a:pt x="2383" y="222"/>
                  </a:lnTo>
                  <a:lnTo>
                    <a:pt x="2399" y="193"/>
                  </a:lnTo>
                  <a:lnTo>
                    <a:pt x="2404" y="186"/>
                  </a:lnTo>
                  <a:lnTo>
                    <a:pt x="2432" y="186"/>
                  </a:lnTo>
                  <a:lnTo>
                    <a:pt x="2442" y="185"/>
                  </a:lnTo>
                  <a:lnTo>
                    <a:pt x="2448" y="183"/>
                  </a:lnTo>
                  <a:lnTo>
                    <a:pt x="2456" y="178"/>
                  </a:lnTo>
                  <a:lnTo>
                    <a:pt x="2462" y="175"/>
                  </a:lnTo>
                  <a:lnTo>
                    <a:pt x="2464" y="175"/>
                  </a:lnTo>
                  <a:lnTo>
                    <a:pt x="2473" y="185"/>
                  </a:lnTo>
                  <a:lnTo>
                    <a:pt x="2476" y="186"/>
                  </a:lnTo>
                  <a:lnTo>
                    <a:pt x="2481" y="186"/>
                  </a:lnTo>
                  <a:lnTo>
                    <a:pt x="2492" y="182"/>
                  </a:lnTo>
                  <a:lnTo>
                    <a:pt x="2504" y="184"/>
                  </a:lnTo>
                  <a:lnTo>
                    <a:pt x="2511" y="184"/>
                  </a:lnTo>
                  <a:lnTo>
                    <a:pt x="2520" y="183"/>
                  </a:lnTo>
                  <a:lnTo>
                    <a:pt x="2533" y="182"/>
                  </a:lnTo>
                  <a:lnTo>
                    <a:pt x="2549" y="174"/>
                  </a:lnTo>
                  <a:lnTo>
                    <a:pt x="2554" y="173"/>
                  </a:lnTo>
                  <a:lnTo>
                    <a:pt x="2584" y="178"/>
                  </a:lnTo>
                  <a:lnTo>
                    <a:pt x="2594" y="186"/>
                  </a:lnTo>
                  <a:lnTo>
                    <a:pt x="2625" y="188"/>
                  </a:lnTo>
                  <a:lnTo>
                    <a:pt x="2645" y="197"/>
                  </a:lnTo>
                  <a:lnTo>
                    <a:pt x="2655" y="199"/>
                  </a:lnTo>
                  <a:lnTo>
                    <a:pt x="2658" y="197"/>
                  </a:lnTo>
                  <a:lnTo>
                    <a:pt x="2660" y="190"/>
                  </a:lnTo>
                  <a:lnTo>
                    <a:pt x="2664" y="185"/>
                  </a:lnTo>
                  <a:lnTo>
                    <a:pt x="2706" y="180"/>
                  </a:lnTo>
                  <a:lnTo>
                    <a:pt x="2721" y="171"/>
                  </a:lnTo>
                  <a:lnTo>
                    <a:pt x="2732" y="174"/>
                  </a:lnTo>
                  <a:lnTo>
                    <a:pt x="2742" y="179"/>
                  </a:lnTo>
                  <a:lnTo>
                    <a:pt x="2746" y="193"/>
                  </a:lnTo>
                  <a:lnTo>
                    <a:pt x="2747" y="197"/>
                  </a:lnTo>
                  <a:lnTo>
                    <a:pt x="2757" y="203"/>
                  </a:lnTo>
                  <a:lnTo>
                    <a:pt x="2767" y="208"/>
                  </a:lnTo>
                  <a:lnTo>
                    <a:pt x="2786" y="205"/>
                  </a:lnTo>
                  <a:lnTo>
                    <a:pt x="2831" y="210"/>
                  </a:lnTo>
                  <a:lnTo>
                    <a:pt x="2852" y="209"/>
                  </a:lnTo>
                  <a:lnTo>
                    <a:pt x="2862" y="207"/>
                  </a:lnTo>
                  <a:lnTo>
                    <a:pt x="2866" y="200"/>
                  </a:lnTo>
                  <a:lnTo>
                    <a:pt x="2868" y="199"/>
                  </a:lnTo>
                  <a:lnTo>
                    <a:pt x="2891" y="204"/>
                  </a:lnTo>
                  <a:lnTo>
                    <a:pt x="2920" y="211"/>
                  </a:lnTo>
                  <a:lnTo>
                    <a:pt x="2923" y="211"/>
                  </a:lnTo>
                  <a:lnTo>
                    <a:pt x="2934" y="208"/>
                  </a:lnTo>
                  <a:lnTo>
                    <a:pt x="2943" y="209"/>
                  </a:lnTo>
                  <a:lnTo>
                    <a:pt x="2953" y="205"/>
                  </a:lnTo>
                  <a:lnTo>
                    <a:pt x="2957" y="206"/>
                  </a:lnTo>
                  <a:lnTo>
                    <a:pt x="2965" y="210"/>
                  </a:lnTo>
                  <a:lnTo>
                    <a:pt x="2970" y="211"/>
                  </a:lnTo>
                  <a:lnTo>
                    <a:pt x="2980" y="205"/>
                  </a:lnTo>
                  <a:lnTo>
                    <a:pt x="2999" y="210"/>
                  </a:lnTo>
                  <a:lnTo>
                    <a:pt x="3009" y="212"/>
                  </a:lnTo>
                  <a:lnTo>
                    <a:pt x="3012" y="215"/>
                  </a:lnTo>
                  <a:lnTo>
                    <a:pt x="3014" y="221"/>
                  </a:lnTo>
                  <a:lnTo>
                    <a:pt x="3018" y="225"/>
                  </a:lnTo>
                  <a:lnTo>
                    <a:pt x="3033" y="229"/>
                  </a:lnTo>
                  <a:lnTo>
                    <a:pt x="3036" y="230"/>
                  </a:lnTo>
                  <a:lnTo>
                    <a:pt x="3039" y="238"/>
                  </a:lnTo>
                  <a:lnTo>
                    <a:pt x="3041" y="251"/>
                  </a:lnTo>
                  <a:lnTo>
                    <a:pt x="3045" y="255"/>
                  </a:lnTo>
                  <a:lnTo>
                    <a:pt x="3057" y="258"/>
                  </a:lnTo>
                  <a:lnTo>
                    <a:pt x="3061" y="260"/>
                  </a:lnTo>
                  <a:lnTo>
                    <a:pt x="3064" y="264"/>
                  </a:lnTo>
                  <a:lnTo>
                    <a:pt x="3067" y="281"/>
                  </a:lnTo>
                  <a:lnTo>
                    <a:pt x="3070" y="291"/>
                  </a:lnTo>
                  <a:lnTo>
                    <a:pt x="3076" y="292"/>
                  </a:lnTo>
                  <a:lnTo>
                    <a:pt x="3095" y="273"/>
                  </a:lnTo>
                  <a:lnTo>
                    <a:pt x="3101" y="270"/>
                  </a:lnTo>
                  <a:lnTo>
                    <a:pt x="3105" y="270"/>
                  </a:lnTo>
                  <a:lnTo>
                    <a:pt x="3109" y="271"/>
                  </a:lnTo>
                  <a:lnTo>
                    <a:pt x="3112" y="275"/>
                  </a:lnTo>
                  <a:lnTo>
                    <a:pt x="3120" y="291"/>
                  </a:lnTo>
                  <a:lnTo>
                    <a:pt x="3126" y="299"/>
                  </a:lnTo>
                  <a:lnTo>
                    <a:pt x="3130" y="301"/>
                  </a:lnTo>
                  <a:lnTo>
                    <a:pt x="3147" y="304"/>
                  </a:lnTo>
                  <a:lnTo>
                    <a:pt x="3151" y="305"/>
                  </a:lnTo>
                  <a:lnTo>
                    <a:pt x="3155" y="308"/>
                  </a:lnTo>
                  <a:lnTo>
                    <a:pt x="3162" y="320"/>
                  </a:lnTo>
                  <a:lnTo>
                    <a:pt x="3167" y="325"/>
                  </a:lnTo>
                  <a:lnTo>
                    <a:pt x="3173" y="325"/>
                  </a:lnTo>
                  <a:lnTo>
                    <a:pt x="3178" y="323"/>
                  </a:lnTo>
                  <a:lnTo>
                    <a:pt x="3187" y="314"/>
                  </a:lnTo>
                  <a:lnTo>
                    <a:pt x="3192" y="311"/>
                  </a:lnTo>
                  <a:lnTo>
                    <a:pt x="3195" y="311"/>
                  </a:lnTo>
                  <a:lnTo>
                    <a:pt x="3200" y="312"/>
                  </a:lnTo>
                  <a:lnTo>
                    <a:pt x="3202" y="316"/>
                  </a:lnTo>
                  <a:lnTo>
                    <a:pt x="3204" y="331"/>
                  </a:lnTo>
                  <a:lnTo>
                    <a:pt x="3207" y="338"/>
                  </a:lnTo>
                  <a:lnTo>
                    <a:pt x="3210" y="341"/>
                  </a:lnTo>
                  <a:lnTo>
                    <a:pt x="3221" y="342"/>
                  </a:lnTo>
                  <a:lnTo>
                    <a:pt x="3228" y="344"/>
                  </a:lnTo>
                  <a:lnTo>
                    <a:pt x="3236" y="360"/>
                  </a:lnTo>
                  <a:lnTo>
                    <a:pt x="3247" y="371"/>
                  </a:lnTo>
                  <a:lnTo>
                    <a:pt x="3266" y="385"/>
                  </a:lnTo>
                  <a:lnTo>
                    <a:pt x="3293" y="402"/>
                  </a:lnTo>
                  <a:lnTo>
                    <a:pt x="3293" y="402"/>
                  </a:lnTo>
                  <a:lnTo>
                    <a:pt x="3293" y="402"/>
                  </a:lnTo>
                  <a:lnTo>
                    <a:pt x="3293" y="402"/>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 name="四川">
              <a:extLst>
                <a:ext uri="{FF2B5EF4-FFF2-40B4-BE49-F238E27FC236}">
                  <a16:creationId xmlns:a16="http://schemas.microsoft.com/office/drawing/2014/main" id="{950B227D-085A-0F83-37B1-D7C159A552F0}"/>
                </a:ext>
              </a:extLst>
            </p:cNvPr>
            <p:cNvSpPr>
              <a:spLocks/>
            </p:cNvSpPr>
            <p:nvPr/>
          </p:nvSpPr>
          <p:spPr bwMode="auto">
            <a:xfrm>
              <a:off x="4519614" y="3675064"/>
              <a:ext cx="1630363" cy="1509713"/>
            </a:xfrm>
            <a:custGeom>
              <a:avLst/>
              <a:gdLst>
                <a:gd name="T0" fmla="*/ 56 w 3083"/>
                <a:gd name="T1" fmla="*/ 372 h 2853"/>
                <a:gd name="T2" fmla="*/ 71 w 3083"/>
                <a:gd name="T3" fmla="*/ 207 h 2853"/>
                <a:gd name="T4" fmla="*/ 179 w 3083"/>
                <a:gd name="T5" fmla="*/ 3 h 2853"/>
                <a:gd name="T6" fmla="*/ 381 w 3083"/>
                <a:gd name="T7" fmla="*/ 212 h 2853"/>
                <a:gd name="T8" fmla="*/ 471 w 3083"/>
                <a:gd name="T9" fmla="*/ 420 h 2853"/>
                <a:gd name="T10" fmla="*/ 703 w 3083"/>
                <a:gd name="T11" fmla="*/ 465 h 2853"/>
                <a:gd name="T12" fmla="*/ 798 w 3083"/>
                <a:gd name="T13" fmla="*/ 577 h 2853"/>
                <a:gd name="T14" fmla="*/ 916 w 3083"/>
                <a:gd name="T15" fmla="*/ 634 h 2853"/>
                <a:gd name="T16" fmla="*/ 1062 w 3083"/>
                <a:gd name="T17" fmla="*/ 556 h 2853"/>
                <a:gd name="T18" fmla="*/ 1069 w 3083"/>
                <a:gd name="T19" fmla="*/ 419 h 2853"/>
                <a:gd name="T20" fmla="*/ 1215 w 3083"/>
                <a:gd name="T21" fmla="*/ 440 h 2853"/>
                <a:gd name="T22" fmla="*/ 1267 w 3083"/>
                <a:gd name="T23" fmla="*/ 332 h 2853"/>
                <a:gd name="T24" fmla="*/ 1258 w 3083"/>
                <a:gd name="T25" fmla="*/ 489 h 2853"/>
                <a:gd name="T26" fmla="*/ 1404 w 3083"/>
                <a:gd name="T27" fmla="*/ 341 h 2853"/>
                <a:gd name="T28" fmla="*/ 1407 w 3083"/>
                <a:gd name="T29" fmla="*/ 211 h 2853"/>
                <a:gd name="T30" fmla="*/ 1525 w 3083"/>
                <a:gd name="T31" fmla="*/ 122 h 2853"/>
                <a:gd name="T32" fmla="*/ 1622 w 3083"/>
                <a:gd name="T33" fmla="*/ 194 h 2853"/>
                <a:gd name="T34" fmla="*/ 1722 w 3083"/>
                <a:gd name="T35" fmla="*/ 292 h 2853"/>
                <a:gd name="T36" fmla="*/ 1926 w 3083"/>
                <a:gd name="T37" fmla="*/ 452 h 2853"/>
                <a:gd name="T38" fmla="*/ 1924 w 3083"/>
                <a:gd name="T39" fmla="*/ 589 h 2853"/>
                <a:gd name="T40" fmla="*/ 2147 w 3083"/>
                <a:gd name="T41" fmla="*/ 714 h 2853"/>
                <a:gd name="T42" fmla="*/ 2326 w 3083"/>
                <a:gd name="T43" fmla="*/ 674 h 2853"/>
                <a:gd name="T44" fmla="*/ 2497 w 3083"/>
                <a:gd name="T45" fmla="*/ 727 h 2853"/>
                <a:gd name="T46" fmla="*/ 2702 w 3083"/>
                <a:gd name="T47" fmla="*/ 788 h 2853"/>
                <a:gd name="T48" fmla="*/ 2868 w 3083"/>
                <a:gd name="T49" fmla="*/ 844 h 2853"/>
                <a:gd name="T50" fmla="*/ 3018 w 3083"/>
                <a:gd name="T51" fmla="*/ 873 h 2853"/>
                <a:gd name="T52" fmla="*/ 3012 w 3083"/>
                <a:gd name="T53" fmla="*/ 948 h 2853"/>
                <a:gd name="T54" fmla="*/ 3029 w 3083"/>
                <a:gd name="T55" fmla="*/ 1093 h 2853"/>
                <a:gd name="T56" fmla="*/ 2935 w 3083"/>
                <a:gd name="T57" fmla="*/ 1238 h 2853"/>
                <a:gd name="T58" fmla="*/ 2826 w 3083"/>
                <a:gd name="T59" fmla="*/ 1330 h 2853"/>
                <a:gd name="T60" fmla="*/ 2624 w 3083"/>
                <a:gd name="T61" fmla="*/ 1593 h 2853"/>
                <a:gd name="T62" fmla="*/ 2419 w 3083"/>
                <a:gd name="T63" fmla="*/ 1541 h 2853"/>
                <a:gd name="T64" fmla="*/ 2230 w 3083"/>
                <a:gd name="T65" fmla="*/ 1567 h 2853"/>
                <a:gd name="T66" fmla="*/ 2136 w 3083"/>
                <a:gd name="T67" fmla="*/ 1756 h 2853"/>
                <a:gd name="T68" fmla="*/ 2250 w 3083"/>
                <a:gd name="T69" fmla="*/ 1943 h 2853"/>
                <a:gd name="T70" fmla="*/ 2438 w 3083"/>
                <a:gd name="T71" fmla="*/ 2124 h 2853"/>
                <a:gd name="T72" fmla="*/ 2235 w 3083"/>
                <a:gd name="T73" fmla="*/ 2079 h 2853"/>
                <a:gd name="T74" fmla="*/ 2306 w 3083"/>
                <a:gd name="T75" fmla="*/ 2241 h 2853"/>
                <a:gd name="T76" fmla="*/ 2362 w 3083"/>
                <a:gd name="T77" fmla="*/ 2359 h 2853"/>
                <a:gd name="T78" fmla="*/ 2106 w 3083"/>
                <a:gd name="T79" fmla="*/ 2341 h 2853"/>
                <a:gd name="T80" fmla="*/ 2031 w 3083"/>
                <a:gd name="T81" fmla="*/ 2237 h 2853"/>
                <a:gd name="T82" fmla="*/ 1843 w 3083"/>
                <a:gd name="T83" fmla="*/ 2234 h 2853"/>
                <a:gd name="T84" fmla="*/ 1816 w 3083"/>
                <a:gd name="T85" fmla="*/ 2079 h 2853"/>
                <a:gd name="T86" fmla="*/ 1700 w 3083"/>
                <a:gd name="T87" fmla="*/ 2024 h 2853"/>
                <a:gd name="T88" fmla="*/ 1571 w 3083"/>
                <a:gd name="T89" fmla="*/ 2231 h 2853"/>
                <a:gd name="T90" fmla="*/ 1478 w 3083"/>
                <a:gd name="T91" fmla="*/ 2402 h 2853"/>
                <a:gd name="T92" fmla="*/ 1405 w 3083"/>
                <a:gd name="T93" fmla="*/ 2686 h 2853"/>
                <a:gd name="T94" fmla="*/ 1297 w 3083"/>
                <a:gd name="T95" fmla="*/ 2819 h 2853"/>
                <a:gd name="T96" fmla="*/ 1114 w 3083"/>
                <a:gd name="T97" fmla="*/ 2845 h 2853"/>
                <a:gd name="T98" fmla="*/ 1000 w 3083"/>
                <a:gd name="T99" fmla="*/ 2749 h 2853"/>
                <a:gd name="T100" fmla="*/ 949 w 3083"/>
                <a:gd name="T101" fmla="*/ 2616 h 2853"/>
                <a:gd name="T102" fmla="*/ 852 w 3083"/>
                <a:gd name="T103" fmla="*/ 2426 h 2853"/>
                <a:gd name="T104" fmla="*/ 786 w 3083"/>
                <a:gd name="T105" fmla="*/ 2286 h 2853"/>
                <a:gd name="T106" fmla="*/ 649 w 3083"/>
                <a:gd name="T107" fmla="*/ 2260 h 2853"/>
                <a:gd name="T108" fmla="*/ 594 w 3083"/>
                <a:gd name="T109" fmla="*/ 2017 h 2853"/>
                <a:gd name="T110" fmla="*/ 454 w 3083"/>
                <a:gd name="T111" fmla="*/ 1919 h 2853"/>
                <a:gd name="T112" fmla="*/ 389 w 3083"/>
                <a:gd name="T113" fmla="*/ 2081 h 2853"/>
                <a:gd name="T114" fmla="*/ 334 w 3083"/>
                <a:gd name="T115" fmla="*/ 1567 h 2853"/>
                <a:gd name="T116" fmla="*/ 322 w 3083"/>
                <a:gd name="T117" fmla="*/ 1155 h 2853"/>
                <a:gd name="T118" fmla="*/ 360 w 3083"/>
                <a:gd name="T119" fmla="*/ 997 h 2853"/>
                <a:gd name="T120" fmla="*/ 152 w 3083"/>
                <a:gd name="T121" fmla="*/ 609 h 2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3" h="2853">
                  <a:moveTo>
                    <a:pt x="90" y="565"/>
                  </a:moveTo>
                  <a:lnTo>
                    <a:pt x="75" y="551"/>
                  </a:lnTo>
                  <a:lnTo>
                    <a:pt x="57" y="526"/>
                  </a:lnTo>
                  <a:lnTo>
                    <a:pt x="48" y="516"/>
                  </a:lnTo>
                  <a:lnTo>
                    <a:pt x="37" y="506"/>
                  </a:lnTo>
                  <a:lnTo>
                    <a:pt x="17" y="492"/>
                  </a:lnTo>
                  <a:lnTo>
                    <a:pt x="14" y="488"/>
                  </a:lnTo>
                  <a:lnTo>
                    <a:pt x="10" y="478"/>
                  </a:lnTo>
                  <a:lnTo>
                    <a:pt x="5" y="465"/>
                  </a:lnTo>
                  <a:lnTo>
                    <a:pt x="6" y="461"/>
                  </a:lnTo>
                  <a:lnTo>
                    <a:pt x="10" y="451"/>
                  </a:lnTo>
                  <a:lnTo>
                    <a:pt x="9" y="443"/>
                  </a:lnTo>
                  <a:lnTo>
                    <a:pt x="6" y="437"/>
                  </a:lnTo>
                  <a:lnTo>
                    <a:pt x="0" y="428"/>
                  </a:lnTo>
                  <a:lnTo>
                    <a:pt x="9" y="409"/>
                  </a:lnTo>
                  <a:lnTo>
                    <a:pt x="14" y="406"/>
                  </a:lnTo>
                  <a:lnTo>
                    <a:pt x="19" y="404"/>
                  </a:lnTo>
                  <a:lnTo>
                    <a:pt x="47" y="407"/>
                  </a:lnTo>
                  <a:lnTo>
                    <a:pt x="49" y="406"/>
                  </a:lnTo>
                  <a:lnTo>
                    <a:pt x="51" y="401"/>
                  </a:lnTo>
                  <a:lnTo>
                    <a:pt x="53" y="394"/>
                  </a:lnTo>
                  <a:lnTo>
                    <a:pt x="60" y="384"/>
                  </a:lnTo>
                  <a:lnTo>
                    <a:pt x="60" y="380"/>
                  </a:lnTo>
                  <a:lnTo>
                    <a:pt x="56" y="372"/>
                  </a:lnTo>
                  <a:lnTo>
                    <a:pt x="45" y="356"/>
                  </a:lnTo>
                  <a:lnTo>
                    <a:pt x="44" y="350"/>
                  </a:lnTo>
                  <a:lnTo>
                    <a:pt x="44" y="348"/>
                  </a:lnTo>
                  <a:lnTo>
                    <a:pt x="49" y="343"/>
                  </a:lnTo>
                  <a:lnTo>
                    <a:pt x="65" y="332"/>
                  </a:lnTo>
                  <a:lnTo>
                    <a:pt x="72" y="326"/>
                  </a:lnTo>
                  <a:lnTo>
                    <a:pt x="82" y="317"/>
                  </a:lnTo>
                  <a:lnTo>
                    <a:pt x="93" y="299"/>
                  </a:lnTo>
                  <a:lnTo>
                    <a:pt x="99" y="292"/>
                  </a:lnTo>
                  <a:lnTo>
                    <a:pt x="102" y="290"/>
                  </a:lnTo>
                  <a:lnTo>
                    <a:pt x="109" y="289"/>
                  </a:lnTo>
                  <a:lnTo>
                    <a:pt x="116" y="287"/>
                  </a:lnTo>
                  <a:lnTo>
                    <a:pt x="128" y="279"/>
                  </a:lnTo>
                  <a:lnTo>
                    <a:pt x="132" y="274"/>
                  </a:lnTo>
                  <a:lnTo>
                    <a:pt x="131" y="270"/>
                  </a:lnTo>
                  <a:lnTo>
                    <a:pt x="116" y="263"/>
                  </a:lnTo>
                  <a:lnTo>
                    <a:pt x="110" y="259"/>
                  </a:lnTo>
                  <a:lnTo>
                    <a:pt x="99" y="248"/>
                  </a:lnTo>
                  <a:lnTo>
                    <a:pt x="95" y="246"/>
                  </a:lnTo>
                  <a:lnTo>
                    <a:pt x="86" y="243"/>
                  </a:lnTo>
                  <a:lnTo>
                    <a:pt x="77" y="235"/>
                  </a:lnTo>
                  <a:lnTo>
                    <a:pt x="75" y="233"/>
                  </a:lnTo>
                  <a:lnTo>
                    <a:pt x="74" y="231"/>
                  </a:lnTo>
                  <a:lnTo>
                    <a:pt x="71" y="207"/>
                  </a:lnTo>
                  <a:lnTo>
                    <a:pt x="67" y="205"/>
                  </a:lnTo>
                  <a:lnTo>
                    <a:pt x="56" y="202"/>
                  </a:lnTo>
                  <a:lnTo>
                    <a:pt x="50" y="198"/>
                  </a:lnTo>
                  <a:lnTo>
                    <a:pt x="48" y="188"/>
                  </a:lnTo>
                  <a:lnTo>
                    <a:pt x="55" y="173"/>
                  </a:lnTo>
                  <a:lnTo>
                    <a:pt x="56" y="163"/>
                  </a:lnTo>
                  <a:lnTo>
                    <a:pt x="54" y="149"/>
                  </a:lnTo>
                  <a:lnTo>
                    <a:pt x="47" y="129"/>
                  </a:lnTo>
                  <a:lnTo>
                    <a:pt x="47" y="123"/>
                  </a:lnTo>
                  <a:lnTo>
                    <a:pt x="48" y="121"/>
                  </a:lnTo>
                  <a:lnTo>
                    <a:pt x="55" y="115"/>
                  </a:lnTo>
                  <a:lnTo>
                    <a:pt x="58" y="97"/>
                  </a:lnTo>
                  <a:lnTo>
                    <a:pt x="78" y="99"/>
                  </a:lnTo>
                  <a:lnTo>
                    <a:pt x="106" y="95"/>
                  </a:lnTo>
                  <a:lnTo>
                    <a:pt x="119" y="94"/>
                  </a:lnTo>
                  <a:lnTo>
                    <a:pt x="125" y="95"/>
                  </a:lnTo>
                  <a:lnTo>
                    <a:pt x="128" y="94"/>
                  </a:lnTo>
                  <a:lnTo>
                    <a:pt x="130" y="91"/>
                  </a:lnTo>
                  <a:lnTo>
                    <a:pt x="136" y="72"/>
                  </a:lnTo>
                  <a:lnTo>
                    <a:pt x="141" y="60"/>
                  </a:lnTo>
                  <a:lnTo>
                    <a:pt x="147" y="34"/>
                  </a:lnTo>
                  <a:lnTo>
                    <a:pt x="149" y="26"/>
                  </a:lnTo>
                  <a:lnTo>
                    <a:pt x="167" y="14"/>
                  </a:lnTo>
                  <a:lnTo>
                    <a:pt x="179" y="3"/>
                  </a:lnTo>
                  <a:lnTo>
                    <a:pt x="186" y="0"/>
                  </a:lnTo>
                  <a:lnTo>
                    <a:pt x="196" y="1"/>
                  </a:lnTo>
                  <a:lnTo>
                    <a:pt x="203" y="4"/>
                  </a:lnTo>
                  <a:lnTo>
                    <a:pt x="220" y="25"/>
                  </a:lnTo>
                  <a:lnTo>
                    <a:pt x="235" y="42"/>
                  </a:lnTo>
                  <a:lnTo>
                    <a:pt x="246" y="42"/>
                  </a:lnTo>
                  <a:lnTo>
                    <a:pt x="260" y="45"/>
                  </a:lnTo>
                  <a:lnTo>
                    <a:pt x="284" y="58"/>
                  </a:lnTo>
                  <a:lnTo>
                    <a:pt x="291" y="60"/>
                  </a:lnTo>
                  <a:lnTo>
                    <a:pt x="309" y="62"/>
                  </a:lnTo>
                  <a:lnTo>
                    <a:pt x="337" y="65"/>
                  </a:lnTo>
                  <a:lnTo>
                    <a:pt x="339" y="77"/>
                  </a:lnTo>
                  <a:lnTo>
                    <a:pt x="343" y="91"/>
                  </a:lnTo>
                  <a:lnTo>
                    <a:pt x="343" y="97"/>
                  </a:lnTo>
                  <a:lnTo>
                    <a:pt x="343" y="106"/>
                  </a:lnTo>
                  <a:lnTo>
                    <a:pt x="338" y="120"/>
                  </a:lnTo>
                  <a:lnTo>
                    <a:pt x="340" y="133"/>
                  </a:lnTo>
                  <a:lnTo>
                    <a:pt x="346" y="148"/>
                  </a:lnTo>
                  <a:lnTo>
                    <a:pt x="350" y="158"/>
                  </a:lnTo>
                  <a:lnTo>
                    <a:pt x="353" y="168"/>
                  </a:lnTo>
                  <a:lnTo>
                    <a:pt x="359" y="178"/>
                  </a:lnTo>
                  <a:lnTo>
                    <a:pt x="370" y="192"/>
                  </a:lnTo>
                  <a:lnTo>
                    <a:pt x="376" y="201"/>
                  </a:lnTo>
                  <a:lnTo>
                    <a:pt x="381" y="212"/>
                  </a:lnTo>
                  <a:lnTo>
                    <a:pt x="384" y="227"/>
                  </a:lnTo>
                  <a:lnTo>
                    <a:pt x="391" y="235"/>
                  </a:lnTo>
                  <a:lnTo>
                    <a:pt x="391" y="239"/>
                  </a:lnTo>
                  <a:lnTo>
                    <a:pt x="386" y="251"/>
                  </a:lnTo>
                  <a:lnTo>
                    <a:pt x="386" y="254"/>
                  </a:lnTo>
                  <a:lnTo>
                    <a:pt x="390" y="260"/>
                  </a:lnTo>
                  <a:lnTo>
                    <a:pt x="402" y="273"/>
                  </a:lnTo>
                  <a:lnTo>
                    <a:pt x="406" y="276"/>
                  </a:lnTo>
                  <a:lnTo>
                    <a:pt x="406" y="281"/>
                  </a:lnTo>
                  <a:lnTo>
                    <a:pt x="404" y="305"/>
                  </a:lnTo>
                  <a:lnTo>
                    <a:pt x="405" y="311"/>
                  </a:lnTo>
                  <a:lnTo>
                    <a:pt x="409" y="319"/>
                  </a:lnTo>
                  <a:lnTo>
                    <a:pt x="409" y="322"/>
                  </a:lnTo>
                  <a:lnTo>
                    <a:pt x="408" y="326"/>
                  </a:lnTo>
                  <a:lnTo>
                    <a:pt x="400" y="338"/>
                  </a:lnTo>
                  <a:lnTo>
                    <a:pt x="402" y="342"/>
                  </a:lnTo>
                  <a:lnTo>
                    <a:pt x="410" y="350"/>
                  </a:lnTo>
                  <a:lnTo>
                    <a:pt x="413" y="356"/>
                  </a:lnTo>
                  <a:lnTo>
                    <a:pt x="415" y="377"/>
                  </a:lnTo>
                  <a:lnTo>
                    <a:pt x="418" y="386"/>
                  </a:lnTo>
                  <a:lnTo>
                    <a:pt x="422" y="392"/>
                  </a:lnTo>
                  <a:lnTo>
                    <a:pt x="461" y="422"/>
                  </a:lnTo>
                  <a:lnTo>
                    <a:pt x="466" y="424"/>
                  </a:lnTo>
                  <a:lnTo>
                    <a:pt x="471" y="420"/>
                  </a:lnTo>
                  <a:lnTo>
                    <a:pt x="481" y="422"/>
                  </a:lnTo>
                  <a:lnTo>
                    <a:pt x="488" y="428"/>
                  </a:lnTo>
                  <a:lnTo>
                    <a:pt x="500" y="438"/>
                  </a:lnTo>
                  <a:lnTo>
                    <a:pt x="508" y="443"/>
                  </a:lnTo>
                  <a:lnTo>
                    <a:pt x="514" y="447"/>
                  </a:lnTo>
                  <a:lnTo>
                    <a:pt x="520" y="461"/>
                  </a:lnTo>
                  <a:lnTo>
                    <a:pt x="530" y="490"/>
                  </a:lnTo>
                  <a:lnTo>
                    <a:pt x="533" y="497"/>
                  </a:lnTo>
                  <a:lnTo>
                    <a:pt x="540" y="500"/>
                  </a:lnTo>
                  <a:lnTo>
                    <a:pt x="569" y="504"/>
                  </a:lnTo>
                  <a:lnTo>
                    <a:pt x="601" y="522"/>
                  </a:lnTo>
                  <a:lnTo>
                    <a:pt x="607" y="525"/>
                  </a:lnTo>
                  <a:lnTo>
                    <a:pt x="622" y="540"/>
                  </a:lnTo>
                  <a:lnTo>
                    <a:pt x="631" y="544"/>
                  </a:lnTo>
                  <a:lnTo>
                    <a:pt x="642" y="552"/>
                  </a:lnTo>
                  <a:lnTo>
                    <a:pt x="649" y="568"/>
                  </a:lnTo>
                  <a:lnTo>
                    <a:pt x="675" y="521"/>
                  </a:lnTo>
                  <a:lnTo>
                    <a:pt x="677" y="492"/>
                  </a:lnTo>
                  <a:lnTo>
                    <a:pt x="682" y="489"/>
                  </a:lnTo>
                  <a:lnTo>
                    <a:pt x="693" y="485"/>
                  </a:lnTo>
                  <a:lnTo>
                    <a:pt x="697" y="483"/>
                  </a:lnTo>
                  <a:lnTo>
                    <a:pt x="698" y="481"/>
                  </a:lnTo>
                  <a:lnTo>
                    <a:pt x="702" y="466"/>
                  </a:lnTo>
                  <a:lnTo>
                    <a:pt x="703" y="465"/>
                  </a:lnTo>
                  <a:lnTo>
                    <a:pt x="705" y="466"/>
                  </a:lnTo>
                  <a:lnTo>
                    <a:pt x="725" y="493"/>
                  </a:lnTo>
                  <a:lnTo>
                    <a:pt x="731" y="500"/>
                  </a:lnTo>
                  <a:lnTo>
                    <a:pt x="742" y="508"/>
                  </a:lnTo>
                  <a:lnTo>
                    <a:pt x="744" y="512"/>
                  </a:lnTo>
                  <a:lnTo>
                    <a:pt x="745" y="519"/>
                  </a:lnTo>
                  <a:lnTo>
                    <a:pt x="747" y="523"/>
                  </a:lnTo>
                  <a:lnTo>
                    <a:pt x="756" y="529"/>
                  </a:lnTo>
                  <a:lnTo>
                    <a:pt x="758" y="533"/>
                  </a:lnTo>
                  <a:lnTo>
                    <a:pt x="761" y="550"/>
                  </a:lnTo>
                  <a:lnTo>
                    <a:pt x="761" y="570"/>
                  </a:lnTo>
                  <a:lnTo>
                    <a:pt x="759" y="579"/>
                  </a:lnTo>
                  <a:lnTo>
                    <a:pt x="752" y="593"/>
                  </a:lnTo>
                  <a:lnTo>
                    <a:pt x="750" y="599"/>
                  </a:lnTo>
                  <a:lnTo>
                    <a:pt x="751" y="600"/>
                  </a:lnTo>
                  <a:lnTo>
                    <a:pt x="755" y="604"/>
                  </a:lnTo>
                  <a:lnTo>
                    <a:pt x="769" y="609"/>
                  </a:lnTo>
                  <a:lnTo>
                    <a:pt x="776" y="617"/>
                  </a:lnTo>
                  <a:lnTo>
                    <a:pt x="779" y="616"/>
                  </a:lnTo>
                  <a:lnTo>
                    <a:pt x="784" y="612"/>
                  </a:lnTo>
                  <a:lnTo>
                    <a:pt x="788" y="601"/>
                  </a:lnTo>
                  <a:lnTo>
                    <a:pt x="792" y="580"/>
                  </a:lnTo>
                  <a:lnTo>
                    <a:pt x="794" y="577"/>
                  </a:lnTo>
                  <a:lnTo>
                    <a:pt x="798" y="577"/>
                  </a:lnTo>
                  <a:lnTo>
                    <a:pt x="813" y="583"/>
                  </a:lnTo>
                  <a:lnTo>
                    <a:pt x="821" y="583"/>
                  </a:lnTo>
                  <a:lnTo>
                    <a:pt x="831" y="581"/>
                  </a:lnTo>
                  <a:lnTo>
                    <a:pt x="835" y="582"/>
                  </a:lnTo>
                  <a:lnTo>
                    <a:pt x="838" y="587"/>
                  </a:lnTo>
                  <a:lnTo>
                    <a:pt x="832" y="597"/>
                  </a:lnTo>
                  <a:lnTo>
                    <a:pt x="831" y="601"/>
                  </a:lnTo>
                  <a:lnTo>
                    <a:pt x="833" y="605"/>
                  </a:lnTo>
                  <a:lnTo>
                    <a:pt x="834" y="605"/>
                  </a:lnTo>
                  <a:lnTo>
                    <a:pt x="837" y="604"/>
                  </a:lnTo>
                  <a:lnTo>
                    <a:pt x="843" y="598"/>
                  </a:lnTo>
                  <a:lnTo>
                    <a:pt x="844" y="598"/>
                  </a:lnTo>
                  <a:lnTo>
                    <a:pt x="847" y="599"/>
                  </a:lnTo>
                  <a:lnTo>
                    <a:pt x="855" y="608"/>
                  </a:lnTo>
                  <a:lnTo>
                    <a:pt x="864" y="629"/>
                  </a:lnTo>
                  <a:lnTo>
                    <a:pt x="867" y="634"/>
                  </a:lnTo>
                  <a:lnTo>
                    <a:pt x="882" y="646"/>
                  </a:lnTo>
                  <a:lnTo>
                    <a:pt x="896" y="654"/>
                  </a:lnTo>
                  <a:lnTo>
                    <a:pt x="897" y="653"/>
                  </a:lnTo>
                  <a:lnTo>
                    <a:pt x="899" y="651"/>
                  </a:lnTo>
                  <a:lnTo>
                    <a:pt x="901" y="642"/>
                  </a:lnTo>
                  <a:lnTo>
                    <a:pt x="904" y="638"/>
                  </a:lnTo>
                  <a:lnTo>
                    <a:pt x="909" y="635"/>
                  </a:lnTo>
                  <a:lnTo>
                    <a:pt x="916" y="634"/>
                  </a:lnTo>
                  <a:lnTo>
                    <a:pt x="918" y="633"/>
                  </a:lnTo>
                  <a:lnTo>
                    <a:pt x="917" y="627"/>
                  </a:lnTo>
                  <a:lnTo>
                    <a:pt x="912" y="614"/>
                  </a:lnTo>
                  <a:lnTo>
                    <a:pt x="911" y="610"/>
                  </a:lnTo>
                  <a:lnTo>
                    <a:pt x="912" y="608"/>
                  </a:lnTo>
                  <a:lnTo>
                    <a:pt x="918" y="609"/>
                  </a:lnTo>
                  <a:lnTo>
                    <a:pt x="935" y="617"/>
                  </a:lnTo>
                  <a:lnTo>
                    <a:pt x="966" y="627"/>
                  </a:lnTo>
                  <a:lnTo>
                    <a:pt x="978" y="638"/>
                  </a:lnTo>
                  <a:lnTo>
                    <a:pt x="986" y="637"/>
                  </a:lnTo>
                  <a:lnTo>
                    <a:pt x="991" y="635"/>
                  </a:lnTo>
                  <a:lnTo>
                    <a:pt x="997" y="631"/>
                  </a:lnTo>
                  <a:lnTo>
                    <a:pt x="1007" y="622"/>
                  </a:lnTo>
                  <a:lnTo>
                    <a:pt x="1014" y="618"/>
                  </a:lnTo>
                  <a:lnTo>
                    <a:pt x="1020" y="618"/>
                  </a:lnTo>
                  <a:lnTo>
                    <a:pt x="1031" y="625"/>
                  </a:lnTo>
                  <a:lnTo>
                    <a:pt x="1041" y="623"/>
                  </a:lnTo>
                  <a:lnTo>
                    <a:pt x="1050" y="618"/>
                  </a:lnTo>
                  <a:lnTo>
                    <a:pt x="1058" y="610"/>
                  </a:lnTo>
                  <a:lnTo>
                    <a:pt x="1065" y="598"/>
                  </a:lnTo>
                  <a:lnTo>
                    <a:pt x="1067" y="583"/>
                  </a:lnTo>
                  <a:lnTo>
                    <a:pt x="1066" y="568"/>
                  </a:lnTo>
                  <a:lnTo>
                    <a:pt x="1064" y="559"/>
                  </a:lnTo>
                  <a:lnTo>
                    <a:pt x="1062" y="556"/>
                  </a:lnTo>
                  <a:lnTo>
                    <a:pt x="1055" y="550"/>
                  </a:lnTo>
                  <a:lnTo>
                    <a:pt x="1041" y="542"/>
                  </a:lnTo>
                  <a:lnTo>
                    <a:pt x="1039" y="539"/>
                  </a:lnTo>
                  <a:lnTo>
                    <a:pt x="1041" y="529"/>
                  </a:lnTo>
                  <a:lnTo>
                    <a:pt x="1043" y="518"/>
                  </a:lnTo>
                  <a:lnTo>
                    <a:pt x="1048" y="515"/>
                  </a:lnTo>
                  <a:lnTo>
                    <a:pt x="1062" y="514"/>
                  </a:lnTo>
                  <a:lnTo>
                    <a:pt x="1064" y="510"/>
                  </a:lnTo>
                  <a:lnTo>
                    <a:pt x="1065" y="505"/>
                  </a:lnTo>
                  <a:lnTo>
                    <a:pt x="1065" y="503"/>
                  </a:lnTo>
                  <a:lnTo>
                    <a:pt x="1056" y="498"/>
                  </a:lnTo>
                  <a:lnTo>
                    <a:pt x="1051" y="489"/>
                  </a:lnTo>
                  <a:lnTo>
                    <a:pt x="1053" y="479"/>
                  </a:lnTo>
                  <a:lnTo>
                    <a:pt x="1054" y="476"/>
                  </a:lnTo>
                  <a:lnTo>
                    <a:pt x="1058" y="474"/>
                  </a:lnTo>
                  <a:lnTo>
                    <a:pt x="1060" y="470"/>
                  </a:lnTo>
                  <a:lnTo>
                    <a:pt x="1060" y="466"/>
                  </a:lnTo>
                  <a:lnTo>
                    <a:pt x="1059" y="462"/>
                  </a:lnTo>
                  <a:lnTo>
                    <a:pt x="1056" y="456"/>
                  </a:lnTo>
                  <a:lnTo>
                    <a:pt x="1042" y="442"/>
                  </a:lnTo>
                  <a:lnTo>
                    <a:pt x="1041" y="440"/>
                  </a:lnTo>
                  <a:lnTo>
                    <a:pt x="1042" y="438"/>
                  </a:lnTo>
                  <a:lnTo>
                    <a:pt x="1051" y="430"/>
                  </a:lnTo>
                  <a:lnTo>
                    <a:pt x="1069" y="419"/>
                  </a:lnTo>
                  <a:lnTo>
                    <a:pt x="1078" y="417"/>
                  </a:lnTo>
                  <a:lnTo>
                    <a:pt x="1089" y="419"/>
                  </a:lnTo>
                  <a:lnTo>
                    <a:pt x="1092" y="420"/>
                  </a:lnTo>
                  <a:lnTo>
                    <a:pt x="1097" y="425"/>
                  </a:lnTo>
                  <a:lnTo>
                    <a:pt x="1105" y="436"/>
                  </a:lnTo>
                  <a:lnTo>
                    <a:pt x="1110" y="444"/>
                  </a:lnTo>
                  <a:lnTo>
                    <a:pt x="1116" y="463"/>
                  </a:lnTo>
                  <a:lnTo>
                    <a:pt x="1118" y="466"/>
                  </a:lnTo>
                  <a:lnTo>
                    <a:pt x="1120" y="466"/>
                  </a:lnTo>
                  <a:lnTo>
                    <a:pt x="1122" y="465"/>
                  </a:lnTo>
                  <a:lnTo>
                    <a:pt x="1126" y="445"/>
                  </a:lnTo>
                  <a:lnTo>
                    <a:pt x="1128" y="442"/>
                  </a:lnTo>
                  <a:lnTo>
                    <a:pt x="1135" y="439"/>
                  </a:lnTo>
                  <a:lnTo>
                    <a:pt x="1146" y="440"/>
                  </a:lnTo>
                  <a:lnTo>
                    <a:pt x="1152" y="444"/>
                  </a:lnTo>
                  <a:lnTo>
                    <a:pt x="1158" y="448"/>
                  </a:lnTo>
                  <a:lnTo>
                    <a:pt x="1181" y="480"/>
                  </a:lnTo>
                  <a:lnTo>
                    <a:pt x="1186" y="484"/>
                  </a:lnTo>
                  <a:lnTo>
                    <a:pt x="1189" y="485"/>
                  </a:lnTo>
                  <a:lnTo>
                    <a:pt x="1192" y="482"/>
                  </a:lnTo>
                  <a:lnTo>
                    <a:pt x="1195" y="463"/>
                  </a:lnTo>
                  <a:lnTo>
                    <a:pt x="1200" y="452"/>
                  </a:lnTo>
                  <a:lnTo>
                    <a:pt x="1204" y="446"/>
                  </a:lnTo>
                  <a:lnTo>
                    <a:pt x="1215" y="440"/>
                  </a:lnTo>
                  <a:lnTo>
                    <a:pt x="1217" y="437"/>
                  </a:lnTo>
                  <a:lnTo>
                    <a:pt x="1218" y="435"/>
                  </a:lnTo>
                  <a:lnTo>
                    <a:pt x="1217" y="430"/>
                  </a:lnTo>
                  <a:lnTo>
                    <a:pt x="1216" y="427"/>
                  </a:lnTo>
                  <a:lnTo>
                    <a:pt x="1211" y="425"/>
                  </a:lnTo>
                  <a:lnTo>
                    <a:pt x="1202" y="422"/>
                  </a:lnTo>
                  <a:lnTo>
                    <a:pt x="1198" y="418"/>
                  </a:lnTo>
                  <a:lnTo>
                    <a:pt x="1198" y="407"/>
                  </a:lnTo>
                  <a:lnTo>
                    <a:pt x="1201" y="393"/>
                  </a:lnTo>
                  <a:lnTo>
                    <a:pt x="1205" y="385"/>
                  </a:lnTo>
                  <a:lnTo>
                    <a:pt x="1208" y="381"/>
                  </a:lnTo>
                  <a:lnTo>
                    <a:pt x="1217" y="379"/>
                  </a:lnTo>
                  <a:lnTo>
                    <a:pt x="1230" y="377"/>
                  </a:lnTo>
                  <a:lnTo>
                    <a:pt x="1238" y="373"/>
                  </a:lnTo>
                  <a:lnTo>
                    <a:pt x="1239" y="367"/>
                  </a:lnTo>
                  <a:lnTo>
                    <a:pt x="1238" y="354"/>
                  </a:lnTo>
                  <a:lnTo>
                    <a:pt x="1238" y="354"/>
                  </a:lnTo>
                  <a:lnTo>
                    <a:pt x="1248" y="348"/>
                  </a:lnTo>
                  <a:lnTo>
                    <a:pt x="1253" y="344"/>
                  </a:lnTo>
                  <a:lnTo>
                    <a:pt x="1254" y="340"/>
                  </a:lnTo>
                  <a:lnTo>
                    <a:pt x="1254" y="326"/>
                  </a:lnTo>
                  <a:lnTo>
                    <a:pt x="1256" y="323"/>
                  </a:lnTo>
                  <a:lnTo>
                    <a:pt x="1258" y="323"/>
                  </a:lnTo>
                  <a:lnTo>
                    <a:pt x="1267" y="332"/>
                  </a:lnTo>
                  <a:lnTo>
                    <a:pt x="1272" y="339"/>
                  </a:lnTo>
                  <a:lnTo>
                    <a:pt x="1273" y="344"/>
                  </a:lnTo>
                  <a:lnTo>
                    <a:pt x="1270" y="356"/>
                  </a:lnTo>
                  <a:lnTo>
                    <a:pt x="1270" y="361"/>
                  </a:lnTo>
                  <a:lnTo>
                    <a:pt x="1278" y="378"/>
                  </a:lnTo>
                  <a:lnTo>
                    <a:pt x="1270" y="386"/>
                  </a:lnTo>
                  <a:lnTo>
                    <a:pt x="1262" y="399"/>
                  </a:lnTo>
                  <a:lnTo>
                    <a:pt x="1259" y="409"/>
                  </a:lnTo>
                  <a:lnTo>
                    <a:pt x="1259" y="417"/>
                  </a:lnTo>
                  <a:lnTo>
                    <a:pt x="1258" y="421"/>
                  </a:lnTo>
                  <a:lnTo>
                    <a:pt x="1247" y="428"/>
                  </a:lnTo>
                  <a:lnTo>
                    <a:pt x="1241" y="434"/>
                  </a:lnTo>
                  <a:lnTo>
                    <a:pt x="1231" y="438"/>
                  </a:lnTo>
                  <a:lnTo>
                    <a:pt x="1230" y="440"/>
                  </a:lnTo>
                  <a:lnTo>
                    <a:pt x="1230" y="445"/>
                  </a:lnTo>
                  <a:lnTo>
                    <a:pt x="1230" y="448"/>
                  </a:lnTo>
                  <a:lnTo>
                    <a:pt x="1244" y="456"/>
                  </a:lnTo>
                  <a:lnTo>
                    <a:pt x="1246" y="458"/>
                  </a:lnTo>
                  <a:lnTo>
                    <a:pt x="1245" y="466"/>
                  </a:lnTo>
                  <a:lnTo>
                    <a:pt x="1240" y="483"/>
                  </a:lnTo>
                  <a:lnTo>
                    <a:pt x="1243" y="487"/>
                  </a:lnTo>
                  <a:lnTo>
                    <a:pt x="1249" y="491"/>
                  </a:lnTo>
                  <a:lnTo>
                    <a:pt x="1255" y="491"/>
                  </a:lnTo>
                  <a:lnTo>
                    <a:pt x="1258" y="489"/>
                  </a:lnTo>
                  <a:lnTo>
                    <a:pt x="1275" y="471"/>
                  </a:lnTo>
                  <a:lnTo>
                    <a:pt x="1280" y="467"/>
                  </a:lnTo>
                  <a:lnTo>
                    <a:pt x="1289" y="465"/>
                  </a:lnTo>
                  <a:lnTo>
                    <a:pt x="1310" y="465"/>
                  </a:lnTo>
                  <a:lnTo>
                    <a:pt x="1318" y="442"/>
                  </a:lnTo>
                  <a:lnTo>
                    <a:pt x="1336" y="458"/>
                  </a:lnTo>
                  <a:lnTo>
                    <a:pt x="1341" y="462"/>
                  </a:lnTo>
                  <a:lnTo>
                    <a:pt x="1344" y="463"/>
                  </a:lnTo>
                  <a:lnTo>
                    <a:pt x="1349" y="454"/>
                  </a:lnTo>
                  <a:lnTo>
                    <a:pt x="1349" y="446"/>
                  </a:lnTo>
                  <a:lnTo>
                    <a:pt x="1349" y="432"/>
                  </a:lnTo>
                  <a:lnTo>
                    <a:pt x="1344" y="424"/>
                  </a:lnTo>
                  <a:lnTo>
                    <a:pt x="1344" y="419"/>
                  </a:lnTo>
                  <a:lnTo>
                    <a:pt x="1368" y="397"/>
                  </a:lnTo>
                  <a:lnTo>
                    <a:pt x="1389" y="400"/>
                  </a:lnTo>
                  <a:lnTo>
                    <a:pt x="1396" y="397"/>
                  </a:lnTo>
                  <a:lnTo>
                    <a:pt x="1404" y="390"/>
                  </a:lnTo>
                  <a:lnTo>
                    <a:pt x="1416" y="385"/>
                  </a:lnTo>
                  <a:lnTo>
                    <a:pt x="1414" y="377"/>
                  </a:lnTo>
                  <a:lnTo>
                    <a:pt x="1414" y="370"/>
                  </a:lnTo>
                  <a:lnTo>
                    <a:pt x="1415" y="366"/>
                  </a:lnTo>
                  <a:lnTo>
                    <a:pt x="1419" y="359"/>
                  </a:lnTo>
                  <a:lnTo>
                    <a:pt x="1416" y="353"/>
                  </a:lnTo>
                  <a:lnTo>
                    <a:pt x="1404" y="341"/>
                  </a:lnTo>
                  <a:lnTo>
                    <a:pt x="1391" y="327"/>
                  </a:lnTo>
                  <a:lnTo>
                    <a:pt x="1388" y="316"/>
                  </a:lnTo>
                  <a:lnTo>
                    <a:pt x="1388" y="301"/>
                  </a:lnTo>
                  <a:lnTo>
                    <a:pt x="1387" y="295"/>
                  </a:lnTo>
                  <a:lnTo>
                    <a:pt x="1386" y="292"/>
                  </a:lnTo>
                  <a:lnTo>
                    <a:pt x="1379" y="288"/>
                  </a:lnTo>
                  <a:lnTo>
                    <a:pt x="1380" y="282"/>
                  </a:lnTo>
                  <a:lnTo>
                    <a:pt x="1383" y="274"/>
                  </a:lnTo>
                  <a:lnTo>
                    <a:pt x="1383" y="271"/>
                  </a:lnTo>
                  <a:lnTo>
                    <a:pt x="1381" y="269"/>
                  </a:lnTo>
                  <a:lnTo>
                    <a:pt x="1374" y="267"/>
                  </a:lnTo>
                  <a:lnTo>
                    <a:pt x="1372" y="265"/>
                  </a:lnTo>
                  <a:lnTo>
                    <a:pt x="1372" y="252"/>
                  </a:lnTo>
                  <a:lnTo>
                    <a:pt x="1369" y="240"/>
                  </a:lnTo>
                  <a:lnTo>
                    <a:pt x="1353" y="220"/>
                  </a:lnTo>
                  <a:lnTo>
                    <a:pt x="1344" y="212"/>
                  </a:lnTo>
                  <a:lnTo>
                    <a:pt x="1345" y="211"/>
                  </a:lnTo>
                  <a:lnTo>
                    <a:pt x="1353" y="201"/>
                  </a:lnTo>
                  <a:lnTo>
                    <a:pt x="1361" y="200"/>
                  </a:lnTo>
                  <a:lnTo>
                    <a:pt x="1366" y="200"/>
                  </a:lnTo>
                  <a:lnTo>
                    <a:pt x="1380" y="204"/>
                  </a:lnTo>
                  <a:lnTo>
                    <a:pt x="1391" y="202"/>
                  </a:lnTo>
                  <a:lnTo>
                    <a:pt x="1399" y="205"/>
                  </a:lnTo>
                  <a:lnTo>
                    <a:pt x="1407" y="211"/>
                  </a:lnTo>
                  <a:lnTo>
                    <a:pt x="1414" y="210"/>
                  </a:lnTo>
                  <a:lnTo>
                    <a:pt x="1417" y="206"/>
                  </a:lnTo>
                  <a:lnTo>
                    <a:pt x="1420" y="199"/>
                  </a:lnTo>
                  <a:lnTo>
                    <a:pt x="1429" y="182"/>
                  </a:lnTo>
                  <a:lnTo>
                    <a:pt x="1435" y="167"/>
                  </a:lnTo>
                  <a:lnTo>
                    <a:pt x="1437" y="165"/>
                  </a:lnTo>
                  <a:lnTo>
                    <a:pt x="1440" y="164"/>
                  </a:lnTo>
                  <a:lnTo>
                    <a:pt x="1443" y="164"/>
                  </a:lnTo>
                  <a:lnTo>
                    <a:pt x="1456" y="168"/>
                  </a:lnTo>
                  <a:lnTo>
                    <a:pt x="1465" y="169"/>
                  </a:lnTo>
                  <a:lnTo>
                    <a:pt x="1472" y="173"/>
                  </a:lnTo>
                  <a:lnTo>
                    <a:pt x="1480" y="178"/>
                  </a:lnTo>
                  <a:lnTo>
                    <a:pt x="1486" y="178"/>
                  </a:lnTo>
                  <a:lnTo>
                    <a:pt x="1488" y="176"/>
                  </a:lnTo>
                  <a:lnTo>
                    <a:pt x="1490" y="173"/>
                  </a:lnTo>
                  <a:lnTo>
                    <a:pt x="1491" y="167"/>
                  </a:lnTo>
                  <a:lnTo>
                    <a:pt x="1490" y="163"/>
                  </a:lnTo>
                  <a:lnTo>
                    <a:pt x="1487" y="159"/>
                  </a:lnTo>
                  <a:lnTo>
                    <a:pt x="1476" y="150"/>
                  </a:lnTo>
                  <a:lnTo>
                    <a:pt x="1474" y="147"/>
                  </a:lnTo>
                  <a:lnTo>
                    <a:pt x="1474" y="145"/>
                  </a:lnTo>
                  <a:lnTo>
                    <a:pt x="1489" y="141"/>
                  </a:lnTo>
                  <a:lnTo>
                    <a:pt x="1507" y="130"/>
                  </a:lnTo>
                  <a:lnTo>
                    <a:pt x="1525" y="122"/>
                  </a:lnTo>
                  <a:lnTo>
                    <a:pt x="1532" y="107"/>
                  </a:lnTo>
                  <a:lnTo>
                    <a:pt x="1536" y="108"/>
                  </a:lnTo>
                  <a:lnTo>
                    <a:pt x="1544" y="115"/>
                  </a:lnTo>
                  <a:lnTo>
                    <a:pt x="1548" y="117"/>
                  </a:lnTo>
                  <a:lnTo>
                    <a:pt x="1549" y="115"/>
                  </a:lnTo>
                  <a:lnTo>
                    <a:pt x="1550" y="114"/>
                  </a:lnTo>
                  <a:lnTo>
                    <a:pt x="1550" y="102"/>
                  </a:lnTo>
                  <a:lnTo>
                    <a:pt x="1561" y="104"/>
                  </a:lnTo>
                  <a:lnTo>
                    <a:pt x="1566" y="105"/>
                  </a:lnTo>
                  <a:lnTo>
                    <a:pt x="1571" y="109"/>
                  </a:lnTo>
                  <a:lnTo>
                    <a:pt x="1577" y="113"/>
                  </a:lnTo>
                  <a:lnTo>
                    <a:pt x="1581" y="121"/>
                  </a:lnTo>
                  <a:lnTo>
                    <a:pt x="1584" y="130"/>
                  </a:lnTo>
                  <a:lnTo>
                    <a:pt x="1584" y="134"/>
                  </a:lnTo>
                  <a:lnTo>
                    <a:pt x="1582" y="142"/>
                  </a:lnTo>
                  <a:lnTo>
                    <a:pt x="1584" y="146"/>
                  </a:lnTo>
                  <a:lnTo>
                    <a:pt x="1590" y="150"/>
                  </a:lnTo>
                  <a:lnTo>
                    <a:pt x="1613" y="155"/>
                  </a:lnTo>
                  <a:lnTo>
                    <a:pt x="1616" y="156"/>
                  </a:lnTo>
                  <a:lnTo>
                    <a:pt x="1619" y="161"/>
                  </a:lnTo>
                  <a:lnTo>
                    <a:pt x="1622" y="176"/>
                  </a:lnTo>
                  <a:lnTo>
                    <a:pt x="1630" y="184"/>
                  </a:lnTo>
                  <a:lnTo>
                    <a:pt x="1630" y="186"/>
                  </a:lnTo>
                  <a:lnTo>
                    <a:pt x="1622" y="194"/>
                  </a:lnTo>
                  <a:lnTo>
                    <a:pt x="1626" y="212"/>
                  </a:lnTo>
                  <a:lnTo>
                    <a:pt x="1617" y="223"/>
                  </a:lnTo>
                  <a:lnTo>
                    <a:pt x="1616" y="228"/>
                  </a:lnTo>
                  <a:lnTo>
                    <a:pt x="1617" y="232"/>
                  </a:lnTo>
                  <a:lnTo>
                    <a:pt x="1625" y="239"/>
                  </a:lnTo>
                  <a:lnTo>
                    <a:pt x="1627" y="245"/>
                  </a:lnTo>
                  <a:lnTo>
                    <a:pt x="1620" y="276"/>
                  </a:lnTo>
                  <a:lnTo>
                    <a:pt x="1621" y="279"/>
                  </a:lnTo>
                  <a:lnTo>
                    <a:pt x="1623" y="283"/>
                  </a:lnTo>
                  <a:lnTo>
                    <a:pt x="1626" y="284"/>
                  </a:lnTo>
                  <a:lnTo>
                    <a:pt x="1631" y="284"/>
                  </a:lnTo>
                  <a:lnTo>
                    <a:pt x="1644" y="279"/>
                  </a:lnTo>
                  <a:lnTo>
                    <a:pt x="1648" y="279"/>
                  </a:lnTo>
                  <a:lnTo>
                    <a:pt x="1651" y="282"/>
                  </a:lnTo>
                  <a:lnTo>
                    <a:pt x="1654" y="290"/>
                  </a:lnTo>
                  <a:lnTo>
                    <a:pt x="1658" y="294"/>
                  </a:lnTo>
                  <a:lnTo>
                    <a:pt x="1669" y="300"/>
                  </a:lnTo>
                  <a:lnTo>
                    <a:pt x="1681" y="304"/>
                  </a:lnTo>
                  <a:lnTo>
                    <a:pt x="1686" y="303"/>
                  </a:lnTo>
                  <a:lnTo>
                    <a:pt x="1690" y="300"/>
                  </a:lnTo>
                  <a:lnTo>
                    <a:pt x="1709" y="285"/>
                  </a:lnTo>
                  <a:lnTo>
                    <a:pt x="1717" y="284"/>
                  </a:lnTo>
                  <a:lnTo>
                    <a:pt x="1720" y="286"/>
                  </a:lnTo>
                  <a:lnTo>
                    <a:pt x="1722" y="292"/>
                  </a:lnTo>
                  <a:lnTo>
                    <a:pt x="1725" y="307"/>
                  </a:lnTo>
                  <a:lnTo>
                    <a:pt x="1717" y="322"/>
                  </a:lnTo>
                  <a:lnTo>
                    <a:pt x="1717" y="324"/>
                  </a:lnTo>
                  <a:lnTo>
                    <a:pt x="1718" y="325"/>
                  </a:lnTo>
                  <a:lnTo>
                    <a:pt x="1724" y="324"/>
                  </a:lnTo>
                  <a:lnTo>
                    <a:pt x="1740" y="318"/>
                  </a:lnTo>
                  <a:lnTo>
                    <a:pt x="1747" y="317"/>
                  </a:lnTo>
                  <a:lnTo>
                    <a:pt x="1752" y="318"/>
                  </a:lnTo>
                  <a:lnTo>
                    <a:pt x="1782" y="335"/>
                  </a:lnTo>
                  <a:lnTo>
                    <a:pt x="1817" y="334"/>
                  </a:lnTo>
                  <a:lnTo>
                    <a:pt x="1857" y="339"/>
                  </a:lnTo>
                  <a:lnTo>
                    <a:pt x="1865" y="342"/>
                  </a:lnTo>
                  <a:lnTo>
                    <a:pt x="1871" y="346"/>
                  </a:lnTo>
                  <a:lnTo>
                    <a:pt x="1879" y="353"/>
                  </a:lnTo>
                  <a:lnTo>
                    <a:pt x="1887" y="361"/>
                  </a:lnTo>
                  <a:lnTo>
                    <a:pt x="1890" y="366"/>
                  </a:lnTo>
                  <a:lnTo>
                    <a:pt x="1891" y="372"/>
                  </a:lnTo>
                  <a:lnTo>
                    <a:pt x="1892" y="389"/>
                  </a:lnTo>
                  <a:lnTo>
                    <a:pt x="1894" y="399"/>
                  </a:lnTo>
                  <a:lnTo>
                    <a:pt x="1901" y="415"/>
                  </a:lnTo>
                  <a:lnTo>
                    <a:pt x="1905" y="431"/>
                  </a:lnTo>
                  <a:lnTo>
                    <a:pt x="1914" y="437"/>
                  </a:lnTo>
                  <a:lnTo>
                    <a:pt x="1921" y="448"/>
                  </a:lnTo>
                  <a:lnTo>
                    <a:pt x="1926" y="452"/>
                  </a:lnTo>
                  <a:lnTo>
                    <a:pt x="1933" y="455"/>
                  </a:lnTo>
                  <a:lnTo>
                    <a:pt x="1952" y="460"/>
                  </a:lnTo>
                  <a:lnTo>
                    <a:pt x="1955" y="461"/>
                  </a:lnTo>
                  <a:lnTo>
                    <a:pt x="1956" y="464"/>
                  </a:lnTo>
                  <a:lnTo>
                    <a:pt x="1957" y="470"/>
                  </a:lnTo>
                  <a:lnTo>
                    <a:pt x="1956" y="471"/>
                  </a:lnTo>
                  <a:lnTo>
                    <a:pt x="1950" y="471"/>
                  </a:lnTo>
                  <a:lnTo>
                    <a:pt x="1939" y="468"/>
                  </a:lnTo>
                  <a:lnTo>
                    <a:pt x="1932" y="469"/>
                  </a:lnTo>
                  <a:lnTo>
                    <a:pt x="1934" y="486"/>
                  </a:lnTo>
                  <a:lnTo>
                    <a:pt x="1941" y="517"/>
                  </a:lnTo>
                  <a:lnTo>
                    <a:pt x="1943" y="532"/>
                  </a:lnTo>
                  <a:lnTo>
                    <a:pt x="1940" y="536"/>
                  </a:lnTo>
                  <a:lnTo>
                    <a:pt x="1930" y="543"/>
                  </a:lnTo>
                  <a:lnTo>
                    <a:pt x="1928" y="545"/>
                  </a:lnTo>
                  <a:lnTo>
                    <a:pt x="1929" y="550"/>
                  </a:lnTo>
                  <a:lnTo>
                    <a:pt x="1932" y="554"/>
                  </a:lnTo>
                  <a:lnTo>
                    <a:pt x="1951" y="562"/>
                  </a:lnTo>
                  <a:lnTo>
                    <a:pt x="1952" y="563"/>
                  </a:lnTo>
                  <a:lnTo>
                    <a:pt x="1952" y="566"/>
                  </a:lnTo>
                  <a:lnTo>
                    <a:pt x="1944" y="576"/>
                  </a:lnTo>
                  <a:lnTo>
                    <a:pt x="1939" y="584"/>
                  </a:lnTo>
                  <a:lnTo>
                    <a:pt x="1933" y="587"/>
                  </a:lnTo>
                  <a:lnTo>
                    <a:pt x="1924" y="589"/>
                  </a:lnTo>
                  <a:lnTo>
                    <a:pt x="1919" y="591"/>
                  </a:lnTo>
                  <a:lnTo>
                    <a:pt x="1913" y="604"/>
                  </a:lnTo>
                  <a:lnTo>
                    <a:pt x="1911" y="613"/>
                  </a:lnTo>
                  <a:lnTo>
                    <a:pt x="1912" y="619"/>
                  </a:lnTo>
                  <a:lnTo>
                    <a:pt x="1915" y="625"/>
                  </a:lnTo>
                  <a:lnTo>
                    <a:pt x="1921" y="629"/>
                  </a:lnTo>
                  <a:lnTo>
                    <a:pt x="1934" y="637"/>
                  </a:lnTo>
                  <a:lnTo>
                    <a:pt x="1949" y="651"/>
                  </a:lnTo>
                  <a:lnTo>
                    <a:pt x="1984" y="665"/>
                  </a:lnTo>
                  <a:lnTo>
                    <a:pt x="2001" y="681"/>
                  </a:lnTo>
                  <a:lnTo>
                    <a:pt x="2006" y="685"/>
                  </a:lnTo>
                  <a:lnTo>
                    <a:pt x="2035" y="694"/>
                  </a:lnTo>
                  <a:lnTo>
                    <a:pt x="2054" y="696"/>
                  </a:lnTo>
                  <a:lnTo>
                    <a:pt x="2065" y="698"/>
                  </a:lnTo>
                  <a:lnTo>
                    <a:pt x="2075" y="712"/>
                  </a:lnTo>
                  <a:lnTo>
                    <a:pt x="2083" y="710"/>
                  </a:lnTo>
                  <a:lnTo>
                    <a:pt x="2105" y="703"/>
                  </a:lnTo>
                  <a:lnTo>
                    <a:pt x="2117" y="701"/>
                  </a:lnTo>
                  <a:lnTo>
                    <a:pt x="2122" y="706"/>
                  </a:lnTo>
                  <a:lnTo>
                    <a:pt x="2129" y="717"/>
                  </a:lnTo>
                  <a:lnTo>
                    <a:pt x="2132" y="720"/>
                  </a:lnTo>
                  <a:lnTo>
                    <a:pt x="2137" y="720"/>
                  </a:lnTo>
                  <a:lnTo>
                    <a:pt x="2141" y="718"/>
                  </a:lnTo>
                  <a:lnTo>
                    <a:pt x="2147" y="714"/>
                  </a:lnTo>
                  <a:lnTo>
                    <a:pt x="2157" y="704"/>
                  </a:lnTo>
                  <a:lnTo>
                    <a:pt x="2160" y="702"/>
                  </a:lnTo>
                  <a:lnTo>
                    <a:pt x="2163" y="701"/>
                  </a:lnTo>
                  <a:lnTo>
                    <a:pt x="2178" y="706"/>
                  </a:lnTo>
                  <a:lnTo>
                    <a:pt x="2220" y="681"/>
                  </a:lnTo>
                  <a:lnTo>
                    <a:pt x="2232" y="671"/>
                  </a:lnTo>
                  <a:lnTo>
                    <a:pt x="2221" y="665"/>
                  </a:lnTo>
                  <a:lnTo>
                    <a:pt x="2214" y="650"/>
                  </a:lnTo>
                  <a:lnTo>
                    <a:pt x="2212" y="629"/>
                  </a:lnTo>
                  <a:lnTo>
                    <a:pt x="2220" y="620"/>
                  </a:lnTo>
                  <a:lnTo>
                    <a:pt x="2227" y="613"/>
                  </a:lnTo>
                  <a:lnTo>
                    <a:pt x="2229" y="610"/>
                  </a:lnTo>
                  <a:lnTo>
                    <a:pt x="2242" y="615"/>
                  </a:lnTo>
                  <a:lnTo>
                    <a:pt x="2246" y="620"/>
                  </a:lnTo>
                  <a:lnTo>
                    <a:pt x="2246" y="620"/>
                  </a:lnTo>
                  <a:lnTo>
                    <a:pt x="2266" y="683"/>
                  </a:lnTo>
                  <a:lnTo>
                    <a:pt x="2269" y="686"/>
                  </a:lnTo>
                  <a:lnTo>
                    <a:pt x="2275" y="689"/>
                  </a:lnTo>
                  <a:lnTo>
                    <a:pt x="2280" y="688"/>
                  </a:lnTo>
                  <a:lnTo>
                    <a:pt x="2284" y="686"/>
                  </a:lnTo>
                  <a:lnTo>
                    <a:pt x="2302" y="676"/>
                  </a:lnTo>
                  <a:lnTo>
                    <a:pt x="2316" y="668"/>
                  </a:lnTo>
                  <a:lnTo>
                    <a:pt x="2323" y="674"/>
                  </a:lnTo>
                  <a:lnTo>
                    <a:pt x="2326" y="674"/>
                  </a:lnTo>
                  <a:lnTo>
                    <a:pt x="2335" y="667"/>
                  </a:lnTo>
                  <a:lnTo>
                    <a:pt x="2337" y="663"/>
                  </a:lnTo>
                  <a:lnTo>
                    <a:pt x="2339" y="655"/>
                  </a:lnTo>
                  <a:lnTo>
                    <a:pt x="2342" y="652"/>
                  </a:lnTo>
                  <a:lnTo>
                    <a:pt x="2354" y="651"/>
                  </a:lnTo>
                  <a:lnTo>
                    <a:pt x="2376" y="647"/>
                  </a:lnTo>
                  <a:lnTo>
                    <a:pt x="2383" y="647"/>
                  </a:lnTo>
                  <a:lnTo>
                    <a:pt x="2389" y="645"/>
                  </a:lnTo>
                  <a:lnTo>
                    <a:pt x="2398" y="637"/>
                  </a:lnTo>
                  <a:lnTo>
                    <a:pt x="2401" y="636"/>
                  </a:lnTo>
                  <a:lnTo>
                    <a:pt x="2406" y="637"/>
                  </a:lnTo>
                  <a:lnTo>
                    <a:pt x="2412" y="655"/>
                  </a:lnTo>
                  <a:lnTo>
                    <a:pt x="2408" y="667"/>
                  </a:lnTo>
                  <a:lnTo>
                    <a:pt x="2408" y="672"/>
                  </a:lnTo>
                  <a:lnTo>
                    <a:pt x="2409" y="682"/>
                  </a:lnTo>
                  <a:lnTo>
                    <a:pt x="2413" y="689"/>
                  </a:lnTo>
                  <a:lnTo>
                    <a:pt x="2430" y="702"/>
                  </a:lnTo>
                  <a:lnTo>
                    <a:pt x="2467" y="710"/>
                  </a:lnTo>
                  <a:lnTo>
                    <a:pt x="2474" y="713"/>
                  </a:lnTo>
                  <a:lnTo>
                    <a:pt x="2480" y="717"/>
                  </a:lnTo>
                  <a:lnTo>
                    <a:pt x="2486" y="725"/>
                  </a:lnTo>
                  <a:lnTo>
                    <a:pt x="2491" y="728"/>
                  </a:lnTo>
                  <a:lnTo>
                    <a:pt x="2494" y="728"/>
                  </a:lnTo>
                  <a:lnTo>
                    <a:pt x="2497" y="727"/>
                  </a:lnTo>
                  <a:lnTo>
                    <a:pt x="2507" y="714"/>
                  </a:lnTo>
                  <a:lnTo>
                    <a:pt x="2510" y="712"/>
                  </a:lnTo>
                  <a:lnTo>
                    <a:pt x="2540" y="710"/>
                  </a:lnTo>
                  <a:lnTo>
                    <a:pt x="2557" y="707"/>
                  </a:lnTo>
                  <a:lnTo>
                    <a:pt x="2563" y="702"/>
                  </a:lnTo>
                  <a:lnTo>
                    <a:pt x="2577" y="687"/>
                  </a:lnTo>
                  <a:lnTo>
                    <a:pt x="2585" y="685"/>
                  </a:lnTo>
                  <a:lnTo>
                    <a:pt x="2592" y="684"/>
                  </a:lnTo>
                  <a:lnTo>
                    <a:pt x="2597" y="686"/>
                  </a:lnTo>
                  <a:lnTo>
                    <a:pt x="2599" y="701"/>
                  </a:lnTo>
                  <a:lnTo>
                    <a:pt x="2601" y="702"/>
                  </a:lnTo>
                  <a:lnTo>
                    <a:pt x="2631" y="699"/>
                  </a:lnTo>
                  <a:lnTo>
                    <a:pt x="2662" y="700"/>
                  </a:lnTo>
                  <a:lnTo>
                    <a:pt x="2672" y="701"/>
                  </a:lnTo>
                  <a:lnTo>
                    <a:pt x="2673" y="703"/>
                  </a:lnTo>
                  <a:lnTo>
                    <a:pt x="2675" y="712"/>
                  </a:lnTo>
                  <a:lnTo>
                    <a:pt x="2673" y="731"/>
                  </a:lnTo>
                  <a:lnTo>
                    <a:pt x="2672" y="740"/>
                  </a:lnTo>
                  <a:lnTo>
                    <a:pt x="2667" y="759"/>
                  </a:lnTo>
                  <a:lnTo>
                    <a:pt x="2666" y="767"/>
                  </a:lnTo>
                  <a:lnTo>
                    <a:pt x="2668" y="770"/>
                  </a:lnTo>
                  <a:lnTo>
                    <a:pt x="2677" y="775"/>
                  </a:lnTo>
                  <a:lnTo>
                    <a:pt x="2681" y="782"/>
                  </a:lnTo>
                  <a:lnTo>
                    <a:pt x="2702" y="788"/>
                  </a:lnTo>
                  <a:lnTo>
                    <a:pt x="2707" y="792"/>
                  </a:lnTo>
                  <a:lnTo>
                    <a:pt x="2717" y="804"/>
                  </a:lnTo>
                  <a:lnTo>
                    <a:pt x="2723" y="807"/>
                  </a:lnTo>
                  <a:lnTo>
                    <a:pt x="2729" y="803"/>
                  </a:lnTo>
                  <a:lnTo>
                    <a:pt x="2741" y="784"/>
                  </a:lnTo>
                  <a:lnTo>
                    <a:pt x="2756" y="768"/>
                  </a:lnTo>
                  <a:lnTo>
                    <a:pt x="2762" y="766"/>
                  </a:lnTo>
                  <a:lnTo>
                    <a:pt x="2772" y="768"/>
                  </a:lnTo>
                  <a:lnTo>
                    <a:pt x="2774" y="771"/>
                  </a:lnTo>
                  <a:lnTo>
                    <a:pt x="2774" y="779"/>
                  </a:lnTo>
                  <a:lnTo>
                    <a:pt x="2775" y="785"/>
                  </a:lnTo>
                  <a:lnTo>
                    <a:pt x="2780" y="796"/>
                  </a:lnTo>
                  <a:lnTo>
                    <a:pt x="2780" y="804"/>
                  </a:lnTo>
                  <a:lnTo>
                    <a:pt x="2791" y="807"/>
                  </a:lnTo>
                  <a:lnTo>
                    <a:pt x="2798" y="815"/>
                  </a:lnTo>
                  <a:lnTo>
                    <a:pt x="2820" y="812"/>
                  </a:lnTo>
                  <a:lnTo>
                    <a:pt x="2828" y="813"/>
                  </a:lnTo>
                  <a:lnTo>
                    <a:pt x="2833" y="815"/>
                  </a:lnTo>
                  <a:lnTo>
                    <a:pt x="2840" y="822"/>
                  </a:lnTo>
                  <a:lnTo>
                    <a:pt x="2846" y="831"/>
                  </a:lnTo>
                  <a:lnTo>
                    <a:pt x="2850" y="837"/>
                  </a:lnTo>
                  <a:lnTo>
                    <a:pt x="2855" y="839"/>
                  </a:lnTo>
                  <a:lnTo>
                    <a:pt x="2863" y="840"/>
                  </a:lnTo>
                  <a:lnTo>
                    <a:pt x="2868" y="844"/>
                  </a:lnTo>
                  <a:lnTo>
                    <a:pt x="2880" y="869"/>
                  </a:lnTo>
                  <a:lnTo>
                    <a:pt x="2886" y="877"/>
                  </a:lnTo>
                  <a:lnTo>
                    <a:pt x="2894" y="882"/>
                  </a:lnTo>
                  <a:lnTo>
                    <a:pt x="2897" y="883"/>
                  </a:lnTo>
                  <a:lnTo>
                    <a:pt x="2903" y="882"/>
                  </a:lnTo>
                  <a:lnTo>
                    <a:pt x="2907" y="882"/>
                  </a:lnTo>
                  <a:lnTo>
                    <a:pt x="2910" y="885"/>
                  </a:lnTo>
                  <a:lnTo>
                    <a:pt x="2915" y="893"/>
                  </a:lnTo>
                  <a:lnTo>
                    <a:pt x="2920" y="897"/>
                  </a:lnTo>
                  <a:lnTo>
                    <a:pt x="2924" y="897"/>
                  </a:lnTo>
                  <a:lnTo>
                    <a:pt x="2929" y="895"/>
                  </a:lnTo>
                  <a:lnTo>
                    <a:pt x="2936" y="882"/>
                  </a:lnTo>
                  <a:lnTo>
                    <a:pt x="2941" y="877"/>
                  </a:lnTo>
                  <a:lnTo>
                    <a:pt x="2954" y="871"/>
                  </a:lnTo>
                  <a:lnTo>
                    <a:pt x="2958" y="873"/>
                  </a:lnTo>
                  <a:lnTo>
                    <a:pt x="2965" y="877"/>
                  </a:lnTo>
                  <a:lnTo>
                    <a:pt x="2968" y="877"/>
                  </a:lnTo>
                  <a:lnTo>
                    <a:pt x="2973" y="873"/>
                  </a:lnTo>
                  <a:lnTo>
                    <a:pt x="2984" y="874"/>
                  </a:lnTo>
                  <a:lnTo>
                    <a:pt x="2988" y="871"/>
                  </a:lnTo>
                  <a:lnTo>
                    <a:pt x="2993" y="863"/>
                  </a:lnTo>
                  <a:lnTo>
                    <a:pt x="2996" y="861"/>
                  </a:lnTo>
                  <a:lnTo>
                    <a:pt x="3000" y="861"/>
                  </a:lnTo>
                  <a:lnTo>
                    <a:pt x="3018" y="873"/>
                  </a:lnTo>
                  <a:lnTo>
                    <a:pt x="3030" y="866"/>
                  </a:lnTo>
                  <a:lnTo>
                    <a:pt x="3045" y="865"/>
                  </a:lnTo>
                  <a:lnTo>
                    <a:pt x="3063" y="858"/>
                  </a:lnTo>
                  <a:lnTo>
                    <a:pt x="3067" y="863"/>
                  </a:lnTo>
                  <a:lnTo>
                    <a:pt x="3078" y="878"/>
                  </a:lnTo>
                  <a:lnTo>
                    <a:pt x="3078" y="878"/>
                  </a:lnTo>
                  <a:lnTo>
                    <a:pt x="3063" y="884"/>
                  </a:lnTo>
                  <a:lnTo>
                    <a:pt x="3042" y="887"/>
                  </a:lnTo>
                  <a:lnTo>
                    <a:pt x="3035" y="892"/>
                  </a:lnTo>
                  <a:lnTo>
                    <a:pt x="3036" y="895"/>
                  </a:lnTo>
                  <a:lnTo>
                    <a:pt x="3045" y="902"/>
                  </a:lnTo>
                  <a:lnTo>
                    <a:pt x="3049" y="907"/>
                  </a:lnTo>
                  <a:lnTo>
                    <a:pt x="3048" y="913"/>
                  </a:lnTo>
                  <a:lnTo>
                    <a:pt x="3051" y="924"/>
                  </a:lnTo>
                  <a:lnTo>
                    <a:pt x="3051" y="927"/>
                  </a:lnTo>
                  <a:lnTo>
                    <a:pt x="3049" y="928"/>
                  </a:lnTo>
                  <a:lnTo>
                    <a:pt x="3041" y="931"/>
                  </a:lnTo>
                  <a:lnTo>
                    <a:pt x="3030" y="929"/>
                  </a:lnTo>
                  <a:lnTo>
                    <a:pt x="3027" y="938"/>
                  </a:lnTo>
                  <a:lnTo>
                    <a:pt x="3035" y="955"/>
                  </a:lnTo>
                  <a:lnTo>
                    <a:pt x="3033" y="958"/>
                  </a:lnTo>
                  <a:lnTo>
                    <a:pt x="3031" y="959"/>
                  </a:lnTo>
                  <a:lnTo>
                    <a:pt x="3027" y="958"/>
                  </a:lnTo>
                  <a:lnTo>
                    <a:pt x="3012" y="948"/>
                  </a:lnTo>
                  <a:lnTo>
                    <a:pt x="3007" y="946"/>
                  </a:lnTo>
                  <a:lnTo>
                    <a:pt x="3006" y="946"/>
                  </a:lnTo>
                  <a:lnTo>
                    <a:pt x="3005" y="947"/>
                  </a:lnTo>
                  <a:lnTo>
                    <a:pt x="3004" y="955"/>
                  </a:lnTo>
                  <a:lnTo>
                    <a:pt x="3005" y="959"/>
                  </a:lnTo>
                  <a:lnTo>
                    <a:pt x="3012" y="974"/>
                  </a:lnTo>
                  <a:lnTo>
                    <a:pt x="3020" y="985"/>
                  </a:lnTo>
                  <a:lnTo>
                    <a:pt x="3025" y="992"/>
                  </a:lnTo>
                  <a:lnTo>
                    <a:pt x="3036" y="999"/>
                  </a:lnTo>
                  <a:lnTo>
                    <a:pt x="3053" y="1013"/>
                  </a:lnTo>
                  <a:lnTo>
                    <a:pt x="3061" y="1025"/>
                  </a:lnTo>
                  <a:lnTo>
                    <a:pt x="3065" y="1026"/>
                  </a:lnTo>
                  <a:lnTo>
                    <a:pt x="3076" y="1027"/>
                  </a:lnTo>
                  <a:lnTo>
                    <a:pt x="3079" y="1029"/>
                  </a:lnTo>
                  <a:lnTo>
                    <a:pt x="3079" y="1036"/>
                  </a:lnTo>
                  <a:lnTo>
                    <a:pt x="3074" y="1045"/>
                  </a:lnTo>
                  <a:lnTo>
                    <a:pt x="3073" y="1049"/>
                  </a:lnTo>
                  <a:lnTo>
                    <a:pt x="3075" y="1055"/>
                  </a:lnTo>
                  <a:lnTo>
                    <a:pt x="3083" y="1065"/>
                  </a:lnTo>
                  <a:lnTo>
                    <a:pt x="3083" y="1066"/>
                  </a:lnTo>
                  <a:lnTo>
                    <a:pt x="3068" y="1076"/>
                  </a:lnTo>
                  <a:lnTo>
                    <a:pt x="3053" y="1080"/>
                  </a:lnTo>
                  <a:lnTo>
                    <a:pt x="3031" y="1090"/>
                  </a:lnTo>
                  <a:lnTo>
                    <a:pt x="3029" y="1093"/>
                  </a:lnTo>
                  <a:lnTo>
                    <a:pt x="3028" y="1103"/>
                  </a:lnTo>
                  <a:lnTo>
                    <a:pt x="3025" y="1108"/>
                  </a:lnTo>
                  <a:lnTo>
                    <a:pt x="3022" y="1111"/>
                  </a:lnTo>
                  <a:lnTo>
                    <a:pt x="2993" y="1109"/>
                  </a:lnTo>
                  <a:lnTo>
                    <a:pt x="2987" y="1112"/>
                  </a:lnTo>
                  <a:lnTo>
                    <a:pt x="2984" y="1115"/>
                  </a:lnTo>
                  <a:lnTo>
                    <a:pt x="2983" y="1119"/>
                  </a:lnTo>
                  <a:lnTo>
                    <a:pt x="2989" y="1127"/>
                  </a:lnTo>
                  <a:lnTo>
                    <a:pt x="2988" y="1133"/>
                  </a:lnTo>
                  <a:lnTo>
                    <a:pt x="2986" y="1137"/>
                  </a:lnTo>
                  <a:lnTo>
                    <a:pt x="2977" y="1145"/>
                  </a:lnTo>
                  <a:lnTo>
                    <a:pt x="2974" y="1149"/>
                  </a:lnTo>
                  <a:lnTo>
                    <a:pt x="2973" y="1153"/>
                  </a:lnTo>
                  <a:lnTo>
                    <a:pt x="2973" y="1162"/>
                  </a:lnTo>
                  <a:lnTo>
                    <a:pt x="2971" y="1167"/>
                  </a:lnTo>
                  <a:lnTo>
                    <a:pt x="2963" y="1177"/>
                  </a:lnTo>
                  <a:lnTo>
                    <a:pt x="2928" y="1208"/>
                  </a:lnTo>
                  <a:lnTo>
                    <a:pt x="2923" y="1215"/>
                  </a:lnTo>
                  <a:lnTo>
                    <a:pt x="2923" y="1216"/>
                  </a:lnTo>
                  <a:lnTo>
                    <a:pt x="2923" y="1217"/>
                  </a:lnTo>
                  <a:lnTo>
                    <a:pt x="2942" y="1220"/>
                  </a:lnTo>
                  <a:lnTo>
                    <a:pt x="2943" y="1221"/>
                  </a:lnTo>
                  <a:lnTo>
                    <a:pt x="2945" y="1223"/>
                  </a:lnTo>
                  <a:lnTo>
                    <a:pt x="2935" y="1238"/>
                  </a:lnTo>
                  <a:lnTo>
                    <a:pt x="2922" y="1252"/>
                  </a:lnTo>
                  <a:lnTo>
                    <a:pt x="2923" y="1256"/>
                  </a:lnTo>
                  <a:lnTo>
                    <a:pt x="2931" y="1263"/>
                  </a:lnTo>
                  <a:lnTo>
                    <a:pt x="2932" y="1267"/>
                  </a:lnTo>
                  <a:lnTo>
                    <a:pt x="2921" y="1274"/>
                  </a:lnTo>
                  <a:lnTo>
                    <a:pt x="2918" y="1284"/>
                  </a:lnTo>
                  <a:lnTo>
                    <a:pt x="2905" y="1290"/>
                  </a:lnTo>
                  <a:lnTo>
                    <a:pt x="2902" y="1295"/>
                  </a:lnTo>
                  <a:lnTo>
                    <a:pt x="2901" y="1304"/>
                  </a:lnTo>
                  <a:lnTo>
                    <a:pt x="2903" y="1313"/>
                  </a:lnTo>
                  <a:lnTo>
                    <a:pt x="2906" y="1315"/>
                  </a:lnTo>
                  <a:lnTo>
                    <a:pt x="2914" y="1318"/>
                  </a:lnTo>
                  <a:lnTo>
                    <a:pt x="2915" y="1323"/>
                  </a:lnTo>
                  <a:lnTo>
                    <a:pt x="2892" y="1348"/>
                  </a:lnTo>
                  <a:lnTo>
                    <a:pt x="2879" y="1359"/>
                  </a:lnTo>
                  <a:lnTo>
                    <a:pt x="2875" y="1359"/>
                  </a:lnTo>
                  <a:lnTo>
                    <a:pt x="2867" y="1356"/>
                  </a:lnTo>
                  <a:lnTo>
                    <a:pt x="2862" y="1352"/>
                  </a:lnTo>
                  <a:lnTo>
                    <a:pt x="2853" y="1343"/>
                  </a:lnTo>
                  <a:lnTo>
                    <a:pt x="2845" y="1329"/>
                  </a:lnTo>
                  <a:lnTo>
                    <a:pt x="2840" y="1325"/>
                  </a:lnTo>
                  <a:lnTo>
                    <a:pt x="2834" y="1325"/>
                  </a:lnTo>
                  <a:lnTo>
                    <a:pt x="2830" y="1327"/>
                  </a:lnTo>
                  <a:lnTo>
                    <a:pt x="2826" y="1330"/>
                  </a:lnTo>
                  <a:lnTo>
                    <a:pt x="2820" y="1338"/>
                  </a:lnTo>
                  <a:lnTo>
                    <a:pt x="2816" y="1341"/>
                  </a:lnTo>
                  <a:lnTo>
                    <a:pt x="2813" y="1338"/>
                  </a:lnTo>
                  <a:lnTo>
                    <a:pt x="2807" y="1326"/>
                  </a:lnTo>
                  <a:lnTo>
                    <a:pt x="2798" y="1326"/>
                  </a:lnTo>
                  <a:lnTo>
                    <a:pt x="2794" y="1327"/>
                  </a:lnTo>
                  <a:lnTo>
                    <a:pt x="2792" y="1330"/>
                  </a:lnTo>
                  <a:lnTo>
                    <a:pt x="2787" y="1342"/>
                  </a:lnTo>
                  <a:lnTo>
                    <a:pt x="2773" y="1367"/>
                  </a:lnTo>
                  <a:lnTo>
                    <a:pt x="2774" y="1379"/>
                  </a:lnTo>
                  <a:lnTo>
                    <a:pt x="2779" y="1391"/>
                  </a:lnTo>
                  <a:lnTo>
                    <a:pt x="2781" y="1398"/>
                  </a:lnTo>
                  <a:lnTo>
                    <a:pt x="2781" y="1404"/>
                  </a:lnTo>
                  <a:lnTo>
                    <a:pt x="2780" y="1410"/>
                  </a:lnTo>
                  <a:lnTo>
                    <a:pt x="2741" y="1462"/>
                  </a:lnTo>
                  <a:lnTo>
                    <a:pt x="2680" y="1559"/>
                  </a:lnTo>
                  <a:lnTo>
                    <a:pt x="2653" y="1589"/>
                  </a:lnTo>
                  <a:lnTo>
                    <a:pt x="2651" y="1600"/>
                  </a:lnTo>
                  <a:lnTo>
                    <a:pt x="2645" y="1601"/>
                  </a:lnTo>
                  <a:lnTo>
                    <a:pt x="2639" y="1606"/>
                  </a:lnTo>
                  <a:lnTo>
                    <a:pt x="2636" y="1606"/>
                  </a:lnTo>
                  <a:lnTo>
                    <a:pt x="2629" y="1602"/>
                  </a:lnTo>
                  <a:lnTo>
                    <a:pt x="2627" y="1599"/>
                  </a:lnTo>
                  <a:lnTo>
                    <a:pt x="2624" y="1593"/>
                  </a:lnTo>
                  <a:lnTo>
                    <a:pt x="2622" y="1592"/>
                  </a:lnTo>
                  <a:lnTo>
                    <a:pt x="2619" y="1593"/>
                  </a:lnTo>
                  <a:lnTo>
                    <a:pt x="2611" y="1600"/>
                  </a:lnTo>
                  <a:lnTo>
                    <a:pt x="2608" y="1602"/>
                  </a:lnTo>
                  <a:lnTo>
                    <a:pt x="2604" y="1602"/>
                  </a:lnTo>
                  <a:lnTo>
                    <a:pt x="2597" y="1599"/>
                  </a:lnTo>
                  <a:lnTo>
                    <a:pt x="2594" y="1598"/>
                  </a:lnTo>
                  <a:lnTo>
                    <a:pt x="2590" y="1599"/>
                  </a:lnTo>
                  <a:lnTo>
                    <a:pt x="2582" y="1604"/>
                  </a:lnTo>
                  <a:lnTo>
                    <a:pt x="2576" y="1606"/>
                  </a:lnTo>
                  <a:lnTo>
                    <a:pt x="2568" y="1606"/>
                  </a:lnTo>
                  <a:lnTo>
                    <a:pt x="2562" y="1604"/>
                  </a:lnTo>
                  <a:lnTo>
                    <a:pt x="2554" y="1597"/>
                  </a:lnTo>
                  <a:lnTo>
                    <a:pt x="2545" y="1586"/>
                  </a:lnTo>
                  <a:lnTo>
                    <a:pt x="2535" y="1565"/>
                  </a:lnTo>
                  <a:lnTo>
                    <a:pt x="2518" y="1522"/>
                  </a:lnTo>
                  <a:lnTo>
                    <a:pt x="2510" y="1510"/>
                  </a:lnTo>
                  <a:lnTo>
                    <a:pt x="2506" y="1506"/>
                  </a:lnTo>
                  <a:lnTo>
                    <a:pt x="2503" y="1504"/>
                  </a:lnTo>
                  <a:lnTo>
                    <a:pt x="2498" y="1504"/>
                  </a:lnTo>
                  <a:lnTo>
                    <a:pt x="2477" y="1516"/>
                  </a:lnTo>
                  <a:lnTo>
                    <a:pt x="2465" y="1520"/>
                  </a:lnTo>
                  <a:lnTo>
                    <a:pt x="2434" y="1536"/>
                  </a:lnTo>
                  <a:lnTo>
                    <a:pt x="2419" y="1541"/>
                  </a:lnTo>
                  <a:lnTo>
                    <a:pt x="2412" y="1538"/>
                  </a:lnTo>
                  <a:lnTo>
                    <a:pt x="2408" y="1534"/>
                  </a:lnTo>
                  <a:lnTo>
                    <a:pt x="2395" y="1516"/>
                  </a:lnTo>
                  <a:lnTo>
                    <a:pt x="2371" y="1503"/>
                  </a:lnTo>
                  <a:lnTo>
                    <a:pt x="2359" y="1494"/>
                  </a:lnTo>
                  <a:lnTo>
                    <a:pt x="2343" y="1488"/>
                  </a:lnTo>
                  <a:lnTo>
                    <a:pt x="2298" y="1474"/>
                  </a:lnTo>
                  <a:lnTo>
                    <a:pt x="2289" y="1473"/>
                  </a:lnTo>
                  <a:lnTo>
                    <a:pt x="2284" y="1473"/>
                  </a:lnTo>
                  <a:lnTo>
                    <a:pt x="2281" y="1474"/>
                  </a:lnTo>
                  <a:lnTo>
                    <a:pt x="2278" y="1478"/>
                  </a:lnTo>
                  <a:lnTo>
                    <a:pt x="2268" y="1490"/>
                  </a:lnTo>
                  <a:lnTo>
                    <a:pt x="2267" y="1499"/>
                  </a:lnTo>
                  <a:lnTo>
                    <a:pt x="2268" y="1513"/>
                  </a:lnTo>
                  <a:lnTo>
                    <a:pt x="2265" y="1518"/>
                  </a:lnTo>
                  <a:lnTo>
                    <a:pt x="2256" y="1527"/>
                  </a:lnTo>
                  <a:lnTo>
                    <a:pt x="2247" y="1543"/>
                  </a:lnTo>
                  <a:lnTo>
                    <a:pt x="2245" y="1545"/>
                  </a:lnTo>
                  <a:lnTo>
                    <a:pt x="2237" y="1546"/>
                  </a:lnTo>
                  <a:lnTo>
                    <a:pt x="2233" y="1547"/>
                  </a:lnTo>
                  <a:lnTo>
                    <a:pt x="2230" y="1551"/>
                  </a:lnTo>
                  <a:lnTo>
                    <a:pt x="2228" y="1557"/>
                  </a:lnTo>
                  <a:lnTo>
                    <a:pt x="2229" y="1562"/>
                  </a:lnTo>
                  <a:lnTo>
                    <a:pt x="2230" y="1567"/>
                  </a:lnTo>
                  <a:lnTo>
                    <a:pt x="2240" y="1576"/>
                  </a:lnTo>
                  <a:lnTo>
                    <a:pt x="2250" y="1582"/>
                  </a:lnTo>
                  <a:lnTo>
                    <a:pt x="2257" y="1586"/>
                  </a:lnTo>
                  <a:lnTo>
                    <a:pt x="2284" y="1595"/>
                  </a:lnTo>
                  <a:lnTo>
                    <a:pt x="2288" y="1599"/>
                  </a:lnTo>
                  <a:lnTo>
                    <a:pt x="2288" y="1602"/>
                  </a:lnTo>
                  <a:lnTo>
                    <a:pt x="2278" y="1616"/>
                  </a:lnTo>
                  <a:lnTo>
                    <a:pt x="2272" y="1625"/>
                  </a:lnTo>
                  <a:lnTo>
                    <a:pt x="2265" y="1648"/>
                  </a:lnTo>
                  <a:lnTo>
                    <a:pt x="2258" y="1656"/>
                  </a:lnTo>
                  <a:lnTo>
                    <a:pt x="2235" y="1656"/>
                  </a:lnTo>
                  <a:lnTo>
                    <a:pt x="2230" y="1657"/>
                  </a:lnTo>
                  <a:lnTo>
                    <a:pt x="2224" y="1665"/>
                  </a:lnTo>
                  <a:lnTo>
                    <a:pt x="2218" y="1679"/>
                  </a:lnTo>
                  <a:lnTo>
                    <a:pt x="2211" y="1686"/>
                  </a:lnTo>
                  <a:lnTo>
                    <a:pt x="2200" y="1693"/>
                  </a:lnTo>
                  <a:lnTo>
                    <a:pt x="2153" y="1718"/>
                  </a:lnTo>
                  <a:lnTo>
                    <a:pt x="2150" y="1720"/>
                  </a:lnTo>
                  <a:lnTo>
                    <a:pt x="2148" y="1724"/>
                  </a:lnTo>
                  <a:lnTo>
                    <a:pt x="2144" y="1729"/>
                  </a:lnTo>
                  <a:lnTo>
                    <a:pt x="2139" y="1732"/>
                  </a:lnTo>
                  <a:lnTo>
                    <a:pt x="2132" y="1736"/>
                  </a:lnTo>
                  <a:lnTo>
                    <a:pt x="2131" y="1741"/>
                  </a:lnTo>
                  <a:lnTo>
                    <a:pt x="2136" y="1756"/>
                  </a:lnTo>
                  <a:lnTo>
                    <a:pt x="2139" y="1767"/>
                  </a:lnTo>
                  <a:lnTo>
                    <a:pt x="2143" y="1777"/>
                  </a:lnTo>
                  <a:lnTo>
                    <a:pt x="2147" y="1780"/>
                  </a:lnTo>
                  <a:lnTo>
                    <a:pt x="2167" y="1793"/>
                  </a:lnTo>
                  <a:lnTo>
                    <a:pt x="2171" y="1797"/>
                  </a:lnTo>
                  <a:lnTo>
                    <a:pt x="2173" y="1802"/>
                  </a:lnTo>
                  <a:lnTo>
                    <a:pt x="2173" y="1809"/>
                  </a:lnTo>
                  <a:lnTo>
                    <a:pt x="2170" y="1825"/>
                  </a:lnTo>
                  <a:lnTo>
                    <a:pt x="2171" y="1829"/>
                  </a:lnTo>
                  <a:lnTo>
                    <a:pt x="2175" y="1833"/>
                  </a:lnTo>
                  <a:lnTo>
                    <a:pt x="2179" y="1835"/>
                  </a:lnTo>
                  <a:lnTo>
                    <a:pt x="2186" y="1836"/>
                  </a:lnTo>
                  <a:lnTo>
                    <a:pt x="2210" y="1837"/>
                  </a:lnTo>
                  <a:lnTo>
                    <a:pt x="2221" y="1836"/>
                  </a:lnTo>
                  <a:lnTo>
                    <a:pt x="2237" y="1831"/>
                  </a:lnTo>
                  <a:lnTo>
                    <a:pt x="2243" y="1831"/>
                  </a:lnTo>
                  <a:lnTo>
                    <a:pt x="2246" y="1832"/>
                  </a:lnTo>
                  <a:lnTo>
                    <a:pt x="2240" y="1853"/>
                  </a:lnTo>
                  <a:lnTo>
                    <a:pt x="2245" y="1865"/>
                  </a:lnTo>
                  <a:lnTo>
                    <a:pt x="2252" y="1884"/>
                  </a:lnTo>
                  <a:lnTo>
                    <a:pt x="2254" y="1892"/>
                  </a:lnTo>
                  <a:lnTo>
                    <a:pt x="2254" y="1919"/>
                  </a:lnTo>
                  <a:lnTo>
                    <a:pt x="2250" y="1940"/>
                  </a:lnTo>
                  <a:lnTo>
                    <a:pt x="2250" y="1943"/>
                  </a:lnTo>
                  <a:lnTo>
                    <a:pt x="2251" y="1945"/>
                  </a:lnTo>
                  <a:lnTo>
                    <a:pt x="2265" y="1952"/>
                  </a:lnTo>
                  <a:lnTo>
                    <a:pt x="2280" y="1957"/>
                  </a:lnTo>
                  <a:lnTo>
                    <a:pt x="2306" y="1948"/>
                  </a:lnTo>
                  <a:lnTo>
                    <a:pt x="2314" y="1949"/>
                  </a:lnTo>
                  <a:lnTo>
                    <a:pt x="2324" y="1954"/>
                  </a:lnTo>
                  <a:lnTo>
                    <a:pt x="2333" y="1959"/>
                  </a:lnTo>
                  <a:lnTo>
                    <a:pt x="2337" y="1963"/>
                  </a:lnTo>
                  <a:lnTo>
                    <a:pt x="2341" y="1971"/>
                  </a:lnTo>
                  <a:lnTo>
                    <a:pt x="2345" y="1975"/>
                  </a:lnTo>
                  <a:lnTo>
                    <a:pt x="2352" y="1976"/>
                  </a:lnTo>
                  <a:lnTo>
                    <a:pt x="2374" y="1977"/>
                  </a:lnTo>
                  <a:lnTo>
                    <a:pt x="2384" y="1978"/>
                  </a:lnTo>
                  <a:lnTo>
                    <a:pt x="2390" y="1981"/>
                  </a:lnTo>
                  <a:lnTo>
                    <a:pt x="2399" y="1991"/>
                  </a:lnTo>
                  <a:lnTo>
                    <a:pt x="2404" y="2005"/>
                  </a:lnTo>
                  <a:lnTo>
                    <a:pt x="2414" y="2050"/>
                  </a:lnTo>
                  <a:lnTo>
                    <a:pt x="2424" y="2081"/>
                  </a:lnTo>
                  <a:lnTo>
                    <a:pt x="2429" y="2092"/>
                  </a:lnTo>
                  <a:lnTo>
                    <a:pt x="2441" y="2107"/>
                  </a:lnTo>
                  <a:lnTo>
                    <a:pt x="2441" y="2107"/>
                  </a:lnTo>
                  <a:lnTo>
                    <a:pt x="2438" y="2116"/>
                  </a:lnTo>
                  <a:lnTo>
                    <a:pt x="2441" y="2122"/>
                  </a:lnTo>
                  <a:lnTo>
                    <a:pt x="2438" y="2124"/>
                  </a:lnTo>
                  <a:lnTo>
                    <a:pt x="2434" y="2125"/>
                  </a:lnTo>
                  <a:lnTo>
                    <a:pt x="2429" y="2124"/>
                  </a:lnTo>
                  <a:lnTo>
                    <a:pt x="2423" y="2123"/>
                  </a:lnTo>
                  <a:lnTo>
                    <a:pt x="2417" y="2120"/>
                  </a:lnTo>
                  <a:lnTo>
                    <a:pt x="2411" y="2114"/>
                  </a:lnTo>
                  <a:lnTo>
                    <a:pt x="2387" y="2095"/>
                  </a:lnTo>
                  <a:lnTo>
                    <a:pt x="2378" y="2085"/>
                  </a:lnTo>
                  <a:lnTo>
                    <a:pt x="2372" y="2077"/>
                  </a:lnTo>
                  <a:lnTo>
                    <a:pt x="2359" y="2072"/>
                  </a:lnTo>
                  <a:lnTo>
                    <a:pt x="2356" y="2070"/>
                  </a:lnTo>
                  <a:lnTo>
                    <a:pt x="2329" y="2035"/>
                  </a:lnTo>
                  <a:lnTo>
                    <a:pt x="2321" y="2029"/>
                  </a:lnTo>
                  <a:lnTo>
                    <a:pt x="2319" y="2031"/>
                  </a:lnTo>
                  <a:lnTo>
                    <a:pt x="2309" y="2043"/>
                  </a:lnTo>
                  <a:lnTo>
                    <a:pt x="2300" y="2051"/>
                  </a:lnTo>
                  <a:lnTo>
                    <a:pt x="2297" y="2059"/>
                  </a:lnTo>
                  <a:lnTo>
                    <a:pt x="2296" y="2070"/>
                  </a:lnTo>
                  <a:lnTo>
                    <a:pt x="2290" y="2075"/>
                  </a:lnTo>
                  <a:lnTo>
                    <a:pt x="2285" y="2078"/>
                  </a:lnTo>
                  <a:lnTo>
                    <a:pt x="2276" y="2079"/>
                  </a:lnTo>
                  <a:lnTo>
                    <a:pt x="2260" y="2077"/>
                  </a:lnTo>
                  <a:lnTo>
                    <a:pt x="2248" y="2072"/>
                  </a:lnTo>
                  <a:lnTo>
                    <a:pt x="2242" y="2073"/>
                  </a:lnTo>
                  <a:lnTo>
                    <a:pt x="2235" y="2079"/>
                  </a:lnTo>
                  <a:lnTo>
                    <a:pt x="2228" y="2096"/>
                  </a:lnTo>
                  <a:lnTo>
                    <a:pt x="2217" y="2108"/>
                  </a:lnTo>
                  <a:lnTo>
                    <a:pt x="2214" y="2114"/>
                  </a:lnTo>
                  <a:lnTo>
                    <a:pt x="2214" y="2123"/>
                  </a:lnTo>
                  <a:lnTo>
                    <a:pt x="2217" y="2142"/>
                  </a:lnTo>
                  <a:lnTo>
                    <a:pt x="2220" y="2168"/>
                  </a:lnTo>
                  <a:lnTo>
                    <a:pt x="2222" y="2174"/>
                  </a:lnTo>
                  <a:lnTo>
                    <a:pt x="2224" y="2176"/>
                  </a:lnTo>
                  <a:lnTo>
                    <a:pt x="2226" y="2177"/>
                  </a:lnTo>
                  <a:lnTo>
                    <a:pt x="2239" y="2178"/>
                  </a:lnTo>
                  <a:lnTo>
                    <a:pt x="2247" y="2176"/>
                  </a:lnTo>
                  <a:lnTo>
                    <a:pt x="2256" y="2171"/>
                  </a:lnTo>
                  <a:lnTo>
                    <a:pt x="2258" y="2170"/>
                  </a:lnTo>
                  <a:lnTo>
                    <a:pt x="2262" y="2171"/>
                  </a:lnTo>
                  <a:lnTo>
                    <a:pt x="2271" y="2191"/>
                  </a:lnTo>
                  <a:lnTo>
                    <a:pt x="2279" y="2200"/>
                  </a:lnTo>
                  <a:lnTo>
                    <a:pt x="2283" y="2210"/>
                  </a:lnTo>
                  <a:lnTo>
                    <a:pt x="2281" y="2226"/>
                  </a:lnTo>
                  <a:lnTo>
                    <a:pt x="2284" y="2230"/>
                  </a:lnTo>
                  <a:lnTo>
                    <a:pt x="2288" y="2231"/>
                  </a:lnTo>
                  <a:lnTo>
                    <a:pt x="2299" y="2231"/>
                  </a:lnTo>
                  <a:lnTo>
                    <a:pt x="2303" y="2234"/>
                  </a:lnTo>
                  <a:lnTo>
                    <a:pt x="2304" y="2240"/>
                  </a:lnTo>
                  <a:lnTo>
                    <a:pt x="2306" y="2241"/>
                  </a:lnTo>
                  <a:lnTo>
                    <a:pt x="2309" y="2243"/>
                  </a:lnTo>
                  <a:lnTo>
                    <a:pt x="2314" y="2243"/>
                  </a:lnTo>
                  <a:lnTo>
                    <a:pt x="2321" y="2242"/>
                  </a:lnTo>
                  <a:lnTo>
                    <a:pt x="2326" y="2241"/>
                  </a:lnTo>
                  <a:lnTo>
                    <a:pt x="2329" y="2237"/>
                  </a:lnTo>
                  <a:lnTo>
                    <a:pt x="2333" y="2232"/>
                  </a:lnTo>
                  <a:lnTo>
                    <a:pt x="2344" y="2227"/>
                  </a:lnTo>
                  <a:lnTo>
                    <a:pt x="2353" y="2227"/>
                  </a:lnTo>
                  <a:lnTo>
                    <a:pt x="2364" y="2229"/>
                  </a:lnTo>
                  <a:lnTo>
                    <a:pt x="2373" y="2234"/>
                  </a:lnTo>
                  <a:lnTo>
                    <a:pt x="2386" y="2251"/>
                  </a:lnTo>
                  <a:lnTo>
                    <a:pt x="2396" y="2262"/>
                  </a:lnTo>
                  <a:lnTo>
                    <a:pt x="2395" y="2283"/>
                  </a:lnTo>
                  <a:lnTo>
                    <a:pt x="2397" y="2289"/>
                  </a:lnTo>
                  <a:lnTo>
                    <a:pt x="2404" y="2299"/>
                  </a:lnTo>
                  <a:lnTo>
                    <a:pt x="2404" y="2311"/>
                  </a:lnTo>
                  <a:lnTo>
                    <a:pt x="2411" y="2322"/>
                  </a:lnTo>
                  <a:lnTo>
                    <a:pt x="2411" y="2326"/>
                  </a:lnTo>
                  <a:lnTo>
                    <a:pt x="2411" y="2331"/>
                  </a:lnTo>
                  <a:lnTo>
                    <a:pt x="2409" y="2335"/>
                  </a:lnTo>
                  <a:lnTo>
                    <a:pt x="2402" y="2341"/>
                  </a:lnTo>
                  <a:lnTo>
                    <a:pt x="2383" y="2354"/>
                  </a:lnTo>
                  <a:lnTo>
                    <a:pt x="2372" y="2359"/>
                  </a:lnTo>
                  <a:lnTo>
                    <a:pt x="2362" y="2359"/>
                  </a:lnTo>
                  <a:lnTo>
                    <a:pt x="2346" y="2353"/>
                  </a:lnTo>
                  <a:lnTo>
                    <a:pt x="2338" y="2352"/>
                  </a:lnTo>
                  <a:lnTo>
                    <a:pt x="2325" y="2360"/>
                  </a:lnTo>
                  <a:lnTo>
                    <a:pt x="2299" y="2366"/>
                  </a:lnTo>
                  <a:lnTo>
                    <a:pt x="2284" y="2365"/>
                  </a:lnTo>
                  <a:lnTo>
                    <a:pt x="2268" y="2372"/>
                  </a:lnTo>
                  <a:lnTo>
                    <a:pt x="2262" y="2374"/>
                  </a:lnTo>
                  <a:lnTo>
                    <a:pt x="2243" y="2370"/>
                  </a:lnTo>
                  <a:lnTo>
                    <a:pt x="2221" y="2380"/>
                  </a:lnTo>
                  <a:lnTo>
                    <a:pt x="2203" y="2386"/>
                  </a:lnTo>
                  <a:lnTo>
                    <a:pt x="2201" y="2385"/>
                  </a:lnTo>
                  <a:lnTo>
                    <a:pt x="2194" y="2370"/>
                  </a:lnTo>
                  <a:lnTo>
                    <a:pt x="2182" y="2365"/>
                  </a:lnTo>
                  <a:lnTo>
                    <a:pt x="2172" y="2353"/>
                  </a:lnTo>
                  <a:lnTo>
                    <a:pt x="2167" y="2351"/>
                  </a:lnTo>
                  <a:lnTo>
                    <a:pt x="2155" y="2350"/>
                  </a:lnTo>
                  <a:lnTo>
                    <a:pt x="2140" y="2352"/>
                  </a:lnTo>
                  <a:lnTo>
                    <a:pt x="2132" y="2354"/>
                  </a:lnTo>
                  <a:lnTo>
                    <a:pt x="2112" y="2362"/>
                  </a:lnTo>
                  <a:lnTo>
                    <a:pt x="2106" y="2364"/>
                  </a:lnTo>
                  <a:lnTo>
                    <a:pt x="2106" y="2364"/>
                  </a:lnTo>
                  <a:lnTo>
                    <a:pt x="2104" y="2354"/>
                  </a:lnTo>
                  <a:lnTo>
                    <a:pt x="2105" y="2347"/>
                  </a:lnTo>
                  <a:lnTo>
                    <a:pt x="2106" y="2341"/>
                  </a:lnTo>
                  <a:lnTo>
                    <a:pt x="2110" y="2335"/>
                  </a:lnTo>
                  <a:lnTo>
                    <a:pt x="2110" y="2333"/>
                  </a:lnTo>
                  <a:lnTo>
                    <a:pt x="2108" y="2331"/>
                  </a:lnTo>
                  <a:lnTo>
                    <a:pt x="2094" y="2328"/>
                  </a:lnTo>
                  <a:lnTo>
                    <a:pt x="2092" y="2322"/>
                  </a:lnTo>
                  <a:lnTo>
                    <a:pt x="2091" y="2315"/>
                  </a:lnTo>
                  <a:lnTo>
                    <a:pt x="2092" y="2306"/>
                  </a:lnTo>
                  <a:lnTo>
                    <a:pt x="2101" y="2297"/>
                  </a:lnTo>
                  <a:lnTo>
                    <a:pt x="2103" y="2293"/>
                  </a:lnTo>
                  <a:lnTo>
                    <a:pt x="2105" y="2285"/>
                  </a:lnTo>
                  <a:lnTo>
                    <a:pt x="2105" y="2281"/>
                  </a:lnTo>
                  <a:lnTo>
                    <a:pt x="2099" y="2269"/>
                  </a:lnTo>
                  <a:lnTo>
                    <a:pt x="2096" y="2266"/>
                  </a:lnTo>
                  <a:lnTo>
                    <a:pt x="2091" y="2266"/>
                  </a:lnTo>
                  <a:lnTo>
                    <a:pt x="2080" y="2268"/>
                  </a:lnTo>
                  <a:lnTo>
                    <a:pt x="2075" y="2268"/>
                  </a:lnTo>
                  <a:lnTo>
                    <a:pt x="2073" y="2263"/>
                  </a:lnTo>
                  <a:lnTo>
                    <a:pt x="2073" y="2252"/>
                  </a:lnTo>
                  <a:lnTo>
                    <a:pt x="2071" y="2248"/>
                  </a:lnTo>
                  <a:lnTo>
                    <a:pt x="2065" y="2243"/>
                  </a:lnTo>
                  <a:lnTo>
                    <a:pt x="2052" y="2236"/>
                  </a:lnTo>
                  <a:lnTo>
                    <a:pt x="2046" y="2235"/>
                  </a:lnTo>
                  <a:lnTo>
                    <a:pt x="2038" y="2235"/>
                  </a:lnTo>
                  <a:lnTo>
                    <a:pt x="2031" y="2237"/>
                  </a:lnTo>
                  <a:lnTo>
                    <a:pt x="2026" y="2241"/>
                  </a:lnTo>
                  <a:lnTo>
                    <a:pt x="2010" y="2261"/>
                  </a:lnTo>
                  <a:lnTo>
                    <a:pt x="1998" y="2273"/>
                  </a:lnTo>
                  <a:lnTo>
                    <a:pt x="1995" y="2280"/>
                  </a:lnTo>
                  <a:lnTo>
                    <a:pt x="1990" y="2291"/>
                  </a:lnTo>
                  <a:lnTo>
                    <a:pt x="1986" y="2296"/>
                  </a:lnTo>
                  <a:lnTo>
                    <a:pt x="1984" y="2298"/>
                  </a:lnTo>
                  <a:lnTo>
                    <a:pt x="1967" y="2298"/>
                  </a:lnTo>
                  <a:lnTo>
                    <a:pt x="1943" y="2299"/>
                  </a:lnTo>
                  <a:lnTo>
                    <a:pt x="1909" y="2311"/>
                  </a:lnTo>
                  <a:lnTo>
                    <a:pt x="1900" y="2312"/>
                  </a:lnTo>
                  <a:lnTo>
                    <a:pt x="1893" y="2310"/>
                  </a:lnTo>
                  <a:lnTo>
                    <a:pt x="1885" y="2299"/>
                  </a:lnTo>
                  <a:lnTo>
                    <a:pt x="1875" y="2297"/>
                  </a:lnTo>
                  <a:lnTo>
                    <a:pt x="1869" y="2293"/>
                  </a:lnTo>
                  <a:lnTo>
                    <a:pt x="1842" y="2270"/>
                  </a:lnTo>
                  <a:lnTo>
                    <a:pt x="1840" y="2265"/>
                  </a:lnTo>
                  <a:lnTo>
                    <a:pt x="1835" y="2249"/>
                  </a:lnTo>
                  <a:lnTo>
                    <a:pt x="1833" y="2247"/>
                  </a:lnTo>
                  <a:lnTo>
                    <a:pt x="1822" y="2242"/>
                  </a:lnTo>
                  <a:lnTo>
                    <a:pt x="1822" y="2240"/>
                  </a:lnTo>
                  <a:lnTo>
                    <a:pt x="1824" y="2237"/>
                  </a:lnTo>
                  <a:lnTo>
                    <a:pt x="1840" y="2236"/>
                  </a:lnTo>
                  <a:lnTo>
                    <a:pt x="1843" y="2234"/>
                  </a:lnTo>
                  <a:lnTo>
                    <a:pt x="1848" y="2230"/>
                  </a:lnTo>
                  <a:lnTo>
                    <a:pt x="1853" y="2221"/>
                  </a:lnTo>
                  <a:lnTo>
                    <a:pt x="1865" y="2208"/>
                  </a:lnTo>
                  <a:lnTo>
                    <a:pt x="1867" y="2204"/>
                  </a:lnTo>
                  <a:lnTo>
                    <a:pt x="1864" y="2200"/>
                  </a:lnTo>
                  <a:lnTo>
                    <a:pt x="1854" y="2197"/>
                  </a:lnTo>
                  <a:lnTo>
                    <a:pt x="1850" y="2193"/>
                  </a:lnTo>
                  <a:lnTo>
                    <a:pt x="1850" y="2191"/>
                  </a:lnTo>
                  <a:lnTo>
                    <a:pt x="1851" y="2189"/>
                  </a:lnTo>
                  <a:lnTo>
                    <a:pt x="1864" y="2181"/>
                  </a:lnTo>
                  <a:lnTo>
                    <a:pt x="1865" y="2176"/>
                  </a:lnTo>
                  <a:lnTo>
                    <a:pt x="1861" y="2169"/>
                  </a:lnTo>
                  <a:lnTo>
                    <a:pt x="1849" y="2158"/>
                  </a:lnTo>
                  <a:lnTo>
                    <a:pt x="1844" y="2145"/>
                  </a:lnTo>
                  <a:lnTo>
                    <a:pt x="1840" y="2143"/>
                  </a:lnTo>
                  <a:lnTo>
                    <a:pt x="1835" y="2142"/>
                  </a:lnTo>
                  <a:lnTo>
                    <a:pt x="1825" y="2146"/>
                  </a:lnTo>
                  <a:lnTo>
                    <a:pt x="1822" y="2146"/>
                  </a:lnTo>
                  <a:lnTo>
                    <a:pt x="1818" y="2145"/>
                  </a:lnTo>
                  <a:lnTo>
                    <a:pt x="1815" y="2142"/>
                  </a:lnTo>
                  <a:lnTo>
                    <a:pt x="1815" y="2139"/>
                  </a:lnTo>
                  <a:lnTo>
                    <a:pt x="1814" y="2107"/>
                  </a:lnTo>
                  <a:lnTo>
                    <a:pt x="1815" y="2082"/>
                  </a:lnTo>
                  <a:lnTo>
                    <a:pt x="1816" y="2079"/>
                  </a:lnTo>
                  <a:lnTo>
                    <a:pt x="1821" y="2075"/>
                  </a:lnTo>
                  <a:lnTo>
                    <a:pt x="1838" y="2068"/>
                  </a:lnTo>
                  <a:lnTo>
                    <a:pt x="1854" y="2061"/>
                  </a:lnTo>
                  <a:lnTo>
                    <a:pt x="1859" y="2055"/>
                  </a:lnTo>
                  <a:lnTo>
                    <a:pt x="1866" y="2046"/>
                  </a:lnTo>
                  <a:lnTo>
                    <a:pt x="1852" y="2039"/>
                  </a:lnTo>
                  <a:lnTo>
                    <a:pt x="1847" y="2041"/>
                  </a:lnTo>
                  <a:lnTo>
                    <a:pt x="1837" y="2045"/>
                  </a:lnTo>
                  <a:lnTo>
                    <a:pt x="1830" y="2046"/>
                  </a:lnTo>
                  <a:lnTo>
                    <a:pt x="1818" y="2035"/>
                  </a:lnTo>
                  <a:lnTo>
                    <a:pt x="1815" y="2034"/>
                  </a:lnTo>
                  <a:lnTo>
                    <a:pt x="1804" y="2038"/>
                  </a:lnTo>
                  <a:lnTo>
                    <a:pt x="1782" y="2042"/>
                  </a:lnTo>
                  <a:lnTo>
                    <a:pt x="1775" y="2043"/>
                  </a:lnTo>
                  <a:lnTo>
                    <a:pt x="1767" y="2043"/>
                  </a:lnTo>
                  <a:lnTo>
                    <a:pt x="1750" y="2041"/>
                  </a:lnTo>
                  <a:lnTo>
                    <a:pt x="1735" y="2045"/>
                  </a:lnTo>
                  <a:lnTo>
                    <a:pt x="1730" y="2045"/>
                  </a:lnTo>
                  <a:lnTo>
                    <a:pt x="1721" y="2041"/>
                  </a:lnTo>
                  <a:lnTo>
                    <a:pt x="1708" y="2038"/>
                  </a:lnTo>
                  <a:lnTo>
                    <a:pt x="1706" y="2034"/>
                  </a:lnTo>
                  <a:lnTo>
                    <a:pt x="1704" y="2025"/>
                  </a:lnTo>
                  <a:lnTo>
                    <a:pt x="1702" y="2024"/>
                  </a:lnTo>
                  <a:lnTo>
                    <a:pt x="1700" y="2024"/>
                  </a:lnTo>
                  <a:lnTo>
                    <a:pt x="1695" y="2028"/>
                  </a:lnTo>
                  <a:lnTo>
                    <a:pt x="1693" y="2049"/>
                  </a:lnTo>
                  <a:lnTo>
                    <a:pt x="1690" y="2054"/>
                  </a:lnTo>
                  <a:lnTo>
                    <a:pt x="1681" y="2064"/>
                  </a:lnTo>
                  <a:lnTo>
                    <a:pt x="1679" y="2070"/>
                  </a:lnTo>
                  <a:lnTo>
                    <a:pt x="1688" y="2091"/>
                  </a:lnTo>
                  <a:lnTo>
                    <a:pt x="1697" y="2122"/>
                  </a:lnTo>
                  <a:lnTo>
                    <a:pt x="1700" y="2138"/>
                  </a:lnTo>
                  <a:lnTo>
                    <a:pt x="1698" y="2142"/>
                  </a:lnTo>
                  <a:lnTo>
                    <a:pt x="1692" y="2149"/>
                  </a:lnTo>
                  <a:lnTo>
                    <a:pt x="1681" y="2157"/>
                  </a:lnTo>
                  <a:lnTo>
                    <a:pt x="1651" y="2176"/>
                  </a:lnTo>
                  <a:lnTo>
                    <a:pt x="1642" y="2165"/>
                  </a:lnTo>
                  <a:lnTo>
                    <a:pt x="1633" y="2158"/>
                  </a:lnTo>
                  <a:lnTo>
                    <a:pt x="1626" y="2158"/>
                  </a:lnTo>
                  <a:lnTo>
                    <a:pt x="1617" y="2161"/>
                  </a:lnTo>
                  <a:lnTo>
                    <a:pt x="1607" y="2170"/>
                  </a:lnTo>
                  <a:lnTo>
                    <a:pt x="1591" y="2189"/>
                  </a:lnTo>
                  <a:lnTo>
                    <a:pt x="1577" y="2198"/>
                  </a:lnTo>
                  <a:lnTo>
                    <a:pt x="1571" y="2206"/>
                  </a:lnTo>
                  <a:lnTo>
                    <a:pt x="1568" y="2216"/>
                  </a:lnTo>
                  <a:lnTo>
                    <a:pt x="1567" y="2223"/>
                  </a:lnTo>
                  <a:lnTo>
                    <a:pt x="1568" y="2229"/>
                  </a:lnTo>
                  <a:lnTo>
                    <a:pt x="1571" y="2231"/>
                  </a:lnTo>
                  <a:lnTo>
                    <a:pt x="1577" y="2231"/>
                  </a:lnTo>
                  <a:lnTo>
                    <a:pt x="1579" y="2232"/>
                  </a:lnTo>
                  <a:lnTo>
                    <a:pt x="1581" y="2235"/>
                  </a:lnTo>
                  <a:lnTo>
                    <a:pt x="1583" y="2246"/>
                  </a:lnTo>
                  <a:lnTo>
                    <a:pt x="1585" y="2248"/>
                  </a:lnTo>
                  <a:lnTo>
                    <a:pt x="1590" y="2249"/>
                  </a:lnTo>
                  <a:lnTo>
                    <a:pt x="1601" y="2248"/>
                  </a:lnTo>
                  <a:lnTo>
                    <a:pt x="1602" y="2249"/>
                  </a:lnTo>
                  <a:lnTo>
                    <a:pt x="1602" y="2251"/>
                  </a:lnTo>
                  <a:lnTo>
                    <a:pt x="1602" y="2254"/>
                  </a:lnTo>
                  <a:lnTo>
                    <a:pt x="1588" y="2264"/>
                  </a:lnTo>
                  <a:lnTo>
                    <a:pt x="1582" y="2271"/>
                  </a:lnTo>
                  <a:lnTo>
                    <a:pt x="1581" y="2277"/>
                  </a:lnTo>
                  <a:lnTo>
                    <a:pt x="1581" y="2301"/>
                  </a:lnTo>
                  <a:lnTo>
                    <a:pt x="1577" y="2310"/>
                  </a:lnTo>
                  <a:lnTo>
                    <a:pt x="1568" y="2318"/>
                  </a:lnTo>
                  <a:lnTo>
                    <a:pt x="1529" y="2347"/>
                  </a:lnTo>
                  <a:lnTo>
                    <a:pt x="1516" y="2357"/>
                  </a:lnTo>
                  <a:lnTo>
                    <a:pt x="1511" y="2366"/>
                  </a:lnTo>
                  <a:lnTo>
                    <a:pt x="1512" y="2377"/>
                  </a:lnTo>
                  <a:lnTo>
                    <a:pt x="1511" y="2380"/>
                  </a:lnTo>
                  <a:lnTo>
                    <a:pt x="1495" y="2380"/>
                  </a:lnTo>
                  <a:lnTo>
                    <a:pt x="1492" y="2383"/>
                  </a:lnTo>
                  <a:lnTo>
                    <a:pt x="1478" y="2402"/>
                  </a:lnTo>
                  <a:lnTo>
                    <a:pt x="1463" y="2430"/>
                  </a:lnTo>
                  <a:lnTo>
                    <a:pt x="1457" y="2431"/>
                  </a:lnTo>
                  <a:lnTo>
                    <a:pt x="1444" y="2429"/>
                  </a:lnTo>
                  <a:lnTo>
                    <a:pt x="1437" y="2430"/>
                  </a:lnTo>
                  <a:lnTo>
                    <a:pt x="1420" y="2441"/>
                  </a:lnTo>
                  <a:lnTo>
                    <a:pt x="1415" y="2438"/>
                  </a:lnTo>
                  <a:lnTo>
                    <a:pt x="1409" y="2427"/>
                  </a:lnTo>
                  <a:lnTo>
                    <a:pt x="1407" y="2424"/>
                  </a:lnTo>
                  <a:lnTo>
                    <a:pt x="1402" y="2432"/>
                  </a:lnTo>
                  <a:lnTo>
                    <a:pt x="1396" y="2448"/>
                  </a:lnTo>
                  <a:lnTo>
                    <a:pt x="1390" y="2462"/>
                  </a:lnTo>
                  <a:lnTo>
                    <a:pt x="1388" y="2472"/>
                  </a:lnTo>
                  <a:lnTo>
                    <a:pt x="1388" y="2484"/>
                  </a:lnTo>
                  <a:lnTo>
                    <a:pt x="1391" y="2508"/>
                  </a:lnTo>
                  <a:lnTo>
                    <a:pt x="1391" y="2517"/>
                  </a:lnTo>
                  <a:lnTo>
                    <a:pt x="1379" y="2553"/>
                  </a:lnTo>
                  <a:lnTo>
                    <a:pt x="1381" y="2569"/>
                  </a:lnTo>
                  <a:lnTo>
                    <a:pt x="1382" y="2585"/>
                  </a:lnTo>
                  <a:lnTo>
                    <a:pt x="1385" y="2596"/>
                  </a:lnTo>
                  <a:lnTo>
                    <a:pt x="1387" y="2603"/>
                  </a:lnTo>
                  <a:lnTo>
                    <a:pt x="1401" y="2626"/>
                  </a:lnTo>
                  <a:lnTo>
                    <a:pt x="1404" y="2640"/>
                  </a:lnTo>
                  <a:lnTo>
                    <a:pt x="1407" y="2662"/>
                  </a:lnTo>
                  <a:lnTo>
                    <a:pt x="1405" y="2686"/>
                  </a:lnTo>
                  <a:lnTo>
                    <a:pt x="1405" y="2691"/>
                  </a:lnTo>
                  <a:lnTo>
                    <a:pt x="1409" y="2699"/>
                  </a:lnTo>
                  <a:lnTo>
                    <a:pt x="1420" y="2714"/>
                  </a:lnTo>
                  <a:lnTo>
                    <a:pt x="1421" y="2722"/>
                  </a:lnTo>
                  <a:lnTo>
                    <a:pt x="1420" y="2725"/>
                  </a:lnTo>
                  <a:lnTo>
                    <a:pt x="1418" y="2727"/>
                  </a:lnTo>
                  <a:lnTo>
                    <a:pt x="1404" y="2729"/>
                  </a:lnTo>
                  <a:lnTo>
                    <a:pt x="1401" y="2731"/>
                  </a:lnTo>
                  <a:lnTo>
                    <a:pt x="1398" y="2767"/>
                  </a:lnTo>
                  <a:lnTo>
                    <a:pt x="1396" y="2776"/>
                  </a:lnTo>
                  <a:lnTo>
                    <a:pt x="1392" y="2782"/>
                  </a:lnTo>
                  <a:lnTo>
                    <a:pt x="1388" y="2784"/>
                  </a:lnTo>
                  <a:lnTo>
                    <a:pt x="1381" y="2785"/>
                  </a:lnTo>
                  <a:lnTo>
                    <a:pt x="1373" y="2783"/>
                  </a:lnTo>
                  <a:lnTo>
                    <a:pt x="1366" y="2778"/>
                  </a:lnTo>
                  <a:lnTo>
                    <a:pt x="1363" y="2778"/>
                  </a:lnTo>
                  <a:lnTo>
                    <a:pt x="1361" y="2779"/>
                  </a:lnTo>
                  <a:lnTo>
                    <a:pt x="1348" y="2787"/>
                  </a:lnTo>
                  <a:lnTo>
                    <a:pt x="1327" y="2798"/>
                  </a:lnTo>
                  <a:lnTo>
                    <a:pt x="1321" y="2803"/>
                  </a:lnTo>
                  <a:lnTo>
                    <a:pt x="1310" y="2818"/>
                  </a:lnTo>
                  <a:lnTo>
                    <a:pt x="1306" y="2820"/>
                  </a:lnTo>
                  <a:lnTo>
                    <a:pt x="1302" y="2821"/>
                  </a:lnTo>
                  <a:lnTo>
                    <a:pt x="1297" y="2819"/>
                  </a:lnTo>
                  <a:lnTo>
                    <a:pt x="1291" y="2816"/>
                  </a:lnTo>
                  <a:lnTo>
                    <a:pt x="1284" y="2809"/>
                  </a:lnTo>
                  <a:lnTo>
                    <a:pt x="1281" y="2805"/>
                  </a:lnTo>
                  <a:lnTo>
                    <a:pt x="1281" y="2799"/>
                  </a:lnTo>
                  <a:lnTo>
                    <a:pt x="1287" y="2790"/>
                  </a:lnTo>
                  <a:lnTo>
                    <a:pt x="1289" y="2784"/>
                  </a:lnTo>
                  <a:lnTo>
                    <a:pt x="1289" y="2781"/>
                  </a:lnTo>
                  <a:lnTo>
                    <a:pt x="1287" y="2776"/>
                  </a:lnTo>
                  <a:lnTo>
                    <a:pt x="1283" y="2773"/>
                  </a:lnTo>
                  <a:lnTo>
                    <a:pt x="1276" y="2769"/>
                  </a:lnTo>
                  <a:lnTo>
                    <a:pt x="1272" y="2768"/>
                  </a:lnTo>
                  <a:lnTo>
                    <a:pt x="1267" y="2768"/>
                  </a:lnTo>
                  <a:lnTo>
                    <a:pt x="1243" y="2779"/>
                  </a:lnTo>
                  <a:lnTo>
                    <a:pt x="1219" y="2786"/>
                  </a:lnTo>
                  <a:lnTo>
                    <a:pt x="1213" y="2789"/>
                  </a:lnTo>
                  <a:lnTo>
                    <a:pt x="1205" y="2798"/>
                  </a:lnTo>
                  <a:lnTo>
                    <a:pt x="1199" y="2802"/>
                  </a:lnTo>
                  <a:lnTo>
                    <a:pt x="1193" y="2804"/>
                  </a:lnTo>
                  <a:lnTo>
                    <a:pt x="1182" y="2806"/>
                  </a:lnTo>
                  <a:lnTo>
                    <a:pt x="1176" y="2809"/>
                  </a:lnTo>
                  <a:lnTo>
                    <a:pt x="1165" y="2820"/>
                  </a:lnTo>
                  <a:lnTo>
                    <a:pt x="1141" y="2836"/>
                  </a:lnTo>
                  <a:lnTo>
                    <a:pt x="1129" y="2851"/>
                  </a:lnTo>
                  <a:lnTo>
                    <a:pt x="1114" y="2845"/>
                  </a:lnTo>
                  <a:lnTo>
                    <a:pt x="1092" y="2842"/>
                  </a:lnTo>
                  <a:lnTo>
                    <a:pt x="1080" y="2838"/>
                  </a:lnTo>
                  <a:lnTo>
                    <a:pt x="1075" y="2840"/>
                  </a:lnTo>
                  <a:lnTo>
                    <a:pt x="1057" y="2852"/>
                  </a:lnTo>
                  <a:lnTo>
                    <a:pt x="1053" y="2853"/>
                  </a:lnTo>
                  <a:lnTo>
                    <a:pt x="1049" y="2853"/>
                  </a:lnTo>
                  <a:lnTo>
                    <a:pt x="1045" y="2850"/>
                  </a:lnTo>
                  <a:lnTo>
                    <a:pt x="1042" y="2845"/>
                  </a:lnTo>
                  <a:lnTo>
                    <a:pt x="1036" y="2819"/>
                  </a:lnTo>
                  <a:lnTo>
                    <a:pt x="1027" y="2802"/>
                  </a:lnTo>
                  <a:lnTo>
                    <a:pt x="1023" y="2799"/>
                  </a:lnTo>
                  <a:lnTo>
                    <a:pt x="1017" y="2798"/>
                  </a:lnTo>
                  <a:lnTo>
                    <a:pt x="990" y="2796"/>
                  </a:lnTo>
                  <a:lnTo>
                    <a:pt x="987" y="2794"/>
                  </a:lnTo>
                  <a:lnTo>
                    <a:pt x="984" y="2785"/>
                  </a:lnTo>
                  <a:lnTo>
                    <a:pt x="978" y="2775"/>
                  </a:lnTo>
                  <a:lnTo>
                    <a:pt x="977" y="2770"/>
                  </a:lnTo>
                  <a:lnTo>
                    <a:pt x="977" y="2766"/>
                  </a:lnTo>
                  <a:lnTo>
                    <a:pt x="981" y="2764"/>
                  </a:lnTo>
                  <a:lnTo>
                    <a:pt x="986" y="2762"/>
                  </a:lnTo>
                  <a:lnTo>
                    <a:pt x="1001" y="2766"/>
                  </a:lnTo>
                  <a:lnTo>
                    <a:pt x="1003" y="2763"/>
                  </a:lnTo>
                  <a:lnTo>
                    <a:pt x="1003" y="2760"/>
                  </a:lnTo>
                  <a:lnTo>
                    <a:pt x="1000" y="2749"/>
                  </a:lnTo>
                  <a:lnTo>
                    <a:pt x="985" y="2722"/>
                  </a:lnTo>
                  <a:lnTo>
                    <a:pt x="978" y="2717"/>
                  </a:lnTo>
                  <a:lnTo>
                    <a:pt x="969" y="2707"/>
                  </a:lnTo>
                  <a:lnTo>
                    <a:pt x="954" y="2698"/>
                  </a:lnTo>
                  <a:lnTo>
                    <a:pt x="937" y="2685"/>
                  </a:lnTo>
                  <a:lnTo>
                    <a:pt x="927" y="2680"/>
                  </a:lnTo>
                  <a:lnTo>
                    <a:pt x="927" y="2668"/>
                  </a:lnTo>
                  <a:lnTo>
                    <a:pt x="930" y="2661"/>
                  </a:lnTo>
                  <a:lnTo>
                    <a:pt x="934" y="2657"/>
                  </a:lnTo>
                  <a:lnTo>
                    <a:pt x="940" y="2656"/>
                  </a:lnTo>
                  <a:lnTo>
                    <a:pt x="945" y="2653"/>
                  </a:lnTo>
                  <a:lnTo>
                    <a:pt x="954" y="2643"/>
                  </a:lnTo>
                  <a:lnTo>
                    <a:pt x="956" y="2640"/>
                  </a:lnTo>
                  <a:lnTo>
                    <a:pt x="956" y="2635"/>
                  </a:lnTo>
                  <a:lnTo>
                    <a:pt x="951" y="2629"/>
                  </a:lnTo>
                  <a:lnTo>
                    <a:pt x="968" y="2612"/>
                  </a:lnTo>
                  <a:lnTo>
                    <a:pt x="969" y="2611"/>
                  </a:lnTo>
                  <a:lnTo>
                    <a:pt x="969" y="2608"/>
                  </a:lnTo>
                  <a:lnTo>
                    <a:pt x="967" y="2606"/>
                  </a:lnTo>
                  <a:lnTo>
                    <a:pt x="964" y="2604"/>
                  </a:lnTo>
                  <a:lnTo>
                    <a:pt x="954" y="2601"/>
                  </a:lnTo>
                  <a:lnTo>
                    <a:pt x="952" y="2602"/>
                  </a:lnTo>
                  <a:lnTo>
                    <a:pt x="951" y="2613"/>
                  </a:lnTo>
                  <a:lnTo>
                    <a:pt x="949" y="2616"/>
                  </a:lnTo>
                  <a:lnTo>
                    <a:pt x="942" y="2617"/>
                  </a:lnTo>
                  <a:lnTo>
                    <a:pt x="935" y="2616"/>
                  </a:lnTo>
                  <a:lnTo>
                    <a:pt x="931" y="2613"/>
                  </a:lnTo>
                  <a:lnTo>
                    <a:pt x="928" y="2610"/>
                  </a:lnTo>
                  <a:lnTo>
                    <a:pt x="927" y="2606"/>
                  </a:lnTo>
                  <a:lnTo>
                    <a:pt x="927" y="2603"/>
                  </a:lnTo>
                  <a:lnTo>
                    <a:pt x="938" y="2582"/>
                  </a:lnTo>
                  <a:lnTo>
                    <a:pt x="940" y="2574"/>
                  </a:lnTo>
                  <a:lnTo>
                    <a:pt x="940" y="2571"/>
                  </a:lnTo>
                  <a:lnTo>
                    <a:pt x="938" y="2567"/>
                  </a:lnTo>
                  <a:lnTo>
                    <a:pt x="933" y="2563"/>
                  </a:lnTo>
                  <a:lnTo>
                    <a:pt x="917" y="2554"/>
                  </a:lnTo>
                  <a:lnTo>
                    <a:pt x="910" y="2550"/>
                  </a:lnTo>
                  <a:lnTo>
                    <a:pt x="903" y="2527"/>
                  </a:lnTo>
                  <a:lnTo>
                    <a:pt x="887" y="2516"/>
                  </a:lnTo>
                  <a:lnTo>
                    <a:pt x="878" y="2503"/>
                  </a:lnTo>
                  <a:lnTo>
                    <a:pt x="877" y="2500"/>
                  </a:lnTo>
                  <a:lnTo>
                    <a:pt x="879" y="2486"/>
                  </a:lnTo>
                  <a:lnTo>
                    <a:pt x="878" y="2461"/>
                  </a:lnTo>
                  <a:lnTo>
                    <a:pt x="871" y="2450"/>
                  </a:lnTo>
                  <a:lnTo>
                    <a:pt x="855" y="2446"/>
                  </a:lnTo>
                  <a:lnTo>
                    <a:pt x="852" y="2444"/>
                  </a:lnTo>
                  <a:lnTo>
                    <a:pt x="851" y="2440"/>
                  </a:lnTo>
                  <a:lnTo>
                    <a:pt x="852" y="2426"/>
                  </a:lnTo>
                  <a:lnTo>
                    <a:pt x="852" y="2421"/>
                  </a:lnTo>
                  <a:lnTo>
                    <a:pt x="844" y="2409"/>
                  </a:lnTo>
                  <a:lnTo>
                    <a:pt x="840" y="2396"/>
                  </a:lnTo>
                  <a:lnTo>
                    <a:pt x="831" y="2383"/>
                  </a:lnTo>
                  <a:lnTo>
                    <a:pt x="828" y="2371"/>
                  </a:lnTo>
                  <a:lnTo>
                    <a:pt x="825" y="2365"/>
                  </a:lnTo>
                  <a:lnTo>
                    <a:pt x="821" y="2359"/>
                  </a:lnTo>
                  <a:lnTo>
                    <a:pt x="816" y="2358"/>
                  </a:lnTo>
                  <a:lnTo>
                    <a:pt x="814" y="2355"/>
                  </a:lnTo>
                  <a:lnTo>
                    <a:pt x="813" y="2347"/>
                  </a:lnTo>
                  <a:lnTo>
                    <a:pt x="816" y="2338"/>
                  </a:lnTo>
                  <a:lnTo>
                    <a:pt x="815" y="2335"/>
                  </a:lnTo>
                  <a:lnTo>
                    <a:pt x="814" y="2334"/>
                  </a:lnTo>
                  <a:lnTo>
                    <a:pt x="805" y="2334"/>
                  </a:lnTo>
                  <a:lnTo>
                    <a:pt x="803" y="2334"/>
                  </a:lnTo>
                  <a:lnTo>
                    <a:pt x="804" y="2328"/>
                  </a:lnTo>
                  <a:lnTo>
                    <a:pt x="812" y="2315"/>
                  </a:lnTo>
                  <a:lnTo>
                    <a:pt x="813" y="2308"/>
                  </a:lnTo>
                  <a:lnTo>
                    <a:pt x="811" y="2306"/>
                  </a:lnTo>
                  <a:lnTo>
                    <a:pt x="806" y="2305"/>
                  </a:lnTo>
                  <a:lnTo>
                    <a:pt x="798" y="2307"/>
                  </a:lnTo>
                  <a:lnTo>
                    <a:pt x="797" y="2304"/>
                  </a:lnTo>
                  <a:lnTo>
                    <a:pt x="797" y="2289"/>
                  </a:lnTo>
                  <a:lnTo>
                    <a:pt x="786" y="2286"/>
                  </a:lnTo>
                  <a:lnTo>
                    <a:pt x="784" y="2285"/>
                  </a:lnTo>
                  <a:lnTo>
                    <a:pt x="767" y="2235"/>
                  </a:lnTo>
                  <a:lnTo>
                    <a:pt x="761" y="2211"/>
                  </a:lnTo>
                  <a:lnTo>
                    <a:pt x="758" y="2206"/>
                  </a:lnTo>
                  <a:lnTo>
                    <a:pt x="756" y="2204"/>
                  </a:lnTo>
                  <a:lnTo>
                    <a:pt x="753" y="2204"/>
                  </a:lnTo>
                  <a:lnTo>
                    <a:pt x="744" y="2207"/>
                  </a:lnTo>
                  <a:lnTo>
                    <a:pt x="735" y="2215"/>
                  </a:lnTo>
                  <a:lnTo>
                    <a:pt x="723" y="2229"/>
                  </a:lnTo>
                  <a:lnTo>
                    <a:pt x="718" y="2232"/>
                  </a:lnTo>
                  <a:lnTo>
                    <a:pt x="715" y="2231"/>
                  </a:lnTo>
                  <a:lnTo>
                    <a:pt x="712" y="2229"/>
                  </a:lnTo>
                  <a:lnTo>
                    <a:pt x="700" y="2213"/>
                  </a:lnTo>
                  <a:lnTo>
                    <a:pt x="697" y="2212"/>
                  </a:lnTo>
                  <a:lnTo>
                    <a:pt x="693" y="2212"/>
                  </a:lnTo>
                  <a:lnTo>
                    <a:pt x="685" y="2217"/>
                  </a:lnTo>
                  <a:lnTo>
                    <a:pt x="678" y="2226"/>
                  </a:lnTo>
                  <a:lnTo>
                    <a:pt x="670" y="2239"/>
                  </a:lnTo>
                  <a:lnTo>
                    <a:pt x="666" y="2249"/>
                  </a:lnTo>
                  <a:lnTo>
                    <a:pt x="661" y="2247"/>
                  </a:lnTo>
                  <a:lnTo>
                    <a:pt x="657" y="2247"/>
                  </a:lnTo>
                  <a:lnTo>
                    <a:pt x="654" y="2250"/>
                  </a:lnTo>
                  <a:lnTo>
                    <a:pt x="651" y="2258"/>
                  </a:lnTo>
                  <a:lnTo>
                    <a:pt x="649" y="2260"/>
                  </a:lnTo>
                  <a:lnTo>
                    <a:pt x="646" y="2249"/>
                  </a:lnTo>
                  <a:lnTo>
                    <a:pt x="641" y="2228"/>
                  </a:lnTo>
                  <a:lnTo>
                    <a:pt x="645" y="2217"/>
                  </a:lnTo>
                  <a:lnTo>
                    <a:pt x="645" y="2213"/>
                  </a:lnTo>
                  <a:lnTo>
                    <a:pt x="637" y="2207"/>
                  </a:lnTo>
                  <a:lnTo>
                    <a:pt x="627" y="2203"/>
                  </a:lnTo>
                  <a:lnTo>
                    <a:pt x="619" y="2199"/>
                  </a:lnTo>
                  <a:lnTo>
                    <a:pt x="610" y="2190"/>
                  </a:lnTo>
                  <a:lnTo>
                    <a:pt x="597" y="2160"/>
                  </a:lnTo>
                  <a:lnTo>
                    <a:pt x="580" y="2125"/>
                  </a:lnTo>
                  <a:lnTo>
                    <a:pt x="581" y="2114"/>
                  </a:lnTo>
                  <a:lnTo>
                    <a:pt x="582" y="2103"/>
                  </a:lnTo>
                  <a:lnTo>
                    <a:pt x="587" y="2097"/>
                  </a:lnTo>
                  <a:lnTo>
                    <a:pt x="600" y="2093"/>
                  </a:lnTo>
                  <a:lnTo>
                    <a:pt x="619" y="2087"/>
                  </a:lnTo>
                  <a:lnTo>
                    <a:pt x="623" y="2077"/>
                  </a:lnTo>
                  <a:lnTo>
                    <a:pt x="617" y="2062"/>
                  </a:lnTo>
                  <a:lnTo>
                    <a:pt x="619" y="2059"/>
                  </a:lnTo>
                  <a:lnTo>
                    <a:pt x="626" y="2053"/>
                  </a:lnTo>
                  <a:lnTo>
                    <a:pt x="627" y="2050"/>
                  </a:lnTo>
                  <a:lnTo>
                    <a:pt x="622" y="2045"/>
                  </a:lnTo>
                  <a:lnTo>
                    <a:pt x="594" y="2030"/>
                  </a:lnTo>
                  <a:lnTo>
                    <a:pt x="595" y="2020"/>
                  </a:lnTo>
                  <a:lnTo>
                    <a:pt x="594" y="2017"/>
                  </a:lnTo>
                  <a:lnTo>
                    <a:pt x="591" y="2013"/>
                  </a:lnTo>
                  <a:lnTo>
                    <a:pt x="582" y="2006"/>
                  </a:lnTo>
                  <a:lnTo>
                    <a:pt x="579" y="2001"/>
                  </a:lnTo>
                  <a:lnTo>
                    <a:pt x="573" y="1976"/>
                  </a:lnTo>
                  <a:lnTo>
                    <a:pt x="569" y="1964"/>
                  </a:lnTo>
                  <a:lnTo>
                    <a:pt x="562" y="1960"/>
                  </a:lnTo>
                  <a:lnTo>
                    <a:pt x="551" y="1957"/>
                  </a:lnTo>
                  <a:lnTo>
                    <a:pt x="544" y="1953"/>
                  </a:lnTo>
                  <a:lnTo>
                    <a:pt x="541" y="1933"/>
                  </a:lnTo>
                  <a:lnTo>
                    <a:pt x="534" y="1925"/>
                  </a:lnTo>
                  <a:lnTo>
                    <a:pt x="518" y="1915"/>
                  </a:lnTo>
                  <a:lnTo>
                    <a:pt x="513" y="1909"/>
                  </a:lnTo>
                  <a:lnTo>
                    <a:pt x="512" y="1906"/>
                  </a:lnTo>
                  <a:lnTo>
                    <a:pt x="512" y="1899"/>
                  </a:lnTo>
                  <a:lnTo>
                    <a:pt x="516" y="1874"/>
                  </a:lnTo>
                  <a:lnTo>
                    <a:pt x="515" y="1868"/>
                  </a:lnTo>
                  <a:lnTo>
                    <a:pt x="512" y="1868"/>
                  </a:lnTo>
                  <a:lnTo>
                    <a:pt x="502" y="1874"/>
                  </a:lnTo>
                  <a:lnTo>
                    <a:pt x="486" y="1876"/>
                  </a:lnTo>
                  <a:lnTo>
                    <a:pt x="482" y="1884"/>
                  </a:lnTo>
                  <a:lnTo>
                    <a:pt x="477" y="1897"/>
                  </a:lnTo>
                  <a:lnTo>
                    <a:pt x="473" y="1901"/>
                  </a:lnTo>
                  <a:lnTo>
                    <a:pt x="456" y="1911"/>
                  </a:lnTo>
                  <a:lnTo>
                    <a:pt x="454" y="1919"/>
                  </a:lnTo>
                  <a:lnTo>
                    <a:pt x="453" y="1930"/>
                  </a:lnTo>
                  <a:lnTo>
                    <a:pt x="451" y="1934"/>
                  </a:lnTo>
                  <a:lnTo>
                    <a:pt x="442" y="1937"/>
                  </a:lnTo>
                  <a:lnTo>
                    <a:pt x="429" y="1956"/>
                  </a:lnTo>
                  <a:lnTo>
                    <a:pt x="414" y="1959"/>
                  </a:lnTo>
                  <a:lnTo>
                    <a:pt x="411" y="1962"/>
                  </a:lnTo>
                  <a:lnTo>
                    <a:pt x="410" y="1969"/>
                  </a:lnTo>
                  <a:lnTo>
                    <a:pt x="417" y="1982"/>
                  </a:lnTo>
                  <a:lnTo>
                    <a:pt x="415" y="1990"/>
                  </a:lnTo>
                  <a:lnTo>
                    <a:pt x="412" y="1997"/>
                  </a:lnTo>
                  <a:lnTo>
                    <a:pt x="412" y="1999"/>
                  </a:lnTo>
                  <a:lnTo>
                    <a:pt x="413" y="2003"/>
                  </a:lnTo>
                  <a:lnTo>
                    <a:pt x="418" y="2008"/>
                  </a:lnTo>
                  <a:lnTo>
                    <a:pt x="418" y="2010"/>
                  </a:lnTo>
                  <a:lnTo>
                    <a:pt x="417" y="2013"/>
                  </a:lnTo>
                  <a:lnTo>
                    <a:pt x="405" y="2026"/>
                  </a:lnTo>
                  <a:lnTo>
                    <a:pt x="400" y="2032"/>
                  </a:lnTo>
                  <a:lnTo>
                    <a:pt x="400" y="2036"/>
                  </a:lnTo>
                  <a:lnTo>
                    <a:pt x="404" y="2042"/>
                  </a:lnTo>
                  <a:lnTo>
                    <a:pt x="406" y="2049"/>
                  </a:lnTo>
                  <a:lnTo>
                    <a:pt x="399" y="2071"/>
                  </a:lnTo>
                  <a:lnTo>
                    <a:pt x="397" y="2090"/>
                  </a:lnTo>
                  <a:lnTo>
                    <a:pt x="395" y="2090"/>
                  </a:lnTo>
                  <a:lnTo>
                    <a:pt x="389" y="2081"/>
                  </a:lnTo>
                  <a:lnTo>
                    <a:pt x="372" y="2061"/>
                  </a:lnTo>
                  <a:lnTo>
                    <a:pt x="370" y="2057"/>
                  </a:lnTo>
                  <a:lnTo>
                    <a:pt x="370" y="2048"/>
                  </a:lnTo>
                  <a:lnTo>
                    <a:pt x="366" y="2041"/>
                  </a:lnTo>
                  <a:lnTo>
                    <a:pt x="357" y="2027"/>
                  </a:lnTo>
                  <a:lnTo>
                    <a:pt x="344" y="2007"/>
                  </a:lnTo>
                  <a:lnTo>
                    <a:pt x="339" y="1992"/>
                  </a:lnTo>
                  <a:lnTo>
                    <a:pt x="343" y="1977"/>
                  </a:lnTo>
                  <a:lnTo>
                    <a:pt x="344" y="1928"/>
                  </a:lnTo>
                  <a:lnTo>
                    <a:pt x="337" y="1898"/>
                  </a:lnTo>
                  <a:lnTo>
                    <a:pt x="335" y="1862"/>
                  </a:lnTo>
                  <a:lnTo>
                    <a:pt x="337" y="1845"/>
                  </a:lnTo>
                  <a:lnTo>
                    <a:pt x="342" y="1826"/>
                  </a:lnTo>
                  <a:lnTo>
                    <a:pt x="344" y="1816"/>
                  </a:lnTo>
                  <a:lnTo>
                    <a:pt x="346" y="1777"/>
                  </a:lnTo>
                  <a:lnTo>
                    <a:pt x="350" y="1728"/>
                  </a:lnTo>
                  <a:lnTo>
                    <a:pt x="350" y="1716"/>
                  </a:lnTo>
                  <a:lnTo>
                    <a:pt x="350" y="1716"/>
                  </a:lnTo>
                  <a:lnTo>
                    <a:pt x="344" y="1692"/>
                  </a:lnTo>
                  <a:lnTo>
                    <a:pt x="343" y="1682"/>
                  </a:lnTo>
                  <a:lnTo>
                    <a:pt x="342" y="1614"/>
                  </a:lnTo>
                  <a:lnTo>
                    <a:pt x="340" y="1599"/>
                  </a:lnTo>
                  <a:lnTo>
                    <a:pt x="335" y="1580"/>
                  </a:lnTo>
                  <a:lnTo>
                    <a:pt x="334" y="1567"/>
                  </a:lnTo>
                  <a:lnTo>
                    <a:pt x="336" y="1552"/>
                  </a:lnTo>
                  <a:lnTo>
                    <a:pt x="339" y="1539"/>
                  </a:lnTo>
                  <a:lnTo>
                    <a:pt x="347" y="1516"/>
                  </a:lnTo>
                  <a:lnTo>
                    <a:pt x="359" y="1491"/>
                  </a:lnTo>
                  <a:lnTo>
                    <a:pt x="361" y="1481"/>
                  </a:lnTo>
                  <a:lnTo>
                    <a:pt x="359" y="1426"/>
                  </a:lnTo>
                  <a:lnTo>
                    <a:pt x="355" y="1412"/>
                  </a:lnTo>
                  <a:lnTo>
                    <a:pt x="351" y="1403"/>
                  </a:lnTo>
                  <a:lnTo>
                    <a:pt x="350" y="1395"/>
                  </a:lnTo>
                  <a:lnTo>
                    <a:pt x="350" y="1380"/>
                  </a:lnTo>
                  <a:lnTo>
                    <a:pt x="353" y="1334"/>
                  </a:lnTo>
                  <a:lnTo>
                    <a:pt x="353" y="1317"/>
                  </a:lnTo>
                  <a:lnTo>
                    <a:pt x="352" y="1302"/>
                  </a:lnTo>
                  <a:lnTo>
                    <a:pt x="346" y="1274"/>
                  </a:lnTo>
                  <a:lnTo>
                    <a:pt x="347" y="1249"/>
                  </a:lnTo>
                  <a:lnTo>
                    <a:pt x="345" y="1227"/>
                  </a:lnTo>
                  <a:lnTo>
                    <a:pt x="346" y="1222"/>
                  </a:lnTo>
                  <a:lnTo>
                    <a:pt x="361" y="1209"/>
                  </a:lnTo>
                  <a:lnTo>
                    <a:pt x="363" y="1203"/>
                  </a:lnTo>
                  <a:lnTo>
                    <a:pt x="361" y="1198"/>
                  </a:lnTo>
                  <a:lnTo>
                    <a:pt x="357" y="1193"/>
                  </a:lnTo>
                  <a:lnTo>
                    <a:pt x="345" y="1188"/>
                  </a:lnTo>
                  <a:lnTo>
                    <a:pt x="335" y="1167"/>
                  </a:lnTo>
                  <a:lnTo>
                    <a:pt x="322" y="1155"/>
                  </a:lnTo>
                  <a:lnTo>
                    <a:pt x="319" y="1152"/>
                  </a:lnTo>
                  <a:lnTo>
                    <a:pt x="318" y="1147"/>
                  </a:lnTo>
                  <a:lnTo>
                    <a:pt x="328" y="1122"/>
                  </a:lnTo>
                  <a:lnTo>
                    <a:pt x="328" y="1116"/>
                  </a:lnTo>
                  <a:lnTo>
                    <a:pt x="312" y="1098"/>
                  </a:lnTo>
                  <a:lnTo>
                    <a:pt x="309" y="1090"/>
                  </a:lnTo>
                  <a:lnTo>
                    <a:pt x="305" y="1074"/>
                  </a:lnTo>
                  <a:lnTo>
                    <a:pt x="300" y="1065"/>
                  </a:lnTo>
                  <a:lnTo>
                    <a:pt x="293" y="1057"/>
                  </a:lnTo>
                  <a:lnTo>
                    <a:pt x="280" y="1046"/>
                  </a:lnTo>
                  <a:lnTo>
                    <a:pt x="283" y="1036"/>
                  </a:lnTo>
                  <a:lnTo>
                    <a:pt x="282" y="1026"/>
                  </a:lnTo>
                  <a:lnTo>
                    <a:pt x="284" y="1015"/>
                  </a:lnTo>
                  <a:lnTo>
                    <a:pt x="289" y="1004"/>
                  </a:lnTo>
                  <a:lnTo>
                    <a:pt x="294" y="996"/>
                  </a:lnTo>
                  <a:lnTo>
                    <a:pt x="302" y="997"/>
                  </a:lnTo>
                  <a:lnTo>
                    <a:pt x="309" y="1001"/>
                  </a:lnTo>
                  <a:lnTo>
                    <a:pt x="316" y="1009"/>
                  </a:lnTo>
                  <a:lnTo>
                    <a:pt x="322" y="1023"/>
                  </a:lnTo>
                  <a:lnTo>
                    <a:pt x="324" y="1025"/>
                  </a:lnTo>
                  <a:lnTo>
                    <a:pt x="327" y="1025"/>
                  </a:lnTo>
                  <a:lnTo>
                    <a:pt x="336" y="1022"/>
                  </a:lnTo>
                  <a:lnTo>
                    <a:pt x="345" y="1009"/>
                  </a:lnTo>
                  <a:lnTo>
                    <a:pt x="360" y="997"/>
                  </a:lnTo>
                  <a:lnTo>
                    <a:pt x="364" y="991"/>
                  </a:lnTo>
                  <a:lnTo>
                    <a:pt x="354" y="976"/>
                  </a:lnTo>
                  <a:lnTo>
                    <a:pt x="324" y="942"/>
                  </a:lnTo>
                  <a:lnTo>
                    <a:pt x="290" y="898"/>
                  </a:lnTo>
                  <a:lnTo>
                    <a:pt x="285" y="886"/>
                  </a:lnTo>
                  <a:lnTo>
                    <a:pt x="280" y="868"/>
                  </a:lnTo>
                  <a:lnTo>
                    <a:pt x="275" y="857"/>
                  </a:lnTo>
                  <a:lnTo>
                    <a:pt x="253" y="817"/>
                  </a:lnTo>
                  <a:lnTo>
                    <a:pt x="250" y="810"/>
                  </a:lnTo>
                  <a:lnTo>
                    <a:pt x="250" y="805"/>
                  </a:lnTo>
                  <a:lnTo>
                    <a:pt x="260" y="784"/>
                  </a:lnTo>
                  <a:lnTo>
                    <a:pt x="261" y="775"/>
                  </a:lnTo>
                  <a:lnTo>
                    <a:pt x="261" y="769"/>
                  </a:lnTo>
                  <a:lnTo>
                    <a:pt x="252" y="746"/>
                  </a:lnTo>
                  <a:lnTo>
                    <a:pt x="235" y="722"/>
                  </a:lnTo>
                  <a:lnTo>
                    <a:pt x="224" y="694"/>
                  </a:lnTo>
                  <a:lnTo>
                    <a:pt x="216" y="680"/>
                  </a:lnTo>
                  <a:lnTo>
                    <a:pt x="214" y="667"/>
                  </a:lnTo>
                  <a:lnTo>
                    <a:pt x="213" y="647"/>
                  </a:lnTo>
                  <a:lnTo>
                    <a:pt x="210" y="642"/>
                  </a:lnTo>
                  <a:lnTo>
                    <a:pt x="206" y="636"/>
                  </a:lnTo>
                  <a:lnTo>
                    <a:pt x="188" y="627"/>
                  </a:lnTo>
                  <a:lnTo>
                    <a:pt x="171" y="612"/>
                  </a:lnTo>
                  <a:lnTo>
                    <a:pt x="152" y="609"/>
                  </a:lnTo>
                  <a:lnTo>
                    <a:pt x="143" y="605"/>
                  </a:lnTo>
                  <a:lnTo>
                    <a:pt x="127" y="591"/>
                  </a:lnTo>
                  <a:lnTo>
                    <a:pt x="116" y="581"/>
                  </a:lnTo>
                  <a:lnTo>
                    <a:pt x="101" y="571"/>
                  </a:lnTo>
                  <a:lnTo>
                    <a:pt x="90" y="565"/>
                  </a:lnTo>
                  <a:lnTo>
                    <a:pt x="90" y="565"/>
                  </a:lnTo>
                  <a:lnTo>
                    <a:pt x="90" y="565"/>
                  </a:lnTo>
                  <a:lnTo>
                    <a:pt x="90" y="565"/>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9" name="内蒙">
              <a:extLst>
                <a:ext uri="{FF2B5EF4-FFF2-40B4-BE49-F238E27FC236}">
                  <a16:creationId xmlns:a16="http://schemas.microsoft.com/office/drawing/2014/main" id="{1006A937-B22E-AA30-B388-D61AD9FC2E70}"/>
                </a:ext>
              </a:extLst>
            </p:cNvPr>
            <p:cNvSpPr>
              <a:spLocks/>
            </p:cNvSpPr>
            <p:nvPr/>
          </p:nvSpPr>
          <p:spPr bwMode="auto">
            <a:xfrm>
              <a:off x="4718051" y="325438"/>
              <a:ext cx="3465513" cy="2863850"/>
            </a:xfrm>
            <a:custGeom>
              <a:avLst/>
              <a:gdLst>
                <a:gd name="T0" fmla="*/ 2338 w 6548"/>
                <a:gd name="T1" fmla="*/ 4889 h 5411"/>
                <a:gd name="T2" fmla="*/ 2057 w 6548"/>
                <a:gd name="T3" fmla="*/ 4976 h 5411"/>
                <a:gd name="T4" fmla="*/ 1806 w 6548"/>
                <a:gd name="T5" fmla="*/ 5374 h 5411"/>
                <a:gd name="T6" fmla="*/ 1517 w 6548"/>
                <a:gd name="T7" fmla="*/ 4998 h 5411"/>
                <a:gd name="T8" fmla="*/ 1260 w 6548"/>
                <a:gd name="T9" fmla="*/ 4791 h 5411"/>
                <a:gd name="T10" fmla="*/ 878 w 6548"/>
                <a:gd name="T11" fmla="*/ 4856 h 5411"/>
                <a:gd name="T12" fmla="*/ 672 w 6548"/>
                <a:gd name="T13" fmla="*/ 4624 h 5411"/>
                <a:gd name="T14" fmla="*/ 667 w 6548"/>
                <a:gd name="T15" fmla="*/ 4260 h 5411"/>
                <a:gd name="T16" fmla="*/ 341 w 6548"/>
                <a:gd name="T17" fmla="*/ 4158 h 5411"/>
                <a:gd name="T18" fmla="*/ 125 w 6548"/>
                <a:gd name="T19" fmla="*/ 3817 h 5411"/>
                <a:gd name="T20" fmla="*/ 1119 w 6548"/>
                <a:gd name="T21" fmla="*/ 3651 h 5411"/>
                <a:gd name="T22" fmla="*/ 1784 w 6548"/>
                <a:gd name="T23" fmla="*/ 3986 h 5411"/>
                <a:gd name="T24" fmla="*/ 2669 w 6548"/>
                <a:gd name="T25" fmla="*/ 3740 h 5411"/>
                <a:gd name="T26" fmla="*/ 3354 w 6548"/>
                <a:gd name="T27" fmla="*/ 3453 h 5411"/>
                <a:gd name="T28" fmla="*/ 3512 w 6548"/>
                <a:gd name="T29" fmla="*/ 2916 h 5411"/>
                <a:gd name="T30" fmla="*/ 4149 w 6548"/>
                <a:gd name="T31" fmla="*/ 2804 h 5411"/>
                <a:gd name="T32" fmla="*/ 4658 w 6548"/>
                <a:gd name="T33" fmla="*/ 2391 h 5411"/>
                <a:gd name="T34" fmla="*/ 5124 w 6548"/>
                <a:gd name="T35" fmla="*/ 2221 h 5411"/>
                <a:gd name="T36" fmla="*/ 5279 w 6548"/>
                <a:gd name="T37" fmla="*/ 2024 h 5411"/>
                <a:gd name="T38" fmla="*/ 4769 w 6548"/>
                <a:gd name="T39" fmla="*/ 1940 h 5411"/>
                <a:gd name="T40" fmla="*/ 4409 w 6548"/>
                <a:gd name="T41" fmla="*/ 1746 h 5411"/>
                <a:gd name="T42" fmla="*/ 4913 w 6548"/>
                <a:gd name="T43" fmla="*/ 1236 h 5411"/>
                <a:gd name="T44" fmla="*/ 5190 w 6548"/>
                <a:gd name="T45" fmla="*/ 780 h 5411"/>
                <a:gd name="T46" fmla="*/ 5345 w 6548"/>
                <a:gd name="T47" fmla="*/ 329 h 5411"/>
                <a:gd name="T48" fmla="*/ 5459 w 6548"/>
                <a:gd name="T49" fmla="*/ 8 h 5411"/>
                <a:gd name="T50" fmla="*/ 5455 w 6548"/>
                <a:gd name="T51" fmla="*/ 262 h 5411"/>
                <a:gd name="T52" fmla="*/ 5712 w 6548"/>
                <a:gd name="T53" fmla="*/ 283 h 5411"/>
                <a:gd name="T54" fmla="*/ 5836 w 6548"/>
                <a:gd name="T55" fmla="*/ 494 h 5411"/>
                <a:gd name="T56" fmla="*/ 6107 w 6548"/>
                <a:gd name="T57" fmla="*/ 594 h 5411"/>
                <a:gd name="T58" fmla="*/ 6316 w 6548"/>
                <a:gd name="T59" fmla="*/ 426 h 5411"/>
                <a:gd name="T60" fmla="*/ 6515 w 6548"/>
                <a:gd name="T61" fmla="*/ 773 h 5411"/>
                <a:gd name="T62" fmla="*/ 6424 w 6548"/>
                <a:gd name="T63" fmla="*/ 1022 h 5411"/>
                <a:gd name="T64" fmla="*/ 6350 w 6548"/>
                <a:gd name="T65" fmla="*/ 1395 h 5411"/>
                <a:gd name="T66" fmla="*/ 6079 w 6548"/>
                <a:gd name="T67" fmla="*/ 1746 h 5411"/>
                <a:gd name="T68" fmla="*/ 6098 w 6548"/>
                <a:gd name="T69" fmla="*/ 2115 h 5411"/>
                <a:gd name="T70" fmla="*/ 6218 w 6548"/>
                <a:gd name="T71" fmla="*/ 2062 h 5411"/>
                <a:gd name="T72" fmla="*/ 6070 w 6548"/>
                <a:gd name="T73" fmla="*/ 2336 h 5411"/>
                <a:gd name="T74" fmla="*/ 5851 w 6548"/>
                <a:gd name="T75" fmla="*/ 2385 h 5411"/>
                <a:gd name="T76" fmla="*/ 5932 w 6548"/>
                <a:gd name="T77" fmla="*/ 2562 h 5411"/>
                <a:gd name="T78" fmla="*/ 5960 w 6548"/>
                <a:gd name="T79" fmla="*/ 2811 h 5411"/>
                <a:gd name="T80" fmla="*/ 6216 w 6548"/>
                <a:gd name="T81" fmla="*/ 2854 h 5411"/>
                <a:gd name="T82" fmla="*/ 6314 w 6548"/>
                <a:gd name="T83" fmla="*/ 3164 h 5411"/>
                <a:gd name="T84" fmla="*/ 6304 w 6548"/>
                <a:gd name="T85" fmla="*/ 3400 h 5411"/>
                <a:gd name="T86" fmla="*/ 6077 w 6548"/>
                <a:gd name="T87" fmla="*/ 3481 h 5411"/>
                <a:gd name="T88" fmla="*/ 5704 w 6548"/>
                <a:gd name="T89" fmla="*/ 3696 h 5411"/>
                <a:gd name="T90" fmla="*/ 5546 w 6548"/>
                <a:gd name="T91" fmla="*/ 3803 h 5411"/>
                <a:gd name="T92" fmla="*/ 5427 w 6548"/>
                <a:gd name="T93" fmla="*/ 3930 h 5411"/>
                <a:gd name="T94" fmla="*/ 5267 w 6548"/>
                <a:gd name="T95" fmla="*/ 4030 h 5411"/>
                <a:gd name="T96" fmla="*/ 5143 w 6548"/>
                <a:gd name="T97" fmla="*/ 3894 h 5411"/>
                <a:gd name="T98" fmla="*/ 5049 w 6548"/>
                <a:gd name="T99" fmla="*/ 3734 h 5411"/>
                <a:gd name="T100" fmla="*/ 4770 w 6548"/>
                <a:gd name="T101" fmla="*/ 3775 h 5411"/>
                <a:gd name="T102" fmla="*/ 4618 w 6548"/>
                <a:gd name="T103" fmla="*/ 3895 h 5411"/>
                <a:gd name="T104" fmla="*/ 4413 w 6548"/>
                <a:gd name="T105" fmla="*/ 3996 h 5411"/>
                <a:gd name="T106" fmla="*/ 4301 w 6548"/>
                <a:gd name="T107" fmla="*/ 3818 h 5411"/>
                <a:gd name="T108" fmla="*/ 4116 w 6548"/>
                <a:gd name="T109" fmla="*/ 4042 h 5411"/>
                <a:gd name="T110" fmla="*/ 4116 w 6548"/>
                <a:gd name="T111" fmla="*/ 4273 h 5411"/>
                <a:gd name="T112" fmla="*/ 3866 w 6548"/>
                <a:gd name="T113" fmla="*/ 4446 h 5411"/>
                <a:gd name="T114" fmla="*/ 3466 w 6548"/>
                <a:gd name="T115" fmla="*/ 4700 h 5411"/>
                <a:gd name="T116" fmla="*/ 3258 w 6548"/>
                <a:gd name="T117" fmla="*/ 4812 h 5411"/>
                <a:gd name="T118" fmla="*/ 3073 w 6548"/>
                <a:gd name="T119" fmla="*/ 4832 h 5411"/>
                <a:gd name="T120" fmla="*/ 2856 w 6548"/>
                <a:gd name="T121" fmla="*/ 5117 h 5411"/>
                <a:gd name="T122" fmla="*/ 2727 w 6548"/>
                <a:gd name="T123" fmla="*/ 5359 h 5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48" h="5411">
                  <a:moveTo>
                    <a:pt x="2499" y="5288"/>
                  </a:moveTo>
                  <a:lnTo>
                    <a:pt x="2481" y="5281"/>
                  </a:lnTo>
                  <a:lnTo>
                    <a:pt x="2468" y="5273"/>
                  </a:lnTo>
                  <a:lnTo>
                    <a:pt x="2461" y="5268"/>
                  </a:lnTo>
                  <a:lnTo>
                    <a:pt x="2452" y="5254"/>
                  </a:lnTo>
                  <a:lnTo>
                    <a:pt x="2437" y="5249"/>
                  </a:lnTo>
                  <a:lnTo>
                    <a:pt x="2434" y="5233"/>
                  </a:lnTo>
                  <a:lnTo>
                    <a:pt x="2421" y="5206"/>
                  </a:lnTo>
                  <a:lnTo>
                    <a:pt x="2408" y="5198"/>
                  </a:lnTo>
                  <a:lnTo>
                    <a:pt x="2395" y="5189"/>
                  </a:lnTo>
                  <a:lnTo>
                    <a:pt x="2386" y="5186"/>
                  </a:lnTo>
                  <a:lnTo>
                    <a:pt x="2349" y="5197"/>
                  </a:lnTo>
                  <a:lnTo>
                    <a:pt x="2342" y="5197"/>
                  </a:lnTo>
                  <a:lnTo>
                    <a:pt x="2332" y="5196"/>
                  </a:lnTo>
                  <a:lnTo>
                    <a:pt x="2277" y="5176"/>
                  </a:lnTo>
                  <a:lnTo>
                    <a:pt x="2247" y="5163"/>
                  </a:lnTo>
                  <a:lnTo>
                    <a:pt x="2226" y="5151"/>
                  </a:lnTo>
                  <a:lnTo>
                    <a:pt x="2221" y="5144"/>
                  </a:lnTo>
                  <a:lnTo>
                    <a:pt x="2218" y="5137"/>
                  </a:lnTo>
                  <a:lnTo>
                    <a:pt x="2218" y="5133"/>
                  </a:lnTo>
                  <a:lnTo>
                    <a:pt x="2240" y="5113"/>
                  </a:lnTo>
                  <a:lnTo>
                    <a:pt x="2246" y="5105"/>
                  </a:lnTo>
                  <a:lnTo>
                    <a:pt x="2249" y="5097"/>
                  </a:lnTo>
                  <a:lnTo>
                    <a:pt x="2253" y="5073"/>
                  </a:lnTo>
                  <a:lnTo>
                    <a:pt x="2263" y="5004"/>
                  </a:lnTo>
                  <a:lnTo>
                    <a:pt x="2266" y="4995"/>
                  </a:lnTo>
                  <a:lnTo>
                    <a:pt x="2277" y="4973"/>
                  </a:lnTo>
                  <a:lnTo>
                    <a:pt x="2299" y="4947"/>
                  </a:lnTo>
                  <a:lnTo>
                    <a:pt x="2318" y="4928"/>
                  </a:lnTo>
                  <a:lnTo>
                    <a:pt x="2330" y="4917"/>
                  </a:lnTo>
                  <a:lnTo>
                    <a:pt x="2335" y="4913"/>
                  </a:lnTo>
                  <a:lnTo>
                    <a:pt x="2336" y="4910"/>
                  </a:lnTo>
                  <a:lnTo>
                    <a:pt x="2338" y="4889"/>
                  </a:lnTo>
                  <a:lnTo>
                    <a:pt x="2339" y="4887"/>
                  </a:lnTo>
                  <a:lnTo>
                    <a:pt x="2316" y="4866"/>
                  </a:lnTo>
                  <a:lnTo>
                    <a:pt x="2311" y="4844"/>
                  </a:lnTo>
                  <a:lnTo>
                    <a:pt x="2305" y="4830"/>
                  </a:lnTo>
                  <a:lnTo>
                    <a:pt x="2302" y="4821"/>
                  </a:lnTo>
                  <a:lnTo>
                    <a:pt x="2302" y="4804"/>
                  </a:lnTo>
                  <a:lnTo>
                    <a:pt x="2298" y="4798"/>
                  </a:lnTo>
                  <a:lnTo>
                    <a:pt x="2293" y="4781"/>
                  </a:lnTo>
                  <a:lnTo>
                    <a:pt x="2291" y="4775"/>
                  </a:lnTo>
                  <a:lnTo>
                    <a:pt x="2283" y="4769"/>
                  </a:lnTo>
                  <a:lnTo>
                    <a:pt x="2250" y="4767"/>
                  </a:lnTo>
                  <a:lnTo>
                    <a:pt x="2244" y="4769"/>
                  </a:lnTo>
                  <a:lnTo>
                    <a:pt x="2239" y="4773"/>
                  </a:lnTo>
                  <a:lnTo>
                    <a:pt x="2229" y="4792"/>
                  </a:lnTo>
                  <a:lnTo>
                    <a:pt x="2223" y="4799"/>
                  </a:lnTo>
                  <a:lnTo>
                    <a:pt x="2205" y="4801"/>
                  </a:lnTo>
                  <a:lnTo>
                    <a:pt x="2176" y="4802"/>
                  </a:lnTo>
                  <a:lnTo>
                    <a:pt x="2169" y="4803"/>
                  </a:lnTo>
                  <a:lnTo>
                    <a:pt x="2166" y="4804"/>
                  </a:lnTo>
                  <a:lnTo>
                    <a:pt x="2164" y="4811"/>
                  </a:lnTo>
                  <a:lnTo>
                    <a:pt x="2161" y="4843"/>
                  </a:lnTo>
                  <a:lnTo>
                    <a:pt x="2157" y="4851"/>
                  </a:lnTo>
                  <a:lnTo>
                    <a:pt x="2154" y="4853"/>
                  </a:lnTo>
                  <a:lnTo>
                    <a:pt x="2150" y="4854"/>
                  </a:lnTo>
                  <a:lnTo>
                    <a:pt x="2137" y="4852"/>
                  </a:lnTo>
                  <a:lnTo>
                    <a:pt x="2130" y="4852"/>
                  </a:lnTo>
                  <a:lnTo>
                    <a:pt x="2126" y="4853"/>
                  </a:lnTo>
                  <a:lnTo>
                    <a:pt x="2122" y="4856"/>
                  </a:lnTo>
                  <a:lnTo>
                    <a:pt x="2106" y="4877"/>
                  </a:lnTo>
                  <a:lnTo>
                    <a:pt x="2095" y="4904"/>
                  </a:lnTo>
                  <a:lnTo>
                    <a:pt x="2063" y="4950"/>
                  </a:lnTo>
                  <a:lnTo>
                    <a:pt x="2059" y="4962"/>
                  </a:lnTo>
                  <a:lnTo>
                    <a:pt x="2057" y="4976"/>
                  </a:lnTo>
                  <a:lnTo>
                    <a:pt x="2052" y="4994"/>
                  </a:lnTo>
                  <a:lnTo>
                    <a:pt x="2043" y="5038"/>
                  </a:lnTo>
                  <a:lnTo>
                    <a:pt x="2039" y="5072"/>
                  </a:lnTo>
                  <a:lnTo>
                    <a:pt x="2039" y="5085"/>
                  </a:lnTo>
                  <a:lnTo>
                    <a:pt x="2046" y="5120"/>
                  </a:lnTo>
                  <a:lnTo>
                    <a:pt x="2046" y="5128"/>
                  </a:lnTo>
                  <a:lnTo>
                    <a:pt x="2043" y="5133"/>
                  </a:lnTo>
                  <a:lnTo>
                    <a:pt x="2040" y="5140"/>
                  </a:lnTo>
                  <a:lnTo>
                    <a:pt x="2028" y="5152"/>
                  </a:lnTo>
                  <a:lnTo>
                    <a:pt x="2021" y="5161"/>
                  </a:lnTo>
                  <a:lnTo>
                    <a:pt x="2017" y="5170"/>
                  </a:lnTo>
                  <a:lnTo>
                    <a:pt x="2015" y="5183"/>
                  </a:lnTo>
                  <a:lnTo>
                    <a:pt x="2016" y="5189"/>
                  </a:lnTo>
                  <a:lnTo>
                    <a:pt x="2021" y="5203"/>
                  </a:lnTo>
                  <a:lnTo>
                    <a:pt x="2035" y="5224"/>
                  </a:lnTo>
                  <a:lnTo>
                    <a:pt x="2036" y="5229"/>
                  </a:lnTo>
                  <a:lnTo>
                    <a:pt x="2035" y="5235"/>
                  </a:lnTo>
                  <a:lnTo>
                    <a:pt x="2032" y="5252"/>
                  </a:lnTo>
                  <a:lnTo>
                    <a:pt x="2027" y="5267"/>
                  </a:lnTo>
                  <a:lnTo>
                    <a:pt x="2017" y="5286"/>
                  </a:lnTo>
                  <a:lnTo>
                    <a:pt x="2009" y="5299"/>
                  </a:lnTo>
                  <a:lnTo>
                    <a:pt x="2004" y="5302"/>
                  </a:lnTo>
                  <a:lnTo>
                    <a:pt x="1999" y="5304"/>
                  </a:lnTo>
                  <a:lnTo>
                    <a:pt x="1993" y="5306"/>
                  </a:lnTo>
                  <a:lnTo>
                    <a:pt x="1981" y="5306"/>
                  </a:lnTo>
                  <a:lnTo>
                    <a:pt x="1975" y="5308"/>
                  </a:lnTo>
                  <a:lnTo>
                    <a:pt x="1970" y="5312"/>
                  </a:lnTo>
                  <a:lnTo>
                    <a:pt x="1957" y="5329"/>
                  </a:lnTo>
                  <a:lnTo>
                    <a:pt x="1917" y="5323"/>
                  </a:lnTo>
                  <a:lnTo>
                    <a:pt x="1905" y="5324"/>
                  </a:lnTo>
                  <a:lnTo>
                    <a:pt x="1892" y="5327"/>
                  </a:lnTo>
                  <a:lnTo>
                    <a:pt x="1861" y="5342"/>
                  </a:lnTo>
                  <a:lnTo>
                    <a:pt x="1806" y="5374"/>
                  </a:lnTo>
                  <a:lnTo>
                    <a:pt x="1767" y="5378"/>
                  </a:lnTo>
                  <a:lnTo>
                    <a:pt x="1669" y="5379"/>
                  </a:lnTo>
                  <a:lnTo>
                    <a:pt x="1650" y="5381"/>
                  </a:lnTo>
                  <a:lnTo>
                    <a:pt x="1643" y="5382"/>
                  </a:lnTo>
                  <a:lnTo>
                    <a:pt x="1633" y="5389"/>
                  </a:lnTo>
                  <a:lnTo>
                    <a:pt x="1617" y="5391"/>
                  </a:lnTo>
                  <a:lnTo>
                    <a:pt x="1608" y="5398"/>
                  </a:lnTo>
                  <a:lnTo>
                    <a:pt x="1599" y="5411"/>
                  </a:lnTo>
                  <a:lnTo>
                    <a:pt x="1599" y="5411"/>
                  </a:lnTo>
                  <a:lnTo>
                    <a:pt x="1593" y="5410"/>
                  </a:lnTo>
                  <a:lnTo>
                    <a:pt x="1587" y="5405"/>
                  </a:lnTo>
                  <a:lnTo>
                    <a:pt x="1533" y="5350"/>
                  </a:lnTo>
                  <a:lnTo>
                    <a:pt x="1503" y="5319"/>
                  </a:lnTo>
                  <a:lnTo>
                    <a:pt x="1488" y="5304"/>
                  </a:lnTo>
                  <a:lnTo>
                    <a:pt x="1461" y="5283"/>
                  </a:lnTo>
                  <a:lnTo>
                    <a:pt x="1422" y="5255"/>
                  </a:lnTo>
                  <a:lnTo>
                    <a:pt x="1412" y="5248"/>
                  </a:lnTo>
                  <a:lnTo>
                    <a:pt x="1409" y="5242"/>
                  </a:lnTo>
                  <a:lnTo>
                    <a:pt x="1408" y="5237"/>
                  </a:lnTo>
                  <a:lnTo>
                    <a:pt x="1404" y="5184"/>
                  </a:lnTo>
                  <a:lnTo>
                    <a:pt x="1405" y="5178"/>
                  </a:lnTo>
                  <a:lnTo>
                    <a:pt x="1408" y="5173"/>
                  </a:lnTo>
                  <a:lnTo>
                    <a:pt x="1436" y="5157"/>
                  </a:lnTo>
                  <a:lnTo>
                    <a:pt x="1440" y="5153"/>
                  </a:lnTo>
                  <a:lnTo>
                    <a:pt x="1441" y="5148"/>
                  </a:lnTo>
                  <a:lnTo>
                    <a:pt x="1441" y="5142"/>
                  </a:lnTo>
                  <a:lnTo>
                    <a:pt x="1439" y="5130"/>
                  </a:lnTo>
                  <a:lnTo>
                    <a:pt x="1433" y="5102"/>
                  </a:lnTo>
                  <a:lnTo>
                    <a:pt x="1427" y="5086"/>
                  </a:lnTo>
                  <a:lnTo>
                    <a:pt x="1418" y="5062"/>
                  </a:lnTo>
                  <a:lnTo>
                    <a:pt x="1418" y="5060"/>
                  </a:lnTo>
                  <a:lnTo>
                    <a:pt x="1420" y="5056"/>
                  </a:lnTo>
                  <a:lnTo>
                    <a:pt x="1517" y="4998"/>
                  </a:lnTo>
                  <a:lnTo>
                    <a:pt x="1534" y="4986"/>
                  </a:lnTo>
                  <a:lnTo>
                    <a:pt x="1544" y="4976"/>
                  </a:lnTo>
                  <a:lnTo>
                    <a:pt x="1571" y="4929"/>
                  </a:lnTo>
                  <a:lnTo>
                    <a:pt x="1585" y="4908"/>
                  </a:lnTo>
                  <a:lnTo>
                    <a:pt x="1593" y="4901"/>
                  </a:lnTo>
                  <a:lnTo>
                    <a:pt x="1617" y="4892"/>
                  </a:lnTo>
                  <a:lnTo>
                    <a:pt x="1620" y="4888"/>
                  </a:lnTo>
                  <a:lnTo>
                    <a:pt x="1624" y="4881"/>
                  </a:lnTo>
                  <a:lnTo>
                    <a:pt x="1635" y="4852"/>
                  </a:lnTo>
                  <a:lnTo>
                    <a:pt x="1638" y="4837"/>
                  </a:lnTo>
                  <a:lnTo>
                    <a:pt x="1634" y="4828"/>
                  </a:lnTo>
                  <a:lnTo>
                    <a:pt x="1599" y="4772"/>
                  </a:lnTo>
                  <a:lnTo>
                    <a:pt x="1599" y="4766"/>
                  </a:lnTo>
                  <a:lnTo>
                    <a:pt x="1600" y="4758"/>
                  </a:lnTo>
                  <a:lnTo>
                    <a:pt x="1607" y="4738"/>
                  </a:lnTo>
                  <a:lnTo>
                    <a:pt x="1609" y="4731"/>
                  </a:lnTo>
                  <a:lnTo>
                    <a:pt x="1600" y="4725"/>
                  </a:lnTo>
                  <a:lnTo>
                    <a:pt x="1582" y="4716"/>
                  </a:lnTo>
                  <a:lnTo>
                    <a:pt x="1574" y="4714"/>
                  </a:lnTo>
                  <a:lnTo>
                    <a:pt x="1561" y="4714"/>
                  </a:lnTo>
                  <a:lnTo>
                    <a:pt x="1517" y="4718"/>
                  </a:lnTo>
                  <a:lnTo>
                    <a:pt x="1460" y="4734"/>
                  </a:lnTo>
                  <a:lnTo>
                    <a:pt x="1425" y="4746"/>
                  </a:lnTo>
                  <a:lnTo>
                    <a:pt x="1399" y="4761"/>
                  </a:lnTo>
                  <a:lnTo>
                    <a:pt x="1376" y="4775"/>
                  </a:lnTo>
                  <a:lnTo>
                    <a:pt x="1362" y="4786"/>
                  </a:lnTo>
                  <a:lnTo>
                    <a:pt x="1353" y="4793"/>
                  </a:lnTo>
                  <a:lnTo>
                    <a:pt x="1337" y="4809"/>
                  </a:lnTo>
                  <a:lnTo>
                    <a:pt x="1333" y="4814"/>
                  </a:lnTo>
                  <a:lnTo>
                    <a:pt x="1329" y="4815"/>
                  </a:lnTo>
                  <a:lnTo>
                    <a:pt x="1322" y="4814"/>
                  </a:lnTo>
                  <a:lnTo>
                    <a:pt x="1300" y="4806"/>
                  </a:lnTo>
                  <a:lnTo>
                    <a:pt x="1260" y="4791"/>
                  </a:lnTo>
                  <a:lnTo>
                    <a:pt x="1227" y="4776"/>
                  </a:lnTo>
                  <a:lnTo>
                    <a:pt x="1199" y="4758"/>
                  </a:lnTo>
                  <a:lnTo>
                    <a:pt x="1191" y="4755"/>
                  </a:lnTo>
                  <a:lnTo>
                    <a:pt x="1116" y="4778"/>
                  </a:lnTo>
                  <a:lnTo>
                    <a:pt x="1080" y="4785"/>
                  </a:lnTo>
                  <a:lnTo>
                    <a:pt x="1032" y="4794"/>
                  </a:lnTo>
                  <a:lnTo>
                    <a:pt x="1029" y="4796"/>
                  </a:lnTo>
                  <a:lnTo>
                    <a:pt x="1028" y="4798"/>
                  </a:lnTo>
                  <a:lnTo>
                    <a:pt x="1077" y="4859"/>
                  </a:lnTo>
                  <a:lnTo>
                    <a:pt x="1082" y="4865"/>
                  </a:lnTo>
                  <a:lnTo>
                    <a:pt x="1082" y="4868"/>
                  </a:lnTo>
                  <a:lnTo>
                    <a:pt x="1077" y="4873"/>
                  </a:lnTo>
                  <a:lnTo>
                    <a:pt x="1046" y="4890"/>
                  </a:lnTo>
                  <a:lnTo>
                    <a:pt x="1031" y="4901"/>
                  </a:lnTo>
                  <a:lnTo>
                    <a:pt x="1025" y="4910"/>
                  </a:lnTo>
                  <a:lnTo>
                    <a:pt x="1008" y="4937"/>
                  </a:lnTo>
                  <a:lnTo>
                    <a:pt x="1005" y="4942"/>
                  </a:lnTo>
                  <a:lnTo>
                    <a:pt x="1003" y="4943"/>
                  </a:lnTo>
                  <a:lnTo>
                    <a:pt x="995" y="4942"/>
                  </a:lnTo>
                  <a:lnTo>
                    <a:pt x="975" y="4933"/>
                  </a:lnTo>
                  <a:lnTo>
                    <a:pt x="960" y="4934"/>
                  </a:lnTo>
                  <a:lnTo>
                    <a:pt x="955" y="4933"/>
                  </a:lnTo>
                  <a:lnTo>
                    <a:pt x="953" y="4931"/>
                  </a:lnTo>
                  <a:lnTo>
                    <a:pt x="951" y="4927"/>
                  </a:lnTo>
                  <a:lnTo>
                    <a:pt x="948" y="4924"/>
                  </a:lnTo>
                  <a:lnTo>
                    <a:pt x="924" y="4912"/>
                  </a:lnTo>
                  <a:lnTo>
                    <a:pt x="916" y="4899"/>
                  </a:lnTo>
                  <a:lnTo>
                    <a:pt x="893" y="4896"/>
                  </a:lnTo>
                  <a:lnTo>
                    <a:pt x="892" y="4892"/>
                  </a:lnTo>
                  <a:lnTo>
                    <a:pt x="897" y="4881"/>
                  </a:lnTo>
                  <a:lnTo>
                    <a:pt x="899" y="4873"/>
                  </a:lnTo>
                  <a:lnTo>
                    <a:pt x="882" y="4862"/>
                  </a:lnTo>
                  <a:lnTo>
                    <a:pt x="878" y="4856"/>
                  </a:lnTo>
                  <a:lnTo>
                    <a:pt x="874" y="4840"/>
                  </a:lnTo>
                  <a:lnTo>
                    <a:pt x="866" y="4829"/>
                  </a:lnTo>
                  <a:lnTo>
                    <a:pt x="865" y="4826"/>
                  </a:lnTo>
                  <a:lnTo>
                    <a:pt x="865" y="4823"/>
                  </a:lnTo>
                  <a:lnTo>
                    <a:pt x="871" y="4811"/>
                  </a:lnTo>
                  <a:lnTo>
                    <a:pt x="872" y="4808"/>
                  </a:lnTo>
                  <a:lnTo>
                    <a:pt x="867" y="4807"/>
                  </a:lnTo>
                  <a:lnTo>
                    <a:pt x="861" y="4808"/>
                  </a:lnTo>
                  <a:lnTo>
                    <a:pt x="820" y="4822"/>
                  </a:lnTo>
                  <a:lnTo>
                    <a:pt x="809" y="4825"/>
                  </a:lnTo>
                  <a:lnTo>
                    <a:pt x="807" y="4824"/>
                  </a:lnTo>
                  <a:lnTo>
                    <a:pt x="805" y="4822"/>
                  </a:lnTo>
                  <a:lnTo>
                    <a:pt x="805" y="4803"/>
                  </a:lnTo>
                  <a:lnTo>
                    <a:pt x="805" y="4801"/>
                  </a:lnTo>
                  <a:lnTo>
                    <a:pt x="803" y="4799"/>
                  </a:lnTo>
                  <a:lnTo>
                    <a:pt x="792" y="4794"/>
                  </a:lnTo>
                  <a:lnTo>
                    <a:pt x="780" y="4805"/>
                  </a:lnTo>
                  <a:lnTo>
                    <a:pt x="778" y="4805"/>
                  </a:lnTo>
                  <a:lnTo>
                    <a:pt x="776" y="4805"/>
                  </a:lnTo>
                  <a:lnTo>
                    <a:pt x="773" y="4800"/>
                  </a:lnTo>
                  <a:lnTo>
                    <a:pt x="773" y="4787"/>
                  </a:lnTo>
                  <a:lnTo>
                    <a:pt x="774" y="4780"/>
                  </a:lnTo>
                  <a:lnTo>
                    <a:pt x="780" y="4771"/>
                  </a:lnTo>
                  <a:lnTo>
                    <a:pt x="781" y="4763"/>
                  </a:lnTo>
                  <a:lnTo>
                    <a:pt x="782" y="4731"/>
                  </a:lnTo>
                  <a:lnTo>
                    <a:pt x="790" y="4681"/>
                  </a:lnTo>
                  <a:lnTo>
                    <a:pt x="786" y="4674"/>
                  </a:lnTo>
                  <a:lnTo>
                    <a:pt x="779" y="4673"/>
                  </a:lnTo>
                  <a:lnTo>
                    <a:pt x="731" y="4666"/>
                  </a:lnTo>
                  <a:lnTo>
                    <a:pt x="717" y="4663"/>
                  </a:lnTo>
                  <a:lnTo>
                    <a:pt x="710" y="4660"/>
                  </a:lnTo>
                  <a:lnTo>
                    <a:pt x="707" y="4639"/>
                  </a:lnTo>
                  <a:lnTo>
                    <a:pt x="672" y="4624"/>
                  </a:lnTo>
                  <a:lnTo>
                    <a:pt x="668" y="4620"/>
                  </a:lnTo>
                  <a:lnTo>
                    <a:pt x="661" y="4609"/>
                  </a:lnTo>
                  <a:lnTo>
                    <a:pt x="659" y="4605"/>
                  </a:lnTo>
                  <a:lnTo>
                    <a:pt x="659" y="4602"/>
                  </a:lnTo>
                  <a:lnTo>
                    <a:pt x="662" y="4585"/>
                  </a:lnTo>
                  <a:lnTo>
                    <a:pt x="661" y="4577"/>
                  </a:lnTo>
                  <a:lnTo>
                    <a:pt x="658" y="4568"/>
                  </a:lnTo>
                  <a:lnTo>
                    <a:pt x="649" y="4555"/>
                  </a:lnTo>
                  <a:lnTo>
                    <a:pt x="616" y="4547"/>
                  </a:lnTo>
                  <a:lnTo>
                    <a:pt x="599" y="4540"/>
                  </a:lnTo>
                  <a:lnTo>
                    <a:pt x="581" y="4528"/>
                  </a:lnTo>
                  <a:lnTo>
                    <a:pt x="546" y="4497"/>
                  </a:lnTo>
                  <a:lnTo>
                    <a:pt x="535" y="4489"/>
                  </a:lnTo>
                  <a:lnTo>
                    <a:pt x="524" y="4484"/>
                  </a:lnTo>
                  <a:lnTo>
                    <a:pt x="512" y="4481"/>
                  </a:lnTo>
                  <a:lnTo>
                    <a:pt x="467" y="4478"/>
                  </a:lnTo>
                  <a:lnTo>
                    <a:pt x="462" y="4477"/>
                  </a:lnTo>
                  <a:lnTo>
                    <a:pt x="460" y="4476"/>
                  </a:lnTo>
                  <a:lnTo>
                    <a:pt x="465" y="4468"/>
                  </a:lnTo>
                  <a:lnTo>
                    <a:pt x="484" y="4470"/>
                  </a:lnTo>
                  <a:lnTo>
                    <a:pt x="511" y="4452"/>
                  </a:lnTo>
                  <a:lnTo>
                    <a:pt x="522" y="4447"/>
                  </a:lnTo>
                  <a:lnTo>
                    <a:pt x="546" y="4435"/>
                  </a:lnTo>
                  <a:lnTo>
                    <a:pt x="573" y="4427"/>
                  </a:lnTo>
                  <a:lnTo>
                    <a:pt x="604" y="4386"/>
                  </a:lnTo>
                  <a:lnTo>
                    <a:pt x="623" y="4361"/>
                  </a:lnTo>
                  <a:lnTo>
                    <a:pt x="624" y="4357"/>
                  </a:lnTo>
                  <a:lnTo>
                    <a:pt x="629" y="4314"/>
                  </a:lnTo>
                  <a:lnTo>
                    <a:pt x="631" y="4300"/>
                  </a:lnTo>
                  <a:lnTo>
                    <a:pt x="635" y="4288"/>
                  </a:lnTo>
                  <a:lnTo>
                    <a:pt x="636" y="4286"/>
                  </a:lnTo>
                  <a:lnTo>
                    <a:pt x="656" y="4269"/>
                  </a:lnTo>
                  <a:lnTo>
                    <a:pt x="667" y="4260"/>
                  </a:lnTo>
                  <a:lnTo>
                    <a:pt x="670" y="4254"/>
                  </a:lnTo>
                  <a:lnTo>
                    <a:pt x="672" y="4247"/>
                  </a:lnTo>
                  <a:lnTo>
                    <a:pt x="673" y="4228"/>
                  </a:lnTo>
                  <a:lnTo>
                    <a:pt x="671" y="4204"/>
                  </a:lnTo>
                  <a:lnTo>
                    <a:pt x="668" y="4192"/>
                  </a:lnTo>
                  <a:lnTo>
                    <a:pt x="659" y="4173"/>
                  </a:lnTo>
                  <a:lnTo>
                    <a:pt x="650" y="4160"/>
                  </a:lnTo>
                  <a:lnTo>
                    <a:pt x="645" y="4153"/>
                  </a:lnTo>
                  <a:lnTo>
                    <a:pt x="638" y="4147"/>
                  </a:lnTo>
                  <a:lnTo>
                    <a:pt x="629" y="4142"/>
                  </a:lnTo>
                  <a:lnTo>
                    <a:pt x="610" y="4136"/>
                  </a:lnTo>
                  <a:lnTo>
                    <a:pt x="580" y="4132"/>
                  </a:lnTo>
                  <a:lnTo>
                    <a:pt x="553" y="4125"/>
                  </a:lnTo>
                  <a:lnTo>
                    <a:pt x="543" y="4128"/>
                  </a:lnTo>
                  <a:lnTo>
                    <a:pt x="523" y="4143"/>
                  </a:lnTo>
                  <a:lnTo>
                    <a:pt x="517" y="4146"/>
                  </a:lnTo>
                  <a:lnTo>
                    <a:pt x="510" y="4147"/>
                  </a:lnTo>
                  <a:lnTo>
                    <a:pt x="504" y="4146"/>
                  </a:lnTo>
                  <a:lnTo>
                    <a:pt x="436" y="4137"/>
                  </a:lnTo>
                  <a:lnTo>
                    <a:pt x="428" y="4137"/>
                  </a:lnTo>
                  <a:lnTo>
                    <a:pt x="425" y="4168"/>
                  </a:lnTo>
                  <a:lnTo>
                    <a:pt x="424" y="4169"/>
                  </a:lnTo>
                  <a:lnTo>
                    <a:pt x="419" y="4169"/>
                  </a:lnTo>
                  <a:lnTo>
                    <a:pt x="417" y="4170"/>
                  </a:lnTo>
                  <a:lnTo>
                    <a:pt x="413" y="4176"/>
                  </a:lnTo>
                  <a:lnTo>
                    <a:pt x="408" y="4187"/>
                  </a:lnTo>
                  <a:lnTo>
                    <a:pt x="386" y="4181"/>
                  </a:lnTo>
                  <a:lnTo>
                    <a:pt x="383" y="4174"/>
                  </a:lnTo>
                  <a:lnTo>
                    <a:pt x="379" y="4152"/>
                  </a:lnTo>
                  <a:lnTo>
                    <a:pt x="378" y="4150"/>
                  </a:lnTo>
                  <a:lnTo>
                    <a:pt x="375" y="4150"/>
                  </a:lnTo>
                  <a:lnTo>
                    <a:pt x="367" y="4151"/>
                  </a:lnTo>
                  <a:lnTo>
                    <a:pt x="341" y="4158"/>
                  </a:lnTo>
                  <a:lnTo>
                    <a:pt x="330" y="4161"/>
                  </a:lnTo>
                  <a:lnTo>
                    <a:pt x="325" y="4165"/>
                  </a:lnTo>
                  <a:lnTo>
                    <a:pt x="319" y="4196"/>
                  </a:lnTo>
                  <a:lnTo>
                    <a:pt x="317" y="4203"/>
                  </a:lnTo>
                  <a:lnTo>
                    <a:pt x="311" y="4197"/>
                  </a:lnTo>
                  <a:lnTo>
                    <a:pt x="301" y="4179"/>
                  </a:lnTo>
                  <a:lnTo>
                    <a:pt x="288" y="4154"/>
                  </a:lnTo>
                  <a:lnTo>
                    <a:pt x="285" y="4151"/>
                  </a:lnTo>
                  <a:lnTo>
                    <a:pt x="282" y="4150"/>
                  </a:lnTo>
                  <a:lnTo>
                    <a:pt x="265" y="4154"/>
                  </a:lnTo>
                  <a:lnTo>
                    <a:pt x="264" y="4155"/>
                  </a:lnTo>
                  <a:lnTo>
                    <a:pt x="263" y="4159"/>
                  </a:lnTo>
                  <a:lnTo>
                    <a:pt x="265" y="4164"/>
                  </a:lnTo>
                  <a:lnTo>
                    <a:pt x="277" y="4179"/>
                  </a:lnTo>
                  <a:lnTo>
                    <a:pt x="280" y="4186"/>
                  </a:lnTo>
                  <a:lnTo>
                    <a:pt x="219" y="4213"/>
                  </a:lnTo>
                  <a:lnTo>
                    <a:pt x="214" y="4214"/>
                  </a:lnTo>
                  <a:lnTo>
                    <a:pt x="212" y="4214"/>
                  </a:lnTo>
                  <a:lnTo>
                    <a:pt x="211" y="4198"/>
                  </a:lnTo>
                  <a:lnTo>
                    <a:pt x="216" y="4104"/>
                  </a:lnTo>
                  <a:lnTo>
                    <a:pt x="216" y="4093"/>
                  </a:lnTo>
                  <a:lnTo>
                    <a:pt x="215" y="4089"/>
                  </a:lnTo>
                  <a:lnTo>
                    <a:pt x="212" y="4085"/>
                  </a:lnTo>
                  <a:lnTo>
                    <a:pt x="191" y="4066"/>
                  </a:lnTo>
                  <a:lnTo>
                    <a:pt x="123" y="3998"/>
                  </a:lnTo>
                  <a:lnTo>
                    <a:pt x="89" y="3962"/>
                  </a:lnTo>
                  <a:lnTo>
                    <a:pt x="48" y="3914"/>
                  </a:lnTo>
                  <a:lnTo>
                    <a:pt x="35" y="3898"/>
                  </a:lnTo>
                  <a:lnTo>
                    <a:pt x="31" y="3889"/>
                  </a:lnTo>
                  <a:lnTo>
                    <a:pt x="31" y="3884"/>
                  </a:lnTo>
                  <a:lnTo>
                    <a:pt x="35" y="3875"/>
                  </a:lnTo>
                  <a:lnTo>
                    <a:pt x="121" y="3821"/>
                  </a:lnTo>
                  <a:lnTo>
                    <a:pt x="125" y="3817"/>
                  </a:lnTo>
                  <a:lnTo>
                    <a:pt x="0" y="3429"/>
                  </a:lnTo>
                  <a:lnTo>
                    <a:pt x="0" y="3429"/>
                  </a:lnTo>
                  <a:lnTo>
                    <a:pt x="14" y="3429"/>
                  </a:lnTo>
                  <a:lnTo>
                    <a:pt x="29" y="3433"/>
                  </a:lnTo>
                  <a:lnTo>
                    <a:pt x="55" y="3440"/>
                  </a:lnTo>
                  <a:lnTo>
                    <a:pt x="127" y="3463"/>
                  </a:lnTo>
                  <a:lnTo>
                    <a:pt x="229" y="3499"/>
                  </a:lnTo>
                  <a:lnTo>
                    <a:pt x="256" y="3507"/>
                  </a:lnTo>
                  <a:lnTo>
                    <a:pt x="427" y="3546"/>
                  </a:lnTo>
                  <a:lnTo>
                    <a:pt x="494" y="3560"/>
                  </a:lnTo>
                  <a:lnTo>
                    <a:pt x="543" y="3568"/>
                  </a:lnTo>
                  <a:lnTo>
                    <a:pt x="571" y="3571"/>
                  </a:lnTo>
                  <a:lnTo>
                    <a:pt x="598" y="3566"/>
                  </a:lnTo>
                  <a:lnTo>
                    <a:pt x="614" y="3567"/>
                  </a:lnTo>
                  <a:lnTo>
                    <a:pt x="629" y="3566"/>
                  </a:lnTo>
                  <a:lnTo>
                    <a:pt x="642" y="3567"/>
                  </a:lnTo>
                  <a:lnTo>
                    <a:pt x="677" y="3560"/>
                  </a:lnTo>
                  <a:lnTo>
                    <a:pt x="688" y="3558"/>
                  </a:lnTo>
                  <a:lnTo>
                    <a:pt x="715" y="3560"/>
                  </a:lnTo>
                  <a:lnTo>
                    <a:pt x="740" y="3565"/>
                  </a:lnTo>
                  <a:lnTo>
                    <a:pt x="754" y="3561"/>
                  </a:lnTo>
                  <a:lnTo>
                    <a:pt x="767" y="3555"/>
                  </a:lnTo>
                  <a:lnTo>
                    <a:pt x="779" y="3553"/>
                  </a:lnTo>
                  <a:lnTo>
                    <a:pt x="817" y="3560"/>
                  </a:lnTo>
                  <a:lnTo>
                    <a:pt x="870" y="3565"/>
                  </a:lnTo>
                  <a:lnTo>
                    <a:pt x="883" y="3568"/>
                  </a:lnTo>
                  <a:lnTo>
                    <a:pt x="907" y="3575"/>
                  </a:lnTo>
                  <a:lnTo>
                    <a:pt x="946" y="3588"/>
                  </a:lnTo>
                  <a:lnTo>
                    <a:pt x="1023" y="3619"/>
                  </a:lnTo>
                  <a:lnTo>
                    <a:pt x="1049" y="3628"/>
                  </a:lnTo>
                  <a:lnTo>
                    <a:pt x="1087" y="3637"/>
                  </a:lnTo>
                  <a:lnTo>
                    <a:pt x="1111" y="3646"/>
                  </a:lnTo>
                  <a:lnTo>
                    <a:pt x="1119" y="3651"/>
                  </a:lnTo>
                  <a:lnTo>
                    <a:pt x="1130" y="3662"/>
                  </a:lnTo>
                  <a:lnTo>
                    <a:pt x="1149" y="3698"/>
                  </a:lnTo>
                  <a:lnTo>
                    <a:pt x="1164" y="3723"/>
                  </a:lnTo>
                  <a:lnTo>
                    <a:pt x="1173" y="3733"/>
                  </a:lnTo>
                  <a:lnTo>
                    <a:pt x="1179" y="3743"/>
                  </a:lnTo>
                  <a:lnTo>
                    <a:pt x="1212" y="3758"/>
                  </a:lnTo>
                  <a:lnTo>
                    <a:pt x="1224" y="3761"/>
                  </a:lnTo>
                  <a:lnTo>
                    <a:pt x="1258" y="3775"/>
                  </a:lnTo>
                  <a:lnTo>
                    <a:pt x="1284" y="3777"/>
                  </a:lnTo>
                  <a:lnTo>
                    <a:pt x="1298" y="3777"/>
                  </a:lnTo>
                  <a:lnTo>
                    <a:pt x="1310" y="3776"/>
                  </a:lnTo>
                  <a:lnTo>
                    <a:pt x="1322" y="3778"/>
                  </a:lnTo>
                  <a:lnTo>
                    <a:pt x="1335" y="3782"/>
                  </a:lnTo>
                  <a:lnTo>
                    <a:pt x="1348" y="3788"/>
                  </a:lnTo>
                  <a:lnTo>
                    <a:pt x="1359" y="3796"/>
                  </a:lnTo>
                  <a:lnTo>
                    <a:pt x="1481" y="3876"/>
                  </a:lnTo>
                  <a:lnTo>
                    <a:pt x="1508" y="3890"/>
                  </a:lnTo>
                  <a:lnTo>
                    <a:pt x="1544" y="3905"/>
                  </a:lnTo>
                  <a:lnTo>
                    <a:pt x="1570" y="3914"/>
                  </a:lnTo>
                  <a:lnTo>
                    <a:pt x="1584" y="3918"/>
                  </a:lnTo>
                  <a:lnTo>
                    <a:pt x="1609" y="3921"/>
                  </a:lnTo>
                  <a:lnTo>
                    <a:pt x="1635" y="3921"/>
                  </a:lnTo>
                  <a:lnTo>
                    <a:pt x="1661" y="3917"/>
                  </a:lnTo>
                  <a:lnTo>
                    <a:pt x="1717" y="3910"/>
                  </a:lnTo>
                  <a:lnTo>
                    <a:pt x="1730" y="3907"/>
                  </a:lnTo>
                  <a:lnTo>
                    <a:pt x="1742" y="3902"/>
                  </a:lnTo>
                  <a:lnTo>
                    <a:pt x="1754" y="3900"/>
                  </a:lnTo>
                  <a:lnTo>
                    <a:pt x="1766" y="3907"/>
                  </a:lnTo>
                  <a:lnTo>
                    <a:pt x="1766" y="3921"/>
                  </a:lnTo>
                  <a:lnTo>
                    <a:pt x="1764" y="3963"/>
                  </a:lnTo>
                  <a:lnTo>
                    <a:pt x="1764" y="3976"/>
                  </a:lnTo>
                  <a:lnTo>
                    <a:pt x="1771" y="3988"/>
                  </a:lnTo>
                  <a:lnTo>
                    <a:pt x="1784" y="3986"/>
                  </a:lnTo>
                  <a:lnTo>
                    <a:pt x="1809" y="3981"/>
                  </a:lnTo>
                  <a:lnTo>
                    <a:pt x="1823" y="3979"/>
                  </a:lnTo>
                  <a:lnTo>
                    <a:pt x="1838" y="3978"/>
                  </a:lnTo>
                  <a:lnTo>
                    <a:pt x="1851" y="3980"/>
                  </a:lnTo>
                  <a:lnTo>
                    <a:pt x="1862" y="3986"/>
                  </a:lnTo>
                  <a:lnTo>
                    <a:pt x="1881" y="4007"/>
                  </a:lnTo>
                  <a:lnTo>
                    <a:pt x="1892" y="3996"/>
                  </a:lnTo>
                  <a:lnTo>
                    <a:pt x="1935" y="3963"/>
                  </a:lnTo>
                  <a:lnTo>
                    <a:pt x="1958" y="3948"/>
                  </a:lnTo>
                  <a:lnTo>
                    <a:pt x="2016" y="3919"/>
                  </a:lnTo>
                  <a:lnTo>
                    <a:pt x="2101" y="3881"/>
                  </a:lnTo>
                  <a:lnTo>
                    <a:pt x="2256" y="3808"/>
                  </a:lnTo>
                  <a:lnTo>
                    <a:pt x="2282" y="3797"/>
                  </a:lnTo>
                  <a:lnTo>
                    <a:pt x="2308" y="3790"/>
                  </a:lnTo>
                  <a:lnTo>
                    <a:pt x="2335" y="3786"/>
                  </a:lnTo>
                  <a:lnTo>
                    <a:pt x="2400" y="3781"/>
                  </a:lnTo>
                  <a:lnTo>
                    <a:pt x="2413" y="3779"/>
                  </a:lnTo>
                  <a:lnTo>
                    <a:pt x="2427" y="3775"/>
                  </a:lnTo>
                  <a:lnTo>
                    <a:pt x="2438" y="3769"/>
                  </a:lnTo>
                  <a:lnTo>
                    <a:pt x="2450" y="3761"/>
                  </a:lnTo>
                  <a:lnTo>
                    <a:pt x="2467" y="3743"/>
                  </a:lnTo>
                  <a:lnTo>
                    <a:pt x="2480" y="3738"/>
                  </a:lnTo>
                  <a:lnTo>
                    <a:pt x="2492" y="3736"/>
                  </a:lnTo>
                  <a:lnTo>
                    <a:pt x="2505" y="3740"/>
                  </a:lnTo>
                  <a:lnTo>
                    <a:pt x="2516" y="3746"/>
                  </a:lnTo>
                  <a:lnTo>
                    <a:pt x="2528" y="3751"/>
                  </a:lnTo>
                  <a:lnTo>
                    <a:pt x="2566" y="3749"/>
                  </a:lnTo>
                  <a:lnTo>
                    <a:pt x="2594" y="3754"/>
                  </a:lnTo>
                  <a:lnTo>
                    <a:pt x="2607" y="3754"/>
                  </a:lnTo>
                  <a:lnTo>
                    <a:pt x="2619" y="3751"/>
                  </a:lnTo>
                  <a:lnTo>
                    <a:pt x="2645" y="3746"/>
                  </a:lnTo>
                  <a:lnTo>
                    <a:pt x="2658" y="3742"/>
                  </a:lnTo>
                  <a:lnTo>
                    <a:pt x="2669" y="3740"/>
                  </a:lnTo>
                  <a:lnTo>
                    <a:pt x="2682" y="3739"/>
                  </a:lnTo>
                  <a:lnTo>
                    <a:pt x="2708" y="3745"/>
                  </a:lnTo>
                  <a:lnTo>
                    <a:pt x="2736" y="3745"/>
                  </a:lnTo>
                  <a:lnTo>
                    <a:pt x="2762" y="3748"/>
                  </a:lnTo>
                  <a:lnTo>
                    <a:pt x="2802" y="3758"/>
                  </a:lnTo>
                  <a:lnTo>
                    <a:pt x="2826" y="3760"/>
                  </a:lnTo>
                  <a:lnTo>
                    <a:pt x="2839" y="3757"/>
                  </a:lnTo>
                  <a:lnTo>
                    <a:pt x="2862" y="3747"/>
                  </a:lnTo>
                  <a:lnTo>
                    <a:pt x="2876" y="3745"/>
                  </a:lnTo>
                  <a:lnTo>
                    <a:pt x="2887" y="3745"/>
                  </a:lnTo>
                  <a:lnTo>
                    <a:pt x="2939" y="3750"/>
                  </a:lnTo>
                  <a:lnTo>
                    <a:pt x="2965" y="3748"/>
                  </a:lnTo>
                  <a:lnTo>
                    <a:pt x="2977" y="3746"/>
                  </a:lnTo>
                  <a:lnTo>
                    <a:pt x="2989" y="3743"/>
                  </a:lnTo>
                  <a:lnTo>
                    <a:pt x="3001" y="3734"/>
                  </a:lnTo>
                  <a:lnTo>
                    <a:pt x="3044" y="3701"/>
                  </a:lnTo>
                  <a:lnTo>
                    <a:pt x="3057" y="3693"/>
                  </a:lnTo>
                  <a:lnTo>
                    <a:pt x="3068" y="3687"/>
                  </a:lnTo>
                  <a:lnTo>
                    <a:pt x="3081" y="3683"/>
                  </a:lnTo>
                  <a:lnTo>
                    <a:pt x="3094" y="3682"/>
                  </a:lnTo>
                  <a:lnTo>
                    <a:pt x="3121" y="3680"/>
                  </a:lnTo>
                  <a:lnTo>
                    <a:pt x="3133" y="3678"/>
                  </a:lnTo>
                  <a:lnTo>
                    <a:pt x="3145" y="3674"/>
                  </a:lnTo>
                  <a:lnTo>
                    <a:pt x="3165" y="3660"/>
                  </a:lnTo>
                  <a:lnTo>
                    <a:pt x="3189" y="3650"/>
                  </a:lnTo>
                  <a:lnTo>
                    <a:pt x="3201" y="3643"/>
                  </a:lnTo>
                  <a:lnTo>
                    <a:pt x="3210" y="3636"/>
                  </a:lnTo>
                  <a:lnTo>
                    <a:pt x="3230" y="3618"/>
                  </a:lnTo>
                  <a:lnTo>
                    <a:pt x="3247" y="3599"/>
                  </a:lnTo>
                  <a:lnTo>
                    <a:pt x="3276" y="3557"/>
                  </a:lnTo>
                  <a:lnTo>
                    <a:pt x="3292" y="3534"/>
                  </a:lnTo>
                  <a:lnTo>
                    <a:pt x="3337" y="3473"/>
                  </a:lnTo>
                  <a:lnTo>
                    <a:pt x="3354" y="3453"/>
                  </a:lnTo>
                  <a:lnTo>
                    <a:pt x="3375" y="3437"/>
                  </a:lnTo>
                  <a:lnTo>
                    <a:pt x="3388" y="3429"/>
                  </a:lnTo>
                  <a:lnTo>
                    <a:pt x="3425" y="3415"/>
                  </a:lnTo>
                  <a:lnTo>
                    <a:pt x="3461" y="3397"/>
                  </a:lnTo>
                  <a:lnTo>
                    <a:pt x="3488" y="3393"/>
                  </a:lnTo>
                  <a:lnTo>
                    <a:pt x="3500" y="3389"/>
                  </a:lnTo>
                  <a:lnTo>
                    <a:pt x="3510" y="3382"/>
                  </a:lnTo>
                  <a:lnTo>
                    <a:pt x="3519" y="3374"/>
                  </a:lnTo>
                  <a:lnTo>
                    <a:pt x="3529" y="3365"/>
                  </a:lnTo>
                  <a:lnTo>
                    <a:pt x="3545" y="3344"/>
                  </a:lnTo>
                  <a:lnTo>
                    <a:pt x="3554" y="3334"/>
                  </a:lnTo>
                  <a:lnTo>
                    <a:pt x="3574" y="3320"/>
                  </a:lnTo>
                  <a:lnTo>
                    <a:pt x="3581" y="3310"/>
                  </a:lnTo>
                  <a:lnTo>
                    <a:pt x="3579" y="3282"/>
                  </a:lnTo>
                  <a:lnTo>
                    <a:pt x="3573" y="3270"/>
                  </a:lnTo>
                  <a:lnTo>
                    <a:pt x="3565" y="3258"/>
                  </a:lnTo>
                  <a:lnTo>
                    <a:pt x="3557" y="3246"/>
                  </a:lnTo>
                  <a:lnTo>
                    <a:pt x="3548" y="3237"/>
                  </a:lnTo>
                  <a:lnTo>
                    <a:pt x="3536" y="3226"/>
                  </a:lnTo>
                  <a:lnTo>
                    <a:pt x="3506" y="3202"/>
                  </a:lnTo>
                  <a:lnTo>
                    <a:pt x="3497" y="3193"/>
                  </a:lnTo>
                  <a:lnTo>
                    <a:pt x="3489" y="3184"/>
                  </a:lnTo>
                  <a:lnTo>
                    <a:pt x="3482" y="3173"/>
                  </a:lnTo>
                  <a:lnTo>
                    <a:pt x="3477" y="3147"/>
                  </a:lnTo>
                  <a:lnTo>
                    <a:pt x="3471" y="3135"/>
                  </a:lnTo>
                  <a:lnTo>
                    <a:pt x="3456" y="3114"/>
                  </a:lnTo>
                  <a:lnTo>
                    <a:pt x="3452" y="3101"/>
                  </a:lnTo>
                  <a:lnTo>
                    <a:pt x="3451" y="3090"/>
                  </a:lnTo>
                  <a:lnTo>
                    <a:pt x="3455" y="3077"/>
                  </a:lnTo>
                  <a:lnTo>
                    <a:pt x="3473" y="3043"/>
                  </a:lnTo>
                  <a:lnTo>
                    <a:pt x="3483" y="2993"/>
                  </a:lnTo>
                  <a:lnTo>
                    <a:pt x="3492" y="2968"/>
                  </a:lnTo>
                  <a:lnTo>
                    <a:pt x="3512" y="2916"/>
                  </a:lnTo>
                  <a:lnTo>
                    <a:pt x="3518" y="2904"/>
                  </a:lnTo>
                  <a:lnTo>
                    <a:pt x="3525" y="2894"/>
                  </a:lnTo>
                  <a:lnTo>
                    <a:pt x="3544" y="2874"/>
                  </a:lnTo>
                  <a:lnTo>
                    <a:pt x="3553" y="2866"/>
                  </a:lnTo>
                  <a:lnTo>
                    <a:pt x="3564" y="2859"/>
                  </a:lnTo>
                  <a:lnTo>
                    <a:pt x="3575" y="2853"/>
                  </a:lnTo>
                  <a:lnTo>
                    <a:pt x="3589" y="2852"/>
                  </a:lnTo>
                  <a:lnTo>
                    <a:pt x="3615" y="2858"/>
                  </a:lnTo>
                  <a:lnTo>
                    <a:pt x="3665" y="2857"/>
                  </a:lnTo>
                  <a:lnTo>
                    <a:pt x="3678" y="2857"/>
                  </a:lnTo>
                  <a:lnTo>
                    <a:pt x="3689" y="2865"/>
                  </a:lnTo>
                  <a:lnTo>
                    <a:pt x="3707" y="2885"/>
                  </a:lnTo>
                  <a:lnTo>
                    <a:pt x="3727" y="2903"/>
                  </a:lnTo>
                  <a:lnTo>
                    <a:pt x="3737" y="2912"/>
                  </a:lnTo>
                  <a:lnTo>
                    <a:pt x="3761" y="2923"/>
                  </a:lnTo>
                  <a:lnTo>
                    <a:pt x="3787" y="2931"/>
                  </a:lnTo>
                  <a:lnTo>
                    <a:pt x="3825" y="2935"/>
                  </a:lnTo>
                  <a:lnTo>
                    <a:pt x="3852" y="2939"/>
                  </a:lnTo>
                  <a:lnTo>
                    <a:pt x="3866" y="2940"/>
                  </a:lnTo>
                  <a:lnTo>
                    <a:pt x="3908" y="2941"/>
                  </a:lnTo>
                  <a:lnTo>
                    <a:pt x="3921" y="2942"/>
                  </a:lnTo>
                  <a:lnTo>
                    <a:pt x="3959" y="2949"/>
                  </a:lnTo>
                  <a:lnTo>
                    <a:pt x="3973" y="2949"/>
                  </a:lnTo>
                  <a:lnTo>
                    <a:pt x="3982" y="2942"/>
                  </a:lnTo>
                  <a:lnTo>
                    <a:pt x="4000" y="2924"/>
                  </a:lnTo>
                  <a:lnTo>
                    <a:pt x="4020" y="2907"/>
                  </a:lnTo>
                  <a:lnTo>
                    <a:pt x="4043" y="2895"/>
                  </a:lnTo>
                  <a:lnTo>
                    <a:pt x="4067" y="2884"/>
                  </a:lnTo>
                  <a:lnTo>
                    <a:pt x="4077" y="2878"/>
                  </a:lnTo>
                  <a:lnTo>
                    <a:pt x="4112" y="2840"/>
                  </a:lnTo>
                  <a:lnTo>
                    <a:pt x="4132" y="2823"/>
                  </a:lnTo>
                  <a:lnTo>
                    <a:pt x="4141" y="2814"/>
                  </a:lnTo>
                  <a:lnTo>
                    <a:pt x="4149" y="2804"/>
                  </a:lnTo>
                  <a:lnTo>
                    <a:pt x="4161" y="2779"/>
                  </a:lnTo>
                  <a:lnTo>
                    <a:pt x="4166" y="2768"/>
                  </a:lnTo>
                  <a:lnTo>
                    <a:pt x="4173" y="2743"/>
                  </a:lnTo>
                  <a:lnTo>
                    <a:pt x="4179" y="2733"/>
                  </a:lnTo>
                  <a:lnTo>
                    <a:pt x="4188" y="2726"/>
                  </a:lnTo>
                  <a:lnTo>
                    <a:pt x="4212" y="2718"/>
                  </a:lnTo>
                  <a:lnTo>
                    <a:pt x="4224" y="2718"/>
                  </a:lnTo>
                  <a:lnTo>
                    <a:pt x="4252" y="2725"/>
                  </a:lnTo>
                  <a:lnTo>
                    <a:pt x="4265" y="2727"/>
                  </a:lnTo>
                  <a:lnTo>
                    <a:pt x="4290" y="2728"/>
                  </a:lnTo>
                  <a:lnTo>
                    <a:pt x="4365" y="2718"/>
                  </a:lnTo>
                  <a:lnTo>
                    <a:pt x="4406" y="2707"/>
                  </a:lnTo>
                  <a:lnTo>
                    <a:pt x="4430" y="2699"/>
                  </a:lnTo>
                  <a:lnTo>
                    <a:pt x="4442" y="2691"/>
                  </a:lnTo>
                  <a:lnTo>
                    <a:pt x="4451" y="2683"/>
                  </a:lnTo>
                  <a:lnTo>
                    <a:pt x="4488" y="2642"/>
                  </a:lnTo>
                  <a:lnTo>
                    <a:pt x="4497" y="2633"/>
                  </a:lnTo>
                  <a:lnTo>
                    <a:pt x="4507" y="2627"/>
                  </a:lnTo>
                  <a:lnTo>
                    <a:pt x="4545" y="2612"/>
                  </a:lnTo>
                  <a:lnTo>
                    <a:pt x="4554" y="2602"/>
                  </a:lnTo>
                  <a:lnTo>
                    <a:pt x="4568" y="2580"/>
                  </a:lnTo>
                  <a:lnTo>
                    <a:pt x="4569" y="2566"/>
                  </a:lnTo>
                  <a:lnTo>
                    <a:pt x="4562" y="2542"/>
                  </a:lnTo>
                  <a:lnTo>
                    <a:pt x="4562" y="2529"/>
                  </a:lnTo>
                  <a:lnTo>
                    <a:pt x="4564" y="2517"/>
                  </a:lnTo>
                  <a:lnTo>
                    <a:pt x="4570" y="2504"/>
                  </a:lnTo>
                  <a:lnTo>
                    <a:pt x="4575" y="2490"/>
                  </a:lnTo>
                  <a:lnTo>
                    <a:pt x="4588" y="2466"/>
                  </a:lnTo>
                  <a:lnTo>
                    <a:pt x="4609" y="2435"/>
                  </a:lnTo>
                  <a:lnTo>
                    <a:pt x="4626" y="2412"/>
                  </a:lnTo>
                  <a:lnTo>
                    <a:pt x="4634" y="2401"/>
                  </a:lnTo>
                  <a:lnTo>
                    <a:pt x="4645" y="2395"/>
                  </a:lnTo>
                  <a:lnTo>
                    <a:pt x="4658" y="2391"/>
                  </a:lnTo>
                  <a:lnTo>
                    <a:pt x="4669" y="2384"/>
                  </a:lnTo>
                  <a:lnTo>
                    <a:pt x="4678" y="2376"/>
                  </a:lnTo>
                  <a:lnTo>
                    <a:pt x="4688" y="2369"/>
                  </a:lnTo>
                  <a:lnTo>
                    <a:pt x="4740" y="2373"/>
                  </a:lnTo>
                  <a:lnTo>
                    <a:pt x="4756" y="2373"/>
                  </a:lnTo>
                  <a:lnTo>
                    <a:pt x="4782" y="2371"/>
                  </a:lnTo>
                  <a:lnTo>
                    <a:pt x="4795" y="2368"/>
                  </a:lnTo>
                  <a:lnTo>
                    <a:pt x="4808" y="2364"/>
                  </a:lnTo>
                  <a:lnTo>
                    <a:pt x="4811" y="2353"/>
                  </a:lnTo>
                  <a:lnTo>
                    <a:pt x="4812" y="2338"/>
                  </a:lnTo>
                  <a:lnTo>
                    <a:pt x="4823" y="2313"/>
                  </a:lnTo>
                  <a:lnTo>
                    <a:pt x="4824" y="2301"/>
                  </a:lnTo>
                  <a:lnTo>
                    <a:pt x="4834" y="2292"/>
                  </a:lnTo>
                  <a:lnTo>
                    <a:pt x="4847" y="2289"/>
                  </a:lnTo>
                  <a:lnTo>
                    <a:pt x="4859" y="2288"/>
                  </a:lnTo>
                  <a:lnTo>
                    <a:pt x="4870" y="2293"/>
                  </a:lnTo>
                  <a:lnTo>
                    <a:pt x="4879" y="2302"/>
                  </a:lnTo>
                  <a:lnTo>
                    <a:pt x="4890" y="2307"/>
                  </a:lnTo>
                  <a:lnTo>
                    <a:pt x="4903" y="2306"/>
                  </a:lnTo>
                  <a:lnTo>
                    <a:pt x="4913" y="2300"/>
                  </a:lnTo>
                  <a:lnTo>
                    <a:pt x="4929" y="2279"/>
                  </a:lnTo>
                  <a:lnTo>
                    <a:pt x="4938" y="2271"/>
                  </a:lnTo>
                  <a:lnTo>
                    <a:pt x="4950" y="2265"/>
                  </a:lnTo>
                  <a:lnTo>
                    <a:pt x="4961" y="2259"/>
                  </a:lnTo>
                  <a:lnTo>
                    <a:pt x="4972" y="2252"/>
                  </a:lnTo>
                  <a:lnTo>
                    <a:pt x="4983" y="2246"/>
                  </a:lnTo>
                  <a:lnTo>
                    <a:pt x="5017" y="2230"/>
                  </a:lnTo>
                  <a:lnTo>
                    <a:pt x="5030" y="2229"/>
                  </a:lnTo>
                  <a:lnTo>
                    <a:pt x="5056" y="2233"/>
                  </a:lnTo>
                  <a:lnTo>
                    <a:pt x="5081" y="2233"/>
                  </a:lnTo>
                  <a:lnTo>
                    <a:pt x="5105" y="2237"/>
                  </a:lnTo>
                  <a:lnTo>
                    <a:pt x="5117" y="2233"/>
                  </a:lnTo>
                  <a:lnTo>
                    <a:pt x="5124" y="2221"/>
                  </a:lnTo>
                  <a:lnTo>
                    <a:pt x="5129" y="2210"/>
                  </a:lnTo>
                  <a:lnTo>
                    <a:pt x="5140" y="2205"/>
                  </a:lnTo>
                  <a:lnTo>
                    <a:pt x="5150" y="2214"/>
                  </a:lnTo>
                  <a:lnTo>
                    <a:pt x="5160" y="2219"/>
                  </a:lnTo>
                  <a:lnTo>
                    <a:pt x="5173" y="2222"/>
                  </a:lnTo>
                  <a:lnTo>
                    <a:pt x="5185" y="2230"/>
                  </a:lnTo>
                  <a:lnTo>
                    <a:pt x="5195" y="2236"/>
                  </a:lnTo>
                  <a:lnTo>
                    <a:pt x="5209" y="2239"/>
                  </a:lnTo>
                  <a:lnTo>
                    <a:pt x="5238" y="2242"/>
                  </a:lnTo>
                  <a:lnTo>
                    <a:pt x="5263" y="2241"/>
                  </a:lnTo>
                  <a:lnTo>
                    <a:pt x="5276" y="2238"/>
                  </a:lnTo>
                  <a:lnTo>
                    <a:pt x="5287" y="2236"/>
                  </a:lnTo>
                  <a:lnTo>
                    <a:pt x="5313" y="2235"/>
                  </a:lnTo>
                  <a:lnTo>
                    <a:pt x="5326" y="2239"/>
                  </a:lnTo>
                  <a:lnTo>
                    <a:pt x="5338" y="2239"/>
                  </a:lnTo>
                  <a:lnTo>
                    <a:pt x="5347" y="2229"/>
                  </a:lnTo>
                  <a:lnTo>
                    <a:pt x="5351" y="2215"/>
                  </a:lnTo>
                  <a:lnTo>
                    <a:pt x="5359" y="2206"/>
                  </a:lnTo>
                  <a:lnTo>
                    <a:pt x="5372" y="2204"/>
                  </a:lnTo>
                  <a:lnTo>
                    <a:pt x="5381" y="2195"/>
                  </a:lnTo>
                  <a:lnTo>
                    <a:pt x="5377" y="2168"/>
                  </a:lnTo>
                  <a:lnTo>
                    <a:pt x="5375" y="2156"/>
                  </a:lnTo>
                  <a:lnTo>
                    <a:pt x="5370" y="2143"/>
                  </a:lnTo>
                  <a:lnTo>
                    <a:pt x="5364" y="2132"/>
                  </a:lnTo>
                  <a:lnTo>
                    <a:pt x="5354" y="2123"/>
                  </a:lnTo>
                  <a:lnTo>
                    <a:pt x="5347" y="2112"/>
                  </a:lnTo>
                  <a:lnTo>
                    <a:pt x="5340" y="2101"/>
                  </a:lnTo>
                  <a:lnTo>
                    <a:pt x="5332" y="2076"/>
                  </a:lnTo>
                  <a:lnTo>
                    <a:pt x="5318" y="2053"/>
                  </a:lnTo>
                  <a:lnTo>
                    <a:pt x="5310" y="2043"/>
                  </a:lnTo>
                  <a:lnTo>
                    <a:pt x="5300" y="2037"/>
                  </a:lnTo>
                  <a:lnTo>
                    <a:pt x="5290" y="2032"/>
                  </a:lnTo>
                  <a:lnTo>
                    <a:pt x="5279" y="2024"/>
                  </a:lnTo>
                  <a:lnTo>
                    <a:pt x="5264" y="2002"/>
                  </a:lnTo>
                  <a:lnTo>
                    <a:pt x="5255" y="1991"/>
                  </a:lnTo>
                  <a:lnTo>
                    <a:pt x="5236" y="1973"/>
                  </a:lnTo>
                  <a:lnTo>
                    <a:pt x="5228" y="1963"/>
                  </a:lnTo>
                  <a:lnTo>
                    <a:pt x="5220" y="1954"/>
                  </a:lnTo>
                  <a:lnTo>
                    <a:pt x="5195" y="1947"/>
                  </a:lnTo>
                  <a:lnTo>
                    <a:pt x="5185" y="1942"/>
                  </a:lnTo>
                  <a:lnTo>
                    <a:pt x="5176" y="1930"/>
                  </a:lnTo>
                  <a:lnTo>
                    <a:pt x="5166" y="1906"/>
                  </a:lnTo>
                  <a:lnTo>
                    <a:pt x="5155" y="1897"/>
                  </a:lnTo>
                  <a:lnTo>
                    <a:pt x="5105" y="1880"/>
                  </a:lnTo>
                  <a:lnTo>
                    <a:pt x="5083" y="1869"/>
                  </a:lnTo>
                  <a:lnTo>
                    <a:pt x="5074" y="1859"/>
                  </a:lnTo>
                  <a:lnTo>
                    <a:pt x="5066" y="1848"/>
                  </a:lnTo>
                  <a:lnTo>
                    <a:pt x="5042" y="1816"/>
                  </a:lnTo>
                  <a:lnTo>
                    <a:pt x="5033" y="1806"/>
                  </a:lnTo>
                  <a:lnTo>
                    <a:pt x="5022" y="1801"/>
                  </a:lnTo>
                  <a:lnTo>
                    <a:pt x="5009" y="1800"/>
                  </a:lnTo>
                  <a:lnTo>
                    <a:pt x="4983" y="1801"/>
                  </a:lnTo>
                  <a:lnTo>
                    <a:pt x="4957" y="1794"/>
                  </a:lnTo>
                  <a:lnTo>
                    <a:pt x="4944" y="1794"/>
                  </a:lnTo>
                  <a:lnTo>
                    <a:pt x="4933" y="1797"/>
                  </a:lnTo>
                  <a:lnTo>
                    <a:pt x="4897" y="1807"/>
                  </a:lnTo>
                  <a:lnTo>
                    <a:pt x="4883" y="1807"/>
                  </a:lnTo>
                  <a:lnTo>
                    <a:pt x="4871" y="1811"/>
                  </a:lnTo>
                  <a:lnTo>
                    <a:pt x="4862" y="1818"/>
                  </a:lnTo>
                  <a:lnTo>
                    <a:pt x="4843" y="1837"/>
                  </a:lnTo>
                  <a:lnTo>
                    <a:pt x="4834" y="1847"/>
                  </a:lnTo>
                  <a:lnTo>
                    <a:pt x="4827" y="1858"/>
                  </a:lnTo>
                  <a:lnTo>
                    <a:pt x="4803" y="1904"/>
                  </a:lnTo>
                  <a:lnTo>
                    <a:pt x="4789" y="1925"/>
                  </a:lnTo>
                  <a:lnTo>
                    <a:pt x="4780" y="1933"/>
                  </a:lnTo>
                  <a:lnTo>
                    <a:pt x="4769" y="1940"/>
                  </a:lnTo>
                  <a:lnTo>
                    <a:pt x="4756" y="1934"/>
                  </a:lnTo>
                  <a:lnTo>
                    <a:pt x="4749" y="1924"/>
                  </a:lnTo>
                  <a:lnTo>
                    <a:pt x="4739" y="1914"/>
                  </a:lnTo>
                  <a:lnTo>
                    <a:pt x="4717" y="1898"/>
                  </a:lnTo>
                  <a:lnTo>
                    <a:pt x="4691" y="1883"/>
                  </a:lnTo>
                  <a:lnTo>
                    <a:pt x="4680" y="1877"/>
                  </a:lnTo>
                  <a:lnTo>
                    <a:pt x="4667" y="1874"/>
                  </a:lnTo>
                  <a:lnTo>
                    <a:pt x="4654" y="1871"/>
                  </a:lnTo>
                  <a:lnTo>
                    <a:pt x="4628" y="1870"/>
                  </a:lnTo>
                  <a:lnTo>
                    <a:pt x="4614" y="1873"/>
                  </a:lnTo>
                  <a:lnTo>
                    <a:pt x="4591" y="1882"/>
                  </a:lnTo>
                  <a:lnTo>
                    <a:pt x="4565" y="1883"/>
                  </a:lnTo>
                  <a:lnTo>
                    <a:pt x="4523" y="1883"/>
                  </a:lnTo>
                  <a:lnTo>
                    <a:pt x="4510" y="1886"/>
                  </a:lnTo>
                  <a:lnTo>
                    <a:pt x="4499" y="1893"/>
                  </a:lnTo>
                  <a:lnTo>
                    <a:pt x="4488" y="1902"/>
                  </a:lnTo>
                  <a:lnTo>
                    <a:pt x="4471" y="1922"/>
                  </a:lnTo>
                  <a:lnTo>
                    <a:pt x="4456" y="1943"/>
                  </a:lnTo>
                  <a:lnTo>
                    <a:pt x="4444" y="1945"/>
                  </a:lnTo>
                  <a:lnTo>
                    <a:pt x="4432" y="1937"/>
                  </a:lnTo>
                  <a:lnTo>
                    <a:pt x="4422" y="1931"/>
                  </a:lnTo>
                  <a:lnTo>
                    <a:pt x="4382" y="1894"/>
                  </a:lnTo>
                  <a:lnTo>
                    <a:pt x="4373" y="1883"/>
                  </a:lnTo>
                  <a:lnTo>
                    <a:pt x="4364" y="1874"/>
                  </a:lnTo>
                  <a:lnTo>
                    <a:pt x="4361" y="1861"/>
                  </a:lnTo>
                  <a:lnTo>
                    <a:pt x="4360" y="1837"/>
                  </a:lnTo>
                  <a:lnTo>
                    <a:pt x="4359" y="1825"/>
                  </a:lnTo>
                  <a:lnTo>
                    <a:pt x="4356" y="1812"/>
                  </a:lnTo>
                  <a:lnTo>
                    <a:pt x="4356" y="1800"/>
                  </a:lnTo>
                  <a:lnTo>
                    <a:pt x="4367" y="1790"/>
                  </a:lnTo>
                  <a:lnTo>
                    <a:pt x="4399" y="1769"/>
                  </a:lnTo>
                  <a:lnTo>
                    <a:pt x="4409" y="1760"/>
                  </a:lnTo>
                  <a:lnTo>
                    <a:pt x="4409" y="1746"/>
                  </a:lnTo>
                  <a:lnTo>
                    <a:pt x="4401" y="1720"/>
                  </a:lnTo>
                  <a:lnTo>
                    <a:pt x="4400" y="1708"/>
                  </a:lnTo>
                  <a:lnTo>
                    <a:pt x="4401" y="1680"/>
                  </a:lnTo>
                  <a:lnTo>
                    <a:pt x="4404" y="1667"/>
                  </a:lnTo>
                  <a:lnTo>
                    <a:pt x="4409" y="1655"/>
                  </a:lnTo>
                  <a:lnTo>
                    <a:pt x="4420" y="1630"/>
                  </a:lnTo>
                  <a:lnTo>
                    <a:pt x="4433" y="1609"/>
                  </a:lnTo>
                  <a:lnTo>
                    <a:pt x="4448" y="1586"/>
                  </a:lnTo>
                  <a:lnTo>
                    <a:pt x="4453" y="1573"/>
                  </a:lnTo>
                  <a:lnTo>
                    <a:pt x="4455" y="1548"/>
                  </a:lnTo>
                  <a:lnTo>
                    <a:pt x="4457" y="1535"/>
                  </a:lnTo>
                  <a:lnTo>
                    <a:pt x="4462" y="1522"/>
                  </a:lnTo>
                  <a:lnTo>
                    <a:pt x="4481" y="1476"/>
                  </a:lnTo>
                  <a:lnTo>
                    <a:pt x="4508" y="1401"/>
                  </a:lnTo>
                  <a:lnTo>
                    <a:pt x="4542" y="1313"/>
                  </a:lnTo>
                  <a:lnTo>
                    <a:pt x="4573" y="1237"/>
                  </a:lnTo>
                  <a:lnTo>
                    <a:pt x="4579" y="1227"/>
                  </a:lnTo>
                  <a:lnTo>
                    <a:pt x="4593" y="1230"/>
                  </a:lnTo>
                  <a:lnTo>
                    <a:pt x="4662" y="1272"/>
                  </a:lnTo>
                  <a:lnTo>
                    <a:pt x="4673" y="1279"/>
                  </a:lnTo>
                  <a:lnTo>
                    <a:pt x="4686" y="1284"/>
                  </a:lnTo>
                  <a:lnTo>
                    <a:pt x="4699" y="1286"/>
                  </a:lnTo>
                  <a:lnTo>
                    <a:pt x="4712" y="1287"/>
                  </a:lnTo>
                  <a:lnTo>
                    <a:pt x="4738" y="1285"/>
                  </a:lnTo>
                  <a:lnTo>
                    <a:pt x="4752" y="1286"/>
                  </a:lnTo>
                  <a:lnTo>
                    <a:pt x="4764" y="1288"/>
                  </a:lnTo>
                  <a:lnTo>
                    <a:pt x="4777" y="1293"/>
                  </a:lnTo>
                  <a:lnTo>
                    <a:pt x="4812" y="1312"/>
                  </a:lnTo>
                  <a:lnTo>
                    <a:pt x="4825" y="1311"/>
                  </a:lnTo>
                  <a:lnTo>
                    <a:pt x="4842" y="1289"/>
                  </a:lnTo>
                  <a:lnTo>
                    <a:pt x="4877" y="1273"/>
                  </a:lnTo>
                  <a:lnTo>
                    <a:pt x="4905" y="1247"/>
                  </a:lnTo>
                  <a:lnTo>
                    <a:pt x="4913" y="1236"/>
                  </a:lnTo>
                  <a:lnTo>
                    <a:pt x="4934" y="1222"/>
                  </a:lnTo>
                  <a:lnTo>
                    <a:pt x="4951" y="1205"/>
                  </a:lnTo>
                  <a:lnTo>
                    <a:pt x="4962" y="1198"/>
                  </a:lnTo>
                  <a:lnTo>
                    <a:pt x="4973" y="1176"/>
                  </a:lnTo>
                  <a:lnTo>
                    <a:pt x="4980" y="1167"/>
                  </a:lnTo>
                  <a:lnTo>
                    <a:pt x="5004" y="1157"/>
                  </a:lnTo>
                  <a:lnTo>
                    <a:pt x="5015" y="1154"/>
                  </a:lnTo>
                  <a:lnTo>
                    <a:pt x="5056" y="1142"/>
                  </a:lnTo>
                  <a:lnTo>
                    <a:pt x="5080" y="1137"/>
                  </a:lnTo>
                  <a:lnTo>
                    <a:pt x="5093" y="1129"/>
                  </a:lnTo>
                  <a:lnTo>
                    <a:pt x="5101" y="1119"/>
                  </a:lnTo>
                  <a:lnTo>
                    <a:pt x="5109" y="1109"/>
                  </a:lnTo>
                  <a:lnTo>
                    <a:pt x="5119" y="1102"/>
                  </a:lnTo>
                  <a:lnTo>
                    <a:pt x="5127" y="1092"/>
                  </a:lnTo>
                  <a:lnTo>
                    <a:pt x="5138" y="1070"/>
                  </a:lnTo>
                  <a:lnTo>
                    <a:pt x="5133" y="1045"/>
                  </a:lnTo>
                  <a:lnTo>
                    <a:pt x="5140" y="1019"/>
                  </a:lnTo>
                  <a:lnTo>
                    <a:pt x="5131" y="1011"/>
                  </a:lnTo>
                  <a:lnTo>
                    <a:pt x="5118" y="1010"/>
                  </a:lnTo>
                  <a:lnTo>
                    <a:pt x="5106" y="1012"/>
                  </a:lnTo>
                  <a:lnTo>
                    <a:pt x="5093" y="1010"/>
                  </a:lnTo>
                  <a:lnTo>
                    <a:pt x="5093" y="997"/>
                  </a:lnTo>
                  <a:lnTo>
                    <a:pt x="5103" y="989"/>
                  </a:lnTo>
                  <a:lnTo>
                    <a:pt x="5110" y="978"/>
                  </a:lnTo>
                  <a:lnTo>
                    <a:pt x="5116" y="954"/>
                  </a:lnTo>
                  <a:lnTo>
                    <a:pt x="5121" y="940"/>
                  </a:lnTo>
                  <a:lnTo>
                    <a:pt x="5146" y="894"/>
                  </a:lnTo>
                  <a:lnTo>
                    <a:pt x="5151" y="883"/>
                  </a:lnTo>
                  <a:lnTo>
                    <a:pt x="5154" y="870"/>
                  </a:lnTo>
                  <a:lnTo>
                    <a:pt x="5153" y="845"/>
                  </a:lnTo>
                  <a:lnTo>
                    <a:pt x="5155" y="833"/>
                  </a:lnTo>
                  <a:lnTo>
                    <a:pt x="5171" y="799"/>
                  </a:lnTo>
                  <a:lnTo>
                    <a:pt x="5190" y="780"/>
                  </a:lnTo>
                  <a:lnTo>
                    <a:pt x="5197" y="768"/>
                  </a:lnTo>
                  <a:lnTo>
                    <a:pt x="5201" y="756"/>
                  </a:lnTo>
                  <a:lnTo>
                    <a:pt x="5199" y="728"/>
                  </a:lnTo>
                  <a:lnTo>
                    <a:pt x="5205" y="716"/>
                  </a:lnTo>
                  <a:lnTo>
                    <a:pt x="5213" y="705"/>
                  </a:lnTo>
                  <a:lnTo>
                    <a:pt x="5224" y="679"/>
                  </a:lnTo>
                  <a:lnTo>
                    <a:pt x="5226" y="668"/>
                  </a:lnTo>
                  <a:lnTo>
                    <a:pt x="5232" y="657"/>
                  </a:lnTo>
                  <a:lnTo>
                    <a:pt x="5235" y="644"/>
                  </a:lnTo>
                  <a:lnTo>
                    <a:pt x="5235" y="633"/>
                  </a:lnTo>
                  <a:lnTo>
                    <a:pt x="5244" y="608"/>
                  </a:lnTo>
                  <a:lnTo>
                    <a:pt x="5247" y="583"/>
                  </a:lnTo>
                  <a:lnTo>
                    <a:pt x="5249" y="571"/>
                  </a:lnTo>
                  <a:lnTo>
                    <a:pt x="5260" y="563"/>
                  </a:lnTo>
                  <a:lnTo>
                    <a:pt x="5272" y="558"/>
                  </a:lnTo>
                  <a:lnTo>
                    <a:pt x="5305" y="515"/>
                  </a:lnTo>
                  <a:lnTo>
                    <a:pt x="5315" y="507"/>
                  </a:lnTo>
                  <a:lnTo>
                    <a:pt x="5325" y="499"/>
                  </a:lnTo>
                  <a:lnTo>
                    <a:pt x="5332" y="490"/>
                  </a:lnTo>
                  <a:lnTo>
                    <a:pt x="5341" y="481"/>
                  </a:lnTo>
                  <a:lnTo>
                    <a:pt x="5354" y="474"/>
                  </a:lnTo>
                  <a:lnTo>
                    <a:pt x="5363" y="465"/>
                  </a:lnTo>
                  <a:lnTo>
                    <a:pt x="5369" y="454"/>
                  </a:lnTo>
                  <a:lnTo>
                    <a:pt x="5372" y="442"/>
                  </a:lnTo>
                  <a:lnTo>
                    <a:pt x="5370" y="428"/>
                  </a:lnTo>
                  <a:lnTo>
                    <a:pt x="5380" y="405"/>
                  </a:lnTo>
                  <a:lnTo>
                    <a:pt x="5379" y="392"/>
                  </a:lnTo>
                  <a:lnTo>
                    <a:pt x="5376" y="381"/>
                  </a:lnTo>
                  <a:lnTo>
                    <a:pt x="5371" y="368"/>
                  </a:lnTo>
                  <a:lnTo>
                    <a:pt x="5363" y="359"/>
                  </a:lnTo>
                  <a:lnTo>
                    <a:pt x="5352" y="351"/>
                  </a:lnTo>
                  <a:lnTo>
                    <a:pt x="5344" y="342"/>
                  </a:lnTo>
                  <a:lnTo>
                    <a:pt x="5345" y="329"/>
                  </a:lnTo>
                  <a:lnTo>
                    <a:pt x="5352" y="303"/>
                  </a:lnTo>
                  <a:lnTo>
                    <a:pt x="5350" y="278"/>
                  </a:lnTo>
                  <a:lnTo>
                    <a:pt x="5343" y="267"/>
                  </a:lnTo>
                  <a:lnTo>
                    <a:pt x="5331" y="261"/>
                  </a:lnTo>
                  <a:lnTo>
                    <a:pt x="5305" y="254"/>
                  </a:lnTo>
                  <a:lnTo>
                    <a:pt x="5294" y="253"/>
                  </a:lnTo>
                  <a:lnTo>
                    <a:pt x="5281" y="255"/>
                  </a:lnTo>
                  <a:lnTo>
                    <a:pt x="5245" y="267"/>
                  </a:lnTo>
                  <a:lnTo>
                    <a:pt x="5232" y="270"/>
                  </a:lnTo>
                  <a:lnTo>
                    <a:pt x="5221" y="269"/>
                  </a:lnTo>
                  <a:lnTo>
                    <a:pt x="5211" y="260"/>
                  </a:lnTo>
                  <a:lnTo>
                    <a:pt x="5210" y="246"/>
                  </a:lnTo>
                  <a:lnTo>
                    <a:pt x="5210" y="235"/>
                  </a:lnTo>
                  <a:lnTo>
                    <a:pt x="5207" y="221"/>
                  </a:lnTo>
                  <a:lnTo>
                    <a:pt x="5212" y="208"/>
                  </a:lnTo>
                  <a:lnTo>
                    <a:pt x="5222" y="201"/>
                  </a:lnTo>
                  <a:lnTo>
                    <a:pt x="5232" y="193"/>
                  </a:lnTo>
                  <a:lnTo>
                    <a:pt x="5242" y="186"/>
                  </a:lnTo>
                  <a:lnTo>
                    <a:pt x="5251" y="175"/>
                  </a:lnTo>
                  <a:lnTo>
                    <a:pt x="5260" y="165"/>
                  </a:lnTo>
                  <a:lnTo>
                    <a:pt x="5282" y="130"/>
                  </a:lnTo>
                  <a:lnTo>
                    <a:pt x="5307" y="100"/>
                  </a:lnTo>
                  <a:lnTo>
                    <a:pt x="5317" y="91"/>
                  </a:lnTo>
                  <a:lnTo>
                    <a:pt x="5325" y="80"/>
                  </a:lnTo>
                  <a:lnTo>
                    <a:pt x="5330" y="68"/>
                  </a:lnTo>
                  <a:lnTo>
                    <a:pt x="5351" y="34"/>
                  </a:lnTo>
                  <a:lnTo>
                    <a:pt x="5362" y="28"/>
                  </a:lnTo>
                  <a:lnTo>
                    <a:pt x="5373" y="24"/>
                  </a:lnTo>
                  <a:lnTo>
                    <a:pt x="5400" y="21"/>
                  </a:lnTo>
                  <a:lnTo>
                    <a:pt x="5412" y="20"/>
                  </a:lnTo>
                  <a:lnTo>
                    <a:pt x="5425" y="21"/>
                  </a:lnTo>
                  <a:lnTo>
                    <a:pt x="5437" y="20"/>
                  </a:lnTo>
                  <a:lnTo>
                    <a:pt x="5459" y="8"/>
                  </a:lnTo>
                  <a:lnTo>
                    <a:pt x="5487" y="0"/>
                  </a:lnTo>
                  <a:lnTo>
                    <a:pt x="5487" y="0"/>
                  </a:lnTo>
                  <a:lnTo>
                    <a:pt x="5507" y="18"/>
                  </a:lnTo>
                  <a:lnTo>
                    <a:pt x="5519" y="22"/>
                  </a:lnTo>
                  <a:lnTo>
                    <a:pt x="5523" y="24"/>
                  </a:lnTo>
                  <a:lnTo>
                    <a:pt x="5525" y="30"/>
                  </a:lnTo>
                  <a:lnTo>
                    <a:pt x="5523" y="42"/>
                  </a:lnTo>
                  <a:lnTo>
                    <a:pt x="5525" y="45"/>
                  </a:lnTo>
                  <a:lnTo>
                    <a:pt x="5534" y="48"/>
                  </a:lnTo>
                  <a:lnTo>
                    <a:pt x="5549" y="49"/>
                  </a:lnTo>
                  <a:lnTo>
                    <a:pt x="5553" y="51"/>
                  </a:lnTo>
                  <a:lnTo>
                    <a:pt x="5554" y="56"/>
                  </a:lnTo>
                  <a:lnTo>
                    <a:pt x="5557" y="73"/>
                  </a:lnTo>
                  <a:lnTo>
                    <a:pt x="5563" y="79"/>
                  </a:lnTo>
                  <a:lnTo>
                    <a:pt x="5566" y="87"/>
                  </a:lnTo>
                  <a:lnTo>
                    <a:pt x="5564" y="92"/>
                  </a:lnTo>
                  <a:lnTo>
                    <a:pt x="5559" y="95"/>
                  </a:lnTo>
                  <a:lnTo>
                    <a:pt x="5535" y="100"/>
                  </a:lnTo>
                  <a:lnTo>
                    <a:pt x="5532" y="103"/>
                  </a:lnTo>
                  <a:lnTo>
                    <a:pt x="5520" y="137"/>
                  </a:lnTo>
                  <a:lnTo>
                    <a:pt x="5517" y="159"/>
                  </a:lnTo>
                  <a:lnTo>
                    <a:pt x="5512" y="175"/>
                  </a:lnTo>
                  <a:lnTo>
                    <a:pt x="5510" y="177"/>
                  </a:lnTo>
                  <a:lnTo>
                    <a:pt x="5501" y="181"/>
                  </a:lnTo>
                  <a:lnTo>
                    <a:pt x="5499" y="183"/>
                  </a:lnTo>
                  <a:lnTo>
                    <a:pt x="5482" y="221"/>
                  </a:lnTo>
                  <a:lnTo>
                    <a:pt x="5478" y="225"/>
                  </a:lnTo>
                  <a:lnTo>
                    <a:pt x="5470" y="231"/>
                  </a:lnTo>
                  <a:lnTo>
                    <a:pt x="5462" y="239"/>
                  </a:lnTo>
                  <a:lnTo>
                    <a:pt x="5454" y="253"/>
                  </a:lnTo>
                  <a:lnTo>
                    <a:pt x="5452" y="258"/>
                  </a:lnTo>
                  <a:lnTo>
                    <a:pt x="5453" y="261"/>
                  </a:lnTo>
                  <a:lnTo>
                    <a:pt x="5455" y="262"/>
                  </a:lnTo>
                  <a:lnTo>
                    <a:pt x="5459" y="262"/>
                  </a:lnTo>
                  <a:lnTo>
                    <a:pt x="5470" y="261"/>
                  </a:lnTo>
                  <a:lnTo>
                    <a:pt x="5474" y="261"/>
                  </a:lnTo>
                  <a:lnTo>
                    <a:pt x="5497" y="276"/>
                  </a:lnTo>
                  <a:lnTo>
                    <a:pt x="5514" y="285"/>
                  </a:lnTo>
                  <a:lnTo>
                    <a:pt x="5533" y="290"/>
                  </a:lnTo>
                  <a:lnTo>
                    <a:pt x="5544" y="292"/>
                  </a:lnTo>
                  <a:lnTo>
                    <a:pt x="5554" y="292"/>
                  </a:lnTo>
                  <a:lnTo>
                    <a:pt x="5561" y="293"/>
                  </a:lnTo>
                  <a:lnTo>
                    <a:pt x="5569" y="298"/>
                  </a:lnTo>
                  <a:lnTo>
                    <a:pt x="5570" y="301"/>
                  </a:lnTo>
                  <a:lnTo>
                    <a:pt x="5573" y="308"/>
                  </a:lnTo>
                  <a:lnTo>
                    <a:pt x="5574" y="320"/>
                  </a:lnTo>
                  <a:lnTo>
                    <a:pt x="5577" y="325"/>
                  </a:lnTo>
                  <a:lnTo>
                    <a:pt x="5585" y="329"/>
                  </a:lnTo>
                  <a:lnTo>
                    <a:pt x="5601" y="334"/>
                  </a:lnTo>
                  <a:lnTo>
                    <a:pt x="5607" y="334"/>
                  </a:lnTo>
                  <a:lnTo>
                    <a:pt x="5614" y="332"/>
                  </a:lnTo>
                  <a:lnTo>
                    <a:pt x="5619" y="329"/>
                  </a:lnTo>
                  <a:lnTo>
                    <a:pt x="5623" y="325"/>
                  </a:lnTo>
                  <a:lnTo>
                    <a:pt x="5633" y="297"/>
                  </a:lnTo>
                  <a:lnTo>
                    <a:pt x="5657" y="246"/>
                  </a:lnTo>
                  <a:lnTo>
                    <a:pt x="5660" y="248"/>
                  </a:lnTo>
                  <a:lnTo>
                    <a:pt x="5668" y="255"/>
                  </a:lnTo>
                  <a:lnTo>
                    <a:pt x="5672" y="258"/>
                  </a:lnTo>
                  <a:lnTo>
                    <a:pt x="5696" y="261"/>
                  </a:lnTo>
                  <a:lnTo>
                    <a:pt x="5697" y="265"/>
                  </a:lnTo>
                  <a:lnTo>
                    <a:pt x="5694" y="273"/>
                  </a:lnTo>
                  <a:lnTo>
                    <a:pt x="5694" y="281"/>
                  </a:lnTo>
                  <a:lnTo>
                    <a:pt x="5698" y="285"/>
                  </a:lnTo>
                  <a:lnTo>
                    <a:pt x="5706" y="278"/>
                  </a:lnTo>
                  <a:lnTo>
                    <a:pt x="5709" y="279"/>
                  </a:lnTo>
                  <a:lnTo>
                    <a:pt x="5712" y="283"/>
                  </a:lnTo>
                  <a:lnTo>
                    <a:pt x="5723" y="307"/>
                  </a:lnTo>
                  <a:lnTo>
                    <a:pt x="5726" y="311"/>
                  </a:lnTo>
                  <a:lnTo>
                    <a:pt x="5730" y="313"/>
                  </a:lnTo>
                  <a:lnTo>
                    <a:pt x="5739" y="314"/>
                  </a:lnTo>
                  <a:lnTo>
                    <a:pt x="5755" y="311"/>
                  </a:lnTo>
                  <a:lnTo>
                    <a:pt x="5763" y="311"/>
                  </a:lnTo>
                  <a:lnTo>
                    <a:pt x="5767" y="309"/>
                  </a:lnTo>
                  <a:lnTo>
                    <a:pt x="5772" y="306"/>
                  </a:lnTo>
                  <a:lnTo>
                    <a:pt x="5780" y="303"/>
                  </a:lnTo>
                  <a:lnTo>
                    <a:pt x="5784" y="305"/>
                  </a:lnTo>
                  <a:lnTo>
                    <a:pt x="5786" y="311"/>
                  </a:lnTo>
                  <a:lnTo>
                    <a:pt x="5788" y="319"/>
                  </a:lnTo>
                  <a:lnTo>
                    <a:pt x="5786" y="343"/>
                  </a:lnTo>
                  <a:lnTo>
                    <a:pt x="5785" y="344"/>
                  </a:lnTo>
                  <a:lnTo>
                    <a:pt x="5782" y="345"/>
                  </a:lnTo>
                  <a:lnTo>
                    <a:pt x="5776" y="346"/>
                  </a:lnTo>
                  <a:lnTo>
                    <a:pt x="5770" y="346"/>
                  </a:lnTo>
                  <a:lnTo>
                    <a:pt x="5767" y="348"/>
                  </a:lnTo>
                  <a:lnTo>
                    <a:pt x="5766" y="352"/>
                  </a:lnTo>
                  <a:lnTo>
                    <a:pt x="5765" y="359"/>
                  </a:lnTo>
                  <a:lnTo>
                    <a:pt x="5765" y="368"/>
                  </a:lnTo>
                  <a:lnTo>
                    <a:pt x="5766" y="375"/>
                  </a:lnTo>
                  <a:lnTo>
                    <a:pt x="5768" y="380"/>
                  </a:lnTo>
                  <a:lnTo>
                    <a:pt x="5771" y="382"/>
                  </a:lnTo>
                  <a:lnTo>
                    <a:pt x="5775" y="382"/>
                  </a:lnTo>
                  <a:lnTo>
                    <a:pt x="5780" y="380"/>
                  </a:lnTo>
                  <a:lnTo>
                    <a:pt x="5783" y="381"/>
                  </a:lnTo>
                  <a:lnTo>
                    <a:pt x="5795" y="414"/>
                  </a:lnTo>
                  <a:lnTo>
                    <a:pt x="5812" y="451"/>
                  </a:lnTo>
                  <a:lnTo>
                    <a:pt x="5819" y="476"/>
                  </a:lnTo>
                  <a:lnTo>
                    <a:pt x="5821" y="479"/>
                  </a:lnTo>
                  <a:lnTo>
                    <a:pt x="5832" y="483"/>
                  </a:lnTo>
                  <a:lnTo>
                    <a:pt x="5836" y="494"/>
                  </a:lnTo>
                  <a:lnTo>
                    <a:pt x="5842" y="508"/>
                  </a:lnTo>
                  <a:lnTo>
                    <a:pt x="5847" y="521"/>
                  </a:lnTo>
                  <a:lnTo>
                    <a:pt x="5859" y="540"/>
                  </a:lnTo>
                  <a:lnTo>
                    <a:pt x="5857" y="563"/>
                  </a:lnTo>
                  <a:lnTo>
                    <a:pt x="5858" y="572"/>
                  </a:lnTo>
                  <a:lnTo>
                    <a:pt x="5860" y="579"/>
                  </a:lnTo>
                  <a:lnTo>
                    <a:pt x="5868" y="586"/>
                  </a:lnTo>
                  <a:lnTo>
                    <a:pt x="5876" y="603"/>
                  </a:lnTo>
                  <a:lnTo>
                    <a:pt x="5880" y="606"/>
                  </a:lnTo>
                  <a:lnTo>
                    <a:pt x="5892" y="611"/>
                  </a:lnTo>
                  <a:lnTo>
                    <a:pt x="5902" y="612"/>
                  </a:lnTo>
                  <a:lnTo>
                    <a:pt x="5911" y="611"/>
                  </a:lnTo>
                  <a:lnTo>
                    <a:pt x="5922" y="614"/>
                  </a:lnTo>
                  <a:lnTo>
                    <a:pt x="5930" y="619"/>
                  </a:lnTo>
                  <a:lnTo>
                    <a:pt x="5948" y="634"/>
                  </a:lnTo>
                  <a:lnTo>
                    <a:pt x="5960" y="641"/>
                  </a:lnTo>
                  <a:lnTo>
                    <a:pt x="5962" y="642"/>
                  </a:lnTo>
                  <a:lnTo>
                    <a:pt x="5967" y="639"/>
                  </a:lnTo>
                  <a:lnTo>
                    <a:pt x="5978" y="623"/>
                  </a:lnTo>
                  <a:lnTo>
                    <a:pt x="5988" y="618"/>
                  </a:lnTo>
                  <a:lnTo>
                    <a:pt x="5997" y="605"/>
                  </a:lnTo>
                  <a:lnTo>
                    <a:pt x="6008" y="601"/>
                  </a:lnTo>
                  <a:lnTo>
                    <a:pt x="6015" y="596"/>
                  </a:lnTo>
                  <a:lnTo>
                    <a:pt x="6021" y="586"/>
                  </a:lnTo>
                  <a:lnTo>
                    <a:pt x="6030" y="566"/>
                  </a:lnTo>
                  <a:lnTo>
                    <a:pt x="6035" y="561"/>
                  </a:lnTo>
                  <a:lnTo>
                    <a:pt x="6037" y="562"/>
                  </a:lnTo>
                  <a:lnTo>
                    <a:pt x="6044" y="570"/>
                  </a:lnTo>
                  <a:lnTo>
                    <a:pt x="6058" y="570"/>
                  </a:lnTo>
                  <a:lnTo>
                    <a:pt x="6068" y="586"/>
                  </a:lnTo>
                  <a:lnTo>
                    <a:pt x="6076" y="589"/>
                  </a:lnTo>
                  <a:lnTo>
                    <a:pt x="6093" y="590"/>
                  </a:lnTo>
                  <a:lnTo>
                    <a:pt x="6107" y="594"/>
                  </a:lnTo>
                  <a:lnTo>
                    <a:pt x="6120" y="586"/>
                  </a:lnTo>
                  <a:lnTo>
                    <a:pt x="6141" y="570"/>
                  </a:lnTo>
                  <a:lnTo>
                    <a:pt x="6149" y="573"/>
                  </a:lnTo>
                  <a:lnTo>
                    <a:pt x="6162" y="582"/>
                  </a:lnTo>
                  <a:lnTo>
                    <a:pt x="6169" y="585"/>
                  </a:lnTo>
                  <a:lnTo>
                    <a:pt x="6176" y="587"/>
                  </a:lnTo>
                  <a:lnTo>
                    <a:pt x="6182" y="586"/>
                  </a:lnTo>
                  <a:lnTo>
                    <a:pt x="6185" y="581"/>
                  </a:lnTo>
                  <a:lnTo>
                    <a:pt x="6191" y="562"/>
                  </a:lnTo>
                  <a:lnTo>
                    <a:pt x="6201" y="548"/>
                  </a:lnTo>
                  <a:lnTo>
                    <a:pt x="6206" y="547"/>
                  </a:lnTo>
                  <a:lnTo>
                    <a:pt x="6226" y="558"/>
                  </a:lnTo>
                  <a:lnTo>
                    <a:pt x="6231" y="557"/>
                  </a:lnTo>
                  <a:lnTo>
                    <a:pt x="6239" y="552"/>
                  </a:lnTo>
                  <a:lnTo>
                    <a:pt x="6250" y="545"/>
                  </a:lnTo>
                  <a:lnTo>
                    <a:pt x="6256" y="531"/>
                  </a:lnTo>
                  <a:lnTo>
                    <a:pt x="6269" y="530"/>
                  </a:lnTo>
                  <a:lnTo>
                    <a:pt x="6274" y="526"/>
                  </a:lnTo>
                  <a:lnTo>
                    <a:pt x="6278" y="518"/>
                  </a:lnTo>
                  <a:lnTo>
                    <a:pt x="6285" y="510"/>
                  </a:lnTo>
                  <a:lnTo>
                    <a:pt x="6284" y="507"/>
                  </a:lnTo>
                  <a:lnTo>
                    <a:pt x="6281" y="499"/>
                  </a:lnTo>
                  <a:lnTo>
                    <a:pt x="6282" y="495"/>
                  </a:lnTo>
                  <a:lnTo>
                    <a:pt x="6284" y="492"/>
                  </a:lnTo>
                  <a:lnTo>
                    <a:pt x="6296" y="483"/>
                  </a:lnTo>
                  <a:lnTo>
                    <a:pt x="6302" y="477"/>
                  </a:lnTo>
                  <a:lnTo>
                    <a:pt x="6305" y="473"/>
                  </a:lnTo>
                  <a:lnTo>
                    <a:pt x="6306" y="468"/>
                  </a:lnTo>
                  <a:lnTo>
                    <a:pt x="6305" y="457"/>
                  </a:lnTo>
                  <a:lnTo>
                    <a:pt x="6307" y="441"/>
                  </a:lnTo>
                  <a:lnTo>
                    <a:pt x="6306" y="432"/>
                  </a:lnTo>
                  <a:lnTo>
                    <a:pt x="6310" y="427"/>
                  </a:lnTo>
                  <a:lnTo>
                    <a:pt x="6316" y="426"/>
                  </a:lnTo>
                  <a:lnTo>
                    <a:pt x="6319" y="427"/>
                  </a:lnTo>
                  <a:lnTo>
                    <a:pt x="6322" y="434"/>
                  </a:lnTo>
                  <a:lnTo>
                    <a:pt x="6325" y="436"/>
                  </a:lnTo>
                  <a:lnTo>
                    <a:pt x="6332" y="437"/>
                  </a:lnTo>
                  <a:lnTo>
                    <a:pt x="6344" y="441"/>
                  </a:lnTo>
                  <a:lnTo>
                    <a:pt x="6358" y="438"/>
                  </a:lnTo>
                  <a:lnTo>
                    <a:pt x="6362" y="440"/>
                  </a:lnTo>
                  <a:lnTo>
                    <a:pt x="6413" y="486"/>
                  </a:lnTo>
                  <a:lnTo>
                    <a:pt x="6456" y="531"/>
                  </a:lnTo>
                  <a:lnTo>
                    <a:pt x="6471" y="544"/>
                  </a:lnTo>
                  <a:lnTo>
                    <a:pt x="6484" y="554"/>
                  </a:lnTo>
                  <a:lnTo>
                    <a:pt x="6489" y="552"/>
                  </a:lnTo>
                  <a:lnTo>
                    <a:pt x="6491" y="554"/>
                  </a:lnTo>
                  <a:lnTo>
                    <a:pt x="6503" y="568"/>
                  </a:lnTo>
                  <a:lnTo>
                    <a:pt x="6508" y="572"/>
                  </a:lnTo>
                  <a:lnTo>
                    <a:pt x="6523" y="578"/>
                  </a:lnTo>
                  <a:lnTo>
                    <a:pt x="6542" y="610"/>
                  </a:lnTo>
                  <a:lnTo>
                    <a:pt x="6548" y="623"/>
                  </a:lnTo>
                  <a:lnTo>
                    <a:pt x="6548" y="629"/>
                  </a:lnTo>
                  <a:lnTo>
                    <a:pt x="6547" y="636"/>
                  </a:lnTo>
                  <a:lnTo>
                    <a:pt x="6541" y="653"/>
                  </a:lnTo>
                  <a:lnTo>
                    <a:pt x="6538" y="656"/>
                  </a:lnTo>
                  <a:lnTo>
                    <a:pt x="6530" y="661"/>
                  </a:lnTo>
                  <a:lnTo>
                    <a:pt x="6527" y="665"/>
                  </a:lnTo>
                  <a:lnTo>
                    <a:pt x="6520" y="679"/>
                  </a:lnTo>
                  <a:lnTo>
                    <a:pt x="6512" y="691"/>
                  </a:lnTo>
                  <a:lnTo>
                    <a:pt x="6508" y="702"/>
                  </a:lnTo>
                  <a:lnTo>
                    <a:pt x="6499" y="711"/>
                  </a:lnTo>
                  <a:lnTo>
                    <a:pt x="6500" y="713"/>
                  </a:lnTo>
                  <a:lnTo>
                    <a:pt x="6506" y="720"/>
                  </a:lnTo>
                  <a:lnTo>
                    <a:pt x="6509" y="726"/>
                  </a:lnTo>
                  <a:lnTo>
                    <a:pt x="6515" y="764"/>
                  </a:lnTo>
                  <a:lnTo>
                    <a:pt x="6515" y="773"/>
                  </a:lnTo>
                  <a:lnTo>
                    <a:pt x="6514" y="780"/>
                  </a:lnTo>
                  <a:lnTo>
                    <a:pt x="6510" y="784"/>
                  </a:lnTo>
                  <a:lnTo>
                    <a:pt x="6507" y="787"/>
                  </a:lnTo>
                  <a:lnTo>
                    <a:pt x="6503" y="791"/>
                  </a:lnTo>
                  <a:lnTo>
                    <a:pt x="6494" y="793"/>
                  </a:lnTo>
                  <a:lnTo>
                    <a:pt x="6485" y="805"/>
                  </a:lnTo>
                  <a:lnTo>
                    <a:pt x="6473" y="808"/>
                  </a:lnTo>
                  <a:lnTo>
                    <a:pt x="6469" y="812"/>
                  </a:lnTo>
                  <a:lnTo>
                    <a:pt x="6469" y="821"/>
                  </a:lnTo>
                  <a:lnTo>
                    <a:pt x="6463" y="829"/>
                  </a:lnTo>
                  <a:lnTo>
                    <a:pt x="6462" y="855"/>
                  </a:lnTo>
                  <a:lnTo>
                    <a:pt x="6453" y="874"/>
                  </a:lnTo>
                  <a:lnTo>
                    <a:pt x="6453" y="891"/>
                  </a:lnTo>
                  <a:lnTo>
                    <a:pt x="6450" y="894"/>
                  </a:lnTo>
                  <a:lnTo>
                    <a:pt x="6443" y="899"/>
                  </a:lnTo>
                  <a:lnTo>
                    <a:pt x="6442" y="901"/>
                  </a:lnTo>
                  <a:lnTo>
                    <a:pt x="6443" y="916"/>
                  </a:lnTo>
                  <a:lnTo>
                    <a:pt x="6439" y="918"/>
                  </a:lnTo>
                  <a:lnTo>
                    <a:pt x="6434" y="920"/>
                  </a:lnTo>
                  <a:lnTo>
                    <a:pt x="6430" y="924"/>
                  </a:lnTo>
                  <a:lnTo>
                    <a:pt x="6429" y="929"/>
                  </a:lnTo>
                  <a:lnTo>
                    <a:pt x="6434" y="937"/>
                  </a:lnTo>
                  <a:lnTo>
                    <a:pt x="6434" y="941"/>
                  </a:lnTo>
                  <a:lnTo>
                    <a:pt x="6428" y="948"/>
                  </a:lnTo>
                  <a:lnTo>
                    <a:pt x="6429" y="961"/>
                  </a:lnTo>
                  <a:lnTo>
                    <a:pt x="6428" y="967"/>
                  </a:lnTo>
                  <a:lnTo>
                    <a:pt x="6419" y="978"/>
                  </a:lnTo>
                  <a:lnTo>
                    <a:pt x="6416" y="983"/>
                  </a:lnTo>
                  <a:lnTo>
                    <a:pt x="6417" y="986"/>
                  </a:lnTo>
                  <a:lnTo>
                    <a:pt x="6425" y="999"/>
                  </a:lnTo>
                  <a:lnTo>
                    <a:pt x="6428" y="1008"/>
                  </a:lnTo>
                  <a:lnTo>
                    <a:pt x="6428" y="1015"/>
                  </a:lnTo>
                  <a:lnTo>
                    <a:pt x="6424" y="1022"/>
                  </a:lnTo>
                  <a:lnTo>
                    <a:pt x="6424" y="1027"/>
                  </a:lnTo>
                  <a:lnTo>
                    <a:pt x="6428" y="1036"/>
                  </a:lnTo>
                  <a:lnTo>
                    <a:pt x="6431" y="1045"/>
                  </a:lnTo>
                  <a:lnTo>
                    <a:pt x="6435" y="1078"/>
                  </a:lnTo>
                  <a:lnTo>
                    <a:pt x="6434" y="1081"/>
                  </a:lnTo>
                  <a:lnTo>
                    <a:pt x="6431" y="1085"/>
                  </a:lnTo>
                  <a:lnTo>
                    <a:pt x="6421" y="1083"/>
                  </a:lnTo>
                  <a:lnTo>
                    <a:pt x="6418" y="1084"/>
                  </a:lnTo>
                  <a:lnTo>
                    <a:pt x="6417" y="1086"/>
                  </a:lnTo>
                  <a:lnTo>
                    <a:pt x="6421" y="1091"/>
                  </a:lnTo>
                  <a:lnTo>
                    <a:pt x="6438" y="1105"/>
                  </a:lnTo>
                  <a:lnTo>
                    <a:pt x="6443" y="1113"/>
                  </a:lnTo>
                  <a:lnTo>
                    <a:pt x="6458" y="1169"/>
                  </a:lnTo>
                  <a:lnTo>
                    <a:pt x="6460" y="1187"/>
                  </a:lnTo>
                  <a:lnTo>
                    <a:pt x="6458" y="1207"/>
                  </a:lnTo>
                  <a:lnTo>
                    <a:pt x="6455" y="1224"/>
                  </a:lnTo>
                  <a:lnTo>
                    <a:pt x="6446" y="1237"/>
                  </a:lnTo>
                  <a:lnTo>
                    <a:pt x="6445" y="1252"/>
                  </a:lnTo>
                  <a:lnTo>
                    <a:pt x="6444" y="1255"/>
                  </a:lnTo>
                  <a:lnTo>
                    <a:pt x="6439" y="1257"/>
                  </a:lnTo>
                  <a:lnTo>
                    <a:pt x="6435" y="1258"/>
                  </a:lnTo>
                  <a:lnTo>
                    <a:pt x="6419" y="1249"/>
                  </a:lnTo>
                  <a:lnTo>
                    <a:pt x="6406" y="1249"/>
                  </a:lnTo>
                  <a:lnTo>
                    <a:pt x="6392" y="1247"/>
                  </a:lnTo>
                  <a:lnTo>
                    <a:pt x="6388" y="1250"/>
                  </a:lnTo>
                  <a:lnTo>
                    <a:pt x="6384" y="1254"/>
                  </a:lnTo>
                  <a:lnTo>
                    <a:pt x="6377" y="1270"/>
                  </a:lnTo>
                  <a:lnTo>
                    <a:pt x="6376" y="1290"/>
                  </a:lnTo>
                  <a:lnTo>
                    <a:pt x="6373" y="1306"/>
                  </a:lnTo>
                  <a:lnTo>
                    <a:pt x="6361" y="1356"/>
                  </a:lnTo>
                  <a:lnTo>
                    <a:pt x="6355" y="1371"/>
                  </a:lnTo>
                  <a:lnTo>
                    <a:pt x="6354" y="1385"/>
                  </a:lnTo>
                  <a:lnTo>
                    <a:pt x="6350" y="1395"/>
                  </a:lnTo>
                  <a:lnTo>
                    <a:pt x="6350" y="1422"/>
                  </a:lnTo>
                  <a:lnTo>
                    <a:pt x="6344" y="1451"/>
                  </a:lnTo>
                  <a:lnTo>
                    <a:pt x="6344" y="1473"/>
                  </a:lnTo>
                  <a:lnTo>
                    <a:pt x="6346" y="1516"/>
                  </a:lnTo>
                  <a:lnTo>
                    <a:pt x="6347" y="1523"/>
                  </a:lnTo>
                  <a:lnTo>
                    <a:pt x="6359" y="1548"/>
                  </a:lnTo>
                  <a:lnTo>
                    <a:pt x="6360" y="1554"/>
                  </a:lnTo>
                  <a:lnTo>
                    <a:pt x="6358" y="1575"/>
                  </a:lnTo>
                  <a:lnTo>
                    <a:pt x="6350" y="1599"/>
                  </a:lnTo>
                  <a:lnTo>
                    <a:pt x="6348" y="1601"/>
                  </a:lnTo>
                  <a:lnTo>
                    <a:pt x="6345" y="1598"/>
                  </a:lnTo>
                  <a:lnTo>
                    <a:pt x="6319" y="1549"/>
                  </a:lnTo>
                  <a:lnTo>
                    <a:pt x="6308" y="1527"/>
                  </a:lnTo>
                  <a:lnTo>
                    <a:pt x="6302" y="1506"/>
                  </a:lnTo>
                  <a:lnTo>
                    <a:pt x="6296" y="1497"/>
                  </a:lnTo>
                  <a:lnTo>
                    <a:pt x="6292" y="1489"/>
                  </a:lnTo>
                  <a:lnTo>
                    <a:pt x="6285" y="1483"/>
                  </a:lnTo>
                  <a:lnTo>
                    <a:pt x="6281" y="1483"/>
                  </a:lnTo>
                  <a:lnTo>
                    <a:pt x="6277" y="1485"/>
                  </a:lnTo>
                  <a:lnTo>
                    <a:pt x="6268" y="1493"/>
                  </a:lnTo>
                  <a:lnTo>
                    <a:pt x="6250" y="1515"/>
                  </a:lnTo>
                  <a:lnTo>
                    <a:pt x="6219" y="1551"/>
                  </a:lnTo>
                  <a:lnTo>
                    <a:pt x="6200" y="1577"/>
                  </a:lnTo>
                  <a:lnTo>
                    <a:pt x="6187" y="1595"/>
                  </a:lnTo>
                  <a:lnTo>
                    <a:pt x="6161" y="1647"/>
                  </a:lnTo>
                  <a:lnTo>
                    <a:pt x="6151" y="1661"/>
                  </a:lnTo>
                  <a:lnTo>
                    <a:pt x="6144" y="1670"/>
                  </a:lnTo>
                  <a:lnTo>
                    <a:pt x="6137" y="1677"/>
                  </a:lnTo>
                  <a:lnTo>
                    <a:pt x="6125" y="1684"/>
                  </a:lnTo>
                  <a:lnTo>
                    <a:pt x="6108" y="1694"/>
                  </a:lnTo>
                  <a:lnTo>
                    <a:pt x="6104" y="1699"/>
                  </a:lnTo>
                  <a:lnTo>
                    <a:pt x="6094" y="1715"/>
                  </a:lnTo>
                  <a:lnTo>
                    <a:pt x="6079" y="1746"/>
                  </a:lnTo>
                  <a:lnTo>
                    <a:pt x="6072" y="1758"/>
                  </a:lnTo>
                  <a:lnTo>
                    <a:pt x="6036" y="1786"/>
                  </a:lnTo>
                  <a:lnTo>
                    <a:pt x="5999" y="1818"/>
                  </a:lnTo>
                  <a:lnTo>
                    <a:pt x="5958" y="1848"/>
                  </a:lnTo>
                  <a:lnTo>
                    <a:pt x="5949" y="1866"/>
                  </a:lnTo>
                  <a:lnTo>
                    <a:pt x="5943" y="1891"/>
                  </a:lnTo>
                  <a:lnTo>
                    <a:pt x="5935" y="1904"/>
                  </a:lnTo>
                  <a:lnTo>
                    <a:pt x="5920" y="1927"/>
                  </a:lnTo>
                  <a:lnTo>
                    <a:pt x="5920" y="1928"/>
                  </a:lnTo>
                  <a:lnTo>
                    <a:pt x="5923" y="1930"/>
                  </a:lnTo>
                  <a:lnTo>
                    <a:pt x="5926" y="1933"/>
                  </a:lnTo>
                  <a:lnTo>
                    <a:pt x="5960" y="1980"/>
                  </a:lnTo>
                  <a:lnTo>
                    <a:pt x="5975" y="1992"/>
                  </a:lnTo>
                  <a:lnTo>
                    <a:pt x="5982" y="1997"/>
                  </a:lnTo>
                  <a:lnTo>
                    <a:pt x="5986" y="1999"/>
                  </a:lnTo>
                  <a:lnTo>
                    <a:pt x="6015" y="2004"/>
                  </a:lnTo>
                  <a:lnTo>
                    <a:pt x="6026" y="2007"/>
                  </a:lnTo>
                  <a:lnTo>
                    <a:pt x="6020" y="2038"/>
                  </a:lnTo>
                  <a:lnTo>
                    <a:pt x="6020" y="2042"/>
                  </a:lnTo>
                  <a:lnTo>
                    <a:pt x="6022" y="2048"/>
                  </a:lnTo>
                  <a:lnTo>
                    <a:pt x="6024" y="2050"/>
                  </a:lnTo>
                  <a:lnTo>
                    <a:pt x="6026" y="2051"/>
                  </a:lnTo>
                  <a:lnTo>
                    <a:pt x="6032" y="2049"/>
                  </a:lnTo>
                  <a:lnTo>
                    <a:pt x="6040" y="2044"/>
                  </a:lnTo>
                  <a:lnTo>
                    <a:pt x="6043" y="2044"/>
                  </a:lnTo>
                  <a:lnTo>
                    <a:pt x="6044" y="2044"/>
                  </a:lnTo>
                  <a:lnTo>
                    <a:pt x="6047" y="2050"/>
                  </a:lnTo>
                  <a:lnTo>
                    <a:pt x="6050" y="2073"/>
                  </a:lnTo>
                  <a:lnTo>
                    <a:pt x="6057" y="2102"/>
                  </a:lnTo>
                  <a:lnTo>
                    <a:pt x="6080" y="2115"/>
                  </a:lnTo>
                  <a:lnTo>
                    <a:pt x="6087" y="2117"/>
                  </a:lnTo>
                  <a:lnTo>
                    <a:pt x="6094" y="2116"/>
                  </a:lnTo>
                  <a:lnTo>
                    <a:pt x="6098" y="2115"/>
                  </a:lnTo>
                  <a:lnTo>
                    <a:pt x="6104" y="2111"/>
                  </a:lnTo>
                  <a:lnTo>
                    <a:pt x="6110" y="2105"/>
                  </a:lnTo>
                  <a:lnTo>
                    <a:pt x="6115" y="2097"/>
                  </a:lnTo>
                  <a:lnTo>
                    <a:pt x="6121" y="2087"/>
                  </a:lnTo>
                  <a:lnTo>
                    <a:pt x="6127" y="2071"/>
                  </a:lnTo>
                  <a:lnTo>
                    <a:pt x="6131" y="2063"/>
                  </a:lnTo>
                  <a:lnTo>
                    <a:pt x="6134" y="2061"/>
                  </a:lnTo>
                  <a:lnTo>
                    <a:pt x="6141" y="2061"/>
                  </a:lnTo>
                  <a:lnTo>
                    <a:pt x="6149" y="2064"/>
                  </a:lnTo>
                  <a:lnTo>
                    <a:pt x="6156" y="2056"/>
                  </a:lnTo>
                  <a:lnTo>
                    <a:pt x="6160" y="2048"/>
                  </a:lnTo>
                  <a:lnTo>
                    <a:pt x="6158" y="2035"/>
                  </a:lnTo>
                  <a:lnTo>
                    <a:pt x="6150" y="2028"/>
                  </a:lnTo>
                  <a:lnTo>
                    <a:pt x="6143" y="2026"/>
                  </a:lnTo>
                  <a:lnTo>
                    <a:pt x="6142" y="2023"/>
                  </a:lnTo>
                  <a:lnTo>
                    <a:pt x="6143" y="2021"/>
                  </a:lnTo>
                  <a:lnTo>
                    <a:pt x="6148" y="2021"/>
                  </a:lnTo>
                  <a:lnTo>
                    <a:pt x="6172" y="2030"/>
                  </a:lnTo>
                  <a:lnTo>
                    <a:pt x="6175" y="2023"/>
                  </a:lnTo>
                  <a:lnTo>
                    <a:pt x="6183" y="2023"/>
                  </a:lnTo>
                  <a:lnTo>
                    <a:pt x="6192" y="2026"/>
                  </a:lnTo>
                  <a:lnTo>
                    <a:pt x="6193" y="2028"/>
                  </a:lnTo>
                  <a:lnTo>
                    <a:pt x="6188" y="2046"/>
                  </a:lnTo>
                  <a:lnTo>
                    <a:pt x="6187" y="2057"/>
                  </a:lnTo>
                  <a:lnTo>
                    <a:pt x="6190" y="2061"/>
                  </a:lnTo>
                  <a:lnTo>
                    <a:pt x="6194" y="2066"/>
                  </a:lnTo>
                  <a:lnTo>
                    <a:pt x="6197" y="2066"/>
                  </a:lnTo>
                  <a:lnTo>
                    <a:pt x="6199" y="2064"/>
                  </a:lnTo>
                  <a:lnTo>
                    <a:pt x="6214" y="2050"/>
                  </a:lnTo>
                  <a:lnTo>
                    <a:pt x="6217" y="2049"/>
                  </a:lnTo>
                  <a:lnTo>
                    <a:pt x="6220" y="2050"/>
                  </a:lnTo>
                  <a:lnTo>
                    <a:pt x="6220" y="2055"/>
                  </a:lnTo>
                  <a:lnTo>
                    <a:pt x="6218" y="2062"/>
                  </a:lnTo>
                  <a:lnTo>
                    <a:pt x="6226" y="2067"/>
                  </a:lnTo>
                  <a:lnTo>
                    <a:pt x="6220" y="2081"/>
                  </a:lnTo>
                  <a:lnTo>
                    <a:pt x="6215" y="2102"/>
                  </a:lnTo>
                  <a:lnTo>
                    <a:pt x="6209" y="2113"/>
                  </a:lnTo>
                  <a:lnTo>
                    <a:pt x="6149" y="2126"/>
                  </a:lnTo>
                  <a:lnTo>
                    <a:pt x="6149" y="2126"/>
                  </a:lnTo>
                  <a:lnTo>
                    <a:pt x="6148" y="2141"/>
                  </a:lnTo>
                  <a:lnTo>
                    <a:pt x="6140" y="2149"/>
                  </a:lnTo>
                  <a:lnTo>
                    <a:pt x="6139" y="2149"/>
                  </a:lnTo>
                  <a:lnTo>
                    <a:pt x="6131" y="2145"/>
                  </a:lnTo>
                  <a:lnTo>
                    <a:pt x="6127" y="2145"/>
                  </a:lnTo>
                  <a:lnTo>
                    <a:pt x="6121" y="2148"/>
                  </a:lnTo>
                  <a:lnTo>
                    <a:pt x="6118" y="2153"/>
                  </a:lnTo>
                  <a:lnTo>
                    <a:pt x="6112" y="2156"/>
                  </a:lnTo>
                  <a:lnTo>
                    <a:pt x="6108" y="2155"/>
                  </a:lnTo>
                  <a:lnTo>
                    <a:pt x="6100" y="2150"/>
                  </a:lnTo>
                  <a:lnTo>
                    <a:pt x="6094" y="2160"/>
                  </a:lnTo>
                  <a:lnTo>
                    <a:pt x="6090" y="2164"/>
                  </a:lnTo>
                  <a:lnTo>
                    <a:pt x="6089" y="2169"/>
                  </a:lnTo>
                  <a:lnTo>
                    <a:pt x="6093" y="2201"/>
                  </a:lnTo>
                  <a:lnTo>
                    <a:pt x="6096" y="2210"/>
                  </a:lnTo>
                  <a:lnTo>
                    <a:pt x="6101" y="2217"/>
                  </a:lnTo>
                  <a:lnTo>
                    <a:pt x="6139" y="2263"/>
                  </a:lnTo>
                  <a:lnTo>
                    <a:pt x="6139" y="2263"/>
                  </a:lnTo>
                  <a:lnTo>
                    <a:pt x="6134" y="2265"/>
                  </a:lnTo>
                  <a:lnTo>
                    <a:pt x="6133" y="2268"/>
                  </a:lnTo>
                  <a:lnTo>
                    <a:pt x="6132" y="2291"/>
                  </a:lnTo>
                  <a:lnTo>
                    <a:pt x="6127" y="2295"/>
                  </a:lnTo>
                  <a:lnTo>
                    <a:pt x="6125" y="2311"/>
                  </a:lnTo>
                  <a:lnTo>
                    <a:pt x="6113" y="2312"/>
                  </a:lnTo>
                  <a:lnTo>
                    <a:pt x="6107" y="2323"/>
                  </a:lnTo>
                  <a:lnTo>
                    <a:pt x="6104" y="2326"/>
                  </a:lnTo>
                  <a:lnTo>
                    <a:pt x="6070" y="2336"/>
                  </a:lnTo>
                  <a:lnTo>
                    <a:pt x="6059" y="2340"/>
                  </a:lnTo>
                  <a:lnTo>
                    <a:pt x="6072" y="2391"/>
                  </a:lnTo>
                  <a:lnTo>
                    <a:pt x="6074" y="2436"/>
                  </a:lnTo>
                  <a:lnTo>
                    <a:pt x="6073" y="2439"/>
                  </a:lnTo>
                  <a:lnTo>
                    <a:pt x="6065" y="2452"/>
                  </a:lnTo>
                  <a:lnTo>
                    <a:pt x="6060" y="2461"/>
                  </a:lnTo>
                  <a:lnTo>
                    <a:pt x="6058" y="2464"/>
                  </a:lnTo>
                  <a:lnTo>
                    <a:pt x="6055" y="2465"/>
                  </a:lnTo>
                  <a:lnTo>
                    <a:pt x="6051" y="2465"/>
                  </a:lnTo>
                  <a:lnTo>
                    <a:pt x="6041" y="2453"/>
                  </a:lnTo>
                  <a:lnTo>
                    <a:pt x="6036" y="2449"/>
                  </a:lnTo>
                  <a:lnTo>
                    <a:pt x="6021" y="2443"/>
                  </a:lnTo>
                  <a:lnTo>
                    <a:pt x="6011" y="2435"/>
                  </a:lnTo>
                  <a:lnTo>
                    <a:pt x="6008" y="2432"/>
                  </a:lnTo>
                  <a:lnTo>
                    <a:pt x="5995" y="2399"/>
                  </a:lnTo>
                  <a:lnTo>
                    <a:pt x="5990" y="2397"/>
                  </a:lnTo>
                  <a:lnTo>
                    <a:pt x="5982" y="2393"/>
                  </a:lnTo>
                  <a:lnTo>
                    <a:pt x="5976" y="2391"/>
                  </a:lnTo>
                  <a:lnTo>
                    <a:pt x="5971" y="2394"/>
                  </a:lnTo>
                  <a:lnTo>
                    <a:pt x="5970" y="2399"/>
                  </a:lnTo>
                  <a:lnTo>
                    <a:pt x="5970" y="2415"/>
                  </a:lnTo>
                  <a:lnTo>
                    <a:pt x="5968" y="2423"/>
                  </a:lnTo>
                  <a:lnTo>
                    <a:pt x="5965" y="2428"/>
                  </a:lnTo>
                  <a:lnTo>
                    <a:pt x="5959" y="2434"/>
                  </a:lnTo>
                  <a:lnTo>
                    <a:pt x="5956" y="2441"/>
                  </a:lnTo>
                  <a:lnTo>
                    <a:pt x="5951" y="2444"/>
                  </a:lnTo>
                  <a:lnTo>
                    <a:pt x="5948" y="2443"/>
                  </a:lnTo>
                  <a:lnTo>
                    <a:pt x="5930" y="2422"/>
                  </a:lnTo>
                  <a:lnTo>
                    <a:pt x="5911" y="2421"/>
                  </a:lnTo>
                  <a:lnTo>
                    <a:pt x="5897" y="2402"/>
                  </a:lnTo>
                  <a:lnTo>
                    <a:pt x="5890" y="2396"/>
                  </a:lnTo>
                  <a:lnTo>
                    <a:pt x="5883" y="2394"/>
                  </a:lnTo>
                  <a:lnTo>
                    <a:pt x="5851" y="2385"/>
                  </a:lnTo>
                  <a:lnTo>
                    <a:pt x="5840" y="2384"/>
                  </a:lnTo>
                  <a:lnTo>
                    <a:pt x="5832" y="2386"/>
                  </a:lnTo>
                  <a:lnTo>
                    <a:pt x="5830" y="2389"/>
                  </a:lnTo>
                  <a:lnTo>
                    <a:pt x="5829" y="2391"/>
                  </a:lnTo>
                  <a:lnTo>
                    <a:pt x="5830" y="2394"/>
                  </a:lnTo>
                  <a:lnTo>
                    <a:pt x="5840" y="2405"/>
                  </a:lnTo>
                  <a:lnTo>
                    <a:pt x="5842" y="2410"/>
                  </a:lnTo>
                  <a:lnTo>
                    <a:pt x="5842" y="2423"/>
                  </a:lnTo>
                  <a:lnTo>
                    <a:pt x="5837" y="2445"/>
                  </a:lnTo>
                  <a:lnTo>
                    <a:pt x="5833" y="2454"/>
                  </a:lnTo>
                  <a:lnTo>
                    <a:pt x="5829" y="2461"/>
                  </a:lnTo>
                  <a:lnTo>
                    <a:pt x="5823" y="2465"/>
                  </a:lnTo>
                  <a:lnTo>
                    <a:pt x="5813" y="2469"/>
                  </a:lnTo>
                  <a:lnTo>
                    <a:pt x="5811" y="2471"/>
                  </a:lnTo>
                  <a:lnTo>
                    <a:pt x="5811" y="2472"/>
                  </a:lnTo>
                  <a:lnTo>
                    <a:pt x="5815" y="2477"/>
                  </a:lnTo>
                  <a:lnTo>
                    <a:pt x="5824" y="2484"/>
                  </a:lnTo>
                  <a:lnTo>
                    <a:pt x="5835" y="2489"/>
                  </a:lnTo>
                  <a:lnTo>
                    <a:pt x="5842" y="2491"/>
                  </a:lnTo>
                  <a:lnTo>
                    <a:pt x="5851" y="2490"/>
                  </a:lnTo>
                  <a:lnTo>
                    <a:pt x="5858" y="2484"/>
                  </a:lnTo>
                  <a:lnTo>
                    <a:pt x="5865" y="2481"/>
                  </a:lnTo>
                  <a:lnTo>
                    <a:pt x="5875" y="2480"/>
                  </a:lnTo>
                  <a:lnTo>
                    <a:pt x="5881" y="2480"/>
                  </a:lnTo>
                  <a:lnTo>
                    <a:pt x="5886" y="2488"/>
                  </a:lnTo>
                  <a:lnTo>
                    <a:pt x="5888" y="2499"/>
                  </a:lnTo>
                  <a:lnTo>
                    <a:pt x="5888" y="2510"/>
                  </a:lnTo>
                  <a:lnTo>
                    <a:pt x="5886" y="2520"/>
                  </a:lnTo>
                  <a:lnTo>
                    <a:pt x="5887" y="2523"/>
                  </a:lnTo>
                  <a:lnTo>
                    <a:pt x="5896" y="2534"/>
                  </a:lnTo>
                  <a:lnTo>
                    <a:pt x="5912" y="2557"/>
                  </a:lnTo>
                  <a:lnTo>
                    <a:pt x="5916" y="2559"/>
                  </a:lnTo>
                  <a:lnTo>
                    <a:pt x="5932" y="2562"/>
                  </a:lnTo>
                  <a:lnTo>
                    <a:pt x="5939" y="2566"/>
                  </a:lnTo>
                  <a:lnTo>
                    <a:pt x="5942" y="2570"/>
                  </a:lnTo>
                  <a:lnTo>
                    <a:pt x="5943" y="2575"/>
                  </a:lnTo>
                  <a:lnTo>
                    <a:pt x="5941" y="2584"/>
                  </a:lnTo>
                  <a:lnTo>
                    <a:pt x="5940" y="2593"/>
                  </a:lnTo>
                  <a:lnTo>
                    <a:pt x="5943" y="2613"/>
                  </a:lnTo>
                  <a:lnTo>
                    <a:pt x="5948" y="2620"/>
                  </a:lnTo>
                  <a:lnTo>
                    <a:pt x="5959" y="2627"/>
                  </a:lnTo>
                  <a:lnTo>
                    <a:pt x="5961" y="2632"/>
                  </a:lnTo>
                  <a:lnTo>
                    <a:pt x="5962" y="2638"/>
                  </a:lnTo>
                  <a:lnTo>
                    <a:pt x="5960" y="2648"/>
                  </a:lnTo>
                  <a:lnTo>
                    <a:pt x="5945" y="2688"/>
                  </a:lnTo>
                  <a:lnTo>
                    <a:pt x="5941" y="2702"/>
                  </a:lnTo>
                  <a:lnTo>
                    <a:pt x="5941" y="2717"/>
                  </a:lnTo>
                  <a:lnTo>
                    <a:pt x="5946" y="2737"/>
                  </a:lnTo>
                  <a:lnTo>
                    <a:pt x="5939" y="2749"/>
                  </a:lnTo>
                  <a:lnTo>
                    <a:pt x="5938" y="2756"/>
                  </a:lnTo>
                  <a:lnTo>
                    <a:pt x="5940" y="2762"/>
                  </a:lnTo>
                  <a:lnTo>
                    <a:pt x="5945" y="2784"/>
                  </a:lnTo>
                  <a:lnTo>
                    <a:pt x="5946" y="2787"/>
                  </a:lnTo>
                  <a:lnTo>
                    <a:pt x="5950" y="2790"/>
                  </a:lnTo>
                  <a:lnTo>
                    <a:pt x="5961" y="2790"/>
                  </a:lnTo>
                  <a:lnTo>
                    <a:pt x="5963" y="2791"/>
                  </a:lnTo>
                  <a:lnTo>
                    <a:pt x="5963" y="2795"/>
                  </a:lnTo>
                  <a:lnTo>
                    <a:pt x="5961" y="2798"/>
                  </a:lnTo>
                  <a:lnTo>
                    <a:pt x="5957" y="2800"/>
                  </a:lnTo>
                  <a:lnTo>
                    <a:pt x="5950" y="2800"/>
                  </a:lnTo>
                  <a:lnTo>
                    <a:pt x="5948" y="2802"/>
                  </a:lnTo>
                  <a:lnTo>
                    <a:pt x="5948" y="2804"/>
                  </a:lnTo>
                  <a:lnTo>
                    <a:pt x="5948" y="2807"/>
                  </a:lnTo>
                  <a:lnTo>
                    <a:pt x="5950" y="2809"/>
                  </a:lnTo>
                  <a:lnTo>
                    <a:pt x="5957" y="2809"/>
                  </a:lnTo>
                  <a:lnTo>
                    <a:pt x="5960" y="2811"/>
                  </a:lnTo>
                  <a:lnTo>
                    <a:pt x="5955" y="2820"/>
                  </a:lnTo>
                  <a:lnTo>
                    <a:pt x="5959" y="2839"/>
                  </a:lnTo>
                  <a:lnTo>
                    <a:pt x="5962" y="2848"/>
                  </a:lnTo>
                  <a:lnTo>
                    <a:pt x="5965" y="2852"/>
                  </a:lnTo>
                  <a:lnTo>
                    <a:pt x="5972" y="2858"/>
                  </a:lnTo>
                  <a:lnTo>
                    <a:pt x="5980" y="2865"/>
                  </a:lnTo>
                  <a:lnTo>
                    <a:pt x="5988" y="2875"/>
                  </a:lnTo>
                  <a:lnTo>
                    <a:pt x="5990" y="2879"/>
                  </a:lnTo>
                  <a:lnTo>
                    <a:pt x="5995" y="2883"/>
                  </a:lnTo>
                  <a:lnTo>
                    <a:pt x="6000" y="2885"/>
                  </a:lnTo>
                  <a:lnTo>
                    <a:pt x="6012" y="2888"/>
                  </a:lnTo>
                  <a:lnTo>
                    <a:pt x="6015" y="2893"/>
                  </a:lnTo>
                  <a:lnTo>
                    <a:pt x="6017" y="2936"/>
                  </a:lnTo>
                  <a:lnTo>
                    <a:pt x="6017" y="2940"/>
                  </a:lnTo>
                  <a:lnTo>
                    <a:pt x="6012" y="2954"/>
                  </a:lnTo>
                  <a:lnTo>
                    <a:pt x="6012" y="2957"/>
                  </a:lnTo>
                  <a:lnTo>
                    <a:pt x="6018" y="2962"/>
                  </a:lnTo>
                  <a:lnTo>
                    <a:pt x="6023" y="2964"/>
                  </a:lnTo>
                  <a:lnTo>
                    <a:pt x="6051" y="2962"/>
                  </a:lnTo>
                  <a:lnTo>
                    <a:pt x="6060" y="2959"/>
                  </a:lnTo>
                  <a:lnTo>
                    <a:pt x="6074" y="2951"/>
                  </a:lnTo>
                  <a:lnTo>
                    <a:pt x="6102" y="2929"/>
                  </a:lnTo>
                  <a:lnTo>
                    <a:pt x="6107" y="2925"/>
                  </a:lnTo>
                  <a:lnTo>
                    <a:pt x="6116" y="2922"/>
                  </a:lnTo>
                  <a:lnTo>
                    <a:pt x="6120" y="2920"/>
                  </a:lnTo>
                  <a:lnTo>
                    <a:pt x="6129" y="2907"/>
                  </a:lnTo>
                  <a:lnTo>
                    <a:pt x="6158" y="2882"/>
                  </a:lnTo>
                  <a:lnTo>
                    <a:pt x="6183" y="2852"/>
                  </a:lnTo>
                  <a:lnTo>
                    <a:pt x="6196" y="2849"/>
                  </a:lnTo>
                  <a:lnTo>
                    <a:pt x="6206" y="2845"/>
                  </a:lnTo>
                  <a:lnTo>
                    <a:pt x="6212" y="2845"/>
                  </a:lnTo>
                  <a:lnTo>
                    <a:pt x="6215" y="2849"/>
                  </a:lnTo>
                  <a:lnTo>
                    <a:pt x="6216" y="2854"/>
                  </a:lnTo>
                  <a:lnTo>
                    <a:pt x="6210" y="2868"/>
                  </a:lnTo>
                  <a:lnTo>
                    <a:pt x="6209" y="2875"/>
                  </a:lnTo>
                  <a:lnTo>
                    <a:pt x="6211" y="2881"/>
                  </a:lnTo>
                  <a:lnTo>
                    <a:pt x="6216" y="2893"/>
                  </a:lnTo>
                  <a:lnTo>
                    <a:pt x="6222" y="2899"/>
                  </a:lnTo>
                  <a:lnTo>
                    <a:pt x="6231" y="2905"/>
                  </a:lnTo>
                  <a:lnTo>
                    <a:pt x="6238" y="2915"/>
                  </a:lnTo>
                  <a:lnTo>
                    <a:pt x="6248" y="2933"/>
                  </a:lnTo>
                  <a:lnTo>
                    <a:pt x="6254" y="2942"/>
                  </a:lnTo>
                  <a:lnTo>
                    <a:pt x="6259" y="2946"/>
                  </a:lnTo>
                  <a:lnTo>
                    <a:pt x="6278" y="2951"/>
                  </a:lnTo>
                  <a:lnTo>
                    <a:pt x="6282" y="2953"/>
                  </a:lnTo>
                  <a:lnTo>
                    <a:pt x="6283" y="2956"/>
                  </a:lnTo>
                  <a:lnTo>
                    <a:pt x="6286" y="2964"/>
                  </a:lnTo>
                  <a:lnTo>
                    <a:pt x="6285" y="2968"/>
                  </a:lnTo>
                  <a:lnTo>
                    <a:pt x="6281" y="2975"/>
                  </a:lnTo>
                  <a:lnTo>
                    <a:pt x="6270" y="2990"/>
                  </a:lnTo>
                  <a:lnTo>
                    <a:pt x="6272" y="3001"/>
                  </a:lnTo>
                  <a:lnTo>
                    <a:pt x="6276" y="3010"/>
                  </a:lnTo>
                  <a:lnTo>
                    <a:pt x="6306" y="3050"/>
                  </a:lnTo>
                  <a:lnTo>
                    <a:pt x="6323" y="3090"/>
                  </a:lnTo>
                  <a:lnTo>
                    <a:pt x="6325" y="3094"/>
                  </a:lnTo>
                  <a:lnTo>
                    <a:pt x="6330" y="3098"/>
                  </a:lnTo>
                  <a:lnTo>
                    <a:pt x="6334" y="3102"/>
                  </a:lnTo>
                  <a:lnTo>
                    <a:pt x="6342" y="3122"/>
                  </a:lnTo>
                  <a:lnTo>
                    <a:pt x="6342" y="3130"/>
                  </a:lnTo>
                  <a:lnTo>
                    <a:pt x="6341" y="3144"/>
                  </a:lnTo>
                  <a:lnTo>
                    <a:pt x="6337" y="3143"/>
                  </a:lnTo>
                  <a:lnTo>
                    <a:pt x="6319" y="3138"/>
                  </a:lnTo>
                  <a:lnTo>
                    <a:pt x="6319" y="3141"/>
                  </a:lnTo>
                  <a:lnTo>
                    <a:pt x="6323" y="3155"/>
                  </a:lnTo>
                  <a:lnTo>
                    <a:pt x="6321" y="3162"/>
                  </a:lnTo>
                  <a:lnTo>
                    <a:pt x="6314" y="3164"/>
                  </a:lnTo>
                  <a:lnTo>
                    <a:pt x="6303" y="3162"/>
                  </a:lnTo>
                  <a:lnTo>
                    <a:pt x="6299" y="3163"/>
                  </a:lnTo>
                  <a:lnTo>
                    <a:pt x="6299" y="3174"/>
                  </a:lnTo>
                  <a:lnTo>
                    <a:pt x="6301" y="3182"/>
                  </a:lnTo>
                  <a:lnTo>
                    <a:pt x="6305" y="3189"/>
                  </a:lnTo>
                  <a:lnTo>
                    <a:pt x="6313" y="3195"/>
                  </a:lnTo>
                  <a:lnTo>
                    <a:pt x="6321" y="3206"/>
                  </a:lnTo>
                  <a:lnTo>
                    <a:pt x="6325" y="3204"/>
                  </a:lnTo>
                  <a:lnTo>
                    <a:pt x="6330" y="3197"/>
                  </a:lnTo>
                  <a:lnTo>
                    <a:pt x="6331" y="3195"/>
                  </a:lnTo>
                  <a:lnTo>
                    <a:pt x="6339" y="3199"/>
                  </a:lnTo>
                  <a:lnTo>
                    <a:pt x="6357" y="3211"/>
                  </a:lnTo>
                  <a:lnTo>
                    <a:pt x="6372" y="3219"/>
                  </a:lnTo>
                  <a:lnTo>
                    <a:pt x="6376" y="3220"/>
                  </a:lnTo>
                  <a:lnTo>
                    <a:pt x="6395" y="3218"/>
                  </a:lnTo>
                  <a:lnTo>
                    <a:pt x="6395" y="3218"/>
                  </a:lnTo>
                  <a:lnTo>
                    <a:pt x="6396" y="3224"/>
                  </a:lnTo>
                  <a:lnTo>
                    <a:pt x="6397" y="3233"/>
                  </a:lnTo>
                  <a:lnTo>
                    <a:pt x="6392" y="3289"/>
                  </a:lnTo>
                  <a:lnTo>
                    <a:pt x="6389" y="3313"/>
                  </a:lnTo>
                  <a:lnTo>
                    <a:pt x="6382" y="3332"/>
                  </a:lnTo>
                  <a:lnTo>
                    <a:pt x="6379" y="3336"/>
                  </a:lnTo>
                  <a:lnTo>
                    <a:pt x="6376" y="3337"/>
                  </a:lnTo>
                  <a:lnTo>
                    <a:pt x="6360" y="3327"/>
                  </a:lnTo>
                  <a:lnTo>
                    <a:pt x="6353" y="3327"/>
                  </a:lnTo>
                  <a:lnTo>
                    <a:pt x="6316" y="3347"/>
                  </a:lnTo>
                  <a:lnTo>
                    <a:pt x="6304" y="3355"/>
                  </a:lnTo>
                  <a:lnTo>
                    <a:pt x="6296" y="3363"/>
                  </a:lnTo>
                  <a:lnTo>
                    <a:pt x="6291" y="3371"/>
                  </a:lnTo>
                  <a:lnTo>
                    <a:pt x="6288" y="3379"/>
                  </a:lnTo>
                  <a:lnTo>
                    <a:pt x="6287" y="3386"/>
                  </a:lnTo>
                  <a:lnTo>
                    <a:pt x="6288" y="3390"/>
                  </a:lnTo>
                  <a:lnTo>
                    <a:pt x="6304" y="3400"/>
                  </a:lnTo>
                  <a:lnTo>
                    <a:pt x="6304" y="3404"/>
                  </a:lnTo>
                  <a:lnTo>
                    <a:pt x="6302" y="3407"/>
                  </a:lnTo>
                  <a:lnTo>
                    <a:pt x="6271" y="3418"/>
                  </a:lnTo>
                  <a:lnTo>
                    <a:pt x="6257" y="3428"/>
                  </a:lnTo>
                  <a:lnTo>
                    <a:pt x="6237" y="3433"/>
                  </a:lnTo>
                  <a:lnTo>
                    <a:pt x="6229" y="3436"/>
                  </a:lnTo>
                  <a:lnTo>
                    <a:pt x="6226" y="3439"/>
                  </a:lnTo>
                  <a:lnTo>
                    <a:pt x="6221" y="3450"/>
                  </a:lnTo>
                  <a:lnTo>
                    <a:pt x="6218" y="3451"/>
                  </a:lnTo>
                  <a:lnTo>
                    <a:pt x="6211" y="3451"/>
                  </a:lnTo>
                  <a:lnTo>
                    <a:pt x="6187" y="3439"/>
                  </a:lnTo>
                  <a:lnTo>
                    <a:pt x="6179" y="3439"/>
                  </a:lnTo>
                  <a:lnTo>
                    <a:pt x="6165" y="3441"/>
                  </a:lnTo>
                  <a:lnTo>
                    <a:pt x="6158" y="3441"/>
                  </a:lnTo>
                  <a:lnTo>
                    <a:pt x="6154" y="3439"/>
                  </a:lnTo>
                  <a:lnTo>
                    <a:pt x="6141" y="3431"/>
                  </a:lnTo>
                  <a:lnTo>
                    <a:pt x="6137" y="3428"/>
                  </a:lnTo>
                  <a:lnTo>
                    <a:pt x="6116" y="3427"/>
                  </a:lnTo>
                  <a:lnTo>
                    <a:pt x="6097" y="3428"/>
                  </a:lnTo>
                  <a:lnTo>
                    <a:pt x="6095" y="3433"/>
                  </a:lnTo>
                  <a:lnTo>
                    <a:pt x="6094" y="3439"/>
                  </a:lnTo>
                  <a:lnTo>
                    <a:pt x="6096" y="3444"/>
                  </a:lnTo>
                  <a:lnTo>
                    <a:pt x="6101" y="3450"/>
                  </a:lnTo>
                  <a:lnTo>
                    <a:pt x="6102" y="3451"/>
                  </a:lnTo>
                  <a:lnTo>
                    <a:pt x="6118" y="3447"/>
                  </a:lnTo>
                  <a:lnTo>
                    <a:pt x="6119" y="3450"/>
                  </a:lnTo>
                  <a:lnTo>
                    <a:pt x="6120" y="3453"/>
                  </a:lnTo>
                  <a:lnTo>
                    <a:pt x="6111" y="3470"/>
                  </a:lnTo>
                  <a:lnTo>
                    <a:pt x="6109" y="3477"/>
                  </a:lnTo>
                  <a:lnTo>
                    <a:pt x="6105" y="3481"/>
                  </a:lnTo>
                  <a:lnTo>
                    <a:pt x="6100" y="3483"/>
                  </a:lnTo>
                  <a:lnTo>
                    <a:pt x="6091" y="3485"/>
                  </a:lnTo>
                  <a:lnTo>
                    <a:pt x="6077" y="3481"/>
                  </a:lnTo>
                  <a:lnTo>
                    <a:pt x="6057" y="3483"/>
                  </a:lnTo>
                  <a:lnTo>
                    <a:pt x="6019" y="3476"/>
                  </a:lnTo>
                  <a:lnTo>
                    <a:pt x="6016" y="3476"/>
                  </a:lnTo>
                  <a:lnTo>
                    <a:pt x="6001" y="3494"/>
                  </a:lnTo>
                  <a:lnTo>
                    <a:pt x="5997" y="3505"/>
                  </a:lnTo>
                  <a:lnTo>
                    <a:pt x="5996" y="3528"/>
                  </a:lnTo>
                  <a:lnTo>
                    <a:pt x="5988" y="3542"/>
                  </a:lnTo>
                  <a:lnTo>
                    <a:pt x="5979" y="3554"/>
                  </a:lnTo>
                  <a:lnTo>
                    <a:pt x="5972" y="3559"/>
                  </a:lnTo>
                  <a:lnTo>
                    <a:pt x="5968" y="3561"/>
                  </a:lnTo>
                  <a:lnTo>
                    <a:pt x="5958" y="3576"/>
                  </a:lnTo>
                  <a:lnTo>
                    <a:pt x="5951" y="3582"/>
                  </a:lnTo>
                  <a:lnTo>
                    <a:pt x="5947" y="3583"/>
                  </a:lnTo>
                  <a:lnTo>
                    <a:pt x="5942" y="3580"/>
                  </a:lnTo>
                  <a:lnTo>
                    <a:pt x="5926" y="3560"/>
                  </a:lnTo>
                  <a:lnTo>
                    <a:pt x="5903" y="3569"/>
                  </a:lnTo>
                  <a:lnTo>
                    <a:pt x="5871" y="3576"/>
                  </a:lnTo>
                  <a:lnTo>
                    <a:pt x="5866" y="3593"/>
                  </a:lnTo>
                  <a:lnTo>
                    <a:pt x="5856" y="3597"/>
                  </a:lnTo>
                  <a:lnTo>
                    <a:pt x="5854" y="3604"/>
                  </a:lnTo>
                  <a:lnTo>
                    <a:pt x="5833" y="3623"/>
                  </a:lnTo>
                  <a:lnTo>
                    <a:pt x="5820" y="3641"/>
                  </a:lnTo>
                  <a:lnTo>
                    <a:pt x="5803" y="3652"/>
                  </a:lnTo>
                  <a:lnTo>
                    <a:pt x="5800" y="3656"/>
                  </a:lnTo>
                  <a:lnTo>
                    <a:pt x="5795" y="3664"/>
                  </a:lnTo>
                  <a:lnTo>
                    <a:pt x="5793" y="3665"/>
                  </a:lnTo>
                  <a:lnTo>
                    <a:pt x="5788" y="3664"/>
                  </a:lnTo>
                  <a:lnTo>
                    <a:pt x="5778" y="3658"/>
                  </a:lnTo>
                  <a:lnTo>
                    <a:pt x="5744" y="3667"/>
                  </a:lnTo>
                  <a:lnTo>
                    <a:pt x="5716" y="3683"/>
                  </a:lnTo>
                  <a:lnTo>
                    <a:pt x="5712" y="3686"/>
                  </a:lnTo>
                  <a:lnTo>
                    <a:pt x="5709" y="3691"/>
                  </a:lnTo>
                  <a:lnTo>
                    <a:pt x="5704" y="3696"/>
                  </a:lnTo>
                  <a:lnTo>
                    <a:pt x="5671" y="3719"/>
                  </a:lnTo>
                  <a:lnTo>
                    <a:pt x="5668" y="3722"/>
                  </a:lnTo>
                  <a:lnTo>
                    <a:pt x="5667" y="3725"/>
                  </a:lnTo>
                  <a:lnTo>
                    <a:pt x="5667" y="3728"/>
                  </a:lnTo>
                  <a:lnTo>
                    <a:pt x="5669" y="3731"/>
                  </a:lnTo>
                  <a:lnTo>
                    <a:pt x="5668" y="3737"/>
                  </a:lnTo>
                  <a:lnTo>
                    <a:pt x="5661" y="3747"/>
                  </a:lnTo>
                  <a:lnTo>
                    <a:pt x="5660" y="3756"/>
                  </a:lnTo>
                  <a:lnTo>
                    <a:pt x="5657" y="3763"/>
                  </a:lnTo>
                  <a:lnTo>
                    <a:pt x="5650" y="3773"/>
                  </a:lnTo>
                  <a:lnTo>
                    <a:pt x="5645" y="3775"/>
                  </a:lnTo>
                  <a:lnTo>
                    <a:pt x="5639" y="3775"/>
                  </a:lnTo>
                  <a:lnTo>
                    <a:pt x="5634" y="3777"/>
                  </a:lnTo>
                  <a:lnTo>
                    <a:pt x="5627" y="3782"/>
                  </a:lnTo>
                  <a:lnTo>
                    <a:pt x="5621" y="3790"/>
                  </a:lnTo>
                  <a:lnTo>
                    <a:pt x="5620" y="3794"/>
                  </a:lnTo>
                  <a:lnTo>
                    <a:pt x="5620" y="3796"/>
                  </a:lnTo>
                  <a:lnTo>
                    <a:pt x="5622" y="3801"/>
                  </a:lnTo>
                  <a:lnTo>
                    <a:pt x="5625" y="3804"/>
                  </a:lnTo>
                  <a:lnTo>
                    <a:pt x="5625" y="3806"/>
                  </a:lnTo>
                  <a:lnTo>
                    <a:pt x="5624" y="3808"/>
                  </a:lnTo>
                  <a:lnTo>
                    <a:pt x="5611" y="3814"/>
                  </a:lnTo>
                  <a:lnTo>
                    <a:pt x="5607" y="3819"/>
                  </a:lnTo>
                  <a:lnTo>
                    <a:pt x="5597" y="3839"/>
                  </a:lnTo>
                  <a:lnTo>
                    <a:pt x="5595" y="3848"/>
                  </a:lnTo>
                  <a:lnTo>
                    <a:pt x="5591" y="3863"/>
                  </a:lnTo>
                  <a:lnTo>
                    <a:pt x="5589" y="3867"/>
                  </a:lnTo>
                  <a:lnTo>
                    <a:pt x="5587" y="3868"/>
                  </a:lnTo>
                  <a:lnTo>
                    <a:pt x="5581" y="3868"/>
                  </a:lnTo>
                  <a:lnTo>
                    <a:pt x="5575" y="3866"/>
                  </a:lnTo>
                  <a:lnTo>
                    <a:pt x="5567" y="3837"/>
                  </a:lnTo>
                  <a:lnTo>
                    <a:pt x="5563" y="3828"/>
                  </a:lnTo>
                  <a:lnTo>
                    <a:pt x="5546" y="3803"/>
                  </a:lnTo>
                  <a:lnTo>
                    <a:pt x="5535" y="3784"/>
                  </a:lnTo>
                  <a:lnTo>
                    <a:pt x="5506" y="3743"/>
                  </a:lnTo>
                  <a:lnTo>
                    <a:pt x="5507" y="3720"/>
                  </a:lnTo>
                  <a:lnTo>
                    <a:pt x="5499" y="3714"/>
                  </a:lnTo>
                  <a:lnTo>
                    <a:pt x="5463" y="3704"/>
                  </a:lnTo>
                  <a:lnTo>
                    <a:pt x="5452" y="3697"/>
                  </a:lnTo>
                  <a:lnTo>
                    <a:pt x="5439" y="3687"/>
                  </a:lnTo>
                  <a:lnTo>
                    <a:pt x="5435" y="3680"/>
                  </a:lnTo>
                  <a:lnTo>
                    <a:pt x="5435" y="3676"/>
                  </a:lnTo>
                  <a:lnTo>
                    <a:pt x="5439" y="3669"/>
                  </a:lnTo>
                  <a:lnTo>
                    <a:pt x="5439" y="3665"/>
                  </a:lnTo>
                  <a:lnTo>
                    <a:pt x="5433" y="3661"/>
                  </a:lnTo>
                  <a:lnTo>
                    <a:pt x="5424" y="3660"/>
                  </a:lnTo>
                  <a:lnTo>
                    <a:pt x="5417" y="3672"/>
                  </a:lnTo>
                  <a:lnTo>
                    <a:pt x="5411" y="3676"/>
                  </a:lnTo>
                  <a:lnTo>
                    <a:pt x="5393" y="3689"/>
                  </a:lnTo>
                  <a:lnTo>
                    <a:pt x="5379" y="3701"/>
                  </a:lnTo>
                  <a:lnTo>
                    <a:pt x="5373" y="3708"/>
                  </a:lnTo>
                  <a:lnTo>
                    <a:pt x="5372" y="3716"/>
                  </a:lnTo>
                  <a:lnTo>
                    <a:pt x="5372" y="3724"/>
                  </a:lnTo>
                  <a:lnTo>
                    <a:pt x="5373" y="3729"/>
                  </a:lnTo>
                  <a:lnTo>
                    <a:pt x="5384" y="3740"/>
                  </a:lnTo>
                  <a:lnTo>
                    <a:pt x="5399" y="3755"/>
                  </a:lnTo>
                  <a:lnTo>
                    <a:pt x="5404" y="3760"/>
                  </a:lnTo>
                  <a:lnTo>
                    <a:pt x="5405" y="3765"/>
                  </a:lnTo>
                  <a:lnTo>
                    <a:pt x="5405" y="3779"/>
                  </a:lnTo>
                  <a:lnTo>
                    <a:pt x="5399" y="3793"/>
                  </a:lnTo>
                  <a:lnTo>
                    <a:pt x="5397" y="3804"/>
                  </a:lnTo>
                  <a:lnTo>
                    <a:pt x="5399" y="3901"/>
                  </a:lnTo>
                  <a:lnTo>
                    <a:pt x="5402" y="3904"/>
                  </a:lnTo>
                  <a:lnTo>
                    <a:pt x="5422" y="3920"/>
                  </a:lnTo>
                  <a:lnTo>
                    <a:pt x="5428" y="3927"/>
                  </a:lnTo>
                  <a:lnTo>
                    <a:pt x="5427" y="3930"/>
                  </a:lnTo>
                  <a:lnTo>
                    <a:pt x="5420" y="3937"/>
                  </a:lnTo>
                  <a:lnTo>
                    <a:pt x="5418" y="3943"/>
                  </a:lnTo>
                  <a:lnTo>
                    <a:pt x="5418" y="3947"/>
                  </a:lnTo>
                  <a:lnTo>
                    <a:pt x="5425" y="3970"/>
                  </a:lnTo>
                  <a:lnTo>
                    <a:pt x="5426" y="3975"/>
                  </a:lnTo>
                  <a:lnTo>
                    <a:pt x="5425" y="3980"/>
                  </a:lnTo>
                  <a:lnTo>
                    <a:pt x="5422" y="3984"/>
                  </a:lnTo>
                  <a:lnTo>
                    <a:pt x="5418" y="3985"/>
                  </a:lnTo>
                  <a:lnTo>
                    <a:pt x="5411" y="3986"/>
                  </a:lnTo>
                  <a:lnTo>
                    <a:pt x="5408" y="3990"/>
                  </a:lnTo>
                  <a:lnTo>
                    <a:pt x="5409" y="3992"/>
                  </a:lnTo>
                  <a:lnTo>
                    <a:pt x="5416" y="3997"/>
                  </a:lnTo>
                  <a:lnTo>
                    <a:pt x="5417" y="4012"/>
                  </a:lnTo>
                  <a:lnTo>
                    <a:pt x="5410" y="4018"/>
                  </a:lnTo>
                  <a:lnTo>
                    <a:pt x="5400" y="4016"/>
                  </a:lnTo>
                  <a:lnTo>
                    <a:pt x="5398" y="4016"/>
                  </a:lnTo>
                  <a:lnTo>
                    <a:pt x="5395" y="4020"/>
                  </a:lnTo>
                  <a:lnTo>
                    <a:pt x="5392" y="4031"/>
                  </a:lnTo>
                  <a:lnTo>
                    <a:pt x="5392" y="4031"/>
                  </a:lnTo>
                  <a:lnTo>
                    <a:pt x="5388" y="4029"/>
                  </a:lnTo>
                  <a:lnTo>
                    <a:pt x="5368" y="4032"/>
                  </a:lnTo>
                  <a:lnTo>
                    <a:pt x="5326" y="4030"/>
                  </a:lnTo>
                  <a:lnTo>
                    <a:pt x="5311" y="4035"/>
                  </a:lnTo>
                  <a:lnTo>
                    <a:pt x="5302" y="4035"/>
                  </a:lnTo>
                  <a:lnTo>
                    <a:pt x="5299" y="4034"/>
                  </a:lnTo>
                  <a:lnTo>
                    <a:pt x="5297" y="4032"/>
                  </a:lnTo>
                  <a:lnTo>
                    <a:pt x="5292" y="4008"/>
                  </a:lnTo>
                  <a:lnTo>
                    <a:pt x="5290" y="4006"/>
                  </a:lnTo>
                  <a:lnTo>
                    <a:pt x="5287" y="4006"/>
                  </a:lnTo>
                  <a:lnTo>
                    <a:pt x="5285" y="4006"/>
                  </a:lnTo>
                  <a:lnTo>
                    <a:pt x="5279" y="4015"/>
                  </a:lnTo>
                  <a:lnTo>
                    <a:pt x="5274" y="4019"/>
                  </a:lnTo>
                  <a:lnTo>
                    <a:pt x="5267" y="4030"/>
                  </a:lnTo>
                  <a:lnTo>
                    <a:pt x="5259" y="4031"/>
                  </a:lnTo>
                  <a:lnTo>
                    <a:pt x="5246" y="4027"/>
                  </a:lnTo>
                  <a:lnTo>
                    <a:pt x="5235" y="4028"/>
                  </a:lnTo>
                  <a:lnTo>
                    <a:pt x="5220" y="4026"/>
                  </a:lnTo>
                  <a:lnTo>
                    <a:pt x="5213" y="4027"/>
                  </a:lnTo>
                  <a:lnTo>
                    <a:pt x="5196" y="4031"/>
                  </a:lnTo>
                  <a:lnTo>
                    <a:pt x="5185" y="4042"/>
                  </a:lnTo>
                  <a:lnTo>
                    <a:pt x="5181" y="4043"/>
                  </a:lnTo>
                  <a:lnTo>
                    <a:pt x="5177" y="4042"/>
                  </a:lnTo>
                  <a:lnTo>
                    <a:pt x="5171" y="4032"/>
                  </a:lnTo>
                  <a:lnTo>
                    <a:pt x="5168" y="4006"/>
                  </a:lnTo>
                  <a:lnTo>
                    <a:pt x="5152" y="3995"/>
                  </a:lnTo>
                  <a:lnTo>
                    <a:pt x="5146" y="3985"/>
                  </a:lnTo>
                  <a:lnTo>
                    <a:pt x="5148" y="3983"/>
                  </a:lnTo>
                  <a:lnTo>
                    <a:pt x="5155" y="3982"/>
                  </a:lnTo>
                  <a:lnTo>
                    <a:pt x="5157" y="3980"/>
                  </a:lnTo>
                  <a:lnTo>
                    <a:pt x="5157" y="3975"/>
                  </a:lnTo>
                  <a:lnTo>
                    <a:pt x="5155" y="3966"/>
                  </a:lnTo>
                  <a:lnTo>
                    <a:pt x="5153" y="3964"/>
                  </a:lnTo>
                  <a:lnTo>
                    <a:pt x="5145" y="3962"/>
                  </a:lnTo>
                  <a:lnTo>
                    <a:pt x="5141" y="3960"/>
                  </a:lnTo>
                  <a:lnTo>
                    <a:pt x="5131" y="3946"/>
                  </a:lnTo>
                  <a:lnTo>
                    <a:pt x="5122" y="3942"/>
                  </a:lnTo>
                  <a:lnTo>
                    <a:pt x="5113" y="3927"/>
                  </a:lnTo>
                  <a:lnTo>
                    <a:pt x="5100" y="3901"/>
                  </a:lnTo>
                  <a:lnTo>
                    <a:pt x="5101" y="3888"/>
                  </a:lnTo>
                  <a:lnTo>
                    <a:pt x="5104" y="3881"/>
                  </a:lnTo>
                  <a:lnTo>
                    <a:pt x="5106" y="3876"/>
                  </a:lnTo>
                  <a:lnTo>
                    <a:pt x="5127" y="3880"/>
                  </a:lnTo>
                  <a:lnTo>
                    <a:pt x="5130" y="3883"/>
                  </a:lnTo>
                  <a:lnTo>
                    <a:pt x="5136" y="3891"/>
                  </a:lnTo>
                  <a:lnTo>
                    <a:pt x="5140" y="3894"/>
                  </a:lnTo>
                  <a:lnTo>
                    <a:pt x="5143" y="3894"/>
                  </a:lnTo>
                  <a:lnTo>
                    <a:pt x="5157" y="3857"/>
                  </a:lnTo>
                  <a:lnTo>
                    <a:pt x="5158" y="3853"/>
                  </a:lnTo>
                  <a:lnTo>
                    <a:pt x="5156" y="3851"/>
                  </a:lnTo>
                  <a:lnTo>
                    <a:pt x="5140" y="3839"/>
                  </a:lnTo>
                  <a:lnTo>
                    <a:pt x="5137" y="3836"/>
                  </a:lnTo>
                  <a:lnTo>
                    <a:pt x="5138" y="3832"/>
                  </a:lnTo>
                  <a:lnTo>
                    <a:pt x="5143" y="3826"/>
                  </a:lnTo>
                  <a:lnTo>
                    <a:pt x="5145" y="3819"/>
                  </a:lnTo>
                  <a:lnTo>
                    <a:pt x="5145" y="3815"/>
                  </a:lnTo>
                  <a:lnTo>
                    <a:pt x="5142" y="3812"/>
                  </a:lnTo>
                  <a:lnTo>
                    <a:pt x="5130" y="3805"/>
                  </a:lnTo>
                  <a:lnTo>
                    <a:pt x="5128" y="3802"/>
                  </a:lnTo>
                  <a:lnTo>
                    <a:pt x="5135" y="3786"/>
                  </a:lnTo>
                  <a:lnTo>
                    <a:pt x="5136" y="3784"/>
                  </a:lnTo>
                  <a:lnTo>
                    <a:pt x="5134" y="3783"/>
                  </a:lnTo>
                  <a:lnTo>
                    <a:pt x="5131" y="3783"/>
                  </a:lnTo>
                  <a:lnTo>
                    <a:pt x="5123" y="3786"/>
                  </a:lnTo>
                  <a:lnTo>
                    <a:pt x="5119" y="3791"/>
                  </a:lnTo>
                  <a:lnTo>
                    <a:pt x="5115" y="3800"/>
                  </a:lnTo>
                  <a:lnTo>
                    <a:pt x="5110" y="3805"/>
                  </a:lnTo>
                  <a:lnTo>
                    <a:pt x="5102" y="3806"/>
                  </a:lnTo>
                  <a:lnTo>
                    <a:pt x="5095" y="3805"/>
                  </a:lnTo>
                  <a:lnTo>
                    <a:pt x="5095" y="3804"/>
                  </a:lnTo>
                  <a:lnTo>
                    <a:pt x="5101" y="3798"/>
                  </a:lnTo>
                  <a:lnTo>
                    <a:pt x="5102" y="3794"/>
                  </a:lnTo>
                  <a:lnTo>
                    <a:pt x="5100" y="3790"/>
                  </a:lnTo>
                  <a:lnTo>
                    <a:pt x="5089" y="3780"/>
                  </a:lnTo>
                  <a:lnTo>
                    <a:pt x="5086" y="3763"/>
                  </a:lnTo>
                  <a:lnTo>
                    <a:pt x="5075" y="3755"/>
                  </a:lnTo>
                  <a:lnTo>
                    <a:pt x="5051" y="3744"/>
                  </a:lnTo>
                  <a:lnTo>
                    <a:pt x="5048" y="3741"/>
                  </a:lnTo>
                  <a:lnTo>
                    <a:pt x="5048" y="3738"/>
                  </a:lnTo>
                  <a:lnTo>
                    <a:pt x="5049" y="3734"/>
                  </a:lnTo>
                  <a:lnTo>
                    <a:pt x="5070" y="3716"/>
                  </a:lnTo>
                  <a:lnTo>
                    <a:pt x="5065" y="3709"/>
                  </a:lnTo>
                  <a:lnTo>
                    <a:pt x="5062" y="3703"/>
                  </a:lnTo>
                  <a:lnTo>
                    <a:pt x="5059" y="3687"/>
                  </a:lnTo>
                  <a:lnTo>
                    <a:pt x="5057" y="3682"/>
                  </a:lnTo>
                  <a:lnTo>
                    <a:pt x="5049" y="3671"/>
                  </a:lnTo>
                  <a:lnTo>
                    <a:pt x="5015" y="3643"/>
                  </a:lnTo>
                  <a:lnTo>
                    <a:pt x="5007" y="3626"/>
                  </a:lnTo>
                  <a:lnTo>
                    <a:pt x="5001" y="3626"/>
                  </a:lnTo>
                  <a:lnTo>
                    <a:pt x="4973" y="3633"/>
                  </a:lnTo>
                  <a:lnTo>
                    <a:pt x="4941" y="3635"/>
                  </a:lnTo>
                  <a:lnTo>
                    <a:pt x="4932" y="3638"/>
                  </a:lnTo>
                  <a:lnTo>
                    <a:pt x="4921" y="3644"/>
                  </a:lnTo>
                  <a:lnTo>
                    <a:pt x="4921" y="3652"/>
                  </a:lnTo>
                  <a:lnTo>
                    <a:pt x="4920" y="3660"/>
                  </a:lnTo>
                  <a:lnTo>
                    <a:pt x="4918" y="3665"/>
                  </a:lnTo>
                  <a:lnTo>
                    <a:pt x="4914" y="3669"/>
                  </a:lnTo>
                  <a:lnTo>
                    <a:pt x="4903" y="3671"/>
                  </a:lnTo>
                  <a:lnTo>
                    <a:pt x="4865" y="3675"/>
                  </a:lnTo>
                  <a:lnTo>
                    <a:pt x="4840" y="3679"/>
                  </a:lnTo>
                  <a:lnTo>
                    <a:pt x="4827" y="3683"/>
                  </a:lnTo>
                  <a:lnTo>
                    <a:pt x="4813" y="3689"/>
                  </a:lnTo>
                  <a:lnTo>
                    <a:pt x="4793" y="3708"/>
                  </a:lnTo>
                  <a:lnTo>
                    <a:pt x="4792" y="3714"/>
                  </a:lnTo>
                  <a:lnTo>
                    <a:pt x="4793" y="3725"/>
                  </a:lnTo>
                  <a:lnTo>
                    <a:pt x="4799" y="3760"/>
                  </a:lnTo>
                  <a:lnTo>
                    <a:pt x="4800" y="3767"/>
                  </a:lnTo>
                  <a:lnTo>
                    <a:pt x="4799" y="3773"/>
                  </a:lnTo>
                  <a:lnTo>
                    <a:pt x="4796" y="3777"/>
                  </a:lnTo>
                  <a:lnTo>
                    <a:pt x="4790" y="3779"/>
                  </a:lnTo>
                  <a:lnTo>
                    <a:pt x="4784" y="3778"/>
                  </a:lnTo>
                  <a:lnTo>
                    <a:pt x="4773" y="3775"/>
                  </a:lnTo>
                  <a:lnTo>
                    <a:pt x="4770" y="3775"/>
                  </a:lnTo>
                  <a:lnTo>
                    <a:pt x="4769" y="3777"/>
                  </a:lnTo>
                  <a:lnTo>
                    <a:pt x="4771" y="3784"/>
                  </a:lnTo>
                  <a:lnTo>
                    <a:pt x="4793" y="3803"/>
                  </a:lnTo>
                  <a:lnTo>
                    <a:pt x="4796" y="3809"/>
                  </a:lnTo>
                  <a:lnTo>
                    <a:pt x="4798" y="3815"/>
                  </a:lnTo>
                  <a:lnTo>
                    <a:pt x="4798" y="3824"/>
                  </a:lnTo>
                  <a:lnTo>
                    <a:pt x="4796" y="3830"/>
                  </a:lnTo>
                  <a:lnTo>
                    <a:pt x="4790" y="3841"/>
                  </a:lnTo>
                  <a:lnTo>
                    <a:pt x="4781" y="3850"/>
                  </a:lnTo>
                  <a:lnTo>
                    <a:pt x="4779" y="3850"/>
                  </a:lnTo>
                  <a:lnTo>
                    <a:pt x="4768" y="3848"/>
                  </a:lnTo>
                  <a:lnTo>
                    <a:pt x="4764" y="3852"/>
                  </a:lnTo>
                  <a:lnTo>
                    <a:pt x="4760" y="3859"/>
                  </a:lnTo>
                  <a:lnTo>
                    <a:pt x="4756" y="3863"/>
                  </a:lnTo>
                  <a:lnTo>
                    <a:pt x="4752" y="3865"/>
                  </a:lnTo>
                  <a:lnTo>
                    <a:pt x="4742" y="3866"/>
                  </a:lnTo>
                  <a:lnTo>
                    <a:pt x="4723" y="3871"/>
                  </a:lnTo>
                  <a:lnTo>
                    <a:pt x="4708" y="3857"/>
                  </a:lnTo>
                  <a:lnTo>
                    <a:pt x="4701" y="3859"/>
                  </a:lnTo>
                  <a:lnTo>
                    <a:pt x="4688" y="3865"/>
                  </a:lnTo>
                  <a:lnTo>
                    <a:pt x="4682" y="3865"/>
                  </a:lnTo>
                  <a:lnTo>
                    <a:pt x="4681" y="3859"/>
                  </a:lnTo>
                  <a:lnTo>
                    <a:pt x="4682" y="3851"/>
                  </a:lnTo>
                  <a:lnTo>
                    <a:pt x="4674" y="3845"/>
                  </a:lnTo>
                  <a:lnTo>
                    <a:pt x="4670" y="3845"/>
                  </a:lnTo>
                  <a:lnTo>
                    <a:pt x="4648" y="3863"/>
                  </a:lnTo>
                  <a:lnTo>
                    <a:pt x="4643" y="3869"/>
                  </a:lnTo>
                  <a:lnTo>
                    <a:pt x="4638" y="3876"/>
                  </a:lnTo>
                  <a:lnTo>
                    <a:pt x="4637" y="3889"/>
                  </a:lnTo>
                  <a:lnTo>
                    <a:pt x="4634" y="3895"/>
                  </a:lnTo>
                  <a:lnTo>
                    <a:pt x="4628" y="3899"/>
                  </a:lnTo>
                  <a:lnTo>
                    <a:pt x="4622" y="3895"/>
                  </a:lnTo>
                  <a:lnTo>
                    <a:pt x="4618" y="3895"/>
                  </a:lnTo>
                  <a:lnTo>
                    <a:pt x="4616" y="3904"/>
                  </a:lnTo>
                  <a:lnTo>
                    <a:pt x="4615" y="3916"/>
                  </a:lnTo>
                  <a:lnTo>
                    <a:pt x="4612" y="3923"/>
                  </a:lnTo>
                  <a:lnTo>
                    <a:pt x="4607" y="3925"/>
                  </a:lnTo>
                  <a:lnTo>
                    <a:pt x="4597" y="3928"/>
                  </a:lnTo>
                  <a:lnTo>
                    <a:pt x="4593" y="3927"/>
                  </a:lnTo>
                  <a:lnTo>
                    <a:pt x="4590" y="3924"/>
                  </a:lnTo>
                  <a:lnTo>
                    <a:pt x="4574" y="3900"/>
                  </a:lnTo>
                  <a:lnTo>
                    <a:pt x="4571" y="3894"/>
                  </a:lnTo>
                  <a:lnTo>
                    <a:pt x="4566" y="3880"/>
                  </a:lnTo>
                  <a:lnTo>
                    <a:pt x="4563" y="3877"/>
                  </a:lnTo>
                  <a:lnTo>
                    <a:pt x="4559" y="3876"/>
                  </a:lnTo>
                  <a:lnTo>
                    <a:pt x="4554" y="3876"/>
                  </a:lnTo>
                  <a:lnTo>
                    <a:pt x="4539" y="3881"/>
                  </a:lnTo>
                  <a:lnTo>
                    <a:pt x="4522" y="3889"/>
                  </a:lnTo>
                  <a:lnTo>
                    <a:pt x="4512" y="3891"/>
                  </a:lnTo>
                  <a:lnTo>
                    <a:pt x="4509" y="3894"/>
                  </a:lnTo>
                  <a:lnTo>
                    <a:pt x="4507" y="3904"/>
                  </a:lnTo>
                  <a:lnTo>
                    <a:pt x="4502" y="3909"/>
                  </a:lnTo>
                  <a:lnTo>
                    <a:pt x="4492" y="3916"/>
                  </a:lnTo>
                  <a:lnTo>
                    <a:pt x="4454" y="3945"/>
                  </a:lnTo>
                  <a:lnTo>
                    <a:pt x="4447" y="3949"/>
                  </a:lnTo>
                  <a:lnTo>
                    <a:pt x="4429" y="3958"/>
                  </a:lnTo>
                  <a:lnTo>
                    <a:pt x="4422" y="3962"/>
                  </a:lnTo>
                  <a:lnTo>
                    <a:pt x="4422" y="3966"/>
                  </a:lnTo>
                  <a:lnTo>
                    <a:pt x="4428" y="3975"/>
                  </a:lnTo>
                  <a:lnTo>
                    <a:pt x="4428" y="3981"/>
                  </a:lnTo>
                  <a:lnTo>
                    <a:pt x="4438" y="3999"/>
                  </a:lnTo>
                  <a:lnTo>
                    <a:pt x="4438" y="4002"/>
                  </a:lnTo>
                  <a:lnTo>
                    <a:pt x="4434" y="4004"/>
                  </a:lnTo>
                  <a:lnTo>
                    <a:pt x="4425" y="4006"/>
                  </a:lnTo>
                  <a:lnTo>
                    <a:pt x="4415" y="3997"/>
                  </a:lnTo>
                  <a:lnTo>
                    <a:pt x="4413" y="3996"/>
                  </a:lnTo>
                  <a:lnTo>
                    <a:pt x="4408" y="3998"/>
                  </a:lnTo>
                  <a:lnTo>
                    <a:pt x="4404" y="4003"/>
                  </a:lnTo>
                  <a:lnTo>
                    <a:pt x="4402" y="4006"/>
                  </a:lnTo>
                  <a:lnTo>
                    <a:pt x="4397" y="4007"/>
                  </a:lnTo>
                  <a:lnTo>
                    <a:pt x="4391" y="4007"/>
                  </a:lnTo>
                  <a:lnTo>
                    <a:pt x="4390" y="4006"/>
                  </a:lnTo>
                  <a:lnTo>
                    <a:pt x="4388" y="4000"/>
                  </a:lnTo>
                  <a:lnTo>
                    <a:pt x="4385" y="3998"/>
                  </a:lnTo>
                  <a:lnTo>
                    <a:pt x="4378" y="3995"/>
                  </a:lnTo>
                  <a:lnTo>
                    <a:pt x="4371" y="3994"/>
                  </a:lnTo>
                  <a:lnTo>
                    <a:pt x="4366" y="3995"/>
                  </a:lnTo>
                  <a:lnTo>
                    <a:pt x="4358" y="3998"/>
                  </a:lnTo>
                  <a:lnTo>
                    <a:pt x="4334" y="4000"/>
                  </a:lnTo>
                  <a:lnTo>
                    <a:pt x="4317" y="4004"/>
                  </a:lnTo>
                  <a:lnTo>
                    <a:pt x="4310" y="4004"/>
                  </a:lnTo>
                  <a:lnTo>
                    <a:pt x="4310" y="4000"/>
                  </a:lnTo>
                  <a:lnTo>
                    <a:pt x="4313" y="3982"/>
                  </a:lnTo>
                  <a:lnTo>
                    <a:pt x="4313" y="3967"/>
                  </a:lnTo>
                  <a:lnTo>
                    <a:pt x="4312" y="3959"/>
                  </a:lnTo>
                  <a:lnTo>
                    <a:pt x="4306" y="3946"/>
                  </a:lnTo>
                  <a:lnTo>
                    <a:pt x="4305" y="3939"/>
                  </a:lnTo>
                  <a:lnTo>
                    <a:pt x="4307" y="3936"/>
                  </a:lnTo>
                  <a:lnTo>
                    <a:pt x="4314" y="3932"/>
                  </a:lnTo>
                  <a:lnTo>
                    <a:pt x="4320" y="3929"/>
                  </a:lnTo>
                  <a:lnTo>
                    <a:pt x="4322" y="3927"/>
                  </a:lnTo>
                  <a:lnTo>
                    <a:pt x="4323" y="3923"/>
                  </a:lnTo>
                  <a:lnTo>
                    <a:pt x="4322" y="3921"/>
                  </a:lnTo>
                  <a:lnTo>
                    <a:pt x="4316" y="3913"/>
                  </a:lnTo>
                  <a:lnTo>
                    <a:pt x="4312" y="3883"/>
                  </a:lnTo>
                  <a:lnTo>
                    <a:pt x="4307" y="3859"/>
                  </a:lnTo>
                  <a:lnTo>
                    <a:pt x="4306" y="3837"/>
                  </a:lnTo>
                  <a:lnTo>
                    <a:pt x="4300" y="3826"/>
                  </a:lnTo>
                  <a:lnTo>
                    <a:pt x="4301" y="3818"/>
                  </a:lnTo>
                  <a:lnTo>
                    <a:pt x="4296" y="3816"/>
                  </a:lnTo>
                  <a:lnTo>
                    <a:pt x="4288" y="3816"/>
                  </a:lnTo>
                  <a:lnTo>
                    <a:pt x="4284" y="3819"/>
                  </a:lnTo>
                  <a:lnTo>
                    <a:pt x="4280" y="3827"/>
                  </a:lnTo>
                  <a:lnTo>
                    <a:pt x="4276" y="3830"/>
                  </a:lnTo>
                  <a:lnTo>
                    <a:pt x="4259" y="3836"/>
                  </a:lnTo>
                  <a:lnTo>
                    <a:pt x="4238" y="3827"/>
                  </a:lnTo>
                  <a:lnTo>
                    <a:pt x="4230" y="3828"/>
                  </a:lnTo>
                  <a:lnTo>
                    <a:pt x="4222" y="3832"/>
                  </a:lnTo>
                  <a:lnTo>
                    <a:pt x="4216" y="3838"/>
                  </a:lnTo>
                  <a:lnTo>
                    <a:pt x="4213" y="3848"/>
                  </a:lnTo>
                  <a:lnTo>
                    <a:pt x="4208" y="3889"/>
                  </a:lnTo>
                  <a:lnTo>
                    <a:pt x="4199" y="3891"/>
                  </a:lnTo>
                  <a:lnTo>
                    <a:pt x="4173" y="3894"/>
                  </a:lnTo>
                  <a:lnTo>
                    <a:pt x="4164" y="3898"/>
                  </a:lnTo>
                  <a:lnTo>
                    <a:pt x="4163" y="3901"/>
                  </a:lnTo>
                  <a:lnTo>
                    <a:pt x="4160" y="3921"/>
                  </a:lnTo>
                  <a:lnTo>
                    <a:pt x="4149" y="3937"/>
                  </a:lnTo>
                  <a:lnTo>
                    <a:pt x="4148" y="3955"/>
                  </a:lnTo>
                  <a:lnTo>
                    <a:pt x="4149" y="3990"/>
                  </a:lnTo>
                  <a:lnTo>
                    <a:pt x="4151" y="3993"/>
                  </a:lnTo>
                  <a:lnTo>
                    <a:pt x="4159" y="4002"/>
                  </a:lnTo>
                  <a:lnTo>
                    <a:pt x="4157" y="4004"/>
                  </a:lnTo>
                  <a:lnTo>
                    <a:pt x="4150" y="4007"/>
                  </a:lnTo>
                  <a:lnTo>
                    <a:pt x="4148" y="4010"/>
                  </a:lnTo>
                  <a:lnTo>
                    <a:pt x="4150" y="4017"/>
                  </a:lnTo>
                  <a:lnTo>
                    <a:pt x="4158" y="4036"/>
                  </a:lnTo>
                  <a:lnTo>
                    <a:pt x="4156" y="4044"/>
                  </a:lnTo>
                  <a:lnTo>
                    <a:pt x="4154" y="4045"/>
                  </a:lnTo>
                  <a:lnTo>
                    <a:pt x="4151" y="4045"/>
                  </a:lnTo>
                  <a:lnTo>
                    <a:pt x="4133" y="4042"/>
                  </a:lnTo>
                  <a:lnTo>
                    <a:pt x="4126" y="4040"/>
                  </a:lnTo>
                  <a:lnTo>
                    <a:pt x="4116" y="4042"/>
                  </a:lnTo>
                  <a:lnTo>
                    <a:pt x="4106" y="4043"/>
                  </a:lnTo>
                  <a:lnTo>
                    <a:pt x="4095" y="4048"/>
                  </a:lnTo>
                  <a:lnTo>
                    <a:pt x="4077" y="4058"/>
                  </a:lnTo>
                  <a:lnTo>
                    <a:pt x="4074" y="4062"/>
                  </a:lnTo>
                  <a:lnTo>
                    <a:pt x="4072" y="4066"/>
                  </a:lnTo>
                  <a:lnTo>
                    <a:pt x="4072" y="4071"/>
                  </a:lnTo>
                  <a:lnTo>
                    <a:pt x="4075" y="4079"/>
                  </a:lnTo>
                  <a:lnTo>
                    <a:pt x="4083" y="4089"/>
                  </a:lnTo>
                  <a:lnTo>
                    <a:pt x="4080" y="4114"/>
                  </a:lnTo>
                  <a:lnTo>
                    <a:pt x="4085" y="4125"/>
                  </a:lnTo>
                  <a:lnTo>
                    <a:pt x="4089" y="4142"/>
                  </a:lnTo>
                  <a:lnTo>
                    <a:pt x="4091" y="4144"/>
                  </a:lnTo>
                  <a:lnTo>
                    <a:pt x="4094" y="4143"/>
                  </a:lnTo>
                  <a:lnTo>
                    <a:pt x="4100" y="4133"/>
                  </a:lnTo>
                  <a:lnTo>
                    <a:pt x="4104" y="4137"/>
                  </a:lnTo>
                  <a:lnTo>
                    <a:pt x="4104" y="4143"/>
                  </a:lnTo>
                  <a:lnTo>
                    <a:pt x="4103" y="4151"/>
                  </a:lnTo>
                  <a:lnTo>
                    <a:pt x="4101" y="4155"/>
                  </a:lnTo>
                  <a:lnTo>
                    <a:pt x="4083" y="4164"/>
                  </a:lnTo>
                  <a:lnTo>
                    <a:pt x="4076" y="4172"/>
                  </a:lnTo>
                  <a:lnTo>
                    <a:pt x="4061" y="4176"/>
                  </a:lnTo>
                  <a:lnTo>
                    <a:pt x="4059" y="4177"/>
                  </a:lnTo>
                  <a:lnTo>
                    <a:pt x="4065" y="4185"/>
                  </a:lnTo>
                  <a:lnTo>
                    <a:pt x="4080" y="4203"/>
                  </a:lnTo>
                  <a:lnTo>
                    <a:pt x="4095" y="4213"/>
                  </a:lnTo>
                  <a:lnTo>
                    <a:pt x="4103" y="4236"/>
                  </a:lnTo>
                  <a:lnTo>
                    <a:pt x="4106" y="4239"/>
                  </a:lnTo>
                  <a:lnTo>
                    <a:pt x="4113" y="4241"/>
                  </a:lnTo>
                  <a:lnTo>
                    <a:pt x="4114" y="4243"/>
                  </a:lnTo>
                  <a:lnTo>
                    <a:pt x="4116" y="4249"/>
                  </a:lnTo>
                  <a:lnTo>
                    <a:pt x="4119" y="4261"/>
                  </a:lnTo>
                  <a:lnTo>
                    <a:pt x="4119" y="4268"/>
                  </a:lnTo>
                  <a:lnTo>
                    <a:pt x="4116" y="4273"/>
                  </a:lnTo>
                  <a:lnTo>
                    <a:pt x="4118" y="4276"/>
                  </a:lnTo>
                  <a:lnTo>
                    <a:pt x="4129" y="4291"/>
                  </a:lnTo>
                  <a:lnTo>
                    <a:pt x="4137" y="4306"/>
                  </a:lnTo>
                  <a:lnTo>
                    <a:pt x="4137" y="4306"/>
                  </a:lnTo>
                  <a:lnTo>
                    <a:pt x="4129" y="4306"/>
                  </a:lnTo>
                  <a:lnTo>
                    <a:pt x="4123" y="4308"/>
                  </a:lnTo>
                  <a:lnTo>
                    <a:pt x="4120" y="4312"/>
                  </a:lnTo>
                  <a:lnTo>
                    <a:pt x="4116" y="4316"/>
                  </a:lnTo>
                  <a:lnTo>
                    <a:pt x="4114" y="4326"/>
                  </a:lnTo>
                  <a:lnTo>
                    <a:pt x="4112" y="4363"/>
                  </a:lnTo>
                  <a:lnTo>
                    <a:pt x="4110" y="4375"/>
                  </a:lnTo>
                  <a:lnTo>
                    <a:pt x="4107" y="4381"/>
                  </a:lnTo>
                  <a:lnTo>
                    <a:pt x="4103" y="4384"/>
                  </a:lnTo>
                  <a:lnTo>
                    <a:pt x="4093" y="4384"/>
                  </a:lnTo>
                  <a:lnTo>
                    <a:pt x="4082" y="4398"/>
                  </a:lnTo>
                  <a:lnTo>
                    <a:pt x="4078" y="4401"/>
                  </a:lnTo>
                  <a:lnTo>
                    <a:pt x="4073" y="4398"/>
                  </a:lnTo>
                  <a:lnTo>
                    <a:pt x="4060" y="4386"/>
                  </a:lnTo>
                  <a:lnTo>
                    <a:pt x="4057" y="4385"/>
                  </a:lnTo>
                  <a:lnTo>
                    <a:pt x="4055" y="4385"/>
                  </a:lnTo>
                  <a:lnTo>
                    <a:pt x="4052" y="4388"/>
                  </a:lnTo>
                  <a:lnTo>
                    <a:pt x="4043" y="4404"/>
                  </a:lnTo>
                  <a:lnTo>
                    <a:pt x="4040" y="4408"/>
                  </a:lnTo>
                  <a:lnTo>
                    <a:pt x="4031" y="4414"/>
                  </a:lnTo>
                  <a:lnTo>
                    <a:pt x="4013" y="4426"/>
                  </a:lnTo>
                  <a:lnTo>
                    <a:pt x="3985" y="4448"/>
                  </a:lnTo>
                  <a:lnTo>
                    <a:pt x="3964" y="4452"/>
                  </a:lnTo>
                  <a:lnTo>
                    <a:pt x="3957" y="4451"/>
                  </a:lnTo>
                  <a:lnTo>
                    <a:pt x="3946" y="4446"/>
                  </a:lnTo>
                  <a:lnTo>
                    <a:pt x="3926" y="4427"/>
                  </a:lnTo>
                  <a:lnTo>
                    <a:pt x="3924" y="4425"/>
                  </a:lnTo>
                  <a:lnTo>
                    <a:pt x="3922" y="4425"/>
                  </a:lnTo>
                  <a:lnTo>
                    <a:pt x="3866" y="4446"/>
                  </a:lnTo>
                  <a:lnTo>
                    <a:pt x="3832" y="4461"/>
                  </a:lnTo>
                  <a:lnTo>
                    <a:pt x="3826" y="4465"/>
                  </a:lnTo>
                  <a:lnTo>
                    <a:pt x="3822" y="4471"/>
                  </a:lnTo>
                  <a:lnTo>
                    <a:pt x="3814" y="4488"/>
                  </a:lnTo>
                  <a:lnTo>
                    <a:pt x="3809" y="4496"/>
                  </a:lnTo>
                  <a:lnTo>
                    <a:pt x="3803" y="4503"/>
                  </a:lnTo>
                  <a:lnTo>
                    <a:pt x="3799" y="4505"/>
                  </a:lnTo>
                  <a:lnTo>
                    <a:pt x="3793" y="4504"/>
                  </a:lnTo>
                  <a:lnTo>
                    <a:pt x="3783" y="4502"/>
                  </a:lnTo>
                  <a:lnTo>
                    <a:pt x="3740" y="4483"/>
                  </a:lnTo>
                  <a:lnTo>
                    <a:pt x="3708" y="4473"/>
                  </a:lnTo>
                  <a:lnTo>
                    <a:pt x="3701" y="4473"/>
                  </a:lnTo>
                  <a:lnTo>
                    <a:pt x="3685" y="4481"/>
                  </a:lnTo>
                  <a:lnTo>
                    <a:pt x="3682" y="4484"/>
                  </a:lnTo>
                  <a:lnTo>
                    <a:pt x="3676" y="4493"/>
                  </a:lnTo>
                  <a:lnTo>
                    <a:pt x="3653" y="4536"/>
                  </a:lnTo>
                  <a:lnTo>
                    <a:pt x="3631" y="4579"/>
                  </a:lnTo>
                  <a:lnTo>
                    <a:pt x="3617" y="4609"/>
                  </a:lnTo>
                  <a:lnTo>
                    <a:pt x="3606" y="4636"/>
                  </a:lnTo>
                  <a:lnTo>
                    <a:pt x="3599" y="4656"/>
                  </a:lnTo>
                  <a:lnTo>
                    <a:pt x="3596" y="4672"/>
                  </a:lnTo>
                  <a:lnTo>
                    <a:pt x="3592" y="4695"/>
                  </a:lnTo>
                  <a:lnTo>
                    <a:pt x="3590" y="4702"/>
                  </a:lnTo>
                  <a:lnTo>
                    <a:pt x="3588" y="4706"/>
                  </a:lnTo>
                  <a:lnTo>
                    <a:pt x="3584" y="4708"/>
                  </a:lnTo>
                  <a:lnTo>
                    <a:pt x="3579" y="4709"/>
                  </a:lnTo>
                  <a:lnTo>
                    <a:pt x="3559" y="4708"/>
                  </a:lnTo>
                  <a:lnTo>
                    <a:pt x="3529" y="4703"/>
                  </a:lnTo>
                  <a:lnTo>
                    <a:pt x="3481" y="4694"/>
                  </a:lnTo>
                  <a:lnTo>
                    <a:pt x="3473" y="4693"/>
                  </a:lnTo>
                  <a:lnTo>
                    <a:pt x="3469" y="4694"/>
                  </a:lnTo>
                  <a:lnTo>
                    <a:pt x="3467" y="4696"/>
                  </a:lnTo>
                  <a:lnTo>
                    <a:pt x="3466" y="4700"/>
                  </a:lnTo>
                  <a:lnTo>
                    <a:pt x="3472" y="4709"/>
                  </a:lnTo>
                  <a:lnTo>
                    <a:pt x="3474" y="4716"/>
                  </a:lnTo>
                  <a:lnTo>
                    <a:pt x="3473" y="4729"/>
                  </a:lnTo>
                  <a:lnTo>
                    <a:pt x="3469" y="4735"/>
                  </a:lnTo>
                  <a:lnTo>
                    <a:pt x="3457" y="4749"/>
                  </a:lnTo>
                  <a:lnTo>
                    <a:pt x="3448" y="4766"/>
                  </a:lnTo>
                  <a:lnTo>
                    <a:pt x="3444" y="4769"/>
                  </a:lnTo>
                  <a:lnTo>
                    <a:pt x="3422" y="4769"/>
                  </a:lnTo>
                  <a:lnTo>
                    <a:pt x="3415" y="4770"/>
                  </a:lnTo>
                  <a:lnTo>
                    <a:pt x="3402" y="4775"/>
                  </a:lnTo>
                  <a:lnTo>
                    <a:pt x="3394" y="4782"/>
                  </a:lnTo>
                  <a:lnTo>
                    <a:pt x="3394" y="4782"/>
                  </a:lnTo>
                  <a:lnTo>
                    <a:pt x="3383" y="4778"/>
                  </a:lnTo>
                  <a:lnTo>
                    <a:pt x="3381" y="4776"/>
                  </a:lnTo>
                  <a:lnTo>
                    <a:pt x="3381" y="4774"/>
                  </a:lnTo>
                  <a:lnTo>
                    <a:pt x="3385" y="4758"/>
                  </a:lnTo>
                  <a:lnTo>
                    <a:pt x="3402" y="4724"/>
                  </a:lnTo>
                  <a:lnTo>
                    <a:pt x="3402" y="4720"/>
                  </a:lnTo>
                  <a:lnTo>
                    <a:pt x="3397" y="4717"/>
                  </a:lnTo>
                  <a:lnTo>
                    <a:pt x="3381" y="4721"/>
                  </a:lnTo>
                  <a:lnTo>
                    <a:pt x="3369" y="4719"/>
                  </a:lnTo>
                  <a:lnTo>
                    <a:pt x="3354" y="4733"/>
                  </a:lnTo>
                  <a:lnTo>
                    <a:pt x="3333" y="4745"/>
                  </a:lnTo>
                  <a:lnTo>
                    <a:pt x="3326" y="4753"/>
                  </a:lnTo>
                  <a:lnTo>
                    <a:pt x="3315" y="4768"/>
                  </a:lnTo>
                  <a:lnTo>
                    <a:pt x="3286" y="4819"/>
                  </a:lnTo>
                  <a:lnTo>
                    <a:pt x="3284" y="4822"/>
                  </a:lnTo>
                  <a:lnTo>
                    <a:pt x="3280" y="4823"/>
                  </a:lnTo>
                  <a:lnTo>
                    <a:pt x="3276" y="4823"/>
                  </a:lnTo>
                  <a:lnTo>
                    <a:pt x="3271" y="4822"/>
                  </a:lnTo>
                  <a:lnTo>
                    <a:pt x="3264" y="4819"/>
                  </a:lnTo>
                  <a:lnTo>
                    <a:pt x="3260" y="4816"/>
                  </a:lnTo>
                  <a:lnTo>
                    <a:pt x="3258" y="4812"/>
                  </a:lnTo>
                  <a:lnTo>
                    <a:pt x="3249" y="4789"/>
                  </a:lnTo>
                  <a:lnTo>
                    <a:pt x="3241" y="4783"/>
                  </a:lnTo>
                  <a:lnTo>
                    <a:pt x="3240" y="4783"/>
                  </a:lnTo>
                  <a:lnTo>
                    <a:pt x="3233" y="4789"/>
                  </a:lnTo>
                  <a:lnTo>
                    <a:pt x="3229" y="4788"/>
                  </a:lnTo>
                  <a:lnTo>
                    <a:pt x="3224" y="4784"/>
                  </a:lnTo>
                  <a:lnTo>
                    <a:pt x="3220" y="4784"/>
                  </a:lnTo>
                  <a:lnTo>
                    <a:pt x="3217" y="4785"/>
                  </a:lnTo>
                  <a:lnTo>
                    <a:pt x="3214" y="4789"/>
                  </a:lnTo>
                  <a:lnTo>
                    <a:pt x="3211" y="4803"/>
                  </a:lnTo>
                  <a:lnTo>
                    <a:pt x="3208" y="4807"/>
                  </a:lnTo>
                  <a:lnTo>
                    <a:pt x="3205" y="4807"/>
                  </a:lnTo>
                  <a:lnTo>
                    <a:pt x="3202" y="4806"/>
                  </a:lnTo>
                  <a:lnTo>
                    <a:pt x="3196" y="4801"/>
                  </a:lnTo>
                  <a:lnTo>
                    <a:pt x="3169" y="4767"/>
                  </a:lnTo>
                  <a:lnTo>
                    <a:pt x="3160" y="4758"/>
                  </a:lnTo>
                  <a:lnTo>
                    <a:pt x="3158" y="4757"/>
                  </a:lnTo>
                  <a:lnTo>
                    <a:pt x="3154" y="4758"/>
                  </a:lnTo>
                  <a:lnTo>
                    <a:pt x="3139" y="4763"/>
                  </a:lnTo>
                  <a:lnTo>
                    <a:pt x="3140" y="4768"/>
                  </a:lnTo>
                  <a:lnTo>
                    <a:pt x="3159" y="4804"/>
                  </a:lnTo>
                  <a:lnTo>
                    <a:pt x="3159" y="4807"/>
                  </a:lnTo>
                  <a:lnTo>
                    <a:pt x="3156" y="4812"/>
                  </a:lnTo>
                  <a:lnTo>
                    <a:pt x="3150" y="4818"/>
                  </a:lnTo>
                  <a:lnTo>
                    <a:pt x="3135" y="4827"/>
                  </a:lnTo>
                  <a:lnTo>
                    <a:pt x="3116" y="4836"/>
                  </a:lnTo>
                  <a:lnTo>
                    <a:pt x="3103" y="4841"/>
                  </a:lnTo>
                  <a:lnTo>
                    <a:pt x="3098" y="4841"/>
                  </a:lnTo>
                  <a:lnTo>
                    <a:pt x="3094" y="4839"/>
                  </a:lnTo>
                  <a:lnTo>
                    <a:pt x="3080" y="4825"/>
                  </a:lnTo>
                  <a:lnTo>
                    <a:pt x="3077" y="4825"/>
                  </a:lnTo>
                  <a:lnTo>
                    <a:pt x="3074" y="4827"/>
                  </a:lnTo>
                  <a:lnTo>
                    <a:pt x="3073" y="4832"/>
                  </a:lnTo>
                  <a:lnTo>
                    <a:pt x="3074" y="4837"/>
                  </a:lnTo>
                  <a:lnTo>
                    <a:pt x="3086" y="4850"/>
                  </a:lnTo>
                  <a:lnTo>
                    <a:pt x="3085" y="4853"/>
                  </a:lnTo>
                  <a:lnTo>
                    <a:pt x="3074" y="4868"/>
                  </a:lnTo>
                  <a:lnTo>
                    <a:pt x="3068" y="4873"/>
                  </a:lnTo>
                  <a:lnTo>
                    <a:pt x="3049" y="4884"/>
                  </a:lnTo>
                  <a:lnTo>
                    <a:pt x="3026" y="4894"/>
                  </a:lnTo>
                  <a:lnTo>
                    <a:pt x="3019" y="4900"/>
                  </a:lnTo>
                  <a:lnTo>
                    <a:pt x="3019" y="4902"/>
                  </a:lnTo>
                  <a:lnTo>
                    <a:pt x="3021" y="4915"/>
                  </a:lnTo>
                  <a:lnTo>
                    <a:pt x="3020" y="4922"/>
                  </a:lnTo>
                  <a:lnTo>
                    <a:pt x="3013" y="4938"/>
                  </a:lnTo>
                  <a:lnTo>
                    <a:pt x="2998" y="4967"/>
                  </a:lnTo>
                  <a:lnTo>
                    <a:pt x="2990" y="4969"/>
                  </a:lnTo>
                  <a:lnTo>
                    <a:pt x="2982" y="4985"/>
                  </a:lnTo>
                  <a:lnTo>
                    <a:pt x="2977" y="4984"/>
                  </a:lnTo>
                  <a:lnTo>
                    <a:pt x="2970" y="4979"/>
                  </a:lnTo>
                  <a:lnTo>
                    <a:pt x="2967" y="4980"/>
                  </a:lnTo>
                  <a:lnTo>
                    <a:pt x="2951" y="5002"/>
                  </a:lnTo>
                  <a:lnTo>
                    <a:pt x="2935" y="5012"/>
                  </a:lnTo>
                  <a:lnTo>
                    <a:pt x="2934" y="5021"/>
                  </a:lnTo>
                  <a:lnTo>
                    <a:pt x="2939" y="5035"/>
                  </a:lnTo>
                  <a:lnTo>
                    <a:pt x="2937" y="5038"/>
                  </a:lnTo>
                  <a:lnTo>
                    <a:pt x="2933" y="5041"/>
                  </a:lnTo>
                  <a:lnTo>
                    <a:pt x="2915" y="5042"/>
                  </a:lnTo>
                  <a:lnTo>
                    <a:pt x="2899" y="5056"/>
                  </a:lnTo>
                  <a:lnTo>
                    <a:pt x="2888" y="5069"/>
                  </a:lnTo>
                  <a:lnTo>
                    <a:pt x="2882" y="5071"/>
                  </a:lnTo>
                  <a:lnTo>
                    <a:pt x="2877" y="5075"/>
                  </a:lnTo>
                  <a:lnTo>
                    <a:pt x="2867" y="5086"/>
                  </a:lnTo>
                  <a:lnTo>
                    <a:pt x="2862" y="5093"/>
                  </a:lnTo>
                  <a:lnTo>
                    <a:pt x="2858" y="5103"/>
                  </a:lnTo>
                  <a:lnTo>
                    <a:pt x="2856" y="5117"/>
                  </a:lnTo>
                  <a:lnTo>
                    <a:pt x="2852" y="5121"/>
                  </a:lnTo>
                  <a:lnTo>
                    <a:pt x="2845" y="5124"/>
                  </a:lnTo>
                  <a:lnTo>
                    <a:pt x="2840" y="5132"/>
                  </a:lnTo>
                  <a:lnTo>
                    <a:pt x="2832" y="5157"/>
                  </a:lnTo>
                  <a:lnTo>
                    <a:pt x="2829" y="5174"/>
                  </a:lnTo>
                  <a:lnTo>
                    <a:pt x="2832" y="5184"/>
                  </a:lnTo>
                  <a:lnTo>
                    <a:pt x="2838" y="5193"/>
                  </a:lnTo>
                  <a:lnTo>
                    <a:pt x="2861" y="5214"/>
                  </a:lnTo>
                  <a:lnTo>
                    <a:pt x="2860" y="5225"/>
                  </a:lnTo>
                  <a:lnTo>
                    <a:pt x="2864" y="5230"/>
                  </a:lnTo>
                  <a:lnTo>
                    <a:pt x="2842" y="5272"/>
                  </a:lnTo>
                  <a:lnTo>
                    <a:pt x="2839" y="5275"/>
                  </a:lnTo>
                  <a:lnTo>
                    <a:pt x="2834" y="5277"/>
                  </a:lnTo>
                  <a:lnTo>
                    <a:pt x="2832" y="5276"/>
                  </a:lnTo>
                  <a:lnTo>
                    <a:pt x="2829" y="5272"/>
                  </a:lnTo>
                  <a:lnTo>
                    <a:pt x="2817" y="5254"/>
                  </a:lnTo>
                  <a:lnTo>
                    <a:pt x="2809" y="5243"/>
                  </a:lnTo>
                  <a:lnTo>
                    <a:pt x="2805" y="5240"/>
                  </a:lnTo>
                  <a:lnTo>
                    <a:pt x="2800" y="5241"/>
                  </a:lnTo>
                  <a:lnTo>
                    <a:pt x="2799" y="5248"/>
                  </a:lnTo>
                  <a:lnTo>
                    <a:pt x="2803" y="5253"/>
                  </a:lnTo>
                  <a:lnTo>
                    <a:pt x="2803" y="5256"/>
                  </a:lnTo>
                  <a:lnTo>
                    <a:pt x="2802" y="5260"/>
                  </a:lnTo>
                  <a:lnTo>
                    <a:pt x="2796" y="5269"/>
                  </a:lnTo>
                  <a:lnTo>
                    <a:pt x="2794" y="5282"/>
                  </a:lnTo>
                  <a:lnTo>
                    <a:pt x="2793" y="5306"/>
                  </a:lnTo>
                  <a:lnTo>
                    <a:pt x="2794" y="5353"/>
                  </a:lnTo>
                  <a:lnTo>
                    <a:pt x="2793" y="5356"/>
                  </a:lnTo>
                  <a:lnTo>
                    <a:pt x="2789" y="5359"/>
                  </a:lnTo>
                  <a:lnTo>
                    <a:pt x="2781" y="5361"/>
                  </a:lnTo>
                  <a:lnTo>
                    <a:pt x="2766" y="5361"/>
                  </a:lnTo>
                  <a:lnTo>
                    <a:pt x="2741" y="5356"/>
                  </a:lnTo>
                  <a:lnTo>
                    <a:pt x="2727" y="5359"/>
                  </a:lnTo>
                  <a:lnTo>
                    <a:pt x="2682" y="5373"/>
                  </a:lnTo>
                  <a:lnTo>
                    <a:pt x="2664" y="5377"/>
                  </a:lnTo>
                  <a:lnTo>
                    <a:pt x="2638" y="5380"/>
                  </a:lnTo>
                  <a:lnTo>
                    <a:pt x="2613" y="5379"/>
                  </a:lnTo>
                  <a:lnTo>
                    <a:pt x="2606" y="5375"/>
                  </a:lnTo>
                  <a:lnTo>
                    <a:pt x="2599" y="5367"/>
                  </a:lnTo>
                  <a:lnTo>
                    <a:pt x="2583" y="5330"/>
                  </a:lnTo>
                  <a:lnTo>
                    <a:pt x="2577" y="5321"/>
                  </a:lnTo>
                  <a:lnTo>
                    <a:pt x="2543" y="5308"/>
                  </a:lnTo>
                  <a:lnTo>
                    <a:pt x="2534" y="5304"/>
                  </a:lnTo>
                  <a:lnTo>
                    <a:pt x="2525" y="5297"/>
                  </a:lnTo>
                  <a:lnTo>
                    <a:pt x="2515" y="5287"/>
                  </a:lnTo>
                  <a:lnTo>
                    <a:pt x="2509" y="5284"/>
                  </a:lnTo>
                  <a:lnTo>
                    <a:pt x="2507" y="5283"/>
                  </a:lnTo>
                  <a:lnTo>
                    <a:pt x="2503" y="5285"/>
                  </a:lnTo>
                  <a:lnTo>
                    <a:pt x="2500" y="5286"/>
                  </a:lnTo>
                  <a:lnTo>
                    <a:pt x="2499" y="5288"/>
                  </a:lnTo>
                  <a:lnTo>
                    <a:pt x="2499" y="5288"/>
                  </a:lnTo>
                  <a:lnTo>
                    <a:pt x="2499" y="5288"/>
                  </a:lnTo>
                  <a:lnTo>
                    <a:pt x="2499" y="5288"/>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0" name="黑龙江">
              <a:extLst>
                <a:ext uri="{FF2B5EF4-FFF2-40B4-BE49-F238E27FC236}">
                  <a16:creationId xmlns:a16="http://schemas.microsoft.com/office/drawing/2014/main" id="{10DF0725-A392-5050-D21E-D76501F6F203}"/>
                </a:ext>
              </a:extLst>
            </p:cNvPr>
            <p:cNvSpPr>
              <a:spLocks/>
            </p:cNvSpPr>
            <p:nvPr/>
          </p:nvSpPr>
          <p:spPr bwMode="auto">
            <a:xfrm>
              <a:off x="7604126" y="261939"/>
              <a:ext cx="1692275" cy="1622425"/>
            </a:xfrm>
            <a:custGeom>
              <a:avLst/>
              <a:gdLst>
                <a:gd name="T0" fmla="*/ 757 w 3198"/>
                <a:gd name="T1" fmla="*/ 2234 h 3065"/>
                <a:gd name="T2" fmla="*/ 696 w 3198"/>
                <a:gd name="T3" fmla="*/ 2142 h 3065"/>
                <a:gd name="T4" fmla="*/ 628 w 3198"/>
                <a:gd name="T5" fmla="*/ 2236 h 3065"/>
                <a:gd name="T6" fmla="*/ 471 w 3198"/>
                <a:gd name="T7" fmla="*/ 2051 h 3065"/>
                <a:gd name="T8" fmla="*/ 748 w 3198"/>
                <a:gd name="T9" fmla="*/ 1698 h 3065"/>
                <a:gd name="T10" fmla="*/ 892 w 3198"/>
                <a:gd name="T11" fmla="*/ 1594 h 3065"/>
                <a:gd name="T12" fmla="*/ 1003 w 3198"/>
                <a:gd name="T13" fmla="*/ 1345 h 3065"/>
                <a:gd name="T14" fmla="*/ 965 w 3198"/>
                <a:gd name="T15" fmla="*/ 1107 h 3065"/>
                <a:gd name="T16" fmla="*/ 1017 w 3198"/>
                <a:gd name="T17" fmla="*/ 942 h 3065"/>
                <a:gd name="T18" fmla="*/ 1086 w 3198"/>
                <a:gd name="T19" fmla="*/ 777 h 3065"/>
                <a:gd name="T20" fmla="*/ 870 w 3198"/>
                <a:gd name="T21" fmla="*/ 555 h 3065"/>
                <a:gd name="T22" fmla="*/ 798 w 3198"/>
                <a:gd name="T23" fmla="*/ 666 h 3065"/>
                <a:gd name="T24" fmla="*/ 592 w 3198"/>
                <a:gd name="T25" fmla="*/ 691 h 3065"/>
                <a:gd name="T26" fmla="*/ 424 w 3198"/>
                <a:gd name="T27" fmla="*/ 724 h 3065"/>
                <a:gd name="T28" fmla="*/ 313 w 3198"/>
                <a:gd name="T29" fmla="*/ 489 h 3065"/>
                <a:gd name="T30" fmla="*/ 271 w 3198"/>
                <a:gd name="T31" fmla="*/ 428 h 3065"/>
                <a:gd name="T32" fmla="*/ 125 w 3198"/>
                <a:gd name="T33" fmla="*/ 446 h 3065"/>
                <a:gd name="T34" fmla="*/ 26 w 3198"/>
                <a:gd name="T35" fmla="*/ 346 h 3065"/>
                <a:gd name="T36" fmla="*/ 71 w 3198"/>
                <a:gd name="T37" fmla="*/ 163 h 3065"/>
                <a:gd name="T38" fmla="*/ 237 w 3198"/>
                <a:gd name="T39" fmla="*/ 58 h 3065"/>
                <a:gd name="T40" fmla="*/ 475 w 3198"/>
                <a:gd name="T41" fmla="*/ 5 h 3065"/>
                <a:gd name="T42" fmla="*/ 697 w 3198"/>
                <a:gd name="T43" fmla="*/ 77 h 3065"/>
                <a:gd name="T44" fmla="*/ 896 w 3198"/>
                <a:gd name="T45" fmla="*/ 90 h 3065"/>
                <a:gd name="T46" fmla="*/ 994 w 3198"/>
                <a:gd name="T47" fmla="*/ 166 h 3065"/>
                <a:gd name="T48" fmla="*/ 1042 w 3198"/>
                <a:gd name="T49" fmla="*/ 251 h 3065"/>
                <a:gd name="T50" fmla="*/ 1126 w 3198"/>
                <a:gd name="T51" fmla="*/ 349 h 3065"/>
                <a:gd name="T52" fmla="*/ 1200 w 3198"/>
                <a:gd name="T53" fmla="*/ 526 h 3065"/>
                <a:gd name="T54" fmla="*/ 1255 w 3198"/>
                <a:gd name="T55" fmla="*/ 616 h 3065"/>
                <a:gd name="T56" fmla="*/ 1369 w 3198"/>
                <a:gd name="T57" fmla="*/ 774 h 3065"/>
                <a:gd name="T58" fmla="*/ 1462 w 3198"/>
                <a:gd name="T59" fmla="*/ 972 h 3065"/>
                <a:gd name="T60" fmla="*/ 1698 w 3198"/>
                <a:gd name="T61" fmla="*/ 1094 h 3065"/>
                <a:gd name="T62" fmla="*/ 1861 w 3198"/>
                <a:gd name="T63" fmla="*/ 1138 h 3065"/>
                <a:gd name="T64" fmla="*/ 2012 w 3198"/>
                <a:gd name="T65" fmla="*/ 1182 h 3065"/>
                <a:gd name="T66" fmla="*/ 2229 w 3198"/>
                <a:gd name="T67" fmla="*/ 1362 h 3065"/>
                <a:gd name="T68" fmla="*/ 2327 w 3198"/>
                <a:gd name="T69" fmla="*/ 1542 h 3065"/>
                <a:gd name="T70" fmla="*/ 2518 w 3198"/>
                <a:gd name="T71" fmla="*/ 1572 h 3065"/>
                <a:gd name="T72" fmla="*/ 2733 w 3198"/>
                <a:gd name="T73" fmla="*/ 1441 h 3065"/>
                <a:gd name="T74" fmla="*/ 2966 w 3198"/>
                <a:gd name="T75" fmla="*/ 1273 h 3065"/>
                <a:gd name="T76" fmla="*/ 3189 w 3198"/>
                <a:gd name="T77" fmla="*/ 1186 h 3065"/>
                <a:gd name="T78" fmla="*/ 3191 w 3198"/>
                <a:gd name="T79" fmla="*/ 1401 h 3065"/>
                <a:gd name="T80" fmla="*/ 3118 w 3198"/>
                <a:gd name="T81" fmla="*/ 1615 h 3065"/>
                <a:gd name="T82" fmla="*/ 3117 w 3198"/>
                <a:gd name="T83" fmla="*/ 1914 h 3065"/>
                <a:gd name="T84" fmla="*/ 3024 w 3198"/>
                <a:gd name="T85" fmla="*/ 2205 h 3065"/>
                <a:gd name="T86" fmla="*/ 2750 w 3198"/>
                <a:gd name="T87" fmla="*/ 2345 h 3065"/>
                <a:gd name="T88" fmla="*/ 2634 w 3198"/>
                <a:gd name="T89" fmla="*/ 2471 h 3065"/>
                <a:gd name="T90" fmla="*/ 2688 w 3198"/>
                <a:gd name="T91" fmla="*/ 2797 h 3065"/>
                <a:gd name="T92" fmla="*/ 2636 w 3198"/>
                <a:gd name="T93" fmla="*/ 3005 h 3065"/>
                <a:gd name="T94" fmla="*/ 2478 w 3198"/>
                <a:gd name="T95" fmla="*/ 2838 h 3065"/>
                <a:gd name="T96" fmla="*/ 2341 w 3198"/>
                <a:gd name="T97" fmla="*/ 2909 h 3065"/>
                <a:gd name="T98" fmla="*/ 2197 w 3198"/>
                <a:gd name="T99" fmla="*/ 3064 h 3065"/>
                <a:gd name="T100" fmla="*/ 2005 w 3198"/>
                <a:gd name="T101" fmla="*/ 2829 h 3065"/>
                <a:gd name="T102" fmla="*/ 1933 w 3198"/>
                <a:gd name="T103" fmla="*/ 2879 h 3065"/>
                <a:gd name="T104" fmla="*/ 1816 w 3198"/>
                <a:gd name="T105" fmla="*/ 2882 h 3065"/>
                <a:gd name="T106" fmla="*/ 1749 w 3198"/>
                <a:gd name="T107" fmla="*/ 2772 h 3065"/>
                <a:gd name="T108" fmla="*/ 1654 w 3198"/>
                <a:gd name="T109" fmla="*/ 2758 h 3065"/>
                <a:gd name="T110" fmla="*/ 1454 w 3198"/>
                <a:gd name="T111" fmla="*/ 2644 h 3065"/>
                <a:gd name="T112" fmla="*/ 1253 w 3198"/>
                <a:gd name="T113" fmla="*/ 2564 h 3065"/>
                <a:gd name="T114" fmla="*/ 1122 w 3198"/>
                <a:gd name="T115" fmla="*/ 2570 h 3065"/>
                <a:gd name="T116" fmla="*/ 992 w 3198"/>
                <a:gd name="T117" fmla="*/ 2582 h 3065"/>
                <a:gd name="T118" fmla="*/ 908 w 3198"/>
                <a:gd name="T119" fmla="*/ 2477 h 3065"/>
                <a:gd name="T120" fmla="*/ 848 w 3198"/>
                <a:gd name="T121" fmla="*/ 2350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98" h="3065">
                  <a:moveTo>
                    <a:pt x="687" y="2384"/>
                  </a:moveTo>
                  <a:lnTo>
                    <a:pt x="649" y="2338"/>
                  </a:lnTo>
                  <a:lnTo>
                    <a:pt x="644" y="2331"/>
                  </a:lnTo>
                  <a:lnTo>
                    <a:pt x="641" y="2322"/>
                  </a:lnTo>
                  <a:lnTo>
                    <a:pt x="637" y="2290"/>
                  </a:lnTo>
                  <a:lnTo>
                    <a:pt x="638" y="2285"/>
                  </a:lnTo>
                  <a:lnTo>
                    <a:pt x="642" y="2281"/>
                  </a:lnTo>
                  <a:lnTo>
                    <a:pt x="648" y="2271"/>
                  </a:lnTo>
                  <a:lnTo>
                    <a:pt x="656" y="2276"/>
                  </a:lnTo>
                  <a:lnTo>
                    <a:pt x="660" y="2277"/>
                  </a:lnTo>
                  <a:lnTo>
                    <a:pt x="666" y="2274"/>
                  </a:lnTo>
                  <a:lnTo>
                    <a:pt x="669" y="2269"/>
                  </a:lnTo>
                  <a:lnTo>
                    <a:pt x="675" y="2266"/>
                  </a:lnTo>
                  <a:lnTo>
                    <a:pt x="679" y="2266"/>
                  </a:lnTo>
                  <a:lnTo>
                    <a:pt x="687" y="2270"/>
                  </a:lnTo>
                  <a:lnTo>
                    <a:pt x="688" y="2270"/>
                  </a:lnTo>
                  <a:lnTo>
                    <a:pt x="696" y="2262"/>
                  </a:lnTo>
                  <a:lnTo>
                    <a:pt x="697" y="2247"/>
                  </a:lnTo>
                  <a:lnTo>
                    <a:pt x="697" y="2247"/>
                  </a:lnTo>
                  <a:lnTo>
                    <a:pt x="757" y="2234"/>
                  </a:lnTo>
                  <a:lnTo>
                    <a:pt x="763" y="2223"/>
                  </a:lnTo>
                  <a:lnTo>
                    <a:pt x="768" y="2202"/>
                  </a:lnTo>
                  <a:lnTo>
                    <a:pt x="774" y="2188"/>
                  </a:lnTo>
                  <a:lnTo>
                    <a:pt x="766" y="2183"/>
                  </a:lnTo>
                  <a:lnTo>
                    <a:pt x="768" y="2176"/>
                  </a:lnTo>
                  <a:lnTo>
                    <a:pt x="768" y="2171"/>
                  </a:lnTo>
                  <a:lnTo>
                    <a:pt x="765" y="2170"/>
                  </a:lnTo>
                  <a:lnTo>
                    <a:pt x="762" y="2171"/>
                  </a:lnTo>
                  <a:lnTo>
                    <a:pt x="747" y="2185"/>
                  </a:lnTo>
                  <a:lnTo>
                    <a:pt x="745" y="2187"/>
                  </a:lnTo>
                  <a:lnTo>
                    <a:pt x="742" y="2187"/>
                  </a:lnTo>
                  <a:lnTo>
                    <a:pt x="738" y="2182"/>
                  </a:lnTo>
                  <a:lnTo>
                    <a:pt x="735" y="2178"/>
                  </a:lnTo>
                  <a:lnTo>
                    <a:pt x="736" y="2167"/>
                  </a:lnTo>
                  <a:lnTo>
                    <a:pt x="741" y="2149"/>
                  </a:lnTo>
                  <a:lnTo>
                    <a:pt x="740" y="2147"/>
                  </a:lnTo>
                  <a:lnTo>
                    <a:pt x="731" y="2144"/>
                  </a:lnTo>
                  <a:lnTo>
                    <a:pt x="723" y="2144"/>
                  </a:lnTo>
                  <a:lnTo>
                    <a:pt x="720" y="2151"/>
                  </a:lnTo>
                  <a:lnTo>
                    <a:pt x="696" y="2142"/>
                  </a:lnTo>
                  <a:lnTo>
                    <a:pt x="691" y="2142"/>
                  </a:lnTo>
                  <a:lnTo>
                    <a:pt x="690" y="2144"/>
                  </a:lnTo>
                  <a:lnTo>
                    <a:pt x="691" y="2147"/>
                  </a:lnTo>
                  <a:lnTo>
                    <a:pt x="698" y="2149"/>
                  </a:lnTo>
                  <a:lnTo>
                    <a:pt x="706" y="2156"/>
                  </a:lnTo>
                  <a:lnTo>
                    <a:pt x="708" y="2169"/>
                  </a:lnTo>
                  <a:lnTo>
                    <a:pt x="704" y="2177"/>
                  </a:lnTo>
                  <a:lnTo>
                    <a:pt x="697" y="2185"/>
                  </a:lnTo>
                  <a:lnTo>
                    <a:pt x="689" y="2182"/>
                  </a:lnTo>
                  <a:lnTo>
                    <a:pt x="682" y="2182"/>
                  </a:lnTo>
                  <a:lnTo>
                    <a:pt x="679" y="2184"/>
                  </a:lnTo>
                  <a:lnTo>
                    <a:pt x="675" y="2192"/>
                  </a:lnTo>
                  <a:lnTo>
                    <a:pt x="669" y="2208"/>
                  </a:lnTo>
                  <a:lnTo>
                    <a:pt x="663" y="2218"/>
                  </a:lnTo>
                  <a:lnTo>
                    <a:pt x="658" y="2226"/>
                  </a:lnTo>
                  <a:lnTo>
                    <a:pt x="652" y="2232"/>
                  </a:lnTo>
                  <a:lnTo>
                    <a:pt x="646" y="2236"/>
                  </a:lnTo>
                  <a:lnTo>
                    <a:pt x="642" y="2237"/>
                  </a:lnTo>
                  <a:lnTo>
                    <a:pt x="635" y="2238"/>
                  </a:lnTo>
                  <a:lnTo>
                    <a:pt x="628" y="2236"/>
                  </a:lnTo>
                  <a:lnTo>
                    <a:pt x="605" y="2223"/>
                  </a:lnTo>
                  <a:lnTo>
                    <a:pt x="598" y="2194"/>
                  </a:lnTo>
                  <a:lnTo>
                    <a:pt x="595" y="2171"/>
                  </a:lnTo>
                  <a:lnTo>
                    <a:pt x="592" y="2165"/>
                  </a:lnTo>
                  <a:lnTo>
                    <a:pt x="591" y="2165"/>
                  </a:lnTo>
                  <a:lnTo>
                    <a:pt x="588" y="2165"/>
                  </a:lnTo>
                  <a:lnTo>
                    <a:pt x="580" y="2170"/>
                  </a:lnTo>
                  <a:lnTo>
                    <a:pt x="574" y="2172"/>
                  </a:lnTo>
                  <a:lnTo>
                    <a:pt x="572" y="2171"/>
                  </a:lnTo>
                  <a:lnTo>
                    <a:pt x="570" y="2169"/>
                  </a:lnTo>
                  <a:lnTo>
                    <a:pt x="568" y="2163"/>
                  </a:lnTo>
                  <a:lnTo>
                    <a:pt x="568" y="2159"/>
                  </a:lnTo>
                  <a:lnTo>
                    <a:pt x="574" y="2128"/>
                  </a:lnTo>
                  <a:lnTo>
                    <a:pt x="563" y="2125"/>
                  </a:lnTo>
                  <a:lnTo>
                    <a:pt x="534" y="2120"/>
                  </a:lnTo>
                  <a:lnTo>
                    <a:pt x="530" y="2118"/>
                  </a:lnTo>
                  <a:lnTo>
                    <a:pt x="523" y="2113"/>
                  </a:lnTo>
                  <a:lnTo>
                    <a:pt x="508" y="2101"/>
                  </a:lnTo>
                  <a:lnTo>
                    <a:pt x="474" y="2054"/>
                  </a:lnTo>
                  <a:lnTo>
                    <a:pt x="471" y="2051"/>
                  </a:lnTo>
                  <a:lnTo>
                    <a:pt x="468" y="2049"/>
                  </a:lnTo>
                  <a:lnTo>
                    <a:pt x="468" y="2048"/>
                  </a:lnTo>
                  <a:lnTo>
                    <a:pt x="483" y="2025"/>
                  </a:lnTo>
                  <a:lnTo>
                    <a:pt x="491" y="2012"/>
                  </a:lnTo>
                  <a:lnTo>
                    <a:pt x="497" y="1987"/>
                  </a:lnTo>
                  <a:lnTo>
                    <a:pt x="506" y="1969"/>
                  </a:lnTo>
                  <a:lnTo>
                    <a:pt x="547" y="1939"/>
                  </a:lnTo>
                  <a:lnTo>
                    <a:pt x="584" y="1907"/>
                  </a:lnTo>
                  <a:lnTo>
                    <a:pt x="620" y="1879"/>
                  </a:lnTo>
                  <a:lnTo>
                    <a:pt x="627" y="1867"/>
                  </a:lnTo>
                  <a:lnTo>
                    <a:pt x="642" y="1836"/>
                  </a:lnTo>
                  <a:lnTo>
                    <a:pt x="652" y="1820"/>
                  </a:lnTo>
                  <a:lnTo>
                    <a:pt x="656" y="1815"/>
                  </a:lnTo>
                  <a:lnTo>
                    <a:pt x="673" y="1805"/>
                  </a:lnTo>
                  <a:lnTo>
                    <a:pt x="685" y="1798"/>
                  </a:lnTo>
                  <a:lnTo>
                    <a:pt x="692" y="1791"/>
                  </a:lnTo>
                  <a:lnTo>
                    <a:pt x="699" y="1782"/>
                  </a:lnTo>
                  <a:lnTo>
                    <a:pt x="709" y="1768"/>
                  </a:lnTo>
                  <a:lnTo>
                    <a:pt x="735" y="1716"/>
                  </a:lnTo>
                  <a:lnTo>
                    <a:pt x="748" y="1698"/>
                  </a:lnTo>
                  <a:lnTo>
                    <a:pt x="767" y="1672"/>
                  </a:lnTo>
                  <a:lnTo>
                    <a:pt x="798" y="1636"/>
                  </a:lnTo>
                  <a:lnTo>
                    <a:pt x="816" y="1614"/>
                  </a:lnTo>
                  <a:lnTo>
                    <a:pt x="825" y="1606"/>
                  </a:lnTo>
                  <a:lnTo>
                    <a:pt x="829" y="1604"/>
                  </a:lnTo>
                  <a:lnTo>
                    <a:pt x="833" y="1604"/>
                  </a:lnTo>
                  <a:lnTo>
                    <a:pt x="840" y="1610"/>
                  </a:lnTo>
                  <a:lnTo>
                    <a:pt x="844" y="1618"/>
                  </a:lnTo>
                  <a:lnTo>
                    <a:pt x="850" y="1627"/>
                  </a:lnTo>
                  <a:lnTo>
                    <a:pt x="856" y="1648"/>
                  </a:lnTo>
                  <a:lnTo>
                    <a:pt x="867" y="1670"/>
                  </a:lnTo>
                  <a:lnTo>
                    <a:pt x="893" y="1719"/>
                  </a:lnTo>
                  <a:lnTo>
                    <a:pt x="896" y="1722"/>
                  </a:lnTo>
                  <a:lnTo>
                    <a:pt x="898" y="1720"/>
                  </a:lnTo>
                  <a:lnTo>
                    <a:pt x="906" y="1696"/>
                  </a:lnTo>
                  <a:lnTo>
                    <a:pt x="908" y="1675"/>
                  </a:lnTo>
                  <a:lnTo>
                    <a:pt x="907" y="1669"/>
                  </a:lnTo>
                  <a:lnTo>
                    <a:pt x="895" y="1644"/>
                  </a:lnTo>
                  <a:lnTo>
                    <a:pt x="894" y="1637"/>
                  </a:lnTo>
                  <a:lnTo>
                    <a:pt x="892" y="1594"/>
                  </a:lnTo>
                  <a:lnTo>
                    <a:pt x="892" y="1572"/>
                  </a:lnTo>
                  <a:lnTo>
                    <a:pt x="898" y="1543"/>
                  </a:lnTo>
                  <a:lnTo>
                    <a:pt x="898" y="1516"/>
                  </a:lnTo>
                  <a:lnTo>
                    <a:pt x="902" y="1506"/>
                  </a:lnTo>
                  <a:lnTo>
                    <a:pt x="903" y="1492"/>
                  </a:lnTo>
                  <a:lnTo>
                    <a:pt x="909" y="1477"/>
                  </a:lnTo>
                  <a:lnTo>
                    <a:pt x="921" y="1427"/>
                  </a:lnTo>
                  <a:lnTo>
                    <a:pt x="924" y="1411"/>
                  </a:lnTo>
                  <a:lnTo>
                    <a:pt x="925" y="1391"/>
                  </a:lnTo>
                  <a:lnTo>
                    <a:pt x="932" y="1375"/>
                  </a:lnTo>
                  <a:lnTo>
                    <a:pt x="936" y="1371"/>
                  </a:lnTo>
                  <a:lnTo>
                    <a:pt x="940" y="1368"/>
                  </a:lnTo>
                  <a:lnTo>
                    <a:pt x="954" y="1370"/>
                  </a:lnTo>
                  <a:lnTo>
                    <a:pt x="967" y="1370"/>
                  </a:lnTo>
                  <a:lnTo>
                    <a:pt x="983" y="1379"/>
                  </a:lnTo>
                  <a:lnTo>
                    <a:pt x="987" y="1378"/>
                  </a:lnTo>
                  <a:lnTo>
                    <a:pt x="992" y="1376"/>
                  </a:lnTo>
                  <a:lnTo>
                    <a:pt x="993" y="1373"/>
                  </a:lnTo>
                  <a:lnTo>
                    <a:pt x="994" y="1358"/>
                  </a:lnTo>
                  <a:lnTo>
                    <a:pt x="1003" y="1345"/>
                  </a:lnTo>
                  <a:lnTo>
                    <a:pt x="1006" y="1328"/>
                  </a:lnTo>
                  <a:lnTo>
                    <a:pt x="1008" y="1308"/>
                  </a:lnTo>
                  <a:lnTo>
                    <a:pt x="1006" y="1290"/>
                  </a:lnTo>
                  <a:lnTo>
                    <a:pt x="991" y="1234"/>
                  </a:lnTo>
                  <a:lnTo>
                    <a:pt x="986" y="1226"/>
                  </a:lnTo>
                  <a:lnTo>
                    <a:pt x="969" y="1212"/>
                  </a:lnTo>
                  <a:lnTo>
                    <a:pt x="965" y="1207"/>
                  </a:lnTo>
                  <a:lnTo>
                    <a:pt x="966" y="1205"/>
                  </a:lnTo>
                  <a:lnTo>
                    <a:pt x="969" y="1204"/>
                  </a:lnTo>
                  <a:lnTo>
                    <a:pt x="979" y="1206"/>
                  </a:lnTo>
                  <a:lnTo>
                    <a:pt x="982" y="1202"/>
                  </a:lnTo>
                  <a:lnTo>
                    <a:pt x="983" y="1199"/>
                  </a:lnTo>
                  <a:lnTo>
                    <a:pt x="979" y="1166"/>
                  </a:lnTo>
                  <a:lnTo>
                    <a:pt x="976" y="1157"/>
                  </a:lnTo>
                  <a:lnTo>
                    <a:pt x="972" y="1148"/>
                  </a:lnTo>
                  <a:lnTo>
                    <a:pt x="972" y="1143"/>
                  </a:lnTo>
                  <a:lnTo>
                    <a:pt x="976" y="1136"/>
                  </a:lnTo>
                  <a:lnTo>
                    <a:pt x="976" y="1129"/>
                  </a:lnTo>
                  <a:lnTo>
                    <a:pt x="973" y="1120"/>
                  </a:lnTo>
                  <a:lnTo>
                    <a:pt x="965" y="1107"/>
                  </a:lnTo>
                  <a:lnTo>
                    <a:pt x="964" y="1104"/>
                  </a:lnTo>
                  <a:lnTo>
                    <a:pt x="967" y="1099"/>
                  </a:lnTo>
                  <a:lnTo>
                    <a:pt x="976" y="1088"/>
                  </a:lnTo>
                  <a:lnTo>
                    <a:pt x="977" y="1082"/>
                  </a:lnTo>
                  <a:lnTo>
                    <a:pt x="976" y="1069"/>
                  </a:lnTo>
                  <a:lnTo>
                    <a:pt x="982" y="1062"/>
                  </a:lnTo>
                  <a:lnTo>
                    <a:pt x="982" y="1058"/>
                  </a:lnTo>
                  <a:lnTo>
                    <a:pt x="977" y="1050"/>
                  </a:lnTo>
                  <a:lnTo>
                    <a:pt x="978" y="1045"/>
                  </a:lnTo>
                  <a:lnTo>
                    <a:pt x="982" y="1041"/>
                  </a:lnTo>
                  <a:lnTo>
                    <a:pt x="987" y="1039"/>
                  </a:lnTo>
                  <a:lnTo>
                    <a:pt x="991" y="1037"/>
                  </a:lnTo>
                  <a:lnTo>
                    <a:pt x="990" y="1022"/>
                  </a:lnTo>
                  <a:lnTo>
                    <a:pt x="991" y="1020"/>
                  </a:lnTo>
                  <a:lnTo>
                    <a:pt x="998" y="1015"/>
                  </a:lnTo>
                  <a:lnTo>
                    <a:pt x="1001" y="1012"/>
                  </a:lnTo>
                  <a:lnTo>
                    <a:pt x="1001" y="995"/>
                  </a:lnTo>
                  <a:lnTo>
                    <a:pt x="1010" y="976"/>
                  </a:lnTo>
                  <a:lnTo>
                    <a:pt x="1011" y="950"/>
                  </a:lnTo>
                  <a:lnTo>
                    <a:pt x="1017" y="942"/>
                  </a:lnTo>
                  <a:lnTo>
                    <a:pt x="1017" y="933"/>
                  </a:lnTo>
                  <a:lnTo>
                    <a:pt x="1021" y="929"/>
                  </a:lnTo>
                  <a:lnTo>
                    <a:pt x="1033" y="926"/>
                  </a:lnTo>
                  <a:lnTo>
                    <a:pt x="1042" y="914"/>
                  </a:lnTo>
                  <a:lnTo>
                    <a:pt x="1051" y="912"/>
                  </a:lnTo>
                  <a:lnTo>
                    <a:pt x="1055" y="908"/>
                  </a:lnTo>
                  <a:lnTo>
                    <a:pt x="1058" y="905"/>
                  </a:lnTo>
                  <a:lnTo>
                    <a:pt x="1062" y="901"/>
                  </a:lnTo>
                  <a:lnTo>
                    <a:pt x="1063" y="894"/>
                  </a:lnTo>
                  <a:lnTo>
                    <a:pt x="1063" y="885"/>
                  </a:lnTo>
                  <a:lnTo>
                    <a:pt x="1057" y="847"/>
                  </a:lnTo>
                  <a:lnTo>
                    <a:pt x="1054" y="841"/>
                  </a:lnTo>
                  <a:lnTo>
                    <a:pt x="1048" y="834"/>
                  </a:lnTo>
                  <a:lnTo>
                    <a:pt x="1047" y="832"/>
                  </a:lnTo>
                  <a:lnTo>
                    <a:pt x="1056" y="823"/>
                  </a:lnTo>
                  <a:lnTo>
                    <a:pt x="1060" y="812"/>
                  </a:lnTo>
                  <a:lnTo>
                    <a:pt x="1068" y="800"/>
                  </a:lnTo>
                  <a:lnTo>
                    <a:pt x="1075" y="786"/>
                  </a:lnTo>
                  <a:lnTo>
                    <a:pt x="1078" y="782"/>
                  </a:lnTo>
                  <a:lnTo>
                    <a:pt x="1086" y="777"/>
                  </a:lnTo>
                  <a:lnTo>
                    <a:pt x="1089" y="774"/>
                  </a:lnTo>
                  <a:lnTo>
                    <a:pt x="1095" y="757"/>
                  </a:lnTo>
                  <a:lnTo>
                    <a:pt x="1096" y="750"/>
                  </a:lnTo>
                  <a:lnTo>
                    <a:pt x="1096" y="744"/>
                  </a:lnTo>
                  <a:lnTo>
                    <a:pt x="1090" y="731"/>
                  </a:lnTo>
                  <a:lnTo>
                    <a:pt x="1071" y="699"/>
                  </a:lnTo>
                  <a:lnTo>
                    <a:pt x="1056" y="693"/>
                  </a:lnTo>
                  <a:lnTo>
                    <a:pt x="1051" y="689"/>
                  </a:lnTo>
                  <a:lnTo>
                    <a:pt x="1039" y="675"/>
                  </a:lnTo>
                  <a:lnTo>
                    <a:pt x="1037" y="673"/>
                  </a:lnTo>
                  <a:lnTo>
                    <a:pt x="1032" y="675"/>
                  </a:lnTo>
                  <a:lnTo>
                    <a:pt x="1019" y="665"/>
                  </a:lnTo>
                  <a:lnTo>
                    <a:pt x="1004" y="652"/>
                  </a:lnTo>
                  <a:lnTo>
                    <a:pt x="961" y="607"/>
                  </a:lnTo>
                  <a:lnTo>
                    <a:pt x="910" y="561"/>
                  </a:lnTo>
                  <a:lnTo>
                    <a:pt x="906" y="559"/>
                  </a:lnTo>
                  <a:lnTo>
                    <a:pt x="892" y="562"/>
                  </a:lnTo>
                  <a:lnTo>
                    <a:pt x="880" y="558"/>
                  </a:lnTo>
                  <a:lnTo>
                    <a:pt x="873" y="557"/>
                  </a:lnTo>
                  <a:lnTo>
                    <a:pt x="870" y="555"/>
                  </a:lnTo>
                  <a:lnTo>
                    <a:pt x="867" y="548"/>
                  </a:lnTo>
                  <a:lnTo>
                    <a:pt x="864" y="547"/>
                  </a:lnTo>
                  <a:lnTo>
                    <a:pt x="858" y="548"/>
                  </a:lnTo>
                  <a:lnTo>
                    <a:pt x="854" y="553"/>
                  </a:lnTo>
                  <a:lnTo>
                    <a:pt x="855" y="562"/>
                  </a:lnTo>
                  <a:lnTo>
                    <a:pt x="853" y="578"/>
                  </a:lnTo>
                  <a:lnTo>
                    <a:pt x="854" y="589"/>
                  </a:lnTo>
                  <a:lnTo>
                    <a:pt x="853" y="594"/>
                  </a:lnTo>
                  <a:lnTo>
                    <a:pt x="850" y="598"/>
                  </a:lnTo>
                  <a:lnTo>
                    <a:pt x="844" y="604"/>
                  </a:lnTo>
                  <a:lnTo>
                    <a:pt x="832" y="613"/>
                  </a:lnTo>
                  <a:lnTo>
                    <a:pt x="830" y="616"/>
                  </a:lnTo>
                  <a:lnTo>
                    <a:pt x="829" y="620"/>
                  </a:lnTo>
                  <a:lnTo>
                    <a:pt x="832" y="628"/>
                  </a:lnTo>
                  <a:lnTo>
                    <a:pt x="833" y="631"/>
                  </a:lnTo>
                  <a:lnTo>
                    <a:pt x="826" y="639"/>
                  </a:lnTo>
                  <a:lnTo>
                    <a:pt x="822" y="647"/>
                  </a:lnTo>
                  <a:lnTo>
                    <a:pt x="817" y="651"/>
                  </a:lnTo>
                  <a:lnTo>
                    <a:pt x="804" y="652"/>
                  </a:lnTo>
                  <a:lnTo>
                    <a:pt x="798" y="666"/>
                  </a:lnTo>
                  <a:lnTo>
                    <a:pt x="787" y="673"/>
                  </a:lnTo>
                  <a:lnTo>
                    <a:pt x="779" y="678"/>
                  </a:lnTo>
                  <a:lnTo>
                    <a:pt x="774" y="679"/>
                  </a:lnTo>
                  <a:lnTo>
                    <a:pt x="754" y="668"/>
                  </a:lnTo>
                  <a:lnTo>
                    <a:pt x="749" y="669"/>
                  </a:lnTo>
                  <a:lnTo>
                    <a:pt x="739" y="683"/>
                  </a:lnTo>
                  <a:lnTo>
                    <a:pt x="733" y="702"/>
                  </a:lnTo>
                  <a:lnTo>
                    <a:pt x="730" y="707"/>
                  </a:lnTo>
                  <a:lnTo>
                    <a:pt x="724" y="708"/>
                  </a:lnTo>
                  <a:lnTo>
                    <a:pt x="717" y="706"/>
                  </a:lnTo>
                  <a:lnTo>
                    <a:pt x="710" y="703"/>
                  </a:lnTo>
                  <a:lnTo>
                    <a:pt x="697" y="694"/>
                  </a:lnTo>
                  <a:lnTo>
                    <a:pt x="689" y="691"/>
                  </a:lnTo>
                  <a:lnTo>
                    <a:pt x="668" y="707"/>
                  </a:lnTo>
                  <a:lnTo>
                    <a:pt x="655" y="715"/>
                  </a:lnTo>
                  <a:lnTo>
                    <a:pt x="641" y="711"/>
                  </a:lnTo>
                  <a:lnTo>
                    <a:pt x="624" y="710"/>
                  </a:lnTo>
                  <a:lnTo>
                    <a:pt x="616" y="707"/>
                  </a:lnTo>
                  <a:lnTo>
                    <a:pt x="606" y="691"/>
                  </a:lnTo>
                  <a:lnTo>
                    <a:pt x="592" y="691"/>
                  </a:lnTo>
                  <a:lnTo>
                    <a:pt x="585" y="683"/>
                  </a:lnTo>
                  <a:lnTo>
                    <a:pt x="583" y="682"/>
                  </a:lnTo>
                  <a:lnTo>
                    <a:pt x="578" y="687"/>
                  </a:lnTo>
                  <a:lnTo>
                    <a:pt x="569" y="707"/>
                  </a:lnTo>
                  <a:lnTo>
                    <a:pt x="563" y="717"/>
                  </a:lnTo>
                  <a:lnTo>
                    <a:pt x="556" y="722"/>
                  </a:lnTo>
                  <a:lnTo>
                    <a:pt x="545" y="726"/>
                  </a:lnTo>
                  <a:lnTo>
                    <a:pt x="536" y="739"/>
                  </a:lnTo>
                  <a:lnTo>
                    <a:pt x="526" y="744"/>
                  </a:lnTo>
                  <a:lnTo>
                    <a:pt x="515" y="760"/>
                  </a:lnTo>
                  <a:lnTo>
                    <a:pt x="510" y="763"/>
                  </a:lnTo>
                  <a:lnTo>
                    <a:pt x="508" y="762"/>
                  </a:lnTo>
                  <a:lnTo>
                    <a:pt x="496" y="755"/>
                  </a:lnTo>
                  <a:lnTo>
                    <a:pt x="478" y="740"/>
                  </a:lnTo>
                  <a:lnTo>
                    <a:pt x="470" y="735"/>
                  </a:lnTo>
                  <a:lnTo>
                    <a:pt x="459" y="732"/>
                  </a:lnTo>
                  <a:lnTo>
                    <a:pt x="450" y="733"/>
                  </a:lnTo>
                  <a:lnTo>
                    <a:pt x="440" y="732"/>
                  </a:lnTo>
                  <a:lnTo>
                    <a:pt x="428" y="727"/>
                  </a:lnTo>
                  <a:lnTo>
                    <a:pt x="424" y="724"/>
                  </a:lnTo>
                  <a:lnTo>
                    <a:pt x="416" y="707"/>
                  </a:lnTo>
                  <a:lnTo>
                    <a:pt x="408" y="700"/>
                  </a:lnTo>
                  <a:lnTo>
                    <a:pt x="406" y="693"/>
                  </a:lnTo>
                  <a:lnTo>
                    <a:pt x="405" y="684"/>
                  </a:lnTo>
                  <a:lnTo>
                    <a:pt x="407" y="661"/>
                  </a:lnTo>
                  <a:lnTo>
                    <a:pt x="395" y="642"/>
                  </a:lnTo>
                  <a:lnTo>
                    <a:pt x="390" y="629"/>
                  </a:lnTo>
                  <a:lnTo>
                    <a:pt x="384" y="615"/>
                  </a:lnTo>
                  <a:lnTo>
                    <a:pt x="380" y="604"/>
                  </a:lnTo>
                  <a:lnTo>
                    <a:pt x="369" y="600"/>
                  </a:lnTo>
                  <a:lnTo>
                    <a:pt x="367" y="597"/>
                  </a:lnTo>
                  <a:lnTo>
                    <a:pt x="360" y="572"/>
                  </a:lnTo>
                  <a:lnTo>
                    <a:pt x="343" y="535"/>
                  </a:lnTo>
                  <a:lnTo>
                    <a:pt x="331" y="502"/>
                  </a:lnTo>
                  <a:lnTo>
                    <a:pt x="328" y="501"/>
                  </a:lnTo>
                  <a:lnTo>
                    <a:pt x="323" y="503"/>
                  </a:lnTo>
                  <a:lnTo>
                    <a:pt x="319" y="503"/>
                  </a:lnTo>
                  <a:lnTo>
                    <a:pt x="316" y="501"/>
                  </a:lnTo>
                  <a:lnTo>
                    <a:pt x="314" y="496"/>
                  </a:lnTo>
                  <a:lnTo>
                    <a:pt x="313" y="489"/>
                  </a:lnTo>
                  <a:lnTo>
                    <a:pt x="313" y="480"/>
                  </a:lnTo>
                  <a:lnTo>
                    <a:pt x="314" y="473"/>
                  </a:lnTo>
                  <a:lnTo>
                    <a:pt x="315" y="469"/>
                  </a:lnTo>
                  <a:lnTo>
                    <a:pt x="318" y="467"/>
                  </a:lnTo>
                  <a:lnTo>
                    <a:pt x="324" y="467"/>
                  </a:lnTo>
                  <a:lnTo>
                    <a:pt x="330" y="466"/>
                  </a:lnTo>
                  <a:lnTo>
                    <a:pt x="333" y="465"/>
                  </a:lnTo>
                  <a:lnTo>
                    <a:pt x="334" y="464"/>
                  </a:lnTo>
                  <a:lnTo>
                    <a:pt x="336" y="440"/>
                  </a:lnTo>
                  <a:lnTo>
                    <a:pt x="334" y="432"/>
                  </a:lnTo>
                  <a:lnTo>
                    <a:pt x="332" y="426"/>
                  </a:lnTo>
                  <a:lnTo>
                    <a:pt x="328" y="424"/>
                  </a:lnTo>
                  <a:lnTo>
                    <a:pt x="320" y="427"/>
                  </a:lnTo>
                  <a:lnTo>
                    <a:pt x="315" y="430"/>
                  </a:lnTo>
                  <a:lnTo>
                    <a:pt x="311" y="432"/>
                  </a:lnTo>
                  <a:lnTo>
                    <a:pt x="303" y="432"/>
                  </a:lnTo>
                  <a:lnTo>
                    <a:pt x="287" y="435"/>
                  </a:lnTo>
                  <a:lnTo>
                    <a:pt x="278" y="434"/>
                  </a:lnTo>
                  <a:lnTo>
                    <a:pt x="274" y="432"/>
                  </a:lnTo>
                  <a:lnTo>
                    <a:pt x="271" y="428"/>
                  </a:lnTo>
                  <a:lnTo>
                    <a:pt x="260" y="404"/>
                  </a:lnTo>
                  <a:lnTo>
                    <a:pt x="257" y="400"/>
                  </a:lnTo>
                  <a:lnTo>
                    <a:pt x="254" y="399"/>
                  </a:lnTo>
                  <a:lnTo>
                    <a:pt x="246" y="406"/>
                  </a:lnTo>
                  <a:lnTo>
                    <a:pt x="242" y="402"/>
                  </a:lnTo>
                  <a:lnTo>
                    <a:pt x="242" y="394"/>
                  </a:lnTo>
                  <a:lnTo>
                    <a:pt x="245" y="386"/>
                  </a:lnTo>
                  <a:lnTo>
                    <a:pt x="244" y="382"/>
                  </a:lnTo>
                  <a:lnTo>
                    <a:pt x="220" y="379"/>
                  </a:lnTo>
                  <a:lnTo>
                    <a:pt x="216" y="376"/>
                  </a:lnTo>
                  <a:lnTo>
                    <a:pt x="208" y="369"/>
                  </a:lnTo>
                  <a:lnTo>
                    <a:pt x="205" y="367"/>
                  </a:lnTo>
                  <a:lnTo>
                    <a:pt x="181" y="418"/>
                  </a:lnTo>
                  <a:lnTo>
                    <a:pt x="171" y="446"/>
                  </a:lnTo>
                  <a:lnTo>
                    <a:pt x="167" y="450"/>
                  </a:lnTo>
                  <a:lnTo>
                    <a:pt x="162" y="453"/>
                  </a:lnTo>
                  <a:lnTo>
                    <a:pt x="155" y="455"/>
                  </a:lnTo>
                  <a:lnTo>
                    <a:pt x="149" y="455"/>
                  </a:lnTo>
                  <a:lnTo>
                    <a:pt x="133" y="450"/>
                  </a:lnTo>
                  <a:lnTo>
                    <a:pt x="125" y="446"/>
                  </a:lnTo>
                  <a:lnTo>
                    <a:pt x="122" y="441"/>
                  </a:lnTo>
                  <a:lnTo>
                    <a:pt x="121" y="429"/>
                  </a:lnTo>
                  <a:lnTo>
                    <a:pt x="118" y="422"/>
                  </a:lnTo>
                  <a:lnTo>
                    <a:pt x="117" y="419"/>
                  </a:lnTo>
                  <a:lnTo>
                    <a:pt x="109" y="414"/>
                  </a:lnTo>
                  <a:lnTo>
                    <a:pt x="102" y="413"/>
                  </a:lnTo>
                  <a:lnTo>
                    <a:pt x="92" y="413"/>
                  </a:lnTo>
                  <a:lnTo>
                    <a:pt x="81" y="411"/>
                  </a:lnTo>
                  <a:lnTo>
                    <a:pt x="62" y="406"/>
                  </a:lnTo>
                  <a:lnTo>
                    <a:pt x="45" y="397"/>
                  </a:lnTo>
                  <a:lnTo>
                    <a:pt x="22" y="382"/>
                  </a:lnTo>
                  <a:lnTo>
                    <a:pt x="18" y="382"/>
                  </a:lnTo>
                  <a:lnTo>
                    <a:pt x="7" y="383"/>
                  </a:lnTo>
                  <a:lnTo>
                    <a:pt x="3" y="383"/>
                  </a:lnTo>
                  <a:lnTo>
                    <a:pt x="1" y="382"/>
                  </a:lnTo>
                  <a:lnTo>
                    <a:pt x="0" y="379"/>
                  </a:lnTo>
                  <a:lnTo>
                    <a:pt x="2" y="374"/>
                  </a:lnTo>
                  <a:lnTo>
                    <a:pt x="10" y="360"/>
                  </a:lnTo>
                  <a:lnTo>
                    <a:pt x="18" y="352"/>
                  </a:lnTo>
                  <a:lnTo>
                    <a:pt x="26" y="346"/>
                  </a:lnTo>
                  <a:lnTo>
                    <a:pt x="30" y="342"/>
                  </a:lnTo>
                  <a:lnTo>
                    <a:pt x="47" y="304"/>
                  </a:lnTo>
                  <a:lnTo>
                    <a:pt x="49" y="302"/>
                  </a:lnTo>
                  <a:lnTo>
                    <a:pt x="58" y="298"/>
                  </a:lnTo>
                  <a:lnTo>
                    <a:pt x="60" y="296"/>
                  </a:lnTo>
                  <a:lnTo>
                    <a:pt x="65" y="280"/>
                  </a:lnTo>
                  <a:lnTo>
                    <a:pt x="68" y="258"/>
                  </a:lnTo>
                  <a:lnTo>
                    <a:pt x="80" y="224"/>
                  </a:lnTo>
                  <a:lnTo>
                    <a:pt x="83" y="221"/>
                  </a:lnTo>
                  <a:lnTo>
                    <a:pt x="107" y="216"/>
                  </a:lnTo>
                  <a:lnTo>
                    <a:pt x="112" y="213"/>
                  </a:lnTo>
                  <a:lnTo>
                    <a:pt x="114" y="208"/>
                  </a:lnTo>
                  <a:lnTo>
                    <a:pt x="111" y="200"/>
                  </a:lnTo>
                  <a:lnTo>
                    <a:pt x="105" y="194"/>
                  </a:lnTo>
                  <a:lnTo>
                    <a:pt x="102" y="177"/>
                  </a:lnTo>
                  <a:lnTo>
                    <a:pt x="101" y="172"/>
                  </a:lnTo>
                  <a:lnTo>
                    <a:pt x="97" y="170"/>
                  </a:lnTo>
                  <a:lnTo>
                    <a:pt x="82" y="169"/>
                  </a:lnTo>
                  <a:lnTo>
                    <a:pt x="73" y="166"/>
                  </a:lnTo>
                  <a:lnTo>
                    <a:pt x="71" y="163"/>
                  </a:lnTo>
                  <a:lnTo>
                    <a:pt x="73" y="151"/>
                  </a:lnTo>
                  <a:lnTo>
                    <a:pt x="71" y="145"/>
                  </a:lnTo>
                  <a:lnTo>
                    <a:pt x="67" y="143"/>
                  </a:lnTo>
                  <a:lnTo>
                    <a:pt x="55" y="139"/>
                  </a:lnTo>
                  <a:lnTo>
                    <a:pt x="35" y="121"/>
                  </a:lnTo>
                  <a:lnTo>
                    <a:pt x="35" y="121"/>
                  </a:lnTo>
                  <a:lnTo>
                    <a:pt x="65" y="104"/>
                  </a:lnTo>
                  <a:lnTo>
                    <a:pt x="111" y="83"/>
                  </a:lnTo>
                  <a:lnTo>
                    <a:pt x="120" y="80"/>
                  </a:lnTo>
                  <a:lnTo>
                    <a:pt x="147" y="77"/>
                  </a:lnTo>
                  <a:lnTo>
                    <a:pt x="151" y="76"/>
                  </a:lnTo>
                  <a:lnTo>
                    <a:pt x="156" y="73"/>
                  </a:lnTo>
                  <a:lnTo>
                    <a:pt x="164" y="64"/>
                  </a:lnTo>
                  <a:lnTo>
                    <a:pt x="172" y="58"/>
                  </a:lnTo>
                  <a:lnTo>
                    <a:pt x="183" y="52"/>
                  </a:lnTo>
                  <a:lnTo>
                    <a:pt x="192" y="49"/>
                  </a:lnTo>
                  <a:lnTo>
                    <a:pt x="199" y="47"/>
                  </a:lnTo>
                  <a:lnTo>
                    <a:pt x="204" y="47"/>
                  </a:lnTo>
                  <a:lnTo>
                    <a:pt x="220" y="55"/>
                  </a:lnTo>
                  <a:lnTo>
                    <a:pt x="237" y="58"/>
                  </a:lnTo>
                  <a:lnTo>
                    <a:pt x="242" y="58"/>
                  </a:lnTo>
                  <a:lnTo>
                    <a:pt x="281" y="51"/>
                  </a:lnTo>
                  <a:lnTo>
                    <a:pt x="310" y="44"/>
                  </a:lnTo>
                  <a:lnTo>
                    <a:pt x="345" y="27"/>
                  </a:lnTo>
                  <a:lnTo>
                    <a:pt x="364" y="22"/>
                  </a:lnTo>
                  <a:lnTo>
                    <a:pt x="370" y="18"/>
                  </a:lnTo>
                  <a:lnTo>
                    <a:pt x="380" y="8"/>
                  </a:lnTo>
                  <a:lnTo>
                    <a:pt x="383" y="6"/>
                  </a:lnTo>
                  <a:lnTo>
                    <a:pt x="395" y="4"/>
                  </a:lnTo>
                  <a:lnTo>
                    <a:pt x="405" y="3"/>
                  </a:lnTo>
                  <a:lnTo>
                    <a:pt x="421" y="6"/>
                  </a:lnTo>
                  <a:lnTo>
                    <a:pt x="428" y="7"/>
                  </a:lnTo>
                  <a:lnTo>
                    <a:pt x="434" y="5"/>
                  </a:lnTo>
                  <a:lnTo>
                    <a:pt x="440" y="2"/>
                  </a:lnTo>
                  <a:lnTo>
                    <a:pt x="453" y="6"/>
                  </a:lnTo>
                  <a:lnTo>
                    <a:pt x="454" y="6"/>
                  </a:lnTo>
                  <a:lnTo>
                    <a:pt x="457" y="1"/>
                  </a:lnTo>
                  <a:lnTo>
                    <a:pt x="462" y="0"/>
                  </a:lnTo>
                  <a:lnTo>
                    <a:pt x="468" y="1"/>
                  </a:lnTo>
                  <a:lnTo>
                    <a:pt x="475" y="5"/>
                  </a:lnTo>
                  <a:lnTo>
                    <a:pt x="480" y="7"/>
                  </a:lnTo>
                  <a:lnTo>
                    <a:pt x="512" y="10"/>
                  </a:lnTo>
                  <a:lnTo>
                    <a:pt x="525" y="14"/>
                  </a:lnTo>
                  <a:lnTo>
                    <a:pt x="535" y="20"/>
                  </a:lnTo>
                  <a:lnTo>
                    <a:pt x="549" y="33"/>
                  </a:lnTo>
                  <a:lnTo>
                    <a:pt x="558" y="36"/>
                  </a:lnTo>
                  <a:lnTo>
                    <a:pt x="573" y="38"/>
                  </a:lnTo>
                  <a:lnTo>
                    <a:pt x="584" y="35"/>
                  </a:lnTo>
                  <a:lnTo>
                    <a:pt x="591" y="35"/>
                  </a:lnTo>
                  <a:lnTo>
                    <a:pt x="601" y="36"/>
                  </a:lnTo>
                  <a:lnTo>
                    <a:pt x="609" y="42"/>
                  </a:lnTo>
                  <a:lnTo>
                    <a:pt x="628" y="62"/>
                  </a:lnTo>
                  <a:lnTo>
                    <a:pt x="640" y="73"/>
                  </a:lnTo>
                  <a:lnTo>
                    <a:pt x="645" y="76"/>
                  </a:lnTo>
                  <a:lnTo>
                    <a:pt x="653" y="78"/>
                  </a:lnTo>
                  <a:lnTo>
                    <a:pt x="661" y="79"/>
                  </a:lnTo>
                  <a:lnTo>
                    <a:pt x="668" y="78"/>
                  </a:lnTo>
                  <a:lnTo>
                    <a:pt x="684" y="74"/>
                  </a:lnTo>
                  <a:lnTo>
                    <a:pt x="691" y="75"/>
                  </a:lnTo>
                  <a:lnTo>
                    <a:pt x="697" y="77"/>
                  </a:lnTo>
                  <a:lnTo>
                    <a:pt x="714" y="93"/>
                  </a:lnTo>
                  <a:lnTo>
                    <a:pt x="735" y="99"/>
                  </a:lnTo>
                  <a:lnTo>
                    <a:pt x="741" y="99"/>
                  </a:lnTo>
                  <a:lnTo>
                    <a:pt x="742" y="98"/>
                  </a:lnTo>
                  <a:lnTo>
                    <a:pt x="744" y="94"/>
                  </a:lnTo>
                  <a:lnTo>
                    <a:pt x="747" y="81"/>
                  </a:lnTo>
                  <a:lnTo>
                    <a:pt x="750" y="76"/>
                  </a:lnTo>
                  <a:lnTo>
                    <a:pt x="757" y="71"/>
                  </a:lnTo>
                  <a:lnTo>
                    <a:pt x="766" y="65"/>
                  </a:lnTo>
                  <a:lnTo>
                    <a:pt x="793" y="60"/>
                  </a:lnTo>
                  <a:lnTo>
                    <a:pt x="807" y="63"/>
                  </a:lnTo>
                  <a:lnTo>
                    <a:pt x="828" y="72"/>
                  </a:lnTo>
                  <a:lnTo>
                    <a:pt x="858" y="80"/>
                  </a:lnTo>
                  <a:lnTo>
                    <a:pt x="866" y="85"/>
                  </a:lnTo>
                  <a:lnTo>
                    <a:pt x="872" y="93"/>
                  </a:lnTo>
                  <a:lnTo>
                    <a:pt x="874" y="95"/>
                  </a:lnTo>
                  <a:lnTo>
                    <a:pt x="878" y="94"/>
                  </a:lnTo>
                  <a:lnTo>
                    <a:pt x="888" y="89"/>
                  </a:lnTo>
                  <a:lnTo>
                    <a:pt x="892" y="89"/>
                  </a:lnTo>
                  <a:lnTo>
                    <a:pt x="896" y="90"/>
                  </a:lnTo>
                  <a:lnTo>
                    <a:pt x="915" y="108"/>
                  </a:lnTo>
                  <a:lnTo>
                    <a:pt x="921" y="115"/>
                  </a:lnTo>
                  <a:lnTo>
                    <a:pt x="921" y="118"/>
                  </a:lnTo>
                  <a:lnTo>
                    <a:pt x="920" y="123"/>
                  </a:lnTo>
                  <a:lnTo>
                    <a:pt x="912" y="139"/>
                  </a:lnTo>
                  <a:lnTo>
                    <a:pt x="913" y="142"/>
                  </a:lnTo>
                  <a:lnTo>
                    <a:pt x="915" y="144"/>
                  </a:lnTo>
                  <a:lnTo>
                    <a:pt x="921" y="146"/>
                  </a:lnTo>
                  <a:lnTo>
                    <a:pt x="926" y="147"/>
                  </a:lnTo>
                  <a:lnTo>
                    <a:pt x="930" y="145"/>
                  </a:lnTo>
                  <a:lnTo>
                    <a:pt x="941" y="140"/>
                  </a:lnTo>
                  <a:lnTo>
                    <a:pt x="945" y="140"/>
                  </a:lnTo>
                  <a:lnTo>
                    <a:pt x="949" y="141"/>
                  </a:lnTo>
                  <a:lnTo>
                    <a:pt x="952" y="143"/>
                  </a:lnTo>
                  <a:lnTo>
                    <a:pt x="958" y="150"/>
                  </a:lnTo>
                  <a:lnTo>
                    <a:pt x="967" y="160"/>
                  </a:lnTo>
                  <a:lnTo>
                    <a:pt x="978" y="170"/>
                  </a:lnTo>
                  <a:lnTo>
                    <a:pt x="982" y="172"/>
                  </a:lnTo>
                  <a:lnTo>
                    <a:pt x="986" y="172"/>
                  </a:lnTo>
                  <a:lnTo>
                    <a:pt x="994" y="166"/>
                  </a:lnTo>
                  <a:lnTo>
                    <a:pt x="999" y="164"/>
                  </a:lnTo>
                  <a:lnTo>
                    <a:pt x="1003" y="164"/>
                  </a:lnTo>
                  <a:lnTo>
                    <a:pt x="1008" y="167"/>
                  </a:lnTo>
                  <a:lnTo>
                    <a:pt x="1010" y="170"/>
                  </a:lnTo>
                  <a:lnTo>
                    <a:pt x="1010" y="177"/>
                  </a:lnTo>
                  <a:lnTo>
                    <a:pt x="1008" y="196"/>
                  </a:lnTo>
                  <a:lnTo>
                    <a:pt x="1005" y="198"/>
                  </a:lnTo>
                  <a:lnTo>
                    <a:pt x="996" y="203"/>
                  </a:lnTo>
                  <a:lnTo>
                    <a:pt x="992" y="207"/>
                  </a:lnTo>
                  <a:lnTo>
                    <a:pt x="990" y="213"/>
                  </a:lnTo>
                  <a:lnTo>
                    <a:pt x="993" y="218"/>
                  </a:lnTo>
                  <a:lnTo>
                    <a:pt x="997" y="223"/>
                  </a:lnTo>
                  <a:lnTo>
                    <a:pt x="1001" y="226"/>
                  </a:lnTo>
                  <a:lnTo>
                    <a:pt x="1005" y="226"/>
                  </a:lnTo>
                  <a:lnTo>
                    <a:pt x="1011" y="224"/>
                  </a:lnTo>
                  <a:lnTo>
                    <a:pt x="1019" y="225"/>
                  </a:lnTo>
                  <a:lnTo>
                    <a:pt x="1030" y="230"/>
                  </a:lnTo>
                  <a:lnTo>
                    <a:pt x="1038" y="235"/>
                  </a:lnTo>
                  <a:lnTo>
                    <a:pt x="1041" y="239"/>
                  </a:lnTo>
                  <a:lnTo>
                    <a:pt x="1042" y="251"/>
                  </a:lnTo>
                  <a:lnTo>
                    <a:pt x="1046" y="255"/>
                  </a:lnTo>
                  <a:lnTo>
                    <a:pt x="1049" y="258"/>
                  </a:lnTo>
                  <a:lnTo>
                    <a:pt x="1057" y="258"/>
                  </a:lnTo>
                  <a:lnTo>
                    <a:pt x="1063" y="261"/>
                  </a:lnTo>
                  <a:lnTo>
                    <a:pt x="1069" y="268"/>
                  </a:lnTo>
                  <a:lnTo>
                    <a:pt x="1077" y="276"/>
                  </a:lnTo>
                  <a:lnTo>
                    <a:pt x="1082" y="285"/>
                  </a:lnTo>
                  <a:lnTo>
                    <a:pt x="1082" y="297"/>
                  </a:lnTo>
                  <a:lnTo>
                    <a:pt x="1085" y="303"/>
                  </a:lnTo>
                  <a:lnTo>
                    <a:pt x="1090" y="307"/>
                  </a:lnTo>
                  <a:lnTo>
                    <a:pt x="1099" y="308"/>
                  </a:lnTo>
                  <a:lnTo>
                    <a:pt x="1102" y="310"/>
                  </a:lnTo>
                  <a:lnTo>
                    <a:pt x="1101" y="313"/>
                  </a:lnTo>
                  <a:lnTo>
                    <a:pt x="1089" y="324"/>
                  </a:lnTo>
                  <a:lnTo>
                    <a:pt x="1085" y="328"/>
                  </a:lnTo>
                  <a:lnTo>
                    <a:pt x="1084" y="332"/>
                  </a:lnTo>
                  <a:lnTo>
                    <a:pt x="1086" y="337"/>
                  </a:lnTo>
                  <a:lnTo>
                    <a:pt x="1091" y="342"/>
                  </a:lnTo>
                  <a:lnTo>
                    <a:pt x="1098" y="345"/>
                  </a:lnTo>
                  <a:lnTo>
                    <a:pt x="1126" y="349"/>
                  </a:lnTo>
                  <a:lnTo>
                    <a:pt x="1129" y="351"/>
                  </a:lnTo>
                  <a:lnTo>
                    <a:pt x="1131" y="354"/>
                  </a:lnTo>
                  <a:lnTo>
                    <a:pt x="1135" y="363"/>
                  </a:lnTo>
                  <a:lnTo>
                    <a:pt x="1136" y="370"/>
                  </a:lnTo>
                  <a:lnTo>
                    <a:pt x="1135" y="374"/>
                  </a:lnTo>
                  <a:lnTo>
                    <a:pt x="1127" y="388"/>
                  </a:lnTo>
                  <a:lnTo>
                    <a:pt x="1125" y="397"/>
                  </a:lnTo>
                  <a:lnTo>
                    <a:pt x="1124" y="405"/>
                  </a:lnTo>
                  <a:lnTo>
                    <a:pt x="1127" y="413"/>
                  </a:lnTo>
                  <a:lnTo>
                    <a:pt x="1131" y="419"/>
                  </a:lnTo>
                  <a:lnTo>
                    <a:pt x="1145" y="433"/>
                  </a:lnTo>
                  <a:lnTo>
                    <a:pt x="1159" y="453"/>
                  </a:lnTo>
                  <a:lnTo>
                    <a:pt x="1166" y="462"/>
                  </a:lnTo>
                  <a:lnTo>
                    <a:pt x="1177" y="471"/>
                  </a:lnTo>
                  <a:lnTo>
                    <a:pt x="1192" y="483"/>
                  </a:lnTo>
                  <a:lnTo>
                    <a:pt x="1197" y="489"/>
                  </a:lnTo>
                  <a:lnTo>
                    <a:pt x="1199" y="492"/>
                  </a:lnTo>
                  <a:lnTo>
                    <a:pt x="1199" y="498"/>
                  </a:lnTo>
                  <a:lnTo>
                    <a:pt x="1196" y="522"/>
                  </a:lnTo>
                  <a:lnTo>
                    <a:pt x="1200" y="526"/>
                  </a:lnTo>
                  <a:lnTo>
                    <a:pt x="1220" y="536"/>
                  </a:lnTo>
                  <a:lnTo>
                    <a:pt x="1226" y="539"/>
                  </a:lnTo>
                  <a:lnTo>
                    <a:pt x="1227" y="546"/>
                  </a:lnTo>
                  <a:lnTo>
                    <a:pt x="1225" y="563"/>
                  </a:lnTo>
                  <a:lnTo>
                    <a:pt x="1226" y="568"/>
                  </a:lnTo>
                  <a:lnTo>
                    <a:pt x="1231" y="572"/>
                  </a:lnTo>
                  <a:lnTo>
                    <a:pt x="1247" y="578"/>
                  </a:lnTo>
                  <a:lnTo>
                    <a:pt x="1251" y="581"/>
                  </a:lnTo>
                  <a:lnTo>
                    <a:pt x="1252" y="585"/>
                  </a:lnTo>
                  <a:lnTo>
                    <a:pt x="1250" y="592"/>
                  </a:lnTo>
                  <a:lnTo>
                    <a:pt x="1247" y="597"/>
                  </a:lnTo>
                  <a:lnTo>
                    <a:pt x="1240" y="600"/>
                  </a:lnTo>
                  <a:lnTo>
                    <a:pt x="1239" y="603"/>
                  </a:lnTo>
                  <a:lnTo>
                    <a:pt x="1240" y="613"/>
                  </a:lnTo>
                  <a:lnTo>
                    <a:pt x="1244" y="622"/>
                  </a:lnTo>
                  <a:lnTo>
                    <a:pt x="1246" y="625"/>
                  </a:lnTo>
                  <a:lnTo>
                    <a:pt x="1250" y="626"/>
                  </a:lnTo>
                  <a:lnTo>
                    <a:pt x="1252" y="626"/>
                  </a:lnTo>
                  <a:lnTo>
                    <a:pt x="1254" y="622"/>
                  </a:lnTo>
                  <a:lnTo>
                    <a:pt x="1255" y="616"/>
                  </a:lnTo>
                  <a:lnTo>
                    <a:pt x="1251" y="609"/>
                  </a:lnTo>
                  <a:lnTo>
                    <a:pt x="1252" y="606"/>
                  </a:lnTo>
                  <a:lnTo>
                    <a:pt x="1254" y="603"/>
                  </a:lnTo>
                  <a:lnTo>
                    <a:pt x="1262" y="600"/>
                  </a:lnTo>
                  <a:lnTo>
                    <a:pt x="1264" y="601"/>
                  </a:lnTo>
                  <a:lnTo>
                    <a:pt x="1266" y="604"/>
                  </a:lnTo>
                  <a:lnTo>
                    <a:pt x="1268" y="609"/>
                  </a:lnTo>
                  <a:lnTo>
                    <a:pt x="1268" y="614"/>
                  </a:lnTo>
                  <a:lnTo>
                    <a:pt x="1263" y="632"/>
                  </a:lnTo>
                  <a:lnTo>
                    <a:pt x="1262" y="644"/>
                  </a:lnTo>
                  <a:lnTo>
                    <a:pt x="1269" y="674"/>
                  </a:lnTo>
                  <a:lnTo>
                    <a:pt x="1273" y="683"/>
                  </a:lnTo>
                  <a:lnTo>
                    <a:pt x="1279" y="690"/>
                  </a:lnTo>
                  <a:lnTo>
                    <a:pt x="1300" y="709"/>
                  </a:lnTo>
                  <a:lnTo>
                    <a:pt x="1308" y="715"/>
                  </a:lnTo>
                  <a:lnTo>
                    <a:pt x="1317" y="720"/>
                  </a:lnTo>
                  <a:lnTo>
                    <a:pt x="1323" y="725"/>
                  </a:lnTo>
                  <a:lnTo>
                    <a:pt x="1332" y="735"/>
                  </a:lnTo>
                  <a:lnTo>
                    <a:pt x="1351" y="760"/>
                  </a:lnTo>
                  <a:lnTo>
                    <a:pt x="1369" y="774"/>
                  </a:lnTo>
                  <a:lnTo>
                    <a:pt x="1375" y="798"/>
                  </a:lnTo>
                  <a:lnTo>
                    <a:pt x="1388" y="816"/>
                  </a:lnTo>
                  <a:lnTo>
                    <a:pt x="1392" y="826"/>
                  </a:lnTo>
                  <a:lnTo>
                    <a:pt x="1392" y="833"/>
                  </a:lnTo>
                  <a:lnTo>
                    <a:pt x="1387" y="852"/>
                  </a:lnTo>
                  <a:lnTo>
                    <a:pt x="1387" y="860"/>
                  </a:lnTo>
                  <a:lnTo>
                    <a:pt x="1389" y="864"/>
                  </a:lnTo>
                  <a:lnTo>
                    <a:pt x="1400" y="873"/>
                  </a:lnTo>
                  <a:lnTo>
                    <a:pt x="1402" y="876"/>
                  </a:lnTo>
                  <a:lnTo>
                    <a:pt x="1402" y="903"/>
                  </a:lnTo>
                  <a:lnTo>
                    <a:pt x="1405" y="907"/>
                  </a:lnTo>
                  <a:lnTo>
                    <a:pt x="1412" y="915"/>
                  </a:lnTo>
                  <a:lnTo>
                    <a:pt x="1419" y="920"/>
                  </a:lnTo>
                  <a:lnTo>
                    <a:pt x="1429" y="922"/>
                  </a:lnTo>
                  <a:lnTo>
                    <a:pt x="1451" y="925"/>
                  </a:lnTo>
                  <a:lnTo>
                    <a:pt x="1460" y="931"/>
                  </a:lnTo>
                  <a:lnTo>
                    <a:pt x="1466" y="937"/>
                  </a:lnTo>
                  <a:lnTo>
                    <a:pt x="1467" y="940"/>
                  </a:lnTo>
                  <a:lnTo>
                    <a:pt x="1465" y="955"/>
                  </a:lnTo>
                  <a:lnTo>
                    <a:pt x="1462" y="972"/>
                  </a:lnTo>
                  <a:lnTo>
                    <a:pt x="1458" y="990"/>
                  </a:lnTo>
                  <a:lnTo>
                    <a:pt x="1456" y="999"/>
                  </a:lnTo>
                  <a:lnTo>
                    <a:pt x="1459" y="1009"/>
                  </a:lnTo>
                  <a:lnTo>
                    <a:pt x="1469" y="1032"/>
                  </a:lnTo>
                  <a:lnTo>
                    <a:pt x="1474" y="1059"/>
                  </a:lnTo>
                  <a:lnTo>
                    <a:pt x="1477" y="1063"/>
                  </a:lnTo>
                  <a:lnTo>
                    <a:pt x="1487" y="1070"/>
                  </a:lnTo>
                  <a:lnTo>
                    <a:pt x="1499" y="1075"/>
                  </a:lnTo>
                  <a:lnTo>
                    <a:pt x="1506" y="1079"/>
                  </a:lnTo>
                  <a:lnTo>
                    <a:pt x="1511" y="1086"/>
                  </a:lnTo>
                  <a:lnTo>
                    <a:pt x="1518" y="1100"/>
                  </a:lnTo>
                  <a:lnTo>
                    <a:pt x="1525" y="1109"/>
                  </a:lnTo>
                  <a:lnTo>
                    <a:pt x="1556" y="1124"/>
                  </a:lnTo>
                  <a:lnTo>
                    <a:pt x="1585" y="1119"/>
                  </a:lnTo>
                  <a:lnTo>
                    <a:pt x="1594" y="1120"/>
                  </a:lnTo>
                  <a:lnTo>
                    <a:pt x="1612" y="1127"/>
                  </a:lnTo>
                  <a:lnTo>
                    <a:pt x="1618" y="1127"/>
                  </a:lnTo>
                  <a:lnTo>
                    <a:pt x="1648" y="1118"/>
                  </a:lnTo>
                  <a:lnTo>
                    <a:pt x="1680" y="1101"/>
                  </a:lnTo>
                  <a:lnTo>
                    <a:pt x="1698" y="1094"/>
                  </a:lnTo>
                  <a:lnTo>
                    <a:pt x="1703" y="1093"/>
                  </a:lnTo>
                  <a:lnTo>
                    <a:pt x="1729" y="1095"/>
                  </a:lnTo>
                  <a:lnTo>
                    <a:pt x="1753" y="1091"/>
                  </a:lnTo>
                  <a:lnTo>
                    <a:pt x="1755" y="1091"/>
                  </a:lnTo>
                  <a:lnTo>
                    <a:pt x="1756" y="1094"/>
                  </a:lnTo>
                  <a:lnTo>
                    <a:pt x="1758" y="1116"/>
                  </a:lnTo>
                  <a:lnTo>
                    <a:pt x="1759" y="1119"/>
                  </a:lnTo>
                  <a:lnTo>
                    <a:pt x="1761" y="1121"/>
                  </a:lnTo>
                  <a:lnTo>
                    <a:pt x="1765" y="1123"/>
                  </a:lnTo>
                  <a:lnTo>
                    <a:pt x="1768" y="1123"/>
                  </a:lnTo>
                  <a:lnTo>
                    <a:pt x="1788" y="1118"/>
                  </a:lnTo>
                  <a:lnTo>
                    <a:pt x="1796" y="1118"/>
                  </a:lnTo>
                  <a:lnTo>
                    <a:pt x="1804" y="1119"/>
                  </a:lnTo>
                  <a:lnTo>
                    <a:pt x="1808" y="1122"/>
                  </a:lnTo>
                  <a:lnTo>
                    <a:pt x="1814" y="1127"/>
                  </a:lnTo>
                  <a:lnTo>
                    <a:pt x="1830" y="1145"/>
                  </a:lnTo>
                  <a:lnTo>
                    <a:pt x="1835" y="1148"/>
                  </a:lnTo>
                  <a:lnTo>
                    <a:pt x="1842" y="1149"/>
                  </a:lnTo>
                  <a:lnTo>
                    <a:pt x="1847" y="1148"/>
                  </a:lnTo>
                  <a:lnTo>
                    <a:pt x="1861" y="1138"/>
                  </a:lnTo>
                  <a:lnTo>
                    <a:pt x="1868" y="1135"/>
                  </a:lnTo>
                  <a:lnTo>
                    <a:pt x="1875" y="1135"/>
                  </a:lnTo>
                  <a:lnTo>
                    <a:pt x="1892" y="1140"/>
                  </a:lnTo>
                  <a:lnTo>
                    <a:pt x="1897" y="1141"/>
                  </a:lnTo>
                  <a:lnTo>
                    <a:pt x="1899" y="1137"/>
                  </a:lnTo>
                  <a:lnTo>
                    <a:pt x="1900" y="1121"/>
                  </a:lnTo>
                  <a:lnTo>
                    <a:pt x="1901" y="1116"/>
                  </a:lnTo>
                  <a:lnTo>
                    <a:pt x="1905" y="1114"/>
                  </a:lnTo>
                  <a:lnTo>
                    <a:pt x="1911" y="1112"/>
                  </a:lnTo>
                  <a:lnTo>
                    <a:pt x="1920" y="1112"/>
                  </a:lnTo>
                  <a:lnTo>
                    <a:pt x="1924" y="1114"/>
                  </a:lnTo>
                  <a:lnTo>
                    <a:pt x="1928" y="1117"/>
                  </a:lnTo>
                  <a:lnTo>
                    <a:pt x="1932" y="1124"/>
                  </a:lnTo>
                  <a:lnTo>
                    <a:pt x="1937" y="1136"/>
                  </a:lnTo>
                  <a:lnTo>
                    <a:pt x="1945" y="1143"/>
                  </a:lnTo>
                  <a:lnTo>
                    <a:pt x="1955" y="1149"/>
                  </a:lnTo>
                  <a:lnTo>
                    <a:pt x="1970" y="1151"/>
                  </a:lnTo>
                  <a:lnTo>
                    <a:pt x="1979" y="1155"/>
                  </a:lnTo>
                  <a:lnTo>
                    <a:pt x="1992" y="1169"/>
                  </a:lnTo>
                  <a:lnTo>
                    <a:pt x="2012" y="1182"/>
                  </a:lnTo>
                  <a:lnTo>
                    <a:pt x="2027" y="1197"/>
                  </a:lnTo>
                  <a:lnTo>
                    <a:pt x="2039" y="1206"/>
                  </a:lnTo>
                  <a:lnTo>
                    <a:pt x="2053" y="1221"/>
                  </a:lnTo>
                  <a:lnTo>
                    <a:pt x="2077" y="1238"/>
                  </a:lnTo>
                  <a:lnTo>
                    <a:pt x="2085" y="1243"/>
                  </a:lnTo>
                  <a:lnTo>
                    <a:pt x="2115" y="1255"/>
                  </a:lnTo>
                  <a:lnTo>
                    <a:pt x="2125" y="1257"/>
                  </a:lnTo>
                  <a:lnTo>
                    <a:pt x="2134" y="1254"/>
                  </a:lnTo>
                  <a:lnTo>
                    <a:pt x="2154" y="1245"/>
                  </a:lnTo>
                  <a:lnTo>
                    <a:pt x="2184" y="1247"/>
                  </a:lnTo>
                  <a:lnTo>
                    <a:pt x="2205" y="1240"/>
                  </a:lnTo>
                  <a:lnTo>
                    <a:pt x="2210" y="1239"/>
                  </a:lnTo>
                  <a:lnTo>
                    <a:pt x="2213" y="1243"/>
                  </a:lnTo>
                  <a:lnTo>
                    <a:pt x="2213" y="1249"/>
                  </a:lnTo>
                  <a:lnTo>
                    <a:pt x="2208" y="1273"/>
                  </a:lnTo>
                  <a:lnTo>
                    <a:pt x="2200" y="1326"/>
                  </a:lnTo>
                  <a:lnTo>
                    <a:pt x="2212" y="1333"/>
                  </a:lnTo>
                  <a:lnTo>
                    <a:pt x="2216" y="1335"/>
                  </a:lnTo>
                  <a:lnTo>
                    <a:pt x="2225" y="1356"/>
                  </a:lnTo>
                  <a:lnTo>
                    <a:pt x="2229" y="1362"/>
                  </a:lnTo>
                  <a:lnTo>
                    <a:pt x="2231" y="1363"/>
                  </a:lnTo>
                  <a:lnTo>
                    <a:pt x="2236" y="1362"/>
                  </a:lnTo>
                  <a:lnTo>
                    <a:pt x="2253" y="1354"/>
                  </a:lnTo>
                  <a:lnTo>
                    <a:pt x="2256" y="1355"/>
                  </a:lnTo>
                  <a:lnTo>
                    <a:pt x="2258" y="1362"/>
                  </a:lnTo>
                  <a:lnTo>
                    <a:pt x="2259" y="1374"/>
                  </a:lnTo>
                  <a:lnTo>
                    <a:pt x="2262" y="1385"/>
                  </a:lnTo>
                  <a:lnTo>
                    <a:pt x="2266" y="1392"/>
                  </a:lnTo>
                  <a:lnTo>
                    <a:pt x="2282" y="1408"/>
                  </a:lnTo>
                  <a:lnTo>
                    <a:pt x="2285" y="1414"/>
                  </a:lnTo>
                  <a:lnTo>
                    <a:pt x="2284" y="1423"/>
                  </a:lnTo>
                  <a:lnTo>
                    <a:pt x="2276" y="1453"/>
                  </a:lnTo>
                  <a:lnTo>
                    <a:pt x="2266" y="1479"/>
                  </a:lnTo>
                  <a:lnTo>
                    <a:pt x="2266" y="1486"/>
                  </a:lnTo>
                  <a:lnTo>
                    <a:pt x="2269" y="1494"/>
                  </a:lnTo>
                  <a:lnTo>
                    <a:pt x="2275" y="1504"/>
                  </a:lnTo>
                  <a:lnTo>
                    <a:pt x="2282" y="1509"/>
                  </a:lnTo>
                  <a:lnTo>
                    <a:pt x="2294" y="1519"/>
                  </a:lnTo>
                  <a:lnTo>
                    <a:pt x="2317" y="1534"/>
                  </a:lnTo>
                  <a:lnTo>
                    <a:pt x="2327" y="1542"/>
                  </a:lnTo>
                  <a:lnTo>
                    <a:pt x="2335" y="1552"/>
                  </a:lnTo>
                  <a:lnTo>
                    <a:pt x="2343" y="1565"/>
                  </a:lnTo>
                  <a:lnTo>
                    <a:pt x="2348" y="1574"/>
                  </a:lnTo>
                  <a:lnTo>
                    <a:pt x="2352" y="1587"/>
                  </a:lnTo>
                  <a:lnTo>
                    <a:pt x="2354" y="1592"/>
                  </a:lnTo>
                  <a:lnTo>
                    <a:pt x="2360" y="1598"/>
                  </a:lnTo>
                  <a:lnTo>
                    <a:pt x="2366" y="1601"/>
                  </a:lnTo>
                  <a:lnTo>
                    <a:pt x="2379" y="1604"/>
                  </a:lnTo>
                  <a:lnTo>
                    <a:pt x="2390" y="1603"/>
                  </a:lnTo>
                  <a:lnTo>
                    <a:pt x="2402" y="1596"/>
                  </a:lnTo>
                  <a:lnTo>
                    <a:pt x="2423" y="1579"/>
                  </a:lnTo>
                  <a:lnTo>
                    <a:pt x="2432" y="1573"/>
                  </a:lnTo>
                  <a:lnTo>
                    <a:pt x="2440" y="1571"/>
                  </a:lnTo>
                  <a:lnTo>
                    <a:pt x="2456" y="1568"/>
                  </a:lnTo>
                  <a:lnTo>
                    <a:pt x="2470" y="1568"/>
                  </a:lnTo>
                  <a:lnTo>
                    <a:pt x="2475" y="1569"/>
                  </a:lnTo>
                  <a:lnTo>
                    <a:pt x="2494" y="1577"/>
                  </a:lnTo>
                  <a:lnTo>
                    <a:pt x="2500" y="1579"/>
                  </a:lnTo>
                  <a:lnTo>
                    <a:pt x="2505" y="1579"/>
                  </a:lnTo>
                  <a:lnTo>
                    <a:pt x="2518" y="1572"/>
                  </a:lnTo>
                  <a:lnTo>
                    <a:pt x="2531" y="1569"/>
                  </a:lnTo>
                  <a:lnTo>
                    <a:pt x="2568" y="1566"/>
                  </a:lnTo>
                  <a:lnTo>
                    <a:pt x="2583" y="1562"/>
                  </a:lnTo>
                  <a:lnTo>
                    <a:pt x="2606" y="1551"/>
                  </a:lnTo>
                  <a:lnTo>
                    <a:pt x="2632" y="1542"/>
                  </a:lnTo>
                  <a:lnTo>
                    <a:pt x="2655" y="1523"/>
                  </a:lnTo>
                  <a:lnTo>
                    <a:pt x="2660" y="1520"/>
                  </a:lnTo>
                  <a:lnTo>
                    <a:pt x="2666" y="1519"/>
                  </a:lnTo>
                  <a:lnTo>
                    <a:pt x="2673" y="1519"/>
                  </a:lnTo>
                  <a:lnTo>
                    <a:pt x="2692" y="1524"/>
                  </a:lnTo>
                  <a:lnTo>
                    <a:pt x="2699" y="1524"/>
                  </a:lnTo>
                  <a:lnTo>
                    <a:pt x="2704" y="1523"/>
                  </a:lnTo>
                  <a:lnTo>
                    <a:pt x="2707" y="1519"/>
                  </a:lnTo>
                  <a:lnTo>
                    <a:pt x="2709" y="1512"/>
                  </a:lnTo>
                  <a:lnTo>
                    <a:pt x="2712" y="1482"/>
                  </a:lnTo>
                  <a:lnTo>
                    <a:pt x="2717" y="1452"/>
                  </a:lnTo>
                  <a:lnTo>
                    <a:pt x="2718" y="1450"/>
                  </a:lnTo>
                  <a:lnTo>
                    <a:pt x="2722" y="1446"/>
                  </a:lnTo>
                  <a:lnTo>
                    <a:pt x="2728" y="1442"/>
                  </a:lnTo>
                  <a:lnTo>
                    <a:pt x="2733" y="1441"/>
                  </a:lnTo>
                  <a:lnTo>
                    <a:pt x="2742" y="1440"/>
                  </a:lnTo>
                  <a:lnTo>
                    <a:pt x="2746" y="1438"/>
                  </a:lnTo>
                  <a:lnTo>
                    <a:pt x="2751" y="1432"/>
                  </a:lnTo>
                  <a:lnTo>
                    <a:pt x="2760" y="1415"/>
                  </a:lnTo>
                  <a:lnTo>
                    <a:pt x="2778" y="1399"/>
                  </a:lnTo>
                  <a:lnTo>
                    <a:pt x="2788" y="1380"/>
                  </a:lnTo>
                  <a:lnTo>
                    <a:pt x="2796" y="1370"/>
                  </a:lnTo>
                  <a:lnTo>
                    <a:pt x="2803" y="1367"/>
                  </a:lnTo>
                  <a:lnTo>
                    <a:pt x="2812" y="1365"/>
                  </a:lnTo>
                  <a:lnTo>
                    <a:pt x="2836" y="1361"/>
                  </a:lnTo>
                  <a:lnTo>
                    <a:pt x="2844" y="1360"/>
                  </a:lnTo>
                  <a:lnTo>
                    <a:pt x="2873" y="1350"/>
                  </a:lnTo>
                  <a:lnTo>
                    <a:pt x="2885" y="1346"/>
                  </a:lnTo>
                  <a:lnTo>
                    <a:pt x="2889" y="1342"/>
                  </a:lnTo>
                  <a:lnTo>
                    <a:pt x="2903" y="1324"/>
                  </a:lnTo>
                  <a:lnTo>
                    <a:pt x="2912" y="1314"/>
                  </a:lnTo>
                  <a:lnTo>
                    <a:pt x="2929" y="1289"/>
                  </a:lnTo>
                  <a:lnTo>
                    <a:pt x="2938" y="1284"/>
                  </a:lnTo>
                  <a:lnTo>
                    <a:pt x="2960" y="1276"/>
                  </a:lnTo>
                  <a:lnTo>
                    <a:pt x="2966" y="1273"/>
                  </a:lnTo>
                  <a:lnTo>
                    <a:pt x="2974" y="1265"/>
                  </a:lnTo>
                  <a:lnTo>
                    <a:pt x="2981" y="1257"/>
                  </a:lnTo>
                  <a:lnTo>
                    <a:pt x="2986" y="1249"/>
                  </a:lnTo>
                  <a:lnTo>
                    <a:pt x="3003" y="1236"/>
                  </a:lnTo>
                  <a:lnTo>
                    <a:pt x="3068" y="1203"/>
                  </a:lnTo>
                  <a:lnTo>
                    <a:pt x="3094" y="1192"/>
                  </a:lnTo>
                  <a:lnTo>
                    <a:pt x="3105" y="1191"/>
                  </a:lnTo>
                  <a:lnTo>
                    <a:pt x="3134" y="1196"/>
                  </a:lnTo>
                  <a:lnTo>
                    <a:pt x="3141" y="1196"/>
                  </a:lnTo>
                  <a:lnTo>
                    <a:pt x="3147" y="1195"/>
                  </a:lnTo>
                  <a:lnTo>
                    <a:pt x="3154" y="1191"/>
                  </a:lnTo>
                  <a:lnTo>
                    <a:pt x="3170" y="1174"/>
                  </a:lnTo>
                  <a:lnTo>
                    <a:pt x="3185" y="1160"/>
                  </a:lnTo>
                  <a:lnTo>
                    <a:pt x="3193" y="1151"/>
                  </a:lnTo>
                  <a:lnTo>
                    <a:pt x="3194" y="1152"/>
                  </a:lnTo>
                  <a:lnTo>
                    <a:pt x="3197" y="1158"/>
                  </a:lnTo>
                  <a:lnTo>
                    <a:pt x="3198" y="1163"/>
                  </a:lnTo>
                  <a:lnTo>
                    <a:pt x="3196" y="1173"/>
                  </a:lnTo>
                  <a:lnTo>
                    <a:pt x="3192" y="1182"/>
                  </a:lnTo>
                  <a:lnTo>
                    <a:pt x="3189" y="1186"/>
                  </a:lnTo>
                  <a:lnTo>
                    <a:pt x="3172" y="1196"/>
                  </a:lnTo>
                  <a:lnTo>
                    <a:pt x="3164" y="1203"/>
                  </a:lnTo>
                  <a:lnTo>
                    <a:pt x="3149" y="1219"/>
                  </a:lnTo>
                  <a:lnTo>
                    <a:pt x="3141" y="1230"/>
                  </a:lnTo>
                  <a:lnTo>
                    <a:pt x="3138" y="1238"/>
                  </a:lnTo>
                  <a:lnTo>
                    <a:pt x="3137" y="1250"/>
                  </a:lnTo>
                  <a:lnTo>
                    <a:pt x="3136" y="1286"/>
                  </a:lnTo>
                  <a:lnTo>
                    <a:pt x="3128" y="1310"/>
                  </a:lnTo>
                  <a:lnTo>
                    <a:pt x="3126" y="1321"/>
                  </a:lnTo>
                  <a:lnTo>
                    <a:pt x="3126" y="1326"/>
                  </a:lnTo>
                  <a:lnTo>
                    <a:pt x="3128" y="1333"/>
                  </a:lnTo>
                  <a:lnTo>
                    <a:pt x="3136" y="1351"/>
                  </a:lnTo>
                  <a:lnTo>
                    <a:pt x="3139" y="1353"/>
                  </a:lnTo>
                  <a:lnTo>
                    <a:pt x="3142" y="1354"/>
                  </a:lnTo>
                  <a:lnTo>
                    <a:pt x="3155" y="1355"/>
                  </a:lnTo>
                  <a:lnTo>
                    <a:pt x="3157" y="1356"/>
                  </a:lnTo>
                  <a:lnTo>
                    <a:pt x="3160" y="1361"/>
                  </a:lnTo>
                  <a:lnTo>
                    <a:pt x="3166" y="1378"/>
                  </a:lnTo>
                  <a:lnTo>
                    <a:pt x="3189" y="1396"/>
                  </a:lnTo>
                  <a:lnTo>
                    <a:pt x="3191" y="1401"/>
                  </a:lnTo>
                  <a:lnTo>
                    <a:pt x="3192" y="1405"/>
                  </a:lnTo>
                  <a:lnTo>
                    <a:pt x="3190" y="1411"/>
                  </a:lnTo>
                  <a:lnTo>
                    <a:pt x="3185" y="1422"/>
                  </a:lnTo>
                  <a:lnTo>
                    <a:pt x="3184" y="1441"/>
                  </a:lnTo>
                  <a:lnTo>
                    <a:pt x="3182" y="1450"/>
                  </a:lnTo>
                  <a:lnTo>
                    <a:pt x="3174" y="1466"/>
                  </a:lnTo>
                  <a:lnTo>
                    <a:pt x="3163" y="1491"/>
                  </a:lnTo>
                  <a:lnTo>
                    <a:pt x="3157" y="1501"/>
                  </a:lnTo>
                  <a:lnTo>
                    <a:pt x="3148" y="1509"/>
                  </a:lnTo>
                  <a:lnTo>
                    <a:pt x="3127" y="1515"/>
                  </a:lnTo>
                  <a:lnTo>
                    <a:pt x="3121" y="1518"/>
                  </a:lnTo>
                  <a:lnTo>
                    <a:pt x="3118" y="1523"/>
                  </a:lnTo>
                  <a:lnTo>
                    <a:pt x="3110" y="1534"/>
                  </a:lnTo>
                  <a:lnTo>
                    <a:pt x="3105" y="1552"/>
                  </a:lnTo>
                  <a:lnTo>
                    <a:pt x="3098" y="1566"/>
                  </a:lnTo>
                  <a:lnTo>
                    <a:pt x="3098" y="1578"/>
                  </a:lnTo>
                  <a:lnTo>
                    <a:pt x="3100" y="1587"/>
                  </a:lnTo>
                  <a:lnTo>
                    <a:pt x="3103" y="1592"/>
                  </a:lnTo>
                  <a:lnTo>
                    <a:pt x="3116" y="1607"/>
                  </a:lnTo>
                  <a:lnTo>
                    <a:pt x="3118" y="1615"/>
                  </a:lnTo>
                  <a:lnTo>
                    <a:pt x="3119" y="1623"/>
                  </a:lnTo>
                  <a:lnTo>
                    <a:pt x="3117" y="1631"/>
                  </a:lnTo>
                  <a:lnTo>
                    <a:pt x="3105" y="1644"/>
                  </a:lnTo>
                  <a:lnTo>
                    <a:pt x="3101" y="1653"/>
                  </a:lnTo>
                  <a:lnTo>
                    <a:pt x="3099" y="1674"/>
                  </a:lnTo>
                  <a:lnTo>
                    <a:pt x="3099" y="1693"/>
                  </a:lnTo>
                  <a:lnTo>
                    <a:pt x="3101" y="1726"/>
                  </a:lnTo>
                  <a:lnTo>
                    <a:pt x="3110" y="1756"/>
                  </a:lnTo>
                  <a:lnTo>
                    <a:pt x="3113" y="1779"/>
                  </a:lnTo>
                  <a:lnTo>
                    <a:pt x="3113" y="1788"/>
                  </a:lnTo>
                  <a:lnTo>
                    <a:pt x="3110" y="1798"/>
                  </a:lnTo>
                  <a:lnTo>
                    <a:pt x="3095" y="1823"/>
                  </a:lnTo>
                  <a:lnTo>
                    <a:pt x="3092" y="1833"/>
                  </a:lnTo>
                  <a:lnTo>
                    <a:pt x="3092" y="1840"/>
                  </a:lnTo>
                  <a:lnTo>
                    <a:pt x="3093" y="1848"/>
                  </a:lnTo>
                  <a:lnTo>
                    <a:pt x="3095" y="1855"/>
                  </a:lnTo>
                  <a:lnTo>
                    <a:pt x="3105" y="1868"/>
                  </a:lnTo>
                  <a:lnTo>
                    <a:pt x="3109" y="1879"/>
                  </a:lnTo>
                  <a:lnTo>
                    <a:pt x="3116" y="1904"/>
                  </a:lnTo>
                  <a:lnTo>
                    <a:pt x="3117" y="1914"/>
                  </a:lnTo>
                  <a:lnTo>
                    <a:pt x="3114" y="1922"/>
                  </a:lnTo>
                  <a:lnTo>
                    <a:pt x="3102" y="1942"/>
                  </a:lnTo>
                  <a:lnTo>
                    <a:pt x="3096" y="1951"/>
                  </a:lnTo>
                  <a:lnTo>
                    <a:pt x="3081" y="1973"/>
                  </a:lnTo>
                  <a:lnTo>
                    <a:pt x="3082" y="1975"/>
                  </a:lnTo>
                  <a:lnTo>
                    <a:pt x="3090" y="1992"/>
                  </a:lnTo>
                  <a:lnTo>
                    <a:pt x="3093" y="1997"/>
                  </a:lnTo>
                  <a:lnTo>
                    <a:pt x="3091" y="2032"/>
                  </a:lnTo>
                  <a:lnTo>
                    <a:pt x="3075" y="2054"/>
                  </a:lnTo>
                  <a:lnTo>
                    <a:pt x="3057" y="2071"/>
                  </a:lnTo>
                  <a:lnTo>
                    <a:pt x="3054" y="2080"/>
                  </a:lnTo>
                  <a:lnTo>
                    <a:pt x="3054" y="2089"/>
                  </a:lnTo>
                  <a:lnTo>
                    <a:pt x="3056" y="2102"/>
                  </a:lnTo>
                  <a:lnTo>
                    <a:pt x="3057" y="2124"/>
                  </a:lnTo>
                  <a:lnTo>
                    <a:pt x="3064" y="2152"/>
                  </a:lnTo>
                  <a:lnTo>
                    <a:pt x="3064" y="2157"/>
                  </a:lnTo>
                  <a:lnTo>
                    <a:pt x="3062" y="2165"/>
                  </a:lnTo>
                  <a:lnTo>
                    <a:pt x="3057" y="2174"/>
                  </a:lnTo>
                  <a:lnTo>
                    <a:pt x="3054" y="2180"/>
                  </a:lnTo>
                  <a:lnTo>
                    <a:pt x="3024" y="2205"/>
                  </a:lnTo>
                  <a:lnTo>
                    <a:pt x="3018" y="2214"/>
                  </a:lnTo>
                  <a:lnTo>
                    <a:pt x="3014" y="2224"/>
                  </a:lnTo>
                  <a:lnTo>
                    <a:pt x="3013" y="2265"/>
                  </a:lnTo>
                  <a:lnTo>
                    <a:pt x="3015" y="2285"/>
                  </a:lnTo>
                  <a:lnTo>
                    <a:pt x="3018" y="2297"/>
                  </a:lnTo>
                  <a:lnTo>
                    <a:pt x="3028" y="2316"/>
                  </a:lnTo>
                  <a:lnTo>
                    <a:pt x="3028" y="2323"/>
                  </a:lnTo>
                  <a:lnTo>
                    <a:pt x="3029" y="2330"/>
                  </a:lnTo>
                  <a:lnTo>
                    <a:pt x="3030" y="2332"/>
                  </a:lnTo>
                  <a:lnTo>
                    <a:pt x="3035" y="2335"/>
                  </a:lnTo>
                  <a:lnTo>
                    <a:pt x="3034" y="2342"/>
                  </a:lnTo>
                  <a:lnTo>
                    <a:pt x="3031" y="2352"/>
                  </a:lnTo>
                  <a:lnTo>
                    <a:pt x="3023" y="2363"/>
                  </a:lnTo>
                  <a:lnTo>
                    <a:pt x="3014" y="2371"/>
                  </a:lnTo>
                  <a:lnTo>
                    <a:pt x="3003" y="2374"/>
                  </a:lnTo>
                  <a:lnTo>
                    <a:pt x="2990" y="2375"/>
                  </a:lnTo>
                  <a:lnTo>
                    <a:pt x="2777" y="2356"/>
                  </a:lnTo>
                  <a:lnTo>
                    <a:pt x="2766" y="2353"/>
                  </a:lnTo>
                  <a:lnTo>
                    <a:pt x="2756" y="2349"/>
                  </a:lnTo>
                  <a:lnTo>
                    <a:pt x="2750" y="2345"/>
                  </a:lnTo>
                  <a:lnTo>
                    <a:pt x="2741" y="2335"/>
                  </a:lnTo>
                  <a:lnTo>
                    <a:pt x="2736" y="2334"/>
                  </a:lnTo>
                  <a:lnTo>
                    <a:pt x="2732" y="2335"/>
                  </a:lnTo>
                  <a:lnTo>
                    <a:pt x="2729" y="2337"/>
                  </a:lnTo>
                  <a:lnTo>
                    <a:pt x="2725" y="2343"/>
                  </a:lnTo>
                  <a:lnTo>
                    <a:pt x="2723" y="2351"/>
                  </a:lnTo>
                  <a:lnTo>
                    <a:pt x="2721" y="2363"/>
                  </a:lnTo>
                  <a:lnTo>
                    <a:pt x="2716" y="2371"/>
                  </a:lnTo>
                  <a:lnTo>
                    <a:pt x="2709" y="2378"/>
                  </a:lnTo>
                  <a:lnTo>
                    <a:pt x="2698" y="2384"/>
                  </a:lnTo>
                  <a:lnTo>
                    <a:pt x="2694" y="2389"/>
                  </a:lnTo>
                  <a:lnTo>
                    <a:pt x="2692" y="2396"/>
                  </a:lnTo>
                  <a:lnTo>
                    <a:pt x="2695" y="2411"/>
                  </a:lnTo>
                  <a:lnTo>
                    <a:pt x="2695" y="2417"/>
                  </a:lnTo>
                  <a:lnTo>
                    <a:pt x="2688" y="2430"/>
                  </a:lnTo>
                  <a:lnTo>
                    <a:pt x="2676" y="2446"/>
                  </a:lnTo>
                  <a:lnTo>
                    <a:pt x="2664" y="2460"/>
                  </a:lnTo>
                  <a:lnTo>
                    <a:pt x="2658" y="2465"/>
                  </a:lnTo>
                  <a:lnTo>
                    <a:pt x="2651" y="2467"/>
                  </a:lnTo>
                  <a:lnTo>
                    <a:pt x="2634" y="2471"/>
                  </a:lnTo>
                  <a:lnTo>
                    <a:pt x="2630" y="2472"/>
                  </a:lnTo>
                  <a:lnTo>
                    <a:pt x="2625" y="2478"/>
                  </a:lnTo>
                  <a:lnTo>
                    <a:pt x="2618" y="2489"/>
                  </a:lnTo>
                  <a:lnTo>
                    <a:pt x="2606" y="2494"/>
                  </a:lnTo>
                  <a:lnTo>
                    <a:pt x="2588" y="2497"/>
                  </a:lnTo>
                  <a:lnTo>
                    <a:pt x="2586" y="2498"/>
                  </a:lnTo>
                  <a:lnTo>
                    <a:pt x="2581" y="2504"/>
                  </a:lnTo>
                  <a:lnTo>
                    <a:pt x="2578" y="2514"/>
                  </a:lnTo>
                  <a:lnTo>
                    <a:pt x="2574" y="2519"/>
                  </a:lnTo>
                  <a:lnTo>
                    <a:pt x="2560" y="2537"/>
                  </a:lnTo>
                  <a:lnTo>
                    <a:pt x="2562" y="2540"/>
                  </a:lnTo>
                  <a:lnTo>
                    <a:pt x="2590" y="2562"/>
                  </a:lnTo>
                  <a:lnTo>
                    <a:pt x="2595" y="2568"/>
                  </a:lnTo>
                  <a:lnTo>
                    <a:pt x="2600" y="2576"/>
                  </a:lnTo>
                  <a:lnTo>
                    <a:pt x="2617" y="2609"/>
                  </a:lnTo>
                  <a:lnTo>
                    <a:pt x="2666" y="2718"/>
                  </a:lnTo>
                  <a:lnTo>
                    <a:pt x="2690" y="2770"/>
                  </a:lnTo>
                  <a:lnTo>
                    <a:pt x="2692" y="2776"/>
                  </a:lnTo>
                  <a:lnTo>
                    <a:pt x="2692" y="2782"/>
                  </a:lnTo>
                  <a:lnTo>
                    <a:pt x="2688" y="2797"/>
                  </a:lnTo>
                  <a:lnTo>
                    <a:pt x="2686" y="2812"/>
                  </a:lnTo>
                  <a:lnTo>
                    <a:pt x="2692" y="2837"/>
                  </a:lnTo>
                  <a:lnTo>
                    <a:pt x="2692" y="2884"/>
                  </a:lnTo>
                  <a:lnTo>
                    <a:pt x="2697" y="2924"/>
                  </a:lnTo>
                  <a:lnTo>
                    <a:pt x="2702" y="2941"/>
                  </a:lnTo>
                  <a:lnTo>
                    <a:pt x="2706" y="2951"/>
                  </a:lnTo>
                  <a:lnTo>
                    <a:pt x="2713" y="2959"/>
                  </a:lnTo>
                  <a:lnTo>
                    <a:pt x="2728" y="2967"/>
                  </a:lnTo>
                  <a:lnTo>
                    <a:pt x="2732" y="2975"/>
                  </a:lnTo>
                  <a:lnTo>
                    <a:pt x="2732" y="2975"/>
                  </a:lnTo>
                  <a:lnTo>
                    <a:pt x="2712" y="2981"/>
                  </a:lnTo>
                  <a:lnTo>
                    <a:pt x="2704" y="2988"/>
                  </a:lnTo>
                  <a:lnTo>
                    <a:pt x="2696" y="2991"/>
                  </a:lnTo>
                  <a:lnTo>
                    <a:pt x="2690" y="2989"/>
                  </a:lnTo>
                  <a:lnTo>
                    <a:pt x="2677" y="2980"/>
                  </a:lnTo>
                  <a:lnTo>
                    <a:pt x="2672" y="2978"/>
                  </a:lnTo>
                  <a:lnTo>
                    <a:pt x="2668" y="2978"/>
                  </a:lnTo>
                  <a:lnTo>
                    <a:pt x="2660" y="2984"/>
                  </a:lnTo>
                  <a:lnTo>
                    <a:pt x="2643" y="3003"/>
                  </a:lnTo>
                  <a:lnTo>
                    <a:pt x="2636" y="3005"/>
                  </a:lnTo>
                  <a:lnTo>
                    <a:pt x="2633" y="3004"/>
                  </a:lnTo>
                  <a:lnTo>
                    <a:pt x="2631" y="3002"/>
                  </a:lnTo>
                  <a:lnTo>
                    <a:pt x="2617" y="2982"/>
                  </a:lnTo>
                  <a:lnTo>
                    <a:pt x="2610" y="2975"/>
                  </a:lnTo>
                  <a:lnTo>
                    <a:pt x="2594" y="2973"/>
                  </a:lnTo>
                  <a:lnTo>
                    <a:pt x="2584" y="2968"/>
                  </a:lnTo>
                  <a:lnTo>
                    <a:pt x="2573" y="2965"/>
                  </a:lnTo>
                  <a:lnTo>
                    <a:pt x="2566" y="2961"/>
                  </a:lnTo>
                  <a:lnTo>
                    <a:pt x="2537" y="2961"/>
                  </a:lnTo>
                  <a:lnTo>
                    <a:pt x="2528" y="2959"/>
                  </a:lnTo>
                  <a:lnTo>
                    <a:pt x="2525" y="2953"/>
                  </a:lnTo>
                  <a:lnTo>
                    <a:pt x="2517" y="2938"/>
                  </a:lnTo>
                  <a:lnTo>
                    <a:pt x="2513" y="2934"/>
                  </a:lnTo>
                  <a:lnTo>
                    <a:pt x="2506" y="2928"/>
                  </a:lnTo>
                  <a:lnTo>
                    <a:pt x="2502" y="2923"/>
                  </a:lnTo>
                  <a:lnTo>
                    <a:pt x="2496" y="2902"/>
                  </a:lnTo>
                  <a:lnTo>
                    <a:pt x="2493" y="2895"/>
                  </a:lnTo>
                  <a:lnTo>
                    <a:pt x="2488" y="2877"/>
                  </a:lnTo>
                  <a:lnTo>
                    <a:pt x="2483" y="2864"/>
                  </a:lnTo>
                  <a:lnTo>
                    <a:pt x="2478" y="2838"/>
                  </a:lnTo>
                  <a:lnTo>
                    <a:pt x="2475" y="2833"/>
                  </a:lnTo>
                  <a:lnTo>
                    <a:pt x="2471" y="2833"/>
                  </a:lnTo>
                  <a:lnTo>
                    <a:pt x="2468" y="2835"/>
                  </a:lnTo>
                  <a:lnTo>
                    <a:pt x="2454" y="2863"/>
                  </a:lnTo>
                  <a:lnTo>
                    <a:pt x="2439" y="2879"/>
                  </a:lnTo>
                  <a:lnTo>
                    <a:pt x="2428" y="2902"/>
                  </a:lnTo>
                  <a:lnTo>
                    <a:pt x="2426" y="2903"/>
                  </a:lnTo>
                  <a:lnTo>
                    <a:pt x="2421" y="2905"/>
                  </a:lnTo>
                  <a:lnTo>
                    <a:pt x="2418" y="2903"/>
                  </a:lnTo>
                  <a:lnTo>
                    <a:pt x="2411" y="2900"/>
                  </a:lnTo>
                  <a:lnTo>
                    <a:pt x="2406" y="2894"/>
                  </a:lnTo>
                  <a:lnTo>
                    <a:pt x="2402" y="2890"/>
                  </a:lnTo>
                  <a:lnTo>
                    <a:pt x="2400" y="2884"/>
                  </a:lnTo>
                  <a:lnTo>
                    <a:pt x="2393" y="2860"/>
                  </a:lnTo>
                  <a:lnTo>
                    <a:pt x="2385" y="2855"/>
                  </a:lnTo>
                  <a:lnTo>
                    <a:pt x="2381" y="2856"/>
                  </a:lnTo>
                  <a:lnTo>
                    <a:pt x="2353" y="2878"/>
                  </a:lnTo>
                  <a:lnTo>
                    <a:pt x="2351" y="2903"/>
                  </a:lnTo>
                  <a:lnTo>
                    <a:pt x="2347" y="2907"/>
                  </a:lnTo>
                  <a:lnTo>
                    <a:pt x="2341" y="2909"/>
                  </a:lnTo>
                  <a:lnTo>
                    <a:pt x="2336" y="2919"/>
                  </a:lnTo>
                  <a:lnTo>
                    <a:pt x="2326" y="2924"/>
                  </a:lnTo>
                  <a:lnTo>
                    <a:pt x="2294" y="2931"/>
                  </a:lnTo>
                  <a:lnTo>
                    <a:pt x="2283" y="2935"/>
                  </a:lnTo>
                  <a:lnTo>
                    <a:pt x="2275" y="2942"/>
                  </a:lnTo>
                  <a:lnTo>
                    <a:pt x="2264" y="2955"/>
                  </a:lnTo>
                  <a:lnTo>
                    <a:pt x="2253" y="2967"/>
                  </a:lnTo>
                  <a:lnTo>
                    <a:pt x="2246" y="2970"/>
                  </a:lnTo>
                  <a:lnTo>
                    <a:pt x="2238" y="2970"/>
                  </a:lnTo>
                  <a:lnTo>
                    <a:pt x="2231" y="2974"/>
                  </a:lnTo>
                  <a:lnTo>
                    <a:pt x="2229" y="2979"/>
                  </a:lnTo>
                  <a:lnTo>
                    <a:pt x="2229" y="2984"/>
                  </a:lnTo>
                  <a:lnTo>
                    <a:pt x="2233" y="2998"/>
                  </a:lnTo>
                  <a:lnTo>
                    <a:pt x="2233" y="3009"/>
                  </a:lnTo>
                  <a:lnTo>
                    <a:pt x="2239" y="3026"/>
                  </a:lnTo>
                  <a:lnTo>
                    <a:pt x="2238" y="3034"/>
                  </a:lnTo>
                  <a:lnTo>
                    <a:pt x="2235" y="3040"/>
                  </a:lnTo>
                  <a:lnTo>
                    <a:pt x="2207" y="3060"/>
                  </a:lnTo>
                  <a:lnTo>
                    <a:pt x="2199" y="3064"/>
                  </a:lnTo>
                  <a:lnTo>
                    <a:pt x="2197" y="3064"/>
                  </a:lnTo>
                  <a:lnTo>
                    <a:pt x="2174" y="3056"/>
                  </a:lnTo>
                  <a:lnTo>
                    <a:pt x="2166" y="3065"/>
                  </a:lnTo>
                  <a:lnTo>
                    <a:pt x="2157" y="3064"/>
                  </a:lnTo>
                  <a:lnTo>
                    <a:pt x="2153" y="3062"/>
                  </a:lnTo>
                  <a:lnTo>
                    <a:pt x="2150" y="3057"/>
                  </a:lnTo>
                  <a:lnTo>
                    <a:pt x="2129" y="3020"/>
                  </a:lnTo>
                  <a:lnTo>
                    <a:pt x="2113" y="2996"/>
                  </a:lnTo>
                  <a:lnTo>
                    <a:pt x="2100" y="2992"/>
                  </a:lnTo>
                  <a:lnTo>
                    <a:pt x="2093" y="2977"/>
                  </a:lnTo>
                  <a:lnTo>
                    <a:pt x="2078" y="2961"/>
                  </a:lnTo>
                  <a:lnTo>
                    <a:pt x="2048" y="2914"/>
                  </a:lnTo>
                  <a:lnTo>
                    <a:pt x="2032" y="2897"/>
                  </a:lnTo>
                  <a:lnTo>
                    <a:pt x="2030" y="2893"/>
                  </a:lnTo>
                  <a:lnTo>
                    <a:pt x="2030" y="2876"/>
                  </a:lnTo>
                  <a:lnTo>
                    <a:pt x="2028" y="2872"/>
                  </a:lnTo>
                  <a:lnTo>
                    <a:pt x="2021" y="2865"/>
                  </a:lnTo>
                  <a:lnTo>
                    <a:pt x="2019" y="2858"/>
                  </a:lnTo>
                  <a:lnTo>
                    <a:pt x="2015" y="2844"/>
                  </a:lnTo>
                  <a:lnTo>
                    <a:pt x="2007" y="2834"/>
                  </a:lnTo>
                  <a:lnTo>
                    <a:pt x="2005" y="2829"/>
                  </a:lnTo>
                  <a:lnTo>
                    <a:pt x="2011" y="2817"/>
                  </a:lnTo>
                  <a:lnTo>
                    <a:pt x="2010" y="2813"/>
                  </a:lnTo>
                  <a:lnTo>
                    <a:pt x="2005" y="2804"/>
                  </a:lnTo>
                  <a:lnTo>
                    <a:pt x="1994" y="2790"/>
                  </a:lnTo>
                  <a:lnTo>
                    <a:pt x="1988" y="2784"/>
                  </a:lnTo>
                  <a:lnTo>
                    <a:pt x="1981" y="2779"/>
                  </a:lnTo>
                  <a:lnTo>
                    <a:pt x="1972" y="2776"/>
                  </a:lnTo>
                  <a:lnTo>
                    <a:pt x="1967" y="2777"/>
                  </a:lnTo>
                  <a:lnTo>
                    <a:pt x="1955" y="2805"/>
                  </a:lnTo>
                  <a:lnTo>
                    <a:pt x="1947" y="2815"/>
                  </a:lnTo>
                  <a:lnTo>
                    <a:pt x="1933" y="2833"/>
                  </a:lnTo>
                  <a:lnTo>
                    <a:pt x="1929" y="2835"/>
                  </a:lnTo>
                  <a:lnTo>
                    <a:pt x="1917" y="2829"/>
                  </a:lnTo>
                  <a:lnTo>
                    <a:pt x="1914" y="2835"/>
                  </a:lnTo>
                  <a:lnTo>
                    <a:pt x="1914" y="2838"/>
                  </a:lnTo>
                  <a:lnTo>
                    <a:pt x="1915" y="2842"/>
                  </a:lnTo>
                  <a:lnTo>
                    <a:pt x="1923" y="2852"/>
                  </a:lnTo>
                  <a:lnTo>
                    <a:pt x="1924" y="2867"/>
                  </a:lnTo>
                  <a:lnTo>
                    <a:pt x="1925" y="2871"/>
                  </a:lnTo>
                  <a:lnTo>
                    <a:pt x="1933" y="2879"/>
                  </a:lnTo>
                  <a:lnTo>
                    <a:pt x="1928" y="2900"/>
                  </a:lnTo>
                  <a:lnTo>
                    <a:pt x="1935" y="2906"/>
                  </a:lnTo>
                  <a:lnTo>
                    <a:pt x="1936" y="2910"/>
                  </a:lnTo>
                  <a:lnTo>
                    <a:pt x="1935" y="2913"/>
                  </a:lnTo>
                  <a:lnTo>
                    <a:pt x="1911" y="2929"/>
                  </a:lnTo>
                  <a:lnTo>
                    <a:pt x="1897" y="2941"/>
                  </a:lnTo>
                  <a:lnTo>
                    <a:pt x="1891" y="2941"/>
                  </a:lnTo>
                  <a:lnTo>
                    <a:pt x="1876" y="2937"/>
                  </a:lnTo>
                  <a:lnTo>
                    <a:pt x="1859" y="2938"/>
                  </a:lnTo>
                  <a:lnTo>
                    <a:pt x="1855" y="2936"/>
                  </a:lnTo>
                  <a:lnTo>
                    <a:pt x="1852" y="2934"/>
                  </a:lnTo>
                  <a:lnTo>
                    <a:pt x="1849" y="2910"/>
                  </a:lnTo>
                  <a:lnTo>
                    <a:pt x="1846" y="2906"/>
                  </a:lnTo>
                  <a:lnTo>
                    <a:pt x="1844" y="2906"/>
                  </a:lnTo>
                  <a:lnTo>
                    <a:pt x="1838" y="2913"/>
                  </a:lnTo>
                  <a:lnTo>
                    <a:pt x="1835" y="2914"/>
                  </a:lnTo>
                  <a:lnTo>
                    <a:pt x="1828" y="2914"/>
                  </a:lnTo>
                  <a:lnTo>
                    <a:pt x="1824" y="2912"/>
                  </a:lnTo>
                  <a:lnTo>
                    <a:pt x="1820" y="2903"/>
                  </a:lnTo>
                  <a:lnTo>
                    <a:pt x="1816" y="2882"/>
                  </a:lnTo>
                  <a:lnTo>
                    <a:pt x="1813" y="2876"/>
                  </a:lnTo>
                  <a:lnTo>
                    <a:pt x="1802" y="2863"/>
                  </a:lnTo>
                  <a:lnTo>
                    <a:pt x="1783" y="2847"/>
                  </a:lnTo>
                  <a:lnTo>
                    <a:pt x="1778" y="2843"/>
                  </a:lnTo>
                  <a:lnTo>
                    <a:pt x="1777" y="2838"/>
                  </a:lnTo>
                  <a:lnTo>
                    <a:pt x="1777" y="2827"/>
                  </a:lnTo>
                  <a:lnTo>
                    <a:pt x="1775" y="2823"/>
                  </a:lnTo>
                  <a:lnTo>
                    <a:pt x="1761" y="2815"/>
                  </a:lnTo>
                  <a:lnTo>
                    <a:pt x="1758" y="2811"/>
                  </a:lnTo>
                  <a:lnTo>
                    <a:pt x="1756" y="2805"/>
                  </a:lnTo>
                  <a:lnTo>
                    <a:pt x="1757" y="2803"/>
                  </a:lnTo>
                  <a:lnTo>
                    <a:pt x="1766" y="2798"/>
                  </a:lnTo>
                  <a:lnTo>
                    <a:pt x="1776" y="2800"/>
                  </a:lnTo>
                  <a:lnTo>
                    <a:pt x="1780" y="2800"/>
                  </a:lnTo>
                  <a:lnTo>
                    <a:pt x="1783" y="2797"/>
                  </a:lnTo>
                  <a:lnTo>
                    <a:pt x="1785" y="2793"/>
                  </a:lnTo>
                  <a:lnTo>
                    <a:pt x="1786" y="2789"/>
                  </a:lnTo>
                  <a:lnTo>
                    <a:pt x="1784" y="2788"/>
                  </a:lnTo>
                  <a:lnTo>
                    <a:pt x="1753" y="2776"/>
                  </a:lnTo>
                  <a:lnTo>
                    <a:pt x="1749" y="2772"/>
                  </a:lnTo>
                  <a:lnTo>
                    <a:pt x="1745" y="2766"/>
                  </a:lnTo>
                  <a:lnTo>
                    <a:pt x="1738" y="2766"/>
                  </a:lnTo>
                  <a:lnTo>
                    <a:pt x="1720" y="2769"/>
                  </a:lnTo>
                  <a:lnTo>
                    <a:pt x="1717" y="2771"/>
                  </a:lnTo>
                  <a:lnTo>
                    <a:pt x="1714" y="2774"/>
                  </a:lnTo>
                  <a:lnTo>
                    <a:pt x="1707" y="2777"/>
                  </a:lnTo>
                  <a:lnTo>
                    <a:pt x="1706" y="2776"/>
                  </a:lnTo>
                  <a:lnTo>
                    <a:pt x="1705" y="2774"/>
                  </a:lnTo>
                  <a:lnTo>
                    <a:pt x="1701" y="2773"/>
                  </a:lnTo>
                  <a:lnTo>
                    <a:pt x="1694" y="2773"/>
                  </a:lnTo>
                  <a:lnTo>
                    <a:pt x="1687" y="2774"/>
                  </a:lnTo>
                  <a:lnTo>
                    <a:pt x="1685" y="2776"/>
                  </a:lnTo>
                  <a:lnTo>
                    <a:pt x="1679" y="2790"/>
                  </a:lnTo>
                  <a:lnTo>
                    <a:pt x="1677" y="2799"/>
                  </a:lnTo>
                  <a:lnTo>
                    <a:pt x="1673" y="2802"/>
                  </a:lnTo>
                  <a:lnTo>
                    <a:pt x="1670" y="2804"/>
                  </a:lnTo>
                  <a:lnTo>
                    <a:pt x="1667" y="2805"/>
                  </a:lnTo>
                  <a:lnTo>
                    <a:pt x="1661" y="2800"/>
                  </a:lnTo>
                  <a:lnTo>
                    <a:pt x="1657" y="2791"/>
                  </a:lnTo>
                  <a:lnTo>
                    <a:pt x="1654" y="2758"/>
                  </a:lnTo>
                  <a:lnTo>
                    <a:pt x="1645" y="2736"/>
                  </a:lnTo>
                  <a:lnTo>
                    <a:pt x="1645" y="2731"/>
                  </a:lnTo>
                  <a:lnTo>
                    <a:pt x="1646" y="2700"/>
                  </a:lnTo>
                  <a:lnTo>
                    <a:pt x="1648" y="2696"/>
                  </a:lnTo>
                  <a:lnTo>
                    <a:pt x="1657" y="2692"/>
                  </a:lnTo>
                  <a:lnTo>
                    <a:pt x="1657" y="2690"/>
                  </a:lnTo>
                  <a:lnTo>
                    <a:pt x="1648" y="2674"/>
                  </a:lnTo>
                  <a:lnTo>
                    <a:pt x="1623" y="2646"/>
                  </a:lnTo>
                  <a:lnTo>
                    <a:pt x="1621" y="2641"/>
                  </a:lnTo>
                  <a:lnTo>
                    <a:pt x="1619" y="2627"/>
                  </a:lnTo>
                  <a:lnTo>
                    <a:pt x="1617" y="2624"/>
                  </a:lnTo>
                  <a:lnTo>
                    <a:pt x="1607" y="2623"/>
                  </a:lnTo>
                  <a:lnTo>
                    <a:pt x="1590" y="2626"/>
                  </a:lnTo>
                  <a:lnTo>
                    <a:pt x="1579" y="2627"/>
                  </a:lnTo>
                  <a:lnTo>
                    <a:pt x="1558" y="2620"/>
                  </a:lnTo>
                  <a:lnTo>
                    <a:pt x="1532" y="2608"/>
                  </a:lnTo>
                  <a:lnTo>
                    <a:pt x="1519" y="2606"/>
                  </a:lnTo>
                  <a:lnTo>
                    <a:pt x="1500" y="2610"/>
                  </a:lnTo>
                  <a:lnTo>
                    <a:pt x="1490" y="2613"/>
                  </a:lnTo>
                  <a:lnTo>
                    <a:pt x="1454" y="2644"/>
                  </a:lnTo>
                  <a:lnTo>
                    <a:pt x="1443" y="2651"/>
                  </a:lnTo>
                  <a:lnTo>
                    <a:pt x="1434" y="2654"/>
                  </a:lnTo>
                  <a:lnTo>
                    <a:pt x="1424" y="2654"/>
                  </a:lnTo>
                  <a:lnTo>
                    <a:pt x="1409" y="2651"/>
                  </a:lnTo>
                  <a:lnTo>
                    <a:pt x="1395" y="2649"/>
                  </a:lnTo>
                  <a:lnTo>
                    <a:pt x="1372" y="2641"/>
                  </a:lnTo>
                  <a:lnTo>
                    <a:pt x="1346" y="2631"/>
                  </a:lnTo>
                  <a:lnTo>
                    <a:pt x="1330" y="2621"/>
                  </a:lnTo>
                  <a:lnTo>
                    <a:pt x="1321" y="2612"/>
                  </a:lnTo>
                  <a:lnTo>
                    <a:pt x="1315" y="2602"/>
                  </a:lnTo>
                  <a:lnTo>
                    <a:pt x="1312" y="2594"/>
                  </a:lnTo>
                  <a:lnTo>
                    <a:pt x="1312" y="2558"/>
                  </a:lnTo>
                  <a:lnTo>
                    <a:pt x="1316" y="2544"/>
                  </a:lnTo>
                  <a:lnTo>
                    <a:pt x="1314" y="2543"/>
                  </a:lnTo>
                  <a:lnTo>
                    <a:pt x="1297" y="2546"/>
                  </a:lnTo>
                  <a:lnTo>
                    <a:pt x="1288" y="2548"/>
                  </a:lnTo>
                  <a:lnTo>
                    <a:pt x="1281" y="2552"/>
                  </a:lnTo>
                  <a:lnTo>
                    <a:pt x="1274" y="2558"/>
                  </a:lnTo>
                  <a:lnTo>
                    <a:pt x="1269" y="2562"/>
                  </a:lnTo>
                  <a:lnTo>
                    <a:pt x="1253" y="2564"/>
                  </a:lnTo>
                  <a:lnTo>
                    <a:pt x="1251" y="2568"/>
                  </a:lnTo>
                  <a:lnTo>
                    <a:pt x="1250" y="2577"/>
                  </a:lnTo>
                  <a:lnTo>
                    <a:pt x="1248" y="2582"/>
                  </a:lnTo>
                  <a:lnTo>
                    <a:pt x="1238" y="2592"/>
                  </a:lnTo>
                  <a:lnTo>
                    <a:pt x="1230" y="2597"/>
                  </a:lnTo>
                  <a:lnTo>
                    <a:pt x="1228" y="2597"/>
                  </a:lnTo>
                  <a:lnTo>
                    <a:pt x="1217" y="2593"/>
                  </a:lnTo>
                  <a:lnTo>
                    <a:pt x="1213" y="2593"/>
                  </a:lnTo>
                  <a:lnTo>
                    <a:pt x="1188" y="2605"/>
                  </a:lnTo>
                  <a:lnTo>
                    <a:pt x="1175" y="2609"/>
                  </a:lnTo>
                  <a:lnTo>
                    <a:pt x="1168" y="2609"/>
                  </a:lnTo>
                  <a:lnTo>
                    <a:pt x="1160" y="2590"/>
                  </a:lnTo>
                  <a:lnTo>
                    <a:pt x="1153" y="2578"/>
                  </a:lnTo>
                  <a:lnTo>
                    <a:pt x="1149" y="2577"/>
                  </a:lnTo>
                  <a:lnTo>
                    <a:pt x="1143" y="2578"/>
                  </a:lnTo>
                  <a:lnTo>
                    <a:pt x="1138" y="2577"/>
                  </a:lnTo>
                  <a:lnTo>
                    <a:pt x="1134" y="2575"/>
                  </a:lnTo>
                  <a:lnTo>
                    <a:pt x="1126" y="2570"/>
                  </a:lnTo>
                  <a:lnTo>
                    <a:pt x="1124" y="2569"/>
                  </a:lnTo>
                  <a:lnTo>
                    <a:pt x="1122" y="2570"/>
                  </a:lnTo>
                  <a:lnTo>
                    <a:pt x="1121" y="2572"/>
                  </a:lnTo>
                  <a:lnTo>
                    <a:pt x="1117" y="2597"/>
                  </a:lnTo>
                  <a:lnTo>
                    <a:pt x="1112" y="2601"/>
                  </a:lnTo>
                  <a:lnTo>
                    <a:pt x="1109" y="2601"/>
                  </a:lnTo>
                  <a:lnTo>
                    <a:pt x="1104" y="2600"/>
                  </a:lnTo>
                  <a:lnTo>
                    <a:pt x="1093" y="2594"/>
                  </a:lnTo>
                  <a:lnTo>
                    <a:pt x="1089" y="2593"/>
                  </a:lnTo>
                  <a:lnTo>
                    <a:pt x="1086" y="2594"/>
                  </a:lnTo>
                  <a:lnTo>
                    <a:pt x="1073" y="2606"/>
                  </a:lnTo>
                  <a:lnTo>
                    <a:pt x="1060" y="2607"/>
                  </a:lnTo>
                  <a:lnTo>
                    <a:pt x="1055" y="2608"/>
                  </a:lnTo>
                  <a:lnTo>
                    <a:pt x="1051" y="2610"/>
                  </a:lnTo>
                  <a:lnTo>
                    <a:pt x="1046" y="2615"/>
                  </a:lnTo>
                  <a:lnTo>
                    <a:pt x="1041" y="2618"/>
                  </a:lnTo>
                  <a:lnTo>
                    <a:pt x="1028" y="2614"/>
                  </a:lnTo>
                  <a:lnTo>
                    <a:pt x="1014" y="2612"/>
                  </a:lnTo>
                  <a:lnTo>
                    <a:pt x="1009" y="2610"/>
                  </a:lnTo>
                  <a:lnTo>
                    <a:pt x="1005" y="2606"/>
                  </a:lnTo>
                  <a:lnTo>
                    <a:pt x="997" y="2585"/>
                  </a:lnTo>
                  <a:lnTo>
                    <a:pt x="992" y="2582"/>
                  </a:lnTo>
                  <a:lnTo>
                    <a:pt x="980" y="2580"/>
                  </a:lnTo>
                  <a:lnTo>
                    <a:pt x="976" y="2578"/>
                  </a:lnTo>
                  <a:lnTo>
                    <a:pt x="972" y="2574"/>
                  </a:lnTo>
                  <a:lnTo>
                    <a:pt x="967" y="2564"/>
                  </a:lnTo>
                  <a:lnTo>
                    <a:pt x="962" y="2558"/>
                  </a:lnTo>
                  <a:lnTo>
                    <a:pt x="958" y="2558"/>
                  </a:lnTo>
                  <a:lnTo>
                    <a:pt x="948" y="2562"/>
                  </a:lnTo>
                  <a:lnTo>
                    <a:pt x="945" y="2562"/>
                  </a:lnTo>
                  <a:lnTo>
                    <a:pt x="942" y="2558"/>
                  </a:lnTo>
                  <a:lnTo>
                    <a:pt x="939" y="2548"/>
                  </a:lnTo>
                  <a:lnTo>
                    <a:pt x="934" y="2541"/>
                  </a:lnTo>
                  <a:lnTo>
                    <a:pt x="909" y="2522"/>
                  </a:lnTo>
                  <a:lnTo>
                    <a:pt x="904" y="2517"/>
                  </a:lnTo>
                  <a:lnTo>
                    <a:pt x="904" y="2515"/>
                  </a:lnTo>
                  <a:lnTo>
                    <a:pt x="909" y="2505"/>
                  </a:lnTo>
                  <a:lnTo>
                    <a:pt x="907" y="2498"/>
                  </a:lnTo>
                  <a:lnTo>
                    <a:pt x="907" y="2493"/>
                  </a:lnTo>
                  <a:lnTo>
                    <a:pt x="912" y="2486"/>
                  </a:lnTo>
                  <a:lnTo>
                    <a:pt x="912" y="2482"/>
                  </a:lnTo>
                  <a:lnTo>
                    <a:pt x="908" y="2477"/>
                  </a:lnTo>
                  <a:lnTo>
                    <a:pt x="891" y="2465"/>
                  </a:lnTo>
                  <a:lnTo>
                    <a:pt x="887" y="2458"/>
                  </a:lnTo>
                  <a:lnTo>
                    <a:pt x="887" y="2451"/>
                  </a:lnTo>
                  <a:lnTo>
                    <a:pt x="894" y="2430"/>
                  </a:lnTo>
                  <a:lnTo>
                    <a:pt x="895" y="2427"/>
                  </a:lnTo>
                  <a:lnTo>
                    <a:pt x="890" y="2414"/>
                  </a:lnTo>
                  <a:lnTo>
                    <a:pt x="890" y="2402"/>
                  </a:lnTo>
                  <a:lnTo>
                    <a:pt x="889" y="2397"/>
                  </a:lnTo>
                  <a:lnTo>
                    <a:pt x="885" y="2391"/>
                  </a:lnTo>
                  <a:lnTo>
                    <a:pt x="876" y="2384"/>
                  </a:lnTo>
                  <a:lnTo>
                    <a:pt x="875" y="2379"/>
                  </a:lnTo>
                  <a:lnTo>
                    <a:pt x="875" y="2376"/>
                  </a:lnTo>
                  <a:lnTo>
                    <a:pt x="879" y="2359"/>
                  </a:lnTo>
                  <a:lnTo>
                    <a:pt x="879" y="2355"/>
                  </a:lnTo>
                  <a:lnTo>
                    <a:pt x="876" y="2352"/>
                  </a:lnTo>
                  <a:lnTo>
                    <a:pt x="874" y="2351"/>
                  </a:lnTo>
                  <a:lnTo>
                    <a:pt x="865" y="2356"/>
                  </a:lnTo>
                  <a:lnTo>
                    <a:pt x="859" y="2357"/>
                  </a:lnTo>
                  <a:lnTo>
                    <a:pt x="854" y="2356"/>
                  </a:lnTo>
                  <a:lnTo>
                    <a:pt x="848" y="2350"/>
                  </a:lnTo>
                  <a:lnTo>
                    <a:pt x="834" y="2356"/>
                  </a:lnTo>
                  <a:lnTo>
                    <a:pt x="811" y="2366"/>
                  </a:lnTo>
                  <a:lnTo>
                    <a:pt x="784" y="2379"/>
                  </a:lnTo>
                  <a:lnTo>
                    <a:pt x="778" y="2378"/>
                  </a:lnTo>
                  <a:lnTo>
                    <a:pt x="764" y="2373"/>
                  </a:lnTo>
                  <a:lnTo>
                    <a:pt x="759" y="2372"/>
                  </a:lnTo>
                  <a:lnTo>
                    <a:pt x="757" y="2373"/>
                  </a:lnTo>
                  <a:lnTo>
                    <a:pt x="747" y="2387"/>
                  </a:lnTo>
                  <a:lnTo>
                    <a:pt x="745" y="2389"/>
                  </a:lnTo>
                  <a:lnTo>
                    <a:pt x="743" y="2390"/>
                  </a:lnTo>
                  <a:lnTo>
                    <a:pt x="736" y="2390"/>
                  </a:lnTo>
                  <a:lnTo>
                    <a:pt x="723" y="2382"/>
                  </a:lnTo>
                  <a:lnTo>
                    <a:pt x="706" y="2378"/>
                  </a:lnTo>
                  <a:lnTo>
                    <a:pt x="698" y="2378"/>
                  </a:lnTo>
                  <a:lnTo>
                    <a:pt x="693" y="2381"/>
                  </a:lnTo>
                  <a:lnTo>
                    <a:pt x="687" y="2384"/>
                  </a:lnTo>
                  <a:lnTo>
                    <a:pt x="687" y="2384"/>
                  </a:lnTo>
                  <a:lnTo>
                    <a:pt x="687" y="2384"/>
                  </a:lnTo>
                  <a:lnTo>
                    <a:pt x="687" y="2384"/>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1" name="吉林">
              <a:extLst>
                <a:ext uri="{FF2B5EF4-FFF2-40B4-BE49-F238E27FC236}">
                  <a16:creationId xmlns:a16="http://schemas.microsoft.com/office/drawing/2014/main" id="{64F4AE04-3220-7176-2F0C-0164B307B477}"/>
                </a:ext>
              </a:extLst>
            </p:cNvPr>
            <p:cNvSpPr>
              <a:spLocks/>
            </p:cNvSpPr>
            <p:nvPr/>
          </p:nvSpPr>
          <p:spPr bwMode="auto">
            <a:xfrm>
              <a:off x="7793038" y="1504952"/>
              <a:ext cx="1258888" cy="923925"/>
            </a:xfrm>
            <a:custGeom>
              <a:avLst/>
              <a:gdLst>
                <a:gd name="T0" fmla="*/ 452 w 2377"/>
                <a:gd name="T1" fmla="*/ 16 h 1746"/>
                <a:gd name="T2" fmla="*/ 531 w 2377"/>
                <a:gd name="T3" fmla="*/ 52 h 1746"/>
                <a:gd name="T4" fmla="*/ 550 w 2377"/>
                <a:gd name="T5" fmla="*/ 172 h 1746"/>
                <a:gd name="T6" fmla="*/ 650 w 2377"/>
                <a:gd name="T7" fmla="*/ 260 h 1746"/>
                <a:gd name="T8" fmla="*/ 758 w 2377"/>
                <a:gd name="T9" fmla="*/ 247 h 1746"/>
                <a:gd name="T10" fmla="*/ 858 w 2377"/>
                <a:gd name="T11" fmla="*/ 243 h 1746"/>
                <a:gd name="T12" fmla="*/ 953 w 2377"/>
                <a:gd name="T13" fmla="*/ 208 h 1746"/>
                <a:gd name="T14" fmla="*/ 1160 w 2377"/>
                <a:gd name="T15" fmla="*/ 256 h 1746"/>
                <a:gd name="T16" fmla="*/ 1286 w 2377"/>
                <a:gd name="T17" fmla="*/ 381 h 1746"/>
                <a:gd name="T18" fmla="*/ 1347 w 2377"/>
                <a:gd name="T19" fmla="*/ 426 h 1746"/>
                <a:gd name="T20" fmla="*/ 1407 w 2377"/>
                <a:gd name="T21" fmla="*/ 448 h 1746"/>
                <a:gd name="T22" fmla="*/ 1469 w 2377"/>
                <a:gd name="T23" fmla="*/ 564 h 1746"/>
                <a:gd name="T24" fmla="*/ 1576 w 2377"/>
                <a:gd name="T25" fmla="*/ 556 h 1746"/>
                <a:gd name="T26" fmla="*/ 1613 w 2377"/>
                <a:gd name="T27" fmla="*/ 426 h 1746"/>
                <a:gd name="T28" fmla="*/ 1673 w 2377"/>
                <a:gd name="T29" fmla="*/ 547 h 1746"/>
                <a:gd name="T30" fmla="*/ 1876 w 2377"/>
                <a:gd name="T31" fmla="*/ 690 h 1746"/>
                <a:gd name="T32" fmla="*/ 1967 w 2377"/>
                <a:gd name="T33" fmla="*/ 574 h 1746"/>
                <a:gd name="T34" fmla="*/ 2067 w 2377"/>
                <a:gd name="T35" fmla="*/ 553 h 1746"/>
                <a:gd name="T36" fmla="*/ 2158 w 2377"/>
                <a:gd name="T37" fmla="*/ 588 h 1746"/>
                <a:gd name="T38" fmla="*/ 2309 w 2377"/>
                <a:gd name="T39" fmla="*/ 628 h 1746"/>
                <a:gd name="T40" fmla="*/ 2364 w 2377"/>
                <a:gd name="T41" fmla="*/ 763 h 1746"/>
                <a:gd name="T42" fmla="*/ 2307 w 2377"/>
                <a:gd name="T43" fmla="*/ 845 h 1746"/>
                <a:gd name="T44" fmla="*/ 2281 w 2377"/>
                <a:gd name="T45" fmla="*/ 963 h 1746"/>
                <a:gd name="T46" fmla="*/ 2240 w 2377"/>
                <a:gd name="T47" fmla="*/ 954 h 1746"/>
                <a:gd name="T48" fmla="*/ 2166 w 2377"/>
                <a:gd name="T49" fmla="*/ 872 h 1746"/>
                <a:gd name="T50" fmla="*/ 2066 w 2377"/>
                <a:gd name="T51" fmla="*/ 868 h 1746"/>
                <a:gd name="T52" fmla="*/ 2045 w 2377"/>
                <a:gd name="T53" fmla="*/ 1045 h 1746"/>
                <a:gd name="T54" fmla="*/ 1964 w 2377"/>
                <a:gd name="T55" fmla="*/ 1110 h 1746"/>
                <a:gd name="T56" fmla="*/ 1849 w 2377"/>
                <a:gd name="T57" fmla="*/ 1228 h 1746"/>
                <a:gd name="T58" fmla="*/ 1720 w 2377"/>
                <a:gd name="T59" fmla="*/ 1304 h 1746"/>
                <a:gd name="T60" fmla="*/ 1777 w 2377"/>
                <a:gd name="T61" fmla="*/ 1446 h 1746"/>
                <a:gd name="T62" fmla="*/ 1640 w 2377"/>
                <a:gd name="T63" fmla="*/ 1482 h 1746"/>
                <a:gd name="T64" fmla="*/ 1505 w 2377"/>
                <a:gd name="T65" fmla="*/ 1464 h 1746"/>
                <a:gd name="T66" fmla="*/ 1434 w 2377"/>
                <a:gd name="T67" fmla="*/ 1385 h 1746"/>
                <a:gd name="T68" fmla="*/ 1383 w 2377"/>
                <a:gd name="T69" fmla="*/ 1441 h 1746"/>
                <a:gd name="T70" fmla="*/ 1344 w 2377"/>
                <a:gd name="T71" fmla="*/ 1567 h 1746"/>
                <a:gd name="T72" fmla="*/ 1256 w 2377"/>
                <a:gd name="T73" fmla="*/ 1710 h 1746"/>
                <a:gd name="T74" fmla="*/ 1198 w 2377"/>
                <a:gd name="T75" fmla="*/ 1746 h 1746"/>
                <a:gd name="T76" fmla="*/ 1197 w 2377"/>
                <a:gd name="T77" fmla="*/ 1640 h 1746"/>
                <a:gd name="T78" fmla="*/ 1091 w 2377"/>
                <a:gd name="T79" fmla="*/ 1483 h 1746"/>
                <a:gd name="T80" fmla="*/ 1070 w 2377"/>
                <a:gd name="T81" fmla="*/ 1337 h 1746"/>
                <a:gd name="T82" fmla="*/ 1020 w 2377"/>
                <a:gd name="T83" fmla="*/ 1290 h 1746"/>
                <a:gd name="T84" fmla="*/ 934 w 2377"/>
                <a:gd name="T85" fmla="*/ 1176 h 1746"/>
                <a:gd name="T86" fmla="*/ 878 w 2377"/>
                <a:gd name="T87" fmla="*/ 1050 h 1746"/>
                <a:gd name="T88" fmla="*/ 786 w 2377"/>
                <a:gd name="T89" fmla="*/ 1130 h 1746"/>
                <a:gd name="T90" fmla="*/ 735 w 2377"/>
                <a:gd name="T91" fmla="*/ 1031 h 1746"/>
                <a:gd name="T92" fmla="*/ 621 w 2377"/>
                <a:gd name="T93" fmla="*/ 946 h 1746"/>
                <a:gd name="T94" fmla="*/ 520 w 2377"/>
                <a:gd name="T95" fmla="*/ 966 h 1746"/>
                <a:gd name="T96" fmla="*/ 526 w 2377"/>
                <a:gd name="T97" fmla="*/ 914 h 1746"/>
                <a:gd name="T98" fmla="*/ 472 w 2377"/>
                <a:gd name="T99" fmla="*/ 727 h 1746"/>
                <a:gd name="T100" fmla="*/ 401 w 2377"/>
                <a:gd name="T101" fmla="*/ 616 h 1746"/>
                <a:gd name="T102" fmla="*/ 201 w 2377"/>
                <a:gd name="T103" fmla="*/ 728 h 1746"/>
                <a:gd name="T104" fmla="*/ 144 w 2377"/>
                <a:gd name="T105" fmla="*/ 591 h 1746"/>
                <a:gd name="T106" fmla="*/ 134 w 2377"/>
                <a:gd name="T107" fmla="*/ 555 h 1746"/>
                <a:gd name="T108" fmla="*/ 130 w 2377"/>
                <a:gd name="T109" fmla="*/ 355 h 1746"/>
                <a:gd name="T110" fmla="*/ 54 w 2377"/>
                <a:gd name="T111" fmla="*/ 252 h 1746"/>
                <a:gd name="T112" fmla="*/ 31 w 2377"/>
                <a:gd name="T113" fmla="*/ 181 h 1746"/>
                <a:gd name="T114" fmla="*/ 145 w 2377"/>
                <a:gd name="T115" fmla="*/ 212 h 1746"/>
                <a:gd name="T116" fmla="*/ 230 w 2377"/>
                <a:gd name="T117" fmla="*/ 224 h 1746"/>
                <a:gd name="T118" fmla="*/ 316 w 2377"/>
                <a:gd name="T119" fmla="*/ 66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77" h="1746">
                  <a:moveTo>
                    <a:pt x="328" y="34"/>
                  </a:moveTo>
                  <a:lnTo>
                    <a:pt x="334" y="31"/>
                  </a:lnTo>
                  <a:lnTo>
                    <a:pt x="339" y="28"/>
                  </a:lnTo>
                  <a:lnTo>
                    <a:pt x="347" y="28"/>
                  </a:lnTo>
                  <a:lnTo>
                    <a:pt x="364" y="32"/>
                  </a:lnTo>
                  <a:lnTo>
                    <a:pt x="377" y="40"/>
                  </a:lnTo>
                  <a:lnTo>
                    <a:pt x="384" y="40"/>
                  </a:lnTo>
                  <a:lnTo>
                    <a:pt x="386" y="39"/>
                  </a:lnTo>
                  <a:lnTo>
                    <a:pt x="388" y="37"/>
                  </a:lnTo>
                  <a:lnTo>
                    <a:pt x="398" y="23"/>
                  </a:lnTo>
                  <a:lnTo>
                    <a:pt x="400" y="22"/>
                  </a:lnTo>
                  <a:lnTo>
                    <a:pt x="405" y="23"/>
                  </a:lnTo>
                  <a:lnTo>
                    <a:pt x="419" y="28"/>
                  </a:lnTo>
                  <a:lnTo>
                    <a:pt x="425" y="29"/>
                  </a:lnTo>
                  <a:lnTo>
                    <a:pt x="452" y="16"/>
                  </a:lnTo>
                  <a:lnTo>
                    <a:pt x="475" y="6"/>
                  </a:lnTo>
                  <a:lnTo>
                    <a:pt x="489" y="0"/>
                  </a:lnTo>
                  <a:lnTo>
                    <a:pt x="495" y="6"/>
                  </a:lnTo>
                  <a:lnTo>
                    <a:pt x="500" y="7"/>
                  </a:lnTo>
                  <a:lnTo>
                    <a:pt x="506" y="6"/>
                  </a:lnTo>
                  <a:lnTo>
                    <a:pt x="515" y="1"/>
                  </a:lnTo>
                  <a:lnTo>
                    <a:pt x="517" y="2"/>
                  </a:lnTo>
                  <a:lnTo>
                    <a:pt x="520" y="5"/>
                  </a:lnTo>
                  <a:lnTo>
                    <a:pt x="520" y="9"/>
                  </a:lnTo>
                  <a:lnTo>
                    <a:pt x="516" y="26"/>
                  </a:lnTo>
                  <a:lnTo>
                    <a:pt x="516" y="29"/>
                  </a:lnTo>
                  <a:lnTo>
                    <a:pt x="517" y="34"/>
                  </a:lnTo>
                  <a:lnTo>
                    <a:pt x="526" y="41"/>
                  </a:lnTo>
                  <a:lnTo>
                    <a:pt x="530" y="47"/>
                  </a:lnTo>
                  <a:lnTo>
                    <a:pt x="531" y="52"/>
                  </a:lnTo>
                  <a:lnTo>
                    <a:pt x="531" y="64"/>
                  </a:lnTo>
                  <a:lnTo>
                    <a:pt x="536" y="77"/>
                  </a:lnTo>
                  <a:lnTo>
                    <a:pt x="535" y="80"/>
                  </a:lnTo>
                  <a:lnTo>
                    <a:pt x="528" y="101"/>
                  </a:lnTo>
                  <a:lnTo>
                    <a:pt x="528" y="108"/>
                  </a:lnTo>
                  <a:lnTo>
                    <a:pt x="532" y="115"/>
                  </a:lnTo>
                  <a:lnTo>
                    <a:pt x="549" y="127"/>
                  </a:lnTo>
                  <a:lnTo>
                    <a:pt x="553" y="132"/>
                  </a:lnTo>
                  <a:lnTo>
                    <a:pt x="553" y="136"/>
                  </a:lnTo>
                  <a:lnTo>
                    <a:pt x="548" y="143"/>
                  </a:lnTo>
                  <a:lnTo>
                    <a:pt x="548" y="148"/>
                  </a:lnTo>
                  <a:lnTo>
                    <a:pt x="550" y="155"/>
                  </a:lnTo>
                  <a:lnTo>
                    <a:pt x="545" y="165"/>
                  </a:lnTo>
                  <a:lnTo>
                    <a:pt x="545" y="167"/>
                  </a:lnTo>
                  <a:lnTo>
                    <a:pt x="550" y="172"/>
                  </a:lnTo>
                  <a:lnTo>
                    <a:pt x="575" y="191"/>
                  </a:lnTo>
                  <a:lnTo>
                    <a:pt x="580" y="198"/>
                  </a:lnTo>
                  <a:lnTo>
                    <a:pt x="583" y="208"/>
                  </a:lnTo>
                  <a:lnTo>
                    <a:pt x="586" y="212"/>
                  </a:lnTo>
                  <a:lnTo>
                    <a:pt x="589" y="212"/>
                  </a:lnTo>
                  <a:lnTo>
                    <a:pt x="599" y="208"/>
                  </a:lnTo>
                  <a:lnTo>
                    <a:pt x="603" y="208"/>
                  </a:lnTo>
                  <a:lnTo>
                    <a:pt x="608" y="214"/>
                  </a:lnTo>
                  <a:lnTo>
                    <a:pt x="613" y="224"/>
                  </a:lnTo>
                  <a:lnTo>
                    <a:pt x="617" y="228"/>
                  </a:lnTo>
                  <a:lnTo>
                    <a:pt x="621" y="230"/>
                  </a:lnTo>
                  <a:lnTo>
                    <a:pt x="633" y="232"/>
                  </a:lnTo>
                  <a:lnTo>
                    <a:pt x="638" y="235"/>
                  </a:lnTo>
                  <a:lnTo>
                    <a:pt x="646" y="256"/>
                  </a:lnTo>
                  <a:lnTo>
                    <a:pt x="650" y="260"/>
                  </a:lnTo>
                  <a:lnTo>
                    <a:pt x="655" y="262"/>
                  </a:lnTo>
                  <a:lnTo>
                    <a:pt x="669" y="264"/>
                  </a:lnTo>
                  <a:lnTo>
                    <a:pt x="682" y="268"/>
                  </a:lnTo>
                  <a:lnTo>
                    <a:pt x="687" y="265"/>
                  </a:lnTo>
                  <a:lnTo>
                    <a:pt x="692" y="260"/>
                  </a:lnTo>
                  <a:lnTo>
                    <a:pt x="696" y="258"/>
                  </a:lnTo>
                  <a:lnTo>
                    <a:pt x="701" y="257"/>
                  </a:lnTo>
                  <a:lnTo>
                    <a:pt x="714" y="256"/>
                  </a:lnTo>
                  <a:lnTo>
                    <a:pt x="727" y="244"/>
                  </a:lnTo>
                  <a:lnTo>
                    <a:pt x="730" y="243"/>
                  </a:lnTo>
                  <a:lnTo>
                    <a:pt x="734" y="244"/>
                  </a:lnTo>
                  <a:lnTo>
                    <a:pt x="745" y="250"/>
                  </a:lnTo>
                  <a:lnTo>
                    <a:pt x="750" y="251"/>
                  </a:lnTo>
                  <a:lnTo>
                    <a:pt x="753" y="251"/>
                  </a:lnTo>
                  <a:lnTo>
                    <a:pt x="758" y="247"/>
                  </a:lnTo>
                  <a:lnTo>
                    <a:pt x="762" y="222"/>
                  </a:lnTo>
                  <a:lnTo>
                    <a:pt x="763" y="220"/>
                  </a:lnTo>
                  <a:lnTo>
                    <a:pt x="765" y="219"/>
                  </a:lnTo>
                  <a:lnTo>
                    <a:pt x="767" y="220"/>
                  </a:lnTo>
                  <a:lnTo>
                    <a:pt x="775" y="225"/>
                  </a:lnTo>
                  <a:lnTo>
                    <a:pt x="779" y="227"/>
                  </a:lnTo>
                  <a:lnTo>
                    <a:pt x="784" y="228"/>
                  </a:lnTo>
                  <a:lnTo>
                    <a:pt x="790" y="227"/>
                  </a:lnTo>
                  <a:lnTo>
                    <a:pt x="794" y="228"/>
                  </a:lnTo>
                  <a:lnTo>
                    <a:pt x="801" y="240"/>
                  </a:lnTo>
                  <a:lnTo>
                    <a:pt x="809" y="259"/>
                  </a:lnTo>
                  <a:lnTo>
                    <a:pt x="816" y="259"/>
                  </a:lnTo>
                  <a:lnTo>
                    <a:pt x="829" y="255"/>
                  </a:lnTo>
                  <a:lnTo>
                    <a:pt x="854" y="243"/>
                  </a:lnTo>
                  <a:lnTo>
                    <a:pt x="858" y="243"/>
                  </a:lnTo>
                  <a:lnTo>
                    <a:pt x="869" y="247"/>
                  </a:lnTo>
                  <a:lnTo>
                    <a:pt x="871" y="247"/>
                  </a:lnTo>
                  <a:lnTo>
                    <a:pt x="879" y="242"/>
                  </a:lnTo>
                  <a:lnTo>
                    <a:pt x="889" y="232"/>
                  </a:lnTo>
                  <a:lnTo>
                    <a:pt x="891" y="227"/>
                  </a:lnTo>
                  <a:lnTo>
                    <a:pt x="892" y="218"/>
                  </a:lnTo>
                  <a:lnTo>
                    <a:pt x="894" y="214"/>
                  </a:lnTo>
                  <a:lnTo>
                    <a:pt x="910" y="212"/>
                  </a:lnTo>
                  <a:lnTo>
                    <a:pt x="915" y="208"/>
                  </a:lnTo>
                  <a:lnTo>
                    <a:pt x="922" y="202"/>
                  </a:lnTo>
                  <a:lnTo>
                    <a:pt x="929" y="198"/>
                  </a:lnTo>
                  <a:lnTo>
                    <a:pt x="938" y="196"/>
                  </a:lnTo>
                  <a:lnTo>
                    <a:pt x="955" y="193"/>
                  </a:lnTo>
                  <a:lnTo>
                    <a:pt x="957" y="194"/>
                  </a:lnTo>
                  <a:lnTo>
                    <a:pt x="953" y="208"/>
                  </a:lnTo>
                  <a:lnTo>
                    <a:pt x="953" y="244"/>
                  </a:lnTo>
                  <a:lnTo>
                    <a:pt x="956" y="252"/>
                  </a:lnTo>
                  <a:lnTo>
                    <a:pt x="962" y="262"/>
                  </a:lnTo>
                  <a:lnTo>
                    <a:pt x="971" y="271"/>
                  </a:lnTo>
                  <a:lnTo>
                    <a:pt x="987" y="281"/>
                  </a:lnTo>
                  <a:lnTo>
                    <a:pt x="1013" y="291"/>
                  </a:lnTo>
                  <a:lnTo>
                    <a:pt x="1036" y="299"/>
                  </a:lnTo>
                  <a:lnTo>
                    <a:pt x="1050" y="301"/>
                  </a:lnTo>
                  <a:lnTo>
                    <a:pt x="1065" y="304"/>
                  </a:lnTo>
                  <a:lnTo>
                    <a:pt x="1075" y="304"/>
                  </a:lnTo>
                  <a:lnTo>
                    <a:pt x="1084" y="301"/>
                  </a:lnTo>
                  <a:lnTo>
                    <a:pt x="1095" y="294"/>
                  </a:lnTo>
                  <a:lnTo>
                    <a:pt x="1131" y="263"/>
                  </a:lnTo>
                  <a:lnTo>
                    <a:pt x="1141" y="260"/>
                  </a:lnTo>
                  <a:lnTo>
                    <a:pt x="1160" y="256"/>
                  </a:lnTo>
                  <a:lnTo>
                    <a:pt x="1173" y="258"/>
                  </a:lnTo>
                  <a:lnTo>
                    <a:pt x="1199" y="270"/>
                  </a:lnTo>
                  <a:lnTo>
                    <a:pt x="1220" y="277"/>
                  </a:lnTo>
                  <a:lnTo>
                    <a:pt x="1231" y="276"/>
                  </a:lnTo>
                  <a:lnTo>
                    <a:pt x="1248" y="273"/>
                  </a:lnTo>
                  <a:lnTo>
                    <a:pt x="1258" y="274"/>
                  </a:lnTo>
                  <a:lnTo>
                    <a:pt x="1260" y="277"/>
                  </a:lnTo>
                  <a:lnTo>
                    <a:pt x="1262" y="291"/>
                  </a:lnTo>
                  <a:lnTo>
                    <a:pt x="1264" y="296"/>
                  </a:lnTo>
                  <a:lnTo>
                    <a:pt x="1289" y="324"/>
                  </a:lnTo>
                  <a:lnTo>
                    <a:pt x="1298" y="340"/>
                  </a:lnTo>
                  <a:lnTo>
                    <a:pt x="1298" y="342"/>
                  </a:lnTo>
                  <a:lnTo>
                    <a:pt x="1289" y="346"/>
                  </a:lnTo>
                  <a:lnTo>
                    <a:pt x="1287" y="350"/>
                  </a:lnTo>
                  <a:lnTo>
                    <a:pt x="1286" y="381"/>
                  </a:lnTo>
                  <a:lnTo>
                    <a:pt x="1286" y="386"/>
                  </a:lnTo>
                  <a:lnTo>
                    <a:pt x="1295" y="408"/>
                  </a:lnTo>
                  <a:lnTo>
                    <a:pt x="1298" y="441"/>
                  </a:lnTo>
                  <a:lnTo>
                    <a:pt x="1302" y="450"/>
                  </a:lnTo>
                  <a:lnTo>
                    <a:pt x="1308" y="455"/>
                  </a:lnTo>
                  <a:lnTo>
                    <a:pt x="1311" y="454"/>
                  </a:lnTo>
                  <a:lnTo>
                    <a:pt x="1314" y="452"/>
                  </a:lnTo>
                  <a:lnTo>
                    <a:pt x="1318" y="449"/>
                  </a:lnTo>
                  <a:lnTo>
                    <a:pt x="1320" y="440"/>
                  </a:lnTo>
                  <a:lnTo>
                    <a:pt x="1326" y="426"/>
                  </a:lnTo>
                  <a:lnTo>
                    <a:pt x="1328" y="424"/>
                  </a:lnTo>
                  <a:lnTo>
                    <a:pt x="1335" y="423"/>
                  </a:lnTo>
                  <a:lnTo>
                    <a:pt x="1342" y="423"/>
                  </a:lnTo>
                  <a:lnTo>
                    <a:pt x="1346" y="424"/>
                  </a:lnTo>
                  <a:lnTo>
                    <a:pt x="1347" y="426"/>
                  </a:lnTo>
                  <a:lnTo>
                    <a:pt x="1348" y="427"/>
                  </a:lnTo>
                  <a:lnTo>
                    <a:pt x="1355" y="424"/>
                  </a:lnTo>
                  <a:lnTo>
                    <a:pt x="1358" y="421"/>
                  </a:lnTo>
                  <a:lnTo>
                    <a:pt x="1361" y="419"/>
                  </a:lnTo>
                  <a:lnTo>
                    <a:pt x="1379" y="416"/>
                  </a:lnTo>
                  <a:lnTo>
                    <a:pt x="1386" y="416"/>
                  </a:lnTo>
                  <a:lnTo>
                    <a:pt x="1390" y="422"/>
                  </a:lnTo>
                  <a:lnTo>
                    <a:pt x="1394" y="426"/>
                  </a:lnTo>
                  <a:lnTo>
                    <a:pt x="1425" y="438"/>
                  </a:lnTo>
                  <a:lnTo>
                    <a:pt x="1427" y="439"/>
                  </a:lnTo>
                  <a:lnTo>
                    <a:pt x="1426" y="443"/>
                  </a:lnTo>
                  <a:lnTo>
                    <a:pt x="1424" y="447"/>
                  </a:lnTo>
                  <a:lnTo>
                    <a:pt x="1421" y="450"/>
                  </a:lnTo>
                  <a:lnTo>
                    <a:pt x="1417" y="450"/>
                  </a:lnTo>
                  <a:lnTo>
                    <a:pt x="1407" y="448"/>
                  </a:lnTo>
                  <a:lnTo>
                    <a:pt x="1398" y="453"/>
                  </a:lnTo>
                  <a:lnTo>
                    <a:pt x="1397" y="455"/>
                  </a:lnTo>
                  <a:lnTo>
                    <a:pt x="1399" y="461"/>
                  </a:lnTo>
                  <a:lnTo>
                    <a:pt x="1402" y="465"/>
                  </a:lnTo>
                  <a:lnTo>
                    <a:pt x="1416" y="473"/>
                  </a:lnTo>
                  <a:lnTo>
                    <a:pt x="1418" y="477"/>
                  </a:lnTo>
                  <a:lnTo>
                    <a:pt x="1418" y="488"/>
                  </a:lnTo>
                  <a:lnTo>
                    <a:pt x="1419" y="493"/>
                  </a:lnTo>
                  <a:lnTo>
                    <a:pt x="1424" y="497"/>
                  </a:lnTo>
                  <a:lnTo>
                    <a:pt x="1443" y="513"/>
                  </a:lnTo>
                  <a:lnTo>
                    <a:pt x="1454" y="526"/>
                  </a:lnTo>
                  <a:lnTo>
                    <a:pt x="1457" y="532"/>
                  </a:lnTo>
                  <a:lnTo>
                    <a:pt x="1461" y="553"/>
                  </a:lnTo>
                  <a:lnTo>
                    <a:pt x="1465" y="562"/>
                  </a:lnTo>
                  <a:lnTo>
                    <a:pt x="1469" y="564"/>
                  </a:lnTo>
                  <a:lnTo>
                    <a:pt x="1476" y="564"/>
                  </a:lnTo>
                  <a:lnTo>
                    <a:pt x="1479" y="563"/>
                  </a:lnTo>
                  <a:lnTo>
                    <a:pt x="1485" y="556"/>
                  </a:lnTo>
                  <a:lnTo>
                    <a:pt x="1487" y="556"/>
                  </a:lnTo>
                  <a:lnTo>
                    <a:pt x="1490" y="560"/>
                  </a:lnTo>
                  <a:lnTo>
                    <a:pt x="1493" y="584"/>
                  </a:lnTo>
                  <a:lnTo>
                    <a:pt x="1496" y="586"/>
                  </a:lnTo>
                  <a:lnTo>
                    <a:pt x="1500" y="588"/>
                  </a:lnTo>
                  <a:lnTo>
                    <a:pt x="1517" y="587"/>
                  </a:lnTo>
                  <a:lnTo>
                    <a:pt x="1532" y="591"/>
                  </a:lnTo>
                  <a:lnTo>
                    <a:pt x="1538" y="591"/>
                  </a:lnTo>
                  <a:lnTo>
                    <a:pt x="1552" y="579"/>
                  </a:lnTo>
                  <a:lnTo>
                    <a:pt x="1576" y="563"/>
                  </a:lnTo>
                  <a:lnTo>
                    <a:pt x="1577" y="560"/>
                  </a:lnTo>
                  <a:lnTo>
                    <a:pt x="1576" y="556"/>
                  </a:lnTo>
                  <a:lnTo>
                    <a:pt x="1569" y="550"/>
                  </a:lnTo>
                  <a:lnTo>
                    <a:pt x="1574" y="529"/>
                  </a:lnTo>
                  <a:lnTo>
                    <a:pt x="1566" y="521"/>
                  </a:lnTo>
                  <a:lnTo>
                    <a:pt x="1565" y="517"/>
                  </a:lnTo>
                  <a:lnTo>
                    <a:pt x="1564" y="502"/>
                  </a:lnTo>
                  <a:lnTo>
                    <a:pt x="1556" y="492"/>
                  </a:lnTo>
                  <a:lnTo>
                    <a:pt x="1555" y="488"/>
                  </a:lnTo>
                  <a:lnTo>
                    <a:pt x="1555" y="485"/>
                  </a:lnTo>
                  <a:lnTo>
                    <a:pt x="1558" y="479"/>
                  </a:lnTo>
                  <a:lnTo>
                    <a:pt x="1570" y="485"/>
                  </a:lnTo>
                  <a:lnTo>
                    <a:pt x="1574" y="483"/>
                  </a:lnTo>
                  <a:lnTo>
                    <a:pt x="1588" y="465"/>
                  </a:lnTo>
                  <a:lnTo>
                    <a:pt x="1596" y="455"/>
                  </a:lnTo>
                  <a:lnTo>
                    <a:pt x="1608" y="427"/>
                  </a:lnTo>
                  <a:lnTo>
                    <a:pt x="1613" y="426"/>
                  </a:lnTo>
                  <a:lnTo>
                    <a:pt x="1622" y="429"/>
                  </a:lnTo>
                  <a:lnTo>
                    <a:pt x="1629" y="434"/>
                  </a:lnTo>
                  <a:lnTo>
                    <a:pt x="1635" y="440"/>
                  </a:lnTo>
                  <a:lnTo>
                    <a:pt x="1646" y="454"/>
                  </a:lnTo>
                  <a:lnTo>
                    <a:pt x="1651" y="463"/>
                  </a:lnTo>
                  <a:lnTo>
                    <a:pt x="1652" y="467"/>
                  </a:lnTo>
                  <a:lnTo>
                    <a:pt x="1646" y="479"/>
                  </a:lnTo>
                  <a:lnTo>
                    <a:pt x="1648" y="484"/>
                  </a:lnTo>
                  <a:lnTo>
                    <a:pt x="1656" y="494"/>
                  </a:lnTo>
                  <a:lnTo>
                    <a:pt x="1660" y="508"/>
                  </a:lnTo>
                  <a:lnTo>
                    <a:pt x="1662" y="515"/>
                  </a:lnTo>
                  <a:lnTo>
                    <a:pt x="1669" y="522"/>
                  </a:lnTo>
                  <a:lnTo>
                    <a:pt x="1671" y="526"/>
                  </a:lnTo>
                  <a:lnTo>
                    <a:pt x="1671" y="543"/>
                  </a:lnTo>
                  <a:lnTo>
                    <a:pt x="1673" y="547"/>
                  </a:lnTo>
                  <a:lnTo>
                    <a:pt x="1689" y="564"/>
                  </a:lnTo>
                  <a:lnTo>
                    <a:pt x="1719" y="611"/>
                  </a:lnTo>
                  <a:lnTo>
                    <a:pt x="1734" y="627"/>
                  </a:lnTo>
                  <a:lnTo>
                    <a:pt x="1741" y="642"/>
                  </a:lnTo>
                  <a:lnTo>
                    <a:pt x="1754" y="646"/>
                  </a:lnTo>
                  <a:lnTo>
                    <a:pt x="1770" y="670"/>
                  </a:lnTo>
                  <a:lnTo>
                    <a:pt x="1791" y="707"/>
                  </a:lnTo>
                  <a:lnTo>
                    <a:pt x="1794" y="712"/>
                  </a:lnTo>
                  <a:lnTo>
                    <a:pt x="1798" y="714"/>
                  </a:lnTo>
                  <a:lnTo>
                    <a:pt x="1807" y="715"/>
                  </a:lnTo>
                  <a:lnTo>
                    <a:pt x="1815" y="706"/>
                  </a:lnTo>
                  <a:lnTo>
                    <a:pt x="1838" y="714"/>
                  </a:lnTo>
                  <a:lnTo>
                    <a:pt x="1840" y="714"/>
                  </a:lnTo>
                  <a:lnTo>
                    <a:pt x="1848" y="710"/>
                  </a:lnTo>
                  <a:lnTo>
                    <a:pt x="1876" y="690"/>
                  </a:lnTo>
                  <a:lnTo>
                    <a:pt x="1879" y="684"/>
                  </a:lnTo>
                  <a:lnTo>
                    <a:pt x="1880" y="676"/>
                  </a:lnTo>
                  <a:lnTo>
                    <a:pt x="1874" y="659"/>
                  </a:lnTo>
                  <a:lnTo>
                    <a:pt x="1874" y="648"/>
                  </a:lnTo>
                  <a:lnTo>
                    <a:pt x="1870" y="634"/>
                  </a:lnTo>
                  <a:lnTo>
                    <a:pt x="1870" y="629"/>
                  </a:lnTo>
                  <a:lnTo>
                    <a:pt x="1872" y="624"/>
                  </a:lnTo>
                  <a:lnTo>
                    <a:pt x="1879" y="620"/>
                  </a:lnTo>
                  <a:lnTo>
                    <a:pt x="1887" y="620"/>
                  </a:lnTo>
                  <a:lnTo>
                    <a:pt x="1894" y="617"/>
                  </a:lnTo>
                  <a:lnTo>
                    <a:pt x="1905" y="605"/>
                  </a:lnTo>
                  <a:lnTo>
                    <a:pt x="1916" y="592"/>
                  </a:lnTo>
                  <a:lnTo>
                    <a:pt x="1924" y="585"/>
                  </a:lnTo>
                  <a:lnTo>
                    <a:pt x="1935" y="581"/>
                  </a:lnTo>
                  <a:lnTo>
                    <a:pt x="1967" y="574"/>
                  </a:lnTo>
                  <a:lnTo>
                    <a:pt x="1977" y="569"/>
                  </a:lnTo>
                  <a:lnTo>
                    <a:pt x="1982" y="559"/>
                  </a:lnTo>
                  <a:lnTo>
                    <a:pt x="1988" y="557"/>
                  </a:lnTo>
                  <a:lnTo>
                    <a:pt x="1992" y="553"/>
                  </a:lnTo>
                  <a:lnTo>
                    <a:pt x="1994" y="528"/>
                  </a:lnTo>
                  <a:lnTo>
                    <a:pt x="2022" y="506"/>
                  </a:lnTo>
                  <a:lnTo>
                    <a:pt x="2026" y="505"/>
                  </a:lnTo>
                  <a:lnTo>
                    <a:pt x="2034" y="510"/>
                  </a:lnTo>
                  <a:lnTo>
                    <a:pt x="2041" y="534"/>
                  </a:lnTo>
                  <a:lnTo>
                    <a:pt x="2043" y="540"/>
                  </a:lnTo>
                  <a:lnTo>
                    <a:pt x="2047" y="544"/>
                  </a:lnTo>
                  <a:lnTo>
                    <a:pt x="2052" y="550"/>
                  </a:lnTo>
                  <a:lnTo>
                    <a:pt x="2059" y="553"/>
                  </a:lnTo>
                  <a:lnTo>
                    <a:pt x="2062" y="555"/>
                  </a:lnTo>
                  <a:lnTo>
                    <a:pt x="2067" y="553"/>
                  </a:lnTo>
                  <a:lnTo>
                    <a:pt x="2069" y="552"/>
                  </a:lnTo>
                  <a:lnTo>
                    <a:pt x="2080" y="529"/>
                  </a:lnTo>
                  <a:lnTo>
                    <a:pt x="2095" y="513"/>
                  </a:lnTo>
                  <a:lnTo>
                    <a:pt x="2109" y="485"/>
                  </a:lnTo>
                  <a:lnTo>
                    <a:pt x="2112" y="483"/>
                  </a:lnTo>
                  <a:lnTo>
                    <a:pt x="2116" y="483"/>
                  </a:lnTo>
                  <a:lnTo>
                    <a:pt x="2119" y="488"/>
                  </a:lnTo>
                  <a:lnTo>
                    <a:pt x="2124" y="514"/>
                  </a:lnTo>
                  <a:lnTo>
                    <a:pt x="2129" y="527"/>
                  </a:lnTo>
                  <a:lnTo>
                    <a:pt x="2134" y="545"/>
                  </a:lnTo>
                  <a:lnTo>
                    <a:pt x="2137" y="552"/>
                  </a:lnTo>
                  <a:lnTo>
                    <a:pt x="2143" y="573"/>
                  </a:lnTo>
                  <a:lnTo>
                    <a:pt x="2147" y="578"/>
                  </a:lnTo>
                  <a:lnTo>
                    <a:pt x="2154" y="584"/>
                  </a:lnTo>
                  <a:lnTo>
                    <a:pt x="2158" y="588"/>
                  </a:lnTo>
                  <a:lnTo>
                    <a:pt x="2166" y="603"/>
                  </a:lnTo>
                  <a:lnTo>
                    <a:pt x="2169" y="609"/>
                  </a:lnTo>
                  <a:lnTo>
                    <a:pt x="2178" y="611"/>
                  </a:lnTo>
                  <a:lnTo>
                    <a:pt x="2207" y="611"/>
                  </a:lnTo>
                  <a:lnTo>
                    <a:pt x="2214" y="615"/>
                  </a:lnTo>
                  <a:lnTo>
                    <a:pt x="2225" y="618"/>
                  </a:lnTo>
                  <a:lnTo>
                    <a:pt x="2235" y="623"/>
                  </a:lnTo>
                  <a:lnTo>
                    <a:pt x="2251" y="625"/>
                  </a:lnTo>
                  <a:lnTo>
                    <a:pt x="2258" y="632"/>
                  </a:lnTo>
                  <a:lnTo>
                    <a:pt x="2272" y="652"/>
                  </a:lnTo>
                  <a:lnTo>
                    <a:pt x="2274" y="654"/>
                  </a:lnTo>
                  <a:lnTo>
                    <a:pt x="2277" y="655"/>
                  </a:lnTo>
                  <a:lnTo>
                    <a:pt x="2284" y="653"/>
                  </a:lnTo>
                  <a:lnTo>
                    <a:pt x="2301" y="634"/>
                  </a:lnTo>
                  <a:lnTo>
                    <a:pt x="2309" y="628"/>
                  </a:lnTo>
                  <a:lnTo>
                    <a:pt x="2313" y="628"/>
                  </a:lnTo>
                  <a:lnTo>
                    <a:pt x="2318" y="630"/>
                  </a:lnTo>
                  <a:lnTo>
                    <a:pt x="2331" y="639"/>
                  </a:lnTo>
                  <a:lnTo>
                    <a:pt x="2337" y="641"/>
                  </a:lnTo>
                  <a:lnTo>
                    <a:pt x="2345" y="638"/>
                  </a:lnTo>
                  <a:lnTo>
                    <a:pt x="2353" y="631"/>
                  </a:lnTo>
                  <a:lnTo>
                    <a:pt x="2373" y="625"/>
                  </a:lnTo>
                  <a:lnTo>
                    <a:pt x="2373" y="625"/>
                  </a:lnTo>
                  <a:lnTo>
                    <a:pt x="2376" y="641"/>
                  </a:lnTo>
                  <a:lnTo>
                    <a:pt x="2377" y="660"/>
                  </a:lnTo>
                  <a:lnTo>
                    <a:pt x="2376" y="673"/>
                  </a:lnTo>
                  <a:lnTo>
                    <a:pt x="2371" y="708"/>
                  </a:lnTo>
                  <a:lnTo>
                    <a:pt x="2372" y="748"/>
                  </a:lnTo>
                  <a:lnTo>
                    <a:pt x="2370" y="755"/>
                  </a:lnTo>
                  <a:lnTo>
                    <a:pt x="2364" y="763"/>
                  </a:lnTo>
                  <a:lnTo>
                    <a:pt x="2362" y="768"/>
                  </a:lnTo>
                  <a:lnTo>
                    <a:pt x="2359" y="782"/>
                  </a:lnTo>
                  <a:lnTo>
                    <a:pt x="2361" y="791"/>
                  </a:lnTo>
                  <a:lnTo>
                    <a:pt x="2370" y="809"/>
                  </a:lnTo>
                  <a:lnTo>
                    <a:pt x="2370" y="811"/>
                  </a:lnTo>
                  <a:lnTo>
                    <a:pt x="2366" y="814"/>
                  </a:lnTo>
                  <a:lnTo>
                    <a:pt x="2353" y="817"/>
                  </a:lnTo>
                  <a:lnTo>
                    <a:pt x="2348" y="820"/>
                  </a:lnTo>
                  <a:lnTo>
                    <a:pt x="2348" y="822"/>
                  </a:lnTo>
                  <a:lnTo>
                    <a:pt x="2353" y="834"/>
                  </a:lnTo>
                  <a:lnTo>
                    <a:pt x="2353" y="836"/>
                  </a:lnTo>
                  <a:lnTo>
                    <a:pt x="2352" y="837"/>
                  </a:lnTo>
                  <a:lnTo>
                    <a:pt x="2335" y="844"/>
                  </a:lnTo>
                  <a:lnTo>
                    <a:pt x="2313" y="844"/>
                  </a:lnTo>
                  <a:lnTo>
                    <a:pt x="2307" y="845"/>
                  </a:lnTo>
                  <a:lnTo>
                    <a:pt x="2286" y="862"/>
                  </a:lnTo>
                  <a:lnTo>
                    <a:pt x="2271" y="868"/>
                  </a:lnTo>
                  <a:lnTo>
                    <a:pt x="2257" y="876"/>
                  </a:lnTo>
                  <a:lnTo>
                    <a:pt x="2240" y="893"/>
                  </a:lnTo>
                  <a:lnTo>
                    <a:pt x="2231" y="900"/>
                  </a:lnTo>
                  <a:lnTo>
                    <a:pt x="2228" y="904"/>
                  </a:lnTo>
                  <a:lnTo>
                    <a:pt x="2227" y="909"/>
                  </a:lnTo>
                  <a:lnTo>
                    <a:pt x="2227" y="916"/>
                  </a:lnTo>
                  <a:lnTo>
                    <a:pt x="2229" y="918"/>
                  </a:lnTo>
                  <a:lnTo>
                    <a:pt x="2255" y="921"/>
                  </a:lnTo>
                  <a:lnTo>
                    <a:pt x="2261" y="923"/>
                  </a:lnTo>
                  <a:lnTo>
                    <a:pt x="2265" y="927"/>
                  </a:lnTo>
                  <a:lnTo>
                    <a:pt x="2269" y="935"/>
                  </a:lnTo>
                  <a:lnTo>
                    <a:pt x="2280" y="958"/>
                  </a:lnTo>
                  <a:lnTo>
                    <a:pt x="2281" y="963"/>
                  </a:lnTo>
                  <a:lnTo>
                    <a:pt x="2280" y="976"/>
                  </a:lnTo>
                  <a:lnTo>
                    <a:pt x="2281" y="984"/>
                  </a:lnTo>
                  <a:lnTo>
                    <a:pt x="2286" y="993"/>
                  </a:lnTo>
                  <a:lnTo>
                    <a:pt x="2295" y="1004"/>
                  </a:lnTo>
                  <a:lnTo>
                    <a:pt x="2294" y="1005"/>
                  </a:lnTo>
                  <a:lnTo>
                    <a:pt x="2280" y="1005"/>
                  </a:lnTo>
                  <a:lnTo>
                    <a:pt x="2277" y="1004"/>
                  </a:lnTo>
                  <a:lnTo>
                    <a:pt x="2275" y="1001"/>
                  </a:lnTo>
                  <a:lnTo>
                    <a:pt x="2269" y="982"/>
                  </a:lnTo>
                  <a:lnTo>
                    <a:pt x="2261" y="960"/>
                  </a:lnTo>
                  <a:lnTo>
                    <a:pt x="2258" y="954"/>
                  </a:lnTo>
                  <a:lnTo>
                    <a:pt x="2251" y="948"/>
                  </a:lnTo>
                  <a:lnTo>
                    <a:pt x="2245" y="947"/>
                  </a:lnTo>
                  <a:lnTo>
                    <a:pt x="2242" y="950"/>
                  </a:lnTo>
                  <a:lnTo>
                    <a:pt x="2240" y="954"/>
                  </a:lnTo>
                  <a:lnTo>
                    <a:pt x="2238" y="968"/>
                  </a:lnTo>
                  <a:lnTo>
                    <a:pt x="2237" y="969"/>
                  </a:lnTo>
                  <a:lnTo>
                    <a:pt x="2233" y="969"/>
                  </a:lnTo>
                  <a:lnTo>
                    <a:pt x="2231" y="966"/>
                  </a:lnTo>
                  <a:lnTo>
                    <a:pt x="2230" y="951"/>
                  </a:lnTo>
                  <a:lnTo>
                    <a:pt x="2227" y="946"/>
                  </a:lnTo>
                  <a:lnTo>
                    <a:pt x="2201" y="941"/>
                  </a:lnTo>
                  <a:lnTo>
                    <a:pt x="2194" y="938"/>
                  </a:lnTo>
                  <a:lnTo>
                    <a:pt x="2181" y="926"/>
                  </a:lnTo>
                  <a:lnTo>
                    <a:pt x="2176" y="921"/>
                  </a:lnTo>
                  <a:lnTo>
                    <a:pt x="2174" y="910"/>
                  </a:lnTo>
                  <a:lnTo>
                    <a:pt x="2172" y="893"/>
                  </a:lnTo>
                  <a:lnTo>
                    <a:pt x="2172" y="875"/>
                  </a:lnTo>
                  <a:lnTo>
                    <a:pt x="2171" y="874"/>
                  </a:lnTo>
                  <a:lnTo>
                    <a:pt x="2166" y="872"/>
                  </a:lnTo>
                  <a:lnTo>
                    <a:pt x="2150" y="868"/>
                  </a:lnTo>
                  <a:lnTo>
                    <a:pt x="2132" y="869"/>
                  </a:lnTo>
                  <a:lnTo>
                    <a:pt x="2130" y="867"/>
                  </a:lnTo>
                  <a:lnTo>
                    <a:pt x="2132" y="859"/>
                  </a:lnTo>
                  <a:lnTo>
                    <a:pt x="2131" y="852"/>
                  </a:lnTo>
                  <a:lnTo>
                    <a:pt x="2130" y="850"/>
                  </a:lnTo>
                  <a:lnTo>
                    <a:pt x="2123" y="847"/>
                  </a:lnTo>
                  <a:lnTo>
                    <a:pt x="2119" y="847"/>
                  </a:lnTo>
                  <a:lnTo>
                    <a:pt x="2103" y="852"/>
                  </a:lnTo>
                  <a:lnTo>
                    <a:pt x="2099" y="853"/>
                  </a:lnTo>
                  <a:lnTo>
                    <a:pt x="2094" y="852"/>
                  </a:lnTo>
                  <a:lnTo>
                    <a:pt x="2081" y="847"/>
                  </a:lnTo>
                  <a:lnTo>
                    <a:pt x="2076" y="849"/>
                  </a:lnTo>
                  <a:lnTo>
                    <a:pt x="2073" y="852"/>
                  </a:lnTo>
                  <a:lnTo>
                    <a:pt x="2066" y="868"/>
                  </a:lnTo>
                  <a:lnTo>
                    <a:pt x="2066" y="899"/>
                  </a:lnTo>
                  <a:lnTo>
                    <a:pt x="2062" y="943"/>
                  </a:lnTo>
                  <a:lnTo>
                    <a:pt x="2062" y="951"/>
                  </a:lnTo>
                  <a:lnTo>
                    <a:pt x="2065" y="963"/>
                  </a:lnTo>
                  <a:lnTo>
                    <a:pt x="2066" y="974"/>
                  </a:lnTo>
                  <a:lnTo>
                    <a:pt x="2066" y="1001"/>
                  </a:lnTo>
                  <a:lnTo>
                    <a:pt x="2069" y="1016"/>
                  </a:lnTo>
                  <a:lnTo>
                    <a:pt x="2070" y="1034"/>
                  </a:lnTo>
                  <a:lnTo>
                    <a:pt x="2070" y="1042"/>
                  </a:lnTo>
                  <a:lnTo>
                    <a:pt x="2067" y="1047"/>
                  </a:lnTo>
                  <a:lnTo>
                    <a:pt x="2064" y="1048"/>
                  </a:lnTo>
                  <a:lnTo>
                    <a:pt x="2054" y="1050"/>
                  </a:lnTo>
                  <a:lnTo>
                    <a:pt x="2050" y="1049"/>
                  </a:lnTo>
                  <a:lnTo>
                    <a:pt x="2047" y="1045"/>
                  </a:lnTo>
                  <a:lnTo>
                    <a:pt x="2045" y="1045"/>
                  </a:lnTo>
                  <a:lnTo>
                    <a:pt x="2043" y="1048"/>
                  </a:lnTo>
                  <a:lnTo>
                    <a:pt x="2042" y="1058"/>
                  </a:lnTo>
                  <a:lnTo>
                    <a:pt x="2036" y="1067"/>
                  </a:lnTo>
                  <a:lnTo>
                    <a:pt x="2033" y="1077"/>
                  </a:lnTo>
                  <a:lnTo>
                    <a:pt x="2032" y="1078"/>
                  </a:lnTo>
                  <a:lnTo>
                    <a:pt x="2018" y="1063"/>
                  </a:lnTo>
                  <a:lnTo>
                    <a:pt x="2009" y="1060"/>
                  </a:lnTo>
                  <a:lnTo>
                    <a:pt x="2005" y="1060"/>
                  </a:lnTo>
                  <a:lnTo>
                    <a:pt x="1991" y="1064"/>
                  </a:lnTo>
                  <a:lnTo>
                    <a:pt x="1978" y="1069"/>
                  </a:lnTo>
                  <a:lnTo>
                    <a:pt x="1976" y="1084"/>
                  </a:lnTo>
                  <a:lnTo>
                    <a:pt x="1968" y="1089"/>
                  </a:lnTo>
                  <a:lnTo>
                    <a:pt x="1962" y="1099"/>
                  </a:lnTo>
                  <a:lnTo>
                    <a:pt x="1962" y="1102"/>
                  </a:lnTo>
                  <a:lnTo>
                    <a:pt x="1964" y="1110"/>
                  </a:lnTo>
                  <a:lnTo>
                    <a:pt x="1958" y="1121"/>
                  </a:lnTo>
                  <a:lnTo>
                    <a:pt x="1957" y="1127"/>
                  </a:lnTo>
                  <a:lnTo>
                    <a:pt x="1958" y="1133"/>
                  </a:lnTo>
                  <a:lnTo>
                    <a:pt x="1961" y="1146"/>
                  </a:lnTo>
                  <a:lnTo>
                    <a:pt x="1958" y="1157"/>
                  </a:lnTo>
                  <a:lnTo>
                    <a:pt x="1952" y="1166"/>
                  </a:lnTo>
                  <a:lnTo>
                    <a:pt x="1932" y="1182"/>
                  </a:lnTo>
                  <a:lnTo>
                    <a:pt x="1925" y="1189"/>
                  </a:lnTo>
                  <a:lnTo>
                    <a:pt x="1913" y="1207"/>
                  </a:lnTo>
                  <a:lnTo>
                    <a:pt x="1910" y="1215"/>
                  </a:lnTo>
                  <a:lnTo>
                    <a:pt x="1906" y="1218"/>
                  </a:lnTo>
                  <a:lnTo>
                    <a:pt x="1901" y="1221"/>
                  </a:lnTo>
                  <a:lnTo>
                    <a:pt x="1893" y="1222"/>
                  </a:lnTo>
                  <a:lnTo>
                    <a:pt x="1867" y="1220"/>
                  </a:lnTo>
                  <a:lnTo>
                    <a:pt x="1849" y="1228"/>
                  </a:lnTo>
                  <a:lnTo>
                    <a:pt x="1838" y="1231"/>
                  </a:lnTo>
                  <a:lnTo>
                    <a:pt x="1827" y="1238"/>
                  </a:lnTo>
                  <a:lnTo>
                    <a:pt x="1821" y="1240"/>
                  </a:lnTo>
                  <a:lnTo>
                    <a:pt x="1782" y="1246"/>
                  </a:lnTo>
                  <a:lnTo>
                    <a:pt x="1748" y="1248"/>
                  </a:lnTo>
                  <a:lnTo>
                    <a:pt x="1725" y="1251"/>
                  </a:lnTo>
                  <a:lnTo>
                    <a:pt x="1714" y="1254"/>
                  </a:lnTo>
                  <a:lnTo>
                    <a:pt x="1695" y="1262"/>
                  </a:lnTo>
                  <a:lnTo>
                    <a:pt x="1695" y="1271"/>
                  </a:lnTo>
                  <a:lnTo>
                    <a:pt x="1697" y="1277"/>
                  </a:lnTo>
                  <a:lnTo>
                    <a:pt x="1705" y="1282"/>
                  </a:lnTo>
                  <a:lnTo>
                    <a:pt x="1706" y="1285"/>
                  </a:lnTo>
                  <a:lnTo>
                    <a:pt x="1713" y="1290"/>
                  </a:lnTo>
                  <a:lnTo>
                    <a:pt x="1717" y="1295"/>
                  </a:lnTo>
                  <a:lnTo>
                    <a:pt x="1720" y="1304"/>
                  </a:lnTo>
                  <a:lnTo>
                    <a:pt x="1722" y="1321"/>
                  </a:lnTo>
                  <a:lnTo>
                    <a:pt x="1727" y="1335"/>
                  </a:lnTo>
                  <a:lnTo>
                    <a:pt x="1735" y="1341"/>
                  </a:lnTo>
                  <a:lnTo>
                    <a:pt x="1742" y="1353"/>
                  </a:lnTo>
                  <a:lnTo>
                    <a:pt x="1749" y="1359"/>
                  </a:lnTo>
                  <a:lnTo>
                    <a:pt x="1757" y="1365"/>
                  </a:lnTo>
                  <a:lnTo>
                    <a:pt x="1769" y="1369"/>
                  </a:lnTo>
                  <a:lnTo>
                    <a:pt x="1772" y="1372"/>
                  </a:lnTo>
                  <a:lnTo>
                    <a:pt x="1776" y="1377"/>
                  </a:lnTo>
                  <a:lnTo>
                    <a:pt x="1781" y="1387"/>
                  </a:lnTo>
                  <a:lnTo>
                    <a:pt x="1785" y="1399"/>
                  </a:lnTo>
                  <a:lnTo>
                    <a:pt x="1785" y="1408"/>
                  </a:lnTo>
                  <a:lnTo>
                    <a:pt x="1782" y="1418"/>
                  </a:lnTo>
                  <a:lnTo>
                    <a:pt x="1777" y="1429"/>
                  </a:lnTo>
                  <a:lnTo>
                    <a:pt x="1777" y="1446"/>
                  </a:lnTo>
                  <a:lnTo>
                    <a:pt x="1775" y="1451"/>
                  </a:lnTo>
                  <a:lnTo>
                    <a:pt x="1773" y="1456"/>
                  </a:lnTo>
                  <a:lnTo>
                    <a:pt x="1761" y="1466"/>
                  </a:lnTo>
                  <a:lnTo>
                    <a:pt x="1753" y="1471"/>
                  </a:lnTo>
                  <a:lnTo>
                    <a:pt x="1741" y="1468"/>
                  </a:lnTo>
                  <a:lnTo>
                    <a:pt x="1727" y="1459"/>
                  </a:lnTo>
                  <a:lnTo>
                    <a:pt x="1721" y="1457"/>
                  </a:lnTo>
                  <a:lnTo>
                    <a:pt x="1713" y="1456"/>
                  </a:lnTo>
                  <a:lnTo>
                    <a:pt x="1704" y="1456"/>
                  </a:lnTo>
                  <a:lnTo>
                    <a:pt x="1691" y="1461"/>
                  </a:lnTo>
                  <a:lnTo>
                    <a:pt x="1686" y="1468"/>
                  </a:lnTo>
                  <a:lnTo>
                    <a:pt x="1682" y="1473"/>
                  </a:lnTo>
                  <a:lnTo>
                    <a:pt x="1659" y="1473"/>
                  </a:lnTo>
                  <a:lnTo>
                    <a:pt x="1649" y="1477"/>
                  </a:lnTo>
                  <a:lnTo>
                    <a:pt x="1640" y="1482"/>
                  </a:lnTo>
                  <a:lnTo>
                    <a:pt x="1634" y="1484"/>
                  </a:lnTo>
                  <a:lnTo>
                    <a:pt x="1631" y="1483"/>
                  </a:lnTo>
                  <a:lnTo>
                    <a:pt x="1628" y="1482"/>
                  </a:lnTo>
                  <a:lnTo>
                    <a:pt x="1620" y="1477"/>
                  </a:lnTo>
                  <a:lnTo>
                    <a:pt x="1614" y="1468"/>
                  </a:lnTo>
                  <a:lnTo>
                    <a:pt x="1609" y="1466"/>
                  </a:lnTo>
                  <a:lnTo>
                    <a:pt x="1604" y="1466"/>
                  </a:lnTo>
                  <a:lnTo>
                    <a:pt x="1593" y="1472"/>
                  </a:lnTo>
                  <a:lnTo>
                    <a:pt x="1582" y="1474"/>
                  </a:lnTo>
                  <a:lnTo>
                    <a:pt x="1539" y="1476"/>
                  </a:lnTo>
                  <a:lnTo>
                    <a:pt x="1537" y="1475"/>
                  </a:lnTo>
                  <a:lnTo>
                    <a:pt x="1533" y="1466"/>
                  </a:lnTo>
                  <a:lnTo>
                    <a:pt x="1527" y="1462"/>
                  </a:lnTo>
                  <a:lnTo>
                    <a:pt x="1522" y="1462"/>
                  </a:lnTo>
                  <a:lnTo>
                    <a:pt x="1505" y="1464"/>
                  </a:lnTo>
                  <a:lnTo>
                    <a:pt x="1499" y="1462"/>
                  </a:lnTo>
                  <a:lnTo>
                    <a:pt x="1498" y="1460"/>
                  </a:lnTo>
                  <a:lnTo>
                    <a:pt x="1499" y="1456"/>
                  </a:lnTo>
                  <a:lnTo>
                    <a:pt x="1506" y="1445"/>
                  </a:lnTo>
                  <a:lnTo>
                    <a:pt x="1512" y="1442"/>
                  </a:lnTo>
                  <a:lnTo>
                    <a:pt x="1511" y="1436"/>
                  </a:lnTo>
                  <a:lnTo>
                    <a:pt x="1484" y="1426"/>
                  </a:lnTo>
                  <a:lnTo>
                    <a:pt x="1480" y="1422"/>
                  </a:lnTo>
                  <a:lnTo>
                    <a:pt x="1478" y="1405"/>
                  </a:lnTo>
                  <a:lnTo>
                    <a:pt x="1472" y="1399"/>
                  </a:lnTo>
                  <a:lnTo>
                    <a:pt x="1464" y="1391"/>
                  </a:lnTo>
                  <a:lnTo>
                    <a:pt x="1450" y="1387"/>
                  </a:lnTo>
                  <a:lnTo>
                    <a:pt x="1442" y="1379"/>
                  </a:lnTo>
                  <a:lnTo>
                    <a:pt x="1439" y="1381"/>
                  </a:lnTo>
                  <a:lnTo>
                    <a:pt x="1434" y="1385"/>
                  </a:lnTo>
                  <a:lnTo>
                    <a:pt x="1430" y="1390"/>
                  </a:lnTo>
                  <a:lnTo>
                    <a:pt x="1428" y="1396"/>
                  </a:lnTo>
                  <a:lnTo>
                    <a:pt x="1426" y="1407"/>
                  </a:lnTo>
                  <a:lnTo>
                    <a:pt x="1422" y="1408"/>
                  </a:lnTo>
                  <a:lnTo>
                    <a:pt x="1414" y="1408"/>
                  </a:lnTo>
                  <a:lnTo>
                    <a:pt x="1412" y="1414"/>
                  </a:lnTo>
                  <a:lnTo>
                    <a:pt x="1409" y="1418"/>
                  </a:lnTo>
                  <a:lnTo>
                    <a:pt x="1394" y="1412"/>
                  </a:lnTo>
                  <a:lnTo>
                    <a:pt x="1389" y="1412"/>
                  </a:lnTo>
                  <a:lnTo>
                    <a:pt x="1388" y="1414"/>
                  </a:lnTo>
                  <a:lnTo>
                    <a:pt x="1388" y="1417"/>
                  </a:lnTo>
                  <a:lnTo>
                    <a:pt x="1395" y="1424"/>
                  </a:lnTo>
                  <a:lnTo>
                    <a:pt x="1394" y="1429"/>
                  </a:lnTo>
                  <a:lnTo>
                    <a:pt x="1389" y="1437"/>
                  </a:lnTo>
                  <a:lnTo>
                    <a:pt x="1383" y="1441"/>
                  </a:lnTo>
                  <a:lnTo>
                    <a:pt x="1379" y="1442"/>
                  </a:lnTo>
                  <a:lnTo>
                    <a:pt x="1373" y="1441"/>
                  </a:lnTo>
                  <a:lnTo>
                    <a:pt x="1370" y="1456"/>
                  </a:lnTo>
                  <a:lnTo>
                    <a:pt x="1363" y="1461"/>
                  </a:lnTo>
                  <a:lnTo>
                    <a:pt x="1372" y="1478"/>
                  </a:lnTo>
                  <a:lnTo>
                    <a:pt x="1364" y="1507"/>
                  </a:lnTo>
                  <a:lnTo>
                    <a:pt x="1361" y="1532"/>
                  </a:lnTo>
                  <a:lnTo>
                    <a:pt x="1364" y="1538"/>
                  </a:lnTo>
                  <a:lnTo>
                    <a:pt x="1373" y="1549"/>
                  </a:lnTo>
                  <a:lnTo>
                    <a:pt x="1373" y="1553"/>
                  </a:lnTo>
                  <a:lnTo>
                    <a:pt x="1371" y="1555"/>
                  </a:lnTo>
                  <a:lnTo>
                    <a:pt x="1360" y="1554"/>
                  </a:lnTo>
                  <a:lnTo>
                    <a:pt x="1356" y="1555"/>
                  </a:lnTo>
                  <a:lnTo>
                    <a:pt x="1352" y="1558"/>
                  </a:lnTo>
                  <a:lnTo>
                    <a:pt x="1344" y="1567"/>
                  </a:lnTo>
                  <a:lnTo>
                    <a:pt x="1337" y="1577"/>
                  </a:lnTo>
                  <a:lnTo>
                    <a:pt x="1332" y="1587"/>
                  </a:lnTo>
                  <a:lnTo>
                    <a:pt x="1325" y="1604"/>
                  </a:lnTo>
                  <a:lnTo>
                    <a:pt x="1319" y="1625"/>
                  </a:lnTo>
                  <a:lnTo>
                    <a:pt x="1317" y="1631"/>
                  </a:lnTo>
                  <a:lnTo>
                    <a:pt x="1312" y="1636"/>
                  </a:lnTo>
                  <a:lnTo>
                    <a:pt x="1299" y="1643"/>
                  </a:lnTo>
                  <a:lnTo>
                    <a:pt x="1294" y="1649"/>
                  </a:lnTo>
                  <a:lnTo>
                    <a:pt x="1283" y="1672"/>
                  </a:lnTo>
                  <a:lnTo>
                    <a:pt x="1274" y="1696"/>
                  </a:lnTo>
                  <a:lnTo>
                    <a:pt x="1272" y="1700"/>
                  </a:lnTo>
                  <a:lnTo>
                    <a:pt x="1267" y="1705"/>
                  </a:lnTo>
                  <a:lnTo>
                    <a:pt x="1258" y="1707"/>
                  </a:lnTo>
                  <a:lnTo>
                    <a:pt x="1256" y="1708"/>
                  </a:lnTo>
                  <a:lnTo>
                    <a:pt x="1256" y="1710"/>
                  </a:lnTo>
                  <a:lnTo>
                    <a:pt x="1257" y="1712"/>
                  </a:lnTo>
                  <a:lnTo>
                    <a:pt x="1269" y="1718"/>
                  </a:lnTo>
                  <a:lnTo>
                    <a:pt x="1271" y="1721"/>
                  </a:lnTo>
                  <a:lnTo>
                    <a:pt x="1271" y="1724"/>
                  </a:lnTo>
                  <a:lnTo>
                    <a:pt x="1268" y="1727"/>
                  </a:lnTo>
                  <a:lnTo>
                    <a:pt x="1265" y="1728"/>
                  </a:lnTo>
                  <a:lnTo>
                    <a:pt x="1245" y="1724"/>
                  </a:lnTo>
                  <a:lnTo>
                    <a:pt x="1237" y="1724"/>
                  </a:lnTo>
                  <a:lnTo>
                    <a:pt x="1227" y="1736"/>
                  </a:lnTo>
                  <a:lnTo>
                    <a:pt x="1223" y="1739"/>
                  </a:lnTo>
                  <a:lnTo>
                    <a:pt x="1219" y="1741"/>
                  </a:lnTo>
                  <a:lnTo>
                    <a:pt x="1215" y="1736"/>
                  </a:lnTo>
                  <a:lnTo>
                    <a:pt x="1213" y="1735"/>
                  </a:lnTo>
                  <a:lnTo>
                    <a:pt x="1202" y="1742"/>
                  </a:lnTo>
                  <a:lnTo>
                    <a:pt x="1198" y="1746"/>
                  </a:lnTo>
                  <a:lnTo>
                    <a:pt x="1198" y="1746"/>
                  </a:lnTo>
                  <a:lnTo>
                    <a:pt x="1185" y="1735"/>
                  </a:lnTo>
                  <a:lnTo>
                    <a:pt x="1178" y="1731"/>
                  </a:lnTo>
                  <a:lnTo>
                    <a:pt x="1162" y="1737"/>
                  </a:lnTo>
                  <a:lnTo>
                    <a:pt x="1161" y="1737"/>
                  </a:lnTo>
                  <a:lnTo>
                    <a:pt x="1163" y="1727"/>
                  </a:lnTo>
                  <a:lnTo>
                    <a:pt x="1168" y="1712"/>
                  </a:lnTo>
                  <a:lnTo>
                    <a:pt x="1170" y="1710"/>
                  </a:lnTo>
                  <a:lnTo>
                    <a:pt x="1178" y="1706"/>
                  </a:lnTo>
                  <a:lnTo>
                    <a:pt x="1186" y="1685"/>
                  </a:lnTo>
                  <a:lnTo>
                    <a:pt x="1187" y="1673"/>
                  </a:lnTo>
                  <a:lnTo>
                    <a:pt x="1183" y="1660"/>
                  </a:lnTo>
                  <a:lnTo>
                    <a:pt x="1183" y="1656"/>
                  </a:lnTo>
                  <a:lnTo>
                    <a:pt x="1196" y="1645"/>
                  </a:lnTo>
                  <a:lnTo>
                    <a:pt x="1197" y="1640"/>
                  </a:lnTo>
                  <a:lnTo>
                    <a:pt x="1186" y="1638"/>
                  </a:lnTo>
                  <a:lnTo>
                    <a:pt x="1184" y="1633"/>
                  </a:lnTo>
                  <a:lnTo>
                    <a:pt x="1183" y="1623"/>
                  </a:lnTo>
                  <a:lnTo>
                    <a:pt x="1181" y="1618"/>
                  </a:lnTo>
                  <a:lnTo>
                    <a:pt x="1178" y="1615"/>
                  </a:lnTo>
                  <a:lnTo>
                    <a:pt x="1167" y="1607"/>
                  </a:lnTo>
                  <a:lnTo>
                    <a:pt x="1162" y="1601"/>
                  </a:lnTo>
                  <a:lnTo>
                    <a:pt x="1152" y="1581"/>
                  </a:lnTo>
                  <a:lnTo>
                    <a:pt x="1125" y="1557"/>
                  </a:lnTo>
                  <a:lnTo>
                    <a:pt x="1112" y="1544"/>
                  </a:lnTo>
                  <a:lnTo>
                    <a:pt x="1113" y="1530"/>
                  </a:lnTo>
                  <a:lnTo>
                    <a:pt x="1109" y="1527"/>
                  </a:lnTo>
                  <a:lnTo>
                    <a:pt x="1101" y="1523"/>
                  </a:lnTo>
                  <a:lnTo>
                    <a:pt x="1092" y="1512"/>
                  </a:lnTo>
                  <a:lnTo>
                    <a:pt x="1091" y="1483"/>
                  </a:lnTo>
                  <a:lnTo>
                    <a:pt x="1086" y="1475"/>
                  </a:lnTo>
                  <a:lnTo>
                    <a:pt x="1084" y="1473"/>
                  </a:lnTo>
                  <a:lnTo>
                    <a:pt x="1081" y="1473"/>
                  </a:lnTo>
                  <a:lnTo>
                    <a:pt x="1075" y="1475"/>
                  </a:lnTo>
                  <a:lnTo>
                    <a:pt x="1065" y="1481"/>
                  </a:lnTo>
                  <a:lnTo>
                    <a:pt x="1059" y="1482"/>
                  </a:lnTo>
                  <a:lnTo>
                    <a:pt x="1056" y="1480"/>
                  </a:lnTo>
                  <a:lnTo>
                    <a:pt x="1054" y="1454"/>
                  </a:lnTo>
                  <a:lnTo>
                    <a:pt x="1042" y="1428"/>
                  </a:lnTo>
                  <a:lnTo>
                    <a:pt x="1034" y="1388"/>
                  </a:lnTo>
                  <a:lnTo>
                    <a:pt x="1036" y="1382"/>
                  </a:lnTo>
                  <a:lnTo>
                    <a:pt x="1052" y="1360"/>
                  </a:lnTo>
                  <a:lnTo>
                    <a:pt x="1058" y="1344"/>
                  </a:lnTo>
                  <a:lnTo>
                    <a:pt x="1061" y="1341"/>
                  </a:lnTo>
                  <a:lnTo>
                    <a:pt x="1070" y="1337"/>
                  </a:lnTo>
                  <a:lnTo>
                    <a:pt x="1072" y="1333"/>
                  </a:lnTo>
                  <a:lnTo>
                    <a:pt x="1073" y="1330"/>
                  </a:lnTo>
                  <a:lnTo>
                    <a:pt x="1068" y="1326"/>
                  </a:lnTo>
                  <a:lnTo>
                    <a:pt x="1058" y="1325"/>
                  </a:lnTo>
                  <a:lnTo>
                    <a:pt x="1056" y="1320"/>
                  </a:lnTo>
                  <a:lnTo>
                    <a:pt x="1053" y="1318"/>
                  </a:lnTo>
                  <a:lnTo>
                    <a:pt x="1048" y="1320"/>
                  </a:lnTo>
                  <a:lnTo>
                    <a:pt x="1042" y="1326"/>
                  </a:lnTo>
                  <a:lnTo>
                    <a:pt x="1040" y="1329"/>
                  </a:lnTo>
                  <a:lnTo>
                    <a:pt x="1036" y="1328"/>
                  </a:lnTo>
                  <a:lnTo>
                    <a:pt x="1031" y="1325"/>
                  </a:lnTo>
                  <a:lnTo>
                    <a:pt x="1029" y="1319"/>
                  </a:lnTo>
                  <a:lnTo>
                    <a:pt x="1021" y="1310"/>
                  </a:lnTo>
                  <a:lnTo>
                    <a:pt x="1020" y="1302"/>
                  </a:lnTo>
                  <a:lnTo>
                    <a:pt x="1020" y="1290"/>
                  </a:lnTo>
                  <a:lnTo>
                    <a:pt x="1018" y="1286"/>
                  </a:lnTo>
                  <a:lnTo>
                    <a:pt x="1013" y="1282"/>
                  </a:lnTo>
                  <a:lnTo>
                    <a:pt x="996" y="1278"/>
                  </a:lnTo>
                  <a:lnTo>
                    <a:pt x="992" y="1275"/>
                  </a:lnTo>
                  <a:lnTo>
                    <a:pt x="989" y="1271"/>
                  </a:lnTo>
                  <a:lnTo>
                    <a:pt x="991" y="1248"/>
                  </a:lnTo>
                  <a:lnTo>
                    <a:pt x="984" y="1238"/>
                  </a:lnTo>
                  <a:lnTo>
                    <a:pt x="967" y="1223"/>
                  </a:lnTo>
                  <a:lnTo>
                    <a:pt x="960" y="1215"/>
                  </a:lnTo>
                  <a:lnTo>
                    <a:pt x="959" y="1185"/>
                  </a:lnTo>
                  <a:lnTo>
                    <a:pt x="953" y="1184"/>
                  </a:lnTo>
                  <a:lnTo>
                    <a:pt x="942" y="1184"/>
                  </a:lnTo>
                  <a:lnTo>
                    <a:pt x="939" y="1182"/>
                  </a:lnTo>
                  <a:lnTo>
                    <a:pt x="937" y="1181"/>
                  </a:lnTo>
                  <a:lnTo>
                    <a:pt x="934" y="1176"/>
                  </a:lnTo>
                  <a:lnTo>
                    <a:pt x="927" y="1168"/>
                  </a:lnTo>
                  <a:lnTo>
                    <a:pt x="926" y="1161"/>
                  </a:lnTo>
                  <a:lnTo>
                    <a:pt x="926" y="1151"/>
                  </a:lnTo>
                  <a:lnTo>
                    <a:pt x="923" y="1144"/>
                  </a:lnTo>
                  <a:lnTo>
                    <a:pt x="919" y="1126"/>
                  </a:lnTo>
                  <a:lnTo>
                    <a:pt x="913" y="1123"/>
                  </a:lnTo>
                  <a:lnTo>
                    <a:pt x="907" y="1122"/>
                  </a:lnTo>
                  <a:lnTo>
                    <a:pt x="902" y="1124"/>
                  </a:lnTo>
                  <a:lnTo>
                    <a:pt x="897" y="1130"/>
                  </a:lnTo>
                  <a:lnTo>
                    <a:pt x="894" y="1132"/>
                  </a:lnTo>
                  <a:lnTo>
                    <a:pt x="892" y="1132"/>
                  </a:lnTo>
                  <a:lnTo>
                    <a:pt x="888" y="1127"/>
                  </a:lnTo>
                  <a:lnTo>
                    <a:pt x="886" y="1122"/>
                  </a:lnTo>
                  <a:lnTo>
                    <a:pt x="884" y="1115"/>
                  </a:lnTo>
                  <a:lnTo>
                    <a:pt x="878" y="1050"/>
                  </a:lnTo>
                  <a:lnTo>
                    <a:pt x="878" y="1046"/>
                  </a:lnTo>
                  <a:lnTo>
                    <a:pt x="880" y="1034"/>
                  </a:lnTo>
                  <a:lnTo>
                    <a:pt x="880" y="1028"/>
                  </a:lnTo>
                  <a:lnTo>
                    <a:pt x="879" y="1025"/>
                  </a:lnTo>
                  <a:lnTo>
                    <a:pt x="876" y="1023"/>
                  </a:lnTo>
                  <a:lnTo>
                    <a:pt x="869" y="1024"/>
                  </a:lnTo>
                  <a:lnTo>
                    <a:pt x="858" y="1028"/>
                  </a:lnTo>
                  <a:lnTo>
                    <a:pt x="852" y="1032"/>
                  </a:lnTo>
                  <a:lnTo>
                    <a:pt x="843" y="1047"/>
                  </a:lnTo>
                  <a:lnTo>
                    <a:pt x="822" y="1089"/>
                  </a:lnTo>
                  <a:lnTo>
                    <a:pt x="813" y="1102"/>
                  </a:lnTo>
                  <a:lnTo>
                    <a:pt x="800" y="1118"/>
                  </a:lnTo>
                  <a:lnTo>
                    <a:pt x="794" y="1131"/>
                  </a:lnTo>
                  <a:lnTo>
                    <a:pt x="790" y="1132"/>
                  </a:lnTo>
                  <a:lnTo>
                    <a:pt x="786" y="1130"/>
                  </a:lnTo>
                  <a:lnTo>
                    <a:pt x="785" y="1124"/>
                  </a:lnTo>
                  <a:lnTo>
                    <a:pt x="769" y="1120"/>
                  </a:lnTo>
                  <a:lnTo>
                    <a:pt x="768" y="1118"/>
                  </a:lnTo>
                  <a:lnTo>
                    <a:pt x="769" y="1114"/>
                  </a:lnTo>
                  <a:lnTo>
                    <a:pt x="777" y="1100"/>
                  </a:lnTo>
                  <a:lnTo>
                    <a:pt x="779" y="1096"/>
                  </a:lnTo>
                  <a:lnTo>
                    <a:pt x="777" y="1091"/>
                  </a:lnTo>
                  <a:lnTo>
                    <a:pt x="765" y="1089"/>
                  </a:lnTo>
                  <a:lnTo>
                    <a:pt x="762" y="1086"/>
                  </a:lnTo>
                  <a:lnTo>
                    <a:pt x="763" y="1081"/>
                  </a:lnTo>
                  <a:lnTo>
                    <a:pt x="772" y="1065"/>
                  </a:lnTo>
                  <a:lnTo>
                    <a:pt x="771" y="1062"/>
                  </a:lnTo>
                  <a:lnTo>
                    <a:pt x="768" y="1055"/>
                  </a:lnTo>
                  <a:lnTo>
                    <a:pt x="763" y="1050"/>
                  </a:lnTo>
                  <a:lnTo>
                    <a:pt x="735" y="1031"/>
                  </a:lnTo>
                  <a:lnTo>
                    <a:pt x="732" y="1025"/>
                  </a:lnTo>
                  <a:lnTo>
                    <a:pt x="728" y="1010"/>
                  </a:lnTo>
                  <a:lnTo>
                    <a:pt x="726" y="1007"/>
                  </a:lnTo>
                  <a:lnTo>
                    <a:pt x="721" y="1005"/>
                  </a:lnTo>
                  <a:lnTo>
                    <a:pt x="700" y="1002"/>
                  </a:lnTo>
                  <a:lnTo>
                    <a:pt x="700" y="1002"/>
                  </a:lnTo>
                  <a:lnTo>
                    <a:pt x="690" y="998"/>
                  </a:lnTo>
                  <a:lnTo>
                    <a:pt x="674" y="996"/>
                  </a:lnTo>
                  <a:lnTo>
                    <a:pt x="668" y="995"/>
                  </a:lnTo>
                  <a:lnTo>
                    <a:pt x="650" y="980"/>
                  </a:lnTo>
                  <a:lnTo>
                    <a:pt x="632" y="973"/>
                  </a:lnTo>
                  <a:lnTo>
                    <a:pt x="626" y="966"/>
                  </a:lnTo>
                  <a:lnTo>
                    <a:pt x="622" y="961"/>
                  </a:lnTo>
                  <a:lnTo>
                    <a:pt x="623" y="947"/>
                  </a:lnTo>
                  <a:lnTo>
                    <a:pt x="621" y="946"/>
                  </a:lnTo>
                  <a:lnTo>
                    <a:pt x="616" y="945"/>
                  </a:lnTo>
                  <a:lnTo>
                    <a:pt x="610" y="944"/>
                  </a:lnTo>
                  <a:lnTo>
                    <a:pt x="602" y="945"/>
                  </a:lnTo>
                  <a:lnTo>
                    <a:pt x="596" y="948"/>
                  </a:lnTo>
                  <a:lnTo>
                    <a:pt x="591" y="953"/>
                  </a:lnTo>
                  <a:lnTo>
                    <a:pt x="588" y="958"/>
                  </a:lnTo>
                  <a:lnTo>
                    <a:pt x="585" y="972"/>
                  </a:lnTo>
                  <a:lnTo>
                    <a:pt x="584" y="980"/>
                  </a:lnTo>
                  <a:lnTo>
                    <a:pt x="584" y="989"/>
                  </a:lnTo>
                  <a:lnTo>
                    <a:pt x="584" y="989"/>
                  </a:lnTo>
                  <a:lnTo>
                    <a:pt x="565" y="991"/>
                  </a:lnTo>
                  <a:lnTo>
                    <a:pt x="561" y="990"/>
                  </a:lnTo>
                  <a:lnTo>
                    <a:pt x="546" y="982"/>
                  </a:lnTo>
                  <a:lnTo>
                    <a:pt x="528" y="970"/>
                  </a:lnTo>
                  <a:lnTo>
                    <a:pt x="520" y="966"/>
                  </a:lnTo>
                  <a:lnTo>
                    <a:pt x="519" y="968"/>
                  </a:lnTo>
                  <a:lnTo>
                    <a:pt x="514" y="975"/>
                  </a:lnTo>
                  <a:lnTo>
                    <a:pt x="510" y="977"/>
                  </a:lnTo>
                  <a:lnTo>
                    <a:pt x="502" y="966"/>
                  </a:lnTo>
                  <a:lnTo>
                    <a:pt x="494" y="960"/>
                  </a:lnTo>
                  <a:lnTo>
                    <a:pt x="490" y="953"/>
                  </a:lnTo>
                  <a:lnTo>
                    <a:pt x="488" y="945"/>
                  </a:lnTo>
                  <a:lnTo>
                    <a:pt x="488" y="934"/>
                  </a:lnTo>
                  <a:lnTo>
                    <a:pt x="492" y="933"/>
                  </a:lnTo>
                  <a:lnTo>
                    <a:pt x="503" y="935"/>
                  </a:lnTo>
                  <a:lnTo>
                    <a:pt x="510" y="933"/>
                  </a:lnTo>
                  <a:lnTo>
                    <a:pt x="512" y="926"/>
                  </a:lnTo>
                  <a:lnTo>
                    <a:pt x="508" y="912"/>
                  </a:lnTo>
                  <a:lnTo>
                    <a:pt x="508" y="909"/>
                  </a:lnTo>
                  <a:lnTo>
                    <a:pt x="526" y="914"/>
                  </a:lnTo>
                  <a:lnTo>
                    <a:pt x="530" y="915"/>
                  </a:lnTo>
                  <a:lnTo>
                    <a:pt x="531" y="901"/>
                  </a:lnTo>
                  <a:lnTo>
                    <a:pt x="531" y="893"/>
                  </a:lnTo>
                  <a:lnTo>
                    <a:pt x="523" y="873"/>
                  </a:lnTo>
                  <a:lnTo>
                    <a:pt x="519" y="869"/>
                  </a:lnTo>
                  <a:lnTo>
                    <a:pt x="514" y="865"/>
                  </a:lnTo>
                  <a:lnTo>
                    <a:pt x="512" y="861"/>
                  </a:lnTo>
                  <a:lnTo>
                    <a:pt x="495" y="821"/>
                  </a:lnTo>
                  <a:lnTo>
                    <a:pt x="465" y="781"/>
                  </a:lnTo>
                  <a:lnTo>
                    <a:pt x="461" y="772"/>
                  </a:lnTo>
                  <a:lnTo>
                    <a:pt x="459" y="761"/>
                  </a:lnTo>
                  <a:lnTo>
                    <a:pt x="470" y="746"/>
                  </a:lnTo>
                  <a:lnTo>
                    <a:pt x="474" y="739"/>
                  </a:lnTo>
                  <a:lnTo>
                    <a:pt x="475" y="735"/>
                  </a:lnTo>
                  <a:lnTo>
                    <a:pt x="472" y="727"/>
                  </a:lnTo>
                  <a:lnTo>
                    <a:pt x="471" y="724"/>
                  </a:lnTo>
                  <a:lnTo>
                    <a:pt x="467" y="722"/>
                  </a:lnTo>
                  <a:lnTo>
                    <a:pt x="448" y="717"/>
                  </a:lnTo>
                  <a:lnTo>
                    <a:pt x="443" y="713"/>
                  </a:lnTo>
                  <a:lnTo>
                    <a:pt x="437" y="704"/>
                  </a:lnTo>
                  <a:lnTo>
                    <a:pt x="427" y="686"/>
                  </a:lnTo>
                  <a:lnTo>
                    <a:pt x="420" y="676"/>
                  </a:lnTo>
                  <a:lnTo>
                    <a:pt x="411" y="670"/>
                  </a:lnTo>
                  <a:lnTo>
                    <a:pt x="405" y="664"/>
                  </a:lnTo>
                  <a:lnTo>
                    <a:pt x="400" y="652"/>
                  </a:lnTo>
                  <a:lnTo>
                    <a:pt x="398" y="646"/>
                  </a:lnTo>
                  <a:lnTo>
                    <a:pt x="399" y="639"/>
                  </a:lnTo>
                  <a:lnTo>
                    <a:pt x="405" y="625"/>
                  </a:lnTo>
                  <a:lnTo>
                    <a:pt x="404" y="620"/>
                  </a:lnTo>
                  <a:lnTo>
                    <a:pt x="401" y="616"/>
                  </a:lnTo>
                  <a:lnTo>
                    <a:pt x="395" y="616"/>
                  </a:lnTo>
                  <a:lnTo>
                    <a:pt x="385" y="620"/>
                  </a:lnTo>
                  <a:lnTo>
                    <a:pt x="372" y="623"/>
                  </a:lnTo>
                  <a:lnTo>
                    <a:pt x="347" y="653"/>
                  </a:lnTo>
                  <a:lnTo>
                    <a:pt x="318" y="678"/>
                  </a:lnTo>
                  <a:lnTo>
                    <a:pt x="309" y="691"/>
                  </a:lnTo>
                  <a:lnTo>
                    <a:pt x="305" y="693"/>
                  </a:lnTo>
                  <a:lnTo>
                    <a:pt x="296" y="696"/>
                  </a:lnTo>
                  <a:lnTo>
                    <a:pt x="291" y="700"/>
                  </a:lnTo>
                  <a:lnTo>
                    <a:pt x="263" y="722"/>
                  </a:lnTo>
                  <a:lnTo>
                    <a:pt x="249" y="730"/>
                  </a:lnTo>
                  <a:lnTo>
                    <a:pt x="240" y="733"/>
                  </a:lnTo>
                  <a:lnTo>
                    <a:pt x="212" y="735"/>
                  </a:lnTo>
                  <a:lnTo>
                    <a:pt x="207" y="733"/>
                  </a:lnTo>
                  <a:lnTo>
                    <a:pt x="201" y="728"/>
                  </a:lnTo>
                  <a:lnTo>
                    <a:pt x="201" y="725"/>
                  </a:lnTo>
                  <a:lnTo>
                    <a:pt x="206" y="711"/>
                  </a:lnTo>
                  <a:lnTo>
                    <a:pt x="206" y="707"/>
                  </a:lnTo>
                  <a:lnTo>
                    <a:pt x="204" y="664"/>
                  </a:lnTo>
                  <a:lnTo>
                    <a:pt x="201" y="659"/>
                  </a:lnTo>
                  <a:lnTo>
                    <a:pt x="189" y="656"/>
                  </a:lnTo>
                  <a:lnTo>
                    <a:pt x="184" y="654"/>
                  </a:lnTo>
                  <a:lnTo>
                    <a:pt x="179" y="650"/>
                  </a:lnTo>
                  <a:lnTo>
                    <a:pt x="177" y="646"/>
                  </a:lnTo>
                  <a:lnTo>
                    <a:pt x="169" y="636"/>
                  </a:lnTo>
                  <a:lnTo>
                    <a:pt x="161" y="629"/>
                  </a:lnTo>
                  <a:lnTo>
                    <a:pt x="154" y="623"/>
                  </a:lnTo>
                  <a:lnTo>
                    <a:pt x="151" y="619"/>
                  </a:lnTo>
                  <a:lnTo>
                    <a:pt x="148" y="610"/>
                  </a:lnTo>
                  <a:lnTo>
                    <a:pt x="144" y="591"/>
                  </a:lnTo>
                  <a:lnTo>
                    <a:pt x="149" y="582"/>
                  </a:lnTo>
                  <a:lnTo>
                    <a:pt x="146" y="580"/>
                  </a:lnTo>
                  <a:lnTo>
                    <a:pt x="139" y="580"/>
                  </a:lnTo>
                  <a:lnTo>
                    <a:pt x="137" y="578"/>
                  </a:lnTo>
                  <a:lnTo>
                    <a:pt x="137" y="575"/>
                  </a:lnTo>
                  <a:lnTo>
                    <a:pt x="137" y="573"/>
                  </a:lnTo>
                  <a:lnTo>
                    <a:pt x="139" y="571"/>
                  </a:lnTo>
                  <a:lnTo>
                    <a:pt x="146" y="571"/>
                  </a:lnTo>
                  <a:lnTo>
                    <a:pt x="150" y="569"/>
                  </a:lnTo>
                  <a:lnTo>
                    <a:pt x="152" y="566"/>
                  </a:lnTo>
                  <a:lnTo>
                    <a:pt x="152" y="562"/>
                  </a:lnTo>
                  <a:lnTo>
                    <a:pt x="150" y="561"/>
                  </a:lnTo>
                  <a:lnTo>
                    <a:pt x="139" y="561"/>
                  </a:lnTo>
                  <a:lnTo>
                    <a:pt x="135" y="558"/>
                  </a:lnTo>
                  <a:lnTo>
                    <a:pt x="134" y="555"/>
                  </a:lnTo>
                  <a:lnTo>
                    <a:pt x="129" y="533"/>
                  </a:lnTo>
                  <a:lnTo>
                    <a:pt x="127" y="527"/>
                  </a:lnTo>
                  <a:lnTo>
                    <a:pt x="128" y="520"/>
                  </a:lnTo>
                  <a:lnTo>
                    <a:pt x="135" y="508"/>
                  </a:lnTo>
                  <a:lnTo>
                    <a:pt x="130" y="488"/>
                  </a:lnTo>
                  <a:lnTo>
                    <a:pt x="130" y="473"/>
                  </a:lnTo>
                  <a:lnTo>
                    <a:pt x="134" y="459"/>
                  </a:lnTo>
                  <a:lnTo>
                    <a:pt x="149" y="419"/>
                  </a:lnTo>
                  <a:lnTo>
                    <a:pt x="151" y="409"/>
                  </a:lnTo>
                  <a:lnTo>
                    <a:pt x="150" y="403"/>
                  </a:lnTo>
                  <a:lnTo>
                    <a:pt x="148" y="398"/>
                  </a:lnTo>
                  <a:lnTo>
                    <a:pt x="137" y="391"/>
                  </a:lnTo>
                  <a:lnTo>
                    <a:pt x="132" y="384"/>
                  </a:lnTo>
                  <a:lnTo>
                    <a:pt x="129" y="364"/>
                  </a:lnTo>
                  <a:lnTo>
                    <a:pt x="130" y="355"/>
                  </a:lnTo>
                  <a:lnTo>
                    <a:pt x="132" y="346"/>
                  </a:lnTo>
                  <a:lnTo>
                    <a:pt x="131" y="341"/>
                  </a:lnTo>
                  <a:lnTo>
                    <a:pt x="128" y="337"/>
                  </a:lnTo>
                  <a:lnTo>
                    <a:pt x="121" y="333"/>
                  </a:lnTo>
                  <a:lnTo>
                    <a:pt x="105" y="330"/>
                  </a:lnTo>
                  <a:lnTo>
                    <a:pt x="101" y="328"/>
                  </a:lnTo>
                  <a:lnTo>
                    <a:pt x="85" y="305"/>
                  </a:lnTo>
                  <a:lnTo>
                    <a:pt x="76" y="294"/>
                  </a:lnTo>
                  <a:lnTo>
                    <a:pt x="75" y="291"/>
                  </a:lnTo>
                  <a:lnTo>
                    <a:pt x="77" y="281"/>
                  </a:lnTo>
                  <a:lnTo>
                    <a:pt x="77" y="270"/>
                  </a:lnTo>
                  <a:lnTo>
                    <a:pt x="75" y="259"/>
                  </a:lnTo>
                  <a:lnTo>
                    <a:pt x="70" y="251"/>
                  </a:lnTo>
                  <a:lnTo>
                    <a:pt x="64" y="251"/>
                  </a:lnTo>
                  <a:lnTo>
                    <a:pt x="54" y="252"/>
                  </a:lnTo>
                  <a:lnTo>
                    <a:pt x="47" y="255"/>
                  </a:lnTo>
                  <a:lnTo>
                    <a:pt x="40" y="261"/>
                  </a:lnTo>
                  <a:lnTo>
                    <a:pt x="31" y="262"/>
                  </a:lnTo>
                  <a:lnTo>
                    <a:pt x="24" y="260"/>
                  </a:lnTo>
                  <a:lnTo>
                    <a:pt x="13" y="255"/>
                  </a:lnTo>
                  <a:lnTo>
                    <a:pt x="4" y="248"/>
                  </a:lnTo>
                  <a:lnTo>
                    <a:pt x="0" y="243"/>
                  </a:lnTo>
                  <a:lnTo>
                    <a:pt x="0" y="242"/>
                  </a:lnTo>
                  <a:lnTo>
                    <a:pt x="2" y="240"/>
                  </a:lnTo>
                  <a:lnTo>
                    <a:pt x="12" y="236"/>
                  </a:lnTo>
                  <a:lnTo>
                    <a:pt x="18" y="232"/>
                  </a:lnTo>
                  <a:lnTo>
                    <a:pt x="22" y="225"/>
                  </a:lnTo>
                  <a:lnTo>
                    <a:pt x="26" y="216"/>
                  </a:lnTo>
                  <a:lnTo>
                    <a:pt x="31" y="194"/>
                  </a:lnTo>
                  <a:lnTo>
                    <a:pt x="31" y="181"/>
                  </a:lnTo>
                  <a:lnTo>
                    <a:pt x="29" y="176"/>
                  </a:lnTo>
                  <a:lnTo>
                    <a:pt x="19" y="165"/>
                  </a:lnTo>
                  <a:lnTo>
                    <a:pt x="18" y="162"/>
                  </a:lnTo>
                  <a:lnTo>
                    <a:pt x="19" y="160"/>
                  </a:lnTo>
                  <a:lnTo>
                    <a:pt x="21" y="157"/>
                  </a:lnTo>
                  <a:lnTo>
                    <a:pt x="29" y="155"/>
                  </a:lnTo>
                  <a:lnTo>
                    <a:pt x="40" y="156"/>
                  </a:lnTo>
                  <a:lnTo>
                    <a:pt x="72" y="165"/>
                  </a:lnTo>
                  <a:lnTo>
                    <a:pt x="79" y="167"/>
                  </a:lnTo>
                  <a:lnTo>
                    <a:pt x="86" y="173"/>
                  </a:lnTo>
                  <a:lnTo>
                    <a:pt x="100" y="192"/>
                  </a:lnTo>
                  <a:lnTo>
                    <a:pt x="119" y="193"/>
                  </a:lnTo>
                  <a:lnTo>
                    <a:pt x="137" y="214"/>
                  </a:lnTo>
                  <a:lnTo>
                    <a:pt x="140" y="215"/>
                  </a:lnTo>
                  <a:lnTo>
                    <a:pt x="145" y="212"/>
                  </a:lnTo>
                  <a:lnTo>
                    <a:pt x="148" y="205"/>
                  </a:lnTo>
                  <a:lnTo>
                    <a:pt x="154" y="199"/>
                  </a:lnTo>
                  <a:lnTo>
                    <a:pt x="157" y="194"/>
                  </a:lnTo>
                  <a:lnTo>
                    <a:pt x="159" y="186"/>
                  </a:lnTo>
                  <a:lnTo>
                    <a:pt x="159" y="170"/>
                  </a:lnTo>
                  <a:lnTo>
                    <a:pt x="160" y="165"/>
                  </a:lnTo>
                  <a:lnTo>
                    <a:pt x="165" y="162"/>
                  </a:lnTo>
                  <a:lnTo>
                    <a:pt x="171" y="164"/>
                  </a:lnTo>
                  <a:lnTo>
                    <a:pt x="179" y="168"/>
                  </a:lnTo>
                  <a:lnTo>
                    <a:pt x="184" y="170"/>
                  </a:lnTo>
                  <a:lnTo>
                    <a:pt x="197" y="203"/>
                  </a:lnTo>
                  <a:lnTo>
                    <a:pt x="200" y="206"/>
                  </a:lnTo>
                  <a:lnTo>
                    <a:pt x="210" y="214"/>
                  </a:lnTo>
                  <a:lnTo>
                    <a:pt x="225" y="220"/>
                  </a:lnTo>
                  <a:lnTo>
                    <a:pt x="230" y="224"/>
                  </a:lnTo>
                  <a:lnTo>
                    <a:pt x="240" y="236"/>
                  </a:lnTo>
                  <a:lnTo>
                    <a:pt x="244" y="236"/>
                  </a:lnTo>
                  <a:lnTo>
                    <a:pt x="247" y="235"/>
                  </a:lnTo>
                  <a:lnTo>
                    <a:pt x="249" y="232"/>
                  </a:lnTo>
                  <a:lnTo>
                    <a:pt x="254" y="223"/>
                  </a:lnTo>
                  <a:lnTo>
                    <a:pt x="262" y="210"/>
                  </a:lnTo>
                  <a:lnTo>
                    <a:pt x="263" y="207"/>
                  </a:lnTo>
                  <a:lnTo>
                    <a:pt x="261" y="162"/>
                  </a:lnTo>
                  <a:lnTo>
                    <a:pt x="248" y="111"/>
                  </a:lnTo>
                  <a:lnTo>
                    <a:pt x="259" y="107"/>
                  </a:lnTo>
                  <a:lnTo>
                    <a:pt x="293" y="97"/>
                  </a:lnTo>
                  <a:lnTo>
                    <a:pt x="296" y="94"/>
                  </a:lnTo>
                  <a:lnTo>
                    <a:pt x="302" y="83"/>
                  </a:lnTo>
                  <a:lnTo>
                    <a:pt x="314" y="82"/>
                  </a:lnTo>
                  <a:lnTo>
                    <a:pt x="316" y="66"/>
                  </a:lnTo>
                  <a:lnTo>
                    <a:pt x="321" y="62"/>
                  </a:lnTo>
                  <a:lnTo>
                    <a:pt x="322" y="39"/>
                  </a:lnTo>
                  <a:lnTo>
                    <a:pt x="323" y="36"/>
                  </a:lnTo>
                  <a:lnTo>
                    <a:pt x="328" y="34"/>
                  </a:lnTo>
                  <a:lnTo>
                    <a:pt x="328" y="34"/>
                  </a:lnTo>
                  <a:lnTo>
                    <a:pt x="328" y="34"/>
                  </a:lnTo>
                  <a:lnTo>
                    <a:pt x="328" y="34"/>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2" name="甘肃">
              <a:extLst>
                <a:ext uri="{FF2B5EF4-FFF2-40B4-BE49-F238E27FC236}">
                  <a16:creationId xmlns:a16="http://schemas.microsoft.com/office/drawing/2014/main" id="{CC5FA508-E961-B227-C670-473954C14D40}"/>
                </a:ext>
              </a:extLst>
            </p:cNvPr>
            <p:cNvSpPr>
              <a:spLocks/>
            </p:cNvSpPr>
            <p:nvPr/>
          </p:nvSpPr>
          <p:spPr bwMode="auto">
            <a:xfrm>
              <a:off x="3997326" y="2139952"/>
              <a:ext cx="2187575" cy="1916113"/>
            </a:xfrm>
            <a:custGeom>
              <a:avLst/>
              <a:gdLst>
                <a:gd name="T0" fmla="*/ 422 w 4134"/>
                <a:gd name="T1" fmla="*/ 600 h 3623"/>
                <a:gd name="T2" fmla="*/ 875 w 4134"/>
                <a:gd name="T3" fmla="*/ 338 h 3623"/>
                <a:gd name="T4" fmla="*/ 1088 w 4134"/>
                <a:gd name="T5" fmla="*/ 56 h 3623"/>
                <a:gd name="T6" fmla="*/ 1578 w 4134"/>
                <a:gd name="T7" fmla="*/ 666 h 3623"/>
                <a:gd name="T8" fmla="*/ 1748 w 4134"/>
                <a:gd name="T9" fmla="*/ 754 h 3623"/>
                <a:gd name="T10" fmla="*/ 2029 w 4134"/>
                <a:gd name="T11" fmla="*/ 833 h 3623"/>
                <a:gd name="T12" fmla="*/ 2023 w 4134"/>
                <a:gd name="T13" fmla="*/ 1150 h 3623"/>
                <a:gd name="T14" fmla="*/ 2167 w 4134"/>
                <a:gd name="T15" fmla="*/ 1395 h 3623"/>
                <a:gd name="T16" fmla="*/ 2365 w 4134"/>
                <a:gd name="T17" fmla="*/ 1516 h 3623"/>
                <a:gd name="T18" fmla="*/ 2761 w 4134"/>
                <a:gd name="T19" fmla="*/ 1334 h 3623"/>
                <a:gd name="T20" fmla="*/ 2780 w 4134"/>
                <a:gd name="T21" fmla="*/ 1635 h 3623"/>
                <a:gd name="T22" fmla="*/ 3017 w 4134"/>
                <a:gd name="T23" fmla="*/ 1989 h 3623"/>
                <a:gd name="T24" fmla="*/ 3199 w 4134"/>
                <a:gd name="T25" fmla="*/ 2128 h 3623"/>
                <a:gd name="T26" fmla="*/ 3260 w 4134"/>
                <a:gd name="T27" fmla="*/ 2353 h 3623"/>
                <a:gd name="T28" fmla="*/ 3259 w 4134"/>
                <a:gd name="T29" fmla="*/ 2561 h 3623"/>
                <a:gd name="T30" fmla="*/ 3339 w 4134"/>
                <a:gd name="T31" fmla="*/ 2595 h 3623"/>
                <a:gd name="T32" fmla="*/ 3409 w 4134"/>
                <a:gd name="T33" fmla="*/ 2661 h 3623"/>
                <a:gd name="T34" fmla="*/ 3539 w 4134"/>
                <a:gd name="T35" fmla="*/ 2669 h 3623"/>
                <a:gd name="T36" fmla="*/ 3650 w 4134"/>
                <a:gd name="T37" fmla="*/ 2563 h 3623"/>
                <a:gd name="T38" fmla="*/ 3622 w 4134"/>
                <a:gd name="T39" fmla="*/ 2417 h 3623"/>
                <a:gd name="T40" fmla="*/ 3521 w 4134"/>
                <a:gd name="T41" fmla="*/ 2313 h 3623"/>
                <a:gd name="T42" fmla="*/ 3595 w 4134"/>
                <a:gd name="T43" fmla="*/ 2148 h 3623"/>
                <a:gd name="T44" fmla="*/ 3754 w 4134"/>
                <a:gd name="T45" fmla="*/ 2120 h 3623"/>
                <a:gd name="T46" fmla="*/ 3982 w 4134"/>
                <a:gd name="T47" fmla="*/ 2308 h 3623"/>
                <a:gd name="T48" fmla="*/ 4122 w 4134"/>
                <a:gd name="T49" fmla="*/ 2402 h 3623"/>
                <a:gd name="T50" fmla="*/ 3989 w 4134"/>
                <a:gd name="T51" fmla="*/ 2734 h 3623"/>
                <a:gd name="T52" fmla="*/ 3899 w 4134"/>
                <a:gd name="T53" fmla="*/ 2839 h 3623"/>
                <a:gd name="T54" fmla="*/ 3599 w 4134"/>
                <a:gd name="T55" fmla="*/ 2795 h 3623"/>
                <a:gd name="T56" fmla="*/ 3480 w 4134"/>
                <a:gd name="T57" fmla="*/ 2963 h 3623"/>
                <a:gd name="T58" fmla="*/ 3532 w 4134"/>
                <a:gd name="T59" fmla="*/ 3088 h 3623"/>
                <a:gd name="T60" fmla="*/ 3522 w 4134"/>
                <a:gd name="T61" fmla="*/ 3305 h 3623"/>
                <a:gd name="T62" fmla="*/ 3345 w 4134"/>
                <a:gd name="T63" fmla="*/ 3315 h 3623"/>
                <a:gd name="T64" fmla="*/ 3359 w 4134"/>
                <a:gd name="T65" fmla="*/ 3446 h 3623"/>
                <a:gd name="T66" fmla="*/ 3145 w 4134"/>
                <a:gd name="T67" fmla="*/ 3605 h 3623"/>
                <a:gd name="T68" fmla="*/ 2918 w 4134"/>
                <a:gd name="T69" fmla="*/ 3490 h 3623"/>
                <a:gd name="T70" fmla="*/ 2886 w 4134"/>
                <a:gd name="T71" fmla="*/ 3318 h 3623"/>
                <a:gd name="T72" fmla="*/ 2654 w 4134"/>
                <a:gd name="T73" fmla="*/ 3203 h 3623"/>
                <a:gd name="T74" fmla="*/ 2569 w 4134"/>
                <a:gd name="T75" fmla="*/ 3037 h 3623"/>
                <a:gd name="T76" fmla="*/ 2457 w 4134"/>
                <a:gd name="T77" fmla="*/ 3076 h 3623"/>
                <a:gd name="T78" fmla="*/ 2368 w 4134"/>
                <a:gd name="T79" fmla="*/ 3177 h 3623"/>
                <a:gd name="T80" fmla="*/ 2303 w 4134"/>
                <a:gd name="T81" fmla="*/ 3345 h 3623"/>
                <a:gd name="T82" fmla="*/ 2258 w 4134"/>
                <a:gd name="T83" fmla="*/ 3247 h 3623"/>
                <a:gd name="T84" fmla="*/ 2106 w 4134"/>
                <a:gd name="T85" fmla="*/ 3204 h 3623"/>
                <a:gd name="T86" fmla="*/ 1980 w 4134"/>
                <a:gd name="T87" fmla="*/ 2979 h 3623"/>
                <a:gd name="T88" fmla="*/ 2284 w 4134"/>
                <a:gd name="T89" fmla="*/ 3058 h 3623"/>
                <a:gd name="T90" fmla="*/ 2308 w 4134"/>
                <a:gd name="T91" fmla="*/ 2911 h 3623"/>
                <a:gd name="T92" fmla="*/ 2427 w 4134"/>
                <a:gd name="T93" fmla="*/ 2685 h 3623"/>
                <a:gd name="T94" fmla="*/ 2538 w 4134"/>
                <a:gd name="T95" fmla="*/ 2611 h 3623"/>
                <a:gd name="T96" fmla="*/ 2585 w 4134"/>
                <a:gd name="T97" fmla="*/ 2408 h 3623"/>
                <a:gd name="T98" fmla="*/ 2533 w 4134"/>
                <a:gd name="T99" fmla="*/ 2188 h 3623"/>
                <a:gd name="T100" fmla="*/ 2429 w 4134"/>
                <a:gd name="T101" fmla="*/ 1936 h 3623"/>
                <a:gd name="T102" fmla="*/ 2268 w 4134"/>
                <a:gd name="T103" fmla="*/ 1779 h 3623"/>
                <a:gd name="T104" fmla="*/ 2088 w 4134"/>
                <a:gd name="T105" fmla="*/ 1637 h 3623"/>
                <a:gd name="T106" fmla="*/ 1937 w 4134"/>
                <a:gd name="T107" fmla="*/ 1596 h 3623"/>
                <a:gd name="T108" fmla="*/ 1693 w 4134"/>
                <a:gd name="T109" fmla="*/ 1357 h 3623"/>
                <a:gd name="T110" fmla="*/ 1483 w 4134"/>
                <a:gd name="T111" fmla="*/ 1325 h 3623"/>
                <a:gd name="T112" fmla="*/ 1166 w 4134"/>
                <a:gd name="T113" fmla="*/ 1218 h 3623"/>
                <a:gd name="T114" fmla="*/ 1073 w 4134"/>
                <a:gd name="T115" fmla="*/ 1423 h 3623"/>
                <a:gd name="T116" fmla="*/ 867 w 4134"/>
                <a:gd name="T117" fmla="*/ 1493 h 3623"/>
                <a:gd name="T118" fmla="*/ 634 w 4134"/>
                <a:gd name="T119" fmla="*/ 1399 h 3623"/>
                <a:gd name="T120" fmla="*/ 357 w 4134"/>
                <a:gd name="T121" fmla="*/ 1217 h 3623"/>
                <a:gd name="T122" fmla="*/ 166 w 4134"/>
                <a:gd name="T123" fmla="*/ 1070 h 3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4" h="3623">
                  <a:moveTo>
                    <a:pt x="2" y="1086"/>
                  </a:moveTo>
                  <a:lnTo>
                    <a:pt x="0" y="1044"/>
                  </a:lnTo>
                  <a:lnTo>
                    <a:pt x="2" y="1036"/>
                  </a:lnTo>
                  <a:lnTo>
                    <a:pt x="4" y="1030"/>
                  </a:lnTo>
                  <a:lnTo>
                    <a:pt x="7" y="1023"/>
                  </a:lnTo>
                  <a:lnTo>
                    <a:pt x="13" y="1018"/>
                  </a:lnTo>
                  <a:lnTo>
                    <a:pt x="44" y="994"/>
                  </a:lnTo>
                  <a:lnTo>
                    <a:pt x="58" y="981"/>
                  </a:lnTo>
                  <a:lnTo>
                    <a:pt x="69" y="967"/>
                  </a:lnTo>
                  <a:lnTo>
                    <a:pt x="82" y="945"/>
                  </a:lnTo>
                  <a:lnTo>
                    <a:pt x="98" y="913"/>
                  </a:lnTo>
                  <a:lnTo>
                    <a:pt x="113" y="872"/>
                  </a:lnTo>
                  <a:lnTo>
                    <a:pt x="124" y="834"/>
                  </a:lnTo>
                  <a:lnTo>
                    <a:pt x="144" y="760"/>
                  </a:lnTo>
                  <a:lnTo>
                    <a:pt x="156" y="727"/>
                  </a:lnTo>
                  <a:lnTo>
                    <a:pt x="164" y="714"/>
                  </a:lnTo>
                  <a:lnTo>
                    <a:pt x="188" y="693"/>
                  </a:lnTo>
                  <a:lnTo>
                    <a:pt x="201" y="679"/>
                  </a:lnTo>
                  <a:lnTo>
                    <a:pt x="208" y="649"/>
                  </a:lnTo>
                  <a:lnTo>
                    <a:pt x="216" y="625"/>
                  </a:lnTo>
                  <a:lnTo>
                    <a:pt x="226" y="604"/>
                  </a:lnTo>
                  <a:lnTo>
                    <a:pt x="234" y="594"/>
                  </a:lnTo>
                  <a:lnTo>
                    <a:pt x="240" y="591"/>
                  </a:lnTo>
                  <a:lnTo>
                    <a:pt x="244" y="590"/>
                  </a:lnTo>
                  <a:lnTo>
                    <a:pt x="354" y="591"/>
                  </a:lnTo>
                  <a:lnTo>
                    <a:pt x="376" y="592"/>
                  </a:lnTo>
                  <a:lnTo>
                    <a:pt x="422" y="600"/>
                  </a:lnTo>
                  <a:lnTo>
                    <a:pt x="429" y="601"/>
                  </a:lnTo>
                  <a:lnTo>
                    <a:pt x="432" y="600"/>
                  </a:lnTo>
                  <a:lnTo>
                    <a:pt x="438" y="594"/>
                  </a:lnTo>
                  <a:lnTo>
                    <a:pt x="446" y="577"/>
                  </a:lnTo>
                  <a:lnTo>
                    <a:pt x="454" y="557"/>
                  </a:lnTo>
                  <a:lnTo>
                    <a:pt x="463" y="528"/>
                  </a:lnTo>
                  <a:lnTo>
                    <a:pt x="471" y="517"/>
                  </a:lnTo>
                  <a:lnTo>
                    <a:pt x="479" y="507"/>
                  </a:lnTo>
                  <a:lnTo>
                    <a:pt x="511" y="475"/>
                  </a:lnTo>
                  <a:lnTo>
                    <a:pt x="542" y="447"/>
                  </a:lnTo>
                  <a:lnTo>
                    <a:pt x="599" y="401"/>
                  </a:lnTo>
                  <a:lnTo>
                    <a:pt x="645" y="367"/>
                  </a:lnTo>
                  <a:lnTo>
                    <a:pt x="671" y="359"/>
                  </a:lnTo>
                  <a:lnTo>
                    <a:pt x="712" y="351"/>
                  </a:lnTo>
                  <a:lnTo>
                    <a:pt x="719" y="349"/>
                  </a:lnTo>
                  <a:lnTo>
                    <a:pt x="728" y="342"/>
                  </a:lnTo>
                  <a:lnTo>
                    <a:pt x="761" y="307"/>
                  </a:lnTo>
                  <a:lnTo>
                    <a:pt x="772" y="302"/>
                  </a:lnTo>
                  <a:lnTo>
                    <a:pt x="788" y="297"/>
                  </a:lnTo>
                  <a:lnTo>
                    <a:pt x="826" y="288"/>
                  </a:lnTo>
                  <a:lnTo>
                    <a:pt x="834" y="288"/>
                  </a:lnTo>
                  <a:lnTo>
                    <a:pt x="838" y="294"/>
                  </a:lnTo>
                  <a:lnTo>
                    <a:pt x="850" y="339"/>
                  </a:lnTo>
                  <a:lnTo>
                    <a:pt x="855" y="349"/>
                  </a:lnTo>
                  <a:lnTo>
                    <a:pt x="858" y="350"/>
                  </a:lnTo>
                  <a:lnTo>
                    <a:pt x="864" y="347"/>
                  </a:lnTo>
                  <a:lnTo>
                    <a:pt x="875" y="338"/>
                  </a:lnTo>
                  <a:lnTo>
                    <a:pt x="928" y="293"/>
                  </a:lnTo>
                  <a:lnTo>
                    <a:pt x="943" y="282"/>
                  </a:lnTo>
                  <a:lnTo>
                    <a:pt x="951" y="277"/>
                  </a:lnTo>
                  <a:lnTo>
                    <a:pt x="958" y="276"/>
                  </a:lnTo>
                  <a:lnTo>
                    <a:pt x="1012" y="278"/>
                  </a:lnTo>
                  <a:lnTo>
                    <a:pt x="1042" y="273"/>
                  </a:lnTo>
                  <a:lnTo>
                    <a:pt x="1054" y="266"/>
                  </a:lnTo>
                  <a:lnTo>
                    <a:pt x="1077" y="249"/>
                  </a:lnTo>
                  <a:lnTo>
                    <a:pt x="1086" y="242"/>
                  </a:lnTo>
                  <a:lnTo>
                    <a:pt x="1090" y="234"/>
                  </a:lnTo>
                  <a:lnTo>
                    <a:pt x="1092" y="231"/>
                  </a:lnTo>
                  <a:lnTo>
                    <a:pt x="1092" y="225"/>
                  </a:lnTo>
                  <a:lnTo>
                    <a:pt x="1090" y="199"/>
                  </a:lnTo>
                  <a:lnTo>
                    <a:pt x="1091" y="194"/>
                  </a:lnTo>
                  <a:lnTo>
                    <a:pt x="1102" y="174"/>
                  </a:lnTo>
                  <a:lnTo>
                    <a:pt x="1104" y="167"/>
                  </a:lnTo>
                  <a:lnTo>
                    <a:pt x="1104" y="158"/>
                  </a:lnTo>
                  <a:lnTo>
                    <a:pt x="1103" y="155"/>
                  </a:lnTo>
                  <a:lnTo>
                    <a:pt x="1092" y="138"/>
                  </a:lnTo>
                  <a:lnTo>
                    <a:pt x="1090" y="131"/>
                  </a:lnTo>
                  <a:lnTo>
                    <a:pt x="1088" y="107"/>
                  </a:lnTo>
                  <a:lnTo>
                    <a:pt x="1087" y="102"/>
                  </a:lnTo>
                  <a:lnTo>
                    <a:pt x="1084" y="97"/>
                  </a:lnTo>
                  <a:lnTo>
                    <a:pt x="1076" y="90"/>
                  </a:lnTo>
                  <a:lnTo>
                    <a:pt x="1075" y="85"/>
                  </a:lnTo>
                  <a:lnTo>
                    <a:pt x="1077" y="77"/>
                  </a:lnTo>
                  <a:lnTo>
                    <a:pt x="1088" y="56"/>
                  </a:lnTo>
                  <a:lnTo>
                    <a:pt x="1090" y="49"/>
                  </a:lnTo>
                  <a:lnTo>
                    <a:pt x="1098" y="41"/>
                  </a:lnTo>
                  <a:lnTo>
                    <a:pt x="1113" y="32"/>
                  </a:lnTo>
                  <a:lnTo>
                    <a:pt x="1141" y="18"/>
                  </a:lnTo>
                  <a:lnTo>
                    <a:pt x="1182" y="0"/>
                  </a:lnTo>
                  <a:lnTo>
                    <a:pt x="1182" y="0"/>
                  </a:lnTo>
                  <a:lnTo>
                    <a:pt x="1192" y="6"/>
                  </a:lnTo>
                  <a:lnTo>
                    <a:pt x="1202" y="7"/>
                  </a:lnTo>
                  <a:lnTo>
                    <a:pt x="1212" y="6"/>
                  </a:lnTo>
                  <a:lnTo>
                    <a:pt x="1231" y="1"/>
                  </a:lnTo>
                  <a:lnTo>
                    <a:pt x="1279" y="2"/>
                  </a:lnTo>
                  <a:lnTo>
                    <a:pt x="1323" y="8"/>
                  </a:lnTo>
                  <a:lnTo>
                    <a:pt x="1362" y="2"/>
                  </a:lnTo>
                  <a:lnTo>
                    <a:pt x="1362" y="2"/>
                  </a:lnTo>
                  <a:lnTo>
                    <a:pt x="1487" y="390"/>
                  </a:lnTo>
                  <a:lnTo>
                    <a:pt x="1483" y="394"/>
                  </a:lnTo>
                  <a:lnTo>
                    <a:pt x="1397" y="448"/>
                  </a:lnTo>
                  <a:lnTo>
                    <a:pt x="1393" y="457"/>
                  </a:lnTo>
                  <a:lnTo>
                    <a:pt x="1393" y="462"/>
                  </a:lnTo>
                  <a:lnTo>
                    <a:pt x="1397" y="471"/>
                  </a:lnTo>
                  <a:lnTo>
                    <a:pt x="1410" y="487"/>
                  </a:lnTo>
                  <a:lnTo>
                    <a:pt x="1451" y="535"/>
                  </a:lnTo>
                  <a:lnTo>
                    <a:pt x="1485" y="571"/>
                  </a:lnTo>
                  <a:lnTo>
                    <a:pt x="1553" y="639"/>
                  </a:lnTo>
                  <a:lnTo>
                    <a:pt x="1574" y="658"/>
                  </a:lnTo>
                  <a:lnTo>
                    <a:pt x="1577" y="662"/>
                  </a:lnTo>
                  <a:lnTo>
                    <a:pt x="1578" y="666"/>
                  </a:lnTo>
                  <a:lnTo>
                    <a:pt x="1578" y="677"/>
                  </a:lnTo>
                  <a:lnTo>
                    <a:pt x="1573" y="771"/>
                  </a:lnTo>
                  <a:lnTo>
                    <a:pt x="1574" y="787"/>
                  </a:lnTo>
                  <a:lnTo>
                    <a:pt x="1576" y="787"/>
                  </a:lnTo>
                  <a:lnTo>
                    <a:pt x="1581" y="786"/>
                  </a:lnTo>
                  <a:lnTo>
                    <a:pt x="1642" y="759"/>
                  </a:lnTo>
                  <a:lnTo>
                    <a:pt x="1639" y="752"/>
                  </a:lnTo>
                  <a:lnTo>
                    <a:pt x="1627" y="737"/>
                  </a:lnTo>
                  <a:lnTo>
                    <a:pt x="1625" y="732"/>
                  </a:lnTo>
                  <a:lnTo>
                    <a:pt x="1626" y="728"/>
                  </a:lnTo>
                  <a:lnTo>
                    <a:pt x="1627" y="727"/>
                  </a:lnTo>
                  <a:lnTo>
                    <a:pt x="1644" y="723"/>
                  </a:lnTo>
                  <a:lnTo>
                    <a:pt x="1647" y="724"/>
                  </a:lnTo>
                  <a:lnTo>
                    <a:pt x="1650" y="727"/>
                  </a:lnTo>
                  <a:lnTo>
                    <a:pt x="1663" y="752"/>
                  </a:lnTo>
                  <a:lnTo>
                    <a:pt x="1673" y="770"/>
                  </a:lnTo>
                  <a:lnTo>
                    <a:pt x="1679" y="776"/>
                  </a:lnTo>
                  <a:lnTo>
                    <a:pt x="1681" y="769"/>
                  </a:lnTo>
                  <a:lnTo>
                    <a:pt x="1687" y="738"/>
                  </a:lnTo>
                  <a:lnTo>
                    <a:pt x="1692" y="734"/>
                  </a:lnTo>
                  <a:lnTo>
                    <a:pt x="1703" y="731"/>
                  </a:lnTo>
                  <a:lnTo>
                    <a:pt x="1729" y="724"/>
                  </a:lnTo>
                  <a:lnTo>
                    <a:pt x="1737" y="723"/>
                  </a:lnTo>
                  <a:lnTo>
                    <a:pt x="1740" y="723"/>
                  </a:lnTo>
                  <a:lnTo>
                    <a:pt x="1741" y="725"/>
                  </a:lnTo>
                  <a:lnTo>
                    <a:pt x="1745" y="747"/>
                  </a:lnTo>
                  <a:lnTo>
                    <a:pt x="1748" y="754"/>
                  </a:lnTo>
                  <a:lnTo>
                    <a:pt x="1770" y="760"/>
                  </a:lnTo>
                  <a:lnTo>
                    <a:pt x="1775" y="749"/>
                  </a:lnTo>
                  <a:lnTo>
                    <a:pt x="1779" y="743"/>
                  </a:lnTo>
                  <a:lnTo>
                    <a:pt x="1781" y="742"/>
                  </a:lnTo>
                  <a:lnTo>
                    <a:pt x="1786" y="742"/>
                  </a:lnTo>
                  <a:lnTo>
                    <a:pt x="1787" y="741"/>
                  </a:lnTo>
                  <a:lnTo>
                    <a:pt x="1790" y="710"/>
                  </a:lnTo>
                  <a:lnTo>
                    <a:pt x="1798" y="710"/>
                  </a:lnTo>
                  <a:lnTo>
                    <a:pt x="1866" y="719"/>
                  </a:lnTo>
                  <a:lnTo>
                    <a:pt x="1872" y="720"/>
                  </a:lnTo>
                  <a:lnTo>
                    <a:pt x="1879" y="719"/>
                  </a:lnTo>
                  <a:lnTo>
                    <a:pt x="1885" y="716"/>
                  </a:lnTo>
                  <a:lnTo>
                    <a:pt x="1905" y="701"/>
                  </a:lnTo>
                  <a:lnTo>
                    <a:pt x="1915" y="698"/>
                  </a:lnTo>
                  <a:lnTo>
                    <a:pt x="1942" y="705"/>
                  </a:lnTo>
                  <a:lnTo>
                    <a:pt x="1972" y="709"/>
                  </a:lnTo>
                  <a:lnTo>
                    <a:pt x="1991" y="715"/>
                  </a:lnTo>
                  <a:lnTo>
                    <a:pt x="2000" y="720"/>
                  </a:lnTo>
                  <a:lnTo>
                    <a:pt x="2007" y="726"/>
                  </a:lnTo>
                  <a:lnTo>
                    <a:pt x="2012" y="733"/>
                  </a:lnTo>
                  <a:lnTo>
                    <a:pt x="2021" y="746"/>
                  </a:lnTo>
                  <a:lnTo>
                    <a:pt x="2030" y="765"/>
                  </a:lnTo>
                  <a:lnTo>
                    <a:pt x="2033" y="777"/>
                  </a:lnTo>
                  <a:lnTo>
                    <a:pt x="2035" y="801"/>
                  </a:lnTo>
                  <a:lnTo>
                    <a:pt x="2034" y="820"/>
                  </a:lnTo>
                  <a:lnTo>
                    <a:pt x="2032" y="827"/>
                  </a:lnTo>
                  <a:lnTo>
                    <a:pt x="2029" y="833"/>
                  </a:lnTo>
                  <a:lnTo>
                    <a:pt x="2018" y="842"/>
                  </a:lnTo>
                  <a:lnTo>
                    <a:pt x="1998" y="859"/>
                  </a:lnTo>
                  <a:lnTo>
                    <a:pt x="1997" y="861"/>
                  </a:lnTo>
                  <a:lnTo>
                    <a:pt x="1993" y="873"/>
                  </a:lnTo>
                  <a:lnTo>
                    <a:pt x="1991" y="887"/>
                  </a:lnTo>
                  <a:lnTo>
                    <a:pt x="1986" y="930"/>
                  </a:lnTo>
                  <a:lnTo>
                    <a:pt x="1985" y="934"/>
                  </a:lnTo>
                  <a:lnTo>
                    <a:pt x="1966" y="959"/>
                  </a:lnTo>
                  <a:lnTo>
                    <a:pt x="1935" y="1000"/>
                  </a:lnTo>
                  <a:lnTo>
                    <a:pt x="1908" y="1008"/>
                  </a:lnTo>
                  <a:lnTo>
                    <a:pt x="1884" y="1020"/>
                  </a:lnTo>
                  <a:lnTo>
                    <a:pt x="1873" y="1025"/>
                  </a:lnTo>
                  <a:lnTo>
                    <a:pt x="1846" y="1043"/>
                  </a:lnTo>
                  <a:lnTo>
                    <a:pt x="1827" y="1041"/>
                  </a:lnTo>
                  <a:lnTo>
                    <a:pt x="1822" y="1049"/>
                  </a:lnTo>
                  <a:lnTo>
                    <a:pt x="1824" y="1050"/>
                  </a:lnTo>
                  <a:lnTo>
                    <a:pt x="1829" y="1051"/>
                  </a:lnTo>
                  <a:lnTo>
                    <a:pt x="1874" y="1054"/>
                  </a:lnTo>
                  <a:lnTo>
                    <a:pt x="1886" y="1057"/>
                  </a:lnTo>
                  <a:lnTo>
                    <a:pt x="1897" y="1062"/>
                  </a:lnTo>
                  <a:lnTo>
                    <a:pt x="1908" y="1070"/>
                  </a:lnTo>
                  <a:lnTo>
                    <a:pt x="1943" y="1101"/>
                  </a:lnTo>
                  <a:lnTo>
                    <a:pt x="1961" y="1113"/>
                  </a:lnTo>
                  <a:lnTo>
                    <a:pt x="1978" y="1120"/>
                  </a:lnTo>
                  <a:lnTo>
                    <a:pt x="2011" y="1128"/>
                  </a:lnTo>
                  <a:lnTo>
                    <a:pt x="2020" y="1141"/>
                  </a:lnTo>
                  <a:lnTo>
                    <a:pt x="2023" y="1150"/>
                  </a:lnTo>
                  <a:lnTo>
                    <a:pt x="2024" y="1158"/>
                  </a:lnTo>
                  <a:lnTo>
                    <a:pt x="2021" y="1175"/>
                  </a:lnTo>
                  <a:lnTo>
                    <a:pt x="2021" y="1178"/>
                  </a:lnTo>
                  <a:lnTo>
                    <a:pt x="2023" y="1182"/>
                  </a:lnTo>
                  <a:lnTo>
                    <a:pt x="2030" y="1193"/>
                  </a:lnTo>
                  <a:lnTo>
                    <a:pt x="2034" y="1197"/>
                  </a:lnTo>
                  <a:lnTo>
                    <a:pt x="2069" y="1212"/>
                  </a:lnTo>
                  <a:lnTo>
                    <a:pt x="2072" y="1233"/>
                  </a:lnTo>
                  <a:lnTo>
                    <a:pt x="2079" y="1236"/>
                  </a:lnTo>
                  <a:lnTo>
                    <a:pt x="2093" y="1239"/>
                  </a:lnTo>
                  <a:lnTo>
                    <a:pt x="2141" y="1246"/>
                  </a:lnTo>
                  <a:lnTo>
                    <a:pt x="2148" y="1247"/>
                  </a:lnTo>
                  <a:lnTo>
                    <a:pt x="2152" y="1254"/>
                  </a:lnTo>
                  <a:lnTo>
                    <a:pt x="2144" y="1304"/>
                  </a:lnTo>
                  <a:lnTo>
                    <a:pt x="2143" y="1336"/>
                  </a:lnTo>
                  <a:lnTo>
                    <a:pt x="2142" y="1344"/>
                  </a:lnTo>
                  <a:lnTo>
                    <a:pt x="2136" y="1353"/>
                  </a:lnTo>
                  <a:lnTo>
                    <a:pt x="2135" y="1360"/>
                  </a:lnTo>
                  <a:lnTo>
                    <a:pt x="2135" y="1373"/>
                  </a:lnTo>
                  <a:lnTo>
                    <a:pt x="2138" y="1378"/>
                  </a:lnTo>
                  <a:lnTo>
                    <a:pt x="2140" y="1378"/>
                  </a:lnTo>
                  <a:lnTo>
                    <a:pt x="2142" y="1378"/>
                  </a:lnTo>
                  <a:lnTo>
                    <a:pt x="2154" y="1367"/>
                  </a:lnTo>
                  <a:lnTo>
                    <a:pt x="2165" y="1372"/>
                  </a:lnTo>
                  <a:lnTo>
                    <a:pt x="2167" y="1374"/>
                  </a:lnTo>
                  <a:lnTo>
                    <a:pt x="2167" y="1376"/>
                  </a:lnTo>
                  <a:lnTo>
                    <a:pt x="2167" y="1395"/>
                  </a:lnTo>
                  <a:lnTo>
                    <a:pt x="2169" y="1397"/>
                  </a:lnTo>
                  <a:lnTo>
                    <a:pt x="2171" y="1398"/>
                  </a:lnTo>
                  <a:lnTo>
                    <a:pt x="2182" y="1395"/>
                  </a:lnTo>
                  <a:lnTo>
                    <a:pt x="2223" y="1381"/>
                  </a:lnTo>
                  <a:lnTo>
                    <a:pt x="2229" y="1380"/>
                  </a:lnTo>
                  <a:lnTo>
                    <a:pt x="2234" y="1381"/>
                  </a:lnTo>
                  <a:lnTo>
                    <a:pt x="2233" y="1384"/>
                  </a:lnTo>
                  <a:lnTo>
                    <a:pt x="2227" y="1396"/>
                  </a:lnTo>
                  <a:lnTo>
                    <a:pt x="2227" y="1399"/>
                  </a:lnTo>
                  <a:lnTo>
                    <a:pt x="2228" y="1402"/>
                  </a:lnTo>
                  <a:lnTo>
                    <a:pt x="2236" y="1413"/>
                  </a:lnTo>
                  <a:lnTo>
                    <a:pt x="2240" y="1429"/>
                  </a:lnTo>
                  <a:lnTo>
                    <a:pt x="2244" y="1435"/>
                  </a:lnTo>
                  <a:lnTo>
                    <a:pt x="2261" y="1446"/>
                  </a:lnTo>
                  <a:lnTo>
                    <a:pt x="2259" y="1454"/>
                  </a:lnTo>
                  <a:lnTo>
                    <a:pt x="2254" y="1465"/>
                  </a:lnTo>
                  <a:lnTo>
                    <a:pt x="2255" y="1469"/>
                  </a:lnTo>
                  <a:lnTo>
                    <a:pt x="2278" y="1472"/>
                  </a:lnTo>
                  <a:lnTo>
                    <a:pt x="2286" y="1485"/>
                  </a:lnTo>
                  <a:lnTo>
                    <a:pt x="2310" y="1497"/>
                  </a:lnTo>
                  <a:lnTo>
                    <a:pt x="2313" y="1500"/>
                  </a:lnTo>
                  <a:lnTo>
                    <a:pt x="2315" y="1504"/>
                  </a:lnTo>
                  <a:lnTo>
                    <a:pt x="2317" y="1506"/>
                  </a:lnTo>
                  <a:lnTo>
                    <a:pt x="2322" y="1507"/>
                  </a:lnTo>
                  <a:lnTo>
                    <a:pt x="2337" y="1506"/>
                  </a:lnTo>
                  <a:lnTo>
                    <a:pt x="2357" y="1515"/>
                  </a:lnTo>
                  <a:lnTo>
                    <a:pt x="2365" y="1516"/>
                  </a:lnTo>
                  <a:lnTo>
                    <a:pt x="2367" y="1515"/>
                  </a:lnTo>
                  <a:lnTo>
                    <a:pt x="2370" y="1510"/>
                  </a:lnTo>
                  <a:lnTo>
                    <a:pt x="2387" y="1483"/>
                  </a:lnTo>
                  <a:lnTo>
                    <a:pt x="2393" y="1474"/>
                  </a:lnTo>
                  <a:lnTo>
                    <a:pt x="2408" y="1463"/>
                  </a:lnTo>
                  <a:lnTo>
                    <a:pt x="2439" y="1446"/>
                  </a:lnTo>
                  <a:lnTo>
                    <a:pt x="2444" y="1441"/>
                  </a:lnTo>
                  <a:lnTo>
                    <a:pt x="2444" y="1438"/>
                  </a:lnTo>
                  <a:lnTo>
                    <a:pt x="2439" y="1432"/>
                  </a:lnTo>
                  <a:lnTo>
                    <a:pt x="2390" y="1371"/>
                  </a:lnTo>
                  <a:lnTo>
                    <a:pt x="2391" y="1369"/>
                  </a:lnTo>
                  <a:lnTo>
                    <a:pt x="2394" y="1367"/>
                  </a:lnTo>
                  <a:lnTo>
                    <a:pt x="2442" y="1358"/>
                  </a:lnTo>
                  <a:lnTo>
                    <a:pt x="2478" y="1351"/>
                  </a:lnTo>
                  <a:lnTo>
                    <a:pt x="2553" y="1328"/>
                  </a:lnTo>
                  <a:lnTo>
                    <a:pt x="2561" y="1331"/>
                  </a:lnTo>
                  <a:lnTo>
                    <a:pt x="2589" y="1349"/>
                  </a:lnTo>
                  <a:lnTo>
                    <a:pt x="2622" y="1364"/>
                  </a:lnTo>
                  <a:lnTo>
                    <a:pt x="2662" y="1379"/>
                  </a:lnTo>
                  <a:lnTo>
                    <a:pt x="2684" y="1387"/>
                  </a:lnTo>
                  <a:lnTo>
                    <a:pt x="2691" y="1388"/>
                  </a:lnTo>
                  <a:lnTo>
                    <a:pt x="2695" y="1387"/>
                  </a:lnTo>
                  <a:lnTo>
                    <a:pt x="2699" y="1382"/>
                  </a:lnTo>
                  <a:lnTo>
                    <a:pt x="2715" y="1366"/>
                  </a:lnTo>
                  <a:lnTo>
                    <a:pt x="2724" y="1359"/>
                  </a:lnTo>
                  <a:lnTo>
                    <a:pt x="2738" y="1348"/>
                  </a:lnTo>
                  <a:lnTo>
                    <a:pt x="2761" y="1334"/>
                  </a:lnTo>
                  <a:lnTo>
                    <a:pt x="2787" y="1319"/>
                  </a:lnTo>
                  <a:lnTo>
                    <a:pt x="2822" y="1307"/>
                  </a:lnTo>
                  <a:lnTo>
                    <a:pt x="2879" y="1291"/>
                  </a:lnTo>
                  <a:lnTo>
                    <a:pt x="2923" y="1287"/>
                  </a:lnTo>
                  <a:lnTo>
                    <a:pt x="2936" y="1287"/>
                  </a:lnTo>
                  <a:lnTo>
                    <a:pt x="2944" y="1289"/>
                  </a:lnTo>
                  <a:lnTo>
                    <a:pt x="2962" y="1298"/>
                  </a:lnTo>
                  <a:lnTo>
                    <a:pt x="2971" y="1304"/>
                  </a:lnTo>
                  <a:lnTo>
                    <a:pt x="2969" y="1311"/>
                  </a:lnTo>
                  <a:lnTo>
                    <a:pt x="2962" y="1331"/>
                  </a:lnTo>
                  <a:lnTo>
                    <a:pt x="2961" y="1339"/>
                  </a:lnTo>
                  <a:lnTo>
                    <a:pt x="2961" y="1345"/>
                  </a:lnTo>
                  <a:lnTo>
                    <a:pt x="2996" y="1401"/>
                  </a:lnTo>
                  <a:lnTo>
                    <a:pt x="3000" y="1410"/>
                  </a:lnTo>
                  <a:lnTo>
                    <a:pt x="2997" y="1425"/>
                  </a:lnTo>
                  <a:lnTo>
                    <a:pt x="2986" y="1454"/>
                  </a:lnTo>
                  <a:lnTo>
                    <a:pt x="2982" y="1461"/>
                  </a:lnTo>
                  <a:lnTo>
                    <a:pt x="2979" y="1465"/>
                  </a:lnTo>
                  <a:lnTo>
                    <a:pt x="2955" y="1474"/>
                  </a:lnTo>
                  <a:lnTo>
                    <a:pt x="2947" y="1481"/>
                  </a:lnTo>
                  <a:lnTo>
                    <a:pt x="2933" y="1502"/>
                  </a:lnTo>
                  <a:lnTo>
                    <a:pt x="2906" y="1549"/>
                  </a:lnTo>
                  <a:lnTo>
                    <a:pt x="2896" y="1559"/>
                  </a:lnTo>
                  <a:lnTo>
                    <a:pt x="2879" y="1571"/>
                  </a:lnTo>
                  <a:lnTo>
                    <a:pt x="2782" y="1629"/>
                  </a:lnTo>
                  <a:lnTo>
                    <a:pt x="2780" y="1633"/>
                  </a:lnTo>
                  <a:lnTo>
                    <a:pt x="2780" y="1635"/>
                  </a:lnTo>
                  <a:lnTo>
                    <a:pt x="2789" y="1659"/>
                  </a:lnTo>
                  <a:lnTo>
                    <a:pt x="2795" y="1675"/>
                  </a:lnTo>
                  <a:lnTo>
                    <a:pt x="2801" y="1703"/>
                  </a:lnTo>
                  <a:lnTo>
                    <a:pt x="2803" y="1715"/>
                  </a:lnTo>
                  <a:lnTo>
                    <a:pt x="2803" y="1721"/>
                  </a:lnTo>
                  <a:lnTo>
                    <a:pt x="2802" y="1726"/>
                  </a:lnTo>
                  <a:lnTo>
                    <a:pt x="2798" y="1730"/>
                  </a:lnTo>
                  <a:lnTo>
                    <a:pt x="2770" y="1746"/>
                  </a:lnTo>
                  <a:lnTo>
                    <a:pt x="2767" y="1751"/>
                  </a:lnTo>
                  <a:lnTo>
                    <a:pt x="2766" y="1757"/>
                  </a:lnTo>
                  <a:lnTo>
                    <a:pt x="2770" y="1810"/>
                  </a:lnTo>
                  <a:lnTo>
                    <a:pt x="2771" y="1815"/>
                  </a:lnTo>
                  <a:lnTo>
                    <a:pt x="2774" y="1821"/>
                  </a:lnTo>
                  <a:lnTo>
                    <a:pt x="2784" y="1828"/>
                  </a:lnTo>
                  <a:lnTo>
                    <a:pt x="2823" y="1856"/>
                  </a:lnTo>
                  <a:lnTo>
                    <a:pt x="2850" y="1877"/>
                  </a:lnTo>
                  <a:lnTo>
                    <a:pt x="2865" y="1892"/>
                  </a:lnTo>
                  <a:lnTo>
                    <a:pt x="2895" y="1923"/>
                  </a:lnTo>
                  <a:lnTo>
                    <a:pt x="2949" y="1978"/>
                  </a:lnTo>
                  <a:lnTo>
                    <a:pt x="2955" y="1983"/>
                  </a:lnTo>
                  <a:lnTo>
                    <a:pt x="2961" y="1984"/>
                  </a:lnTo>
                  <a:lnTo>
                    <a:pt x="2961" y="1984"/>
                  </a:lnTo>
                  <a:lnTo>
                    <a:pt x="2991" y="1980"/>
                  </a:lnTo>
                  <a:lnTo>
                    <a:pt x="2998" y="1980"/>
                  </a:lnTo>
                  <a:lnTo>
                    <a:pt x="3002" y="1982"/>
                  </a:lnTo>
                  <a:lnTo>
                    <a:pt x="3011" y="1986"/>
                  </a:lnTo>
                  <a:lnTo>
                    <a:pt x="3017" y="1989"/>
                  </a:lnTo>
                  <a:lnTo>
                    <a:pt x="3036" y="1987"/>
                  </a:lnTo>
                  <a:lnTo>
                    <a:pt x="3052" y="1994"/>
                  </a:lnTo>
                  <a:lnTo>
                    <a:pt x="3071" y="1996"/>
                  </a:lnTo>
                  <a:lnTo>
                    <a:pt x="3075" y="1999"/>
                  </a:lnTo>
                  <a:lnTo>
                    <a:pt x="3078" y="2008"/>
                  </a:lnTo>
                  <a:lnTo>
                    <a:pt x="3081" y="2012"/>
                  </a:lnTo>
                  <a:lnTo>
                    <a:pt x="3086" y="2016"/>
                  </a:lnTo>
                  <a:lnTo>
                    <a:pt x="3086" y="2017"/>
                  </a:lnTo>
                  <a:lnTo>
                    <a:pt x="3081" y="2021"/>
                  </a:lnTo>
                  <a:lnTo>
                    <a:pt x="3066" y="2029"/>
                  </a:lnTo>
                  <a:lnTo>
                    <a:pt x="3061" y="2035"/>
                  </a:lnTo>
                  <a:lnTo>
                    <a:pt x="3061" y="2038"/>
                  </a:lnTo>
                  <a:lnTo>
                    <a:pt x="3062" y="2042"/>
                  </a:lnTo>
                  <a:lnTo>
                    <a:pt x="3071" y="2054"/>
                  </a:lnTo>
                  <a:lnTo>
                    <a:pt x="3076" y="2057"/>
                  </a:lnTo>
                  <a:lnTo>
                    <a:pt x="3085" y="2059"/>
                  </a:lnTo>
                  <a:lnTo>
                    <a:pt x="3090" y="2057"/>
                  </a:lnTo>
                  <a:lnTo>
                    <a:pt x="3104" y="2046"/>
                  </a:lnTo>
                  <a:lnTo>
                    <a:pt x="3109" y="2044"/>
                  </a:lnTo>
                  <a:lnTo>
                    <a:pt x="3113" y="2045"/>
                  </a:lnTo>
                  <a:lnTo>
                    <a:pt x="3125" y="2060"/>
                  </a:lnTo>
                  <a:lnTo>
                    <a:pt x="3146" y="2102"/>
                  </a:lnTo>
                  <a:lnTo>
                    <a:pt x="3153" y="2112"/>
                  </a:lnTo>
                  <a:lnTo>
                    <a:pt x="3162" y="2117"/>
                  </a:lnTo>
                  <a:lnTo>
                    <a:pt x="3194" y="2125"/>
                  </a:lnTo>
                  <a:lnTo>
                    <a:pt x="3197" y="2126"/>
                  </a:lnTo>
                  <a:lnTo>
                    <a:pt x="3199" y="2128"/>
                  </a:lnTo>
                  <a:lnTo>
                    <a:pt x="3200" y="2134"/>
                  </a:lnTo>
                  <a:lnTo>
                    <a:pt x="3202" y="2160"/>
                  </a:lnTo>
                  <a:lnTo>
                    <a:pt x="3204" y="2171"/>
                  </a:lnTo>
                  <a:lnTo>
                    <a:pt x="3206" y="2172"/>
                  </a:lnTo>
                  <a:lnTo>
                    <a:pt x="3221" y="2173"/>
                  </a:lnTo>
                  <a:lnTo>
                    <a:pt x="3224" y="2176"/>
                  </a:lnTo>
                  <a:lnTo>
                    <a:pt x="3229" y="2184"/>
                  </a:lnTo>
                  <a:lnTo>
                    <a:pt x="3232" y="2189"/>
                  </a:lnTo>
                  <a:lnTo>
                    <a:pt x="3236" y="2211"/>
                  </a:lnTo>
                  <a:lnTo>
                    <a:pt x="3235" y="2217"/>
                  </a:lnTo>
                  <a:lnTo>
                    <a:pt x="3233" y="2221"/>
                  </a:lnTo>
                  <a:lnTo>
                    <a:pt x="3211" y="2227"/>
                  </a:lnTo>
                  <a:lnTo>
                    <a:pt x="3205" y="2229"/>
                  </a:lnTo>
                  <a:lnTo>
                    <a:pt x="3203" y="2234"/>
                  </a:lnTo>
                  <a:lnTo>
                    <a:pt x="3204" y="2242"/>
                  </a:lnTo>
                  <a:lnTo>
                    <a:pt x="3210" y="2255"/>
                  </a:lnTo>
                  <a:lnTo>
                    <a:pt x="3221" y="2275"/>
                  </a:lnTo>
                  <a:lnTo>
                    <a:pt x="3221" y="2280"/>
                  </a:lnTo>
                  <a:lnTo>
                    <a:pt x="3219" y="2291"/>
                  </a:lnTo>
                  <a:lnTo>
                    <a:pt x="3220" y="2295"/>
                  </a:lnTo>
                  <a:lnTo>
                    <a:pt x="3223" y="2296"/>
                  </a:lnTo>
                  <a:lnTo>
                    <a:pt x="3242" y="2299"/>
                  </a:lnTo>
                  <a:lnTo>
                    <a:pt x="3245" y="2300"/>
                  </a:lnTo>
                  <a:lnTo>
                    <a:pt x="3247" y="2304"/>
                  </a:lnTo>
                  <a:lnTo>
                    <a:pt x="3249" y="2313"/>
                  </a:lnTo>
                  <a:lnTo>
                    <a:pt x="3255" y="2329"/>
                  </a:lnTo>
                  <a:lnTo>
                    <a:pt x="3260" y="2353"/>
                  </a:lnTo>
                  <a:lnTo>
                    <a:pt x="3271" y="2372"/>
                  </a:lnTo>
                  <a:lnTo>
                    <a:pt x="3272" y="2377"/>
                  </a:lnTo>
                  <a:lnTo>
                    <a:pt x="3269" y="2387"/>
                  </a:lnTo>
                  <a:lnTo>
                    <a:pt x="3268" y="2394"/>
                  </a:lnTo>
                  <a:lnTo>
                    <a:pt x="3270" y="2399"/>
                  </a:lnTo>
                  <a:lnTo>
                    <a:pt x="3275" y="2414"/>
                  </a:lnTo>
                  <a:lnTo>
                    <a:pt x="3278" y="2423"/>
                  </a:lnTo>
                  <a:lnTo>
                    <a:pt x="3277" y="2431"/>
                  </a:lnTo>
                  <a:lnTo>
                    <a:pt x="3275" y="2435"/>
                  </a:lnTo>
                  <a:lnTo>
                    <a:pt x="3251" y="2448"/>
                  </a:lnTo>
                  <a:lnTo>
                    <a:pt x="3233" y="2460"/>
                  </a:lnTo>
                  <a:lnTo>
                    <a:pt x="3231" y="2463"/>
                  </a:lnTo>
                  <a:lnTo>
                    <a:pt x="3230" y="2472"/>
                  </a:lnTo>
                  <a:lnTo>
                    <a:pt x="3229" y="2485"/>
                  </a:lnTo>
                  <a:lnTo>
                    <a:pt x="3230" y="2509"/>
                  </a:lnTo>
                  <a:lnTo>
                    <a:pt x="3233" y="2515"/>
                  </a:lnTo>
                  <a:lnTo>
                    <a:pt x="3240" y="2520"/>
                  </a:lnTo>
                  <a:lnTo>
                    <a:pt x="3243" y="2524"/>
                  </a:lnTo>
                  <a:lnTo>
                    <a:pt x="3242" y="2527"/>
                  </a:lnTo>
                  <a:lnTo>
                    <a:pt x="3237" y="2538"/>
                  </a:lnTo>
                  <a:lnTo>
                    <a:pt x="3236" y="2547"/>
                  </a:lnTo>
                  <a:lnTo>
                    <a:pt x="3238" y="2547"/>
                  </a:lnTo>
                  <a:lnTo>
                    <a:pt x="3249" y="2541"/>
                  </a:lnTo>
                  <a:lnTo>
                    <a:pt x="3252" y="2541"/>
                  </a:lnTo>
                  <a:lnTo>
                    <a:pt x="3255" y="2542"/>
                  </a:lnTo>
                  <a:lnTo>
                    <a:pt x="3257" y="2546"/>
                  </a:lnTo>
                  <a:lnTo>
                    <a:pt x="3259" y="2561"/>
                  </a:lnTo>
                  <a:lnTo>
                    <a:pt x="3261" y="2567"/>
                  </a:lnTo>
                  <a:lnTo>
                    <a:pt x="3264" y="2568"/>
                  </a:lnTo>
                  <a:lnTo>
                    <a:pt x="3271" y="2570"/>
                  </a:lnTo>
                  <a:lnTo>
                    <a:pt x="3278" y="2583"/>
                  </a:lnTo>
                  <a:lnTo>
                    <a:pt x="3281" y="2585"/>
                  </a:lnTo>
                  <a:lnTo>
                    <a:pt x="3283" y="2584"/>
                  </a:lnTo>
                  <a:lnTo>
                    <a:pt x="3287" y="2577"/>
                  </a:lnTo>
                  <a:lnTo>
                    <a:pt x="3290" y="2571"/>
                  </a:lnTo>
                  <a:lnTo>
                    <a:pt x="3295" y="2566"/>
                  </a:lnTo>
                  <a:lnTo>
                    <a:pt x="3301" y="2563"/>
                  </a:lnTo>
                  <a:lnTo>
                    <a:pt x="3309" y="2562"/>
                  </a:lnTo>
                  <a:lnTo>
                    <a:pt x="3320" y="2561"/>
                  </a:lnTo>
                  <a:lnTo>
                    <a:pt x="3337" y="2563"/>
                  </a:lnTo>
                  <a:lnTo>
                    <a:pt x="3341" y="2564"/>
                  </a:lnTo>
                  <a:lnTo>
                    <a:pt x="3344" y="2569"/>
                  </a:lnTo>
                  <a:lnTo>
                    <a:pt x="3345" y="2576"/>
                  </a:lnTo>
                  <a:lnTo>
                    <a:pt x="3344" y="2579"/>
                  </a:lnTo>
                  <a:lnTo>
                    <a:pt x="3341" y="2579"/>
                  </a:lnTo>
                  <a:lnTo>
                    <a:pt x="3336" y="2576"/>
                  </a:lnTo>
                  <a:lnTo>
                    <a:pt x="3331" y="2576"/>
                  </a:lnTo>
                  <a:lnTo>
                    <a:pt x="3326" y="2578"/>
                  </a:lnTo>
                  <a:lnTo>
                    <a:pt x="3322" y="2582"/>
                  </a:lnTo>
                  <a:lnTo>
                    <a:pt x="3323" y="2583"/>
                  </a:lnTo>
                  <a:lnTo>
                    <a:pt x="3328" y="2586"/>
                  </a:lnTo>
                  <a:lnTo>
                    <a:pt x="3331" y="2596"/>
                  </a:lnTo>
                  <a:lnTo>
                    <a:pt x="3333" y="2596"/>
                  </a:lnTo>
                  <a:lnTo>
                    <a:pt x="3339" y="2595"/>
                  </a:lnTo>
                  <a:lnTo>
                    <a:pt x="3341" y="2596"/>
                  </a:lnTo>
                  <a:lnTo>
                    <a:pt x="3345" y="2614"/>
                  </a:lnTo>
                  <a:lnTo>
                    <a:pt x="3347" y="2616"/>
                  </a:lnTo>
                  <a:lnTo>
                    <a:pt x="3353" y="2616"/>
                  </a:lnTo>
                  <a:lnTo>
                    <a:pt x="3355" y="2618"/>
                  </a:lnTo>
                  <a:lnTo>
                    <a:pt x="3353" y="2636"/>
                  </a:lnTo>
                  <a:lnTo>
                    <a:pt x="3356" y="2643"/>
                  </a:lnTo>
                  <a:lnTo>
                    <a:pt x="3356" y="2643"/>
                  </a:lnTo>
                  <a:lnTo>
                    <a:pt x="3358" y="2642"/>
                  </a:lnTo>
                  <a:lnTo>
                    <a:pt x="3371" y="2629"/>
                  </a:lnTo>
                  <a:lnTo>
                    <a:pt x="3374" y="2627"/>
                  </a:lnTo>
                  <a:lnTo>
                    <a:pt x="3380" y="2631"/>
                  </a:lnTo>
                  <a:lnTo>
                    <a:pt x="3394" y="2643"/>
                  </a:lnTo>
                  <a:lnTo>
                    <a:pt x="3404" y="2650"/>
                  </a:lnTo>
                  <a:lnTo>
                    <a:pt x="3407" y="2652"/>
                  </a:lnTo>
                  <a:lnTo>
                    <a:pt x="3405" y="2654"/>
                  </a:lnTo>
                  <a:lnTo>
                    <a:pt x="3402" y="2657"/>
                  </a:lnTo>
                  <a:lnTo>
                    <a:pt x="3389" y="2664"/>
                  </a:lnTo>
                  <a:lnTo>
                    <a:pt x="3382" y="2668"/>
                  </a:lnTo>
                  <a:lnTo>
                    <a:pt x="3377" y="2675"/>
                  </a:lnTo>
                  <a:lnTo>
                    <a:pt x="3376" y="2678"/>
                  </a:lnTo>
                  <a:lnTo>
                    <a:pt x="3376" y="2681"/>
                  </a:lnTo>
                  <a:lnTo>
                    <a:pt x="3379" y="2682"/>
                  </a:lnTo>
                  <a:lnTo>
                    <a:pt x="3383" y="2679"/>
                  </a:lnTo>
                  <a:lnTo>
                    <a:pt x="3394" y="2673"/>
                  </a:lnTo>
                  <a:lnTo>
                    <a:pt x="3403" y="2665"/>
                  </a:lnTo>
                  <a:lnTo>
                    <a:pt x="3409" y="2661"/>
                  </a:lnTo>
                  <a:lnTo>
                    <a:pt x="3415" y="2665"/>
                  </a:lnTo>
                  <a:lnTo>
                    <a:pt x="3421" y="2665"/>
                  </a:lnTo>
                  <a:lnTo>
                    <a:pt x="3423" y="2666"/>
                  </a:lnTo>
                  <a:lnTo>
                    <a:pt x="3421" y="2677"/>
                  </a:lnTo>
                  <a:lnTo>
                    <a:pt x="3423" y="2687"/>
                  </a:lnTo>
                  <a:lnTo>
                    <a:pt x="3426" y="2691"/>
                  </a:lnTo>
                  <a:lnTo>
                    <a:pt x="3429" y="2690"/>
                  </a:lnTo>
                  <a:lnTo>
                    <a:pt x="3431" y="2688"/>
                  </a:lnTo>
                  <a:lnTo>
                    <a:pt x="3437" y="2672"/>
                  </a:lnTo>
                  <a:lnTo>
                    <a:pt x="3440" y="2668"/>
                  </a:lnTo>
                  <a:lnTo>
                    <a:pt x="3449" y="2674"/>
                  </a:lnTo>
                  <a:lnTo>
                    <a:pt x="3463" y="2677"/>
                  </a:lnTo>
                  <a:lnTo>
                    <a:pt x="3465" y="2681"/>
                  </a:lnTo>
                  <a:lnTo>
                    <a:pt x="3472" y="2711"/>
                  </a:lnTo>
                  <a:lnTo>
                    <a:pt x="3488" y="2731"/>
                  </a:lnTo>
                  <a:lnTo>
                    <a:pt x="3492" y="2736"/>
                  </a:lnTo>
                  <a:lnTo>
                    <a:pt x="3498" y="2738"/>
                  </a:lnTo>
                  <a:lnTo>
                    <a:pt x="3500" y="2736"/>
                  </a:lnTo>
                  <a:lnTo>
                    <a:pt x="3503" y="2731"/>
                  </a:lnTo>
                  <a:lnTo>
                    <a:pt x="3502" y="2723"/>
                  </a:lnTo>
                  <a:lnTo>
                    <a:pt x="3504" y="2719"/>
                  </a:lnTo>
                  <a:lnTo>
                    <a:pt x="3507" y="2717"/>
                  </a:lnTo>
                  <a:lnTo>
                    <a:pt x="3520" y="2714"/>
                  </a:lnTo>
                  <a:lnTo>
                    <a:pt x="3524" y="2712"/>
                  </a:lnTo>
                  <a:lnTo>
                    <a:pt x="3534" y="2692"/>
                  </a:lnTo>
                  <a:lnTo>
                    <a:pt x="3538" y="2678"/>
                  </a:lnTo>
                  <a:lnTo>
                    <a:pt x="3539" y="2669"/>
                  </a:lnTo>
                  <a:lnTo>
                    <a:pt x="3536" y="2667"/>
                  </a:lnTo>
                  <a:lnTo>
                    <a:pt x="3529" y="2665"/>
                  </a:lnTo>
                  <a:lnTo>
                    <a:pt x="3527" y="2660"/>
                  </a:lnTo>
                  <a:lnTo>
                    <a:pt x="3529" y="2653"/>
                  </a:lnTo>
                  <a:lnTo>
                    <a:pt x="3532" y="2648"/>
                  </a:lnTo>
                  <a:lnTo>
                    <a:pt x="3541" y="2650"/>
                  </a:lnTo>
                  <a:lnTo>
                    <a:pt x="3542" y="2648"/>
                  </a:lnTo>
                  <a:lnTo>
                    <a:pt x="3539" y="2628"/>
                  </a:lnTo>
                  <a:lnTo>
                    <a:pt x="3528" y="2595"/>
                  </a:lnTo>
                  <a:lnTo>
                    <a:pt x="3527" y="2588"/>
                  </a:lnTo>
                  <a:lnTo>
                    <a:pt x="3528" y="2585"/>
                  </a:lnTo>
                  <a:lnTo>
                    <a:pt x="3532" y="2581"/>
                  </a:lnTo>
                  <a:lnTo>
                    <a:pt x="3540" y="2577"/>
                  </a:lnTo>
                  <a:lnTo>
                    <a:pt x="3543" y="2575"/>
                  </a:lnTo>
                  <a:lnTo>
                    <a:pt x="3546" y="2576"/>
                  </a:lnTo>
                  <a:lnTo>
                    <a:pt x="3561" y="2580"/>
                  </a:lnTo>
                  <a:lnTo>
                    <a:pt x="3572" y="2586"/>
                  </a:lnTo>
                  <a:lnTo>
                    <a:pt x="3583" y="2593"/>
                  </a:lnTo>
                  <a:lnTo>
                    <a:pt x="3590" y="2595"/>
                  </a:lnTo>
                  <a:lnTo>
                    <a:pt x="3593" y="2593"/>
                  </a:lnTo>
                  <a:lnTo>
                    <a:pt x="3601" y="2584"/>
                  </a:lnTo>
                  <a:lnTo>
                    <a:pt x="3610" y="2583"/>
                  </a:lnTo>
                  <a:lnTo>
                    <a:pt x="3615" y="2580"/>
                  </a:lnTo>
                  <a:lnTo>
                    <a:pt x="3629" y="2576"/>
                  </a:lnTo>
                  <a:lnTo>
                    <a:pt x="3635" y="2570"/>
                  </a:lnTo>
                  <a:lnTo>
                    <a:pt x="3648" y="2568"/>
                  </a:lnTo>
                  <a:lnTo>
                    <a:pt x="3650" y="2563"/>
                  </a:lnTo>
                  <a:lnTo>
                    <a:pt x="3650" y="2555"/>
                  </a:lnTo>
                  <a:lnTo>
                    <a:pt x="3647" y="2549"/>
                  </a:lnTo>
                  <a:lnTo>
                    <a:pt x="3637" y="2539"/>
                  </a:lnTo>
                  <a:lnTo>
                    <a:pt x="3636" y="2530"/>
                  </a:lnTo>
                  <a:lnTo>
                    <a:pt x="3637" y="2521"/>
                  </a:lnTo>
                  <a:lnTo>
                    <a:pt x="3639" y="2520"/>
                  </a:lnTo>
                  <a:lnTo>
                    <a:pt x="3645" y="2517"/>
                  </a:lnTo>
                  <a:lnTo>
                    <a:pt x="3654" y="2517"/>
                  </a:lnTo>
                  <a:lnTo>
                    <a:pt x="3660" y="2516"/>
                  </a:lnTo>
                  <a:lnTo>
                    <a:pt x="3662" y="2514"/>
                  </a:lnTo>
                  <a:lnTo>
                    <a:pt x="3664" y="2508"/>
                  </a:lnTo>
                  <a:lnTo>
                    <a:pt x="3664" y="2507"/>
                  </a:lnTo>
                  <a:lnTo>
                    <a:pt x="3660" y="2507"/>
                  </a:lnTo>
                  <a:lnTo>
                    <a:pt x="3643" y="2511"/>
                  </a:lnTo>
                  <a:lnTo>
                    <a:pt x="3637" y="2509"/>
                  </a:lnTo>
                  <a:lnTo>
                    <a:pt x="3634" y="2504"/>
                  </a:lnTo>
                  <a:lnTo>
                    <a:pt x="3634" y="2499"/>
                  </a:lnTo>
                  <a:lnTo>
                    <a:pt x="3637" y="2496"/>
                  </a:lnTo>
                  <a:lnTo>
                    <a:pt x="3642" y="2497"/>
                  </a:lnTo>
                  <a:lnTo>
                    <a:pt x="3648" y="2502"/>
                  </a:lnTo>
                  <a:lnTo>
                    <a:pt x="3651" y="2502"/>
                  </a:lnTo>
                  <a:lnTo>
                    <a:pt x="3662" y="2455"/>
                  </a:lnTo>
                  <a:lnTo>
                    <a:pt x="3658" y="2450"/>
                  </a:lnTo>
                  <a:lnTo>
                    <a:pt x="3649" y="2439"/>
                  </a:lnTo>
                  <a:lnTo>
                    <a:pt x="3634" y="2412"/>
                  </a:lnTo>
                  <a:lnTo>
                    <a:pt x="3630" y="2409"/>
                  </a:lnTo>
                  <a:lnTo>
                    <a:pt x="3622" y="2417"/>
                  </a:lnTo>
                  <a:lnTo>
                    <a:pt x="3617" y="2418"/>
                  </a:lnTo>
                  <a:lnTo>
                    <a:pt x="3613" y="2418"/>
                  </a:lnTo>
                  <a:lnTo>
                    <a:pt x="3608" y="2415"/>
                  </a:lnTo>
                  <a:lnTo>
                    <a:pt x="3598" y="2407"/>
                  </a:lnTo>
                  <a:lnTo>
                    <a:pt x="3597" y="2404"/>
                  </a:lnTo>
                  <a:lnTo>
                    <a:pt x="3598" y="2400"/>
                  </a:lnTo>
                  <a:lnTo>
                    <a:pt x="3596" y="2397"/>
                  </a:lnTo>
                  <a:lnTo>
                    <a:pt x="3592" y="2395"/>
                  </a:lnTo>
                  <a:lnTo>
                    <a:pt x="3582" y="2394"/>
                  </a:lnTo>
                  <a:lnTo>
                    <a:pt x="3568" y="2388"/>
                  </a:lnTo>
                  <a:lnTo>
                    <a:pt x="3566" y="2390"/>
                  </a:lnTo>
                  <a:lnTo>
                    <a:pt x="3564" y="2397"/>
                  </a:lnTo>
                  <a:lnTo>
                    <a:pt x="3563" y="2399"/>
                  </a:lnTo>
                  <a:lnTo>
                    <a:pt x="3559" y="2401"/>
                  </a:lnTo>
                  <a:lnTo>
                    <a:pt x="3554" y="2401"/>
                  </a:lnTo>
                  <a:lnTo>
                    <a:pt x="3549" y="2400"/>
                  </a:lnTo>
                  <a:lnTo>
                    <a:pt x="3544" y="2398"/>
                  </a:lnTo>
                  <a:lnTo>
                    <a:pt x="3540" y="2395"/>
                  </a:lnTo>
                  <a:lnTo>
                    <a:pt x="3538" y="2391"/>
                  </a:lnTo>
                  <a:lnTo>
                    <a:pt x="3538" y="2384"/>
                  </a:lnTo>
                  <a:lnTo>
                    <a:pt x="3550" y="2387"/>
                  </a:lnTo>
                  <a:lnTo>
                    <a:pt x="3554" y="2381"/>
                  </a:lnTo>
                  <a:lnTo>
                    <a:pt x="3554" y="2373"/>
                  </a:lnTo>
                  <a:lnTo>
                    <a:pt x="3554" y="2363"/>
                  </a:lnTo>
                  <a:lnTo>
                    <a:pt x="3550" y="2332"/>
                  </a:lnTo>
                  <a:lnTo>
                    <a:pt x="3549" y="2329"/>
                  </a:lnTo>
                  <a:lnTo>
                    <a:pt x="3521" y="2313"/>
                  </a:lnTo>
                  <a:lnTo>
                    <a:pt x="3514" y="2307"/>
                  </a:lnTo>
                  <a:lnTo>
                    <a:pt x="3513" y="2301"/>
                  </a:lnTo>
                  <a:lnTo>
                    <a:pt x="3517" y="2298"/>
                  </a:lnTo>
                  <a:lnTo>
                    <a:pt x="3531" y="2298"/>
                  </a:lnTo>
                  <a:lnTo>
                    <a:pt x="3536" y="2275"/>
                  </a:lnTo>
                  <a:lnTo>
                    <a:pt x="3561" y="2246"/>
                  </a:lnTo>
                  <a:lnTo>
                    <a:pt x="3566" y="2244"/>
                  </a:lnTo>
                  <a:lnTo>
                    <a:pt x="3583" y="2241"/>
                  </a:lnTo>
                  <a:lnTo>
                    <a:pt x="3585" y="2240"/>
                  </a:lnTo>
                  <a:lnTo>
                    <a:pt x="3586" y="2237"/>
                  </a:lnTo>
                  <a:lnTo>
                    <a:pt x="3586" y="2229"/>
                  </a:lnTo>
                  <a:lnTo>
                    <a:pt x="3586" y="2223"/>
                  </a:lnTo>
                  <a:lnTo>
                    <a:pt x="3592" y="2211"/>
                  </a:lnTo>
                  <a:lnTo>
                    <a:pt x="3591" y="2206"/>
                  </a:lnTo>
                  <a:lnTo>
                    <a:pt x="3585" y="2198"/>
                  </a:lnTo>
                  <a:lnTo>
                    <a:pt x="3588" y="2191"/>
                  </a:lnTo>
                  <a:lnTo>
                    <a:pt x="3588" y="2190"/>
                  </a:lnTo>
                  <a:lnTo>
                    <a:pt x="3585" y="2188"/>
                  </a:lnTo>
                  <a:lnTo>
                    <a:pt x="3575" y="2185"/>
                  </a:lnTo>
                  <a:lnTo>
                    <a:pt x="3570" y="2182"/>
                  </a:lnTo>
                  <a:lnTo>
                    <a:pt x="3565" y="2176"/>
                  </a:lnTo>
                  <a:lnTo>
                    <a:pt x="3561" y="2167"/>
                  </a:lnTo>
                  <a:lnTo>
                    <a:pt x="3572" y="2172"/>
                  </a:lnTo>
                  <a:lnTo>
                    <a:pt x="3579" y="2172"/>
                  </a:lnTo>
                  <a:lnTo>
                    <a:pt x="3580" y="2172"/>
                  </a:lnTo>
                  <a:lnTo>
                    <a:pt x="3591" y="2160"/>
                  </a:lnTo>
                  <a:lnTo>
                    <a:pt x="3595" y="2148"/>
                  </a:lnTo>
                  <a:lnTo>
                    <a:pt x="3596" y="2140"/>
                  </a:lnTo>
                  <a:lnTo>
                    <a:pt x="3595" y="2134"/>
                  </a:lnTo>
                  <a:lnTo>
                    <a:pt x="3588" y="2118"/>
                  </a:lnTo>
                  <a:lnTo>
                    <a:pt x="3588" y="2113"/>
                  </a:lnTo>
                  <a:lnTo>
                    <a:pt x="3589" y="2111"/>
                  </a:lnTo>
                  <a:lnTo>
                    <a:pt x="3594" y="2112"/>
                  </a:lnTo>
                  <a:lnTo>
                    <a:pt x="3609" y="2120"/>
                  </a:lnTo>
                  <a:lnTo>
                    <a:pt x="3615" y="2122"/>
                  </a:lnTo>
                  <a:lnTo>
                    <a:pt x="3618" y="2121"/>
                  </a:lnTo>
                  <a:lnTo>
                    <a:pt x="3621" y="2116"/>
                  </a:lnTo>
                  <a:lnTo>
                    <a:pt x="3624" y="2114"/>
                  </a:lnTo>
                  <a:lnTo>
                    <a:pt x="3631" y="2114"/>
                  </a:lnTo>
                  <a:lnTo>
                    <a:pt x="3637" y="2112"/>
                  </a:lnTo>
                  <a:lnTo>
                    <a:pt x="3654" y="2121"/>
                  </a:lnTo>
                  <a:lnTo>
                    <a:pt x="3656" y="2118"/>
                  </a:lnTo>
                  <a:lnTo>
                    <a:pt x="3657" y="2109"/>
                  </a:lnTo>
                  <a:lnTo>
                    <a:pt x="3660" y="2107"/>
                  </a:lnTo>
                  <a:lnTo>
                    <a:pt x="3663" y="2106"/>
                  </a:lnTo>
                  <a:lnTo>
                    <a:pt x="3666" y="2107"/>
                  </a:lnTo>
                  <a:lnTo>
                    <a:pt x="3683" y="2119"/>
                  </a:lnTo>
                  <a:lnTo>
                    <a:pt x="3691" y="2118"/>
                  </a:lnTo>
                  <a:lnTo>
                    <a:pt x="3700" y="2114"/>
                  </a:lnTo>
                  <a:lnTo>
                    <a:pt x="3705" y="2112"/>
                  </a:lnTo>
                  <a:lnTo>
                    <a:pt x="3715" y="2111"/>
                  </a:lnTo>
                  <a:lnTo>
                    <a:pt x="3734" y="2113"/>
                  </a:lnTo>
                  <a:lnTo>
                    <a:pt x="3754" y="2120"/>
                  </a:lnTo>
                  <a:lnTo>
                    <a:pt x="3754" y="2120"/>
                  </a:lnTo>
                  <a:lnTo>
                    <a:pt x="3754" y="2125"/>
                  </a:lnTo>
                  <a:lnTo>
                    <a:pt x="3761" y="2140"/>
                  </a:lnTo>
                  <a:lnTo>
                    <a:pt x="3761" y="2179"/>
                  </a:lnTo>
                  <a:lnTo>
                    <a:pt x="3764" y="2184"/>
                  </a:lnTo>
                  <a:lnTo>
                    <a:pt x="3771" y="2189"/>
                  </a:lnTo>
                  <a:lnTo>
                    <a:pt x="3779" y="2193"/>
                  </a:lnTo>
                  <a:lnTo>
                    <a:pt x="3788" y="2197"/>
                  </a:lnTo>
                  <a:lnTo>
                    <a:pt x="3797" y="2199"/>
                  </a:lnTo>
                  <a:lnTo>
                    <a:pt x="3810" y="2200"/>
                  </a:lnTo>
                  <a:lnTo>
                    <a:pt x="3816" y="2202"/>
                  </a:lnTo>
                  <a:lnTo>
                    <a:pt x="3820" y="2205"/>
                  </a:lnTo>
                  <a:lnTo>
                    <a:pt x="3825" y="2213"/>
                  </a:lnTo>
                  <a:lnTo>
                    <a:pt x="3829" y="2217"/>
                  </a:lnTo>
                  <a:lnTo>
                    <a:pt x="3865" y="2218"/>
                  </a:lnTo>
                  <a:lnTo>
                    <a:pt x="3873" y="2220"/>
                  </a:lnTo>
                  <a:lnTo>
                    <a:pt x="3882" y="2223"/>
                  </a:lnTo>
                  <a:lnTo>
                    <a:pt x="3894" y="2234"/>
                  </a:lnTo>
                  <a:lnTo>
                    <a:pt x="3910" y="2244"/>
                  </a:lnTo>
                  <a:lnTo>
                    <a:pt x="3919" y="2254"/>
                  </a:lnTo>
                  <a:lnTo>
                    <a:pt x="3934" y="2273"/>
                  </a:lnTo>
                  <a:lnTo>
                    <a:pt x="3938" y="2274"/>
                  </a:lnTo>
                  <a:lnTo>
                    <a:pt x="3945" y="2272"/>
                  </a:lnTo>
                  <a:lnTo>
                    <a:pt x="3948" y="2272"/>
                  </a:lnTo>
                  <a:lnTo>
                    <a:pt x="3949" y="2275"/>
                  </a:lnTo>
                  <a:lnTo>
                    <a:pt x="3948" y="2286"/>
                  </a:lnTo>
                  <a:lnTo>
                    <a:pt x="3951" y="2290"/>
                  </a:lnTo>
                  <a:lnTo>
                    <a:pt x="3982" y="2308"/>
                  </a:lnTo>
                  <a:lnTo>
                    <a:pt x="3987" y="2308"/>
                  </a:lnTo>
                  <a:lnTo>
                    <a:pt x="3993" y="2303"/>
                  </a:lnTo>
                  <a:lnTo>
                    <a:pt x="3997" y="2283"/>
                  </a:lnTo>
                  <a:lnTo>
                    <a:pt x="3999" y="2283"/>
                  </a:lnTo>
                  <a:lnTo>
                    <a:pt x="4003" y="2301"/>
                  </a:lnTo>
                  <a:lnTo>
                    <a:pt x="4005" y="2304"/>
                  </a:lnTo>
                  <a:lnTo>
                    <a:pt x="4011" y="2308"/>
                  </a:lnTo>
                  <a:lnTo>
                    <a:pt x="4033" y="2313"/>
                  </a:lnTo>
                  <a:lnTo>
                    <a:pt x="4039" y="2319"/>
                  </a:lnTo>
                  <a:lnTo>
                    <a:pt x="4050" y="2337"/>
                  </a:lnTo>
                  <a:lnTo>
                    <a:pt x="4058" y="2347"/>
                  </a:lnTo>
                  <a:lnTo>
                    <a:pt x="4063" y="2347"/>
                  </a:lnTo>
                  <a:lnTo>
                    <a:pt x="4070" y="2344"/>
                  </a:lnTo>
                  <a:lnTo>
                    <a:pt x="4072" y="2341"/>
                  </a:lnTo>
                  <a:lnTo>
                    <a:pt x="4075" y="2333"/>
                  </a:lnTo>
                  <a:lnTo>
                    <a:pt x="4077" y="2331"/>
                  </a:lnTo>
                  <a:lnTo>
                    <a:pt x="4079" y="2333"/>
                  </a:lnTo>
                  <a:lnTo>
                    <a:pt x="4080" y="2339"/>
                  </a:lnTo>
                  <a:lnTo>
                    <a:pt x="4083" y="2344"/>
                  </a:lnTo>
                  <a:lnTo>
                    <a:pt x="4092" y="2351"/>
                  </a:lnTo>
                  <a:lnTo>
                    <a:pt x="4096" y="2353"/>
                  </a:lnTo>
                  <a:lnTo>
                    <a:pt x="4108" y="2351"/>
                  </a:lnTo>
                  <a:lnTo>
                    <a:pt x="4111" y="2353"/>
                  </a:lnTo>
                  <a:lnTo>
                    <a:pt x="4114" y="2362"/>
                  </a:lnTo>
                  <a:lnTo>
                    <a:pt x="4120" y="2375"/>
                  </a:lnTo>
                  <a:lnTo>
                    <a:pt x="4122" y="2381"/>
                  </a:lnTo>
                  <a:lnTo>
                    <a:pt x="4122" y="2402"/>
                  </a:lnTo>
                  <a:lnTo>
                    <a:pt x="4118" y="2420"/>
                  </a:lnTo>
                  <a:lnTo>
                    <a:pt x="4118" y="2429"/>
                  </a:lnTo>
                  <a:lnTo>
                    <a:pt x="4134" y="2455"/>
                  </a:lnTo>
                  <a:lnTo>
                    <a:pt x="4133" y="2465"/>
                  </a:lnTo>
                  <a:lnTo>
                    <a:pt x="4132" y="2473"/>
                  </a:lnTo>
                  <a:lnTo>
                    <a:pt x="4126" y="2490"/>
                  </a:lnTo>
                  <a:lnTo>
                    <a:pt x="4119" y="2507"/>
                  </a:lnTo>
                  <a:lnTo>
                    <a:pt x="4096" y="2523"/>
                  </a:lnTo>
                  <a:lnTo>
                    <a:pt x="4084" y="2535"/>
                  </a:lnTo>
                  <a:lnTo>
                    <a:pt x="4080" y="2542"/>
                  </a:lnTo>
                  <a:lnTo>
                    <a:pt x="4080" y="2556"/>
                  </a:lnTo>
                  <a:lnTo>
                    <a:pt x="4080" y="2596"/>
                  </a:lnTo>
                  <a:lnTo>
                    <a:pt x="4082" y="2618"/>
                  </a:lnTo>
                  <a:lnTo>
                    <a:pt x="4086" y="2632"/>
                  </a:lnTo>
                  <a:lnTo>
                    <a:pt x="4096" y="2646"/>
                  </a:lnTo>
                  <a:lnTo>
                    <a:pt x="4100" y="2655"/>
                  </a:lnTo>
                  <a:lnTo>
                    <a:pt x="4101" y="2658"/>
                  </a:lnTo>
                  <a:lnTo>
                    <a:pt x="4099" y="2668"/>
                  </a:lnTo>
                  <a:lnTo>
                    <a:pt x="4105" y="2692"/>
                  </a:lnTo>
                  <a:lnTo>
                    <a:pt x="4104" y="2701"/>
                  </a:lnTo>
                  <a:lnTo>
                    <a:pt x="4099" y="2710"/>
                  </a:lnTo>
                  <a:lnTo>
                    <a:pt x="4085" y="2724"/>
                  </a:lnTo>
                  <a:lnTo>
                    <a:pt x="4069" y="2738"/>
                  </a:lnTo>
                  <a:lnTo>
                    <a:pt x="4059" y="2743"/>
                  </a:lnTo>
                  <a:lnTo>
                    <a:pt x="4029" y="2744"/>
                  </a:lnTo>
                  <a:lnTo>
                    <a:pt x="4010" y="2744"/>
                  </a:lnTo>
                  <a:lnTo>
                    <a:pt x="3989" y="2734"/>
                  </a:lnTo>
                  <a:lnTo>
                    <a:pt x="3987" y="2734"/>
                  </a:lnTo>
                  <a:lnTo>
                    <a:pt x="3939" y="2754"/>
                  </a:lnTo>
                  <a:lnTo>
                    <a:pt x="3926" y="2760"/>
                  </a:lnTo>
                  <a:lnTo>
                    <a:pt x="3924" y="2759"/>
                  </a:lnTo>
                  <a:lnTo>
                    <a:pt x="3919" y="2749"/>
                  </a:lnTo>
                  <a:lnTo>
                    <a:pt x="3913" y="2744"/>
                  </a:lnTo>
                  <a:lnTo>
                    <a:pt x="3899" y="2742"/>
                  </a:lnTo>
                  <a:lnTo>
                    <a:pt x="3874" y="2732"/>
                  </a:lnTo>
                  <a:lnTo>
                    <a:pt x="3869" y="2732"/>
                  </a:lnTo>
                  <a:lnTo>
                    <a:pt x="3862" y="2735"/>
                  </a:lnTo>
                  <a:lnTo>
                    <a:pt x="3859" y="2738"/>
                  </a:lnTo>
                  <a:lnTo>
                    <a:pt x="3858" y="2740"/>
                  </a:lnTo>
                  <a:lnTo>
                    <a:pt x="3862" y="2743"/>
                  </a:lnTo>
                  <a:lnTo>
                    <a:pt x="3868" y="2743"/>
                  </a:lnTo>
                  <a:lnTo>
                    <a:pt x="3867" y="2747"/>
                  </a:lnTo>
                  <a:lnTo>
                    <a:pt x="3861" y="2754"/>
                  </a:lnTo>
                  <a:lnTo>
                    <a:pt x="3849" y="2757"/>
                  </a:lnTo>
                  <a:lnTo>
                    <a:pt x="3848" y="2759"/>
                  </a:lnTo>
                  <a:lnTo>
                    <a:pt x="3848" y="2761"/>
                  </a:lnTo>
                  <a:lnTo>
                    <a:pt x="3853" y="2771"/>
                  </a:lnTo>
                  <a:lnTo>
                    <a:pt x="3863" y="2798"/>
                  </a:lnTo>
                  <a:lnTo>
                    <a:pt x="3866" y="2804"/>
                  </a:lnTo>
                  <a:lnTo>
                    <a:pt x="3873" y="2812"/>
                  </a:lnTo>
                  <a:lnTo>
                    <a:pt x="3896" y="2826"/>
                  </a:lnTo>
                  <a:lnTo>
                    <a:pt x="3898" y="2828"/>
                  </a:lnTo>
                  <a:lnTo>
                    <a:pt x="3899" y="2836"/>
                  </a:lnTo>
                  <a:lnTo>
                    <a:pt x="3899" y="2839"/>
                  </a:lnTo>
                  <a:lnTo>
                    <a:pt x="3895" y="2844"/>
                  </a:lnTo>
                  <a:lnTo>
                    <a:pt x="3887" y="2847"/>
                  </a:lnTo>
                  <a:lnTo>
                    <a:pt x="3830" y="2856"/>
                  </a:lnTo>
                  <a:lnTo>
                    <a:pt x="3828" y="2856"/>
                  </a:lnTo>
                  <a:lnTo>
                    <a:pt x="3824" y="2849"/>
                  </a:lnTo>
                  <a:lnTo>
                    <a:pt x="3816" y="2850"/>
                  </a:lnTo>
                  <a:lnTo>
                    <a:pt x="3814" y="2851"/>
                  </a:lnTo>
                  <a:lnTo>
                    <a:pt x="3804" y="2867"/>
                  </a:lnTo>
                  <a:lnTo>
                    <a:pt x="3793" y="2865"/>
                  </a:lnTo>
                  <a:lnTo>
                    <a:pt x="3770" y="2856"/>
                  </a:lnTo>
                  <a:lnTo>
                    <a:pt x="3756" y="2854"/>
                  </a:lnTo>
                  <a:lnTo>
                    <a:pt x="3748" y="2855"/>
                  </a:lnTo>
                  <a:lnTo>
                    <a:pt x="3742" y="2861"/>
                  </a:lnTo>
                  <a:lnTo>
                    <a:pt x="3737" y="2865"/>
                  </a:lnTo>
                  <a:lnTo>
                    <a:pt x="3732" y="2868"/>
                  </a:lnTo>
                  <a:lnTo>
                    <a:pt x="3722" y="2870"/>
                  </a:lnTo>
                  <a:lnTo>
                    <a:pt x="3717" y="2870"/>
                  </a:lnTo>
                  <a:lnTo>
                    <a:pt x="3715" y="2868"/>
                  </a:lnTo>
                  <a:lnTo>
                    <a:pt x="3707" y="2853"/>
                  </a:lnTo>
                  <a:lnTo>
                    <a:pt x="3693" y="2846"/>
                  </a:lnTo>
                  <a:lnTo>
                    <a:pt x="3691" y="2839"/>
                  </a:lnTo>
                  <a:lnTo>
                    <a:pt x="3688" y="2830"/>
                  </a:lnTo>
                  <a:lnTo>
                    <a:pt x="3685" y="2825"/>
                  </a:lnTo>
                  <a:lnTo>
                    <a:pt x="3658" y="2809"/>
                  </a:lnTo>
                  <a:lnTo>
                    <a:pt x="3636" y="2794"/>
                  </a:lnTo>
                  <a:lnTo>
                    <a:pt x="3613" y="2797"/>
                  </a:lnTo>
                  <a:lnTo>
                    <a:pt x="3599" y="2795"/>
                  </a:lnTo>
                  <a:lnTo>
                    <a:pt x="3592" y="2796"/>
                  </a:lnTo>
                  <a:lnTo>
                    <a:pt x="3573" y="2801"/>
                  </a:lnTo>
                  <a:lnTo>
                    <a:pt x="3568" y="2801"/>
                  </a:lnTo>
                  <a:lnTo>
                    <a:pt x="3559" y="2797"/>
                  </a:lnTo>
                  <a:lnTo>
                    <a:pt x="3555" y="2796"/>
                  </a:lnTo>
                  <a:lnTo>
                    <a:pt x="3548" y="2797"/>
                  </a:lnTo>
                  <a:lnTo>
                    <a:pt x="3544" y="2800"/>
                  </a:lnTo>
                  <a:lnTo>
                    <a:pt x="3526" y="2822"/>
                  </a:lnTo>
                  <a:lnTo>
                    <a:pt x="3525" y="2829"/>
                  </a:lnTo>
                  <a:lnTo>
                    <a:pt x="3525" y="2842"/>
                  </a:lnTo>
                  <a:lnTo>
                    <a:pt x="3525" y="2846"/>
                  </a:lnTo>
                  <a:lnTo>
                    <a:pt x="3530" y="2855"/>
                  </a:lnTo>
                  <a:lnTo>
                    <a:pt x="3544" y="2873"/>
                  </a:lnTo>
                  <a:lnTo>
                    <a:pt x="3547" y="2885"/>
                  </a:lnTo>
                  <a:lnTo>
                    <a:pt x="3547" y="2890"/>
                  </a:lnTo>
                  <a:lnTo>
                    <a:pt x="3546" y="2893"/>
                  </a:lnTo>
                  <a:lnTo>
                    <a:pt x="3540" y="2906"/>
                  </a:lnTo>
                  <a:lnTo>
                    <a:pt x="3536" y="2912"/>
                  </a:lnTo>
                  <a:lnTo>
                    <a:pt x="3534" y="2915"/>
                  </a:lnTo>
                  <a:lnTo>
                    <a:pt x="3527" y="2917"/>
                  </a:lnTo>
                  <a:lnTo>
                    <a:pt x="3514" y="2929"/>
                  </a:lnTo>
                  <a:lnTo>
                    <a:pt x="3511" y="2937"/>
                  </a:lnTo>
                  <a:lnTo>
                    <a:pt x="3511" y="2944"/>
                  </a:lnTo>
                  <a:lnTo>
                    <a:pt x="3509" y="2947"/>
                  </a:lnTo>
                  <a:lnTo>
                    <a:pt x="3504" y="2951"/>
                  </a:lnTo>
                  <a:lnTo>
                    <a:pt x="3488" y="2958"/>
                  </a:lnTo>
                  <a:lnTo>
                    <a:pt x="3480" y="2963"/>
                  </a:lnTo>
                  <a:lnTo>
                    <a:pt x="3475" y="2966"/>
                  </a:lnTo>
                  <a:lnTo>
                    <a:pt x="3483" y="2987"/>
                  </a:lnTo>
                  <a:lnTo>
                    <a:pt x="3486" y="2991"/>
                  </a:lnTo>
                  <a:lnTo>
                    <a:pt x="3490" y="2993"/>
                  </a:lnTo>
                  <a:lnTo>
                    <a:pt x="3517" y="2997"/>
                  </a:lnTo>
                  <a:lnTo>
                    <a:pt x="3526" y="3002"/>
                  </a:lnTo>
                  <a:lnTo>
                    <a:pt x="3543" y="3014"/>
                  </a:lnTo>
                  <a:lnTo>
                    <a:pt x="3563" y="3033"/>
                  </a:lnTo>
                  <a:lnTo>
                    <a:pt x="3577" y="3042"/>
                  </a:lnTo>
                  <a:lnTo>
                    <a:pt x="3578" y="3045"/>
                  </a:lnTo>
                  <a:lnTo>
                    <a:pt x="3578" y="3052"/>
                  </a:lnTo>
                  <a:lnTo>
                    <a:pt x="3574" y="3068"/>
                  </a:lnTo>
                  <a:lnTo>
                    <a:pt x="3571" y="3078"/>
                  </a:lnTo>
                  <a:lnTo>
                    <a:pt x="3568" y="3081"/>
                  </a:lnTo>
                  <a:lnTo>
                    <a:pt x="3563" y="3082"/>
                  </a:lnTo>
                  <a:lnTo>
                    <a:pt x="3552" y="3079"/>
                  </a:lnTo>
                  <a:lnTo>
                    <a:pt x="3545" y="3081"/>
                  </a:lnTo>
                  <a:lnTo>
                    <a:pt x="3541" y="3072"/>
                  </a:lnTo>
                  <a:lnTo>
                    <a:pt x="3530" y="3069"/>
                  </a:lnTo>
                  <a:lnTo>
                    <a:pt x="3522" y="3067"/>
                  </a:lnTo>
                  <a:lnTo>
                    <a:pt x="3518" y="3068"/>
                  </a:lnTo>
                  <a:lnTo>
                    <a:pt x="3516" y="3069"/>
                  </a:lnTo>
                  <a:lnTo>
                    <a:pt x="3507" y="3082"/>
                  </a:lnTo>
                  <a:lnTo>
                    <a:pt x="3507" y="3083"/>
                  </a:lnTo>
                  <a:lnTo>
                    <a:pt x="3510" y="3084"/>
                  </a:lnTo>
                  <a:lnTo>
                    <a:pt x="3526" y="3085"/>
                  </a:lnTo>
                  <a:lnTo>
                    <a:pt x="3532" y="3088"/>
                  </a:lnTo>
                  <a:lnTo>
                    <a:pt x="3537" y="3098"/>
                  </a:lnTo>
                  <a:lnTo>
                    <a:pt x="3541" y="3116"/>
                  </a:lnTo>
                  <a:lnTo>
                    <a:pt x="3540" y="3123"/>
                  </a:lnTo>
                  <a:lnTo>
                    <a:pt x="3537" y="3127"/>
                  </a:lnTo>
                  <a:lnTo>
                    <a:pt x="3532" y="3127"/>
                  </a:lnTo>
                  <a:lnTo>
                    <a:pt x="3516" y="3124"/>
                  </a:lnTo>
                  <a:lnTo>
                    <a:pt x="3512" y="3128"/>
                  </a:lnTo>
                  <a:lnTo>
                    <a:pt x="3510" y="3139"/>
                  </a:lnTo>
                  <a:lnTo>
                    <a:pt x="3508" y="3180"/>
                  </a:lnTo>
                  <a:lnTo>
                    <a:pt x="3505" y="3186"/>
                  </a:lnTo>
                  <a:lnTo>
                    <a:pt x="3496" y="3191"/>
                  </a:lnTo>
                  <a:lnTo>
                    <a:pt x="3494" y="3195"/>
                  </a:lnTo>
                  <a:lnTo>
                    <a:pt x="3495" y="3199"/>
                  </a:lnTo>
                  <a:lnTo>
                    <a:pt x="3498" y="3203"/>
                  </a:lnTo>
                  <a:lnTo>
                    <a:pt x="3504" y="3203"/>
                  </a:lnTo>
                  <a:lnTo>
                    <a:pt x="3511" y="3207"/>
                  </a:lnTo>
                  <a:lnTo>
                    <a:pt x="3516" y="3219"/>
                  </a:lnTo>
                  <a:lnTo>
                    <a:pt x="3517" y="3222"/>
                  </a:lnTo>
                  <a:lnTo>
                    <a:pt x="3512" y="3225"/>
                  </a:lnTo>
                  <a:lnTo>
                    <a:pt x="3508" y="3231"/>
                  </a:lnTo>
                  <a:lnTo>
                    <a:pt x="3505" y="3238"/>
                  </a:lnTo>
                  <a:lnTo>
                    <a:pt x="3504" y="3243"/>
                  </a:lnTo>
                  <a:lnTo>
                    <a:pt x="3507" y="3260"/>
                  </a:lnTo>
                  <a:lnTo>
                    <a:pt x="3523" y="3282"/>
                  </a:lnTo>
                  <a:lnTo>
                    <a:pt x="3527" y="3293"/>
                  </a:lnTo>
                  <a:lnTo>
                    <a:pt x="3528" y="3299"/>
                  </a:lnTo>
                  <a:lnTo>
                    <a:pt x="3522" y="3305"/>
                  </a:lnTo>
                  <a:lnTo>
                    <a:pt x="3518" y="3317"/>
                  </a:lnTo>
                  <a:lnTo>
                    <a:pt x="3516" y="3322"/>
                  </a:lnTo>
                  <a:lnTo>
                    <a:pt x="3510" y="3327"/>
                  </a:lnTo>
                  <a:lnTo>
                    <a:pt x="3505" y="3328"/>
                  </a:lnTo>
                  <a:lnTo>
                    <a:pt x="3498" y="3325"/>
                  </a:lnTo>
                  <a:lnTo>
                    <a:pt x="3493" y="3322"/>
                  </a:lnTo>
                  <a:lnTo>
                    <a:pt x="3489" y="3312"/>
                  </a:lnTo>
                  <a:lnTo>
                    <a:pt x="3485" y="3295"/>
                  </a:lnTo>
                  <a:lnTo>
                    <a:pt x="3483" y="3292"/>
                  </a:lnTo>
                  <a:lnTo>
                    <a:pt x="3481" y="3289"/>
                  </a:lnTo>
                  <a:lnTo>
                    <a:pt x="3477" y="3291"/>
                  </a:lnTo>
                  <a:lnTo>
                    <a:pt x="3470" y="3295"/>
                  </a:lnTo>
                  <a:lnTo>
                    <a:pt x="3466" y="3297"/>
                  </a:lnTo>
                  <a:lnTo>
                    <a:pt x="3454" y="3296"/>
                  </a:lnTo>
                  <a:lnTo>
                    <a:pt x="3451" y="3298"/>
                  </a:lnTo>
                  <a:lnTo>
                    <a:pt x="3447" y="3304"/>
                  </a:lnTo>
                  <a:lnTo>
                    <a:pt x="3444" y="3307"/>
                  </a:lnTo>
                  <a:lnTo>
                    <a:pt x="3434" y="3312"/>
                  </a:lnTo>
                  <a:lnTo>
                    <a:pt x="3425" y="3314"/>
                  </a:lnTo>
                  <a:lnTo>
                    <a:pt x="3420" y="3311"/>
                  </a:lnTo>
                  <a:lnTo>
                    <a:pt x="3409" y="3298"/>
                  </a:lnTo>
                  <a:lnTo>
                    <a:pt x="3402" y="3294"/>
                  </a:lnTo>
                  <a:lnTo>
                    <a:pt x="3395" y="3293"/>
                  </a:lnTo>
                  <a:lnTo>
                    <a:pt x="3374" y="3293"/>
                  </a:lnTo>
                  <a:lnTo>
                    <a:pt x="3369" y="3294"/>
                  </a:lnTo>
                  <a:lnTo>
                    <a:pt x="3365" y="3296"/>
                  </a:lnTo>
                  <a:lnTo>
                    <a:pt x="3345" y="3315"/>
                  </a:lnTo>
                  <a:lnTo>
                    <a:pt x="3341" y="3320"/>
                  </a:lnTo>
                  <a:lnTo>
                    <a:pt x="3336" y="3331"/>
                  </a:lnTo>
                  <a:lnTo>
                    <a:pt x="3329" y="3352"/>
                  </a:lnTo>
                  <a:lnTo>
                    <a:pt x="3327" y="3357"/>
                  </a:lnTo>
                  <a:lnTo>
                    <a:pt x="3323" y="3363"/>
                  </a:lnTo>
                  <a:lnTo>
                    <a:pt x="3319" y="3365"/>
                  </a:lnTo>
                  <a:lnTo>
                    <a:pt x="3314" y="3365"/>
                  </a:lnTo>
                  <a:lnTo>
                    <a:pt x="3294" y="3359"/>
                  </a:lnTo>
                  <a:lnTo>
                    <a:pt x="3292" y="3360"/>
                  </a:lnTo>
                  <a:lnTo>
                    <a:pt x="3291" y="3363"/>
                  </a:lnTo>
                  <a:lnTo>
                    <a:pt x="3293" y="3367"/>
                  </a:lnTo>
                  <a:lnTo>
                    <a:pt x="3302" y="3374"/>
                  </a:lnTo>
                  <a:lnTo>
                    <a:pt x="3305" y="3378"/>
                  </a:lnTo>
                  <a:lnTo>
                    <a:pt x="3305" y="3382"/>
                  </a:lnTo>
                  <a:lnTo>
                    <a:pt x="3302" y="3393"/>
                  </a:lnTo>
                  <a:lnTo>
                    <a:pt x="3302" y="3394"/>
                  </a:lnTo>
                  <a:lnTo>
                    <a:pt x="3314" y="3405"/>
                  </a:lnTo>
                  <a:lnTo>
                    <a:pt x="3323" y="3414"/>
                  </a:lnTo>
                  <a:lnTo>
                    <a:pt x="3331" y="3418"/>
                  </a:lnTo>
                  <a:lnTo>
                    <a:pt x="3342" y="3418"/>
                  </a:lnTo>
                  <a:lnTo>
                    <a:pt x="3347" y="3420"/>
                  </a:lnTo>
                  <a:lnTo>
                    <a:pt x="3358" y="3425"/>
                  </a:lnTo>
                  <a:lnTo>
                    <a:pt x="3365" y="3431"/>
                  </a:lnTo>
                  <a:lnTo>
                    <a:pt x="3365" y="3440"/>
                  </a:lnTo>
                  <a:lnTo>
                    <a:pt x="3363" y="3444"/>
                  </a:lnTo>
                  <a:lnTo>
                    <a:pt x="3361" y="3446"/>
                  </a:lnTo>
                  <a:lnTo>
                    <a:pt x="3359" y="3446"/>
                  </a:lnTo>
                  <a:lnTo>
                    <a:pt x="3356" y="3440"/>
                  </a:lnTo>
                  <a:lnTo>
                    <a:pt x="3354" y="3437"/>
                  </a:lnTo>
                  <a:lnTo>
                    <a:pt x="3351" y="3437"/>
                  </a:lnTo>
                  <a:lnTo>
                    <a:pt x="3349" y="3439"/>
                  </a:lnTo>
                  <a:lnTo>
                    <a:pt x="3348" y="3486"/>
                  </a:lnTo>
                  <a:lnTo>
                    <a:pt x="3347" y="3493"/>
                  </a:lnTo>
                  <a:lnTo>
                    <a:pt x="3344" y="3499"/>
                  </a:lnTo>
                  <a:lnTo>
                    <a:pt x="3338" y="3509"/>
                  </a:lnTo>
                  <a:lnTo>
                    <a:pt x="3328" y="3514"/>
                  </a:lnTo>
                  <a:lnTo>
                    <a:pt x="3296" y="3525"/>
                  </a:lnTo>
                  <a:lnTo>
                    <a:pt x="3260" y="3536"/>
                  </a:lnTo>
                  <a:lnTo>
                    <a:pt x="3254" y="3534"/>
                  </a:lnTo>
                  <a:lnTo>
                    <a:pt x="3245" y="3527"/>
                  </a:lnTo>
                  <a:lnTo>
                    <a:pt x="3231" y="3523"/>
                  </a:lnTo>
                  <a:lnTo>
                    <a:pt x="3231" y="3523"/>
                  </a:lnTo>
                  <a:lnTo>
                    <a:pt x="3227" y="3518"/>
                  </a:lnTo>
                  <a:lnTo>
                    <a:pt x="3214" y="3513"/>
                  </a:lnTo>
                  <a:lnTo>
                    <a:pt x="3212" y="3516"/>
                  </a:lnTo>
                  <a:lnTo>
                    <a:pt x="3205" y="3523"/>
                  </a:lnTo>
                  <a:lnTo>
                    <a:pt x="3197" y="3532"/>
                  </a:lnTo>
                  <a:lnTo>
                    <a:pt x="3199" y="3553"/>
                  </a:lnTo>
                  <a:lnTo>
                    <a:pt x="3206" y="3568"/>
                  </a:lnTo>
                  <a:lnTo>
                    <a:pt x="3217" y="3574"/>
                  </a:lnTo>
                  <a:lnTo>
                    <a:pt x="3205" y="3584"/>
                  </a:lnTo>
                  <a:lnTo>
                    <a:pt x="3163" y="3609"/>
                  </a:lnTo>
                  <a:lnTo>
                    <a:pt x="3148" y="3604"/>
                  </a:lnTo>
                  <a:lnTo>
                    <a:pt x="3145" y="3605"/>
                  </a:lnTo>
                  <a:lnTo>
                    <a:pt x="3142" y="3607"/>
                  </a:lnTo>
                  <a:lnTo>
                    <a:pt x="3132" y="3617"/>
                  </a:lnTo>
                  <a:lnTo>
                    <a:pt x="3126" y="3621"/>
                  </a:lnTo>
                  <a:lnTo>
                    <a:pt x="3122" y="3623"/>
                  </a:lnTo>
                  <a:lnTo>
                    <a:pt x="3117" y="3623"/>
                  </a:lnTo>
                  <a:lnTo>
                    <a:pt x="3114" y="3620"/>
                  </a:lnTo>
                  <a:lnTo>
                    <a:pt x="3107" y="3609"/>
                  </a:lnTo>
                  <a:lnTo>
                    <a:pt x="3102" y="3604"/>
                  </a:lnTo>
                  <a:lnTo>
                    <a:pt x="3090" y="3606"/>
                  </a:lnTo>
                  <a:lnTo>
                    <a:pt x="3068" y="3613"/>
                  </a:lnTo>
                  <a:lnTo>
                    <a:pt x="3060" y="3615"/>
                  </a:lnTo>
                  <a:lnTo>
                    <a:pt x="3050" y="3601"/>
                  </a:lnTo>
                  <a:lnTo>
                    <a:pt x="3039" y="3599"/>
                  </a:lnTo>
                  <a:lnTo>
                    <a:pt x="3020" y="3597"/>
                  </a:lnTo>
                  <a:lnTo>
                    <a:pt x="2991" y="3588"/>
                  </a:lnTo>
                  <a:lnTo>
                    <a:pt x="2986" y="3584"/>
                  </a:lnTo>
                  <a:lnTo>
                    <a:pt x="2969" y="3568"/>
                  </a:lnTo>
                  <a:lnTo>
                    <a:pt x="2934" y="3554"/>
                  </a:lnTo>
                  <a:lnTo>
                    <a:pt x="2919" y="3540"/>
                  </a:lnTo>
                  <a:lnTo>
                    <a:pt x="2906" y="3532"/>
                  </a:lnTo>
                  <a:lnTo>
                    <a:pt x="2900" y="3528"/>
                  </a:lnTo>
                  <a:lnTo>
                    <a:pt x="2897" y="3522"/>
                  </a:lnTo>
                  <a:lnTo>
                    <a:pt x="2896" y="3516"/>
                  </a:lnTo>
                  <a:lnTo>
                    <a:pt x="2898" y="3507"/>
                  </a:lnTo>
                  <a:lnTo>
                    <a:pt x="2904" y="3494"/>
                  </a:lnTo>
                  <a:lnTo>
                    <a:pt x="2909" y="3492"/>
                  </a:lnTo>
                  <a:lnTo>
                    <a:pt x="2918" y="3490"/>
                  </a:lnTo>
                  <a:lnTo>
                    <a:pt x="2924" y="3487"/>
                  </a:lnTo>
                  <a:lnTo>
                    <a:pt x="2929" y="3479"/>
                  </a:lnTo>
                  <a:lnTo>
                    <a:pt x="2937" y="3469"/>
                  </a:lnTo>
                  <a:lnTo>
                    <a:pt x="2937" y="3466"/>
                  </a:lnTo>
                  <a:lnTo>
                    <a:pt x="2936" y="3465"/>
                  </a:lnTo>
                  <a:lnTo>
                    <a:pt x="2917" y="3457"/>
                  </a:lnTo>
                  <a:lnTo>
                    <a:pt x="2914" y="3453"/>
                  </a:lnTo>
                  <a:lnTo>
                    <a:pt x="2913" y="3448"/>
                  </a:lnTo>
                  <a:lnTo>
                    <a:pt x="2915" y="3446"/>
                  </a:lnTo>
                  <a:lnTo>
                    <a:pt x="2925" y="3439"/>
                  </a:lnTo>
                  <a:lnTo>
                    <a:pt x="2928" y="3435"/>
                  </a:lnTo>
                  <a:lnTo>
                    <a:pt x="2926" y="3420"/>
                  </a:lnTo>
                  <a:lnTo>
                    <a:pt x="2919" y="3389"/>
                  </a:lnTo>
                  <a:lnTo>
                    <a:pt x="2917" y="3372"/>
                  </a:lnTo>
                  <a:lnTo>
                    <a:pt x="2924" y="3371"/>
                  </a:lnTo>
                  <a:lnTo>
                    <a:pt x="2935" y="3374"/>
                  </a:lnTo>
                  <a:lnTo>
                    <a:pt x="2941" y="3374"/>
                  </a:lnTo>
                  <a:lnTo>
                    <a:pt x="2942" y="3373"/>
                  </a:lnTo>
                  <a:lnTo>
                    <a:pt x="2941" y="3367"/>
                  </a:lnTo>
                  <a:lnTo>
                    <a:pt x="2940" y="3364"/>
                  </a:lnTo>
                  <a:lnTo>
                    <a:pt x="2937" y="3363"/>
                  </a:lnTo>
                  <a:lnTo>
                    <a:pt x="2918" y="3358"/>
                  </a:lnTo>
                  <a:lnTo>
                    <a:pt x="2911" y="3355"/>
                  </a:lnTo>
                  <a:lnTo>
                    <a:pt x="2906" y="3351"/>
                  </a:lnTo>
                  <a:lnTo>
                    <a:pt x="2899" y="3340"/>
                  </a:lnTo>
                  <a:lnTo>
                    <a:pt x="2890" y="3334"/>
                  </a:lnTo>
                  <a:lnTo>
                    <a:pt x="2886" y="3318"/>
                  </a:lnTo>
                  <a:lnTo>
                    <a:pt x="2879" y="3302"/>
                  </a:lnTo>
                  <a:lnTo>
                    <a:pt x="2877" y="3292"/>
                  </a:lnTo>
                  <a:lnTo>
                    <a:pt x="2876" y="3275"/>
                  </a:lnTo>
                  <a:lnTo>
                    <a:pt x="2875" y="3269"/>
                  </a:lnTo>
                  <a:lnTo>
                    <a:pt x="2872" y="3264"/>
                  </a:lnTo>
                  <a:lnTo>
                    <a:pt x="2864" y="3256"/>
                  </a:lnTo>
                  <a:lnTo>
                    <a:pt x="2856" y="3249"/>
                  </a:lnTo>
                  <a:lnTo>
                    <a:pt x="2850" y="3245"/>
                  </a:lnTo>
                  <a:lnTo>
                    <a:pt x="2842" y="3242"/>
                  </a:lnTo>
                  <a:lnTo>
                    <a:pt x="2802" y="3237"/>
                  </a:lnTo>
                  <a:lnTo>
                    <a:pt x="2767" y="3238"/>
                  </a:lnTo>
                  <a:lnTo>
                    <a:pt x="2737" y="3221"/>
                  </a:lnTo>
                  <a:lnTo>
                    <a:pt x="2732" y="3220"/>
                  </a:lnTo>
                  <a:lnTo>
                    <a:pt x="2725" y="3221"/>
                  </a:lnTo>
                  <a:lnTo>
                    <a:pt x="2709" y="3227"/>
                  </a:lnTo>
                  <a:lnTo>
                    <a:pt x="2703" y="3228"/>
                  </a:lnTo>
                  <a:lnTo>
                    <a:pt x="2702" y="3227"/>
                  </a:lnTo>
                  <a:lnTo>
                    <a:pt x="2702" y="3225"/>
                  </a:lnTo>
                  <a:lnTo>
                    <a:pt x="2710" y="3210"/>
                  </a:lnTo>
                  <a:lnTo>
                    <a:pt x="2707" y="3195"/>
                  </a:lnTo>
                  <a:lnTo>
                    <a:pt x="2705" y="3189"/>
                  </a:lnTo>
                  <a:lnTo>
                    <a:pt x="2702" y="3187"/>
                  </a:lnTo>
                  <a:lnTo>
                    <a:pt x="2694" y="3188"/>
                  </a:lnTo>
                  <a:lnTo>
                    <a:pt x="2675" y="3203"/>
                  </a:lnTo>
                  <a:lnTo>
                    <a:pt x="2671" y="3206"/>
                  </a:lnTo>
                  <a:lnTo>
                    <a:pt x="2666" y="3207"/>
                  </a:lnTo>
                  <a:lnTo>
                    <a:pt x="2654" y="3203"/>
                  </a:lnTo>
                  <a:lnTo>
                    <a:pt x="2643" y="3197"/>
                  </a:lnTo>
                  <a:lnTo>
                    <a:pt x="2639" y="3193"/>
                  </a:lnTo>
                  <a:lnTo>
                    <a:pt x="2636" y="3185"/>
                  </a:lnTo>
                  <a:lnTo>
                    <a:pt x="2633" y="3182"/>
                  </a:lnTo>
                  <a:lnTo>
                    <a:pt x="2629" y="3182"/>
                  </a:lnTo>
                  <a:lnTo>
                    <a:pt x="2616" y="3187"/>
                  </a:lnTo>
                  <a:lnTo>
                    <a:pt x="2611" y="3187"/>
                  </a:lnTo>
                  <a:lnTo>
                    <a:pt x="2608" y="3186"/>
                  </a:lnTo>
                  <a:lnTo>
                    <a:pt x="2606" y="3182"/>
                  </a:lnTo>
                  <a:lnTo>
                    <a:pt x="2605" y="3179"/>
                  </a:lnTo>
                  <a:lnTo>
                    <a:pt x="2612" y="3148"/>
                  </a:lnTo>
                  <a:lnTo>
                    <a:pt x="2610" y="3142"/>
                  </a:lnTo>
                  <a:lnTo>
                    <a:pt x="2602" y="3135"/>
                  </a:lnTo>
                  <a:lnTo>
                    <a:pt x="2601" y="3131"/>
                  </a:lnTo>
                  <a:lnTo>
                    <a:pt x="2602" y="3126"/>
                  </a:lnTo>
                  <a:lnTo>
                    <a:pt x="2611" y="3115"/>
                  </a:lnTo>
                  <a:lnTo>
                    <a:pt x="2607" y="3097"/>
                  </a:lnTo>
                  <a:lnTo>
                    <a:pt x="2615" y="3089"/>
                  </a:lnTo>
                  <a:lnTo>
                    <a:pt x="2615" y="3087"/>
                  </a:lnTo>
                  <a:lnTo>
                    <a:pt x="2607" y="3079"/>
                  </a:lnTo>
                  <a:lnTo>
                    <a:pt x="2604" y="3064"/>
                  </a:lnTo>
                  <a:lnTo>
                    <a:pt x="2601" y="3059"/>
                  </a:lnTo>
                  <a:lnTo>
                    <a:pt x="2598" y="3058"/>
                  </a:lnTo>
                  <a:lnTo>
                    <a:pt x="2575" y="3053"/>
                  </a:lnTo>
                  <a:lnTo>
                    <a:pt x="2569" y="3049"/>
                  </a:lnTo>
                  <a:lnTo>
                    <a:pt x="2567" y="3045"/>
                  </a:lnTo>
                  <a:lnTo>
                    <a:pt x="2569" y="3037"/>
                  </a:lnTo>
                  <a:lnTo>
                    <a:pt x="2569" y="3033"/>
                  </a:lnTo>
                  <a:lnTo>
                    <a:pt x="2566" y="3024"/>
                  </a:lnTo>
                  <a:lnTo>
                    <a:pt x="2562" y="3016"/>
                  </a:lnTo>
                  <a:lnTo>
                    <a:pt x="2556" y="3012"/>
                  </a:lnTo>
                  <a:lnTo>
                    <a:pt x="2551" y="3008"/>
                  </a:lnTo>
                  <a:lnTo>
                    <a:pt x="2546" y="3007"/>
                  </a:lnTo>
                  <a:lnTo>
                    <a:pt x="2535" y="3005"/>
                  </a:lnTo>
                  <a:lnTo>
                    <a:pt x="2535" y="3017"/>
                  </a:lnTo>
                  <a:lnTo>
                    <a:pt x="2534" y="3018"/>
                  </a:lnTo>
                  <a:lnTo>
                    <a:pt x="2533" y="3020"/>
                  </a:lnTo>
                  <a:lnTo>
                    <a:pt x="2529" y="3018"/>
                  </a:lnTo>
                  <a:lnTo>
                    <a:pt x="2521" y="3011"/>
                  </a:lnTo>
                  <a:lnTo>
                    <a:pt x="2517" y="3010"/>
                  </a:lnTo>
                  <a:lnTo>
                    <a:pt x="2510" y="3025"/>
                  </a:lnTo>
                  <a:lnTo>
                    <a:pt x="2492" y="3033"/>
                  </a:lnTo>
                  <a:lnTo>
                    <a:pt x="2474" y="3044"/>
                  </a:lnTo>
                  <a:lnTo>
                    <a:pt x="2459" y="3048"/>
                  </a:lnTo>
                  <a:lnTo>
                    <a:pt x="2459" y="3050"/>
                  </a:lnTo>
                  <a:lnTo>
                    <a:pt x="2461" y="3053"/>
                  </a:lnTo>
                  <a:lnTo>
                    <a:pt x="2472" y="3062"/>
                  </a:lnTo>
                  <a:lnTo>
                    <a:pt x="2475" y="3066"/>
                  </a:lnTo>
                  <a:lnTo>
                    <a:pt x="2476" y="3070"/>
                  </a:lnTo>
                  <a:lnTo>
                    <a:pt x="2475" y="3076"/>
                  </a:lnTo>
                  <a:lnTo>
                    <a:pt x="2473" y="3079"/>
                  </a:lnTo>
                  <a:lnTo>
                    <a:pt x="2471" y="3081"/>
                  </a:lnTo>
                  <a:lnTo>
                    <a:pt x="2465" y="3081"/>
                  </a:lnTo>
                  <a:lnTo>
                    <a:pt x="2457" y="3076"/>
                  </a:lnTo>
                  <a:lnTo>
                    <a:pt x="2450" y="3072"/>
                  </a:lnTo>
                  <a:lnTo>
                    <a:pt x="2441" y="3071"/>
                  </a:lnTo>
                  <a:lnTo>
                    <a:pt x="2428" y="3067"/>
                  </a:lnTo>
                  <a:lnTo>
                    <a:pt x="2425" y="3067"/>
                  </a:lnTo>
                  <a:lnTo>
                    <a:pt x="2422" y="3068"/>
                  </a:lnTo>
                  <a:lnTo>
                    <a:pt x="2420" y="3070"/>
                  </a:lnTo>
                  <a:lnTo>
                    <a:pt x="2414" y="3085"/>
                  </a:lnTo>
                  <a:lnTo>
                    <a:pt x="2405" y="3102"/>
                  </a:lnTo>
                  <a:lnTo>
                    <a:pt x="2402" y="3109"/>
                  </a:lnTo>
                  <a:lnTo>
                    <a:pt x="2399" y="3113"/>
                  </a:lnTo>
                  <a:lnTo>
                    <a:pt x="2392" y="3114"/>
                  </a:lnTo>
                  <a:lnTo>
                    <a:pt x="2384" y="3108"/>
                  </a:lnTo>
                  <a:lnTo>
                    <a:pt x="2376" y="3105"/>
                  </a:lnTo>
                  <a:lnTo>
                    <a:pt x="2365" y="3107"/>
                  </a:lnTo>
                  <a:lnTo>
                    <a:pt x="2351" y="3103"/>
                  </a:lnTo>
                  <a:lnTo>
                    <a:pt x="2346" y="3103"/>
                  </a:lnTo>
                  <a:lnTo>
                    <a:pt x="2338" y="3104"/>
                  </a:lnTo>
                  <a:lnTo>
                    <a:pt x="2330" y="3114"/>
                  </a:lnTo>
                  <a:lnTo>
                    <a:pt x="2329" y="3115"/>
                  </a:lnTo>
                  <a:lnTo>
                    <a:pt x="2338" y="3123"/>
                  </a:lnTo>
                  <a:lnTo>
                    <a:pt x="2354" y="3143"/>
                  </a:lnTo>
                  <a:lnTo>
                    <a:pt x="2357" y="3155"/>
                  </a:lnTo>
                  <a:lnTo>
                    <a:pt x="2357" y="3168"/>
                  </a:lnTo>
                  <a:lnTo>
                    <a:pt x="2359" y="3170"/>
                  </a:lnTo>
                  <a:lnTo>
                    <a:pt x="2366" y="3172"/>
                  </a:lnTo>
                  <a:lnTo>
                    <a:pt x="2368" y="3174"/>
                  </a:lnTo>
                  <a:lnTo>
                    <a:pt x="2368" y="3177"/>
                  </a:lnTo>
                  <a:lnTo>
                    <a:pt x="2365" y="3185"/>
                  </a:lnTo>
                  <a:lnTo>
                    <a:pt x="2364" y="3191"/>
                  </a:lnTo>
                  <a:lnTo>
                    <a:pt x="2371" y="3195"/>
                  </a:lnTo>
                  <a:lnTo>
                    <a:pt x="2372" y="3198"/>
                  </a:lnTo>
                  <a:lnTo>
                    <a:pt x="2373" y="3204"/>
                  </a:lnTo>
                  <a:lnTo>
                    <a:pt x="2373" y="3219"/>
                  </a:lnTo>
                  <a:lnTo>
                    <a:pt x="2376" y="3230"/>
                  </a:lnTo>
                  <a:lnTo>
                    <a:pt x="2389" y="3244"/>
                  </a:lnTo>
                  <a:lnTo>
                    <a:pt x="2401" y="3256"/>
                  </a:lnTo>
                  <a:lnTo>
                    <a:pt x="2404" y="3262"/>
                  </a:lnTo>
                  <a:lnTo>
                    <a:pt x="2400" y="3269"/>
                  </a:lnTo>
                  <a:lnTo>
                    <a:pt x="2399" y="3273"/>
                  </a:lnTo>
                  <a:lnTo>
                    <a:pt x="2399" y="3280"/>
                  </a:lnTo>
                  <a:lnTo>
                    <a:pt x="2401" y="3288"/>
                  </a:lnTo>
                  <a:lnTo>
                    <a:pt x="2389" y="3293"/>
                  </a:lnTo>
                  <a:lnTo>
                    <a:pt x="2381" y="3300"/>
                  </a:lnTo>
                  <a:lnTo>
                    <a:pt x="2374" y="3303"/>
                  </a:lnTo>
                  <a:lnTo>
                    <a:pt x="2353" y="3300"/>
                  </a:lnTo>
                  <a:lnTo>
                    <a:pt x="2329" y="3322"/>
                  </a:lnTo>
                  <a:lnTo>
                    <a:pt x="2329" y="3327"/>
                  </a:lnTo>
                  <a:lnTo>
                    <a:pt x="2334" y="3335"/>
                  </a:lnTo>
                  <a:lnTo>
                    <a:pt x="2334" y="3349"/>
                  </a:lnTo>
                  <a:lnTo>
                    <a:pt x="2334" y="3357"/>
                  </a:lnTo>
                  <a:lnTo>
                    <a:pt x="2329" y="3366"/>
                  </a:lnTo>
                  <a:lnTo>
                    <a:pt x="2326" y="3365"/>
                  </a:lnTo>
                  <a:lnTo>
                    <a:pt x="2321" y="3361"/>
                  </a:lnTo>
                  <a:lnTo>
                    <a:pt x="2303" y="3345"/>
                  </a:lnTo>
                  <a:lnTo>
                    <a:pt x="2295" y="3368"/>
                  </a:lnTo>
                  <a:lnTo>
                    <a:pt x="2274" y="3368"/>
                  </a:lnTo>
                  <a:lnTo>
                    <a:pt x="2265" y="3370"/>
                  </a:lnTo>
                  <a:lnTo>
                    <a:pt x="2260" y="3374"/>
                  </a:lnTo>
                  <a:lnTo>
                    <a:pt x="2243" y="3392"/>
                  </a:lnTo>
                  <a:lnTo>
                    <a:pt x="2240" y="3394"/>
                  </a:lnTo>
                  <a:lnTo>
                    <a:pt x="2234" y="3394"/>
                  </a:lnTo>
                  <a:lnTo>
                    <a:pt x="2228" y="3390"/>
                  </a:lnTo>
                  <a:lnTo>
                    <a:pt x="2225" y="3386"/>
                  </a:lnTo>
                  <a:lnTo>
                    <a:pt x="2230" y="3369"/>
                  </a:lnTo>
                  <a:lnTo>
                    <a:pt x="2231" y="3361"/>
                  </a:lnTo>
                  <a:lnTo>
                    <a:pt x="2229" y="3359"/>
                  </a:lnTo>
                  <a:lnTo>
                    <a:pt x="2215" y="3351"/>
                  </a:lnTo>
                  <a:lnTo>
                    <a:pt x="2215" y="3348"/>
                  </a:lnTo>
                  <a:lnTo>
                    <a:pt x="2215" y="3343"/>
                  </a:lnTo>
                  <a:lnTo>
                    <a:pt x="2216" y="3341"/>
                  </a:lnTo>
                  <a:lnTo>
                    <a:pt x="2226" y="3337"/>
                  </a:lnTo>
                  <a:lnTo>
                    <a:pt x="2232" y="3331"/>
                  </a:lnTo>
                  <a:lnTo>
                    <a:pt x="2243" y="3324"/>
                  </a:lnTo>
                  <a:lnTo>
                    <a:pt x="2244" y="3320"/>
                  </a:lnTo>
                  <a:lnTo>
                    <a:pt x="2244" y="3312"/>
                  </a:lnTo>
                  <a:lnTo>
                    <a:pt x="2247" y="3302"/>
                  </a:lnTo>
                  <a:lnTo>
                    <a:pt x="2255" y="3289"/>
                  </a:lnTo>
                  <a:lnTo>
                    <a:pt x="2263" y="3281"/>
                  </a:lnTo>
                  <a:lnTo>
                    <a:pt x="2255" y="3264"/>
                  </a:lnTo>
                  <a:lnTo>
                    <a:pt x="2255" y="3259"/>
                  </a:lnTo>
                  <a:lnTo>
                    <a:pt x="2258" y="3247"/>
                  </a:lnTo>
                  <a:lnTo>
                    <a:pt x="2257" y="3242"/>
                  </a:lnTo>
                  <a:lnTo>
                    <a:pt x="2252" y="3235"/>
                  </a:lnTo>
                  <a:lnTo>
                    <a:pt x="2243" y="3226"/>
                  </a:lnTo>
                  <a:lnTo>
                    <a:pt x="2241" y="3226"/>
                  </a:lnTo>
                  <a:lnTo>
                    <a:pt x="2239" y="3229"/>
                  </a:lnTo>
                  <a:lnTo>
                    <a:pt x="2239" y="3243"/>
                  </a:lnTo>
                  <a:lnTo>
                    <a:pt x="2238" y="3247"/>
                  </a:lnTo>
                  <a:lnTo>
                    <a:pt x="2233" y="3251"/>
                  </a:lnTo>
                  <a:lnTo>
                    <a:pt x="2223" y="3257"/>
                  </a:lnTo>
                  <a:lnTo>
                    <a:pt x="2223" y="3257"/>
                  </a:lnTo>
                  <a:lnTo>
                    <a:pt x="2210" y="3263"/>
                  </a:lnTo>
                  <a:lnTo>
                    <a:pt x="2203" y="3265"/>
                  </a:lnTo>
                  <a:lnTo>
                    <a:pt x="2190" y="3265"/>
                  </a:lnTo>
                  <a:lnTo>
                    <a:pt x="2179" y="3262"/>
                  </a:lnTo>
                  <a:lnTo>
                    <a:pt x="2178" y="3258"/>
                  </a:lnTo>
                  <a:lnTo>
                    <a:pt x="2177" y="3251"/>
                  </a:lnTo>
                  <a:lnTo>
                    <a:pt x="2180" y="3237"/>
                  </a:lnTo>
                  <a:lnTo>
                    <a:pt x="2182" y="3230"/>
                  </a:lnTo>
                  <a:lnTo>
                    <a:pt x="2177" y="3217"/>
                  </a:lnTo>
                  <a:lnTo>
                    <a:pt x="2174" y="3198"/>
                  </a:lnTo>
                  <a:lnTo>
                    <a:pt x="2161" y="3190"/>
                  </a:lnTo>
                  <a:lnTo>
                    <a:pt x="2150" y="3189"/>
                  </a:lnTo>
                  <a:lnTo>
                    <a:pt x="2132" y="3191"/>
                  </a:lnTo>
                  <a:lnTo>
                    <a:pt x="2131" y="3192"/>
                  </a:lnTo>
                  <a:lnTo>
                    <a:pt x="2125" y="3198"/>
                  </a:lnTo>
                  <a:lnTo>
                    <a:pt x="2112" y="3205"/>
                  </a:lnTo>
                  <a:lnTo>
                    <a:pt x="2106" y="3204"/>
                  </a:lnTo>
                  <a:lnTo>
                    <a:pt x="2087" y="3196"/>
                  </a:lnTo>
                  <a:lnTo>
                    <a:pt x="2082" y="3196"/>
                  </a:lnTo>
                  <a:lnTo>
                    <a:pt x="2078" y="3197"/>
                  </a:lnTo>
                  <a:lnTo>
                    <a:pt x="2067" y="3207"/>
                  </a:lnTo>
                  <a:lnTo>
                    <a:pt x="2066" y="3207"/>
                  </a:lnTo>
                  <a:lnTo>
                    <a:pt x="2065" y="3207"/>
                  </a:lnTo>
                  <a:lnTo>
                    <a:pt x="2063" y="3198"/>
                  </a:lnTo>
                  <a:lnTo>
                    <a:pt x="2064" y="3187"/>
                  </a:lnTo>
                  <a:lnTo>
                    <a:pt x="2065" y="3180"/>
                  </a:lnTo>
                  <a:lnTo>
                    <a:pt x="2070" y="3171"/>
                  </a:lnTo>
                  <a:lnTo>
                    <a:pt x="2074" y="3156"/>
                  </a:lnTo>
                  <a:lnTo>
                    <a:pt x="2063" y="3139"/>
                  </a:lnTo>
                  <a:lnTo>
                    <a:pt x="2057" y="3128"/>
                  </a:lnTo>
                  <a:lnTo>
                    <a:pt x="2054" y="3127"/>
                  </a:lnTo>
                  <a:lnTo>
                    <a:pt x="2039" y="3123"/>
                  </a:lnTo>
                  <a:lnTo>
                    <a:pt x="2035" y="3121"/>
                  </a:lnTo>
                  <a:lnTo>
                    <a:pt x="2031" y="3115"/>
                  </a:lnTo>
                  <a:lnTo>
                    <a:pt x="2026" y="3108"/>
                  </a:lnTo>
                  <a:lnTo>
                    <a:pt x="2014" y="3088"/>
                  </a:lnTo>
                  <a:lnTo>
                    <a:pt x="2003" y="3063"/>
                  </a:lnTo>
                  <a:lnTo>
                    <a:pt x="1996" y="3055"/>
                  </a:lnTo>
                  <a:lnTo>
                    <a:pt x="1994" y="3045"/>
                  </a:lnTo>
                  <a:lnTo>
                    <a:pt x="1990" y="3036"/>
                  </a:lnTo>
                  <a:lnTo>
                    <a:pt x="1967" y="3005"/>
                  </a:lnTo>
                  <a:lnTo>
                    <a:pt x="1970" y="2998"/>
                  </a:lnTo>
                  <a:lnTo>
                    <a:pt x="1979" y="2990"/>
                  </a:lnTo>
                  <a:lnTo>
                    <a:pt x="1980" y="2979"/>
                  </a:lnTo>
                  <a:lnTo>
                    <a:pt x="1980" y="2960"/>
                  </a:lnTo>
                  <a:lnTo>
                    <a:pt x="1981" y="2955"/>
                  </a:lnTo>
                  <a:lnTo>
                    <a:pt x="1985" y="2953"/>
                  </a:lnTo>
                  <a:lnTo>
                    <a:pt x="1997" y="2951"/>
                  </a:lnTo>
                  <a:lnTo>
                    <a:pt x="2003" y="2947"/>
                  </a:lnTo>
                  <a:lnTo>
                    <a:pt x="2009" y="2941"/>
                  </a:lnTo>
                  <a:lnTo>
                    <a:pt x="2012" y="2941"/>
                  </a:lnTo>
                  <a:lnTo>
                    <a:pt x="2022" y="2943"/>
                  </a:lnTo>
                  <a:lnTo>
                    <a:pt x="2042" y="2957"/>
                  </a:lnTo>
                  <a:lnTo>
                    <a:pt x="2052" y="2962"/>
                  </a:lnTo>
                  <a:lnTo>
                    <a:pt x="2062" y="2964"/>
                  </a:lnTo>
                  <a:lnTo>
                    <a:pt x="2070" y="2962"/>
                  </a:lnTo>
                  <a:lnTo>
                    <a:pt x="2075" y="2962"/>
                  </a:lnTo>
                  <a:lnTo>
                    <a:pt x="2086" y="2971"/>
                  </a:lnTo>
                  <a:lnTo>
                    <a:pt x="2100" y="2979"/>
                  </a:lnTo>
                  <a:lnTo>
                    <a:pt x="2122" y="2993"/>
                  </a:lnTo>
                  <a:lnTo>
                    <a:pt x="2140" y="3004"/>
                  </a:lnTo>
                  <a:lnTo>
                    <a:pt x="2176" y="3015"/>
                  </a:lnTo>
                  <a:lnTo>
                    <a:pt x="2182" y="3017"/>
                  </a:lnTo>
                  <a:lnTo>
                    <a:pt x="2198" y="3032"/>
                  </a:lnTo>
                  <a:lnTo>
                    <a:pt x="2208" y="3046"/>
                  </a:lnTo>
                  <a:lnTo>
                    <a:pt x="2226" y="3061"/>
                  </a:lnTo>
                  <a:lnTo>
                    <a:pt x="2238" y="3053"/>
                  </a:lnTo>
                  <a:lnTo>
                    <a:pt x="2248" y="3048"/>
                  </a:lnTo>
                  <a:lnTo>
                    <a:pt x="2260" y="3042"/>
                  </a:lnTo>
                  <a:lnTo>
                    <a:pt x="2278" y="3055"/>
                  </a:lnTo>
                  <a:lnTo>
                    <a:pt x="2284" y="3058"/>
                  </a:lnTo>
                  <a:lnTo>
                    <a:pt x="2287" y="3056"/>
                  </a:lnTo>
                  <a:lnTo>
                    <a:pt x="2290" y="3048"/>
                  </a:lnTo>
                  <a:lnTo>
                    <a:pt x="2291" y="3045"/>
                  </a:lnTo>
                  <a:lnTo>
                    <a:pt x="2300" y="3040"/>
                  </a:lnTo>
                  <a:lnTo>
                    <a:pt x="2304" y="3033"/>
                  </a:lnTo>
                  <a:lnTo>
                    <a:pt x="2305" y="3029"/>
                  </a:lnTo>
                  <a:lnTo>
                    <a:pt x="2305" y="3020"/>
                  </a:lnTo>
                  <a:lnTo>
                    <a:pt x="2305" y="3017"/>
                  </a:lnTo>
                  <a:lnTo>
                    <a:pt x="2316" y="3018"/>
                  </a:lnTo>
                  <a:lnTo>
                    <a:pt x="2317" y="3017"/>
                  </a:lnTo>
                  <a:lnTo>
                    <a:pt x="2318" y="3014"/>
                  </a:lnTo>
                  <a:lnTo>
                    <a:pt x="2317" y="3007"/>
                  </a:lnTo>
                  <a:lnTo>
                    <a:pt x="2320" y="3000"/>
                  </a:lnTo>
                  <a:lnTo>
                    <a:pt x="2324" y="2999"/>
                  </a:lnTo>
                  <a:lnTo>
                    <a:pt x="2340" y="2999"/>
                  </a:lnTo>
                  <a:lnTo>
                    <a:pt x="2345" y="2995"/>
                  </a:lnTo>
                  <a:lnTo>
                    <a:pt x="2349" y="2986"/>
                  </a:lnTo>
                  <a:lnTo>
                    <a:pt x="2352" y="2981"/>
                  </a:lnTo>
                  <a:lnTo>
                    <a:pt x="2356" y="2981"/>
                  </a:lnTo>
                  <a:lnTo>
                    <a:pt x="2366" y="2984"/>
                  </a:lnTo>
                  <a:lnTo>
                    <a:pt x="2369" y="2983"/>
                  </a:lnTo>
                  <a:lnTo>
                    <a:pt x="2370" y="2980"/>
                  </a:lnTo>
                  <a:lnTo>
                    <a:pt x="2366" y="2966"/>
                  </a:lnTo>
                  <a:lnTo>
                    <a:pt x="2347" y="2928"/>
                  </a:lnTo>
                  <a:lnTo>
                    <a:pt x="2337" y="2920"/>
                  </a:lnTo>
                  <a:lnTo>
                    <a:pt x="2313" y="2915"/>
                  </a:lnTo>
                  <a:lnTo>
                    <a:pt x="2308" y="2911"/>
                  </a:lnTo>
                  <a:lnTo>
                    <a:pt x="2301" y="2906"/>
                  </a:lnTo>
                  <a:lnTo>
                    <a:pt x="2297" y="2900"/>
                  </a:lnTo>
                  <a:lnTo>
                    <a:pt x="2295" y="2874"/>
                  </a:lnTo>
                  <a:lnTo>
                    <a:pt x="2296" y="2826"/>
                  </a:lnTo>
                  <a:lnTo>
                    <a:pt x="2297" y="2814"/>
                  </a:lnTo>
                  <a:lnTo>
                    <a:pt x="2301" y="2797"/>
                  </a:lnTo>
                  <a:lnTo>
                    <a:pt x="2305" y="2796"/>
                  </a:lnTo>
                  <a:lnTo>
                    <a:pt x="2326" y="2794"/>
                  </a:lnTo>
                  <a:lnTo>
                    <a:pt x="2332" y="2792"/>
                  </a:lnTo>
                  <a:lnTo>
                    <a:pt x="2333" y="2779"/>
                  </a:lnTo>
                  <a:lnTo>
                    <a:pt x="2342" y="2764"/>
                  </a:lnTo>
                  <a:lnTo>
                    <a:pt x="2353" y="2750"/>
                  </a:lnTo>
                  <a:lnTo>
                    <a:pt x="2369" y="2744"/>
                  </a:lnTo>
                  <a:lnTo>
                    <a:pt x="2380" y="2738"/>
                  </a:lnTo>
                  <a:lnTo>
                    <a:pt x="2384" y="2737"/>
                  </a:lnTo>
                  <a:lnTo>
                    <a:pt x="2391" y="2738"/>
                  </a:lnTo>
                  <a:lnTo>
                    <a:pt x="2398" y="2736"/>
                  </a:lnTo>
                  <a:lnTo>
                    <a:pt x="2402" y="2732"/>
                  </a:lnTo>
                  <a:lnTo>
                    <a:pt x="2413" y="2714"/>
                  </a:lnTo>
                  <a:lnTo>
                    <a:pt x="2418" y="2710"/>
                  </a:lnTo>
                  <a:lnTo>
                    <a:pt x="2422" y="2707"/>
                  </a:lnTo>
                  <a:lnTo>
                    <a:pt x="2426" y="2708"/>
                  </a:lnTo>
                  <a:lnTo>
                    <a:pt x="2430" y="2706"/>
                  </a:lnTo>
                  <a:lnTo>
                    <a:pt x="2432" y="2702"/>
                  </a:lnTo>
                  <a:lnTo>
                    <a:pt x="2432" y="2696"/>
                  </a:lnTo>
                  <a:lnTo>
                    <a:pt x="2431" y="2691"/>
                  </a:lnTo>
                  <a:lnTo>
                    <a:pt x="2427" y="2685"/>
                  </a:lnTo>
                  <a:lnTo>
                    <a:pt x="2424" y="2667"/>
                  </a:lnTo>
                  <a:lnTo>
                    <a:pt x="2421" y="2665"/>
                  </a:lnTo>
                  <a:lnTo>
                    <a:pt x="2407" y="2663"/>
                  </a:lnTo>
                  <a:lnTo>
                    <a:pt x="2405" y="2660"/>
                  </a:lnTo>
                  <a:lnTo>
                    <a:pt x="2404" y="2658"/>
                  </a:lnTo>
                  <a:lnTo>
                    <a:pt x="2407" y="2656"/>
                  </a:lnTo>
                  <a:lnTo>
                    <a:pt x="2416" y="2653"/>
                  </a:lnTo>
                  <a:lnTo>
                    <a:pt x="2419" y="2650"/>
                  </a:lnTo>
                  <a:lnTo>
                    <a:pt x="2412" y="2633"/>
                  </a:lnTo>
                  <a:lnTo>
                    <a:pt x="2416" y="2627"/>
                  </a:lnTo>
                  <a:lnTo>
                    <a:pt x="2421" y="2620"/>
                  </a:lnTo>
                  <a:lnTo>
                    <a:pt x="2423" y="2618"/>
                  </a:lnTo>
                  <a:lnTo>
                    <a:pt x="2428" y="2618"/>
                  </a:lnTo>
                  <a:lnTo>
                    <a:pt x="2440" y="2623"/>
                  </a:lnTo>
                  <a:lnTo>
                    <a:pt x="2444" y="2623"/>
                  </a:lnTo>
                  <a:lnTo>
                    <a:pt x="2449" y="2618"/>
                  </a:lnTo>
                  <a:lnTo>
                    <a:pt x="2455" y="2617"/>
                  </a:lnTo>
                  <a:lnTo>
                    <a:pt x="2457" y="2616"/>
                  </a:lnTo>
                  <a:lnTo>
                    <a:pt x="2462" y="2593"/>
                  </a:lnTo>
                  <a:lnTo>
                    <a:pt x="2468" y="2582"/>
                  </a:lnTo>
                  <a:lnTo>
                    <a:pt x="2473" y="2571"/>
                  </a:lnTo>
                  <a:lnTo>
                    <a:pt x="2477" y="2573"/>
                  </a:lnTo>
                  <a:lnTo>
                    <a:pt x="2497" y="2584"/>
                  </a:lnTo>
                  <a:lnTo>
                    <a:pt x="2526" y="2596"/>
                  </a:lnTo>
                  <a:lnTo>
                    <a:pt x="2530" y="2599"/>
                  </a:lnTo>
                  <a:lnTo>
                    <a:pt x="2535" y="2607"/>
                  </a:lnTo>
                  <a:lnTo>
                    <a:pt x="2538" y="2611"/>
                  </a:lnTo>
                  <a:lnTo>
                    <a:pt x="2543" y="2610"/>
                  </a:lnTo>
                  <a:lnTo>
                    <a:pt x="2547" y="2607"/>
                  </a:lnTo>
                  <a:lnTo>
                    <a:pt x="2549" y="2603"/>
                  </a:lnTo>
                  <a:lnTo>
                    <a:pt x="2549" y="2600"/>
                  </a:lnTo>
                  <a:lnTo>
                    <a:pt x="2544" y="2595"/>
                  </a:lnTo>
                  <a:lnTo>
                    <a:pt x="2543" y="2591"/>
                  </a:lnTo>
                  <a:lnTo>
                    <a:pt x="2546" y="2588"/>
                  </a:lnTo>
                  <a:lnTo>
                    <a:pt x="2557" y="2586"/>
                  </a:lnTo>
                  <a:lnTo>
                    <a:pt x="2557" y="2582"/>
                  </a:lnTo>
                  <a:lnTo>
                    <a:pt x="2552" y="2569"/>
                  </a:lnTo>
                  <a:lnTo>
                    <a:pt x="2528" y="2527"/>
                  </a:lnTo>
                  <a:lnTo>
                    <a:pt x="2525" y="2513"/>
                  </a:lnTo>
                  <a:lnTo>
                    <a:pt x="2526" y="2506"/>
                  </a:lnTo>
                  <a:lnTo>
                    <a:pt x="2528" y="2502"/>
                  </a:lnTo>
                  <a:lnTo>
                    <a:pt x="2531" y="2498"/>
                  </a:lnTo>
                  <a:lnTo>
                    <a:pt x="2543" y="2490"/>
                  </a:lnTo>
                  <a:lnTo>
                    <a:pt x="2550" y="2486"/>
                  </a:lnTo>
                  <a:lnTo>
                    <a:pt x="2564" y="2485"/>
                  </a:lnTo>
                  <a:lnTo>
                    <a:pt x="2589" y="2488"/>
                  </a:lnTo>
                  <a:lnTo>
                    <a:pt x="2593" y="2487"/>
                  </a:lnTo>
                  <a:lnTo>
                    <a:pt x="2597" y="2485"/>
                  </a:lnTo>
                  <a:lnTo>
                    <a:pt x="2600" y="2476"/>
                  </a:lnTo>
                  <a:lnTo>
                    <a:pt x="2605" y="2451"/>
                  </a:lnTo>
                  <a:lnTo>
                    <a:pt x="2606" y="2423"/>
                  </a:lnTo>
                  <a:lnTo>
                    <a:pt x="2604" y="2420"/>
                  </a:lnTo>
                  <a:lnTo>
                    <a:pt x="2585" y="2413"/>
                  </a:lnTo>
                  <a:lnTo>
                    <a:pt x="2585" y="2408"/>
                  </a:lnTo>
                  <a:lnTo>
                    <a:pt x="2586" y="2407"/>
                  </a:lnTo>
                  <a:lnTo>
                    <a:pt x="2595" y="2403"/>
                  </a:lnTo>
                  <a:lnTo>
                    <a:pt x="2599" y="2399"/>
                  </a:lnTo>
                  <a:lnTo>
                    <a:pt x="2603" y="2390"/>
                  </a:lnTo>
                  <a:lnTo>
                    <a:pt x="2612" y="2379"/>
                  </a:lnTo>
                  <a:lnTo>
                    <a:pt x="2621" y="2373"/>
                  </a:lnTo>
                  <a:lnTo>
                    <a:pt x="2634" y="2368"/>
                  </a:lnTo>
                  <a:lnTo>
                    <a:pt x="2608" y="2341"/>
                  </a:lnTo>
                  <a:lnTo>
                    <a:pt x="2585" y="2326"/>
                  </a:lnTo>
                  <a:lnTo>
                    <a:pt x="2581" y="2323"/>
                  </a:lnTo>
                  <a:lnTo>
                    <a:pt x="2579" y="2309"/>
                  </a:lnTo>
                  <a:lnTo>
                    <a:pt x="2582" y="2303"/>
                  </a:lnTo>
                  <a:lnTo>
                    <a:pt x="2570" y="2286"/>
                  </a:lnTo>
                  <a:lnTo>
                    <a:pt x="2570" y="2283"/>
                  </a:lnTo>
                  <a:lnTo>
                    <a:pt x="2572" y="2270"/>
                  </a:lnTo>
                  <a:lnTo>
                    <a:pt x="2567" y="2261"/>
                  </a:lnTo>
                  <a:lnTo>
                    <a:pt x="2569" y="2256"/>
                  </a:lnTo>
                  <a:lnTo>
                    <a:pt x="2575" y="2250"/>
                  </a:lnTo>
                  <a:lnTo>
                    <a:pt x="2576" y="2245"/>
                  </a:lnTo>
                  <a:lnTo>
                    <a:pt x="2571" y="2241"/>
                  </a:lnTo>
                  <a:lnTo>
                    <a:pt x="2561" y="2238"/>
                  </a:lnTo>
                  <a:lnTo>
                    <a:pt x="2554" y="2229"/>
                  </a:lnTo>
                  <a:lnTo>
                    <a:pt x="2537" y="2216"/>
                  </a:lnTo>
                  <a:lnTo>
                    <a:pt x="2533" y="2209"/>
                  </a:lnTo>
                  <a:lnTo>
                    <a:pt x="2530" y="2200"/>
                  </a:lnTo>
                  <a:lnTo>
                    <a:pt x="2530" y="2193"/>
                  </a:lnTo>
                  <a:lnTo>
                    <a:pt x="2533" y="2188"/>
                  </a:lnTo>
                  <a:lnTo>
                    <a:pt x="2559" y="2173"/>
                  </a:lnTo>
                  <a:lnTo>
                    <a:pt x="2546" y="2146"/>
                  </a:lnTo>
                  <a:lnTo>
                    <a:pt x="2522" y="2114"/>
                  </a:lnTo>
                  <a:lnTo>
                    <a:pt x="2507" y="2097"/>
                  </a:lnTo>
                  <a:lnTo>
                    <a:pt x="2504" y="2092"/>
                  </a:lnTo>
                  <a:lnTo>
                    <a:pt x="2509" y="2088"/>
                  </a:lnTo>
                  <a:lnTo>
                    <a:pt x="2511" y="2081"/>
                  </a:lnTo>
                  <a:lnTo>
                    <a:pt x="2513" y="2060"/>
                  </a:lnTo>
                  <a:lnTo>
                    <a:pt x="2515" y="2055"/>
                  </a:lnTo>
                  <a:lnTo>
                    <a:pt x="2518" y="2054"/>
                  </a:lnTo>
                  <a:lnTo>
                    <a:pt x="2548" y="2059"/>
                  </a:lnTo>
                  <a:lnTo>
                    <a:pt x="2552" y="2057"/>
                  </a:lnTo>
                  <a:lnTo>
                    <a:pt x="2552" y="2054"/>
                  </a:lnTo>
                  <a:lnTo>
                    <a:pt x="2541" y="2032"/>
                  </a:lnTo>
                  <a:lnTo>
                    <a:pt x="2531" y="2027"/>
                  </a:lnTo>
                  <a:lnTo>
                    <a:pt x="2527" y="2023"/>
                  </a:lnTo>
                  <a:lnTo>
                    <a:pt x="2513" y="2018"/>
                  </a:lnTo>
                  <a:lnTo>
                    <a:pt x="2508" y="2013"/>
                  </a:lnTo>
                  <a:lnTo>
                    <a:pt x="2502" y="2004"/>
                  </a:lnTo>
                  <a:lnTo>
                    <a:pt x="2495" y="1986"/>
                  </a:lnTo>
                  <a:lnTo>
                    <a:pt x="2471" y="1969"/>
                  </a:lnTo>
                  <a:lnTo>
                    <a:pt x="2455" y="1962"/>
                  </a:lnTo>
                  <a:lnTo>
                    <a:pt x="2454" y="1951"/>
                  </a:lnTo>
                  <a:lnTo>
                    <a:pt x="2452" y="1948"/>
                  </a:lnTo>
                  <a:lnTo>
                    <a:pt x="2448" y="1945"/>
                  </a:lnTo>
                  <a:lnTo>
                    <a:pt x="2442" y="1941"/>
                  </a:lnTo>
                  <a:lnTo>
                    <a:pt x="2429" y="1936"/>
                  </a:lnTo>
                  <a:lnTo>
                    <a:pt x="2426" y="1935"/>
                  </a:lnTo>
                  <a:lnTo>
                    <a:pt x="2425" y="1931"/>
                  </a:lnTo>
                  <a:lnTo>
                    <a:pt x="2432" y="1912"/>
                  </a:lnTo>
                  <a:lnTo>
                    <a:pt x="2435" y="1902"/>
                  </a:lnTo>
                  <a:lnTo>
                    <a:pt x="2435" y="1897"/>
                  </a:lnTo>
                  <a:lnTo>
                    <a:pt x="2430" y="1890"/>
                  </a:lnTo>
                  <a:lnTo>
                    <a:pt x="2419" y="1883"/>
                  </a:lnTo>
                  <a:lnTo>
                    <a:pt x="2416" y="1880"/>
                  </a:lnTo>
                  <a:lnTo>
                    <a:pt x="2410" y="1870"/>
                  </a:lnTo>
                  <a:lnTo>
                    <a:pt x="2405" y="1850"/>
                  </a:lnTo>
                  <a:lnTo>
                    <a:pt x="2402" y="1846"/>
                  </a:lnTo>
                  <a:lnTo>
                    <a:pt x="2400" y="1845"/>
                  </a:lnTo>
                  <a:lnTo>
                    <a:pt x="2394" y="1845"/>
                  </a:lnTo>
                  <a:lnTo>
                    <a:pt x="2372" y="1847"/>
                  </a:lnTo>
                  <a:lnTo>
                    <a:pt x="2355" y="1859"/>
                  </a:lnTo>
                  <a:lnTo>
                    <a:pt x="2353" y="1860"/>
                  </a:lnTo>
                  <a:lnTo>
                    <a:pt x="2349" y="1857"/>
                  </a:lnTo>
                  <a:lnTo>
                    <a:pt x="2345" y="1848"/>
                  </a:lnTo>
                  <a:lnTo>
                    <a:pt x="2341" y="1845"/>
                  </a:lnTo>
                  <a:lnTo>
                    <a:pt x="2320" y="1839"/>
                  </a:lnTo>
                  <a:lnTo>
                    <a:pt x="2316" y="1833"/>
                  </a:lnTo>
                  <a:lnTo>
                    <a:pt x="2314" y="1823"/>
                  </a:lnTo>
                  <a:lnTo>
                    <a:pt x="2312" y="1818"/>
                  </a:lnTo>
                  <a:lnTo>
                    <a:pt x="2301" y="1806"/>
                  </a:lnTo>
                  <a:lnTo>
                    <a:pt x="2287" y="1788"/>
                  </a:lnTo>
                  <a:lnTo>
                    <a:pt x="2281" y="1782"/>
                  </a:lnTo>
                  <a:lnTo>
                    <a:pt x="2268" y="1779"/>
                  </a:lnTo>
                  <a:lnTo>
                    <a:pt x="2256" y="1782"/>
                  </a:lnTo>
                  <a:lnTo>
                    <a:pt x="2249" y="1787"/>
                  </a:lnTo>
                  <a:lnTo>
                    <a:pt x="2240" y="1801"/>
                  </a:lnTo>
                  <a:lnTo>
                    <a:pt x="2237" y="1804"/>
                  </a:lnTo>
                  <a:lnTo>
                    <a:pt x="2233" y="1805"/>
                  </a:lnTo>
                  <a:lnTo>
                    <a:pt x="2224" y="1800"/>
                  </a:lnTo>
                  <a:lnTo>
                    <a:pt x="2207" y="1787"/>
                  </a:lnTo>
                  <a:lnTo>
                    <a:pt x="2203" y="1785"/>
                  </a:lnTo>
                  <a:lnTo>
                    <a:pt x="2195" y="1784"/>
                  </a:lnTo>
                  <a:lnTo>
                    <a:pt x="2192" y="1782"/>
                  </a:lnTo>
                  <a:lnTo>
                    <a:pt x="2188" y="1778"/>
                  </a:lnTo>
                  <a:lnTo>
                    <a:pt x="2185" y="1772"/>
                  </a:lnTo>
                  <a:lnTo>
                    <a:pt x="2183" y="1765"/>
                  </a:lnTo>
                  <a:lnTo>
                    <a:pt x="2180" y="1753"/>
                  </a:lnTo>
                  <a:lnTo>
                    <a:pt x="2177" y="1749"/>
                  </a:lnTo>
                  <a:lnTo>
                    <a:pt x="2135" y="1719"/>
                  </a:lnTo>
                  <a:lnTo>
                    <a:pt x="2133" y="1718"/>
                  </a:lnTo>
                  <a:lnTo>
                    <a:pt x="2124" y="1720"/>
                  </a:lnTo>
                  <a:lnTo>
                    <a:pt x="2122" y="1718"/>
                  </a:lnTo>
                  <a:lnTo>
                    <a:pt x="2120" y="1712"/>
                  </a:lnTo>
                  <a:lnTo>
                    <a:pt x="2120" y="1706"/>
                  </a:lnTo>
                  <a:lnTo>
                    <a:pt x="2129" y="1682"/>
                  </a:lnTo>
                  <a:lnTo>
                    <a:pt x="2132" y="1666"/>
                  </a:lnTo>
                  <a:lnTo>
                    <a:pt x="2106" y="1670"/>
                  </a:lnTo>
                  <a:lnTo>
                    <a:pt x="2101" y="1664"/>
                  </a:lnTo>
                  <a:lnTo>
                    <a:pt x="2093" y="1644"/>
                  </a:lnTo>
                  <a:lnTo>
                    <a:pt x="2088" y="1637"/>
                  </a:lnTo>
                  <a:lnTo>
                    <a:pt x="2080" y="1635"/>
                  </a:lnTo>
                  <a:lnTo>
                    <a:pt x="2057" y="1633"/>
                  </a:lnTo>
                  <a:lnTo>
                    <a:pt x="2048" y="1630"/>
                  </a:lnTo>
                  <a:lnTo>
                    <a:pt x="2025" y="1614"/>
                  </a:lnTo>
                  <a:lnTo>
                    <a:pt x="2008" y="1614"/>
                  </a:lnTo>
                  <a:lnTo>
                    <a:pt x="1997" y="1610"/>
                  </a:lnTo>
                  <a:lnTo>
                    <a:pt x="1987" y="1609"/>
                  </a:lnTo>
                  <a:lnTo>
                    <a:pt x="1982" y="1603"/>
                  </a:lnTo>
                  <a:lnTo>
                    <a:pt x="1978" y="1589"/>
                  </a:lnTo>
                  <a:lnTo>
                    <a:pt x="1976" y="1586"/>
                  </a:lnTo>
                  <a:lnTo>
                    <a:pt x="1973" y="1583"/>
                  </a:lnTo>
                  <a:lnTo>
                    <a:pt x="1968" y="1582"/>
                  </a:lnTo>
                  <a:lnTo>
                    <a:pt x="1966" y="1580"/>
                  </a:lnTo>
                  <a:lnTo>
                    <a:pt x="1963" y="1575"/>
                  </a:lnTo>
                  <a:lnTo>
                    <a:pt x="1962" y="1564"/>
                  </a:lnTo>
                  <a:lnTo>
                    <a:pt x="1960" y="1558"/>
                  </a:lnTo>
                  <a:lnTo>
                    <a:pt x="1949" y="1547"/>
                  </a:lnTo>
                  <a:lnTo>
                    <a:pt x="1936" y="1527"/>
                  </a:lnTo>
                  <a:lnTo>
                    <a:pt x="1918" y="1539"/>
                  </a:lnTo>
                  <a:lnTo>
                    <a:pt x="1915" y="1544"/>
                  </a:lnTo>
                  <a:lnTo>
                    <a:pt x="1913" y="1550"/>
                  </a:lnTo>
                  <a:lnTo>
                    <a:pt x="1915" y="1554"/>
                  </a:lnTo>
                  <a:lnTo>
                    <a:pt x="1924" y="1561"/>
                  </a:lnTo>
                  <a:lnTo>
                    <a:pt x="1927" y="1567"/>
                  </a:lnTo>
                  <a:lnTo>
                    <a:pt x="1928" y="1585"/>
                  </a:lnTo>
                  <a:lnTo>
                    <a:pt x="1936" y="1593"/>
                  </a:lnTo>
                  <a:lnTo>
                    <a:pt x="1937" y="1596"/>
                  </a:lnTo>
                  <a:lnTo>
                    <a:pt x="1938" y="1612"/>
                  </a:lnTo>
                  <a:lnTo>
                    <a:pt x="1937" y="1621"/>
                  </a:lnTo>
                  <a:lnTo>
                    <a:pt x="1933" y="1622"/>
                  </a:lnTo>
                  <a:lnTo>
                    <a:pt x="1926" y="1619"/>
                  </a:lnTo>
                  <a:lnTo>
                    <a:pt x="1925" y="1617"/>
                  </a:lnTo>
                  <a:lnTo>
                    <a:pt x="1921" y="1609"/>
                  </a:lnTo>
                  <a:lnTo>
                    <a:pt x="1919" y="1607"/>
                  </a:lnTo>
                  <a:lnTo>
                    <a:pt x="1879" y="1586"/>
                  </a:lnTo>
                  <a:lnTo>
                    <a:pt x="1856" y="1572"/>
                  </a:lnTo>
                  <a:lnTo>
                    <a:pt x="1822" y="1544"/>
                  </a:lnTo>
                  <a:lnTo>
                    <a:pt x="1810" y="1534"/>
                  </a:lnTo>
                  <a:lnTo>
                    <a:pt x="1798" y="1517"/>
                  </a:lnTo>
                  <a:lnTo>
                    <a:pt x="1787" y="1504"/>
                  </a:lnTo>
                  <a:lnTo>
                    <a:pt x="1784" y="1499"/>
                  </a:lnTo>
                  <a:lnTo>
                    <a:pt x="1784" y="1489"/>
                  </a:lnTo>
                  <a:lnTo>
                    <a:pt x="1781" y="1484"/>
                  </a:lnTo>
                  <a:lnTo>
                    <a:pt x="1765" y="1471"/>
                  </a:lnTo>
                  <a:lnTo>
                    <a:pt x="1751" y="1449"/>
                  </a:lnTo>
                  <a:lnTo>
                    <a:pt x="1736" y="1425"/>
                  </a:lnTo>
                  <a:lnTo>
                    <a:pt x="1728" y="1418"/>
                  </a:lnTo>
                  <a:lnTo>
                    <a:pt x="1715" y="1411"/>
                  </a:lnTo>
                  <a:lnTo>
                    <a:pt x="1708" y="1407"/>
                  </a:lnTo>
                  <a:lnTo>
                    <a:pt x="1680" y="1373"/>
                  </a:lnTo>
                  <a:lnTo>
                    <a:pt x="1679" y="1371"/>
                  </a:lnTo>
                  <a:lnTo>
                    <a:pt x="1680" y="1369"/>
                  </a:lnTo>
                  <a:lnTo>
                    <a:pt x="1691" y="1358"/>
                  </a:lnTo>
                  <a:lnTo>
                    <a:pt x="1693" y="1357"/>
                  </a:lnTo>
                  <a:lnTo>
                    <a:pt x="1693" y="1355"/>
                  </a:lnTo>
                  <a:lnTo>
                    <a:pt x="1687" y="1352"/>
                  </a:lnTo>
                  <a:lnTo>
                    <a:pt x="1666" y="1344"/>
                  </a:lnTo>
                  <a:lnTo>
                    <a:pt x="1652" y="1337"/>
                  </a:lnTo>
                  <a:lnTo>
                    <a:pt x="1639" y="1326"/>
                  </a:lnTo>
                  <a:lnTo>
                    <a:pt x="1617" y="1304"/>
                  </a:lnTo>
                  <a:lnTo>
                    <a:pt x="1611" y="1299"/>
                  </a:lnTo>
                  <a:lnTo>
                    <a:pt x="1604" y="1295"/>
                  </a:lnTo>
                  <a:lnTo>
                    <a:pt x="1599" y="1295"/>
                  </a:lnTo>
                  <a:lnTo>
                    <a:pt x="1595" y="1298"/>
                  </a:lnTo>
                  <a:lnTo>
                    <a:pt x="1589" y="1309"/>
                  </a:lnTo>
                  <a:lnTo>
                    <a:pt x="1582" y="1316"/>
                  </a:lnTo>
                  <a:lnTo>
                    <a:pt x="1573" y="1321"/>
                  </a:lnTo>
                  <a:lnTo>
                    <a:pt x="1566" y="1335"/>
                  </a:lnTo>
                  <a:lnTo>
                    <a:pt x="1561" y="1341"/>
                  </a:lnTo>
                  <a:lnTo>
                    <a:pt x="1558" y="1343"/>
                  </a:lnTo>
                  <a:lnTo>
                    <a:pt x="1549" y="1336"/>
                  </a:lnTo>
                  <a:lnTo>
                    <a:pt x="1531" y="1333"/>
                  </a:lnTo>
                  <a:lnTo>
                    <a:pt x="1525" y="1329"/>
                  </a:lnTo>
                  <a:lnTo>
                    <a:pt x="1523" y="1326"/>
                  </a:lnTo>
                  <a:lnTo>
                    <a:pt x="1524" y="1316"/>
                  </a:lnTo>
                  <a:lnTo>
                    <a:pt x="1516" y="1311"/>
                  </a:lnTo>
                  <a:lnTo>
                    <a:pt x="1512" y="1304"/>
                  </a:lnTo>
                  <a:lnTo>
                    <a:pt x="1505" y="1300"/>
                  </a:lnTo>
                  <a:lnTo>
                    <a:pt x="1490" y="1298"/>
                  </a:lnTo>
                  <a:lnTo>
                    <a:pt x="1488" y="1302"/>
                  </a:lnTo>
                  <a:lnTo>
                    <a:pt x="1483" y="1325"/>
                  </a:lnTo>
                  <a:lnTo>
                    <a:pt x="1480" y="1336"/>
                  </a:lnTo>
                  <a:lnTo>
                    <a:pt x="1476" y="1341"/>
                  </a:lnTo>
                  <a:lnTo>
                    <a:pt x="1459" y="1355"/>
                  </a:lnTo>
                  <a:lnTo>
                    <a:pt x="1439" y="1367"/>
                  </a:lnTo>
                  <a:lnTo>
                    <a:pt x="1426" y="1378"/>
                  </a:lnTo>
                  <a:lnTo>
                    <a:pt x="1423" y="1376"/>
                  </a:lnTo>
                  <a:lnTo>
                    <a:pt x="1419" y="1367"/>
                  </a:lnTo>
                  <a:lnTo>
                    <a:pt x="1415" y="1363"/>
                  </a:lnTo>
                  <a:lnTo>
                    <a:pt x="1371" y="1327"/>
                  </a:lnTo>
                  <a:lnTo>
                    <a:pt x="1357" y="1319"/>
                  </a:lnTo>
                  <a:lnTo>
                    <a:pt x="1340" y="1315"/>
                  </a:lnTo>
                  <a:lnTo>
                    <a:pt x="1337" y="1312"/>
                  </a:lnTo>
                  <a:lnTo>
                    <a:pt x="1335" y="1310"/>
                  </a:lnTo>
                  <a:lnTo>
                    <a:pt x="1332" y="1298"/>
                  </a:lnTo>
                  <a:lnTo>
                    <a:pt x="1331" y="1293"/>
                  </a:lnTo>
                  <a:lnTo>
                    <a:pt x="1300" y="1266"/>
                  </a:lnTo>
                  <a:lnTo>
                    <a:pt x="1273" y="1237"/>
                  </a:lnTo>
                  <a:lnTo>
                    <a:pt x="1260" y="1233"/>
                  </a:lnTo>
                  <a:lnTo>
                    <a:pt x="1255" y="1226"/>
                  </a:lnTo>
                  <a:lnTo>
                    <a:pt x="1252" y="1223"/>
                  </a:lnTo>
                  <a:lnTo>
                    <a:pt x="1240" y="1221"/>
                  </a:lnTo>
                  <a:lnTo>
                    <a:pt x="1200" y="1205"/>
                  </a:lnTo>
                  <a:lnTo>
                    <a:pt x="1184" y="1202"/>
                  </a:lnTo>
                  <a:lnTo>
                    <a:pt x="1169" y="1203"/>
                  </a:lnTo>
                  <a:lnTo>
                    <a:pt x="1165" y="1207"/>
                  </a:lnTo>
                  <a:lnTo>
                    <a:pt x="1164" y="1212"/>
                  </a:lnTo>
                  <a:lnTo>
                    <a:pt x="1166" y="1218"/>
                  </a:lnTo>
                  <a:lnTo>
                    <a:pt x="1170" y="1230"/>
                  </a:lnTo>
                  <a:lnTo>
                    <a:pt x="1158" y="1241"/>
                  </a:lnTo>
                  <a:lnTo>
                    <a:pt x="1153" y="1265"/>
                  </a:lnTo>
                  <a:lnTo>
                    <a:pt x="1147" y="1295"/>
                  </a:lnTo>
                  <a:lnTo>
                    <a:pt x="1149" y="1322"/>
                  </a:lnTo>
                  <a:lnTo>
                    <a:pt x="1147" y="1335"/>
                  </a:lnTo>
                  <a:lnTo>
                    <a:pt x="1149" y="1351"/>
                  </a:lnTo>
                  <a:lnTo>
                    <a:pt x="1148" y="1373"/>
                  </a:lnTo>
                  <a:lnTo>
                    <a:pt x="1149" y="1377"/>
                  </a:lnTo>
                  <a:lnTo>
                    <a:pt x="1152" y="1379"/>
                  </a:lnTo>
                  <a:lnTo>
                    <a:pt x="1153" y="1384"/>
                  </a:lnTo>
                  <a:lnTo>
                    <a:pt x="1151" y="1399"/>
                  </a:lnTo>
                  <a:lnTo>
                    <a:pt x="1148" y="1408"/>
                  </a:lnTo>
                  <a:lnTo>
                    <a:pt x="1144" y="1410"/>
                  </a:lnTo>
                  <a:lnTo>
                    <a:pt x="1131" y="1414"/>
                  </a:lnTo>
                  <a:lnTo>
                    <a:pt x="1127" y="1415"/>
                  </a:lnTo>
                  <a:lnTo>
                    <a:pt x="1124" y="1415"/>
                  </a:lnTo>
                  <a:lnTo>
                    <a:pt x="1106" y="1409"/>
                  </a:lnTo>
                  <a:lnTo>
                    <a:pt x="1095" y="1402"/>
                  </a:lnTo>
                  <a:lnTo>
                    <a:pt x="1089" y="1398"/>
                  </a:lnTo>
                  <a:lnTo>
                    <a:pt x="1083" y="1389"/>
                  </a:lnTo>
                  <a:lnTo>
                    <a:pt x="1080" y="1388"/>
                  </a:lnTo>
                  <a:lnTo>
                    <a:pt x="1076" y="1400"/>
                  </a:lnTo>
                  <a:lnTo>
                    <a:pt x="1068" y="1402"/>
                  </a:lnTo>
                  <a:lnTo>
                    <a:pt x="1069" y="1409"/>
                  </a:lnTo>
                  <a:lnTo>
                    <a:pt x="1073" y="1417"/>
                  </a:lnTo>
                  <a:lnTo>
                    <a:pt x="1073" y="1423"/>
                  </a:lnTo>
                  <a:lnTo>
                    <a:pt x="1052" y="1425"/>
                  </a:lnTo>
                  <a:lnTo>
                    <a:pt x="1049" y="1426"/>
                  </a:lnTo>
                  <a:lnTo>
                    <a:pt x="1047" y="1430"/>
                  </a:lnTo>
                  <a:lnTo>
                    <a:pt x="1048" y="1432"/>
                  </a:lnTo>
                  <a:lnTo>
                    <a:pt x="1052" y="1445"/>
                  </a:lnTo>
                  <a:lnTo>
                    <a:pt x="1053" y="1451"/>
                  </a:lnTo>
                  <a:lnTo>
                    <a:pt x="1050" y="1459"/>
                  </a:lnTo>
                  <a:lnTo>
                    <a:pt x="1040" y="1473"/>
                  </a:lnTo>
                  <a:lnTo>
                    <a:pt x="1035" y="1486"/>
                  </a:lnTo>
                  <a:lnTo>
                    <a:pt x="1034" y="1495"/>
                  </a:lnTo>
                  <a:lnTo>
                    <a:pt x="1036" y="1507"/>
                  </a:lnTo>
                  <a:lnTo>
                    <a:pt x="1036" y="1519"/>
                  </a:lnTo>
                  <a:lnTo>
                    <a:pt x="1027" y="1516"/>
                  </a:lnTo>
                  <a:lnTo>
                    <a:pt x="1013" y="1508"/>
                  </a:lnTo>
                  <a:lnTo>
                    <a:pt x="991" y="1495"/>
                  </a:lnTo>
                  <a:lnTo>
                    <a:pt x="978" y="1489"/>
                  </a:lnTo>
                  <a:lnTo>
                    <a:pt x="967" y="1492"/>
                  </a:lnTo>
                  <a:lnTo>
                    <a:pt x="959" y="1498"/>
                  </a:lnTo>
                  <a:lnTo>
                    <a:pt x="954" y="1503"/>
                  </a:lnTo>
                  <a:lnTo>
                    <a:pt x="946" y="1517"/>
                  </a:lnTo>
                  <a:lnTo>
                    <a:pt x="941" y="1523"/>
                  </a:lnTo>
                  <a:lnTo>
                    <a:pt x="934" y="1525"/>
                  </a:lnTo>
                  <a:lnTo>
                    <a:pt x="925" y="1524"/>
                  </a:lnTo>
                  <a:lnTo>
                    <a:pt x="914" y="1519"/>
                  </a:lnTo>
                  <a:lnTo>
                    <a:pt x="894" y="1504"/>
                  </a:lnTo>
                  <a:lnTo>
                    <a:pt x="871" y="1497"/>
                  </a:lnTo>
                  <a:lnTo>
                    <a:pt x="867" y="1493"/>
                  </a:lnTo>
                  <a:lnTo>
                    <a:pt x="859" y="1482"/>
                  </a:lnTo>
                  <a:lnTo>
                    <a:pt x="846" y="1477"/>
                  </a:lnTo>
                  <a:lnTo>
                    <a:pt x="842" y="1469"/>
                  </a:lnTo>
                  <a:lnTo>
                    <a:pt x="838" y="1450"/>
                  </a:lnTo>
                  <a:lnTo>
                    <a:pt x="836" y="1444"/>
                  </a:lnTo>
                  <a:lnTo>
                    <a:pt x="819" y="1434"/>
                  </a:lnTo>
                  <a:lnTo>
                    <a:pt x="810" y="1428"/>
                  </a:lnTo>
                  <a:lnTo>
                    <a:pt x="802" y="1424"/>
                  </a:lnTo>
                  <a:lnTo>
                    <a:pt x="798" y="1424"/>
                  </a:lnTo>
                  <a:lnTo>
                    <a:pt x="795" y="1426"/>
                  </a:lnTo>
                  <a:lnTo>
                    <a:pt x="786" y="1435"/>
                  </a:lnTo>
                  <a:lnTo>
                    <a:pt x="780" y="1441"/>
                  </a:lnTo>
                  <a:lnTo>
                    <a:pt x="771" y="1445"/>
                  </a:lnTo>
                  <a:lnTo>
                    <a:pt x="763" y="1447"/>
                  </a:lnTo>
                  <a:lnTo>
                    <a:pt x="752" y="1449"/>
                  </a:lnTo>
                  <a:lnTo>
                    <a:pt x="732" y="1449"/>
                  </a:lnTo>
                  <a:lnTo>
                    <a:pt x="719" y="1447"/>
                  </a:lnTo>
                  <a:lnTo>
                    <a:pt x="702" y="1443"/>
                  </a:lnTo>
                  <a:lnTo>
                    <a:pt x="692" y="1449"/>
                  </a:lnTo>
                  <a:lnTo>
                    <a:pt x="685" y="1446"/>
                  </a:lnTo>
                  <a:lnTo>
                    <a:pt x="682" y="1441"/>
                  </a:lnTo>
                  <a:lnTo>
                    <a:pt x="679" y="1434"/>
                  </a:lnTo>
                  <a:lnTo>
                    <a:pt x="677" y="1420"/>
                  </a:lnTo>
                  <a:lnTo>
                    <a:pt x="675" y="1417"/>
                  </a:lnTo>
                  <a:lnTo>
                    <a:pt x="669" y="1411"/>
                  </a:lnTo>
                  <a:lnTo>
                    <a:pt x="651" y="1396"/>
                  </a:lnTo>
                  <a:lnTo>
                    <a:pt x="634" y="1399"/>
                  </a:lnTo>
                  <a:lnTo>
                    <a:pt x="608" y="1392"/>
                  </a:lnTo>
                  <a:lnTo>
                    <a:pt x="603" y="1391"/>
                  </a:lnTo>
                  <a:lnTo>
                    <a:pt x="596" y="1392"/>
                  </a:lnTo>
                  <a:lnTo>
                    <a:pt x="585" y="1397"/>
                  </a:lnTo>
                  <a:lnTo>
                    <a:pt x="578" y="1398"/>
                  </a:lnTo>
                  <a:lnTo>
                    <a:pt x="550" y="1395"/>
                  </a:lnTo>
                  <a:lnTo>
                    <a:pt x="507" y="1393"/>
                  </a:lnTo>
                  <a:lnTo>
                    <a:pt x="504" y="1389"/>
                  </a:lnTo>
                  <a:lnTo>
                    <a:pt x="506" y="1377"/>
                  </a:lnTo>
                  <a:lnTo>
                    <a:pt x="504" y="1367"/>
                  </a:lnTo>
                  <a:lnTo>
                    <a:pt x="494" y="1334"/>
                  </a:lnTo>
                  <a:lnTo>
                    <a:pt x="488" y="1312"/>
                  </a:lnTo>
                  <a:lnTo>
                    <a:pt x="489" y="1282"/>
                  </a:lnTo>
                  <a:lnTo>
                    <a:pt x="488" y="1271"/>
                  </a:lnTo>
                  <a:lnTo>
                    <a:pt x="484" y="1265"/>
                  </a:lnTo>
                  <a:lnTo>
                    <a:pt x="478" y="1262"/>
                  </a:lnTo>
                  <a:lnTo>
                    <a:pt x="465" y="1258"/>
                  </a:lnTo>
                  <a:lnTo>
                    <a:pt x="377" y="1254"/>
                  </a:lnTo>
                  <a:lnTo>
                    <a:pt x="365" y="1252"/>
                  </a:lnTo>
                  <a:lnTo>
                    <a:pt x="353" y="1250"/>
                  </a:lnTo>
                  <a:lnTo>
                    <a:pt x="345" y="1244"/>
                  </a:lnTo>
                  <a:lnTo>
                    <a:pt x="336" y="1236"/>
                  </a:lnTo>
                  <a:lnTo>
                    <a:pt x="331" y="1227"/>
                  </a:lnTo>
                  <a:lnTo>
                    <a:pt x="331" y="1219"/>
                  </a:lnTo>
                  <a:lnTo>
                    <a:pt x="332" y="1216"/>
                  </a:lnTo>
                  <a:lnTo>
                    <a:pt x="334" y="1214"/>
                  </a:lnTo>
                  <a:lnTo>
                    <a:pt x="357" y="1217"/>
                  </a:lnTo>
                  <a:lnTo>
                    <a:pt x="360" y="1216"/>
                  </a:lnTo>
                  <a:lnTo>
                    <a:pt x="364" y="1214"/>
                  </a:lnTo>
                  <a:lnTo>
                    <a:pt x="365" y="1210"/>
                  </a:lnTo>
                  <a:lnTo>
                    <a:pt x="366" y="1202"/>
                  </a:lnTo>
                  <a:lnTo>
                    <a:pt x="365" y="1197"/>
                  </a:lnTo>
                  <a:lnTo>
                    <a:pt x="363" y="1195"/>
                  </a:lnTo>
                  <a:lnTo>
                    <a:pt x="352" y="1194"/>
                  </a:lnTo>
                  <a:lnTo>
                    <a:pt x="335" y="1177"/>
                  </a:lnTo>
                  <a:lnTo>
                    <a:pt x="326" y="1169"/>
                  </a:lnTo>
                  <a:lnTo>
                    <a:pt x="304" y="1163"/>
                  </a:lnTo>
                  <a:lnTo>
                    <a:pt x="279" y="1159"/>
                  </a:lnTo>
                  <a:lnTo>
                    <a:pt x="266" y="1159"/>
                  </a:lnTo>
                  <a:lnTo>
                    <a:pt x="251" y="1161"/>
                  </a:lnTo>
                  <a:lnTo>
                    <a:pt x="236" y="1161"/>
                  </a:lnTo>
                  <a:lnTo>
                    <a:pt x="216" y="1160"/>
                  </a:lnTo>
                  <a:lnTo>
                    <a:pt x="205" y="1157"/>
                  </a:lnTo>
                  <a:lnTo>
                    <a:pt x="202" y="1152"/>
                  </a:lnTo>
                  <a:lnTo>
                    <a:pt x="201" y="1145"/>
                  </a:lnTo>
                  <a:lnTo>
                    <a:pt x="206" y="1114"/>
                  </a:lnTo>
                  <a:lnTo>
                    <a:pt x="206" y="1104"/>
                  </a:lnTo>
                  <a:lnTo>
                    <a:pt x="205" y="1101"/>
                  </a:lnTo>
                  <a:lnTo>
                    <a:pt x="200" y="1094"/>
                  </a:lnTo>
                  <a:lnTo>
                    <a:pt x="196" y="1070"/>
                  </a:lnTo>
                  <a:lnTo>
                    <a:pt x="194" y="1066"/>
                  </a:lnTo>
                  <a:lnTo>
                    <a:pt x="191" y="1064"/>
                  </a:lnTo>
                  <a:lnTo>
                    <a:pt x="187" y="1064"/>
                  </a:lnTo>
                  <a:lnTo>
                    <a:pt x="166" y="1070"/>
                  </a:lnTo>
                  <a:lnTo>
                    <a:pt x="157" y="1068"/>
                  </a:lnTo>
                  <a:lnTo>
                    <a:pt x="142" y="1060"/>
                  </a:lnTo>
                  <a:lnTo>
                    <a:pt x="128" y="1065"/>
                  </a:lnTo>
                  <a:lnTo>
                    <a:pt x="32" y="1054"/>
                  </a:lnTo>
                  <a:lnTo>
                    <a:pt x="30" y="1057"/>
                  </a:lnTo>
                  <a:lnTo>
                    <a:pt x="27" y="1067"/>
                  </a:lnTo>
                  <a:lnTo>
                    <a:pt x="25" y="1071"/>
                  </a:lnTo>
                  <a:lnTo>
                    <a:pt x="10" y="1072"/>
                  </a:lnTo>
                  <a:lnTo>
                    <a:pt x="8" y="1075"/>
                  </a:lnTo>
                  <a:lnTo>
                    <a:pt x="5" y="1083"/>
                  </a:lnTo>
                  <a:lnTo>
                    <a:pt x="2" y="1086"/>
                  </a:lnTo>
                  <a:lnTo>
                    <a:pt x="2" y="1086"/>
                  </a:lnTo>
                  <a:lnTo>
                    <a:pt x="2" y="1086"/>
                  </a:lnTo>
                  <a:lnTo>
                    <a:pt x="2" y="1086"/>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3" name="云南">
              <a:extLst>
                <a:ext uri="{FF2B5EF4-FFF2-40B4-BE49-F238E27FC236}">
                  <a16:creationId xmlns:a16="http://schemas.microsoft.com/office/drawing/2014/main" id="{60700B55-6A4B-3DE8-9CCB-530E277A5BBC}"/>
                </a:ext>
              </a:extLst>
            </p:cNvPr>
            <p:cNvSpPr>
              <a:spLocks/>
            </p:cNvSpPr>
            <p:nvPr/>
          </p:nvSpPr>
          <p:spPr bwMode="auto">
            <a:xfrm>
              <a:off x="4349751" y="4583114"/>
              <a:ext cx="1393825" cy="1452563"/>
            </a:xfrm>
            <a:custGeom>
              <a:avLst/>
              <a:gdLst>
                <a:gd name="T0" fmla="*/ 727 w 2635"/>
                <a:gd name="T1" fmla="*/ 333 h 2745"/>
                <a:gd name="T2" fmla="*/ 794 w 2635"/>
                <a:gd name="T3" fmla="*/ 185 h 2745"/>
                <a:gd name="T4" fmla="*/ 915 w 2635"/>
                <a:gd name="T5" fmla="*/ 301 h 2745"/>
                <a:gd name="T6" fmla="*/ 962 w 2635"/>
                <a:gd name="T7" fmla="*/ 512 h 2745"/>
                <a:gd name="T8" fmla="*/ 1079 w 2635"/>
                <a:gd name="T9" fmla="*/ 490 h 2745"/>
                <a:gd name="T10" fmla="*/ 1146 w 2635"/>
                <a:gd name="T11" fmla="*/ 649 h 2745"/>
                <a:gd name="T12" fmla="*/ 1261 w 2635"/>
                <a:gd name="T13" fmla="*/ 858 h 2745"/>
                <a:gd name="T14" fmla="*/ 1261 w 2635"/>
                <a:gd name="T15" fmla="*/ 940 h 2745"/>
                <a:gd name="T16" fmla="*/ 1338 w 2635"/>
                <a:gd name="T17" fmla="*/ 1082 h 2745"/>
                <a:gd name="T18" fmla="*/ 1540 w 2635"/>
                <a:gd name="T19" fmla="*/ 1070 h 2745"/>
                <a:gd name="T20" fmla="*/ 1684 w 2635"/>
                <a:gd name="T21" fmla="*/ 1062 h 2745"/>
                <a:gd name="T22" fmla="*/ 1703 w 2635"/>
                <a:gd name="T23" fmla="*/ 869 h 2745"/>
                <a:gd name="T24" fmla="*/ 1833 w 2635"/>
                <a:gd name="T25" fmla="*/ 661 h 2745"/>
                <a:gd name="T26" fmla="*/ 1888 w 2635"/>
                <a:gd name="T27" fmla="*/ 507 h 2745"/>
                <a:gd name="T28" fmla="*/ 2021 w 2635"/>
                <a:gd name="T29" fmla="*/ 308 h 2745"/>
                <a:gd name="T30" fmla="*/ 2159 w 2635"/>
                <a:gd name="T31" fmla="*/ 352 h 2745"/>
                <a:gd name="T32" fmla="*/ 2188 w 2635"/>
                <a:gd name="T33" fmla="*/ 488 h 2745"/>
                <a:gd name="T34" fmla="*/ 2307 w 2635"/>
                <a:gd name="T35" fmla="*/ 580 h 2745"/>
                <a:gd name="T36" fmla="*/ 2422 w 2635"/>
                <a:gd name="T37" fmla="*/ 581 h 2745"/>
                <a:gd name="T38" fmla="*/ 2403 w 2635"/>
                <a:gd name="T39" fmla="*/ 731 h 2745"/>
                <a:gd name="T40" fmla="*/ 2149 w 2635"/>
                <a:gd name="T41" fmla="*/ 723 h 2745"/>
                <a:gd name="T42" fmla="*/ 1923 w 2635"/>
                <a:gd name="T43" fmla="*/ 821 h 2745"/>
                <a:gd name="T44" fmla="*/ 1942 w 2635"/>
                <a:gd name="T45" fmla="*/ 920 h 2745"/>
                <a:gd name="T46" fmla="*/ 2133 w 2635"/>
                <a:gd name="T47" fmla="*/ 996 h 2745"/>
                <a:gd name="T48" fmla="*/ 2163 w 2635"/>
                <a:gd name="T49" fmla="*/ 1185 h 2745"/>
                <a:gd name="T50" fmla="*/ 2129 w 2635"/>
                <a:gd name="T51" fmla="*/ 1355 h 2745"/>
                <a:gd name="T52" fmla="*/ 2243 w 2635"/>
                <a:gd name="T53" fmla="*/ 1466 h 2745"/>
                <a:gd name="T54" fmla="*/ 2146 w 2635"/>
                <a:gd name="T55" fmla="*/ 1621 h 2745"/>
                <a:gd name="T56" fmla="*/ 2276 w 2635"/>
                <a:gd name="T57" fmla="*/ 1745 h 2745"/>
                <a:gd name="T58" fmla="*/ 2367 w 2635"/>
                <a:gd name="T59" fmla="*/ 1862 h 2745"/>
                <a:gd name="T60" fmla="*/ 2505 w 2635"/>
                <a:gd name="T61" fmla="*/ 1866 h 2745"/>
                <a:gd name="T62" fmla="*/ 2611 w 2635"/>
                <a:gd name="T63" fmla="*/ 1885 h 2745"/>
                <a:gd name="T64" fmla="*/ 2499 w 2635"/>
                <a:gd name="T65" fmla="*/ 2075 h 2745"/>
                <a:gd name="T66" fmla="*/ 2391 w 2635"/>
                <a:gd name="T67" fmla="*/ 2116 h 2745"/>
                <a:gd name="T68" fmla="*/ 2201 w 2635"/>
                <a:gd name="T69" fmla="*/ 2187 h 2745"/>
                <a:gd name="T70" fmla="*/ 2024 w 2635"/>
                <a:gd name="T71" fmla="*/ 2256 h 2745"/>
                <a:gd name="T72" fmla="*/ 1806 w 2635"/>
                <a:gd name="T73" fmla="*/ 2312 h 2745"/>
                <a:gd name="T74" fmla="*/ 1641 w 2635"/>
                <a:gd name="T75" fmla="*/ 2357 h 2745"/>
                <a:gd name="T76" fmla="*/ 1449 w 2635"/>
                <a:gd name="T77" fmla="*/ 2268 h 2745"/>
                <a:gd name="T78" fmla="*/ 1279 w 2635"/>
                <a:gd name="T79" fmla="*/ 2353 h 2745"/>
                <a:gd name="T80" fmla="*/ 1182 w 2635"/>
                <a:gd name="T81" fmla="*/ 2437 h 2745"/>
                <a:gd name="T82" fmla="*/ 1205 w 2635"/>
                <a:gd name="T83" fmla="*/ 2682 h 2745"/>
                <a:gd name="T84" fmla="*/ 1104 w 2635"/>
                <a:gd name="T85" fmla="*/ 2716 h 2745"/>
                <a:gd name="T86" fmla="*/ 1046 w 2635"/>
                <a:gd name="T87" fmla="*/ 2627 h 2745"/>
                <a:gd name="T88" fmla="*/ 930 w 2635"/>
                <a:gd name="T89" fmla="*/ 2568 h 2745"/>
                <a:gd name="T90" fmla="*/ 722 w 2635"/>
                <a:gd name="T91" fmla="*/ 2540 h 2745"/>
                <a:gd name="T92" fmla="*/ 599 w 2635"/>
                <a:gd name="T93" fmla="*/ 2398 h 2745"/>
                <a:gd name="T94" fmla="*/ 512 w 2635"/>
                <a:gd name="T95" fmla="*/ 2218 h 2745"/>
                <a:gd name="T96" fmla="*/ 543 w 2635"/>
                <a:gd name="T97" fmla="*/ 2050 h 2745"/>
                <a:gd name="T98" fmla="*/ 396 w 2635"/>
                <a:gd name="T99" fmla="*/ 1932 h 2745"/>
                <a:gd name="T100" fmla="*/ 344 w 2635"/>
                <a:gd name="T101" fmla="*/ 1772 h 2745"/>
                <a:gd name="T102" fmla="*/ 141 w 2635"/>
                <a:gd name="T103" fmla="*/ 1687 h 2745"/>
                <a:gd name="T104" fmla="*/ 78 w 2635"/>
                <a:gd name="T105" fmla="*/ 1602 h 2745"/>
                <a:gd name="T106" fmla="*/ 104 w 2635"/>
                <a:gd name="T107" fmla="*/ 1410 h 2745"/>
                <a:gd name="T108" fmla="*/ 213 w 2635"/>
                <a:gd name="T109" fmla="*/ 1269 h 2745"/>
                <a:gd name="T110" fmla="*/ 370 w 2635"/>
                <a:gd name="T111" fmla="*/ 1119 h 2745"/>
                <a:gd name="T112" fmla="*/ 426 w 2635"/>
                <a:gd name="T113" fmla="*/ 1027 h 2745"/>
                <a:gd name="T114" fmla="*/ 485 w 2635"/>
                <a:gd name="T115" fmla="*/ 724 h 2745"/>
                <a:gd name="T116" fmla="*/ 416 w 2635"/>
                <a:gd name="T117" fmla="*/ 508 h 2745"/>
                <a:gd name="T118" fmla="*/ 341 w 2635"/>
                <a:gd name="T119" fmla="*/ 371 h 2745"/>
                <a:gd name="T120" fmla="*/ 427 w 2635"/>
                <a:gd name="T121" fmla="*/ 335 h 2745"/>
                <a:gd name="T122" fmla="*/ 534 w 2635"/>
                <a:gd name="T123" fmla="*/ 274 h 2745"/>
                <a:gd name="T124" fmla="*/ 606 w 2635"/>
                <a:gd name="T125" fmla="*/ 128 h 2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5" h="2745">
                  <a:moveTo>
                    <a:pt x="671" y="0"/>
                  </a:moveTo>
                  <a:lnTo>
                    <a:pt x="671" y="12"/>
                  </a:lnTo>
                  <a:lnTo>
                    <a:pt x="667" y="61"/>
                  </a:lnTo>
                  <a:lnTo>
                    <a:pt x="665" y="100"/>
                  </a:lnTo>
                  <a:lnTo>
                    <a:pt x="663" y="110"/>
                  </a:lnTo>
                  <a:lnTo>
                    <a:pt x="658" y="129"/>
                  </a:lnTo>
                  <a:lnTo>
                    <a:pt x="656" y="146"/>
                  </a:lnTo>
                  <a:lnTo>
                    <a:pt x="658" y="182"/>
                  </a:lnTo>
                  <a:lnTo>
                    <a:pt x="665" y="212"/>
                  </a:lnTo>
                  <a:lnTo>
                    <a:pt x="664" y="261"/>
                  </a:lnTo>
                  <a:lnTo>
                    <a:pt x="660" y="276"/>
                  </a:lnTo>
                  <a:lnTo>
                    <a:pt x="665" y="291"/>
                  </a:lnTo>
                  <a:lnTo>
                    <a:pt x="678" y="311"/>
                  </a:lnTo>
                  <a:lnTo>
                    <a:pt x="687" y="325"/>
                  </a:lnTo>
                  <a:lnTo>
                    <a:pt x="691" y="332"/>
                  </a:lnTo>
                  <a:lnTo>
                    <a:pt x="691" y="341"/>
                  </a:lnTo>
                  <a:lnTo>
                    <a:pt x="693" y="345"/>
                  </a:lnTo>
                  <a:lnTo>
                    <a:pt x="710" y="365"/>
                  </a:lnTo>
                  <a:lnTo>
                    <a:pt x="716" y="374"/>
                  </a:lnTo>
                  <a:lnTo>
                    <a:pt x="718" y="374"/>
                  </a:lnTo>
                  <a:lnTo>
                    <a:pt x="720" y="355"/>
                  </a:lnTo>
                  <a:lnTo>
                    <a:pt x="727" y="333"/>
                  </a:lnTo>
                  <a:lnTo>
                    <a:pt x="725" y="326"/>
                  </a:lnTo>
                  <a:lnTo>
                    <a:pt x="721" y="320"/>
                  </a:lnTo>
                  <a:lnTo>
                    <a:pt x="721" y="316"/>
                  </a:lnTo>
                  <a:lnTo>
                    <a:pt x="726" y="310"/>
                  </a:lnTo>
                  <a:lnTo>
                    <a:pt x="738" y="297"/>
                  </a:lnTo>
                  <a:lnTo>
                    <a:pt x="739" y="294"/>
                  </a:lnTo>
                  <a:lnTo>
                    <a:pt x="739" y="292"/>
                  </a:lnTo>
                  <a:lnTo>
                    <a:pt x="734" y="287"/>
                  </a:lnTo>
                  <a:lnTo>
                    <a:pt x="733" y="283"/>
                  </a:lnTo>
                  <a:lnTo>
                    <a:pt x="733" y="281"/>
                  </a:lnTo>
                  <a:lnTo>
                    <a:pt x="736" y="274"/>
                  </a:lnTo>
                  <a:lnTo>
                    <a:pt x="738" y="266"/>
                  </a:lnTo>
                  <a:lnTo>
                    <a:pt x="731" y="253"/>
                  </a:lnTo>
                  <a:lnTo>
                    <a:pt x="732" y="246"/>
                  </a:lnTo>
                  <a:lnTo>
                    <a:pt x="735" y="243"/>
                  </a:lnTo>
                  <a:lnTo>
                    <a:pt x="750" y="240"/>
                  </a:lnTo>
                  <a:lnTo>
                    <a:pt x="763" y="221"/>
                  </a:lnTo>
                  <a:lnTo>
                    <a:pt x="772" y="218"/>
                  </a:lnTo>
                  <a:lnTo>
                    <a:pt x="774" y="214"/>
                  </a:lnTo>
                  <a:lnTo>
                    <a:pt x="775" y="203"/>
                  </a:lnTo>
                  <a:lnTo>
                    <a:pt x="777" y="195"/>
                  </a:lnTo>
                  <a:lnTo>
                    <a:pt x="794" y="185"/>
                  </a:lnTo>
                  <a:lnTo>
                    <a:pt x="798" y="181"/>
                  </a:lnTo>
                  <a:lnTo>
                    <a:pt x="803" y="168"/>
                  </a:lnTo>
                  <a:lnTo>
                    <a:pt x="807" y="160"/>
                  </a:lnTo>
                  <a:lnTo>
                    <a:pt x="823" y="158"/>
                  </a:lnTo>
                  <a:lnTo>
                    <a:pt x="833" y="152"/>
                  </a:lnTo>
                  <a:lnTo>
                    <a:pt x="836" y="152"/>
                  </a:lnTo>
                  <a:lnTo>
                    <a:pt x="837" y="158"/>
                  </a:lnTo>
                  <a:lnTo>
                    <a:pt x="833" y="183"/>
                  </a:lnTo>
                  <a:lnTo>
                    <a:pt x="833" y="190"/>
                  </a:lnTo>
                  <a:lnTo>
                    <a:pt x="834" y="193"/>
                  </a:lnTo>
                  <a:lnTo>
                    <a:pt x="839" y="199"/>
                  </a:lnTo>
                  <a:lnTo>
                    <a:pt x="855" y="209"/>
                  </a:lnTo>
                  <a:lnTo>
                    <a:pt x="862" y="217"/>
                  </a:lnTo>
                  <a:lnTo>
                    <a:pt x="865" y="237"/>
                  </a:lnTo>
                  <a:lnTo>
                    <a:pt x="872" y="241"/>
                  </a:lnTo>
                  <a:lnTo>
                    <a:pt x="883" y="244"/>
                  </a:lnTo>
                  <a:lnTo>
                    <a:pt x="890" y="248"/>
                  </a:lnTo>
                  <a:lnTo>
                    <a:pt x="894" y="260"/>
                  </a:lnTo>
                  <a:lnTo>
                    <a:pt x="900" y="285"/>
                  </a:lnTo>
                  <a:lnTo>
                    <a:pt x="903" y="290"/>
                  </a:lnTo>
                  <a:lnTo>
                    <a:pt x="912" y="297"/>
                  </a:lnTo>
                  <a:lnTo>
                    <a:pt x="915" y="301"/>
                  </a:lnTo>
                  <a:lnTo>
                    <a:pt x="916" y="304"/>
                  </a:lnTo>
                  <a:lnTo>
                    <a:pt x="915" y="314"/>
                  </a:lnTo>
                  <a:lnTo>
                    <a:pt x="943" y="329"/>
                  </a:lnTo>
                  <a:lnTo>
                    <a:pt x="948" y="334"/>
                  </a:lnTo>
                  <a:lnTo>
                    <a:pt x="947" y="337"/>
                  </a:lnTo>
                  <a:lnTo>
                    <a:pt x="940" y="343"/>
                  </a:lnTo>
                  <a:lnTo>
                    <a:pt x="938" y="346"/>
                  </a:lnTo>
                  <a:lnTo>
                    <a:pt x="944" y="361"/>
                  </a:lnTo>
                  <a:lnTo>
                    <a:pt x="940" y="371"/>
                  </a:lnTo>
                  <a:lnTo>
                    <a:pt x="921" y="377"/>
                  </a:lnTo>
                  <a:lnTo>
                    <a:pt x="908" y="381"/>
                  </a:lnTo>
                  <a:lnTo>
                    <a:pt x="903" y="387"/>
                  </a:lnTo>
                  <a:lnTo>
                    <a:pt x="902" y="398"/>
                  </a:lnTo>
                  <a:lnTo>
                    <a:pt x="901" y="409"/>
                  </a:lnTo>
                  <a:lnTo>
                    <a:pt x="918" y="444"/>
                  </a:lnTo>
                  <a:lnTo>
                    <a:pt x="931" y="474"/>
                  </a:lnTo>
                  <a:lnTo>
                    <a:pt x="940" y="483"/>
                  </a:lnTo>
                  <a:lnTo>
                    <a:pt x="948" y="487"/>
                  </a:lnTo>
                  <a:lnTo>
                    <a:pt x="958" y="491"/>
                  </a:lnTo>
                  <a:lnTo>
                    <a:pt x="966" y="497"/>
                  </a:lnTo>
                  <a:lnTo>
                    <a:pt x="966" y="501"/>
                  </a:lnTo>
                  <a:lnTo>
                    <a:pt x="962" y="512"/>
                  </a:lnTo>
                  <a:lnTo>
                    <a:pt x="967" y="533"/>
                  </a:lnTo>
                  <a:lnTo>
                    <a:pt x="970" y="544"/>
                  </a:lnTo>
                  <a:lnTo>
                    <a:pt x="972" y="542"/>
                  </a:lnTo>
                  <a:lnTo>
                    <a:pt x="975" y="534"/>
                  </a:lnTo>
                  <a:lnTo>
                    <a:pt x="978" y="531"/>
                  </a:lnTo>
                  <a:lnTo>
                    <a:pt x="982" y="531"/>
                  </a:lnTo>
                  <a:lnTo>
                    <a:pt x="987" y="533"/>
                  </a:lnTo>
                  <a:lnTo>
                    <a:pt x="991" y="523"/>
                  </a:lnTo>
                  <a:lnTo>
                    <a:pt x="999" y="510"/>
                  </a:lnTo>
                  <a:lnTo>
                    <a:pt x="1006" y="501"/>
                  </a:lnTo>
                  <a:lnTo>
                    <a:pt x="1014" y="496"/>
                  </a:lnTo>
                  <a:lnTo>
                    <a:pt x="1018" y="496"/>
                  </a:lnTo>
                  <a:lnTo>
                    <a:pt x="1021" y="497"/>
                  </a:lnTo>
                  <a:lnTo>
                    <a:pt x="1033" y="513"/>
                  </a:lnTo>
                  <a:lnTo>
                    <a:pt x="1036" y="515"/>
                  </a:lnTo>
                  <a:lnTo>
                    <a:pt x="1039" y="516"/>
                  </a:lnTo>
                  <a:lnTo>
                    <a:pt x="1044" y="513"/>
                  </a:lnTo>
                  <a:lnTo>
                    <a:pt x="1056" y="499"/>
                  </a:lnTo>
                  <a:lnTo>
                    <a:pt x="1065" y="491"/>
                  </a:lnTo>
                  <a:lnTo>
                    <a:pt x="1074" y="488"/>
                  </a:lnTo>
                  <a:lnTo>
                    <a:pt x="1077" y="488"/>
                  </a:lnTo>
                  <a:lnTo>
                    <a:pt x="1079" y="490"/>
                  </a:lnTo>
                  <a:lnTo>
                    <a:pt x="1082" y="495"/>
                  </a:lnTo>
                  <a:lnTo>
                    <a:pt x="1088" y="519"/>
                  </a:lnTo>
                  <a:lnTo>
                    <a:pt x="1105" y="569"/>
                  </a:lnTo>
                  <a:lnTo>
                    <a:pt x="1107" y="570"/>
                  </a:lnTo>
                  <a:lnTo>
                    <a:pt x="1118" y="573"/>
                  </a:lnTo>
                  <a:lnTo>
                    <a:pt x="1118" y="588"/>
                  </a:lnTo>
                  <a:lnTo>
                    <a:pt x="1119" y="591"/>
                  </a:lnTo>
                  <a:lnTo>
                    <a:pt x="1127" y="589"/>
                  </a:lnTo>
                  <a:lnTo>
                    <a:pt x="1132" y="590"/>
                  </a:lnTo>
                  <a:lnTo>
                    <a:pt x="1134" y="592"/>
                  </a:lnTo>
                  <a:lnTo>
                    <a:pt x="1133" y="599"/>
                  </a:lnTo>
                  <a:lnTo>
                    <a:pt x="1125" y="612"/>
                  </a:lnTo>
                  <a:lnTo>
                    <a:pt x="1124" y="618"/>
                  </a:lnTo>
                  <a:lnTo>
                    <a:pt x="1126" y="618"/>
                  </a:lnTo>
                  <a:lnTo>
                    <a:pt x="1135" y="618"/>
                  </a:lnTo>
                  <a:lnTo>
                    <a:pt x="1136" y="619"/>
                  </a:lnTo>
                  <a:lnTo>
                    <a:pt x="1137" y="622"/>
                  </a:lnTo>
                  <a:lnTo>
                    <a:pt x="1134" y="631"/>
                  </a:lnTo>
                  <a:lnTo>
                    <a:pt x="1135" y="639"/>
                  </a:lnTo>
                  <a:lnTo>
                    <a:pt x="1137" y="642"/>
                  </a:lnTo>
                  <a:lnTo>
                    <a:pt x="1142" y="643"/>
                  </a:lnTo>
                  <a:lnTo>
                    <a:pt x="1146" y="649"/>
                  </a:lnTo>
                  <a:lnTo>
                    <a:pt x="1149" y="655"/>
                  </a:lnTo>
                  <a:lnTo>
                    <a:pt x="1152" y="667"/>
                  </a:lnTo>
                  <a:lnTo>
                    <a:pt x="1161" y="680"/>
                  </a:lnTo>
                  <a:lnTo>
                    <a:pt x="1165" y="693"/>
                  </a:lnTo>
                  <a:lnTo>
                    <a:pt x="1173" y="705"/>
                  </a:lnTo>
                  <a:lnTo>
                    <a:pt x="1173" y="710"/>
                  </a:lnTo>
                  <a:lnTo>
                    <a:pt x="1172" y="724"/>
                  </a:lnTo>
                  <a:lnTo>
                    <a:pt x="1173" y="728"/>
                  </a:lnTo>
                  <a:lnTo>
                    <a:pt x="1176" y="730"/>
                  </a:lnTo>
                  <a:lnTo>
                    <a:pt x="1192" y="734"/>
                  </a:lnTo>
                  <a:lnTo>
                    <a:pt x="1199" y="745"/>
                  </a:lnTo>
                  <a:lnTo>
                    <a:pt x="1200" y="770"/>
                  </a:lnTo>
                  <a:lnTo>
                    <a:pt x="1198" y="784"/>
                  </a:lnTo>
                  <a:lnTo>
                    <a:pt x="1199" y="787"/>
                  </a:lnTo>
                  <a:lnTo>
                    <a:pt x="1208" y="800"/>
                  </a:lnTo>
                  <a:lnTo>
                    <a:pt x="1224" y="811"/>
                  </a:lnTo>
                  <a:lnTo>
                    <a:pt x="1231" y="834"/>
                  </a:lnTo>
                  <a:lnTo>
                    <a:pt x="1238" y="838"/>
                  </a:lnTo>
                  <a:lnTo>
                    <a:pt x="1254" y="847"/>
                  </a:lnTo>
                  <a:lnTo>
                    <a:pt x="1259" y="851"/>
                  </a:lnTo>
                  <a:lnTo>
                    <a:pt x="1261" y="855"/>
                  </a:lnTo>
                  <a:lnTo>
                    <a:pt x="1261" y="858"/>
                  </a:lnTo>
                  <a:lnTo>
                    <a:pt x="1259" y="866"/>
                  </a:lnTo>
                  <a:lnTo>
                    <a:pt x="1248" y="887"/>
                  </a:lnTo>
                  <a:lnTo>
                    <a:pt x="1248" y="890"/>
                  </a:lnTo>
                  <a:lnTo>
                    <a:pt x="1249" y="894"/>
                  </a:lnTo>
                  <a:lnTo>
                    <a:pt x="1252" y="897"/>
                  </a:lnTo>
                  <a:lnTo>
                    <a:pt x="1256" y="900"/>
                  </a:lnTo>
                  <a:lnTo>
                    <a:pt x="1263" y="901"/>
                  </a:lnTo>
                  <a:lnTo>
                    <a:pt x="1270" y="900"/>
                  </a:lnTo>
                  <a:lnTo>
                    <a:pt x="1272" y="897"/>
                  </a:lnTo>
                  <a:lnTo>
                    <a:pt x="1273" y="886"/>
                  </a:lnTo>
                  <a:lnTo>
                    <a:pt x="1275" y="885"/>
                  </a:lnTo>
                  <a:lnTo>
                    <a:pt x="1285" y="888"/>
                  </a:lnTo>
                  <a:lnTo>
                    <a:pt x="1288" y="890"/>
                  </a:lnTo>
                  <a:lnTo>
                    <a:pt x="1290" y="892"/>
                  </a:lnTo>
                  <a:lnTo>
                    <a:pt x="1290" y="895"/>
                  </a:lnTo>
                  <a:lnTo>
                    <a:pt x="1289" y="896"/>
                  </a:lnTo>
                  <a:lnTo>
                    <a:pt x="1272" y="913"/>
                  </a:lnTo>
                  <a:lnTo>
                    <a:pt x="1277" y="919"/>
                  </a:lnTo>
                  <a:lnTo>
                    <a:pt x="1277" y="924"/>
                  </a:lnTo>
                  <a:lnTo>
                    <a:pt x="1275" y="927"/>
                  </a:lnTo>
                  <a:lnTo>
                    <a:pt x="1266" y="937"/>
                  </a:lnTo>
                  <a:lnTo>
                    <a:pt x="1261" y="940"/>
                  </a:lnTo>
                  <a:lnTo>
                    <a:pt x="1255" y="941"/>
                  </a:lnTo>
                  <a:lnTo>
                    <a:pt x="1251" y="945"/>
                  </a:lnTo>
                  <a:lnTo>
                    <a:pt x="1248" y="952"/>
                  </a:lnTo>
                  <a:lnTo>
                    <a:pt x="1248" y="964"/>
                  </a:lnTo>
                  <a:lnTo>
                    <a:pt x="1258" y="969"/>
                  </a:lnTo>
                  <a:lnTo>
                    <a:pt x="1275" y="982"/>
                  </a:lnTo>
                  <a:lnTo>
                    <a:pt x="1290" y="991"/>
                  </a:lnTo>
                  <a:lnTo>
                    <a:pt x="1299" y="1001"/>
                  </a:lnTo>
                  <a:lnTo>
                    <a:pt x="1306" y="1006"/>
                  </a:lnTo>
                  <a:lnTo>
                    <a:pt x="1321" y="1033"/>
                  </a:lnTo>
                  <a:lnTo>
                    <a:pt x="1324" y="1044"/>
                  </a:lnTo>
                  <a:lnTo>
                    <a:pt x="1324" y="1047"/>
                  </a:lnTo>
                  <a:lnTo>
                    <a:pt x="1322" y="1050"/>
                  </a:lnTo>
                  <a:lnTo>
                    <a:pt x="1307" y="1046"/>
                  </a:lnTo>
                  <a:lnTo>
                    <a:pt x="1302" y="1048"/>
                  </a:lnTo>
                  <a:lnTo>
                    <a:pt x="1298" y="1050"/>
                  </a:lnTo>
                  <a:lnTo>
                    <a:pt x="1298" y="1054"/>
                  </a:lnTo>
                  <a:lnTo>
                    <a:pt x="1299" y="1059"/>
                  </a:lnTo>
                  <a:lnTo>
                    <a:pt x="1305" y="1069"/>
                  </a:lnTo>
                  <a:lnTo>
                    <a:pt x="1308" y="1078"/>
                  </a:lnTo>
                  <a:lnTo>
                    <a:pt x="1311" y="1080"/>
                  </a:lnTo>
                  <a:lnTo>
                    <a:pt x="1338" y="1082"/>
                  </a:lnTo>
                  <a:lnTo>
                    <a:pt x="1344" y="1083"/>
                  </a:lnTo>
                  <a:lnTo>
                    <a:pt x="1348" y="1086"/>
                  </a:lnTo>
                  <a:lnTo>
                    <a:pt x="1357" y="1103"/>
                  </a:lnTo>
                  <a:lnTo>
                    <a:pt x="1363" y="1129"/>
                  </a:lnTo>
                  <a:lnTo>
                    <a:pt x="1366" y="1134"/>
                  </a:lnTo>
                  <a:lnTo>
                    <a:pt x="1370" y="1137"/>
                  </a:lnTo>
                  <a:lnTo>
                    <a:pt x="1374" y="1137"/>
                  </a:lnTo>
                  <a:lnTo>
                    <a:pt x="1378" y="1136"/>
                  </a:lnTo>
                  <a:lnTo>
                    <a:pt x="1396" y="1124"/>
                  </a:lnTo>
                  <a:lnTo>
                    <a:pt x="1401" y="1122"/>
                  </a:lnTo>
                  <a:lnTo>
                    <a:pt x="1413" y="1126"/>
                  </a:lnTo>
                  <a:lnTo>
                    <a:pt x="1435" y="1129"/>
                  </a:lnTo>
                  <a:lnTo>
                    <a:pt x="1450" y="1135"/>
                  </a:lnTo>
                  <a:lnTo>
                    <a:pt x="1462" y="1120"/>
                  </a:lnTo>
                  <a:lnTo>
                    <a:pt x="1486" y="1104"/>
                  </a:lnTo>
                  <a:lnTo>
                    <a:pt x="1497" y="1093"/>
                  </a:lnTo>
                  <a:lnTo>
                    <a:pt x="1503" y="1090"/>
                  </a:lnTo>
                  <a:lnTo>
                    <a:pt x="1514" y="1088"/>
                  </a:lnTo>
                  <a:lnTo>
                    <a:pt x="1520" y="1086"/>
                  </a:lnTo>
                  <a:lnTo>
                    <a:pt x="1526" y="1082"/>
                  </a:lnTo>
                  <a:lnTo>
                    <a:pt x="1534" y="1073"/>
                  </a:lnTo>
                  <a:lnTo>
                    <a:pt x="1540" y="1070"/>
                  </a:lnTo>
                  <a:lnTo>
                    <a:pt x="1564" y="1063"/>
                  </a:lnTo>
                  <a:lnTo>
                    <a:pt x="1588" y="1052"/>
                  </a:lnTo>
                  <a:lnTo>
                    <a:pt x="1593" y="1052"/>
                  </a:lnTo>
                  <a:lnTo>
                    <a:pt x="1597" y="1053"/>
                  </a:lnTo>
                  <a:lnTo>
                    <a:pt x="1604" y="1057"/>
                  </a:lnTo>
                  <a:lnTo>
                    <a:pt x="1608" y="1060"/>
                  </a:lnTo>
                  <a:lnTo>
                    <a:pt x="1610" y="1065"/>
                  </a:lnTo>
                  <a:lnTo>
                    <a:pt x="1610" y="1068"/>
                  </a:lnTo>
                  <a:lnTo>
                    <a:pt x="1608" y="1074"/>
                  </a:lnTo>
                  <a:lnTo>
                    <a:pt x="1602" y="1083"/>
                  </a:lnTo>
                  <a:lnTo>
                    <a:pt x="1602" y="1089"/>
                  </a:lnTo>
                  <a:lnTo>
                    <a:pt x="1605" y="1093"/>
                  </a:lnTo>
                  <a:lnTo>
                    <a:pt x="1612" y="1100"/>
                  </a:lnTo>
                  <a:lnTo>
                    <a:pt x="1618" y="1103"/>
                  </a:lnTo>
                  <a:lnTo>
                    <a:pt x="1623" y="1105"/>
                  </a:lnTo>
                  <a:lnTo>
                    <a:pt x="1627" y="1104"/>
                  </a:lnTo>
                  <a:lnTo>
                    <a:pt x="1631" y="1102"/>
                  </a:lnTo>
                  <a:lnTo>
                    <a:pt x="1642" y="1087"/>
                  </a:lnTo>
                  <a:lnTo>
                    <a:pt x="1648" y="1082"/>
                  </a:lnTo>
                  <a:lnTo>
                    <a:pt x="1669" y="1071"/>
                  </a:lnTo>
                  <a:lnTo>
                    <a:pt x="1682" y="1063"/>
                  </a:lnTo>
                  <a:lnTo>
                    <a:pt x="1684" y="1062"/>
                  </a:lnTo>
                  <a:lnTo>
                    <a:pt x="1687" y="1062"/>
                  </a:lnTo>
                  <a:lnTo>
                    <a:pt x="1694" y="1067"/>
                  </a:lnTo>
                  <a:lnTo>
                    <a:pt x="1702" y="1069"/>
                  </a:lnTo>
                  <a:lnTo>
                    <a:pt x="1709" y="1068"/>
                  </a:lnTo>
                  <a:lnTo>
                    <a:pt x="1713" y="1066"/>
                  </a:lnTo>
                  <a:lnTo>
                    <a:pt x="1717" y="1060"/>
                  </a:lnTo>
                  <a:lnTo>
                    <a:pt x="1719" y="1051"/>
                  </a:lnTo>
                  <a:lnTo>
                    <a:pt x="1722" y="1015"/>
                  </a:lnTo>
                  <a:lnTo>
                    <a:pt x="1725" y="1013"/>
                  </a:lnTo>
                  <a:lnTo>
                    <a:pt x="1739" y="1011"/>
                  </a:lnTo>
                  <a:lnTo>
                    <a:pt x="1741" y="1009"/>
                  </a:lnTo>
                  <a:lnTo>
                    <a:pt x="1742" y="1006"/>
                  </a:lnTo>
                  <a:lnTo>
                    <a:pt x="1741" y="998"/>
                  </a:lnTo>
                  <a:lnTo>
                    <a:pt x="1730" y="983"/>
                  </a:lnTo>
                  <a:lnTo>
                    <a:pt x="1726" y="975"/>
                  </a:lnTo>
                  <a:lnTo>
                    <a:pt x="1726" y="970"/>
                  </a:lnTo>
                  <a:lnTo>
                    <a:pt x="1728" y="946"/>
                  </a:lnTo>
                  <a:lnTo>
                    <a:pt x="1725" y="924"/>
                  </a:lnTo>
                  <a:lnTo>
                    <a:pt x="1722" y="910"/>
                  </a:lnTo>
                  <a:lnTo>
                    <a:pt x="1708" y="887"/>
                  </a:lnTo>
                  <a:lnTo>
                    <a:pt x="1706" y="880"/>
                  </a:lnTo>
                  <a:lnTo>
                    <a:pt x="1703" y="869"/>
                  </a:lnTo>
                  <a:lnTo>
                    <a:pt x="1702" y="853"/>
                  </a:lnTo>
                  <a:lnTo>
                    <a:pt x="1700" y="837"/>
                  </a:lnTo>
                  <a:lnTo>
                    <a:pt x="1712" y="801"/>
                  </a:lnTo>
                  <a:lnTo>
                    <a:pt x="1712" y="792"/>
                  </a:lnTo>
                  <a:lnTo>
                    <a:pt x="1709" y="768"/>
                  </a:lnTo>
                  <a:lnTo>
                    <a:pt x="1709" y="756"/>
                  </a:lnTo>
                  <a:lnTo>
                    <a:pt x="1711" y="746"/>
                  </a:lnTo>
                  <a:lnTo>
                    <a:pt x="1717" y="732"/>
                  </a:lnTo>
                  <a:lnTo>
                    <a:pt x="1723" y="716"/>
                  </a:lnTo>
                  <a:lnTo>
                    <a:pt x="1728" y="708"/>
                  </a:lnTo>
                  <a:lnTo>
                    <a:pt x="1730" y="711"/>
                  </a:lnTo>
                  <a:lnTo>
                    <a:pt x="1736" y="722"/>
                  </a:lnTo>
                  <a:lnTo>
                    <a:pt x="1741" y="725"/>
                  </a:lnTo>
                  <a:lnTo>
                    <a:pt x="1758" y="714"/>
                  </a:lnTo>
                  <a:lnTo>
                    <a:pt x="1765" y="713"/>
                  </a:lnTo>
                  <a:lnTo>
                    <a:pt x="1778" y="715"/>
                  </a:lnTo>
                  <a:lnTo>
                    <a:pt x="1784" y="714"/>
                  </a:lnTo>
                  <a:lnTo>
                    <a:pt x="1799" y="686"/>
                  </a:lnTo>
                  <a:lnTo>
                    <a:pt x="1813" y="667"/>
                  </a:lnTo>
                  <a:lnTo>
                    <a:pt x="1816" y="664"/>
                  </a:lnTo>
                  <a:lnTo>
                    <a:pt x="1832" y="664"/>
                  </a:lnTo>
                  <a:lnTo>
                    <a:pt x="1833" y="661"/>
                  </a:lnTo>
                  <a:lnTo>
                    <a:pt x="1832" y="650"/>
                  </a:lnTo>
                  <a:lnTo>
                    <a:pt x="1837" y="641"/>
                  </a:lnTo>
                  <a:lnTo>
                    <a:pt x="1850" y="631"/>
                  </a:lnTo>
                  <a:lnTo>
                    <a:pt x="1889" y="602"/>
                  </a:lnTo>
                  <a:lnTo>
                    <a:pt x="1898" y="594"/>
                  </a:lnTo>
                  <a:lnTo>
                    <a:pt x="1902" y="585"/>
                  </a:lnTo>
                  <a:lnTo>
                    <a:pt x="1902" y="561"/>
                  </a:lnTo>
                  <a:lnTo>
                    <a:pt x="1903" y="555"/>
                  </a:lnTo>
                  <a:lnTo>
                    <a:pt x="1909" y="548"/>
                  </a:lnTo>
                  <a:lnTo>
                    <a:pt x="1923" y="538"/>
                  </a:lnTo>
                  <a:lnTo>
                    <a:pt x="1923" y="535"/>
                  </a:lnTo>
                  <a:lnTo>
                    <a:pt x="1923" y="533"/>
                  </a:lnTo>
                  <a:lnTo>
                    <a:pt x="1922" y="532"/>
                  </a:lnTo>
                  <a:lnTo>
                    <a:pt x="1911" y="533"/>
                  </a:lnTo>
                  <a:lnTo>
                    <a:pt x="1906" y="532"/>
                  </a:lnTo>
                  <a:lnTo>
                    <a:pt x="1904" y="530"/>
                  </a:lnTo>
                  <a:lnTo>
                    <a:pt x="1902" y="519"/>
                  </a:lnTo>
                  <a:lnTo>
                    <a:pt x="1900" y="516"/>
                  </a:lnTo>
                  <a:lnTo>
                    <a:pt x="1898" y="515"/>
                  </a:lnTo>
                  <a:lnTo>
                    <a:pt x="1892" y="515"/>
                  </a:lnTo>
                  <a:lnTo>
                    <a:pt x="1889" y="513"/>
                  </a:lnTo>
                  <a:lnTo>
                    <a:pt x="1888" y="507"/>
                  </a:lnTo>
                  <a:lnTo>
                    <a:pt x="1889" y="500"/>
                  </a:lnTo>
                  <a:lnTo>
                    <a:pt x="1892" y="490"/>
                  </a:lnTo>
                  <a:lnTo>
                    <a:pt x="1898" y="482"/>
                  </a:lnTo>
                  <a:lnTo>
                    <a:pt x="1912" y="473"/>
                  </a:lnTo>
                  <a:lnTo>
                    <a:pt x="1928" y="454"/>
                  </a:lnTo>
                  <a:lnTo>
                    <a:pt x="1938" y="445"/>
                  </a:lnTo>
                  <a:lnTo>
                    <a:pt x="1947" y="442"/>
                  </a:lnTo>
                  <a:lnTo>
                    <a:pt x="1954" y="442"/>
                  </a:lnTo>
                  <a:lnTo>
                    <a:pt x="1963" y="449"/>
                  </a:lnTo>
                  <a:lnTo>
                    <a:pt x="1972" y="460"/>
                  </a:lnTo>
                  <a:lnTo>
                    <a:pt x="2002" y="441"/>
                  </a:lnTo>
                  <a:lnTo>
                    <a:pt x="2013" y="433"/>
                  </a:lnTo>
                  <a:lnTo>
                    <a:pt x="2019" y="426"/>
                  </a:lnTo>
                  <a:lnTo>
                    <a:pt x="2021" y="422"/>
                  </a:lnTo>
                  <a:lnTo>
                    <a:pt x="2018" y="406"/>
                  </a:lnTo>
                  <a:lnTo>
                    <a:pt x="2009" y="375"/>
                  </a:lnTo>
                  <a:lnTo>
                    <a:pt x="2000" y="354"/>
                  </a:lnTo>
                  <a:lnTo>
                    <a:pt x="2002" y="348"/>
                  </a:lnTo>
                  <a:lnTo>
                    <a:pt x="2011" y="338"/>
                  </a:lnTo>
                  <a:lnTo>
                    <a:pt x="2014" y="333"/>
                  </a:lnTo>
                  <a:lnTo>
                    <a:pt x="2016" y="312"/>
                  </a:lnTo>
                  <a:lnTo>
                    <a:pt x="2021" y="308"/>
                  </a:lnTo>
                  <a:lnTo>
                    <a:pt x="2023" y="308"/>
                  </a:lnTo>
                  <a:lnTo>
                    <a:pt x="2025" y="309"/>
                  </a:lnTo>
                  <a:lnTo>
                    <a:pt x="2027" y="318"/>
                  </a:lnTo>
                  <a:lnTo>
                    <a:pt x="2029" y="322"/>
                  </a:lnTo>
                  <a:lnTo>
                    <a:pt x="2042" y="325"/>
                  </a:lnTo>
                  <a:lnTo>
                    <a:pt x="2051" y="329"/>
                  </a:lnTo>
                  <a:lnTo>
                    <a:pt x="2056" y="329"/>
                  </a:lnTo>
                  <a:lnTo>
                    <a:pt x="2071" y="325"/>
                  </a:lnTo>
                  <a:lnTo>
                    <a:pt x="2088" y="327"/>
                  </a:lnTo>
                  <a:lnTo>
                    <a:pt x="2096" y="327"/>
                  </a:lnTo>
                  <a:lnTo>
                    <a:pt x="2103" y="326"/>
                  </a:lnTo>
                  <a:lnTo>
                    <a:pt x="2125" y="322"/>
                  </a:lnTo>
                  <a:lnTo>
                    <a:pt x="2136" y="318"/>
                  </a:lnTo>
                  <a:lnTo>
                    <a:pt x="2139" y="319"/>
                  </a:lnTo>
                  <a:lnTo>
                    <a:pt x="2151" y="330"/>
                  </a:lnTo>
                  <a:lnTo>
                    <a:pt x="2158" y="329"/>
                  </a:lnTo>
                  <a:lnTo>
                    <a:pt x="2168" y="325"/>
                  </a:lnTo>
                  <a:lnTo>
                    <a:pt x="2173" y="323"/>
                  </a:lnTo>
                  <a:lnTo>
                    <a:pt x="2187" y="330"/>
                  </a:lnTo>
                  <a:lnTo>
                    <a:pt x="2180" y="339"/>
                  </a:lnTo>
                  <a:lnTo>
                    <a:pt x="2175" y="345"/>
                  </a:lnTo>
                  <a:lnTo>
                    <a:pt x="2159" y="352"/>
                  </a:lnTo>
                  <a:lnTo>
                    <a:pt x="2142" y="359"/>
                  </a:lnTo>
                  <a:lnTo>
                    <a:pt x="2137" y="363"/>
                  </a:lnTo>
                  <a:lnTo>
                    <a:pt x="2136" y="366"/>
                  </a:lnTo>
                  <a:lnTo>
                    <a:pt x="2135" y="391"/>
                  </a:lnTo>
                  <a:lnTo>
                    <a:pt x="2136" y="423"/>
                  </a:lnTo>
                  <a:lnTo>
                    <a:pt x="2136" y="426"/>
                  </a:lnTo>
                  <a:lnTo>
                    <a:pt x="2139" y="429"/>
                  </a:lnTo>
                  <a:lnTo>
                    <a:pt x="2143" y="430"/>
                  </a:lnTo>
                  <a:lnTo>
                    <a:pt x="2146" y="430"/>
                  </a:lnTo>
                  <a:lnTo>
                    <a:pt x="2156" y="426"/>
                  </a:lnTo>
                  <a:lnTo>
                    <a:pt x="2161" y="427"/>
                  </a:lnTo>
                  <a:lnTo>
                    <a:pt x="2165" y="429"/>
                  </a:lnTo>
                  <a:lnTo>
                    <a:pt x="2170" y="442"/>
                  </a:lnTo>
                  <a:lnTo>
                    <a:pt x="2182" y="453"/>
                  </a:lnTo>
                  <a:lnTo>
                    <a:pt x="2186" y="460"/>
                  </a:lnTo>
                  <a:lnTo>
                    <a:pt x="2185" y="465"/>
                  </a:lnTo>
                  <a:lnTo>
                    <a:pt x="2172" y="473"/>
                  </a:lnTo>
                  <a:lnTo>
                    <a:pt x="2171" y="475"/>
                  </a:lnTo>
                  <a:lnTo>
                    <a:pt x="2171" y="477"/>
                  </a:lnTo>
                  <a:lnTo>
                    <a:pt x="2175" y="481"/>
                  </a:lnTo>
                  <a:lnTo>
                    <a:pt x="2185" y="484"/>
                  </a:lnTo>
                  <a:lnTo>
                    <a:pt x="2188" y="488"/>
                  </a:lnTo>
                  <a:lnTo>
                    <a:pt x="2186" y="492"/>
                  </a:lnTo>
                  <a:lnTo>
                    <a:pt x="2174" y="505"/>
                  </a:lnTo>
                  <a:lnTo>
                    <a:pt x="2169" y="514"/>
                  </a:lnTo>
                  <a:lnTo>
                    <a:pt x="2164" y="518"/>
                  </a:lnTo>
                  <a:lnTo>
                    <a:pt x="2161" y="520"/>
                  </a:lnTo>
                  <a:lnTo>
                    <a:pt x="2145" y="521"/>
                  </a:lnTo>
                  <a:lnTo>
                    <a:pt x="2143" y="524"/>
                  </a:lnTo>
                  <a:lnTo>
                    <a:pt x="2143" y="526"/>
                  </a:lnTo>
                  <a:lnTo>
                    <a:pt x="2154" y="531"/>
                  </a:lnTo>
                  <a:lnTo>
                    <a:pt x="2156" y="533"/>
                  </a:lnTo>
                  <a:lnTo>
                    <a:pt x="2161" y="549"/>
                  </a:lnTo>
                  <a:lnTo>
                    <a:pt x="2163" y="554"/>
                  </a:lnTo>
                  <a:lnTo>
                    <a:pt x="2190" y="577"/>
                  </a:lnTo>
                  <a:lnTo>
                    <a:pt x="2196" y="581"/>
                  </a:lnTo>
                  <a:lnTo>
                    <a:pt x="2206" y="583"/>
                  </a:lnTo>
                  <a:lnTo>
                    <a:pt x="2214" y="594"/>
                  </a:lnTo>
                  <a:lnTo>
                    <a:pt x="2221" y="596"/>
                  </a:lnTo>
                  <a:lnTo>
                    <a:pt x="2230" y="595"/>
                  </a:lnTo>
                  <a:lnTo>
                    <a:pt x="2264" y="583"/>
                  </a:lnTo>
                  <a:lnTo>
                    <a:pt x="2288" y="582"/>
                  </a:lnTo>
                  <a:lnTo>
                    <a:pt x="2305" y="582"/>
                  </a:lnTo>
                  <a:lnTo>
                    <a:pt x="2307" y="580"/>
                  </a:lnTo>
                  <a:lnTo>
                    <a:pt x="2311" y="575"/>
                  </a:lnTo>
                  <a:lnTo>
                    <a:pt x="2316" y="564"/>
                  </a:lnTo>
                  <a:lnTo>
                    <a:pt x="2319" y="557"/>
                  </a:lnTo>
                  <a:lnTo>
                    <a:pt x="2331" y="545"/>
                  </a:lnTo>
                  <a:lnTo>
                    <a:pt x="2347" y="525"/>
                  </a:lnTo>
                  <a:lnTo>
                    <a:pt x="2352" y="521"/>
                  </a:lnTo>
                  <a:lnTo>
                    <a:pt x="2359" y="519"/>
                  </a:lnTo>
                  <a:lnTo>
                    <a:pt x="2367" y="519"/>
                  </a:lnTo>
                  <a:lnTo>
                    <a:pt x="2373" y="520"/>
                  </a:lnTo>
                  <a:lnTo>
                    <a:pt x="2386" y="527"/>
                  </a:lnTo>
                  <a:lnTo>
                    <a:pt x="2392" y="532"/>
                  </a:lnTo>
                  <a:lnTo>
                    <a:pt x="2394" y="536"/>
                  </a:lnTo>
                  <a:lnTo>
                    <a:pt x="2394" y="547"/>
                  </a:lnTo>
                  <a:lnTo>
                    <a:pt x="2396" y="552"/>
                  </a:lnTo>
                  <a:lnTo>
                    <a:pt x="2401" y="552"/>
                  </a:lnTo>
                  <a:lnTo>
                    <a:pt x="2412" y="550"/>
                  </a:lnTo>
                  <a:lnTo>
                    <a:pt x="2417" y="550"/>
                  </a:lnTo>
                  <a:lnTo>
                    <a:pt x="2420" y="553"/>
                  </a:lnTo>
                  <a:lnTo>
                    <a:pt x="2426" y="565"/>
                  </a:lnTo>
                  <a:lnTo>
                    <a:pt x="2426" y="569"/>
                  </a:lnTo>
                  <a:lnTo>
                    <a:pt x="2424" y="577"/>
                  </a:lnTo>
                  <a:lnTo>
                    <a:pt x="2422" y="581"/>
                  </a:lnTo>
                  <a:lnTo>
                    <a:pt x="2413" y="590"/>
                  </a:lnTo>
                  <a:lnTo>
                    <a:pt x="2412" y="599"/>
                  </a:lnTo>
                  <a:lnTo>
                    <a:pt x="2413" y="606"/>
                  </a:lnTo>
                  <a:lnTo>
                    <a:pt x="2415" y="612"/>
                  </a:lnTo>
                  <a:lnTo>
                    <a:pt x="2429" y="615"/>
                  </a:lnTo>
                  <a:lnTo>
                    <a:pt x="2431" y="617"/>
                  </a:lnTo>
                  <a:lnTo>
                    <a:pt x="2431" y="619"/>
                  </a:lnTo>
                  <a:lnTo>
                    <a:pt x="2427" y="625"/>
                  </a:lnTo>
                  <a:lnTo>
                    <a:pt x="2426" y="631"/>
                  </a:lnTo>
                  <a:lnTo>
                    <a:pt x="2425" y="638"/>
                  </a:lnTo>
                  <a:lnTo>
                    <a:pt x="2427" y="648"/>
                  </a:lnTo>
                  <a:lnTo>
                    <a:pt x="2427" y="648"/>
                  </a:lnTo>
                  <a:lnTo>
                    <a:pt x="2428" y="659"/>
                  </a:lnTo>
                  <a:lnTo>
                    <a:pt x="2427" y="680"/>
                  </a:lnTo>
                  <a:lnTo>
                    <a:pt x="2425" y="684"/>
                  </a:lnTo>
                  <a:lnTo>
                    <a:pt x="2422" y="688"/>
                  </a:lnTo>
                  <a:lnTo>
                    <a:pt x="2407" y="698"/>
                  </a:lnTo>
                  <a:lnTo>
                    <a:pt x="2404" y="704"/>
                  </a:lnTo>
                  <a:lnTo>
                    <a:pt x="2404" y="706"/>
                  </a:lnTo>
                  <a:lnTo>
                    <a:pt x="2409" y="715"/>
                  </a:lnTo>
                  <a:lnTo>
                    <a:pt x="2409" y="717"/>
                  </a:lnTo>
                  <a:lnTo>
                    <a:pt x="2403" y="731"/>
                  </a:lnTo>
                  <a:lnTo>
                    <a:pt x="2395" y="756"/>
                  </a:lnTo>
                  <a:lnTo>
                    <a:pt x="2391" y="761"/>
                  </a:lnTo>
                  <a:lnTo>
                    <a:pt x="2389" y="761"/>
                  </a:lnTo>
                  <a:lnTo>
                    <a:pt x="2371" y="748"/>
                  </a:lnTo>
                  <a:lnTo>
                    <a:pt x="2363" y="747"/>
                  </a:lnTo>
                  <a:lnTo>
                    <a:pt x="2355" y="748"/>
                  </a:lnTo>
                  <a:lnTo>
                    <a:pt x="2338" y="754"/>
                  </a:lnTo>
                  <a:lnTo>
                    <a:pt x="2318" y="766"/>
                  </a:lnTo>
                  <a:lnTo>
                    <a:pt x="2311" y="771"/>
                  </a:lnTo>
                  <a:lnTo>
                    <a:pt x="2295" y="786"/>
                  </a:lnTo>
                  <a:lnTo>
                    <a:pt x="2290" y="784"/>
                  </a:lnTo>
                  <a:lnTo>
                    <a:pt x="2283" y="767"/>
                  </a:lnTo>
                  <a:lnTo>
                    <a:pt x="2278" y="764"/>
                  </a:lnTo>
                  <a:lnTo>
                    <a:pt x="2236" y="774"/>
                  </a:lnTo>
                  <a:lnTo>
                    <a:pt x="2225" y="774"/>
                  </a:lnTo>
                  <a:lnTo>
                    <a:pt x="2206" y="770"/>
                  </a:lnTo>
                  <a:lnTo>
                    <a:pt x="2200" y="769"/>
                  </a:lnTo>
                  <a:lnTo>
                    <a:pt x="2198" y="768"/>
                  </a:lnTo>
                  <a:lnTo>
                    <a:pt x="2188" y="748"/>
                  </a:lnTo>
                  <a:lnTo>
                    <a:pt x="2182" y="741"/>
                  </a:lnTo>
                  <a:lnTo>
                    <a:pt x="2155" y="720"/>
                  </a:lnTo>
                  <a:lnTo>
                    <a:pt x="2149" y="723"/>
                  </a:lnTo>
                  <a:lnTo>
                    <a:pt x="2142" y="728"/>
                  </a:lnTo>
                  <a:lnTo>
                    <a:pt x="2126" y="748"/>
                  </a:lnTo>
                  <a:lnTo>
                    <a:pt x="2116" y="760"/>
                  </a:lnTo>
                  <a:lnTo>
                    <a:pt x="2110" y="770"/>
                  </a:lnTo>
                  <a:lnTo>
                    <a:pt x="2106" y="776"/>
                  </a:lnTo>
                  <a:lnTo>
                    <a:pt x="2099" y="779"/>
                  </a:lnTo>
                  <a:lnTo>
                    <a:pt x="2085" y="782"/>
                  </a:lnTo>
                  <a:lnTo>
                    <a:pt x="2074" y="763"/>
                  </a:lnTo>
                  <a:lnTo>
                    <a:pt x="2071" y="760"/>
                  </a:lnTo>
                  <a:lnTo>
                    <a:pt x="2059" y="756"/>
                  </a:lnTo>
                  <a:lnTo>
                    <a:pt x="2052" y="751"/>
                  </a:lnTo>
                  <a:lnTo>
                    <a:pt x="2044" y="742"/>
                  </a:lnTo>
                  <a:lnTo>
                    <a:pt x="2039" y="728"/>
                  </a:lnTo>
                  <a:lnTo>
                    <a:pt x="2025" y="716"/>
                  </a:lnTo>
                  <a:lnTo>
                    <a:pt x="2020" y="716"/>
                  </a:lnTo>
                  <a:lnTo>
                    <a:pt x="2018" y="717"/>
                  </a:lnTo>
                  <a:lnTo>
                    <a:pt x="2007" y="748"/>
                  </a:lnTo>
                  <a:lnTo>
                    <a:pt x="1985" y="776"/>
                  </a:lnTo>
                  <a:lnTo>
                    <a:pt x="1958" y="797"/>
                  </a:lnTo>
                  <a:lnTo>
                    <a:pt x="1949" y="807"/>
                  </a:lnTo>
                  <a:lnTo>
                    <a:pt x="1945" y="812"/>
                  </a:lnTo>
                  <a:lnTo>
                    <a:pt x="1923" y="821"/>
                  </a:lnTo>
                  <a:lnTo>
                    <a:pt x="1922" y="825"/>
                  </a:lnTo>
                  <a:lnTo>
                    <a:pt x="1929" y="833"/>
                  </a:lnTo>
                  <a:lnTo>
                    <a:pt x="1930" y="835"/>
                  </a:lnTo>
                  <a:lnTo>
                    <a:pt x="1929" y="836"/>
                  </a:lnTo>
                  <a:lnTo>
                    <a:pt x="1927" y="837"/>
                  </a:lnTo>
                  <a:lnTo>
                    <a:pt x="1923" y="835"/>
                  </a:lnTo>
                  <a:lnTo>
                    <a:pt x="1919" y="835"/>
                  </a:lnTo>
                  <a:lnTo>
                    <a:pt x="1916" y="837"/>
                  </a:lnTo>
                  <a:lnTo>
                    <a:pt x="1913" y="840"/>
                  </a:lnTo>
                  <a:lnTo>
                    <a:pt x="1916" y="851"/>
                  </a:lnTo>
                  <a:lnTo>
                    <a:pt x="1918" y="857"/>
                  </a:lnTo>
                  <a:lnTo>
                    <a:pt x="1922" y="856"/>
                  </a:lnTo>
                  <a:lnTo>
                    <a:pt x="1938" y="846"/>
                  </a:lnTo>
                  <a:lnTo>
                    <a:pt x="1941" y="844"/>
                  </a:lnTo>
                  <a:lnTo>
                    <a:pt x="1943" y="846"/>
                  </a:lnTo>
                  <a:lnTo>
                    <a:pt x="1947" y="850"/>
                  </a:lnTo>
                  <a:lnTo>
                    <a:pt x="1951" y="857"/>
                  </a:lnTo>
                  <a:lnTo>
                    <a:pt x="1957" y="876"/>
                  </a:lnTo>
                  <a:lnTo>
                    <a:pt x="1961" y="908"/>
                  </a:lnTo>
                  <a:lnTo>
                    <a:pt x="1948" y="912"/>
                  </a:lnTo>
                  <a:lnTo>
                    <a:pt x="1946" y="913"/>
                  </a:lnTo>
                  <a:lnTo>
                    <a:pt x="1942" y="920"/>
                  </a:lnTo>
                  <a:lnTo>
                    <a:pt x="1940" y="927"/>
                  </a:lnTo>
                  <a:lnTo>
                    <a:pt x="1941" y="934"/>
                  </a:lnTo>
                  <a:lnTo>
                    <a:pt x="1945" y="952"/>
                  </a:lnTo>
                  <a:lnTo>
                    <a:pt x="1953" y="954"/>
                  </a:lnTo>
                  <a:lnTo>
                    <a:pt x="1954" y="955"/>
                  </a:lnTo>
                  <a:lnTo>
                    <a:pt x="1953" y="985"/>
                  </a:lnTo>
                  <a:lnTo>
                    <a:pt x="1953" y="1003"/>
                  </a:lnTo>
                  <a:lnTo>
                    <a:pt x="1954" y="1004"/>
                  </a:lnTo>
                  <a:lnTo>
                    <a:pt x="1987" y="1026"/>
                  </a:lnTo>
                  <a:lnTo>
                    <a:pt x="1995" y="1027"/>
                  </a:lnTo>
                  <a:lnTo>
                    <a:pt x="2010" y="1028"/>
                  </a:lnTo>
                  <a:lnTo>
                    <a:pt x="2036" y="1027"/>
                  </a:lnTo>
                  <a:lnTo>
                    <a:pt x="2041" y="1026"/>
                  </a:lnTo>
                  <a:lnTo>
                    <a:pt x="2043" y="1023"/>
                  </a:lnTo>
                  <a:lnTo>
                    <a:pt x="2055" y="1002"/>
                  </a:lnTo>
                  <a:lnTo>
                    <a:pt x="2059" y="998"/>
                  </a:lnTo>
                  <a:lnTo>
                    <a:pt x="2063" y="996"/>
                  </a:lnTo>
                  <a:lnTo>
                    <a:pt x="2068" y="995"/>
                  </a:lnTo>
                  <a:lnTo>
                    <a:pt x="2083" y="996"/>
                  </a:lnTo>
                  <a:lnTo>
                    <a:pt x="2118" y="1001"/>
                  </a:lnTo>
                  <a:lnTo>
                    <a:pt x="2126" y="999"/>
                  </a:lnTo>
                  <a:lnTo>
                    <a:pt x="2133" y="996"/>
                  </a:lnTo>
                  <a:lnTo>
                    <a:pt x="2141" y="975"/>
                  </a:lnTo>
                  <a:lnTo>
                    <a:pt x="2144" y="972"/>
                  </a:lnTo>
                  <a:lnTo>
                    <a:pt x="2149" y="972"/>
                  </a:lnTo>
                  <a:lnTo>
                    <a:pt x="2152" y="974"/>
                  </a:lnTo>
                  <a:lnTo>
                    <a:pt x="2155" y="978"/>
                  </a:lnTo>
                  <a:lnTo>
                    <a:pt x="2164" y="1003"/>
                  </a:lnTo>
                  <a:lnTo>
                    <a:pt x="2169" y="1011"/>
                  </a:lnTo>
                  <a:lnTo>
                    <a:pt x="2173" y="1014"/>
                  </a:lnTo>
                  <a:lnTo>
                    <a:pt x="2188" y="1015"/>
                  </a:lnTo>
                  <a:lnTo>
                    <a:pt x="2190" y="1017"/>
                  </a:lnTo>
                  <a:lnTo>
                    <a:pt x="2191" y="1019"/>
                  </a:lnTo>
                  <a:lnTo>
                    <a:pt x="2190" y="1028"/>
                  </a:lnTo>
                  <a:lnTo>
                    <a:pt x="2191" y="1034"/>
                  </a:lnTo>
                  <a:lnTo>
                    <a:pt x="2207" y="1047"/>
                  </a:lnTo>
                  <a:lnTo>
                    <a:pt x="2223" y="1089"/>
                  </a:lnTo>
                  <a:lnTo>
                    <a:pt x="2222" y="1091"/>
                  </a:lnTo>
                  <a:lnTo>
                    <a:pt x="2218" y="1094"/>
                  </a:lnTo>
                  <a:lnTo>
                    <a:pt x="2192" y="1109"/>
                  </a:lnTo>
                  <a:lnTo>
                    <a:pt x="2178" y="1126"/>
                  </a:lnTo>
                  <a:lnTo>
                    <a:pt x="2169" y="1167"/>
                  </a:lnTo>
                  <a:lnTo>
                    <a:pt x="2163" y="1185"/>
                  </a:lnTo>
                  <a:lnTo>
                    <a:pt x="2163" y="1185"/>
                  </a:lnTo>
                  <a:lnTo>
                    <a:pt x="2151" y="1184"/>
                  </a:lnTo>
                  <a:lnTo>
                    <a:pt x="2149" y="1188"/>
                  </a:lnTo>
                  <a:lnTo>
                    <a:pt x="2150" y="1205"/>
                  </a:lnTo>
                  <a:lnTo>
                    <a:pt x="2149" y="1213"/>
                  </a:lnTo>
                  <a:lnTo>
                    <a:pt x="2145" y="1224"/>
                  </a:lnTo>
                  <a:lnTo>
                    <a:pt x="2138" y="1239"/>
                  </a:lnTo>
                  <a:lnTo>
                    <a:pt x="2129" y="1269"/>
                  </a:lnTo>
                  <a:lnTo>
                    <a:pt x="2125" y="1280"/>
                  </a:lnTo>
                  <a:lnTo>
                    <a:pt x="2116" y="1298"/>
                  </a:lnTo>
                  <a:lnTo>
                    <a:pt x="2113" y="1297"/>
                  </a:lnTo>
                  <a:lnTo>
                    <a:pt x="2107" y="1293"/>
                  </a:lnTo>
                  <a:lnTo>
                    <a:pt x="2104" y="1292"/>
                  </a:lnTo>
                  <a:lnTo>
                    <a:pt x="2102" y="1295"/>
                  </a:lnTo>
                  <a:lnTo>
                    <a:pt x="2101" y="1300"/>
                  </a:lnTo>
                  <a:lnTo>
                    <a:pt x="2100" y="1320"/>
                  </a:lnTo>
                  <a:lnTo>
                    <a:pt x="2102" y="1328"/>
                  </a:lnTo>
                  <a:lnTo>
                    <a:pt x="2105" y="1336"/>
                  </a:lnTo>
                  <a:lnTo>
                    <a:pt x="2107" y="1339"/>
                  </a:lnTo>
                  <a:lnTo>
                    <a:pt x="2110" y="1342"/>
                  </a:lnTo>
                  <a:lnTo>
                    <a:pt x="2125" y="1349"/>
                  </a:lnTo>
                  <a:lnTo>
                    <a:pt x="2129" y="1353"/>
                  </a:lnTo>
                  <a:lnTo>
                    <a:pt x="2129" y="1355"/>
                  </a:lnTo>
                  <a:lnTo>
                    <a:pt x="2126" y="1374"/>
                  </a:lnTo>
                  <a:lnTo>
                    <a:pt x="2128" y="1381"/>
                  </a:lnTo>
                  <a:lnTo>
                    <a:pt x="2132" y="1381"/>
                  </a:lnTo>
                  <a:lnTo>
                    <a:pt x="2145" y="1375"/>
                  </a:lnTo>
                  <a:lnTo>
                    <a:pt x="2154" y="1373"/>
                  </a:lnTo>
                  <a:lnTo>
                    <a:pt x="2162" y="1372"/>
                  </a:lnTo>
                  <a:lnTo>
                    <a:pt x="2164" y="1374"/>
                  </a:lnTo>
                  <a:lnTo>
                    <a:pt x="2167" y="1378"/>
                  </a:lnTo>
                  <a:lnTo>
                    <a:pt x="2158" y="1395"/>
                  </a:lnTo>
                  <a:lnTo>
                    <a:pt x="2158" y="1399"/>
                  </a:lnTo>
                  <a:lnTo>
                    <a:pt x="2158" y="1405"/>
                  </a:lnTo>
                  <a:lnTo>
                    <a:pt x="2161" y="1408"/>
                  </a:lnTo>
                  <a:lnTo>
                    <a:pt x="2179" y="1422"/>
                  </a:lnTo>
                  <a:lnTo>
                    <a:pt x="2183" y="1427"/>
                  </a:lnTo>
                  <a:lnTo>
                    <a:pt x="2187" y="1434"/>
                  </a:lnTo>
                  <a:lnTo>
                    <a:pt x="2190" y="1454"/>
                  </a:lnTo>
                  <a:lnTo>
                    <a:pt x="2193" y="1455"/>
                  </a:lnTo>
                  <a:lnTo>
                    <a:pt x="2204" y="1454"/>
                  </a:lnTo>
                  <a:lnTo>
                    <a:pt x="2214" y="1457"/>
                  </a:lnTo>
                  <a:lnTo>
                    <a:pt x="2236" y="1463"/>
                  </a:lnTo>
                  <a:lnTo>
                    <a:pt x="2242" y="1465"/>
                  </a:lnTo>
                  <a:lnTo>
                    <a:pt x="2243" y="1466"/>
                  </a:lnTo>
                  <a:lnTo>
                    <a:pt x="2241" y="1485"/>
                  </a:lnTo>
                  <a:lnTo>
                    <a:pt x="2239" y="1489"/>
                  </a:lnTo>
                  <a:lnTo>
                    <a:pt x="2235" y="1490"/>
                  </a:lnTo>
                  <a:lnTo>
                    <a:pt x="2225" y="1490"/>
                  </a:lnTo>
                  <a:lnTo>
                    <a:pt x="2215" y="1494"/>
                  </a:lnTo>
                  <a:lnTo>
                    <a:pt x="2198" y="1507"/>
                  </a:lnTo>
                  <a:lnTo>
                    <a:pt x="2172" y="1526"/>
                  </a:lnTo>
                  <a:lnTo>
                    <a:pt x="2162" y="1535"/>
                  </a:lnTo>
                  <a:lnTo>
                    <a:pt x="2162" y="1537"/>
                  </a:lnTo>
                  <a:lnTo>
                    <a:pt x="2164" y="1539"/>
                  </a:lnTo>
                  <a:lnTo>
                    <a:pt x="2172" y="1541"/>
                  </a:lnTo>
                  <a:lnTo>
                    <a:pt x="2191" y="1533"/>
                  </a:lnTo>
                  <a:lnTo>
                    <a:pt x="2199" y="1533"/>
                  </a:lnTo>
                  <a:lnTo>
                    <a:pt x="2201" y="1534"/>
                  </a:lnTo>
                  <a:lnTo>
                    <a:pt x="2204" y="1539"/>
                  </a:lnTo>
                  <a:lnTo>
                    <a:pt x="2205" y="1547"/>
                  </a:lnTo>
                  <a:lnTo>
                    <a:pt x="2201" y="1554"/>
                  </a:lnTo>
                  <a:lnTo>
                    <a:pt x="2182" y="1575"/>
                  </a:lnTo>
                  <a:lnTo>
                    <a:pt x="2172" y="1589"/>
                  </a:lnTo>
                  <a:lnTo>
                    <a:pt x="2150" y="1612"/>
                  </a:lnTo>
                  <a:lnTo>
                    <a:pt x="2147" y="1616"/>
                  </a:lnTo>
                  <a:lnTo>
                    <a:pt x="2146" y="1621"/>
                  </a:lnTo>
                  <a:lnTo>
                    <a:pt x="2147" y="1632"/>
                  </a:lnTo>
                  <a:lnTo>
                    <a:pt x="2147" y="1632"/>
                  </a:lnTo>
                  <a:lnTo>
                    <a:pt x="2143" y="1638"/>
                  </a:lnTo>
                  <a:lnTo>
                    <a:pt x="2131" y="1658"/>
                  </a:lnTo>
                  <a:lnTo>
                    <a:pt x="2131" y="1664"/>
                  </a:lnTo>
                  <a:lnTo>
                    <a:pt x="2134" y="1678"/>
                  </a:lnTo>
                  <a:lnTo>
                    <a:pt x="2142" y="1701"/>
                  </a:lnTo>
                  <a:lnTo>
                    <a:pt x="2154" y="1728"/>
                  </a:lnTo>
                  <a:lnTo>
                    <a:pt x="2159" y="1748"/>
                  </a:lnTo>
                  <a:lnTo>
                    <a:pt x="2188" y="1768"/>
                  </a:lnTo>
                  <a:lnTo>
                    <a:pt x="2193" y="1770"/>
                  </a:lnTo>
                  <a:lnTo>
                    <a:pt x="2196" y="1766"/>
                  </a:lnTo>
                  <a:lnTo>
                    <a:pt x="2194" y="1744"/>
                  </a:lnTo>
                  <a:lnTo>
                    <a:pt x="2195" y="1739"/>
                  </a:lnTo>
                  <a:lnTo>
                    <a:pt x="2196" y="1735"/>
                  </a:lnTo>
                  <a:lnTo>
                    <a:pt x="2199" y="1733"/>
                  </a:lnTo>
                  <a:lnTo>
                    <a:pt x="2206" y="1731"/>
                  </a:lnTo>
                  <a:lnTo>
                    <a:pt x="2215" y="1727"/>
                  </a:lnTo>
                  <a:lnTo>
                    <a:pt x="2229" y="1731"/>
                  </a:lnTo>
                  <a:lnTo>
                    <a:pt x="2248" y="1734"/>
                  </a:lnTo>
                  <a:lnTo>
                    <a:pt x="2264" y="1746"/>
                  </a:lnTo>
                  <a:lnTo>
                    <a:pt x="2276" y="1745"/>
                  </a:lnTo>
                  <a:lnTo>
                    <a:pt x="2290" y="1739"/>
                  </a:lnTo>
                  <a:lnTo>
                    <a:pt x="2298" y="1739"/>
                  </a:lnTo>
                  <a:lnTo>
                    <a:pt x="2305" y="1740"/>
                  </a:lnTo>
                  <a:lnTo>
                    <a:pt x="2309" y="1742"/>
                  </a:lnTo>
                  <a:lnTo>
                    <a:pt x="2313" y="1745"/>
                  </a:lnTo>
                  <a:lnTo>
                    <a:pt x="2315" y="1754"/>
                  </a:lnTo>
                  <a:lnTo>
                    <a:pt x="2317" y="1758"/>
                  </a:lnTo>
                  <a:lnTo>
                    <a:pt x="2333" y="1766"/>
                  </a:lnTo>
                  <a:lnTo>
                    <a:pt x="2336" y="1769"/>
                  </a:lnTo>
                  <a:lnTo>
                    <a:pt x="2340" y="1774"/>
                  </a:lnTo>
                  <a:lnTo>
                    <a:pt x="2341" y="1781"/>
                  </a:lnTo>
                  <a:lnTo>
                    <a:pt x="2343" y="1795"/>
                  </a:lnTo>
                  <a:lnTo>
                    <a:pt x="2347" y="1804"/>
                  </a:lnTo>
                  <a:lnTo>
                    <a:pt x="2355" y="1816"/>
                  </a:lnTo>
                  <a:lnTo>
                    <a:pt x="2356" y="1819"/>
                  </a:lnTo>
                  <a:lnTo>
                    <a:pt x="2355" y="1822"/>
                  </a:lnTo>
                  <a:lnTo>
                    <a:pt x="2339" y="1828"/>
                  </a:lnTo>
                  <a:lnTo>
                    <a:pt x="2337" y="1832"/>
                  </a:lnTo>
                  <a:lnTo>
                    <a:pt x="2337" y="1836"/>
                  </a:lnTo>
                  <a:lnTo>
                    <a:pt x="2350" y="1852"/>
                  </a:lnTo>
                  <a:lnTo>
                    <a:pt x="2361" y="1861"/>
                  </a:lnTo>
                  <a:lnTo>
                    <a:pt x="2367" y="1862"/>
                  </a:lnTo>
                  <a:lnTo>
                    <a:pt x="2380" y="1852"/>
                  </a:lnTo>
                  <a:lnTo>
                    <a:pt x="2386" y="1852"/>
                  </a:lnTo>
                  <a:lnTo>
                    <a:pt x="2392" y="1854"/>
                  </a:lnTo>
                  <a:lnTo>
                    <a:pt x="2403" y="1866"/>
                  </a:lnTo>
                  <a:lnTo>
                    <a:pt x="2407" y="1871"/>
                  </a:lnTo>
                  <a:lnTo>
                    <a:pt x="2420" y="1874"/>
                  </a:lnTo>
                  <a:lnTo>
                    <a:pt x="2430" y="1875"/>
                  </a:lnTo>
                  <a:lnTo>
                    <a:pt x="2432" y="1874"/>
                  </a:lnTo>
                  <a:lnTo>
                    <a:pt x="2434" y="1873"/>
                  </a:lnTo>
                  <a:lnTo>
                    <a:pt x="2437" y="1859"/>
                  </a:lnTo>
                  <a:lnTo>
                    <a:pt x="2441" y="1852"/>
                  </a:lnTo>
                  <a:lnTo>
                    <a:pt x="2448" y="1848"/>
                  </a:lnTo>
                  <a:lnTo>
                    <a:pt x="2462" y="1847"/>
                  </a:lnTo>
                  <a:lnTo>
                    <a:pt x="2467" y="1849"/>
                  </a:lnTo>
                  <a:lnTo>
                    <a:pt x="2469" y="1852"/>
                  </a:lnTo>
                  <a:lnTo>
                    <a:pt x="2470" y="1870"/>
                  </a:lnTo>
                  <a:lnTo>
                    <a:pt x="2473" y="1873"/>
                  </a:lnTo>
                  <a:lnTo>
                    <a:pt x="2475" y="1874"/>
                  </a:lnTo>
                  <a:lnTo>
                    <a:pt x="2478" y="1873"/>
                  </a:lnTo>
                  <a:lnTo>
                    <a:pt x="2491" y="1866"/>
                  </a:lnTo>
                  <a:lnTo>
                    <a:pt x="2499" y="1865"/>
                  </a:lnTo>
                  <a:lnTo>
                    <a:pt x="2505" y="1866"/>
                  </a:lnTo>
                  <a:lnTo>
                    <a:pt x="2512" y="1870"/>
                  </a:lnTo>
                  <a:lnTo>
                    <a:pt x="2514" y="1872"/>
                  </a:lnTo>
                  <a:lnTo>
                    <a:pt x="2515" y="1877"/>
                  </a:lnTo>
                  <a:lnTo>
                    <a:pt x="2519" y="1879"/>
                  </a:lnTo>
                  <a:lnTo>
                    <a:pt x="2525" y="1878"/>
                  </a:lnTo>
                  <a:lnTo>
                    <a:pt x="2529" y="1876"/>
                  </a:lnTo>
                  <a:lnTo>
                    <a:pt x="2532" y="1873"/>
                  </a:lnTo>
                  <a:lnTo>
                    <a:pt x="2535" y="1867"/>
                  </a:lnTo>
                  <a:lnTo>
                    <a:pt x="2536" y="1865"/>
                  </a:lnTo>
                  <a:lnTo>
                    <a:pt x="2542" y="1872"/>
                  </a:lnTo>
                  <a:lnTo>
                    <a:pt x="2545" y="1872"/>
                  </a:lnTo>
                  <a:lnTo>
                    <a:pt x="2547" y="1868"/>
                  </a:lnTo>
                  <a:lnTo>
                    <a:pt x="2547" y="1859"/>
                  </a:lnTo>
                  <a:lnTo>
                    <a:pt x="2549" y="1855"/>
                  </a:lnTo>
                  <a:lnTo>
                    <a:pt x="2551" y="1849"/>
                  </a:lnTo>
                  <a:lnTo>
                    <a:pt x="2555" y="1849"/>
                  </a:lnTo>
                  <a:lnTo>
                    <a:pt x="2565" y="1854"/>
                  </a:lnTo>
                  <a:lnTo>
                    <a:pt x="2581" y="1853"/>
                  </a:lnTo>
                  <a:lnTo>
                    <a:pt x="2591" y="1858"/>
                  </a:lnTo>
                  <a:lnTo>
                    <a:pt x="2596" y="1863"/>
                  </a:lnTo>
                  <a:lnTo>
                    <a:pt x="2602" y="1875"/>
                  </a:lnTo>
                  <a:lnTo>
                    <a:pt x="2611" y="1885"/>
                  </a:lnTo>
                  <a:lnTo>
                    <a:pt x="2619" y="1907"/>
                  </a:lnTo>
                  <a:lnTo>
                    <a:pt x="2632" y="1933"/>
                  </a:lnTo>
                  <a:lnTo>
                    <a:pt x="2635" y="1943"/>
                  </a:lnTo>
                  <a:lnTo>
                    <a:pt x="2632" y="1949"/>
                  </a:lnTo>
                  <a:lnTo>
                    <a:pt x="2625" y="1966"/>
                  </a:lnTo>
                  <a:lnTo>
                    <a:pt x="2625" y="1988"/>
                  </a:lnTo>
                  <a:lnTo>
                    <a:pt x="2621" y="2007"/>
                  </a:lnTo>
                  <a:lnTo>
                    <a:pt x="2617" y="2035"/>
                  </a:lnTo>
                  <a:lnTo>
                    <a:pt x="2611" y="2046"/>
                  </a:lnTo>
                  <a:lnTo>
                    <a:pt x="2605" y="2053"/>
                  </a:lnTo>
                  <a:lnTo>
                    <a:pt x="2599" y="2059"/>
                  </a:lnTo>
                  <a:lnTo>
                    <a:pt x="2575" y="2074"/>
                  </a:lnTo>
                  <a:lnTo>
                    <a:pt x="2574" y="2073"/>
                  </a:lnTo>
                  <a:lnTo>
                    <a:pt x="2572" y="2069"/>
                  </a:lnTo>
                  <a:lnTo>
                    <a:pt x="2570" y="2064"/>
                  </a:lnTo>
                  <a:lnTo>
                    <a:pt x="2564" y="2059"/>
                  </a:lnTo>
                  <a:lnTo>
                    <a:pt x="2537" y="2050"/>
                  </a:lnTo>
                  <a:lnTo>
                    <a:pt x="2529" y="2050"/>
                  </a:lnTo>
                  <a:lnTo>
                    <a:pt x="2523" y="2052"/>
                  </a:lnTo>
                  <a:lnTo>
                    <a:pt x="2519" y="2056"/>
                  </a:lnTo>
                  <a:lnTo>
                    <a:pt x="2516" y="2068"/>
                  </a:lnTo>
                  <a:lnTo>
                    <a:pt x="2499" y="2075"/>
                  </a:lnTo>
                  <a:lnTo>
                    <a:pt x="2482" y="2090"/>
                  </a:lnTo>
                  <a:lnTo>
                    <a:pt x="2470" y="2089"/>
                  </a:lnTo>
                  <a:lnTo>
                    <a:pt x="2468" y="2090"/>
                  </a:lnTo>
                  <a:lnTo>
                    <a:pt x="2467" y="2093"/>
                  </a:lnTo>
                  <a:lnTo>
                    <a:pt x="2477" y="2103"/>
                  </a:lnTo>
                  <a:lnTo>
                    <a:pt x="2479" y="2110"/>
                  </a:lnTo>
                  <a:lnTo>
                    <a:pt x="2479" y="2113"/>
                  </a:lnTo>
                  <a:lnTo>
                    <a:pt x="2477" y="2115"/>
                  </a:lnTo>
                  <a:lnTo>
                    <a:pt x="2475" y="2115"/>
                  </a:lnTo>
                  <a:lnTo>
                    <a:pt x="2467" y="2108"/>
                  </a:lnTo>
                  <a:lnTo>
                    <a:pt x="2465" y="2108"/>
                  </a:lnTo>
                  <a:lnTo>
                    <a:pt x="2463" y="2109"/>
                  </a:lnTo>
                  <a:lnTo>
                    <a:pt x="2449" y="2121"/>
                  </a:lnTo>
                  <a:lnTo>
                    <a:pt x="2432" y="2139"/>
                  </a:lnTo>
                  <a:lnTo>
                    <a:pt x="2426" y="2146"/>
                  </a:lnTo>
                  <a:lnTo>
                    <a:pt x="2423" y="2153"/>
                  </a:lnTo>
                  <a:lnTo>
                    <a:pt x="2423" y="2153"/>
                  </a:lnTo>
                  <a:lnTo>
                    <a:pt x="2410" y="2139"/>
                  </a:lnTo>
                  <a:lnTo>
                    <a:pt x="2404" y="2125"/>
                  </a:lnTo>
                  <a:lnTo>
                    <a:pt x="2399" y="2121"/>
                  </a:lnTo>
                  <a:lnTo>
                    <a:pt x="2394" y="2118"/>
                  </a:lnTo>
                  <a:lnTo>
                    <a:pt x="2391" y="2116"/>
                  </a:lnTo>
                  <a:lnTo>
                    <a:pt x="2379" y="2101"/>
                  </a:lnTo>
                  <a:lnTo>
                    <a:pt x="2373" y="2096"/>
                  </a:lnTo>
                  <a:lnTo>
                    <a:pt x="2366" y="2092"/>
                  </a:lnTo>
                  <a:lnTo>
                    <a:pt x="2361" y="2091"/>
                  </a:lnTo>
                  <a:lnTo>
                    <a:pt x="2358" y="2092"/>
                  </a:lnTo>
                  <a:lnTo>
                    <a:pt x="2352" y="2096"/>
                  </a:lnTo>
                  <a:lnTo>
                    <a:pt x="2343" y="2105"/>
                  </a:lnTo>
                  <a:lnTo>
                    <a:pt x="2338" y="2111"/>
                  </a:lnTo>
                  <a:lnTo>
                    <a:pt x="2334" y="2119"/>
                  </a:lnTo>
                  <a:lnTo>
                    <a:pt x="2330" y="2124"/>
                  </a:lnTo>
                  <a:lnTo>
                    <a:pt x="2318" y="2125"/>
                  </a:lnTo>
                  <a:lnTo>
                    <a:pt x="2303" y="2129"/>
                  </a:lnTo>
                  <a:lnTo>
                    <a:pt x="2293" y="2130"/>
                  </a:lnTo>
                  <a:lnTo>
                    <a:pt x="2282" y="2133"/>
                  </a:lnTo>
                  <a:lnTo>
                    <a:pt x="2266" y="2141"/>
                  </a:lnTo>
                  <a:lnTo>
                    <a:pt x="2245" y="2153"/>
                  </a:lnTo>
                  <a:lnTo>
                    <a:pt x="2237" y="2157"/>
                  </a:lnTo>
                  <a:lnTo>
                    <a:pt x="2227" y="2159"/>
                  </a:lnTo>
                  <a:lnTo>
                    <a:pt x="2208" y="2169"/>
                  </a:lnTo>
                  <a:lnTo>
                    <a:pt x="2206" y="2172"/>
                  </a:lnTo>
                  <a:lnTo>
                    <a:pt x="2204" y="2178"/>
                  </a:lnTo>
                  <a:lnTo>
                    <a:pt x="2201" y="2187"/>
                  </a:lnTo>
                  <a:lnTo>
                    <a:pt x="2209" y="2220"/>
                  </a:lnTo>
                  <a:lnTo>
                    <a:pt x="2210" y="2229"/>
                  </a:lnTo>
                  <a:lnTo>
                    <a:pt x="2210" y="2232"/>
                  </a:lnTo>
                  <a:lnTo>
                    <a:pt x="2204" y="2238"/>
                  </a:lnTo>
                  <a:lnTo>
                    <a:pt x="2187" y="2248"/>
                  </a:lnTo>
                  <a:lnTo>
                    <a:pt x="2176" y="2257"/>
                  </a:lnTo>
                  <a:lnTo>
                    <a:pt x="2165" y="2263"/>
                  </a:lnTo>
                  <a:lnTo>
                    <a:pt x="2158" y="2266"/>
                  </a:lnTo>
                  <a:lnTo>
                    <a:pt x="2149" y="2263"/>
                  </a:lnTo>
                  <a:lnTo>
                    <a:pt x="2132" y="2259"/>
                  </a:lnTo>
                  <a:lnTo>
                    <a:pt x="2125" y="2260"/>
                  </a:lnTo>
                  <a:lnTo>
                    <a:pt x="2117" y="2265"/>
                  </a:lnTo>
                  <a:lnTo>
                    <a:pt x="2101" y="2275"/>
                  </a:lnTo>
                  <a:lnTo>
                    <a:pt x="2069" y="2301"/>
                  </a:lnTo>
                  <a:lnTo>
                    <a:pt x="2060" y="2307"/>
                  </a:lnTo>
                  <a:lnTo>
                    <a:pt x="2057" y="2306"/>
                  </a:lnTo>
                  <a:lnTo>
                    <a:pt x="2049" y="2297"/>
                  </a:lnTo>
                  <a:lnTo>
                    <a:pt x="2033" y="2289"/>
                  </a:lnTo>
                  <a:lnTo>
                    <a:pt x="2031" y="2287"/>
                  </a:lnTo>
                  <a:lnTo>
                    <a:pt x="2030" y="2274"/>
                  </a:lnTo>
                  <a:lnTo>
                    <a:pt x="2033" y="2258"/>
                  </a:lnTo>
                  <a:lnTo>
                    <a:pt x="2024" y="2256"/>
                  </a:lnTo>
                  <a:lnTo>
                    <a:pt x="2011" y="2257"/>
                  </a:lnTo>
                  <a:lnTo>
                    <a:pt x="1994" y="2261"/>
                  </a:lnTo>
                  <a:lnTo>
                    <a:pt x="1982" y="2266"/>
                  </a:lnTo>
                  <a:lnTo>
                    <a:pt x="1975" y="2272"/>
                  </a:lnTo>
                  <a:lnTo>
                    <a:pt x="1970" y="2280"/>
                  </a:lnTo>
                  <a:lnTo>
                    <a:pt x="1963" y="2301"/>
                  </a:lnTo>
                  <a:lnTo>
                    <a:pt x="1946" y="2345"/>
                  </a:lnTo>
                  <a:lnTo>
                    <a:pt x="1941" y="2352"/>
                  </a:lnTo>
                  <a:lnTo>
                    <a:pt x="1938" y="2355"/>
                  </a:lnTo>
                  <a:lnTo>
                    <a:pt x="1935" y="2356"/>
                  </a:lnTo>
                  <a:lnTo>
                    <a:pt x="1931" y="2356"/>
                  </a:lnTo>
                  <a:lnTo>
                    <a:pt x="1926" y="2353"/>
                  </a:lnTo>
                  <a:lnTo>
                    <a:pt x="1916" y="2345"/>
                  </a:lnTo>
                  <a:lnTo>
                    <a:pt x="1857" y="2280"/>
                  </a:lnTo>
                  <a:lnTo>
                    <a:pt x="1849" y="2272"/>
                  </a:lnTo>
                  <a:lnTo>
                    <a:pt x="1840" y="2266"/>
                  </a:lnTo>
                  <a:lnTo>
                    <a:pt x="1834" y="2263"/>
                  </a:lnTo>
                  <a:lnTo>
                    <a:pt x="1829" y="2265"/>
                  </a:lnTo>
                  <a:lnTo>
                    <a:pt x="1817" y="2275"/>
                  </a:lnTo>
                  <a:lnTo>
                    <a:pt x="1810" y="2286"/>
                  </a:lnTo>
                  <a:lnTo>
                    <a:pt x="1808" y="2304"/>
                  </a:lnTo>
                  <a:lnTo>
                    <a:pt x="1806" y="2312"/>
                  </a:lnTo>
                  <a:lnTo>
                    <a:pt x="1801" y="2315"/>
                  </a:lnTo>
                  <a:lnTo>
                    <a:pt x="1795" y="2316"/>
                  </a:lnTo>
                  <a:lnTo>
                    <a:pt x="1790" y="2314"/>
                  </a:lnTo>
                  <a:lnTo>
                    <a:pt x="1785" y="2311"/>
                  </a:lnTo>
                  <a:lnTo>
                    <a:pt x="1767" y="2285"/>
                  </a:lnTo>
                  <a:lnTo>
                    <a:pt x="1765" y="2269"/>
                  </a:lnTo>
                  <a:lnTo>
                    <a:pt x="1761" y="2261"/>
                  </a:lnTo>
                  <a:lnTo>
                    <a:pt x="1755" y="2256"/>
                  </a:lnTo>
                  <a:lnTo>
                    <a:pt x="1745" y="2253"/>
                  </a:lnTo>
                  <a:lnTo>
                    <a:pt x="1738" y="2254"/>
                  </a:lnTo>
                  <a:lnTo>
                    <a:pt x="1734" y="2257"/>
                  </a:lnTo>
                  <a:lnTo>
                    <a:pt x="1728" y="2265"/>
                  </a:lnTo>
                  <a:lnTo>
                    <a:pt x="1722" y="2281"/>
                  </a:lnTo>
                  <a:lnTo>
                    <a:pt x="1719" y="2287"/>
                  </a:lnTo>
                  <a:lnTo>
                    <a:pt x="1693" y="2305"/>
                  </a:lnTo>
                  <a:lnTo>
                    <a:pt x="1691" y="2310"/>
                  </a:lnTo>
                  <a:lnTo>
                    <a:pt x="1687" y="2323"/>
                  </a:lnTo>
                  <a:lnTo>
                    <a:pt x="1685" y="2327"/>
                  </a:lnTo>
                  <a:lnTo>
                    <a:pt x="1680" y="2330"/>
                  </a:lnTo>
                  <a:lnTo>
                    <a:pt x="1663" y="2339"/>
                  </a:lnTo>
                  <a:lnTo>
                    <a:pt x="1645" y="2355"/>
                  </a:lnTo>
                  <a:lnTo>
                    <a:pt x="1641" y="2357"/>
                  </a:lnTo>
                  <a:lnTo>
                    <a:pt x="1638" y="2357"/>
                  </a:lnTo>
                  <a:lnTo>
                    <a:pt x="1633" y="2353"/>
                  </a:lnTo>
                  <a:lnTo>
                    <a:pt x="1610" y="2337"/>
                  </a:lnTo>
                  <a:lnTo>
                    <a:pt x="1603" y="2330"/>
                  </a:lnTo>
                  <a:lnTo>
                    <a:pt x="1588" y="2308"/>
                  </a:lnTo>
                  <a:lnTo>
                    <a:pt x="1580" y="2299"/>
                  </a:lnTo>
                  <a:lnTo>
                    <a:pt x="1569" y="2293"/>
                  </a:lnTo>
                  <a:lnTo>
                    <a:pt x="1556" y="2278"/>
                  </a:lnTo>
                  <a:lnTo>
                    <a:pt x="1529" y="2266"/>
                  </a:lnTo>
                  <a:lnTo>
                    <a:pt x="1520" y="2260"/>
                  </a:lnTo>
                  <a:lnTo>
                    <a:pt x="1505" y="2257"/>
                  </a:lnTo>
                  <a:lnTo>
                    <a:pt x="1500" y="2253"/>
                  </a:lnTo>
                  <a:lnTo>
                    <a:pt x="1489" y="2239"/>
                  </a:lnTo>
                  <a:lnTo>
                    <a:pt x="1484" y="2237"/>
                  </a:lnTo>
                  <a:lnTo>
                    <a:pt x="1477" y="2238"/>
                  </a:lnTo>
                  <a:lnTo>
                    <a:pt x="1471" y="2242"/>
                  </a:lnTo>
                  <a:lnTo>
                    <a:pt x="1468" y="2247"/>
                  </a:lnTo>
                  <a:lnTo>
                    <a:pt x="1466" y="2255"/>
                  </a:lnTo>
                  <a:lnTo>
                    <a:pt x="1462" y="2259"/>
                  </a:lnTo>
                  <a:lnTo>
                    <a:pt x="1459" y="2262"/>
                  </a:lnTo>
                  <a:lnTo>
                    <a:pt x="1451" y="2266"/>
                  </a:lnTo>
                  <a:lnTo>
                    <a:pt x="1449" y="2268"/>
                  </a:lnTo>
                  <a:lnTo>
                    <a:pt x="1448" y="2273"/>
                  </a:lnTo>
                  <a:lnTo>
                    <a:pt x="1448" y="2287"/>
                  </a:lnTo>
                  <a:lnTo>
                    <a:pt x="1440" y="2306"/>
                  </a:lnTo>
                  <a:lnTo>
                    <a:pt x="1434" y="2313"/>
                  </a:lnTo>
                  <a:lnTo>
                    <a:pt x="1421" y="2321"/>
                  </a:lnTo>
                  <a:lnTo>
                    <a:pt x="1414" y="2328"/>
                  </a:lnTo>
                  <a:lnTo>
                    <a:pt x="1412" y="2332"/>
                  </a:lnTo>
                  <a:lnTo>
                    <a:pt x="1406" y="2344"/>
                  </a:lnTo>
                  <a:lnTo>
                    <a:pt x="1404" y="2348"/>
                  </a:lnTo>
                  <a:lnTo>
                    <a:pt x="1401" y="2350"/>
                  </a:lnTo>
                  <a:lnTo>
                    <a:pt x="1399" y="2350"/>
                  </a:lnTo>
                  <a:lnTo>
                    <a:pt x="1392" y="2346"/>
                  </a:lnTo>
                  <a:lnTo>
                    <a:pt x="1384" y="2345"/>
                  </a:lnTo>
                  <a:lnTo>
                    <a:pt x="1377" y="2345"/>
                  </a:lnTo>
                  <a:lnTo>
                    <a:pt x="1367" y="2347"/>
                  </a:lnTo>
                  <a:lnTo>
                    <a:pt x="1356" y="2340"/>
                  </a:lnTo>
                  <a:lnTo>
                    <a:pt x="1349" y="2339"/>
                  </a:lnTo>
                  <a:lnTo>
                    <a:pt x="1304" y="2337"/>
                  </a:lnTo>
                  <a:lnTo>
                    <a:pt x="1296" y="2338"/>
                  </a:lnTo>
                  <a:lnTo>
                    <a:pt x="1286" y="2350"/>
                  </a:lnTo>
                  <a:lnTo>
                    <a:pt x="1281" y="2352"/>
                  </a:lnTo>
                  <a:lnTo>
                    <a:pt x="1279" y="2353"/>
                  </a:lnTo>
                  <a:lnTo>
                    <a:pt x="1275" y="2351"/>
                  </a:lnTo>
                  <a:lnTo>
                    <a:pt x="1270" y="2346"/>
                  </a:lnTo>
                  <a:lnTo>
                    <a:pt x="1264" y="2338"/>
                  </a:lnTo>
                  <a:lnTo>
                    <a:pt x="1259" y="2326"/>
                  </a:lnTo>
                  <a:lnTo>
                    <a:pt x="1251" y="2319"/>
                  </a:lnTo>
                  <a:lnTo>
                    <a:pt x="1245" y="2315"/>
                  </a:lnTo>
                  <a:lnTo>
                    <a:pt x="1239" y="2315"/>
                  </a:lnTo>
                  <a:lnTo>
                    <a:pt x="1231" y="2315"/>
                  </a:lnTo>
                  <a:lnTo>
                    <a:pt x="1223" y="2317"/>
                  </a:lnTo>
                  <a:lnTo>
                    <a:pt x="1219" y="2322"/>
                  </a:lnTo>
                  <a:lnTo>
                    <a:pt x="1213" y="2333"/>
                  </a:lnTo>
                  <a:lnTo>
                    <a:pt x="1209" y="2356"/>
                  </a:lnTo>
                  <a:lnTo>
                    <a:pt x="1200" y="2379"/>
                  </a:lnTo>
                  <a:lnTo>
                    <a:pt x="1196" y="2381"/>
                  </a:lnTo>
                  <a:lnTo>
                    <a:pt x="1181" y="2384"/>
                  </a:lnTo>
                  <a:lnTo>
                    <a:pt x="1180" y="2385"/>
                  </a:lnTo>
                  <a:lnTo>
                    <a:pt x="1179" y="2387"/>
                  </a:lnTo>
                  <a:lnTo>
                    <a:pt x="1181" y="2400"/>
                  </a:lnTo>
                  <a:lnTo>
                    <a:pt x="1185" y="2420"/>
                  </a:lnTo>
                  <a:lnTo>
                    <a:pt x="1185" y="2427"/>
                  </a:lnTo>
                  <a:lnTo>
                    <a:pt x="1182" y="2432"/>
                  </a:lnTo>
                  <a:lnTo>
                    <a:pt x="1182" y="2437"/>
                  </a:lnTo>
                  <a:lnTo>
                    <a:pt x="1186" y="2458"/>
                  </a:lnTo>
                  <a:lnTo>
                    <a:pt x="1188" y="2481"/>
                  </a:lnTo>
                  <a:lnTo>
                    <a:pt x="1190" y="2483"/>
                  </a:lnTo>
                  <a:lnTo>
                    <a:pt x="1204" y="2496"/>
                  </a:lnTo>
                  <a:lnTo>
                    <a:pt x="1221" y="2532"/>
                  </a:lnTo>
                  <a:lnTo>
                    <a:pt x="1224" y="2545"/>
                  </a:lnTo>
                  <a:lnTo>
                    <a:pt x="1222" y="2563"/>
                  </a:lnTo>
                  <a:lnTo>
                    <a:pt x="1223" y="2578"/>
                  </a:lnTo>
                  <a:lnTo>
                    <a:pt x="1226" y="2583"/>
                  </a:lnTo>
                  <a:lnTo>
                    <a:pt x="1238" y="2596"/>
                  </a:lnTo>
                  <a:lnTo>
                    <a:pt x="1240" y="2601"/>
                  </a:lnTo>
                  <a:lnTo>
                    <a:pt x="1239" y="2604"/>
                  </a:lnTo>
                  <a:lnTo>
                    <a:pt x="1236" y="2609"/>
                  </a:lnTo>
                  <a:lnTo>
                    <a:pt x="1228" y="2611"/>
                  </a:lnTo>
                  <a:lnTo>
                    <a:pt x="1219" y="2611"/>
                  </a:lnTo>
                  <a:lnTo>
                    <a:pt x="1217" y="2612"/>
                  </a:lnTo>
                  <a:lnTo>
                    <a:pt x="1216" y="2614"/>
                  </a:lnTo>
                  <a:lnTo>
                    <a:pt x="1215" y="2616"/>
                  </a:lnTo>
                  <a:lnTo>
                    <a:pt x="1217" y="2625"/>
                  </a:lnTo>
                  <a:lnTo>
                    <a:pt x="1217" y="2630"/>
                  </a:lnTo>
                  <a:lnTo>
                    <a:pt x="1210" y="2650"/>
                  </a:lnTo>
                  <a:lnTo>
                    <a:pt x="1205" y="2682"/>
                  </a:lnTo>
                  <a:lnTo>
                    <a:pt x="1206" y="2690"/>
                  </a:lnTo>
                  <a:lnTo>
                    <a:pt x="1209" y="2698"/>
                  </a:lnTo>
                  <a:lnTo>
                    <a:pt x="1212" y="2701"/>
                  </a:lnTo>
                  <a:lnTo>
                    <a:pt x="1219" y="2704"/>
                  </a:lnTo>
                  <a:lnTo>
                    <a:pt x="1232" y="2718"/>
                  </a:lnTo>
                  <a:lnTo>
                    <a:pt x="1233" y="2721"/>
                  </a:lnTo>
                  <a:lnTo>
                    <a:pt x="1232" y="2725"/>
                  </a:lnTo>
                  <a:lnTo>
                    <a:pt x="1230" y="2732"/>
                  </a:lnTo>
                  <a:lnTo>
                    <a:pt x="1226" y="2735"/>
                  </a:lnTo>
                  <a:lnTo>
                    <a:pt x="1212" y="2743"/>
                  </a:lnTo>
                  <a:lnTo>
                    <a:pt x="1205" y="2745"/>
                  </a:lnTo>
                  <a:lnTo>
                    <a:pt x="1201" y="2745"/>
                  </a:lnTo>
                  <a:lnTo>
                    <a:pt x="1196" y="2744"/>
                  </a:lnTo>
                  <a:lnTo>
                    <a:pt x="1179" y="2734"/>
                  </a:lnTo>
                  <a:lnTo>
                    <a:pt x="1169" y="2734"/>
                  </a:lnTo>
                  <a:lnTo>
                    <a:pt x="1164" y="2733"/>
                  </a:lnTo>
                  <a:lnTo>
                    <a:pt x="1159" y="2728"/>
                  </a:lnTo>
                  <a:lnTo>
                    <a:pt x="1154" y="2721"/>
                  </a:lnTo>
                  <a:lnTo>
                    <a:pt x="1152" y="2719"/>
                  </a:lnTo>
                  <a:lnTo>
                    <a:pt x="1143" y="2716"/>
                  </a:lnTo>
                  <a:lnTo>
                    <a:pt x="1130" y="2715"/>
                  </a:lnTo>
                  <a:lnTo>
                    <a:pt x="1104" y="2716"/>
                  </a:lnTo>
                  <a:lnTo>
                    <a:pt x="1092" y="2718"/>
                  </a:lnTo>
                  <a:lnTo>
                    <a:pt x="1077" y="2722"/>
                  </a:lnTo>
                  <a:lnTo>
                    <a:pt x="1068" y="2723"/>
                  </a:lnTo>
                  <a:lnTo>
                    <a:pt x="1059" y="2722"/>
                  </a:lnTo>
                  <a:lnTo>
                    <a:pt x="1054" y="2718"/>
                  </a:lnTo>
                  <a:lnTo>
                    <a:pt x="1050" y="2711"/>
                  </a:lnTo>
                  <a:lnTo>
                    <a:pt x="1047" y="2706"/>
                  </a:lnTo>
                  <a:lnTo>
                    <a:pt x="1047" y="2702"/>
                  </a:lnTo>
                  <a:lnTo>
                    <a:pt x="1051" y="2693"/>
                  </a:lnTo>
                  <a:lnTo>
                    <a:pt x="1050" y="2688"/>
                  </a:lnTo>
                  <a:lnTo>
                    <a:pt x="1036" y="2672"/>
                  </a:lnTo>
                  <a:lnTo>
                    <a:pt x="1032" y="2664"/>
                  </a:lnTo>
                  <a:lnTo>
                    <a:pt x="1029" y="2658"/>
                  </a:lnTo>
                  <a:lnTo>
                    <a:pt x="1029" y="2654"/>
                  </a:lnTo>
                  <a:lnTo>
                    <a:pt x="1030" y="2651"/>
                  </a:lnTo>
                  <a:lnTo>
                    <a:pt x="1038" y="2647"/>
                  </a:lnTo>
                  <a:lnTo>
                    <a:pt x="1042" y="2643"/>
                  </a:lnTo>
                  <a:lnTo>
                    <a:pt x="1043" y="2637"/>
                  </a:lnTo>
                  <a:lnTo>
                    <a:pt x="1041" y="2637"/>
                  </a:lnTo>
                  <a:lnTo>
                    <a:pt x="1041" y="2634"/>
                  </a:lnTo>
                  <a:lnTo>
                    <a:pt x="1043" y="2627"/>
                  </a:lnTo>
                  <a:lnTo>
                    <a:pt x="1046" y="2627"/>
                  </a:lnTo>
                  <a:lnTo>
                    <a:pt x="1046" y="2625"/>
                  </a:lnTo>
                  <a:lnTo>
                    <a:pt x="1044" y="2612"/>
                  </a:lnTo>
                  <a:lnTo>
                    <a:pt x="1041" y="2614"/>
                  </a:lnTo>
                  <a:lnTo>
                    <a:pt x="1034" y="2610"/>
                  </a:lnTo>
                  <a:lnTo>
                    <a:pt x="1027" y="2607"/>
                  </a:lnTo>
                  <a:lnTo>
                    <a:pt x="1026" y="2601"/>
                  </a:lnTo>
                  <a:lnTo>
                    <a:pt x="1028" y="2598"/>
                  </a:lnTo>
                  <a:lnTo>
                    <a:pt x="1032" y="2597"/>
                  </a:lnTo>
                  <a:lnTo>
                    <a:pt x="1032" y="2594"/>
                  </a:lnTo>
                  <a:lnTo>
                    <a:pt x="1035" y="2590"/>
                  </a:lnTo>
                  <a:lnTo>
                    <a:pt x="1035" y="2583"/>
                  </a:lnTo>
                  <a:lnTo>
                    <a:pt x="1033" y="2575"/>
                  </a:lnTo>
                  <a:lnTo>
                    <a:pt x="1026" y="2560"/>
                  </a:lnTo>
                  <a:lnTo>
                    <a:pt x="1024" y="2549"/>
                  </a:lnTo>
                  <a:lnTo>
                    <a:pt x="1024" y="2539"/>
                  </a:lnTo>
                  <a:lnTo>
                    <a:pt x="1022" y="2537"/>
                  </a:lnTo>
                  <a:lnTo>
                    <a:pt x="1018" y="2536"/>
                  </a:lnTo>
                  <a:lnTo>
                    <a:pt x="1012" y="2537"/>
                  </a:lnTo>
                  <a:lnTo>
                    <a:pt x="981" y="2549"/>
                  </a:lnTo>
                  <a:lnTo>
                    <a:pt x="954" y="2554"/>
                  </a:lnTo>
                  <a:lnTo>
                    <a:pt x="948" y="2556"/>
                  </a:lnTo>
                  <a:lnTo>
                    <a:pt x="930" y="2568"/>
                  </a:lnTo>
                  <a:lnTo>
                    <a:pt x="906" y="2593"/>
                  </a:lnTo>
                  <a:lnTo>
                    <a:pt x="887" y="2608"/>
                  </a:lnTo>
                  <a:lnTo>
                    <a:pt x="881" y="2611"/>
                  </a:lnTo>
                  <a:lnTo>
                    <a:pt x="853" y="2621"/>
                  </a:lnTo>
                  <a:lnTo>
                    <a:pt x="844" y="2621"/>
                  </a:lnTo>
                  <a:lnTo>
                    <a:pt x="818" y="2614"/>
                  </a:lnTo>
                  <a:lnTo>
                    <a:pt x="799" y="2593"/>
                  </a:lnTo>
                  <a:lnTo>
                    <a:pt x="795" y="2591"/>
                  </a:lnTo>
                  <a:lnTo>
                    <a:pt x="792" y="2590"/>
                  </a:lnTo>
                  <a:lnTo>
                    <a:pt x="785" y="2591"/>
                  </a:lnTo>
                  <a:lnTo>
                    <a:pt x="775" y="2594"/>
                  </a:lnTo>
                  <a:lnTo>
                    <a:pt x="745" y="2607"/>
                  </a:lnTo>
                  <a:lnTo>
                    <a:pt x="739" y="2608"/>
                  </a:lnTo>
                  <a:lnTo>
                    <a:pt x="727" y="2602"/>
                  </a:lnTo>
                  <a:lnTo>
                    <a:pt x="716" y="2596"/>
                  </a:lnTo>
                  <a:lnTo>
                    <a:pt x="713" y="2593"/>
                  </a:lnTo>
                  <a:lnTo>
                    <a:pt x="711" y="2587"/>
                  </a:lnTo>
                  <a:lnTo>
                    <a:pt x="710" y="2577"/>
                  </a:lnTo>
                  <a:lnTo>
                    <a:pt x="710" y="2563"/>
                  </a:lnTo>
                  <a:lnTo>
                    <a:pt x="715" y="2555"/>
                  </a:lnTo>
                  <a:lnTo>
                    <a:pt x="725" y="2544"/>
                  </a:lnTo>
                  <a:lnTo>
                    <a:pt x="722" y="2540"/>
                  </a:lnTo>
                  <a:lnTo>
                    <a:pt x="715" y="2531"/>
                  </a:lnTo>
                  <a:lnTo>
                    <a:pt x="709" y="2527"/>
                  </a:lnTo>
                  <a:lnTo>
                    <a:pt x="704" y="2528"/>
                  </a:lnTo>
                  <a:lnTo>
                    <a:pt x="692" y="2537"/>
                  </a:lnTo>
                  <a:lnTo>
                    <a:pt x="690" y="2537"/>
                  </a:lnTo>
                  <a:lnTo>
                    <a:pt x="687" y="2536"/>
                  </a:lnTo>
                  <a:lnTo>
                    <a:pt x="678" y="2525"/>
                  </a:lnTo>
                  <a:lnTo>
                    <a:pt x="669" y="2509"/>
                  </a:lnTo>
                  <a:lnTo>
                    <a:pt x="664" y="2488"/>
                  </a:lnTo>
                  <a:lnTo>
                    <a:pt x="664" y="2475"/>
                  </a:lnTo>
                  <a:lnTo>
                    <a:pt x="678" y="2441"/>
                  </a:lnTo>
                  <a:lnTo>
                    <a:pt x="679" y="2432"/>
                  </a:lnTo>
                  <a:lnTo>
                    <a:pt x="677" y="2422"/>
                  </a:lnTo>
                  <a:lnTo>
                    <a:pt x="672" y="2412"/>
                  </a:lnTo>
                  <a:lnTo>
                    <a:pt x="663" y="2407"/>
                  </a:lnTo>
                  <a:lnTo>
                    <a:pt x="656" y="2405"/>
                  </a:lnTo>
                  <a:lnTo>
                    <a:pt x="649" y="2405"/>
                  </a:lnTo>
                  <a:lnTo>
                    <a:pt x="643" y="2410"/>
                  </a:lnTo>
                  <a:lnTo>
                    <a:pt x="641" y="2411"/>
                  </a:lnTo>
                  <a:lnTo>
                    <a:pt x="635" y="2409"/>
                  </a:lnTo>
                  <a:lnTo>
                    <a:pt x="617" y="2398"/>
                  </a:lnTo>
                  <a:lnTo>
                    <a:pt x="599" y="2398"/>
                  </a:lnTo>
                  <a:lnTo>
                    <a:pt x="591" y="2397"/>
                  </a:lnTo>
                  <a:lnTo>
                    <a:pt x="578" y="2387"/>
                  </a:lnTo>
                  <a:lnTo>
                    <a:pt x="558" y="2379"/>
                  </a:lnTo>
                  <a:lnTo>
                    <a:pt x="550" y="2377"/>
                  </a:lnTo>
                  <a:lnTo>
                    <a:pt x="535" y="2375"/>
                  </a:lnTo>
                  <a:lnTo>
                    <a:pt x="525" y="2371"/>
                  </a:lnTo>
                  <a:lnTo>
                    <a:pt x="516" y="2370"/>
                  </a:lnTo>
                  <a:lnTo>
                    <a:pt x="494" y="2374"/>
                  </a:lnTo>
                  <a:lnTo>
                    <a:pt x="474" y="2371"/>
                  </a:lnTo>
                  <a:lnTo>
                    <a:pt x="448" y="2362"/>
                  </a:lnTo>
                  <a:lnTo>
                    <a:pt x="438" y="2357"/>
                  </a:lnTo>
                  <a:lnTo>
                    <a:pt x="430" y="2351"/>
                  </a:lnTo>
                  <a:lnTo>
                    <a:pt x="428" y="2347"/>
                  </a:lnTo>
                  <a:lnTo>
                    <a:pt x="429" y="2344"/>
                  </a:lnTo>
                  <a:lnTo>
                    <a:pt x="447" y="2325"/>
                  </a:lnTo>
                  <a:lnTo>
                    <a:pt x="456" y="2314"/>
                  </a:lnTo>
                  <a:lnTo>
                    <a:pt x="471" y="2278"/>
                  </a:lnTo>
                  <a:lnTo>
                    <a:pt x="480" y="2263"/>
                  </a:lnTo>
                  <a:lnTo>
                    <a:pt x="503" y="2248"/>
                  </a:lnTo>
                  <a:lnTo>
                    <a:pt x="506" y="2242"/>
                  </a:lnTo>
                  <a:lnTo>
                    <a:pt x="510" y="2231"/>
                  </a:lnTo>
                  <a:lnTo>
                    <a:pt x="512" y="2218"/>
                  </a:lnTo>
                  <a:lnTo>
                    <a:pt x="510" y="2206"/>
                  </a:lnTo>
                  <a:lnTo>
                    <a:pt x="504" y="2187"/>
                  </a:lnTo>
                  <a:lnTo>
                    <a:pt x="503" y="2182"/>
                  </a:lnTo>
                  <a:lnTo>
                    <a:pt x="503" y="2170"/>
                  </a:lnTo>
                  <a:lnTo>
                    <a:pt x="505" y="2162"/>
                  </a:lnTo>
                  <a:lnTo>
                    <a:pt x="507" y="2159"/>
                  </a:lnTo>
                  <a:lnTo>
                    <a:pt x="520" y="2149"/>
                  </a:lnTo>
                  <a:lnTo>
                    <a:pt x="537" y="2128"/>
                  </a:lnTo>
                  <a:lnTo>
                    <a:pt x="542" y="2118"/>
                  </a:lnTo>
                  <a:lnTo>
                    <a:pt x="543" y="2110"/>
                  </a:lnTo>
                  <a:lnTo>
                    <a:pt x="546" y="2106"/>
                  </a:lnTo>
                  <a:lnTo>
                    <a:pt x="548" y="2105"/>
                  </a:lnTo>
                  <a:lnTo>
                    <a:pt x="561" y="2112"/>
                  </a:lnTo>
                  <a:lnTo>
                    <a:pt x="568" y="2114"/>
                  </a:lnTo>
                  <a:lnTo>
                    <a:pt x="571" y="2114"/>
                  </a:lnTo>
                  <a:lnTo>
                    <a:pt x="575" y="2112"/>
                  </a:lnTo>
                  <a:lnTo>
                    <a:pt x="576" y="2108"/>
                  </a:lnTo>
                  <a:lnTo>
                    <a:pt x="571" y="2086"/>
                  </a:lnTo>
                  <a:lnTo>
                    <a:pt x="570" y="2063"/>
                  </a:lnTo>
                  <a:lnTo>
                    <a:pt x="568" y="2059"/>
                  </a:lnTo>
                  <a:lnTo>
                    <a:pt x="565" y="2056"/>
                  </a:lnTo>
                  <a:lnTo>
                    <a:pt x="543" y="2050"/>
                  </a:lnTo>
                  <a:lnTo>
                    <a:pt x="529" y="2042"/>
                  </a:lnTo>
                  <a:lnTo>
                    <a:pt x="522" y="2040"/>
                  </a:lnTo>
                  <a:lnTo>
                    <a:pt x="512" y="2039"/>
                  </a:lnTo>
                  <a:lnTo>
                    <a:pt x="500" y="2041"/>
                  </a:lnTo>
                  <a:lnTo>
                    <a:pt x="492" y="2041"/>
                  </a:lnTo>
                  <a:lnTo>
                    <a:pt x="441" y="2032"/>
                  </a:lnTo>
                  <a:lnTo>
                    <a:pt x="437" y="2029"/>
                  </a:lnTo>
                  <a:lnTo>
                    <a:pt x="428" y="2016"/>
                  </a:lnTo>
                  <a:lnTo>
                    <a:pt x="425" y="2012"/>
                  </a:lnTo>
                  <a:lnTo>
                    <a:pt x="394" y="2006"/>
                  </a:lnTo>
                  <a:lnTo>
                    <a:pt x="388" y="2002"/>
                  </a:lnTo>
                  <a:lnTo>
                    <a:pt x="384" y="1997"/>
                  </a:lnTo>
                  <a:lnTo>
                    <a:pt x="384" y="1993"/>
                  </a:lnTo>
                  <a:lnTo>
                    <a:pt x="385" y="1989"/>
                  </a:lnTo>
                  <a:lnTo>
                    <a:pt x="399" y="1972"/>
                  </a:lnTo>
                  <a:lnTo>
                    <a:pt x="402" y="1968"/>
                  </a:lnTo>
                  <a:lnTo>
                    <a:pt x="397" y="1956"/>
                  </a:lnTo>
                  <a:lnTo>
                    <a:pt x="393" y="1953"/>
                  </a:lnTo>
                  <a:lnTo>
                    <a:pt x="390" y="1948"/>
                  </a:lnTo>
                  <a:lnTo>
                    <a:pt x="393" y="1947"/>
                  </a:lnTo>
                  <a:lnTo>
                    <a:pt x="396" y="1943"/>
                  </a:lnTo>
                  <a:lnTo>
                    <a:pt x="396" y="1932"/>
                  </a:lnTo>
                  <a:lnTo>
                    <a:pt x="395" y="1922"/>
                  </a:lnTo>
                  <a:lnTo>
                    <a:pt x="393" y="1913"/>
                  </a:lnTo>
                  <a:lnTo>
                    <a:pt x="388" y="1906"/>
                  </a:lnTo>
                  <a:lnTo>
                    <a:pt x="384" y="1902"/>
                  </a:lnTo>
                  <a:lnTo>
                    <a:pt x="374" y="1901"/>
                  </a:lnTo>
                  <a:lnTo>
                    <a:pt x="371" y="1898"/>
                  </a:lnTo>
                  <a:lnTo>
                    <a:pt x="367" y="1890"/>
                  </a:lnTo>
                  <a:lnTo>
                    <a:pt x="366" y="1881"/>
                  </a:lnTo>
                  <a:lnTo>
                    <a:pt x="368" y="1879"/>
                  </a:lnTo>
                  <a:lnTo>
                    <a:pt x="384" y="1867"/>
                  </a:lnTo>
                  <a:lnTo>
                    <a:pt x="386" y="1863"/>
                  </a:lnTo>
                  <a:lnTo>
                    <a:pt x="386" y="1859"/>
                  </a:lnTo>
                  <a:lnTo>
                    <a:pt x="379" y="1838"/>
                  </a:lnTo>
                  <a:lnTo>
                    <a:pt x="377" y="1825"/>
                  </a:lnTo>
                  <a:lnTo>
                    <a:pt x="374" y="1816"/>
                  </a:lnTo>
                  <a:lnTo>
                    <a:pt x="370" y="1809"/>
                  </a:lnTo>
                  <a:lnTo>
                    <a:pt x="366" y="1804"/>
                  </a:lnTo>
                  <a:lnTo>
                    <a:pt x="360" y="1801"/>
                  </a:lnTo>
                  <a:lnTo>
                    <a:pt x="353" y="1799"/>
                  </a:lnTo>
                  <a:lnTo>
                    <a:pt x="348" y="1793"/>
                  </a:lnTo>
                  <a:lnTo>
                    <a:pt x="344" y="1786"/>
                  </a:lnTo>
                  <a:lnTo>
                    <a:pt x="344" y="1772"/>
                  </a:lnTo>
                  <a:lnTo>
                    <a:pt x="347" y="1760"/>
                  </a:lnTo>
                  <a:lnTo>
                    <a:pt x="353" y="1744"/>
                  </a:lnTo>
                  <a:lnTo>
                    <a:pt x="356" y="1737"/>
                  </a:lnTo>
                  <a:lnTo>
                    <a:pt x="360" y="1734"/>
                  </a:lnTo>
                  <a:lnTo>
                    <a:pt x="368" y="1731"/>
                  </a:lnTo>
                  <a:lnTo>
                    <a:pt x="396" y="1714"/>
                  </a:lnTo>
                  <a:lnTo>
                    <a:pt x="403" y="1709"/>
                  </a:lnTo>
                  <a:lnTo>
                    <a:pt x="408" y="1702"/>
                  </a:lnTo>
                  <a:lnTo>
                    <a:pt x="411" y="1696"/>
                  </a:lnTo>
                  <a:lnTo>
                    <a:pt x="414" y="1687"/>
                  </a:lnTo>
                  <a:lnTo>
                    <a:pt x="413" y="1682"/>
                  </a:lnTo>
                  <a:lnTo>
                    <a:pt x="411" y="1681"/>
                  </a:lnTo>
                  <a:lnTo>
                    <a:pt x="384" y="1683"/>
                  </a:lnTo>
                  <a:lnTo>
                    <a:pt x="343" y="1693"/>
                  </a:lnTo>
                  <a:lnTo>
                    <a:pt x="339" y="1693"/>
                  </a:lnTo>
                  <a:lnTo>
                    <a:pt x="334" y="1691"/>
                  </a:lnTo>
                  <a:lnTo>
                    <a:pt x="318" y="1680"/>
                  </a:lnTo>
                  <a:lnTo>
                    <a:pt x="302" y="1677"/>
                  </a:lnTo>
                  <a:lnTo>
                    <a:pt x="248" y="1682"/>
                  </a:lnTo>
                  <a:lnTo>
                    <a:pt x="211" y="1678"/>
                  </a:lnTo>
                  <a:lnTo>
                    <a:pt x="182" y="1685"/>
                  </a:lnTo>
                  <a:lnTo>
                    <a:pt x="141" y="1687"/>
                  </a:lnTo>
                  <a:lnTo>
                    <a:pt x="128" y="1691"/>
                  </a:lnTo>
                  <a:lnTo>
                    <a:pt x="116" y="1696"/>
                  </a:lnTo>
                  <a:lnTo>
                    <a:pt x="50" y="1732"/>
                  </a:lnTo>
                  <a:lnTo>
                    <a:pt x="38" y="1737"/>
                  </a:lnTo>
                  <a:lnTo>
                    <a:pt x="32" y="1739"/>
                  </a:lnTo>
                  <a:lnTo>
                    <a:pt x="30" y="1738"/>
                  </a:lnTo>
                  <a:lnTo>
                    <a:pt x="27" y="1731"/>
                  </a:lnTo>
                  <a:lnTo>
                    <a:pt x="20" y="1722"/>
                  </a:lnTo>
                  <a:lnTo>
                    <a:pt x="3" y="1709"/>
                  </a:lnTo>
                  <a:lnTo>
                    <a:pt x="1" y="1704"/>
                  </a:lnTo>
                  <a:lnTo>
                    <a:pt x="0" y="1700"/>
                  </a:lnTo>
                  <a:lnTo>
                    <a:pt x="1" y="1698"/>
                  </a:lnTo>
                  <a:lnTo>
                    <a:pt x="2" y="1697"/>
                  </a:lnTo>
                  <a:lnTo>
                    <a:pt x="28" y="1680"/>
                  </a:lnTo>
                  <a:lnTo>
                    <a:pt x="39" y="1668"/>
                  </a:lnTo>
                  <a:lnTo>
                    <a:pt x="67" y="1647"/>
                  </a:lnTo>
                  <a:lnTo>
                    <a:pt x="72" y="1641"/>
                  </a:lnTo>
                  <a:lnTo>
                    <a:pt x="75" y="1636"/>
                  </a:lnTo>
                  <a:lnTo>
                    <a:pt x="74" y="1628"/>
                  </a:lnTo>
                  <a:lnTo>
                    <a:pt x="73" y="1619"/>
                  </a:lnTo>
                  <a:lnTo>
                    <a:pt x="74" y="1613"/>
                  </a:lnTo>
                  <a:lnTo>
                    <a:pt x="78" y="1602"/>
                  </a:lnTo>
                  <a:lnTo>
                    <a:pt x="77" y="1594"/>
                  </a:lnTo>
                  <a:lnTo>
                    <a:pt x="75" y="1592"/>
                  </a:lnTo>
                  <a:lnTo>
                    <a:pt x="57" y="1589"/>
                  </a:lnTo>
                  <a:lnTo>
                    <a:pt x="53" y="1588"/>
                  </a:lnTo>
                  <a:lnTo>
                    <a:pt x="54" y="1581"/>
                  </a:lnTo>
                  <a:lnTo>
                    <a:pt x="56" y="1574"/>
                  </a:lnTo>
                  <a:lnTo>
                    <a:pt x="65" y="1561"/>
                  </a:lnTo>
                  <a:lnTo>
                    <a:pt x="66" y="1551"/>
                  </a:lnTo>
                  <a:lnTo>
                    <a:pt x="63" y="1539"/>
                  </a:lnTo>
                  <a:lnTo>
                    <a:pt x="27" y="1539"/>
                  </a:lnTo>
                  <a:lnTo>
                    <a:pt x="23" y="1538"/>
                  </a:lnTo>
                  <a:lnTo>
                    <a:pt x="21" y="1534"/>
                  </a:lnTo>
                  <a:lnTo>
                    <a:pt x="37" y="1473"/>
                  </a:lnTo>
                  <a:lnTo>
                    <a:pt x="38" y="1445"/>
                  </a:lnTo>
                  <a:lnTo>
                    <a:pt x="39" y="1439"/>
                  </a:lnTo>
                  <a:lnTo>
                    <a:pt x="41" y="1435"/>
                  </a:lnTo>
                  <a:lnTo>
                    <a:pt x="47" y="1429"/>
                  </a:lnTo>
                  <a:lnTo>
                    <a:pt x="68" y="1418"/>
                  </a:lnTo>
                  <a:lnTo>
                    <a:pt x="78" y="1413"/>
                  </a:lnTo>
                  <a:lnTo>
                    <a:pt x="86" y="1411"/>
                  </a:lnTo>
                  <a:lnTo>
                    <a:pt x="99" y="1412"/>
                  </a:lnTo>
                  <a:lnTo>
                    <a:pt x="104" y="1410"/>
                  </a:lnTo>
                  <a:lnTo>
                    <a:pt x="108" y="1405"/>
                  </a:lnTo>
                  <a:lnTo>
                    <a:pt x="108" y="1403"/>
                  </a:lnTo>
                  <a:lnTo>
                    <a:pt x="108" y="1399"/>
                  </a:lnTo>
                  <a:lnTo>
                    <a:pt x="103" y="1393"/>
                  </a:lnTo>
                  <a:lnTo>
                    <a:pt x="99" y="1385"/>
                  </a:lnTo>
                  <a:lnTo>
                    <a:pt x="97" y="1373"/>
                  </a:lnTo>
                  <a:lnTo>
                    <a:pt x="97" y="1364"/>
                  </a:lnTo>
                  <a:lnTo>
                    <a:pt x="100" y="1351"/>
                  </a:lnTo>
                  <a:lnTo>
                    <a:pt x="103" y="1341"/>
                  </a:lnTo>
                  <a:lnTo>
                    <a:pt x="107" y="1334"/>
                  </a:lnTo>
                  <a:lnTo>
                    <a:pt x="144" y="1289"/>
                  </a:lnTo>
                  <a:lnTo>
                    <a:pt x="152" y="1283"/>
                  </a:lnTo>
                  <a:lnTo>
                    <a:pt x="154" y="1283"/>
                  </a:lnTo>
                  <a:lnTo>
                    <a:pt x="157" y="1284"/>
                  </a:lnTo>
                  <a:lnTo>
                    <a:pt x="167" y="1293"/>
                  </a:lnTo>
                  <a:lnTo>
                    <a:pt x="169" y="1295"/>
                  </a:lnTo>
                  <a:lnTo>
                    <a:pt x="178" y="1293"/>
                  </a:lnTo>
                  <a:lnTo>
                    <a:pt x="187" y="1291"/>
                  </a:lnTo>
                  <a:lnTo>
                    <a:pt x="192" y="1289"/>
                  </a:lnTo>
                  <a:lnTo>
                    <a:pt x="197" y="1285"/>
                  </a:lnTo>
                  <a:lnTo>
                    <a:pt x="207" y="1273"/>
                  </a:lnTo>
                  <a:lnTo>
                    <a:pt x="213" y="1269"/>
                  </a:lnTo>
                  <a:lnTo>
                    <a:pt x="227" y="1250"/>
                  </a:lnTo>
                  <a:lnTo>
                    <a:pt x="230" y="1247"/>
                  </a:lnTo>
                  <a:lnTo>
                    <a:pt x="237" y="1241"/>
                  </a:lnTo>
                  <a:lnTo>
                    <a:pt x="243" y="1235"/>
                  </a:lnTo>
                  <a:lnTo>
                    <a:pt x="246" y="1227"/>
                  </a:lnTo>
                  <a:lnTo>
                    <a:pt x="244" y="1214"/>
                  </a:lnTo>
                  <a:lnTo>
                    <a:pt x="245" y="1206"/>
                  </a:lnTo>
                  <a:lnTo>
                    <a:pt x="247" y="1200"/>
                  </a:lnTo>
                  <a:lnTo>
                    <a:pt x="254" y="1190"/>
                  </a:lnTo>
                  <a:lnTo>
                    <a:pt x="260" y="1174"/>
                  </a:lnTo>
                  <a:lnTo>
                    <a:pt x="272" y="1176"/>
                  </a:lnTo>
                  <a:lnTo>
                    <a:pt x="286" y="1182"/>
                  </a:lnTo>
                  <a:lnTo>
                    <a:pt x="290" y="1188"/>
                  </a:lnTo>
                  <a:lnTo>
                    <a:pt x="301" y="1202"/>
                  </a:lnTo>
                  <a:lnTo>
                    <a:pt x="303" y="1203"/>
                  </a:lnTo>
                  <a:lnTo>
                    <a:pt x="308" y="1200"/>
                  </a:lnTo>
                  <a:lnTo>
                    <a:pt x="317" y="1192"/>
                  </a:lnTo>
                  <a:lnTo>
                    <a:pt x="338" y="1170"/>
                  </a:lnTo>
                  <a:lnTo>
                    <a:pt x="343" y="1161"/>
                  </a:lnTo>
                  <a:lnTo>
                    <a:pt x="356" y="1134"/>
                  </a:lnTo>
                  <a:lnTo>
                    <a:pt x="363" y="1124"/>
                  </a:lnTo>
                  <a:lnTo>
                    <a:pt x="370" y="1119"/>
                  </a:lnTo>
                  <a:lnTo>
                    <a:pt x="376" y="1116"/>
                  </a:lnTo>
                  <a:lnTo>
                    <a:pt x="383" y="1116"/>
                  </a:lnTo>
                  <a:lnTo>
                    <a:pt x="391" y="1120"/>
                  </a:lnTo>
                  <a:lnTo>
                    <a:pt x="399" y="1125"/>
                  </a:lnTo>
                  <a:lnTo>
                    <a:pt x="406" y="1126"/>
                  </a:lnTo>
                  <a:lnTo>
                    <a:pt x="412" y="1125"/>
                  </a:lnTo>
                  <a:lnTo>
                    <a:pt x="420" y="1121"/>
                  </a:lnTo>
                  <a:lnTo>
                    <a:pt x="424" y="1117"/>
                  </a:lnTo>
                  <a:lnTo>
                    <a:pt x="426" y="1111"/>
                  </a:lnTo>
                  <a:lnTo>
                    <a:pt x="427" y="1102"/>
                  </a:lnTo>
                  <a:lnTo>
                    <a:pt x="425" y="1092"/>
                  </a:lnTo>
                  <a:lnTo>
                    <a:pt x="421" y="1087"/>
                  </a:lnTo>
                  <a:lnTo>
                    <a:pt x="406" y="1071"/>
                  </a:lnTo>
                  <a:lnTo>
                    <a:pt x="403" y="1065"/>
                  </a:lnTo>
                  <a:lnTo>
                    <a:pt x="396" y="1042"/>
                  </a:lnTo>
                  <a:lnTo>
                    <a:pt x="395" y="1030"/>
                  </a:lnTo>
                  <a:lnTo>
                    <a:pt x="397" y="1023"/>
                  </a:lnTo>
                  <a:lnTo>
                    <a:pt x="399" y="1018"/>
                  </a:lnTo>
                  <a:lnTo>
                    <a:pt x="407" y="1013"/>
                  </a:lnTo>
                  <a:lnTo>
                    <a:pt x="410" y="1013"/>
                  </a:lnTo>
                  <a:lnTo>
                    <a:pt x="415" y="1014"/>
                  </a:lnTo>
                  <a:lnTo>
                    <a:pt x="426" y="1027"/>
                  </a:lnTo>
                  <a:lnTo>
                    <a:pt x="429" y="1029"/>
                  </a:lnTo>
                  <a:lnTo>
                    <a:pt x="433" y="1024"/>
                  </a:lnTo>
                  <a:lnTo>
                    <a:pt x="440" y="1013"/>
                  </a:lnTo>
                  <a:lnTo>
                    <a:pt x="443" y="1005"/>
                  </a:lnTo>
                  <a:lnTo>
                    <a:pt x="443" y="998"/>
                  </a:lnTo>
                  <a:lnTo>
                    <a:pt x="440" y="990"/>
                  </a:lnTo>
                  <a:lnTo>
                    <a:pt x="434" y="978"/>
                  </a:lnTo>
                  <a:lnTo>
                    <a:pt x="434" y="970"/>
                  </a:lnTo>
                  <a:lnTo>
                    <a:pt x="438" y="962"/>
                  </a:lnTo>
                  <a:lnTo>
                    <a:pt x="447" y="949"/>
                  </a:lnTo>
                  <a:lnTo>
                    <a:pt x="450" y="943"/>
                  </a:lnTo>
                  <a:lnTo>
                    <a:pt x="458" y="911"/>
                  </a:lnTo>
                  <a:lnTo>
                    <a:pt x="471" y="870"/>
                  </a:lnTo>
                  <a:lnTo>
                    <a:pt x="473" y="853"/>
                  </a:lnTo>
                  <a:lnTo>
                    <a:pt x="468" y="825"/>
                  </a:lnTo>
                  <a:lnTo>
                    <a:pt x="473" y="805"/>
                  </a:lnTo>
                  <a:lnTo>
                    <a:pt x="471" y="789"/>
                  </a:lnTo>
                  <a:lnTo>
                    <a:pt x="473" y="781"/>
                  </a:lnTo>
                  <a:lnTo>
                    <a:pt x="475" y="772"/>
                  </a:lnTo>
                  <a:lnTo>
                    <a:pt x="479" y="748"/>
                  </a:lnTo>
                  <a:lnTo>
                    <a:pt x="484" y="732"/>
                  </a:lnTo>
                  <a:lnTo>
                    <a:pt x="485" y="724"/>
                  </a:lnTo>
                  <a:lnTo>
                    <a:pt x="485" y="718"/>
                  </a:lnTo>
                  <a:lnTo>
                    <a:pt x="479" y="710"/>
                  </a:lnTo>
                  <a:lnTo>
                    <a:pt x="476" y="704"/>
                  </a:lnTo>
                  <a:lnTo>
                    <a:pt x="475" y="693"/>
                  </a:lnTo>
                  <a:lnTo>
                    <a:pt x="475" y="686"/>
                  </a:lnTo>
                  <a:lnTo>
                    <a:pt x="478" y="657"/>
                  </a:lnTo>
                  <a:lnTo>
                    <a:pt x="486" y="639"/>
                  </a:lnTo>
                  <a:lnTo>
                    <a:pt x="485" y="627"/>
                  </a:lnTo>
                  <a:lnTo>
                    <a:pt x="481" y="600"/>
                  </a:lnTo>
                  <a:lnTo>
                    <a:pt x="480" y="579"/>
                  </a:lnTo>
                  <a:lnTo>
                    <a:pt x="481" y="574"/>
                  </a:lnTo>
                  <a:lnTo>
                    <a:pt x="489" y="550"/>
                  </a:lnTo>
                  <a:lnTo>
                    <a:pt x="485" y="546"/>
                  </a:lnTo>
                  <a:lnTo>
                    <a:pt x="479" y="541"/>
                  </a:lnTo>
                  <a:lnTo>
                    <a:pt x="475" y="539"/>
                  </a:lnTo>
                  <a:lnTo>
                    <a:pt x="467" y="539"/>
                  </a:lnTo>
                  <a:lnTo>
                    <a:pt x="460" y="536"/>
                  </a:lnTo>
                  <a:lnTo>
                    <a:pt x="453" y="531"/>
                  </a:lnTo>
                  <a:lnTo>
                    <a:pt x="447" y="520"/>
                  </a:lnTo>
                  <a:lnTo>
                    <a:pt x="444" y="517"/>
                  </a:lnTo>
                  <a:lnTo>
                    <a:pt x="429" y="515"/>
                  </a:lnTo>
                  <a:lnTo>
                    <a:pt x="416" y="508"/>
                  </a:lnTo>
                  <a:lnTo>
                    <a:pt x="413" y="509"/>
                  </a:lnTo>
                  <a:lnTo>
                    <a:pt x="412" y="513"/>
                  </a:lnTo>
                  <a:lnTo>
                    <a:pt x="408" y="533"/>
                  </a:lnTo>
                  <a:lnTo>
                    <a:pt x="406" y="542"/>
                  </a:lnTo>
                  <a:lnTo>
                    <a:pt x="403" y="546"/>
                  </a:lnTo>
                  <a:lnTo>
                    <a:pt x="397" y="548"/>
                  </a:lnTo>
                  <a:lnTo>
                    <a:pt x="388" y="546"/>
                  </a:lnTo>
                  <a:lnTo>
                    <a:pt x="380" y="543"/>
                  </a:lnTo>
                  <a:lnTo>
                    <a:pt x="376" y="538"/>
                  </a:lnTo>
                  <a:lnTo>
                    <a:pt x="373" y="531"/>
                  </a:lnTo>
                  <a:lnTo>
                    <a:pt x="369" y="508"/>
                  </a:lnTo>
                  <a:lnTo>
                    <a:pt x="361" y="489"/>
                  </a:lnTo>
                  <a:lnTo>
                    <a:pt x="357" y="470"/>
                  </a:lnTo>
                  <a:lnTo>
                    <a:pt x="355" y="451"/>
                  </a:lnTo>
                  <a:lnTo>
                    <a:pt x="349" y="436"/>
                  </a:lnTo>
                  <a:lnTo>
                    <a:pt x="349" y="429"/>
                  </a:lnTo>
                  <a:lnTo>
                    <a:pt x="351" y="413"/>
                  </a:lnTo>
                  <a:lnTo>
                    <a:pt x="351" y="405"/>
                  </a:lnTo>
                  <a:lnTo>
                    <a:pt x="350" y="402"/>
                  </a:lnTo>
                  <a:lnTo>
                    <a:pt x="344" y="395"/>
                  </a:lnTo>
                  <a:lnTo>
                    <a:pt x="341" y="383"/>
                  </a:lnTo>
                  <a:lnTo>
                    <a:pt x="341" y="371"/>
                  </a:lnTo>
                  <a:lnTo>
                    <a:pt x="350" y="340"/>
                  </a:lnTo>
                  <a:lnTo>
                    <a:pt x="350" y="331"/>
                  </a:lnTo>
                  <a:lnTo>
                    <a:pt x="350" y="331"/>
                  </a:lnTo>
                  <a:lnTo>
                    <a:pt x="357" y="328"/>
                  </a:lnTo>
                  <a:lnTo>
                    <a:pt x="361" y="325"/>
                  </a:lnTo>
                  <a:lnTo>
                    <a:pt x="362" y="315"/>
                  </a:lnTo>
                  <a:lnTo>
                    <a:pt x="365" y="312"/>
                  </a:lnTo>
                  <a:lnTo>
                    <a:pt x="379" y="308"/>
                  </a:lnTo>
                  <a:lnTo>
                    <a:pt x="386" y="303"/>
                  </a:lnTo>
                  <a:lnTo>
                    <a:pt x="390" y="300"/>
                  </a:lnTo>
                  <a:lnTo>
                    <a:pt x="391" y="296"/>
                  </a:lnTo>
                  <a:lnTo>
                    <a:pt x="389" y="285"/>
                  </a:lnTo>
                  <a:lnTo>
                    <a:pt x="381" y="263"/>
                  </a:lnTo>
                  <a:lnTo>
                    <a:pt x="380" y="258"/>
                  </a:lnTo>
                  <a:lnTo>
                    <a:pt x="383" y="256"/>
                  </a:lnTo>
                  <a:lnTo>
                    <a:pt x="401" y="251"/>
                  </a:lnTo>
                  <a:lnTo>
                    <a:pt x="404" y="253"/>
                  </a:lnTo>
                  <a:lnTo>
                    <a:pt x="407" y="256"/>
                  </a:lnTo>
                  <a:lnTo>
                    <a:pt x="423" y="296"/>
                  </a:lnTo>
                  <a:lnTo>
                    <a:pt x="425" y="304"/>
                  </a:lnTo>
                  <a:lnTo>
                    <a:pt x="426" y="323"/>
                  </a:lnTo>
                  <a:lnTo>
                    <a:pt x="427" y="335"/>
                  </a:lnTo>
                  <a:lnTo>
                    <a:pt x="430" y="341"/>
                  </a:lnTo>
                  <a:lnTo>
                    <a:pt x="433" y="347"/>
                  </a:lnTo>
                  <a:lnTo>
                    <a:pt x="437" y="347"/>
                  </a:lnTo>
                  <a:lnTo>
                    <a:pt x="440" y="346"/>
                  </a:lnTo>
                  <a:lnTo>
                    <a:pt x="445" y="337"/>
                  </a:lnTo>
                  <a:lnTo>
                    <a:pt x="447" y="335"/>
                  </a:lnTo>
                  <a:lnTo>
                    <a:pt x="450" y="335"/>
                  </a:lnTo>
                  <a:lnTo>
                    <a:pt x="458" y="338"/>
                  </a:lnTo>
                  <a:lnTo>
                    <a:pt x="461" y="338"/>
                  </a:lnTo>
                  <a:lnTo>
                    <a:pt x="464" y="337"/>
                  </a:lnTo>
                  <a:lnTo>
                    <a:pt x="471" y="330"/>
                  </a:lnTo>
                  <a:lnTo>
                    <a:pt x="475" y="329"/>
                  </a:lnTo>
                  <a:lnTo>
                    <a:pt x="482" y="330"/>
                  </a:lnTo>
                  <a:lnTo>
                    <a:pt x="494" y="334"/>
                  </a:lnTo>
                  <a:lnTo>
                    <a:pt x="499" y="334"/>
                  </a:lnTo>
                  <a:lnTo>
                    <a:pt x="503" y="332"/>
                  </a:lnTo>
                  <a:lnTo>
                    <a:pt x="518" y="323"/>
                  </a:lnTo>
                  <a:lnTo>
                    <a:pt x="521" y="318"/>
                  </a:lnTo>
                  <a:lnTo>
                    <a:pt x="527" y="296"/>
                  </a:lnTo>
                  <a:lnTo>
                    <a:pt x="534" y="285"/>
                  </a:lnTo>
                  <a:lnTo>
                    <a:pt x="535" y="280"/>
                  </a:lnTo>
                  <a:lnTo>
                    <a:pt x="534" y="274"/>
                  </a:lnTo>
                  <a:lnTo>
                    <a:pt x="529" y="263"/>
                  </a:lnTo>
                  <a:lnTo>
                    <a:pt x="509" y="235"/>
                  </a:lnTo>
                  <a:lnTo>
                    <a:pt x="505" y="229"/>
                  </a:lnTo>
                  <a:lnTo>
                    <a:pt x="507" y="196"/>
                  </a:lnTo>
                  <a:lnTo>
                    <a:pt x="512" y="166"/>
                  </a:lnTo>
                  <a:lnTo>
                    <a:pt x="523" y="158"/>
                  </a:lnTo>
                  <a:lnTo>
                    <a:pt x="528" y="154"/>
                  </a:lnTo>
                  <a:lnTo>
                    <a:pt x="529" y="151"/>
                  </a:lnTo>
                  <a:lnTo>
                    <a:pt x="524" y="105"/>
                  </a:lnTo>
                  <a:lnTo>
                    <a:pt x="528" y="95"/>
                  </a:lnTo>
                  <a:lnTo>
                    <a:pt x="522" y="75"/>
                  </a:lnTo>
                  <a:lnTo>
                    <a:pt x="549" y="74"/>
                  </a:lnTo>
                  <a:lnTo>
                    <a:pt x="554" y="70"/>
                  </a:lnTo>
                  <a:lnTo>
                    <a:pt x="564" y="63"/>
                  </a:lnTo>
                  <a:lnTo>
                    <a:pt x="567" y="62"/>
                  </a:lnTo>
                  <a:lnTo>
                    <a:pt x="569" y="62"/>
                  </a:lnTo>
                  <a:lnTo>
                    <a:pt x="572" y="66"/>
                  </a:lnTo>
                  <a:lnTo>
                    <a:pt x="574" y="71"/>
                  </a:lnTo>
                  <a:lnTo>
                    <a:pt x="578" y="130"/>
                  </a:lnTo>
                  <a:lnTo>
                    <a:pt x="588" y="133"/>
                  </a:lnTo>
                  <a:lnTo>
                    <a:pt x="599" y="133"/>
                  </a:lnTo>
                  <a:lnTo>
                    <a:pt x="606" y="128"/>
                  </a:lnTo>
                  <a:lnTo>
                    <a:pt x="619" y="123"/>
                  </a:lnTo>
                  <a:lnTo>
                    <a:pt x="624" y="119"/>
                  </a:lnTo>
                  <a:lnTo>
                    <a:pt x="624" y="116"/>
                  </a:lnTo>
                  <a:lnTo>
                    <a:pt x="622" y="113"/>
                  </a:lnTo>
                  <a:lnTo>
                    <a:pt x="610" y="104"/>
                  </a:lnTo>
                  <a:lnTo>
                    <a:pt x="608" y="96"/>
                  </a:lnTo>
                  <a:lnTo>
                    <a:pt x="609" y="89"/>
                  </a:lnTo>
                  <a:lnTo>
                    <a:pt x="615" y="77"/>
                  </a:lnTo>
                  <a:lnTo>
                    <a:pt x="639" y="60"/>
                  </a:lnTo>
                  <a:lnTo>
                    <a:pt x="643" y="56"/>
                  </a:lnTo>
                  <a:lnTo>
                    <a:pt x="641" y="43"/>
                  </a:lnTo>
                  <a:lnTo>
                    <a:pt x="632" y="20"/>
                  </a:lnTo>
                  <a:lnTo>
                    <a:pt x="631" y="13"/>
                  </a:lnTo>
                  <a:lnTo>
                    <a:pt x="631" y="9"/>
                  </a:lnTo>
                  <a:lnTo>
                    <a:pt x="635" y="6"/>
                  </a:lnTo>
                  <a:lnTo>
                    <a:pt x="640" y="4"/>
                  </a:lnTo>
                  <a:lnTo>
                    <a:pt x="659" y="3"/>
                  </a:lnTo>
                  <a:lnTo>
                    <a:pt x="671" y="0"/>
                  </a:lnTo>
                  <a:lnTo>
                    <a:pt x="671" y="0"/>
                  </a:lnTo>
                  <a:lnTo>
                    <a:pt x="671" y="0"/>
                  </a:lnTo>
                  <a:lnTo>
                    <a:pt x="67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4" name="山西">
              <a:extLst>
                <a:ext uri="{FF2B5EF4-FFF2-40B4-BE49-F238E27FC236}">
                  <a16:creationId xmlns:a16="http://schemas.microsoft.com/office/drawing/2014/main" id="{743163C7-816C-FB84-B047-AB406ABC2D49}"/>
                </a:ext>
              </a:extLst>
            </p:cNvPr>
            <p:cNvSpPr>
              <a:spLocks/>
            </p:cNvSpPr>
            <p:nvPr/>
          </p:nvSpPr>
          <p:spPr bwMode="auto">
            <a:xfrm>
              <a:off x="6402389" y="2605088"/>
              <a:ext cx="569913" cy="1112838"/>
            </a:xfrm>
            <a:custGeom>
              <a:avLst/>
              <a:gdLst>
                <a:gd name="T0" fmla="*/ 907 w 1078"/>
                <a:gd name="T1" fmla="*/ 1611 h 2103"/>
                <a:gd name="T2" fmla="*/ 885 w 1078"/>
                <a:gd name="T3" fmla="*/ 1674 h 2103"/>
                <a:gd name="T4" fmla="*/ 858 w 1078"/>
                <a:gd name="T5" fmla="*/ 1778 h 2103"/>
                <a:gd name="T6" fmla="*/ 813 w 1078"/>
                <a:gd name="T7" fmla="*/ 1807 h 2103"/>
                <a:gd name="T8" fmla="*/ 763 w 1078"/>
                <a:gd name="T9" fmla="*/ 1843 h 2103"/>
                <a:gd name="T10" fmla="*/ 704 w 1078"/>
                <a:gd name="T11" fmla="*/ 1868 h 2103"/>
                <a:gd name="T12" fmla="*/ 628 w 1078"/>
                <a:gd name="T13" fmla="*/ 1876 h 2103"/>
                <a:gd name="T14" fmla="*/ 484 w 1078"/>
                <a:gd name="T15" fmla="*/ 1862 h 2103"/>
                <a:gd name="T16" fmla="*/ 475 w 1078"/>
                <a:gd name="T17" fmla="*/ 1946 h 2103"/>
                <a:gd name="T18" fmla="*/ 389 w 1078"/>
                <a:gd name="T19" fmla="*/ 1960 h 2103"/>
                <a:gd name="T20" fmla="*/ 300 w 1078"/>
                <a:gd name="T21" fmla="*/ 2024 h 2103"/>
                <a:gd name="T22" fmla="*/ 238 w 1078"/>
                <a:gd name="T23" fmla="*/ 2030 h 2103"/>
                <a:gd name="T24" fmla="*/ 170 w 1078"/>
                <a:gd name="T25" fmla="*/ 2075 h 2103"/>
                <a:gd name="T26" fmla="*/ 51 w 1078"/>
                <a:gd name="T27" fmla="*/ 2097 h 2103"/>
                <a:gd name="T28" fmla="*/ 6 w 1078"/>
                <a:gd name="T29" fmla="*/ 2015 h 2103"/>
                <a:gd name="T30" fmla="*/ 61 w 1078"/>
                <a:gd name="T31" fmla="*/ 1839 h 2103"/>
                <a:gd name="T32" fmla="*/ 62 w 1078"/>
                <a:gd name="T33" fmla="*/ 1630 h 2103"/>
                <a:gd name="T34" fmla="*/ 32 w 1078"/>
                <a:gd name="T35" fmla="*/ 1391 h 2103"/>
                <a:gd name="T36" fmla="*/ 36 w 1078"/>
                <a:gd name="T37" fmla="*/ 1336 h 2103"/>
                <a:gd name="T38" fmla="*/ 43 w 1078"/>
                <a:gd name="T39" fmla="*/ 1279 h 2103"/>
                <a:gd name="T40" fmla="*/ 110 w 1078"/>
                <a:gd name="T41" fmla="*/ 1167 h 2103"/>
                <a:gd name="T42" fmla="*/ 131 w 1078"/>
                <a:gd name="T43" fmla="*/ 1107 h 2103"/>
                <a:gd name="T44" fmla="*/ 115 w 1078"/>
                <a:gd name="T45" fmla="*/ 1050 h 2103"/>
                <a:gd name="T46" fmla="*/ 66 w 1078"/>
                <a:gd name="T47" fmla="*/ 963 h 2103"/>
                <a:gd name="T48" fmla="*/ 76 w 1078"/>
                <a:gd name="T49" fmla="*/ 869 h 2103"/>
                <a:gd name="T50" fmla="*/ 148 w 1078"/>
                <a:gd name="T51" fmla="*/ 781 h 2103"/>
                <a:gd name="T52" fmla="*/ 181 w 1078"/>
                <a:gd name="T53" fmla="*/ 621 h 2103"/>
                <a:gd name="T54" fmla="*/ 248 w 1078"/>
                <a:gd name="T55" fmla="*/ 511 h 2103"/>
                <a:gd name="T56" fmla="*/ 212 w 1078"/>
                <a:gd name="T57" fmla="*/ 479 h 2103"/>
                <a:gd name="T58" fmla="*/ 288 w 1078"/>
                <a:gd name="T59" fmla="*/ 429 h 2103"/>
                <a:gd name="T60" fmla="*/ 348 w 1078"/>
                <a:gd name="T61" fmla="*/ 397 h 2103"/>
                <a:gd name="T62" fmla="*/ 425 w 1078"/>
                <a:gd name="T63" fmla="*/ 330 h 2103"/>
                <a:gd name="T64" fmla="*/ 559 w 1078"/>
                <a:gd name="T65" fmla="*/ 177 h 2103"/>
                <a:gd name="T66" fmla="*/ 651 w 1078"/>
                <a:gd name="T67" fmla="*/ 155 h 2103"/>
                <a:gd name="T68" fmla="*/ 832 w 1078"/>
                <a:gd name="T69" fmla="*/ 120 h 2103"/>
                <a:gd name="T70" fmla="*/ 897 w 1078"/>
                <a:gd name="T71" fmla="*/ 95 h 2103"/>
                <a:gd name="T72" fmla="*/ 939 w 1078"/>
                <a:gd name="T73" fmla="*/ 6 h 2103"/>
                <a:gd name="T74" fmla="*/ 995 w 1078"/>
                <a:gd name="T75" fmla="*/ 57 h 2103"/>
                <a:gd name="T76" fmla="*/ 1041 w 1078"/>
                <a:gd name="T77" fmla="*/ 121 h 2103"/>
                <a:gd name="T78" fmla="*/ 974 w 1078"/>
                <a:gd name="T79" fmla="*/ 183 h 2103"/>
                <a:gd name="T80" fmla="*/ 940 w 1078"/>
                <a:gd name="T81" fmla="*/ 223 h 2103"/>
                <a:gd name="T82" fmla="*/ 929 w 1078"/>
                <a:gd name="T83" fmla="*/ 254 h 2103"/>
                <a:gd name="T84" fmla="*/ 992 w 1078"/>
                <a:gd name="T85" fmla="*/ 300 h 2103"/>
                <a:gd name="T86" fmla="*/ 1051 w 1078"/>
                <a:gd name="T87" fmla="*/ 368 h 2103"/>
                <a:gd name="T88" fmla="*/ 1052 w 1078"/>
                <a:gd name="T89" fmla="*/ 484 h 2103"/>
                <a:gd name="T90" fmla="*/ 1039 w 1078"/>
                <a:gd name="T91" fmla="*/ 542 h 2103"/>
                <a:gd name="T92" fmla="*/ 963 w 1078"/>
                <a:gd name="T93" fmla="*/ 551 h 2103"/>
                <a:gd name="T94" fmla="*/ 893 w 1078"/>
                <a:gd name="T95" fmla="*/ 622 h 2103"/>
                <a:gd name="T96" fmla="*/ 883 w 1078"/>
                <a:gd name="T97" fmla="*/ 691 h 2103"/>
                <a:gd name="T98" fmla="*/ 843 w 1078"/>
                <a:gd name="T99" fmla="*/ 758 h 2103"/>
                <a:gd name="T100" fmla="*/ 894 w 1078"/>
                <a:gd name="T101" fmla="*/ 867 h 2103"/>
                <a:gd name="T102" fmla="*/ 934 w 1078"/>
                <a:gd name="T103" fmla="*/ 928 h 2103"/>
                <a:gd name="T104" fmla="*/ 971 w 1078"/>
                <a:gd name="T105" fmla="*/ 1025 h 2103"/>
                <a:gd name="T106" fmla="*/ 963 w 1078"/>
                <a:gd name="T107" fmla="*/ 1143 h 2103"/>
                <a:gd name="T108" fmla="*/ 920 w 1078"/>
                <a:gd name="T109" fmla="*/ 1252 h 2103"/>
                <a:gd name="T110" fmla="*/ 913 w 1078"/>
                <a:gd name="T111" fmla="*/ 1319 h 2103"/>
                <a:gd name="T112" fmla="*/ 879 w 1078"/>
                <a:gd name="T113" fmla="*/ 1344 h 2103"/>
                <a:gd name="T114" fmla="*/ 841 w 1078"/>
                <a:gd name="T115" fmla="*/ 1385 h 2103"/>
                <a:gd name="T116" fmla="*/ 867 w 1078"/>
                <a:gd name="T117" fmla="*/ 1435 h 2103"/>
                <a:gd name="T118" fmla="*/ 913 w 1078"/>
                <a:gd name="T119" fmla="*/ 1483 h 2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8" h="2103">
                  <a:moveTo>
                    <a:pt x="913" y="1483"/>
                  </a:moveTo>
                  <a:lnTo>
                    <a:pt x="913" y="1493"/>
                  </a:lnTo>
                  <a:lnTo>
                    <a:pt x="908" y="1525"/>
                  </a:lnTo>
                  <a:lnTo>
                    <a:pt x="912" y="1556"/>
                  </a:lnTo>
                  <a:lnTo>
                    <a:pt x="912" y="1563"/>
                  </a:lnTo>
                  <a:lnTo>
                    <a:pt x="910" y="1574"/>
                  </a:lnTo>
                  <a:lnTo>
                    <a:pt x="911" y="1589"/>
                  </a:lnTo>
                  <a:lnTo>
                    <a:pt x="911" y="1595"/>
                  </a:lnTo>
                  <a:lnTo>
                    <a:pt x="907" y="1611"/>
                  </a:lnTo>
                  <a:lnTo>
                    <a:pt x="901" y="1619"/>
                  </a:lnTo>
                  <a:lnTo>
                    <a:pt x="898" y="1624"/>
                  </a:lnTo>
                  <a:lnTo>
                    <a:pt x="899" y="1642"/>
                  </a:lnTo>
                  <a:lnTo>
                    <a:pt x="904" y="1665"/>
                  </a:lnTo>
                  <a:lnTo>
                    <a:pt x="903" y="1667"/>
                  </a:lnTo>
                  <a:lnTo>
                    <a:pt x="901" y="1668"/>
                  </a:lnTo>
                  <a:lnTo>
                    <a:pt x="888" y="1671"/>
                  </a:lnTo>
                  <a:lnTo>
                    <a:pt x="886" y="1672"/>
                  </a:lnTo>
                  <a:lnTo>
                    <a:pt x="885" y="1674"/>
                  </a:lnTo>
                  <a:lnTo>
                    <a:pt x="888" y="1698"/>
                  </a:lnTo>
                  <a:lnTo>
                    <a:pt x="893" y="1721"/>
                  </a:lnTo>
                  <a:lnTo>
                    <a:pt x="893" y="1731"/>
                  </a:lnTo>
                  <a:lnTo>
                    <a:pt x="891" y="1732"/>
                  </a:lnTo>
                  <a:lnTo>
                    <a:pt x="880" y="1731"/>
                  </a:lnTo>
                  <a:lnTo>
                    <a:pt x="877" y="1732"/>
                  </a:lnTo>
                  <a:lnTo>
                    <a:pt x="877" y="1743"/>
                  </a:lnTo>
                  <a:lnTo>
                    <a:pt x="876" y="1746"/>
                  </a:lnTo>
                  <a:lnTo>
                    <a:pt x="858" y="1778"/>
                  </a:lnTo>
                  <a:lnTo>
                    <a:pt x="839" y="1776"/>
                  </a:lnTo>
                  <a:lnTo>
                    <a:pt x="833" y="1787"/>
                  </a:lnTo>
                  <a:lnTo>
                    <a:pt x="826" y="1791"/>
                  </a:lnTo>
                  <a:lnTo>
                    <a:pt x="823" y="1792"/>
                  </a:lnTo>
                  <a:lnTo>
                    <a:pt x="817" y="1789"/>
                  </a:lnTo>
                  <a:lnTo>
                    <a:pt x="814" y="1789"/>
                  </a:lnTo>
                  <a:lnTo>
                    <a:pt x="814" y="1791"/>
                  </a:lnTo>
                  <a:lnTo>
                    <a:pt x="817" y="1804"/>
                  </a:lnTo>
                  <a:lnTo>
                    <a:pt x="813" y="1807"/>
                  </a:lnTo>
                  <a:lnTo>
                    <a:pt x="808" y="1807"/>
                  </a:lnTo>
                  <a:lnTo>
                    <a:pt x="792" y="1796"/>
                  </a:lnTo>
                  <a:lnTo>
                    <a:pt x="785" y="1798"/>
                  </a:lnTo>
                  <a:lnTo>
                    <a:pt x="782" y="1802"/>
                  </a:lnTo>
                  <a:lnTo>
                    <a:pt x="780" y="1806"/>
                  </a:lnTo>
                  <a:lnTo>
                    <a:pt x="775" y="1832"/>
                  </a:lnTo>
                  <a:lnTo>
                    <a:pt x="772" y="1837"/>
                  </a:lnTo>
                  <a:lnTo>
                    <a:pt x="769" y="1840"/>
                  </a:lnTo>
                  <a:lnTo>
                    <a:pt x="763" y="1843"/>
                  </a:lnTo>
                  <a:lnTo>
                    <a:pt x="743" y="1831"/>
                  </a:lnTo>
                  <a:lnTo>
                    <a:pt x="739" y="1831"/>
                  </a:lnTo>
                  <a:lnTo>
                    <a:pt x="734" y="1832"/>
                  </a:lnTo>
                  <a:lnTo>
                    <a:pt x="732" y="1833"/>
                  </a:lnTo>
                  <a:lnTo>
                    <a:pt x="730" y="1838"/>
                  </a:lnTo>
                  <a:lnTo>
                    <a:pt x="730" y="1852"/>
                  </a:lnTo>
                  <a:lnTo>
                    <a:pt x="727" y="1857"/>
                  </a:lnTo>
                  <a:lnTo>
                    <a:pt x="717" y="1862"/>
                  </a:lnTo>
                  <a:lnTo>
                    <a:pt x="704" y="1868"/>
                  </a:lnTo>
                  <a:lnTo>
                    <a:pt x="690" y="1869"/>
                  </a:lnTo>
                  <a:lnTo>
                    <a:pt x="686" y="1870"/>
                  </a:lnTo>
                  <a:lnTo>
                    <a:pt x="673" y="1881"/>
                  </a:lnTo>
                  <a:lnTo>
                    <a:pt x="668" y="1884"/>
                  </a:lnTo>
                  <a:lnTo>
                    <a:pt x="661" y="1881"/>
                  </a:lnTo>
                  <a:lnTo>
                    <a:pt x="650" y="1869"/>
                  </a:lnTo>
                  <a:lnTo>
                    <a:pt x="644" y="1867"/>
                  </a:lnTo>
                  <a:lnTo>
                    <a:pt x="640" y="1868"/>
                  </a:lnTo>
                  <a:lnTo>
                    <a:pt x="628" y="1876"/>
                  </a:lnTo>
                  <a:lnTo>
                    <a:pt x="549" y="1876"/>
                  </a:lnTo>
                  <a:lnTo>
                    <a:pt x="536" y="1882"/>
                  </a:lnTo>
                  <a:lnTo>
                    <a:pt x="525" y="1876"/>
                  </a:lnTo>
                  <a:lnTo>
                    <a:pt x="518" y="1879"/>
                  </a:lnTo>
                  <a:lnTo>
                    <a:pt x="507" y="1865"/>
                  </a:lnTo>
                  <a:lnTo>
                    <a:pt x="501" y="1862"/>
                  </a:lnTo>
                  <a:lnTo>
                    <a:pt x="494" y="1860"/>
                  </a:lnTo>
                  <a:lnTo>
                    <a:pt x="487" y="1860"/>
                  </a:lnTo>
                  <a:lnTo>
                    <a:pt x="484" y="1862"/>
                  </a:lnTo>
                  <a:lnTo>
                    <a:pt x="483" y="1865"/>
                  </a:lnTo>
                  <a:lnTo>
                    <a:pt x="484" y="1876"/>
                  </a:lnTo>
                  <a:lnTo>
                    <a:pt x="484" y="1880"/>
                  </a:lnTo>
                  <a:lnTo>
                    <a:pt x="478" y="1889"/>
                  </a:lnTo>
                  <a:lnTo>
                    <a:pt x="484" y="1909"/>
                  </a:lnTo>
                  <a:lnTo>
                    <a:pt x="486" y="1915"/>
                  </a:lnTo>
                  <a:lnTo>
                    <a:pt x="482" y="1930"/>
                  </a:lnTo>
                  <a:lnTo>
                    <a:pt x="476" y="1946"/>
                  </a:lnTo>
                  <a:lnTo>
                    <a:pt x="475" y="1946"/>
                  </a:lnTo>
                  <a:lnTo>
                    <a:pt x="469" y="1938"/>
                  </a:lnTo>
                  <a:lnTo>
                    <a:pt x="456" y="1934"/>
                  </a:lnTo>
                  <a:lnTo>
                    <a:pt x="439" y="1933"/>
                  </a:lnTo>
                  <a:lnTo>
                    <a:pt x="427" y="1935"/>
                  </a:lnTo>
                  <a:lnTo>
                    <a:pt x="420" y="1936"/>
                  </a:lnTo>
                  <a:lnTo>
                    <a:pt x="417" y="1940"/>
                  </a:lnTo>
                  <a:lnTo>
                    <a:pt x="414" y="1949"/>
                  </a:lnTo>
                  <a:lnTo>
                    <a:pt x="411" y="1951"/>
                  </a:lnTo>
                  <a:lnTo>
                    <a:pt x="389" y="1960"/>
                  </a:lnTo>
                  <a:lnTo>
                    <a:pt x="379" y="1966"/>
                  </a:lnTo>
                  <a:lnTo>
                    <a:pt x="378" y="1974"/>
                  </a:lnTo>
                  <a:lnTo>
                    <a:pt x="375" y="1979"/>
                  </a:lnTo>
                  <a:lnTo>
                    <a:pt x="365" y="1992"/>
                  </a:lnTo>
                  <a:lnTo>
                    <a:pt x="354" y="2009"/>
                  </a:lnTo>
                  <a:lnTo>
                    <a:pt x="352" y="2010"/>
                  </a:lnTo>
                  <a:lnTo>
                    <a:pt x="337" y="2017"/>
                  </a:lnTo>
                  <a:lnTo>
                    <a:pt x="314" y="2020"/>
                  </a:lnTo>
                  <a:lnTo>
                    <a:pt x="300" y="2024"/>
                  </a:lnTo>
                  <a:lnTo>
                    <a:pt x="296" y="2024"/>
                  </a:lnTo>
                  <a:lnTo>
                    <a:pt x="289" y="2023"/>
                  </a:lnTo>
                  <a:lnTo>
                    <a:pt x="279" y="2026"/>
                  </a:lnTo>
                  <a:lnTo>
                    <a:pt x="267" y="2027"/>
                  </a:lnTo>
                  <a:lnTo>
                    <a:pt x="260" y="2032"/>
                  </a:lnTo>
                  <a:lnTo>
                    <a:pt x="256" y="2031"/>
                  </a:lnTo>
                  <a:lnTo>
                    <a:pt x="247" y="2028"/>
                  </a:lnTo>
                  <a:lnTo>
                    <a:pt x="241" y="2027"/>
                  </a:lnTo>
                  <a:lnTo>
                    <a:pt x="238" y="2030"/>
                  </a:lnTo>
                  <a:lnTo>
                    <a:pt x="227" y="2044"/>
                  </a:lnTo>
                  <a:lnTo>
                    <a:pt x="225" y="2046"/>
                  </a:lnTo>
                  <a:lnTo>
                    <a:pt x="209" y="2050"/>
                  </a:lnTo>
                  <a:lnTo>
                    <a:pt x="190" y="2062"/>
                  </a:lnTo>
                  <a:lnTo>
                    <a:pt x="188" y="2061"/>
                  </a:lnTo>
                  <a:lnTo>
                    <a:pt x="184" y="2057"/>
                  </a:lnTo>
                  <a:lnTo>
                    <a:pt x="180" y="2056"/>
                  </a:lnTo>
                  <a:lnTo>
                    <a:pt x="174" y="2068"/>
                  </a:lnTo>
                  <a:lnTo>
                    <a:pt x="170" y="2075"/>
                  </a:lnTo>
                  <a:lnTo>
                    <a:pt x="140" y="2080"/>
                  </a:lnTo>
                  <a:lnTo>
                    <a:pt x="134" y="2082"/>
                  </a:lnTo>
                  <a:lnTo>
                    <a:pt x="124" y="2086"/>
                  </a:lnTo>
                  <a:lnTo>
                    <a:pt x="105" y="2099"/>
                  </a:lnTo>
                  <a:lnTo>
                    <a:pt x="96" y="2103"/>
                  </a:lnTo>
                  <a:lnTo>
                    <a:pt x="90" y="2103"/>
                  </a:lnTo>
                  <a:lnTo>
                    <a:pt x="79" y="2102"/>
                  </a:lnTo>
                  <a:lnTo>
                    <a:pt x="56" y="2097"/>
                  </a:lnTo>
                  <a:lnTo>
                    <a:pt x="51" y="2097"/>
                  </a:lnTo>
                  <a:lnTo>
                    <a:pt x="40" y="2101"/>
                  </a:lnTo>
                  <a:lnTo>
                    <a:pt x="27" y="2097"/>
                  </a:lnTo>
                  <a:lnTo>
                    <a:pt x="27" y="2097"/>
                  </a:lnTo>
                  <a:lnTo>
                    <a:pt x="14" y="2096"/>
                  </a:lnTo>
                  <a:lnTo>
                    <a:pt x="10" y="2094"/>
                  </a:lnTo>
                  <a:lnTo>
                    <a:pt x="3" y="2085"/>
                  </a:lnTo>
                  <a:lnTo>
                    <a:pt x="1" y="2076"/>
                  </a:lnTo>
                  <a:lnTo>
                    <a:pt x="0" y="2055"/>
                  </a:lnTo>
                  <a:lnTo>
                    <a:pt x="6" y="2015"/>
                  </a:lnTo>
                  <a:lnTo>
                    <a:pt x="7" y="1982"/>
                  </a:lnTo>
                  <a:lnTo>
                    <a:pt x="9" y="1969"/>
                  </a:lnTo>
                  <a:lnTo>
                    <a:pt x="21" y="1941"/>
                  </a:lnTo>
                  <a:lnTo>
                    <a:pt x="24" y="1929"/>
                  </a:lnTo>
                  <a:lnTo>
                    <a:pt x="29" y="1901"/>
                  </a:lnTo>
                  <a:lnTo>
                    <a:pt x="34" y="1883"/>
                  </a:lnTo>
                  <a:lnTo>
                    <a:pt x="41" y="1870"/>
                  </a:lnTo>
                  <a:lnTo>
                    <a:pt x="54" y="1853"/>
                  </a:lnTo>
                  <a:lnTo>
                    <a:pt x="61" y="1839"/>
                  </a:lnTo>
                  <a:lnTo>
                    <a:pt x="65" y="1827"/>
                  </a:lnTo>
                  <a:lnTo>
                    <a:pt x="78" y="1786"/>
                  </a:lnTo>
                  <a:lnTo>
                    <a:pt x="94" y="1754"/>
                  </a:lnTo>
                  <a:lnTo>
                    <a:pt x="85" y="1724"/>
                  </a:lnTo>
                  <a:lnTo>
                    <a:pt x="74" y="1671"/>
                  </a:lnTo>
                  <a:lnTo>
                    <a:pt x="74" y="1669"/>
                  </a:lnTo>
                  <a:lnTo>
                    <a:pt x="67" y="1666"/>
                  </a:lnTo>
                  <a:lnTo>
                    <a:pt x="65" y="1664"/>
                  </a:lnTo>
                  <a:lnTo>
                    <a:pt x="62" y="1630"/>
                  </a:lnTo>
                  <a:lnTo>
                    <a:pt x="49" y="1576"/>
                  </a:lnTo>
                  <a:lnTo>
                    <a:pt x="49" y="1561"/>
                  </a:lnTo>
                  <a:lnTo>
                    <a:pt x="54" y="1534"/>
                  </a:lnTo>
                  <a:lnTo>
                    <a:pt x="54" y="1510"/>
                  </a:lnTo>
                  <a:lnTo>
                    <a:pt x="58" y="1440"/>
                  </a:lnTo>
                  <a:lnTo>
                    <a:pt x="57" y="1433"/>
                  </a:lnTo>
                  <a:lnTo>
                    <a:pt x="54" y="1425"/>
                  </a:lnTo>
                  <a:lnTo>
                    <a:pt x="37" y="1400"/>
                  </a:lnTo>
                  <a:lnTo>
                    <a:pt x="32" y="1391"/>
                  </a:lnTo>
                  <a:lnTo>
                    <a:pt x="33" y="1388"/>
                  </a:lnTo>
                  <a:lnTo>
                    <a:pt x="41" y="1380"/>
                  </a:lnTo>
                  <a:lnTo>
                    <a:pt x="43" y="1372"/>
                  </a:lnTo>
                  <a:lnTo>
                    <a:pt x="42" y="1367"/>
                  </a:lnTo>
                  <a:lnTo>
                    <a:pt x="33" y="1358"/>
                  </a:lnTo>
                  <a:lnTo>
                    <a:pt x="31" y="1354"/>
                  </a:lnTo>
                  <a:lnTo>
                    <a:pt x="36" y="1345"/>
                  </a:lnTo>
                  <a:lnTo>
                    <a:pt x="36" y="1339"/>
                  </a:lnTo>
                  <a:lnTo>
                    <a:pt x="36" y="1336"/>
                  </a:lnTo>
                  <a:lnTo>
                    <a:pt x="30" y="1322"/>
                  </a:lnTo>
                  <a:lnTo>
                    <a:pt x="30" y="1318"/>
                  </a:lnTo>
                  <a:lnTo>
                    <a:pt x="32" y="1312"/>
                  </a:lnTo>
                  <a:lnTo>
                    <a:pt x="32" y="1305"/>
                  </a:lnTo>
                  <a:lnTo>
                    <a:pt x="28" y="1292"/>
                  </a:lnTo>
                  <a:lnTo>
                    <a:pt x="28" y="1289"/>
                  </a:lnTo>
                  <a:lnTo>
                    <a:pt x="29" y="1287"/>
                  </a:lnTo>
                  <a:lnTo>
                    <a:pt x="40" y="1283"/>
                  </a:lnTo>
                  <a:lnTo>
                    <a:pt x="43" y="1279"/>
                  </a:lnTo>
                  <a:lnTo>
                    <a:pt x="45" y="1275"/>
                  </a:lnTo>
                  <a:lnTo>
                    <a:pt x="45" y="1264"/>
                  </a:lnTo>
                  <a:lnTo>
                    <a:pt x="56" y="1256"/>
                  </a:lnTo>
                  <a:lnTo>
                    <a:pt x="64" y="1247"/>
                  </a:lnTo>
                  <a:lnTo>
                    <a:pt x="85" y="1219"/>
                  </a:lnTo>
                  <a:lnTo>
                    <a:pt x="99" y="1199"/>
                  </a:lnTo>
                  <a:lnTo>
                    <a:pt x="109" y="1179"/>
                  </a:lnTo>
                  <a:lnTo>
                    <a:pt x="112" y="1168"/>
                  </a:lnTo>
                  <a:lnTo>
                    <a:pt x="110" y="1167"/>
                  </a:lnTo>
                  <a:lnTo>
                    <a:pt x="99" y="1164"/>
                  </a:lnTo>
                  <a:lnTo>
                    <a:pt x="95" y="1161"/>
                  </a:lnTo>
                  <a:lnTo>
                    <a:pt x="94" y="1153"/>
                  </a:lnTo>
                  <a:lnTo>
                    <a:pt x="95" y="1142"/>
                  </a:lnTo>
                  <a:lnTo>
                    <a:pt x="97" y="1140"/>
                  </a:lnTo>
                  <a:lnTo>
                    <a:pt x="100" y="1138"/>
                  </a:lnTo>
                  <a:lnTo>
                    <a:pt x="116" y="1134"/>
                  </a:lnTo>
                  <a:lnTo>
                    <a:pt x="121" y="1132"/>
                  </a:lnTo>
                  <a:lnTo>
                    <a:pt x="131" y="1107"/>
                  </a:lnTo>
                  <a:lnTo>
                    <a:pt x="133" y="1094"/>
                  </a:lnTo>
                  <a:lnTo>
                    <a:pt x="133" y="1090"/>
                  </a:lnTo>
                  <a:lnTo>
                    <a:pt x="128" y="1079"/>
                  </a:lnTo>
                  <a:lnTo>
                    <a:pt x="127" y="1072"/>
                  </a:lnTo>
                  <a:lnTo>
                    <a:pt x="128" y="1069"/>
                  </a:lnTo>
                  <a:lnTo>
                    <a:pt x="133" y="1065"/>
                  </a:lnTo>
                  <a:lnTo>
                    <a:pt x="134" y="1061"/>
                  </a:lnTo>
                  <a:lnTo>
                    <a:pt x="130" y="1057"/>
                  </a:lnTo>
                  <a:lnTo>
                    <a:pt x="115" y="1050"/>
                  </a:lnTo>
                  <a:lnTo>
                    <a:pt x="112" y="1047"/>
                  </a:lnTo>
                  <a:lnTo>
                    <a:pt x="111" y="1043"/>
                  </a:lnTo>
                  <a:lnTo>
                    <a:pt x="111" y="1039"/>
                  </a:lnTo>
                  <a:lnTo>
                    <a:pt x="123" y="1033"/>
                  </a:lnTo>
                  <a:lnTo>
                    <a:pt x="123" y="1030"/>
                  </a:lnTo>
                  <a:lnTo>
                    <a:pt x="103" y="1015"/>
                  </a:lnTo>
                  <a:lnTo>
                    <a:pt x="85" y="984"/>
                  </a:lnTo>
                  <a:lnTo>
                    <a:pt x="78" y="975"/>
                  </a:lnTo>
                  <a:lnTo>
                    <a:pt x="66" y="963"/>
                  </a:lnTo>
                  <a:lnTo>
                    <a:pt x="60" y="954"/>
                  </a:lnTo>
                  <a:lnTo>
                    <a:pt x="59" y="945"/>
                  </a:lnTo>
                  <a:lnTo>
                    <a:pt x="58" y="925"/>
                  </a:lnTo>
                  <a:lnTo>
                    <a:pt x="59" y="890"/>
                  </a:lnTo>
                  <a:lnTo>
                    <a:pt x="60" y="882"/>
                  </a:lnTo>
                  <a:lnTo>
                    <a:pt x="62" y="878"/>
                  </a:lnTo>
                  <a:lnTo>
                    <a:pt x="65" y="876"/>
                  </a:lnTo>
                  <a:lnTo>
                    <a:pt x="72" y="873"/>
                  </a:lnTo>
                  <a:lnTo>
                    <a:pt x="76" y="869"/>
                  </a:lnTo>
                  <a:lnTo>
                    <a:pt x="77" y="850"/>
                  </a:lnTo>
                  <a:lnTo>
                    <a:pt x="78" y="846"/>
                  </a:lnTo>
                  <a:lnTo>
                    <a:pt x="82" y="843"/>
                  </a:lnTo>
                  <a:lnTo>
                    <a:pt x="97" y="838"/>
                  </a:lnTo>
                  <a:lnTo>
                    <a:pt x="104" y="832"/>
                  </a:lnTo>
                  <a:lnTo>
                    <a:pt x="117" y="815"/>
                  </a:lnTo>
                  <a:lnTo>
                    <a:pt x="129" y="794"/>
                  </a:lnTo>
                  <a:lnTo>
                    <a:pt x="145" y="786"/>
                  </a:lnTo>
                  <a:lnTo>
                    <a:pt x="148" y="781"/>
                  </a:lnTo>
                  <a:lnTo>
                    <a:pt x="152" y="770"/>
                  </a:lnTo>
                  <a:lnTo>
                    <a:pt x="155" y="737"/>
                  </a:lnTo>
                  <a:lnTo>
                    <a:pt x="157" y="727"/>
                  </a:lnTo>
                  <a:lnTo>
                    <a:pt x="168" y="698"/>
                  </a:lnTo>
                  <a:lnTo>
                    <a:pt x="174" y="676"/>
                  </a:lnTo>
                  <a:lnTo>
                    <a:pt x="182" y="659"/>
                  </a:lnTo>
                  <a:lnTo>
                    <a:pt x="187" y="645"/>
                  </a:lnTo>
                  <a:lnTo>
                    <a:pt x="187" y="639"/>
                  </a:lnTo>
                  <a:lnTo>
                    <a:pt x="181" y="621"/>
                  </a:lnTo>
                  <a:lnTo>
                    <a:pt x="181" y="613"/>
                  </a:lnTo>
                  <a:lnTo>
                    <a:pt x="186" y="607"/>
                  </a:lnTo>
                  <a:lnTo>
                    <a:pt x="205" y="596"/>
                  </a:lnTo>
                  <a:lnTo>
                    <a:pt x="214" y="587"/>
                  </a:lnTo>
                  <a:lnTo>
                    <a:pt x="218" y="582"/>
                  </a:lnTo>
                  <a:lnTo>
                    <a:pt x="223" y="565"/>
                  </a:lnTo>
                  <a:lnTo>
                    <a:pt x="231" y="528"/>
                  </a:lnTo>
                  <a:lnTo>
                    <a:pt x="235" y="523"/>
                  </a:lnTo>
                  <a:lnTo>
                    <a:pt x="248" y="511"/>
                  </a:lnTo>
                  <a:lnTo>
                    <a:pt x="253" y="506"/>
                  </a:lnTo>
                  <a:lnTo>
                    <a:pt x="253" y="503"/>
                  </a:lnTo>
                  <a:lnTo>
                    <a:pt x="249" y="500"/>
                  </a:lnTo>
                  <a:lnTo>
                    <a:pt x="240" y="493"/>
                  </a:lnTo>
                  <a:lnTo>
                    <a:pt x="237" y="485"/>
                  </a:lnTo>
                  <a:lnTo>
                    <a:pt x="235" y="484"/>
                  </a:lnTo>
                  <a:lnTo>
                    <a:pt x="226" y="485"/>
                  </a:lnTo>
                  <a:lnTo>
                    <a:pt x="219" y="485"/>
                  </a:lnTo>
                  <a:lnTo>
                    <a:pt x="212" y="479"/>
                  </a:lnTo>
                  <a:lnTo>
                    <a:pt x="213" y="476"/>
                  </a:lnTo>
                  <a:lnTo>
                    <a:pt x="213" y="476"/>
                  </a:lnTo>
                  <a:lnTo>
                    <a:pt x="221" y="469"/>
                  </a:lnTo>
                  <a:lnTo>
                    <a:pt x="234" y="464"/>
                  </a:lnTo>
                  <a:lnTo>
                    <a:pt x="241" y="463"/>
                  </a:lnTo>
                  <a:lnTo>
                    <a:pt x="263" y="463"/>
                  </a:lnTo>
                  <a:lnTo>
                    <a:pt x="267" y="460"/>
                  </a:lnTo>
                  <a:lnTo>
                    <a:pt x="276" y="443"/>
                  </a:lnTo>
                  <a:lnTo>
                    <a:pt x="288" y="429"/>
                  </a:lnTo>
                  <a:lnTo>
                    <a:pt x="292" y="423"/>
                  </a:lnTo>
                  <a:lnTo>
                    <a:pt x="293" y="410"/>
                  </a:lnTo>
                  <a:lnTo>
                    <a:pt x="291" y="403"/>
                  </a:lnTo>
                  <a:lnTo>
                    <a:pt x="285" y="394"/>
                  </a:lnTo>
                  <a:lnTo>
                    <a:pt x="286" y="390"/>
                  </a:lnTo>
                  <a:lnTo>
                    <a:pt x="288" y="388"/>
                  </a:lnTo>
                  <a:lnTo>
                    <a:pt x="292" y="387"/>
                  </a:lnTo>
                  <a:lnTo>
                    <a:pt x="300" y="388"/>
                  </a:lnTo>
                  <a:lnTo>
                    <a:pt x="348" y="397"/>
                  </a:lnTo>
                  <a:lnTo>
                    <a:pt x="378" y="402"/>
                  </a:lnTo>
                  <a:lnTo>
                    <a:pt x="398" y="403"/>
                  </a:lnTo>
                  <a:lnTo>
                    <a:pt x="403" y="402"/>
                  </a:lnTo>
                  <a:lnTo>
                    <a:pt x="407" y="400"/>
                  </a:lnTo>
                  <a:lnTo>
                    <a:pt x="409" y="396"/>
                  </a:lnTo>
                  <a:lnTo>
                    <a:pt x="411" y="389"/>
                  </a:lnTo>
                  <a:lnTo>
                    <a:pt x="415" y="366"/>
                  </a:lnTo>
                  <a:lnTo>
                    <a:pt x="418" y="350"/>
                  </a:lnTo>
                  <a:lnTo>
                    <a:pt x="425" y="330"/>
                  </a:lnTo>
                  <a:lnTo>
                    <a:pt x="436" y="303"/>
                  </a:lnTo>
                  <a:lnTo>
                    <a:pt x="450" y="273"/>
                  </a:lnTo>
                  <a:lnTo>
                    <a:pt x="472" y="230"/>
                  </a:lnTo>
                  <a:lnTo>
                    <a:pt x="495" y="187"/>
                  </a:lnTo>
                  <a:lnTo>
                    <a:pt x="501" y="178"/>
                  </a:lnTo>
                  <a:lnTo>
                    <a:pt x="504" y="175"/>
                  </a:lnTo>
                  <a:lnTo>
                    <a:pt x="520" y="167"/>
                  </a:lnTo>
                  <a:lnTo>
                    <a:pt x="527" y="167"/>
                  </a:lnTo>
                  <a:lnTo>
                    <a:pt x="559" y="177"/>
                  </a:lnTo>
                  <a:lnTo>
                    <a:pt x="602" y="196"/>
                  </a:lnTo>
                  <a:lnTo>
                    <a:pt x="612" y="198"/>
                  </a:lnTo>
                  <a:lnTo>
                    <a:pt x="618" y="199"/>
                  </a:lnTo>
                  <a:lnTo>
                    <a:pt x="622" y="197"/>
                  </a:lnTo>
                  <a:lnTo>
                    <a:pt x="628" y="190"/>
                  </a:lnTo>
                  <a:lnTo>
                    <a:pt x="633" y="182"/>
                  </a:lnTo>
                  <a:lnTo>
                    <a:pt x="641" y="165"/>
                  </a:lnTo>
                  <a:lnTo>
                    <a:pt x="645" y="159"/>
                  </a:lnTo>
                  <a:lnTo>
                    <a:pt x="651" y="155"/>
                  </a:lnTo>
                  <a:lnTo>
                    <a:pt x="685" y="140"/>
                  </a:lnTo>
                  <a:lnTo>
                    <a:pt x="741" y="119"/>
                  </a:lnTo>
                  <a:lnTo>
                    <a:pt x="743" y="119"/>
                  </a:lnTo>
                  <a:lnTo>
                    <a:pt x="745" y="121"/>
                  </a:lnTo>
                  <a:lnTo>
                    <a:pt x="765" y="140"/>
                  </a:lnTo>
                  <a:lnTo>
                    <a:pt x="776" y="145"/>
                  </a:lnTo>
                  <a:lnTo>
                    <a:pt x="783" y="146"/>
                  </a:lnTo>
                  <a:lnTo>
                    <a:pt x="804" y="142"/>
                  </a:lnTo>
                  <a:lnTo>
                    <a:pt x="832" y="120"/>
                  </a:lnTo>
                  <a:lnTo>
                    <a:pt x="850" y="108"/>
                  </a:lnTo>
                  <a:lnTo>
                    <a:pt x="859" y="102"/>
                  </a:lnTo>
                  <a:lnTo>
                    <a:pt x="862" y="98"/>
                  </a:lnTo>
                  <a:lnTo>
                    <a:pt x="871" y="82"/>
                  </a:lnTo>
                  <a:lnTo>
                    <a:pt x="874" y="79"/>
                  </a:lnTo>
                  <a:lnTo>
                    <a:pt x="876" y="79"/>
                  </a:lnTo>
                  <a:lnTo>
                    <a:pt x="879" y="80"/>
                  </a:lnTo>
                  <a:lnTo>
                    <a:pt x="892" y="92"/>
                  </a:lnTo>
                  <a:lnTo>
                    <a:pt x="897" y="95"/>
                  </a:lnTo>
                  <a:lnTo>
                    <a:pt x="901" y="92"/>
                  </a:lnTo>
                  <a:lnTo>
                    <a:pt x="912" y="78"/>
                  </a:lnTo>
                  <a:lnTo>
                    <a:pt x="922" y="78"/>
                  </a:lnTo>
                  <a:lnTo>
                    <a:pt x="926" y="75"/>
                  </a:lnTo>
                  <a:lnTo>
                    <a:pt x="929" y="69"/>
                  </a:lnTo>
                  <a:lnTo>
                    <a:pt x="931" y="57"/>
                  </a:lnTo>
                  <a:lnTo>
                    <a:pt x="933" y="20"/>
                  </a:lnTo>
                  <a:lnTo>
                    <a:pt x="935" y="10"/>
                  </a:lnTo>
                  <a:lnTo>
                    <a:pt x="939" y="6"/>
                  </a:lnTo>
                  <a:lnTo>
                    <a:pt x="942" y="2"/>
                  </a:lnTo>
                  <a:lnTo>
                    <a:pt x="948" y="0"/>
                  </a:lnTo>
                  <a:lnTo>
                    <a:pt x="956" y="0"/>
                  </a:lnTo>
                  <a:lnTo>
                    <a:pt x="956" y="0"/>
                  </a:lnTo>
                  <a:lnTo>
                    <a:pt x="959" y="6"/>
                  </a:lnTo>
                  <a:lnTo>
                    <a:pt x="979" y="37"/>
                  </a:lnTo>
                  <a:lnTo>
                    <a:pt x="983" y="42"/>
                  </a:lnTo>
                  <a:lnTo>
                    <a:pt x="989" y="45"/>
                  </a:lnTo>
                  <a:lnTo>
                    <a:pt x="995" y="57"/>
                  </a:lnTo>
                  <a:lnTo>
                    <a:pt x="1000" y="68"/>
                  </a:lnTo>
                  <a:lnTo>
                    <a:pt x="1001" y="71"/>
                  </a:lnTo>
                  <a:lnTo>
                    <a:pt x="1001" y="103"/>
                  </a:lnTo>
                  <a:lnTo>
                    <a:pt x="1002" y="116"/>
                  </a:lnTo>
                  <a:lnTo>
                    <a:pt x="1004" y="122"/>
                  </a:lnTo>
                  <a:lnTo>
                    <a:pt x="1009" y="125"/>
                  </a:lnTo>
                  <a:lnTo>
                    <a:pt x="1017" y="127"/>
                  </a:lnTo>
                  <a:lnTo>
                    <a:pt x="1023" y="126"/>
                  </a:lnTo>
                  <a:lnTo>
                    <a:pt x="1041" y="121"/>
                  </a:lnTo>
                  <a:lnTo>
                    <a:pt x="1049" y="125"/>
                  </a:lnTo>
                  <a:lnTo>
                    <a:pt x="1059" y="124"/>
                  </a:lnTo>
                  <a:lnTo>
                    <a:pt x="1063" y="127"/>
                  </a:lnTo>
                  <a:lnTo>
                    <a:pt x="1063" y="134"/>
                  </a:lnTo>
                  <a:lnTo>
                    <a:pt x="1059" y="142"/>
                  </a:lnTo>
                  <a:lnTo>
                    <a:pt x="1053" y="151"/>
                  </a:lnTo>
                  <a:lnTo>
                    <a:pt x="1039" y="160"/>
                  </a:lnTo>
                  <a:lnTo>
                    <a:pt x="1007" y="168"/>
                  </a:lnTo>
                  <a:lnTo>
                    <a:pt x="974" y="183"/>
                  </a:lnTo>
                  <a:lnTo>
                    <a:pt x="957" y="188"/>
                  </a:lnTo>
                  <a:lnTo>
                    <a:pt x="955" y="190"/>
                  </a:lnTo>
                  <a:lnTo>
                    <a:pt x="953" y="193"/>
                  </a:lnTo>
                  <a:lnTo>
                    <a:pt x="953" y="213"/>
                  </a:lnTo>
                  <a:lnTo>
                    <a:pt x="951" y="221"/>
                  </a:lnTo>
                  <a:lnTo>
                    <a:pt x="950" y="223"/>
                  </a:lnTo>
                  <a:lnTo>
                    <a:pt x="946" y="224"/>
                  </a:lnTo>
                  <a:lnTo>
                    <a:pt x="943" y="224"/>
                  </a:lnTo>
                  <a:lnTo>
                    <a:pt x="940" y="223"/>
                  </a:lnTo>
                  <a:lnTo>
                    <a:pt x="938" y="221"/>
                  </a:lnTo>
                  <a:lnTo>
                    <a:pt x="933" y="208"/>
                  </a:lnTo>
                  <a:lnTo>
                    <a:pt x="929" y="216"/>
                  </a:lnTo>
                  <a:lnTo>
                    <a:pt x="927" y="229"/>
                  </a:lnTo>
                  <a:lnTo>
                    <a:pt x="923" y="235"/>
                  </a:lnTo>
                  <a:lnTo>
                    <a:pt x="914" y="244"/>
                  </a:lnTo>
                  <a:lnTo>
                    <a:pt x="914" y="247"/>
                  </a:lnTo>
                  <a:lnTo>
                    <a:pt x="916" y="249"/>
                  </a:lnTo>
                  <a:lnTo>
                    <a:pt x="929" y="254"/>
                  </a:lnTo>
                  <a:lnTo>
                    <a:pt x="935" y="258"/>
                  </a:lnTo>
                  <a:lnTo>
                    <a:pt x="950" y="276"/>
                  </a:lnTo>
                  <a:lnTo>
                    <a:pt x="958" y="280"/>
                  </a:lnTo>
                  <a:lnTo>
                    <a:pt x="966" y="283"/>
                  </a:lnTo>
                  <a:lnTo>
                    <a:pt x="979" y="281"/>
                  </a:lnTo>
                  <a:lnTo>
                    <a:pt x="982" y="282"/>
                  </a:lnTo>
                  <a:lnTo>
                    <a:pt x="984" y="285"/>
                  </a:lnTo>
                  <a:lnTo>
                    <a:pt x="987" y="296"/>
                  </a:lnTo>
                  <a:lnTo>
                    <a:pt x="992" y="300"/>
                  </a:lnTo>
                  <a:lnTo>
                    <a:pt x="1000" y="301"/>
                  </a:lnTo>
                  <a:lnTo>
                    <a:pt x="1012" y="297"/>
                  </a:lnTo>
                  <a:lnTo>
                    <a:pt x="1022" y="296"/>
                  </a:lnTo>
                  <a:lnTo>
                    <a:pt x="1030" y="296"/>
                  </a:lnTo>
                  <a:lnTo>
                    <a:pt x="1034" y="298"/>
                  </a:lnTo>
                  <a:lnTo>
                    <a:pt x="1038" y="307"/>
                  </a:lnTo>
                  <a:lnTo>
                    <a:pt x="1042" y="347"/>
                  </a:lnTo>
                  <a:lnTo>
                    <a:pt x="1047" y="361"/>
                  </a:lnTo>
                  <a:lnTo>
                    <a:pt x="1051" y="368"/>
                  </a:lnTo>
                  <a:lnTo>
                    <a:pt x="1069" y="385"/>
                  </a:lnTo>
                  <a:lnTo>
                    <a:pt x="1077" y="389"/>
                  </a:lnTo>
                  <a:lnTo>
                    <a:pt x="1078" y="393"/>
                  </a:lnTo>
                  <a:lnTo>
                    <a:pt x="1075" y="418"/>
                  </a:lnTo>
                  <a:lnTo>
                    <a:pt x="1067" y="442"/>
                  </a:lnTo>
                  <a:lnTo>
                    <a:pt x="1063" y="466"/>
                  </a:lnTo>
                  <a:lnTo>
                    <a:pt x="1060" y="470"/>
                  </a:lnTo>
                  <a:lnTo>
                    <a:pt x="1054" y="480"/>
                  </a:lnTo>
                  <a:lnTo>
                    <a:pt x="1052" y="484"/>
                  </a:lnTo>
                  <a:lnTo>
                    <a:pt x="1052" y="502"/>
                  </a:lnTo>
                  <a:lnTo>
                    <a:pt x="1054" y="504"/>
                  </a:lnTo>
                  <a:lnTo>
                    <a:pt x="1063" y="511"/>
                  </a:lnTo>
                  <a:lnTo>
                    <a:pt x="1063" y="514"/>
                  </a:lnTo>
                  <a:lnTo>
                    <a:pt x="1060" y="518"/>
                  </a:lnTo>
                  <a:lnTo>
                    <a:pt x="1054" y="524"/>
                  </a:lnTo>
                  <a:lnTo>
                    <a:pt x="1045" y="529"/>
                  </a:lnTo>
                  <a:lnTo>
                    <a:pt x="1041" y="534"/>
                  </a:lnTo>
                  <a:lnTo>
                    <a:pt x="1039" y="542"/>
                  </a:lnTo>
                  <a:lnTo>
                    <a:pt x="1036" y="548"/>
                  </a:lnTo>
                  <a:lnTo>
                    <a:pt x="1012" y="566"/>
                  </a:lnTo>
                  <a:lnTo>
                    <a:pt x="1003" y="571"/>
                  </a:lnTo>
                  <a:lnTo>
                    <a:pt x="988" y="574"/>
                  </a:lnTo>
                  <a:lnTo>
                    <a:pt x="984" y="573"/>
                  </a:lnTo>
                  <a:lnTo>
                    <a:pt x="980" y="570"/>
                  </a:lnTo>
                  <a:lnTo>
                    <a:pt x="968" y="553"/>
                  </a:lnTo>
                  <a:lnTo>
                    <a:pt x="966" y="551"/>
                  </a:lnTo>
                  <a:lnTo>
                    <a:pt x="963" y="551"/>
                  </a:lnTo>
                  <a:lnTo>
                    <a:pt x="952" y="559"/>
                  </a:lnTo>
                  <a:lnTo>
                    <a:pt x="945" y="559"/>
                  </a:lnTo>
                  <a:lnTo>
                    <a:pt x="934" y="571"/>
                  </a:lnTo>
                  <a:lnTo>
                    <a:pt x="917" y="577"/>
                  </a:lnTo>
                  <a:lnTo>
                    <a:pt x="904" y="590"/>
                  </a:lnTo>
                  <a:lnTo>
                    <a:pt x="894" y="595"/>
                  </a:lnTo>
                  <a:lnTo>
                    <a:pt x="892" y="599"/>
                  </a:lnTo>
                  <a:lnTo>
                    <a:pt x="892" y="604"/>
                  </a:lnTo>
                  <a:lnTo>
                    <a:pt x="893" y="622"/>
                  </a:lnTo>
                  <a:lnTo>
                    <a:pt x="898" y="632"/>
                  </a:lnTo>
                  <a:lnTo>
                    <a:pt x="908" y="644"/>
                  </a:lnTo>
                  <a:lnTo>
                    <a:pt x="911" y="650"/>
                  </a:lnTo>
                  <a:lnTo>
                    <a:pt x="914" y="662"/>
                  </a:lnTo>
                  <a:lnTo>
                    <a:pt x="913" y="673"/>
                  </a:lnTo>
                  <a:lnTo>
                    <a:pt x="911" y="675"/>
                  </a:lnTo>
                  <a:lnTo>
                    <a:pt x="901" y="679"/>
                  </a:lnTo>
                  <a:lnTo>
                    <a:pt x="896" y="688"/>
                  </a:lnTo>
                  <a:lnTo>
                    <a:pt x="883" y="691"/>
                  </a:lnTo>
                  <a:lnTo>
                    <a:pt x="879" y="703"/>
                  </a:lnTo>
                  <a:lnTo>
                    <a:pt x="877" y="708"/>
                  </a:lnTo>
                  <a:lnTo>
                    <a:pt x="861" y="713"/>
                  </a:lnTo>
                  <a:lnTo>
                    <a:pt x="857" y="720"/>
                  </a:lnTo>
                  <a:lnTo>
                    <a:pt x="852" y="733"/>
                  </a:lnTo>
                  <a:lnTo>
                    <a:pt x="846" y="740"/>
                  </a:lnTo>
                  <a:lnTo>
                    <a:pt x="843" y="749"/>
                  </a:lnTo>
                  <a:lnTo>
                    <a:pt x="843" y="754"/>
                  </a:lnTo>
                  <a:lnTo>
                    <a:pt x="843" y="758"/>
                  </a:lnTo>
                  <a:lnTo>
                    <a:pt x="850" y="772"/>
                  </a:lnTo>
                  <a:lnTo>
                    <a:pt x="849" y="779"/>
                  </a:lnTo>
                  <a:lnTo>
                    <a:pt x="843" y="791"/>
                  </a:lnTo>
                  <a:lnTo>
                    <a:pt x="841" y="803"/>
                  </a:lnTo>
                  <a:lnTo>
                    <a:pt x="843" y="822"/>
                  </a:lnTo>
                  <a:lnTo>
                    <a:pt x="848" y="836"/>
                  </a:lnTo>
                  <a:lnTo>
                    <a:pt x="851" y="839"/>
                  </a:lnTo>
                  <a:lnTo>
                    <a:pt x="871" y="858"/>
                  </a:lnTo>
                  <a:lnTo>
                    <a:pt x="894" y="867"/>
                  </a:lnTo>
                  <a:lnTo>
                    <a:pt x="897" y="875"/>
                  </a:lnTo>
                  <a:lnTo>
                    <a:pt x="899" y="877"/>
                  </a:lnTo>
                  <a:lnTo>
                    <a:pt x="904" y="878"/>
                  </a:lnTo>
                  <a:lnTo>
                    <a:pt x="913" y="875"/>
                  </a:lnTo>
                  <a:lnTo>
                    <a:pt x="917" y="877"/>
                  </a:lnTo>
                  <a:lnTo>
                    <a:pt x="916" y="892"/>
                  </a:lnTo>
                  <a:lnTo>
                    <a:pt x="927" y="905"/>
                  </a:lnTo>
                  <a:lnTo>
                    <a:pt x="930" y="909"/>
                  </a:lnTo>
                  <a:lnTo>
                    <a:pt x="934" y="928"/>
                  </a:lnTo>
                  <a:lnTo>
                    <a:pt x="951" y="959"/>
                  </a:lnTo>
                  <a:lnTo>
                    <a:pt x="959" y="983"/>
                  </a:lnTo>
                  <a:lnTo>
                    <a:pt x="964" y="989"/>
                  </a:lnTo>
                  <a:lnTo>
                    <a:pt x="974" y="998"/>
                  </a:lnTo>
                  <a:lnTo>
                    <a:pt x="977" y="1002"/>
                  </a:lnTo>
                  <a:lnTo>
                    <a:pt x="977" y="1005"/>
                  </a:lnTo>
                  <a:lnTo>
                    <a:pt x="970" y="1018"/>
                  </a:lnTo>
                  <a:lnTo>
                    <a:pt x="971" y="1024"/>
                  </a:lnTo>
                  <a:lnTo>
                    <a:pt x="971" y="1025"/>
                  </a:lnTo>
                  <a:lnTo>
                    <a:pt x="989" y="1024"/>
                  </a:lnTo>
                  <a:lnTo>
                    <a:pt x="999" y="1026"/>
                  </a:lnTo>
                  <a:lnTo>
                    <a:pt x="1004" y="1031"/>
                  </a:lnTo>
                  <a:lnTo>
                    <a:pt x="1007" y="1039"/>
                  </a:lnTo>
                  <a:lnTo>
                    <a:pt x="1006" y="1045"/>
                  </a:lnTo>
                  <a:lnTo>
                    <a:pt x="1000" y="1060"/>
                  </a:lnTo>
                  <a:lnTo>
                    <a:pt x="985" y="1093"/>
                  </a:lnTo>
                  <a:lnTo>
                    <a:pt x="968" y="1124"/>
                  </a:lnTo>
                  <a:lnTo>
                    <a:pt x="963" y="1143"/>
                  </a:lnTo>
                  <a:lnTo>
                    <a:pt x="951" y="1156"/>
                  </a:lnTo>
                  <a:lnTo>
                    <a:pt x="947" y="1168"/>
                  </a:lnTo>
                  <a:lnTo>
                    <a:pt x="943" y="1183"/>
                  </a:lnTo>
                  <a:lnTo>
                    <a:pt x="940" y="1193"/>
                  </a:lnTo>
                  <a:lnTo>
                    <a:pt x="931" y="1207"/>
                  </a:lnTo>
                  <a:lnTo>
                    <a:pt x="919" y="1218"/>
                  </a:lnTo>
                  <a:lnTo>
                    <a:pt x="915" y="1240"/>
                  </a:lnTo>
                  <a:lnTo>
                    <a:pt x="916" y="1246"/>
                  </a:lnTo>
                  <a:lnTo>
                    <a:pt x="920" y="1252"/>
                  </a:lnTo>
                  <a:lnTo>
                    <a:pt x="920" y="1256"/>
                  </a:lnTo>
                  <a:lnTo>
                    <a:pt x="913" y="1275"/>
                  </a:lnTo>
                  <a:lnTo>
                    <a:pt x="913" y="1282"/>
                  </a:lnTo>
                  <a:lnTo>
                    <a:pt x="914" y="1288"/>
                  </a:lnTo>
                  <a:lnTo>
                    <a:pt x="922" y="1304"/>
                  </a:lnTo>
                  <a:lnTo>
                    <a:pt x="922" y="1308"/>
                  </a:lnTo>
                  <a:lnTo>
                    <a:pt x="922" y="1310"/>
                  </a:lnTo>
                  <a:lnTo>
                    <a:pt x="917" y="1316"/>
                  </a:lnTo>
                  <a:lnTo>
                    <a:pt x="913" y="1319"/>
                  </a:lnTo>
                  <a:lnTo>
                    <a:pt x="910" y="1318"/>
                  </a:lnTo>
                  <a:lnTo>
                    <a:pt x="906" y="1311"/>
                  </a:lnTo>
                  <a:lnTo>
                    <a:pt x="904" y="1311"/>
                  </a:lnTo>
                  <a:lnTo>
                    <a:pt x="901" y="1312"/>
                  </a:lnTo>
                  <a:lnTo>
                    <a:pt x="897" y="1318"/>
                  </a:lnTo>
                  <a:lnTo>
                    <a:pt x="894" y="1337"/>
                  </a:lnTo>
                  <a:lnTo>
                    <a:pt x="890" y="1345"/>
                  </a:lnTo>
                  <a:lnTo>
                    <a:pt x="887" y="1345"/>
                  </a:lnTo>
                  <a:lnTo>
                    <a:pt x="879" y="1344"/>
                  </a:lnTo>
                  <a:lnTo>
                    <a:pt x="876" y="1344"/>
                  </a:lnTo>
                  <a:lnTo>
                    <a:pt x="863" y="1361"/>
                  </a:lnTo>
                  <a:lnTo>
                    <a:pt x="857" y="1361"/>
                  </a:lnTo>
                  <a:lnTo>
                    <a:pt x="842" y="1358"/>
                  </a:lnTo>
                  <a:lnTo>
                    <a:pt x="839" y="1359"/>
                  </a:lnTo>
                  <a:lnTo>
                    <a:pt x="838" y="1361"/>
                  </a:lnTo>
                  <a:lnTo>
                    <a:pt x="839" y="1370"/>
                  </a:lnTo>
                  <a:lnTo>
                    <a:pt x="846" y="1376"/>
                  </a:lnTo>
                  <a:lnTo>
                    <a:pt x="841" y="1385"/>
                  </a:lnTo>
                  <a:lnTo>
                    <a:pt x="840" y="1394"/>
                  </a:lnTo>
                  <a:lnTo>
                    <a:pt x="843" y="1395"/>
                  </a:lnTo>
                  <a:lnTo>
                    <a:pt x="858" y="1398"/>
                  </a:lnTo>
                  <a:lnTo>
                    <a:pt x="860" y="1400"/>
                  </a:lnTo>
                  <a:lnTo>
                    <a:pt x="861" y="1406"/>
                  </a:lnTo>
                  <a:lnTo>
                    <a:pt x="868" y="1410"/>
                  </a:lnTo>
                  <a:lnTo>
                    <a:pt x="869" y="1413"/>
                  </a:lnTo>
                  <a:lnTo>
                    <a:pt x="871" y="1424"/>
                  </a:lnTo>
                  <a:lnTo>
                    <a:pt x="867" y="1435"/>
                  </a:lnTo>
                  <a:lnTo>
                    <a:pt x="867" y="1440"/>
                  </a:lnTo>
                  <a:lnTo>
                    <a:pt x="868" y="1445"/>
                  </a:lnTo>
                  <a:lnTo>
                    <a:pt x="877" y="1453"/>
                  </a:lnTo>
                  <a:lnTo>
                    <a:pt x="892" y="1461"/>
                  </a:lnTo>
                  <a:lnTo>
                    <a:pt x="901" y="1467"/>
                  </a:lnTo>
                  <a:lnTo>
                    <a:pt x="909" y="1475"/>
                  </a:lnTo>
                  <a:lnTo>
                    <a:pt x="913" y="1483"/>
                  </a:lnTo>
                  <a:lnTo>
                    <a:pt x="913" y="1483"/>
                  </a:lnTo>
                  <a:lnTo>
                    <a:pt x="913" y="1483"/>
                  </a:lnTo>
                  <a:lnTo>
                    <a:pt x="913" y="148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5" name="陕西">
              <a:extLst>
                <a:ext uri="{FF2B5EF4-FFF2-40B4-BE49-F238E27FC236}">
                  <a16:creationId xmlns:a16="http://schemas.microsoft.com/office/drawing/2014/main" id="{301DB232-D501-4C16-4A5B-F430917D1B48}"/>
                </a:ext>
              </a:extLst>
            </p:cNvPr>
            <p:cNvSpPr>
              <a:spLocks/>
            </p:cNvSpPr>
            <p:nvPr/>
          </p:nvSpPr>
          <p:spPr bwMode="auto">
            <a:xfrm>
              <a:off x="5707064" y="2822576"/>
              <a:ext cx="828675" cy="1411288"/>
            </a:xfrm>
            <a:custGeom>
              <a:avLst/>
              <a:gdLst>
                <a:gd name="T0" fmla="*/ 928 w 1565"/>
                <a:gd name="T1" fmla="*/ 2554 h 2667"/>
                <a:gd name="T2" fmla="*/ 742 w 1565"/>
                <a:gd name="T3" fmla="*/ 2484 h 2667"/>
                <a:gd name="T4" fmla="*/ 657 w 1565"/>
                <a:gd name="T5" fmla="*/ 2495 h 2667"/>
                <a:gd name="T6" fmla="*/ 545 w 1565"/>
                <a:gd name="T7" fmla="*/ 2420 h 2667"/>
                <a:gd name="T8" fmla="*/ 435 w 1565"/>
                <a:gd name="T9" fmla="*/ 2395 h 2667"/>
                <a:gd name="T10" fmla="*/ 346 w 1565"/>
                <a:gd name="T11" fmla="*/ 2297 h 2667"/>
                <a:gd name="T12" fmla="*/ 184 w 1565"/>
                <a:gd name="T13" fmla="*/ 2315 h 2667"/>
                <a:gd name="T14" fmla="*/ 91 w 1565"/>
                <a:gd name="T15" fmla="*/ 2276 h 2667"/>
                <a:gd name="T16" fmla="*/ 29 w 1565"/>
                <a:gd name="T17" fmla="*/ 2246 h 2667"/>
                <a:gd name="T18" fmla="*/ 134 w 1565"/>
                <a:gd name="T19" fmla="*/ 2141 h 2667"/>
                <a:gd name="T20" fmla="*/ 63 w 1565"/>
                <a:gd name="T21" fmla="*/ 2069 h 2667"/>
                <a:gd name="T22" fmla="*/ 189 w 1565"/>
                <a:gd name="T23" fmla="*/ 2021 h 2667"/>
                <a:gd name="T24" fmla="*/ 267 w 1565"/>
                <a:gd name="T25" fmla="*/ 2035 h 2667"/>
                <a:gd name="T26" fmla="*/ 285 w 1565"/>
                <a:gd name="T27" fmla="*/ 1929 h 2667"/>
                <a:gd name="T28" fmla="*/ 310 w 1565"/>
                <a:gd name="T29" fmla="*/ 1826 h 2667"/>
                <a:gd name="T30" fmla="*/ 337 w 1565"/>
                <a:gd name="T31" fmla="*/ 1791 h 2667"/>
                <a:gd name="T32" fmla="*/ 257 w 1565"/>
                <a:gd name="T33" fmla="*/ 1668 h 2667"/>
                <a:gd name="T34" fmla="*/ 294 w 1565"/>
                <a:gd name="T35" fmla="*/ 1556 h 2667"/>
                <a:gd name="T36" fmla="*/ 454 w 1565"/>
                <a:gd name="T37" fmla="*/ 1535 h 2667"/>
                <a:gd name="T38" fmla="*/ 573 w 1565"/>
                <a:gd name="T39" fmla="*/ 1577 h 2667"/>
                <a:gd name="T40" fmla="*/ 622 w 1565"/>
                <a:gd name="T41" fmla="*/ 1481 h 2667"/>
                <a:gd name="T42" fmla="*/ 688 w 1565"/>
                <a:gd name="T43" fmla="*/ 1459 h 2667"/>
                <a:gd name="T44" fmla="*/ 870 w 1565"/>
                <a:gd name="T45" fmla="*/ 1368 h 2667"/>
                <a:gd name="T46" fmla="*/ 887 w 1565"/>
                <a:gd name="T47" fmla="*/ 1139 h 2667"/>
                <a:gd name="T48" fmla="*/ 841 w 1565"/>
                <a:gd name="T49" fmla="*/ 1051 h 2667"/>
                <a:gd name="T50" fmla="*/ 720 w 1565"/>
                <a:gd name="T51" fmla="*/ 1000 h 2667"/>
                <a:gd name="T52" fmla="*/ 589 w 1565"/>
                <a:gd name="T53" fmla="*/ 915 h 2667"/>
                <a:gd name="T54" fmla="*/ 533 w 1565"/>
                <a:gd name="T55" fmla="*/ 827 h 2667"/>
                <a:gd name="T56" fmla="*/ 537 w 1565"/>
                <a:gd name="T57" fmla="*/ 705 h 2667"/>
                <a:gd name="T58" fmla="*/ 584 w 1565"/>
                <a:gd name="T59" fmla="*/ 626 h 2667"/>
                <a:gd name="T60" fmla="*/ 656 w 1565"/>
                <a:gd name="T61" fmla="*/ 580 h 2667"/>
                <a:gd name="T62" fmla="*/ 920 w 1565"/>
                <a:gd name="T63" fmla="*/ 642 h 2667"/>
                <a:gd name="T64" fmla="*/ 963 w 1565"/>
                <a:gd name="T65" fmla="*/ 559 h 2667"/>
                <a:gd name="T66" fmla="*/ 989 w 1565"/>
                <a:gd name="T67" fmla="*/ 386 h 2667"/>
                <a:gd name="T68" fmla="*/ 1101 w 1565"/>
                <a:gd name="T69" fmla="*/ 262 h 2667"/>
                <a:gd name="T70" fmla="*/ 1217 w 1565"/>
                <a:gd name="T71" fmla="*/ 133 h 2667"/>
                <a:gd name="T72" fmla="*/ 1271 w 1565"/>
                <a:gd name="T73" fmla="*/ 51 h 2667"/>
                <a:gd name="T74" fmla="*/ 1360 w 1565"/>
                <a:gd name="T75" fmla="*/ 71 h 2667"/>
                <a:gd name="T76" fmla="*/ 1464 w 1565"/>
                <a:gd name="T77" fmla="*/ 28 h 2667"/>
                <a:gd name="T78" fmla="*/ 1538 w 1565"/>
                <a:gd name="T79" fmla="*/ 74 h 2667"/>
                <a:gd name="T80" fmla="*/ 1493 w 1565"/>
                <a:gd name="T81" fmla="*/ 202 h 2667"/>
                <a:gd name="T82" fmla="*/ 1409 w 1565"/>
                <a:gd name="T83" fmla="*/ 427 h 2667"/>
                <a:gd name="T84" fmla="*/ 1397 w 1565"/>
                <a:gd name="T85" fmla="*/ 573 h 2667"/>
                <a:gd name="T86" fmla="*/ 1445 w 1565"/>
                <a:gd name="T87" fmla="*/ 683 h 2667"/>
                <a:gd name="T88" fmla="*/ 1376 w 1565"/>
                <a:gd name="T89" fmla="*/ 836 h 2667"/>
                <a:gd name="T90" fmla="*/ 1348 w 1565"/>
                <a:gd name="T91" fmla="*/ 934 h 2667"/>
                <a:gd name="T92" fmla="*/ 1361 w 1565"/>
                <a:gd name="T93" fmla="*/ 1165 h 2667"/>
                <a:gd name="T94" fmla="*/ 1336 w 1565"/>
                <a:gd name="T95" fmla="*/ 1518 h 2667"/>
                <a:gd name="T96" fmla="*/ 1353 w 1565"/>
                <a:gd name="T97" fmla="*/ 1702 h 2667"/>
                <a:gd name="T98" fmla="*/ 1358 w 1565"/>
                <a:gd name="T99" fmla="*/ 1799 h 2667"/>
                <a:gd name="T100" fmla="*/ 1423 w 1565"/>
                <a:gd name="T101" fmla="*/ 1902 h 2667"/>
                <a:gd name="T102" fmla="*/ 1525 w 1565"/>
                <a:gd name="T103" fmla="*/ 2043 h 2667"/>
                <a:gd name="T104" fmla="*/ 1493 w 1565"/>
                <a:gd name="T105" fmla="*/ 2163 h 2667"/>
                <a:gd name="T106" fmla="*/ 1394 w 1565"/>
                <a:gd name="T107" fmla="*/ 2148 h 2667"/>
                <a:gd name="T108" fmla="*/ 1276 w 1565"/>
                <a:gd name="T109" fmla="*/ 2163 h 2667"/>
                <a:gd name="T110" fmla="*/ 1091 w 1565"/>
                <a:gd name="T111" fmla="*/ 2175 h 2667"/>
                <a:gd name="T112" fmla="*/ 1210 w 1565"/>
                <a:gd name="T113" fmla="*/ 2264 h 2667"/>
                <a:gd name="T114" fmla="*/ 1242 w 1565"/>
                <a:gd name="T115" fmla="*/ 2383 h 2667"/>
                <a:gd name="T116" fmla="*/ 1100 w 1565"/>
                <a:gd name="T117" fmla="*/ 2437 h 2667"/>
                <a:gd name="T118" fmla="*/ 1131 w 1565"/>
                <a:gd name="T119" fmla="*/ 2590 h 2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5" h="2667">
                  <a:moveTo>
                    <a:pt x="1124" y="2657"/>
                  </a:moveTo>
                  <a:lnTo>
                    <a:pt x="1095" y="2660"/>
                  </a:lnTo>
                  <a:lnTo>
                    <a:pt x="1060" y="2667"/>
                  </a:lnTo>
                  <a:lnTo>
                    <a:pt x="1048" y="2664"/>
                  </a:lnTo>
                  <a:lnTo>
                    <a:pt x="1044" y="2657"/>
                  </a:lnTo>
                  <a:lnTo>
                    <a:pt x="1039" y="2648"/>
                  </a:lnTo>
                  <a:lnTo>
                    <a:pt x="1046" y="2636"/>
                  </a:lnTo>
                  <a:lnTo>
                    <a:pt x="1044" y="2633"/>
                  </a:lnTo>
                  <a:lnTo>
                    <a:pt x="1024" y="2625"/>
                  </a:lnTo>
                  <a:lnTo>
                    <a:pt x="1018" y="2615"/>
                  </a:lnTo>
                  <a:lnTo>
                    <a:pt x="965" y="2574"/>
                  </a:lnTo>
                  <a:lnTo>
                    <a:pt x="958" y="2570"/>
                  </a:lnTo>
                  <a:lnTo>
                    <a:pt x="945" y="2566"/>
                  </a:lnTo>
                  <a:lnTo>
                    <a:pt x="936" y="2558"/>
                  </a:lnTo>
                  <a:lnTo>
                    <a:pt x="928" y="2554"/>
                  </a:lnTo>
                  <a:lnTo>
                    <a:pt x="900" y="2548"/>
                  </a:lnTo>
                  <a:lnTo>
                    <a:pt x="893" y="2534"/>
                  </a:lnTo>
                  <a:lnTo>
                    <a:pt x="889" y="2531"/>
                  </a:lnTo>
                  <a:lnTo>
                    <a:pt x="865" y="2527"/>
                  </a:lnTo>
                  <a:lnTo>
                    <a:pt x="832" y="2491"/>
                  </a:lnTo>
                  <a:lnTo>
                    <a:pt x="832" y="2491"/>
                  </a:lnTo>
                  <a:lnTo>
                    <a:pt x="821" y="2476"/>
                  </a:lnTo>
                  <a:lnTo>
                    <a:pt x="817" y="2471"/>
                  </a:lnTo>
                  <a:lnTo>
                    <a:pt x="799" y="2478"/>
                  </a:lnTo>
                  <a:lnTo>
                    <a:pt x="784" y="2479"/>
                  </a:lnTo>
                  <a:lnTo>
                    <a:pt x="772" y="2486"/>
                  </a:lnTo>
                  <a:lnTo>
                    <a:pt x="754" y="2474"/>
                  </a:lnTo>
                  <a:lnTo>
                    <a:pt x="750" y="2474"/>
                  </a:lnTo>
                  <a:lnTo>
                    <a:pt x="747" y="2476"/>
                  </a:lnTo>
                  <a:lnTo>
                    <a:pt x="742" y="2484"/>
                  </a:lnTo>
                  <a:lnTo>
                    <a:pt x="738" y="2487"/>
                  </a:lnTo>
                  <a:lnTo>
                    <a:pt x="727" y="2486"/>
                  </a:lnTo>
                  <a:lnTo>
                    <a:pt x="722" y="2490"/>
                  </a:lnTo>
                  <a:lnTo>
                    <a:pt x="719" y="2490"/>
                  </a:lnTo>
                  <a:lnTo>
                    <a:pt x="712" y="2486"/>
                  </a:lnTo>
                  <a:lnTo>
                    <a:pt x="708" y="2484"/>
                  </a:lnTo>
                  <a:lnTo>
                    <a:pt x="695" y="2490"/>
                  </a:lnTo>
                  <a:lnTo>
                    <a:pt x="690" y="2495"/>
                  </a:lnTo>
                  <a:lnTo>
                    <a:pt x="683" y="2508"/>
                  </a:lnTo>
                  <a:lnTo>
                    <a:pt x="678" y="2510"/>
                  </a:lnTo>
                  <a:lnTo>
                    <a:pt x="674" y="2510"/>
                  </a:lnTo>
                  <a:lnTo>
                    <a:pt x="669" y="2506"/>
                  </a:lnTo>
                  <a:lnTo>
                    <a:pt x="664" y="2498"/>
                  </a:lnTo>
                  <a:lnTo>
                    <a:pt x="661" y="2495"/>
                  </a:lnTo>
                  <a:lnTo>
                    <a:pt x="657" y="2495"/>
                  </a:lnTo>
                  <a:lnTo>
                    <a:pt x="651" y="2496"/>
                  </a:lnTo>
                  <a:lnTo>
                    <a:pt x="648" y="2495"/>
                  </a:lnTo>
                  <a:lnTo>
                    <a:pt x="640" y="2490"/>
                  </a:lnTo>
                  <a:lnTo>
                    <a:pt x="634" y="2482"/>
                  </a:lnTo>
                  <a:lnTo>
                    <a:pt x="622" y="2457"/>
                  </a:lnTo>
                  <a:lnTo>
                    <a:pt x="617" y="2453"/>
                  </a:lnTo>
                  <a:lnTo>
                    <a:pt x="609" y="2452"/>
                  </a:lnTo>
                  <a:lnTo>
                    <a:pt x="604" y="2450"/>
                  </a:lnTo>
                  <a:lnTo>
                    <a:pt x="600" y="2444"/>
                  </a:lnTo>
                  <a:lnTo>
                    <a:pt x="594" y="2435"/>
                  </a:lnTo>
                  <a:lnTo>
                    <a:pt x="587" y="2428"/>
                  </a:lnTo>
                  <a:lnTo>
                    <a:pt x="582" y="2426"/>
                  </a:lnTo>
                  <a:lnTo>
                    <a:pt x="574" y="2425"/>
                  </a:lnTo>
                  <a:lnTo>
                    <a:pt x="552" y="2428"/>
                  </a:lnTo>
                  <a:lnTo>
                    <a:pt x="545" y="2420"/>
                  </a:lnTo>
                  <a:lnTo>
                    <a:pt x="534" y="2417"/>
                  </a:lnTo>
                  <a:lnTo>
                    <a:pt x="534" y="2409"/>
                  </a:lnTo>
                  <a:lnTo>
                    <a:pt x="529" y="2398"/>
                  </a:lnTo>
                  <a:lnTo>
                    <a:pt x="528" y="2392"/>
                  </a:lnTo>
                  <a:lnTo>
                    <a:pt x="528" y="2384"/>
                  </a:lnTo>
                  <a:lnTo>
                    <a:pt x="526" y="2381"/>
                  </a:lnTo>
                  <a:lnTo>
                    <a:pt x="516" y="2379"/>
                  </a:lnTo>
                  <a:lnTo>
                    <a:pt x="510" y="2381"/>
                  </a:lnTo>
                  <a:lnTo>
                    <a:pt x="495" y="2397"/>
                  </a:lnTo>
                  <a:lnTo>
                    <a:pt x="483" y="2416"/>
                  </a:lnTo>
                  <a:lnTo>
                    <a:pt x="477" y="2420"/>
                  </a:lnTo>
                  <a:lnTo>
                    <a:pt x="471" y="2417"/>
                  </a:lnTo>
                  <a:lnTo>
                    <a:pt x="461" y="2405"/>
                  </a:lnTo>
                  <a:lnTo>
                    <a:pt x="456" y="2401"/>
                  </a:lnTo>
                  <a:lnTo>
                    <a:pt x="435" y="2395"/>
                  </a:lnTo>
                  <a:lnTo>
                    <a:pt x="431" y="2388"/>
                  </a:lnTo>
                  <a:lnTo>
                    <a:pt x="422" y="2383"/>
                  </a:lnTo>
                  <a:lnTo>
                    <a:pt x="420" y="2380"/>
                  </a:lnTo>
                  <a:lnTo>
                    <a:pt x="421" y="2372"/>
                  </a:lnTo>
                  <a:lnTo>
                    <a:pt x="426" y="2353"/>
                  </a:lnTo>
                  <a:lnTo>
                    <a:pt x="427" y="2344"/>
                  </a:lnTo>
                  <a:lnTo>
                    <a:pt x="429" y="2325"/>
                  </a:lnTo>
                  <a:lnTo>
                    <a:pt x="427" y="2316"/>
                  </a:lnTo>
                  <a:lnTo>
                    <a:pt x="426" y="2314"/>
                  </a:lnTo>
                  <a:lnTo>
                    <a:pt x="416" y="2313"/>
                  </a:lnTo>
                  <a:lnTo>
                    <a:pt x="385" y="2312"/>
                  </a:lnTo>
                  <a:lnTo>
                    <a:pt x="355" y="2315"/>
                  </a:lnTo>
                  <a:lnTo>
                    <a:pt x="353" y="2314"/>
                  </a:lnTo>
                  <a:lnTo>
                    <a:pt x="351" y="2299"/>
                  </a:lnTo>
                  <a:lnTo>
                    <a:pt x="346" y="2297"/>
                  </a:lnTo>
                  <a:lnTo>
                    <a:pt x="339" y="2298"/>
                  </a:lnTo>
                  <a:lnTo>
                    <a:pt x="331" y="2300"/>
                  </a:lnTo>
                  <a:lnTo>
                    <a:pt x="317" y="2315"/>
                  </a:lnTo>
                  <a:lnTo>
                    <a:pt x="311" y="2320"/>
                  </a:lnTo>
                  <a:lnTo>
                    <a:pt x="294" y="2323"/>
                  </a:lnTo>
                  <a:lnTo>
                    <a:pt x="264" y="2325"/>
                  </a:lnTo>
                  <a:lnTo>
                    <a:pt x="261" y="2327"/>
                  </a:lnTo>
                  <a:lnTo>
                    <a:pt x="251" y="2340"/>
                  </a:lnTo>
                  <a:lnTo>
                    <a:pt x="248" y="2341"/>
                  </a:lnTo>
                  <a:lnTo>
                    <a:pt x="245" y="2341"/>
                  </a:lnTo>
                  <a:lnTo>
                    <a:pt x="240" y="2338"/>
                  </a:lnTo>
                  <a:lnTo>
                    <a:pt x="234" y="2330"/>
                  </a:lnTo>
                  <a:lnTo>
                    <a:pt x="228" y="2326"/>
                  </a:lnTo>
                  <a:lnTo>
                    <a:pt x="221" y="2323"/>
                  </a:lnTo>
                  <a:lnTo>
                    <a:pt x="184" y="2315"/>
                  </a:lnTo>
                  <a:lnTo>
                    <a:pt x="167" y="2302"/>
                  </a:lnTo>
                  <a:lnTo>
                    <a:pt x="163" y="2295"/>
                  </a:lnTo>
                  <a:lnTo>
                    <a:pt x="162" y="2285"/>
                  </a:lnTo>
                  <a:lnTo>
                    <a:pt x="162" y="2280"/>
                  </a:lnTo>
                  <a:lnTo>
                    <a:pt x="166" y="2268"/>
                  </a:lnTo>
                  <a:lnTo>
                    <a:pt x="160" y="2250"/>
                  </a:lnTo>
                  <a:lnTo>
                    <a:pt x="155" y="2249"/>
                  </a:lnTo>
                  <a:lnTo>
                    <a:pt x="152" y="2250"/>
                  </a:lnTo>
                  <a:lnTo>
                    <a:pt x="143" y="2258"/>
                  </a:lnTo>
                  <a:lnTo>
                    <a:pt x="137" y="2260"/>
                  </a:lnTo>
                  <a:lnTo>
                    <a:pt x="130" y="2260"/>
                  </a:lnTo>
                  <a:lnTo>
                    <a:pt x="108" y="2264"/>
                  </a:lnTo>
                  <a:lnTo>
                    <a:pt x="96" y="2265"/>
                  </a:lnTo>
                  <a:lnTo>
                    <a:pt x="93" y="2268"/>
                  </a:lnTo>
                  <a:lnTo>
                    <a:pt x="91" y="2276"/>
                  </a:lnTo>
                  <a:lnTo>
                    <a:pt x="89" y="2280"/>
                  </a:lnTo>
                  <a:lnTo>
                    <a:pt x="80" y="2287"/>
                  </a:lnTo>
                  <a:lnTo>
                    <a:pt x="77" y="2287"/>
                  </a:lnTo>
                  <a:lnTo>
                    <a:pt x="70" y="2281"/>
                  </a:lnTo>
                  <a:lnTo>
                    <a:pt x="56" y="2289"/>
                  </a:lnTo>
                  <a:lnTo>
                    <a:pt x="38" y="2299"/>
                  </a:lnTo>
                  <a:lnTo>
                    <a:pt x="34" y="2301"/>
                  </a:lnTo>
                  <a:lnTo>
                    <a:pt x="29" y="2302"/>
                  </a:lnTo>
                  <a:lnTo>
                    <a:pt x="23" y="2299"/>
                  </a:lnTo>
                  <a:lnTo>
                    <a:pt x="20" y="2296"/>
                  </a:lnTo>
                  <a:lnTo>
                    <a:pt x="0" y="2233"/>
                  </a:lnTo>
                  <a:lnTo>
                    <a:pt x="0" y="2233"/>
                  </a:lnTo>
                  <a:lnTo>
                    <a:pt x="14" y="2237"/>
                  </a:lnTo>
                  <a:lnTo>
                    <a:pt x="23" y="2244"/>
                  </a:lnTo>
                  <a:lnTo>
                    <a:pt x="29" y="2246"/>
                  </a:lnTo>
                  <a:lnTo>
                    <a:pt x="65" y="2235"/>
                  </a:lnTo>
                  <a:lnTo>
                    <a:pt x="97" y="2224"/>
                  </a:lnTo>
                  <a:lnTo>
                    <a:pt x="107" y="2219"/>
                  </a:lnTo>
                  <a:lnTo>
                    <a:pt x="113" y="2209"/>
                  </a:lnTo>
                  <a:lnTo>
                    <a:pt x="116" y="2203"/>
                  </a:lnTo>
                  <a:lnTo>
                    <a:pt x="117" y="2196"/>
                  </a:lnTo>
                  <a:lnTo>
                    <a:pt x="118" y="2149"/>
                  </a:lnTo>
                  <a:lnTo>
                    <a:pt x="120" y="2147"/>
                  </a:lnTo>
                  <a:lnTo>
                    <a:pt x="123" y="2147"/>
                  </a:lnTo>
                  <a:lnTo>
                    <a:pt x="125" y="2150"/>
                  </a:lnTo>
                  <a:lnTo>
                    <a:pt x="128" y="2156"/>
                  </a:lnTo>
                  <a:lnTo>
                    <a:pt x="130" y="2156"/>
                  </a:lnTo>
                  <a:lnTo>
                    <a:pt x="132" y="2154"/>
                  </a:lnTo>
                  <a:lnTo>
                    <a:pt x="134" y="2150"/>
                  </a:lnTo>
                  <a:lnTo>
                    <a:pt x="134" y="2141"/>
                  </a:lnTo>
                  <a:lnTo>
                    <a:pt x="127" y="2135"/>
                  </a:lnTo>
                  <a:lnTo>
                    <a:pt x="116" y="2130"/>
                  </a:lnTo>
                  <a:lnTo>
                    <a:pt x="111" y="2128"/>
                  </a:lnTo>
                  <a:lnTo>
                    <a:pt x="100" y="2128"/>
                  </a:lnTo>
                  <a:lnTo>
                    <a:pt x="92" y="2124"/>
                  </a:lnTo>
                  <a:lnTo>
                    <a:pt x="83" y="2115"/>
                  </a:lnTo>
                  <a:lnTo>
                    <a:pt x="71" y="2104"/>
                  </a:lnTo>
                  <a:lnTo>
                    <a:pt x="71" y="2103"/>
                  </a:lnTo>
                  <a:lnTo>
                    <a:pt x="74" y="2092"/>
                  </a:lnTo>
                  <a:lnTo>
                    <a:pt x="74" y="2088"/>
                  </a:lnTo>
                  <a:lnTo>
                    <a:pt x="71" y="2084"/>
                  </a:lnTo>
                  <a:lnTo>
                    <a:pt x="62" y="2077"/>
                  </a:lnTo>
                  <a:lnTo>
                    <a:pt x="60" y="2073"/>
                  </a:lnTo>
                  <a:lnTo>
                    <a:pt x="61" y="2070"/>
                  </a:lnTo>
                  <a:lnTo>
                    <a:pt x="63" y="2069"/>
                  </a:lnTo>
                  <a:lnTo>
                    <a:pt x="83" y="2075"/>
                  </a:lnTo>
                  <a:lnTo>
                    <a:pt x="88" y="2075"/>
                  </a:lnTo>
                  <a:lnTo>
                    <a:pt x="92" y="2073"/>
                  </a:lnTo>
                  <a:lnTo>
                    <a:pt x="96" y="2067"/>
                  </a:lnTo>
                  <a:lnTo>
                    <a:pt x="98" y="2062"/>
                  </a:lnTo>
                  <a:lnTo>
                    <a:pt x="105" y="2041"/>
                  </a:lnTo>
                  <a:lnTo>
                    <a:pt x="110" y="2030"/>
                  </a:lnTo>
                  <a:lnTo>
                    <a:pt x="114" y="2025"/>
                  </a:lnTo>
                  <a:lnTo>
                    <a:pt x="134" y="2006"/>
                  </a:lnTo>
                  <a:lnTo>
                    <a:pt x="138" y="2004"/>
                  </a:lnTo>
                  <a:lnTo>
                    <a:pt x="143" y="2003"/>
                  </a:lnTo>
                  <a:lnTo>
                    <a:pt x="164" y="2003"/>
                  </a:lnTo>
                  <a:lnTo>
                    <a:pt x="171" y="2004"/>
                  </a:lnTo>
                  <a:lnTo>
                    <a:pt x="178" y="2008"/>
                  </a:lnTo>
                  <a:lnTo>
                    <a:pt x="189" y="2021"/>
                  </a:lnTo>
                  <a:lnTo>
                    <a:pt x="194" y="2024"/>
                  </a:lnTo>
                  <a:lnTo>
                    <a:pt x="203" y="2022"/>
                  </a:lnTo>
                  <a:lnTo>
                    <a:pt x="213" y="2017"/>
                  </a:lnTo>
                  <a:lnTo>
                    <a:pt x="216" y="2014"/>
                  </a:lnTo>
                  <a:lnTo>
                    <a:pt x="220" y="2008"/>
                  </a:lnTo>
                  <a:lnTo>
                    <a:pt x="223" y="2006"/>
                  </a:lnTo>
                  <a:lnTo>
                    <a:pt x="235" y="2007"/>
                  </a:lnTo>
                  <a:lnTo>
                    <a:pt x="239" y="2005"/>
                  </a:lnTo>
                  <a:lnTo>
                    <a:pt x="246" y="2001"/>
                  </a:lnTo>
                  <a:lnTo>
                    <a:pt x="250" y="1999"/>
                  </a:lnTo>
                  <a:lnTo>
                    <a:pt x="252" y="2002"/>
                  </a:lnTo>
                  <a:lnTo>
                    <a:pt x="254" y="2005"/>
                  </a:lnTo>
                  <a:lnTo>
                    <a:pt x="258" y="2022"/>
                  </a:lnTo>
                  <a:lnTo>
                    <a:pt x="262" y="2032"/>
                  </a:lnTo>
                  <a:lnTo>
                    <a:pt x="267" y="2035"/>
                  </a:lnTo>
                  <a:lnTo>
                    <a:pt x="274" y="2038"/>
                  </a:lnTo>
                  <a:lnTo>
                    <a:pt x="279" y="2037"/>
                  </a:lnTo>
                  <a:lnTo>
                    <a:pt x="285" y="2032"/>
                  </a:lnTo>
                  <a:lnTo>
                    <a:pt x="287" y="2027"/>
                  </a:lnTo>
                  <a:lnTo>
                    <a:pt x="291" y="2015"/>
                  </a:lnTo>
                  <a:lnTo>
                    <a:pt x="297" y="2009"/>
                  </a:lnTo>
                  <a:lnTo>
                    <a:pt x="296" y="2003"/>
                  </a:lnTo>
                  <a:lnTo>
                    <a:pt x="292" y="1992"/>
                  </a:lnTo>
                  <a:lnTo>
                    <a:pt x="276" y="1970"/>
                  </a:lnTo>
                  <a:lnTo>
                    <a:pt x="273" y="1953"/>
                  </a:lnTo>
                  <a:lnTo>
                    <a:pt x="274" y="1948"/>
                  </a:lnTo>
                  <a:lnTo>
                    <a:pt x="277" y="1941"/>
                  </a:lnTo>
                  <a:lnTo>
                    <a:pt x="281" y="1935"/>
                  </a:lnTo>
                  <a:lnTo>
                    <a:pt x="286" y="1932"/>
                  </a:lnTo>
                  <a:lnTo>
                    <a:pt x="285" y="1929"/>
                  </a:lnTo>
                  <a:lnTo>
                    <a:pt x="280" y="1917"/>
                  </a:lnTo>
                  <a:lnTo>
                    <a:pt x="273" y="1913"/>
                  </a:lnTo>
                  <a:lnTo>
                    <a:pt x="267" y="1913"/>
                  </a:lnTo>
                  <a:lnTo>
                    <a:pt x="264" y="1909"/>
                  </a:lnTo>
                  <a:lnTo>
                    <a:pt x="263" y="1905"/>
                  </a:lnTo>
                  <a:lnTo>
                    <a:pt x="265" y="1901"/>
                  </a:lnTo>
                  <a:lnTo>
                    <a:pt x="274" y="1896"/>
                  </a:lnTo>
                  <a:lnTo>
                    <a:pt x="277" y="1890"/>
                  </a:lnTo>
                  <a:lnTo>
                    <a:pt x="279" y="1849"/>
                  </a:lnTo>
                  <a:lnTo>
                    <a:pt x="281" y="1838"/>
                  </a:lnTo>
                  <a:lnTo>
                    <a:pt x="285" y="1834"/>
                  </a:lnTo>
                  <a:lnTo>
                    <a:pt x="301" y="1837"/>
                  </a:lnTo>
                  <a:lnTo>
                    <a:pt x="306" y="1837"/>
                  </a:lnTo>
                  <a:lnTo>
                    <a:pt x="309" y="1833"/>
                  </a:lnTo>
                  <a:lnTo>
                    <a:pt x="310" y="1826"/>
                  </a:lnTo>
                  <a:lnTo>
                    <a:pt x="306" y="1808"/>
                  </a:lnTo>
                  <a:lnTo>
                    <a:pt x="301" y="1798"/>
                  </a:lnTo>
                  <a:lnTo>
                    <a:pt x="295" y="1795"/>
                  </a:lnTo>
                  <a:lnTo>
                    <a:pt x="279" y="1794"/>
                  </a:lnTo>
                  <a:lnTo>
                    <a:pt x="276" y="1793"/>
                  </a:lnTo>
                  <a:lnTo>
                    <a:pt x="276" y="1792"/>
                  </a:lnTo>
                  <a:lnTo>
                    <a:pt x="285" y="1779"/>
                  </a:lnTo>
                  <a:lnTo>
                    <a:pt x="287" y="1778"/>
                  </a:lnTo>
                  <a:lnTo>
                    <a:pt x="291" y="1777"/>
                  </a:lnTo>
                  <a:lnTo>
                    <a:pt x="299" y="1779"/>
                  </a:lnTo>
                  <a:lnTo>
                    <a:pt x="310" y="1782"/>
                  </a:lnTo>
                  <a:lnTo>
                    <a:pt x="314" y="1791"/>
                  </a:lnTo>
                  <a:lnTo>
                    <a:pt x="321" y="1789"/>
                  </a:lnTo>
                  <a:lnTo>
                    <a:pt x="332" y="1792"/>
                  </a:lnTo>
                  <a:lnTo>
                    <a:pt x="337" y="1791"/>
                  </a:lnTo>
                  <a:lnTo>
                    <a:pt x="340" y="1788"/>
                  </a:lnTo>
                  <a:lnTo>
                    <a:pt x="343" y="1778"/>
                  </a:lnTo>
                  <a:lnTo>
                    <a:pt x="347" y="1762"/>
                  </a:lnTo>
                  <a:lnTo>
                    <a:pt x="347" y="1755"/>
                  </a:lnTo>
                  <a:lnTo>
                    <a:pt x="346" y="1752"/>
                  </a:lnTo>
                  <a:lnTo>
                    <a:pt x="332" y="1743"/>
                  </a:lnTo>
                  <a:lnTo>
                    <a:pt x="312" y="1724"/>
                  </a:lnTo>
                  <a:lnTo>
                    <a:pt x="295" y="1712"/>
                  </a:lnTo>
                  <a:lnTo>
                    <a:pt x="286" y="1707"/>
                  </a:lnTo>
                  <a:lnTo>
                    <a:pt x="259" y="1703"/>
                  </a:lnTo>
                  <a:lnTo>
                    <a:pt x="255" y="1701"/>
                  </a:lnTo>
                  <a:lnTo>
                    <a:pt x="252" y="1697"/>
                  </a:lnTo>
                  <a:lnTo>
                    <a:pt x="244" y="1676"/>
                  </a:lnTo>
                  <a:lnTo>
                    <a:pt x="249" y="1673"/>
                  </a:lnTo>
                  <a:lnTo>
                    <a:pt x="257" y="1668"/>
                  </a:lnTo>
                  <a:lnTo>
                    <a:pt x="273" y="1661"/>
                  </a:lnTo>
                  <a:lnTo>
                    <a:pt x="278" y="1657"/>
                  </a:lnTo>
                  <a:lnTo>
                    <a:pt x="280" y="1654"/>
                  </a:lnTo>
                  <a:lnTo>
                    <a:pt x="280" y="1647"/>
                  </a:lnTo>
                  <a:lnTo>
                    <a:pt x="283" y="1639"/>
                  </a:lnTo>
                  <a:lnTo>
                    <a:pt x="296" y="1627"/>
                  </a:lnTo>
                  <a:lnTo>
                    <a:pt x="303" y="1625"/>
                  </a:lnTo>
                  <a:lnTo>
                    <a:pt x="305" y="1622"/>
                  </a:lnTo>
                  <a:lnTo>
                    <a:pt x="309" y="1616"/>
                  </a:lnTo>
                  <a:lnTo>
                    <a:pt x="315" y="1603"/>
                  </a:lnTo>
                  <a:lnTo>
                    <a:pt x="316" y="1600"/>
                  </a:lnTo>
                  <a:lnTo>
                    <a:pt x="316" y="1595"/>
                  </a:lnTo>
                  <a:lnTo>
                    <a:pt x="313" y="1583"/>
                  </a:lnTo>
                  <a:lnTo>
                    <a:pt x="299" y="1565"/>
                  </a:lnTo>
                  <a:lnTo>
                    <a:pt x="294" y="1556"/>
                  </a:lnTo>
                  <a:lnTo>
                    <a:pt x="294" y="1552"/>
                  </a:lnTo>
                  <a:lnTo>
                    <a:pt x="294" y="1539"/>
                  </a:lnTo>
                  <a:lnTo>
                    <a:pt x="295" y="1532"/>
                  </a:lnTo>
                  <a:lnTo>
                    <a:pt x="313" y="1510"/>
                  </a:lnTo>
                  <a:lnTo>
                    <a:pt x="317" y="1507"/>
                  </a:lnTo>
                  <a:lnTo>
                    <a:pt x="324" y="1506"/>
                  </a:lnTo>
                  <a:lnTo>
                    <a:pt x="328" y="1507"/>
                  </a:lnTo>
                  <a:lnTo>
                    <a:pt x="337" y="1511"/>
                  </a:lnTo>
                  <a:lnTo>
                    <a:pt x="342" y="1511"/>
                  </a:lnTo>
                  <a:lnTo>
                    <a:pt x="361" y="1506"/>
                  </a:lnTo>
                  <a:lnTo>
                    <a:pt x="368" y="1505"/>
                  </a:lnTo>
                  <a:lnTo>
                    <a:pt x="382" y="1507"/>
                  </a:lnTo>
                  <a:lnTo>
                    <a:pt x="405" y="1504"/>
                  </a:lnTo>
                  <a:lnTo>
                    <a:pt x="427" y="1519"/>
                  </a:lnTo>
                  <a:lnTo>
                    <a:pt x="454" y="1535"/>
                  </a:lnTo>
                  <a:lnTo>
                    <a:pt x="457" y="1540"/>
                  </a:lnTo>
                  <a:lnTo>
                    <a:pt x="460" y="1549"/>
                  </a:lnTo>
                  <a:lnTo>
                    <a:pt x="462" y="1556"/>
                  </a:lnTo>
                  <a:lnTo>
                    <a:pt x="476" y="1563"/>
                  </a:lnTo>
                  <a:lnTo>
                    <a:pt x="484" y="1578"/>
                  </a:lnTo>
                  <a:lnTo>
                    <a:pt x="486" y="1580"/>
                  </a:lnTo>
                  <a:lnTo>
                    <a:pt x="491" y="1580"/>
                  </a:lnTo>
                  <a:lnTo>
                    <a:pt x="501" y="1578"/>
                  </a:lnTo>
                  <a:lnTo>
                    <a:pt x="506" y="1575"/>
                  </a:lnTo>
                  <a:lnTo>
                    <a:pt x="511" y="1571"/>
                  </a:lnTo>
                  <a:lnTo>
                    <a:pt x="517" y="1565"/>
                  </a:lnTo>
                  <a:lnTo>
                    <a:pt x="525" y="1564"/>
                  </a:lnTo>
                  <a:lnTo>
                    <a:pt x="539" y="1566"/>
                  </a:lnTo>
                  <a:lnTo>
                    <a:pt x="562" y="1575"/>
                  </a:lnTo>
                  <a:lnTo>
                    <a:pt x="573" y="1577"/>
                  </a:lnTo>
                  <a:lnTo>
                    <a:pt x="583" y="1561"/>
                  </a:lnTo>
                  <a:lnTo>
                    <a:pt x="585" y="1560"/>
                  </a:lnTo>
                  <a:lnTo>
                    <a:pt x="593" y="1559"/>
                  </a:lnTo>
                  <a:lnTo>
                    <a:pt x="597" y="1566"/>
                  </a:lnTo>
                  <a:lnTo>
                    <a:pt x="599" y="1566"/>
                  </a:lnTo>
                  <a:lnTo>
                    <a:pt x="656" y="1557"/>
                  </a:lnTo>
                  <a:lnTo>
                    <a:pt x="664" y="1554"/>
                  </a:lnTo>
                  <a:lnTo>
                    <a:pt x="668" y="1549"/>
                  </a:lnTo>
                  <a:lnTo>
                    <a:pt x="668" y="1546"/>
                  </a:lnTo>
                  <a:lnTo>
                    <a:pt x="667" y="1538"/>
                  </a:lnTo>
                  <a:lnTo>
                    <a:pt x="665" y="1536"/>
                  </a:lnTo>
                  <a:lnTo>
                    <a:pt x="642" y="1522"/>
                  </a:lnTo>
                  <a:lnTo>
                    <a:pt x="635" y="1514"/>
                  </a:lnTo>
                  <a:lnTo>
                    <a:pt x="632" y="1508"/>
                  </a:lnTo>
                  <a:lnTo>
                    <a:pt x="622" y="1481"/>
                  </a:lnTo>
                  <a:lnTo>
                    <a:pt x="617" y="1471"/>
                  </a:lnTo>
                  <a:lnTo>
                    <a:pt x="617" y="1469"/>
                  </a:lnTo>
                  <a:lnTo>
                    <a:pt x="618" y="1467"/>
                  </a:lnTo>
                  <a:lnTo>
                    <a:pt x="630" y="1464"/>
                  </a:lnTo>
                  <a:lnTo>
                    <a:pt x="636" y="1457"/>
                  </a:lnTo>
                  <a:lnTo>
                    <a:pt x="637" y="1453"/>
                  </a:lnTo>
                  <a:lnTo>
                    <a:pt x="631" y="1453"/>
                  </a:lnTo>
                  <a:lnTo>
                    <a:pt x="627" y="1450"/>
                  </a:lnTo>
                  <a:lnTo>
                    <a:pt x="628" y="1448"/>
                  </a:lnTo>
                  <a:lnTo>
                    <a:pt x="631" y="1445"/>
                  </a:lnTo>
                  <a:lnTo>
                    <a:pt x="638" y="1442"/>
                  </a:lnTo>
                  <a:lnTo>
                    <a:pt x="643" y="1442"/>
                  </a:lnTo>
                  <a:lnTo>
                    <a:pt x="668" y="1452"/>
                  </a:lnTo>
                  <a:lnTo>
                    <a:pt x="682" y="1454"/>
                  </a:lnTo>
                  <a:lnTo>
                    <a:pt x="688" y="1459"/>
                  </a:lnTo>
                  <a:lnTo>
                    <a:pt x="693" y="1469"/>
                  </a:lnTo>
                  <a:lnTo>
                    <a:pt x="695" y="1470"/>
                  </a:lnTo>
                  <a:lnTo>
                    <a:pt x="708" y="1464"/>
                  </a:lnTo>
                  <a:lnTo>
                    <a:pt x="756" y="1444"/>
                  </a:lnTo>
                  <a:lnTo>
                    <a:pt x="758" y="1444"/>
                  </a:lnTo>
                  <a:lnTo>
                    <a:pt x="779" y="1454"/>
                  </a:lnTo>
                  <a:lnTo>
                    <a:pt x="798" y="1454"/>
                  </a:lnTo>
                  <a:lnTo>
                    <a:pt x="828" y="1453"/>
                  </a:lnTo>
                  <a:lnTo>
                    <a:pt x="838" y="1448"/>
                  </a:lnTo>
                  <a:lnTo>
                    <a:pt x="854" y="1434"/>
                  </a:lnTo>
                  <a:lnTo>
                    <a:pt x="868" y="1420"/>
                  </a:lnTo>
                  <a:lnTo>
                    <a:pt x="873" y="1411"/>
                  </a:lnTo>
                  <a:lnTo>
                    <a:pt x="874" y="1402"/>
                  </a:lnTo>
                  <a:lnTo>
                    <a:pt x="868" y="1378"/>
                  </a:lnTo>
                  <a:lnTo>
                    <a:pt x="870" y="1368"/>
                  </a:lnTo>
                  <a:lnTo>
                    <a:pt x="869" y="1365"/>
                  </a:lnTo>
                  <a:lnTo>
                    <a:pt x="865" y="1356"/>
                  </a:lnTo>
                  <a:lnTo>
                    <a:pt x="855" y="1342"/>
                  </a:lnTo>
                  <a:lnTo>
                    <a:pt x="851" y="1328"/>
                  </a:lnTo>
                  <a:lnTo>
                    <a:pt x="849" y="1306"/>
                  </a:lnTo>
                  <a:lnTo>
                    <a:pt x="849" y="1266"/>
                  </a:lnTo>
                  <a:lnTo>
                    <a:pt x="849" y="1252"/>
                  </a:lnTo>
                  <a:lnTo>
                    <a:pt x="853" y="1245"/>
                  </a:lnTo>
                  <a:lnTo>
                    <a:pt x="865" y="1233"/>
                  </a:lnTo>
                  <a:lnTo>
                    <a:pt x="888" y="1217"/>
                  </a:lnTo>
                  <a:lnTo>
                    <a:pt x="895" y="1200"/>
                  </a:lnTo>
                  <a:lnTo>
                    <a:pt x="901" y="1183"/>
                  </a:lnTo>
                  <a:lnTo>
                    <a:pt x="902" y="1175"/>
                  </a:lnTo>
                  <a:lnTo>
                    <a:pt x="903" y="1165"/>
                  </a:lnTo>
                  <a:lnTo>
                    <a:pt x="887" y="1139"/>
                  </a:lnTo>
                  <a:lnTo>
                    <a:pt x="887" y="1130"/>
                  </a:lnTo>
                  <a:lnTo>
                    <a:pt x="891" y="1112"/>
                  </a:lnTo>
                  <a:lnTo>
                    <a:pt x="891" y="1091"/>
                  </a:lnTo>
                  <a:lnTo>
                    <a:pt x="889" y="1085"/>
                  </a:lnTo>
                  <a:lnTo>
                    <a:pt x="883" y="1072"/>
                  </a:lnTo>
                  <a:lnTo>
                    <a:pt x="880" y="1063"/>
                  </a:lnTo>
                  <a:lnTo>
                    <a:pt x="877" y="1061"/>
                  </a:lnTo>
                  <a:lnTo>
                    <a:pt x="865" y="1063"/>
                  </a:lnTo>
                  <a:lnTo>
                    <a:pt x="861" y="1061"/>
                  </a:lnTo>
                  <a:lnTo>
                    <a:pt x="852" y="1054"/>
                  </a:lnTo>
                  <a:lnTo>
                    <a:pt x="849" y="1049"/>
                  </a:lnTo>
                  <a:lnTo>
                    <a:pt x="848" y="1043"/>
                  </a:lnTo>
                  <a:lnTo>
                    <a:pt x="846" y="1041"/>
                  </a:lnTo>
                  <a:lnTo>
                    <a:pt x="844" y="1043"/>
                  </a:lnTo>
                  <a:lnTo>
                    <a:pt x="841" y="1051"/>
                  </a:lnTo>
                  <a:lnTo>
                    <a:pt x="839" y="1054"/>
                  </a:lnTo>
                  <a:lnTo>
                    <a:pt x="832" y="1057"/>
                  </a:lnTo>
                  <a:lnTo>
                    <a:pt x="827" y="1057"/>
                  </a:lnTo>
                  <a:lnTo>
                    <a:pt x="819" y="1047"/>
                  </a:lnTo>
                  <a:lnTo>
                    <a:pt x="808" y="1029"/>
                  </a:lnTo>
                  <a:lnTo>
                    <a:pt x="802" y="1023"/>
                  </a:lnTo>
                  <a:lnTo>
                    <a:pt x="780" y="1018"/>
                  </a:lnTo>
                  <a:lnTo>
                    <a:pt x="774" y="1014"/>
                  </a:lnTo>
                  <a:lnTo>
                    <a:pt x="772" y="1011"/>
                  </a:lnTo>
                  <a:lnTo>
                    <a:pt x="768" y="993"/>
                  </a:lnTo>
                  <a:lnTo>
                    <a:pt x="766" y="993"/>
                  </a:lnTo>
                  <a:lnTo>
                    <a:pt x="762" y="1013"/>
                  </a:lnTo>
                  <a:lnTo>
                    <a:pt x="756" y="1018"/>
                  </a:lnTo>
                  <a:lnTo>
                    <a:pt x="751" y="1018"/>
                  </a:lnTo>
                  <a:lnTo>
                    <a:pt x="720" y="1000"/>
                  </a:lnTo>
                  <a:lnTo>
                    <a:pt x="717" y="996"/>
                  </a:lnTo>
                  <a:lnTo>
                    <a:pt x="718" y="985"/>
                  </a:lnTo>
                  <a:lnTo>
                    <a:pt x="717" y="982"/>
                  </a:lnTo>
                  <a:lnTo>
                    <a:pt x="714" y="982"/>
                  </a:lnTo>
                  <a:lnTo>
                    <a:pt x="707" y="984"/>
                  </a:lnTo>
                  <a:lnTo>
                    <a:pt x="703" y="983"/>
                  </a:lnTo>
                  <a:lnTo>
                    <a:pt x="688" y="964"/>
                  </a:lnTo>
                  <a:lnTo>
                    <a:pt x="679" y="954"/>
                  </a:lnTo>
                  <a:lnTo>
                    <a:pt x="663" y="944"/>
                  </a:lnTo>
                  <a:lnTo>
                    <a:pt x="651" y="933"/>
                  </a:lnTo>
                  <a:lnTo>
                    <a:pt x="642" y="930"/>
                  </a:lnTo>
                  <a:lnTo>
                    <a:pt x="634" y="928"/>
                  </a:lnTo>
                  <a:lnTo>
                    <a:pt x="598" y="927"/>
                  </a:lnTo>
                  <a:lnTo>
                    <a:pt x="594" y="923"/>
                  </a:lnTo>
                  <a:lnTo>
                    <a:pt x="589" y="915"/>
                  </a:lnTo>
                  <a:lnTo>
                    <a:pt x="585" y="912"/>
                  </a:lnTo>
                  <a:lnTo>
                    <a:pt x="579" y="910"/>
                  </a:lnTo>
                  <a:lnTo>
                    <a:pt x="566" y="909"/>
                  </a:lnTo>
                  <a:lnTo>
                    <a:pt x="557" y="907"/>
                  </a:lnTo>
                  <a:lnTo>
                    <a:pt x="548" y="903"/>
                  </a:lnTo>
                  <a:lnTo>
                    <a:pt x="540" y="899"/>
                  </a:lnTo>
                  <a:lnTo>
                    <a:pt x="533" y="894"/>
                  </a:lnTo>
                  <a:lnTo>
                    <a:pt x="530" y="889"/>
                  </a:lnTo>
                  <a:lnTo>
                    <a:pt x="530" y="850"/>
                  </a:lnTo>
                  <a:lnTo>
                    <a:pt x="523" y="835"/>
                  </a:lnTo>
                  <a:lnTo>
                    <a:pt x="523" y="830"/>
                  </a:lnTo>
                  <a:lnTo>
                    <a:pt x="523" y="830"/>
                  </a:lnTo>
                  <a:lnTo>
                    <a:pt x="524" y="826"/>
                  </a:lnTo>
                  <a:lnTo>
                    <a:pt x="525" y="825"/>
                  </a:lnTo>
                  <a:lnTo>
                    <a:pt x="533" y="827"/>
                  </a:lnTo>
                  <a:lnTo>
                    <a:pt x="538" y="826"/>
                  </a:lnTo>
                  <a:lnTo>
                    <a:pt x="539" y="824"/>
                  </a:lnTo>
                  <a:lnTo>
                    <a:pt x="540" y="818"/>
                  </a:lnTo>
                  <a:lnTo>
                    <a:pt x="541" y="812"/>
                  </a:lnTo>
                  <a:lnTo>
                    <a:pt x="540" y="808"/>
                  </a:lnTo>
                  <a:lnTo>
                    <a:pt x="532" y="795"/>
                  </a:lnTo>
                  <a:lnTo>
                    <a:pt x="529" y="788"/>
                  </a:lnTo>
                  <a:lnTo>
                    <a:pt x="530" y="786"/>
                  </a:lnTo>
                  <a:lnTo>
                    <a:pt x="538" y="783"/>
                  </a:lnTo>
                  <a:lnTo>
                    <a:pt x="539" y="780"/>
                  </a:lnTo>
                  <a:lnTo>
                    <a:pt x="538" y="773"/>
                  </a:lnTo>
                  <a:lnTo>
                    <a:pt x="531" y="758"/>
                  </a:lnTo>
                  <a:lnTo>
                    <a:pt x="529" y="749"/>
                  </a:lnTo>
                  <a:lnTo>
                    <a:pt x="531" y="727"/>
                  </a:lnTo>
                  <a:lnTo>
                    <a:pt x="537" y="705"/>
                  </a:lnTo>
                  <a:lnTo>
                    <a:pt x="540" y="700"/>
                  </a:lnTo>
                  <a:lnTo>
                    <a:pt x="551" y="686"/>
                  </a:lnTo>
                  <a:lnTo>
                    <a:pt x="553" y="682"/>
                  </a:lnTo>
                  <a:lnTo>
                    <a:pt x="552" y="678"/>
                  </a:lnTo>
                  <a:lnTo>
                    <a:pt x="542" y="669"/>
                  </a:lnTo>
                  <a:lnTo>
                    <a:pt x="542" y="667"/>
                  </a:lnTo>
                  <a:lnTo>
                    <a:pt x="545" y="664"/>
                  </a:lnTo>
                  <a:lnTo>
                    <a:pt x="553" y="657"/>
                  </a:lnTo>
                  <a:lnTo>
                    <a:pt x="557" y="654"/>
                  </a:lnTo>
                  <a:lnTo>
                    <a:pt x="558" y="649"/>
                  </a:lnTo>
                  <a:lnTo>
                    <a:pt x="559" y="640"/>
                  </a:lnTo>
                  <a:lnTo>
                    <a:pt x="561" y="636"/>
                  </a:lnTo>
                  <a:lnTo>
                    <a:pt x="577" y="633"/>
                  </a:lnTo>
                  <a:lnTo>
                    <a:pt x="580" y="632"/>
                  </a:lnTo>
                  <a:lnTo>
                    <a:pt x="584" y="626"/>
                  </a:lnTo>
                  <a:lnTo>
                    <a:pt x="592" y="610"/>
                  </a:lnTo>
                  <a:lnTo>
                    <a:pt x="595" y="606"/>
                  </a:lnTo>
                  <a:lnTo>
                    <a:pt x="600" y="603"/>
                  </a:lnTo>
                  <a:lnTo>
                    <a:pt x="619" y="600"/>
                  </a:lnTo>
                  <a:lnTo>
                    <a:pt x="624" y="596"/>
                  </a:lnTo>
                  <a:lnTo>
                    <a:pt x="628" y="592"/>
                  </a:lnTo>
                  <a:lnTo>
                    <a:pt x="630" y="586"/>
                  </a:lnTo>
                  <a:lnTo>
                    <a:pt x="630" y="571"/>
                  </a:lnTo>
                  <a:lnTo>
                    <a:pt x="630" y="571"/>
                  </a:lnTo>
                  <a:lnTo>
                    <a:pt x="631" y="569"/>
                  </a:lnTo>
                  <a:lnTo>
                    <a:pt x="634" y="568"/>
                  </a:lnTo>
                  <a:lnTo>
                    <a:pt x="638" y="566"/>
                  </a:lnTo>
                  <a:lnTo>
                    <a:pt x="640" y="567"/>
                  </a:lnTo>
                  <a:lnTo>
                    <a:pt x="646" y="570"/>
                  </a:lnTo>
                  <a:lnTo>
                    <a:pt x="656" y="580"/>
                  </a:lnTo>
                  <a:lnTo>
                    <a:pt x="665" y="587"/>
                  </a:lnTo>
                  <a:lnTo>
                    <a:pt x="674" y="591"/>
                  </a:lnTo>
                  <a:lnTo>
                    <a:pt x="708" y="604"/>
                  </a:lnTo>
                  <a:lnTo>
                    <a:pt x="714" y="613"/>
                  </a:lnTo>
                  <a:lnTo>
                    <a:pt x="730" y="650"/>
                  </a:lnTo>
                  <a:lnTo>
                    <a:pt x="737" y="658"/>
                  </a:lnTo>
                  <a:lnTo>
                    <a:pt x="744" y="662"/>
                  </a:lnTo>
                  <a:lnTo>
                    <a:pt x="769" y="663"/>
                  </a:lnTo>
                  <a:lnTo>
                    <a:pt x="795" y="660"/>
                  </a:lnTo>
                  <a:lnTo>
                    <a:pt x="813" y="656"/>
                  </a:lnTo>
                  <a:lnTo>
                    <a:pt x="858" y="642"/>
                  </a:lnTo>
                  <a:lnTo>
                    <a:pt x="872" y="639"/>
                  </a:lnTo>
                  <a:lnTo>
                    <a:pt x="897" y="644"/>
                  </a:lnTo>
                  <a:lnTo>
                    <a:pt x="912" y="644"/>
                  </a:lnTo>
                  <a:lnTo>
                    <a:pt x="920" y="642"/>
                  </a:lnTo>
                  <a:lnTo>
                    <a:pt x="924" y="639"/>
                  </a:lnTo>
                  <a:lnTo>
                    <a:pt x="925" y="636"/>
                  </a:lnTo>
                  <a:lnTo>
                    <a:pt x="924" y="589"/>
                  </a:lnTo>
                  <a:lnTo>
                    <a:pt x="925" y="565"/>
                  </a:lnTo>
                  <a:lnTo>
                    <a:pt x="927" y="552"/>
                  </a:lnTo>
                  <a:lnTo>
                    <a:pt x="933" y="543"/>
                  </a:lnTo>
                  <a:lnTo>
                    <a:pt x="934" y="539"/>
                  </a:lnTo>
                  <a:lnTo>
                    <a:pt x="934" y="536"/>
                  </a:lnTo>
                  <a:lnTo>
                    <a:pt x="930" y="531"/>
                  </a:lnTo>
                  <a:lnTo>
                    <a:pt x="931" y="524"/>
                  </a:lnTo>
                  <a:lnTo>
                    <a:pt x="936" y="523"/>
                  </a:lnTo>
                  <a:lnTo>
                    <a:pt x="940" y="526"/>
                  </a:lnTo>
                  <a:lnTo>
                    <a:pt x="948" y="537"/>
                  </a:lnTo>
                  <a:lnTo>
                    <a:pt x="960" y="555"/>
                  </a:lnTo>
                  <a:lnTo>
                    <a:pt x="963" y="559"/>
                  </a:lnTo>
                  <a:lnTo>
                    <a:pt x="965" y="560"/>
                  </a:lnTo>
                  <a:lnTo>
                    <a:pt x="970" y="558"/>
                  </a:lnTo>
                  <a:lnTo>
                    <a:pt x="973" y="555"/>
                  </a:lnTo>
                  <a:lnTo>
                    <a:pt x="995" y="513"/>
                  </a:lnTo>
                  <a:lnTo>
                    <a:pt x="991" y="508"/>
                  </a:lnTo>
                  <a:lnTo>
                    <a:pt x="992" y="497"/>
                  </a:lnTo>
                  <a:lnTo>
                    <a:pt x="969" y="476"/>
                  </a:lnTo>
                  <a:lnTo>
                    <a:pt x="963" y="467"/>
                  </a:lnTo>
                  <a:lnTo>
                    <a:pt x="960" y="457"/>
                  </a:lnTo>
                  <a:lnTo>
                    <a:pt x="963" y="440"/>
                  </a:lnTo>
                  <a:lnTo>
                    <a:pt x="971" y="415"/>
                  </a:lnTo>
                  <a:lnTo>
                    <a:pt x="976" y="407"/>
                  </a:lnTo>
                  <a:lnTo>
                    <a:pt x="983" y="404"/>
                  </a:lnTo>
                  <a:lnTo>
                    <a:pt x="987" y="400"/>
                  </a:lnTo>
                  <a:lnTo>
                    <a:pt x="989" y="386"/>
                  </a:lnTo>
                  <a:lnTo>
                    <a:pt x="993" y="376"/>
                  </a:lnTo>
                  <a:lnTo>
                    <a:pt x="998" y="369"/>
                  </a:lnTo>
                  <a:lnTo>
                    <a:pt x="1008" y="358"/>
                  </a:lnTo>
                  <a:lnTo>
                    <a:pt x="1013" y="354"/>
                  </a:lnTo>
                  <a:lnTo>
                    <a:pt x="1019" y="352"/>
                  </a:lnTo>
                  <a:lnTo>
                    <a:pt x="1030" y="339"/>
                  </a:lnTo>
                  <a:lnTo>
                    <a:pt x="1046" y="325"/>
                  </a:lnTo>
                  <a:lnTo>
                    <a:pt x="1064" y="324"/>
                  </a:lnTo>
                  <a:lnTo>
                    <a:pt x="1068" y="321"/>
                  </a:lnTo>
                  <a:lnTo>
                    <a:pt x="1070" y="318"/>
                  </a:lnTo>
                  <a:lnTo>
                    <a:pt x="1065" y="304"/>
                  </a:lnTo>
                  <a:lnTo>
                    <a:pt x="1066" y="295"/>
                  </a:lnTo>
                  <a:lnTo>
                    <a:pt x="1082" y="285"/>
                  </a:lnTo>
                  <a:lnTo>
                    <a:pt x="1098" y="263"/>
                  </a:lnTo>
                  <a:lnTo>
                    <a:pt x="1101" y="262"/>
                  </a:lnTo>
                  <a:lnTo>
                    <a:pt x="1108" y="267"/>
                  </a:lnTo>
                  <a:lnTo>
                    <a:pt x="1113" y="268"/>
                  </a:lnTo>
                  <a:lnTo>
                    <a:pt x="1121" y="252"/>
                  </a:lnTo>
                  <a:lnTo>
                    <a:pt x="1129" y="250"/>
                  </a:lnTo>
                  <a:lnTo>
                    <a:pt x="1144" y="221"/>
                  </a:lnTo>
                  <a:lnTo>
                    <a:pt x="1151" y="205"/>
                  </a:lnTo>
                  <a:lnTo>
                    <a:pt x="1152" y="198"/>
                  </a:lnTo>
                  <a:lnTo>
                    <a:pt x="1150" y="185"/>
                  </a:lnTo>
                  <a:lnTo>
                    <a:pt x="1150" y="183"/>
                  </a:lnTo>
                  <a:lnTo>
                    <a:pt x="1157" y="177"/>
                  </a:lnTo>
                  <a:lnTo>
                    <a:pt x="1180" y="167"/>
                  </a:lnTo>
                  <a:lnTo>
                    <a:pt x="1199" y="156"/>
                  </a:lnTo>
                  <a:lnTo>
                    <a:pt x="1205" y="151"/>
                  </a:lnTo>
                  <a:lnTo>
                    <a:pt x="1216" y="136"/>
                  </a:lnTo>
                  <a:lnTo>
                    <a:pt x="1217" y="133"/>
                  </a:lnTo>
                  <a:lnTo>
                    <a:pt x="1205" y="120"/>
                  </a:lnTo>
                  <a:lnTo>
                    <a:pt x="1204" y="115"/>
                  </a:lnTo>
                  <a:lnTo>
                    <a:pt x="1205" y="110"/>
                  </a:lnTo>
                  <a:lnTo>
                    <a:pt x="1208" y="108"/>
                  </a:lnTo>
                  <a:lnTo>
                    <a:pt x="1211" y="108"/>
                  </a:lnTo>
                  <a:lnTo>
                    <a:pt x="1225" y="122"/>
                  </a:lnTo>
                  <a:lnTo>
                    <a:pt x="1229" y="124"/>
                  </a:lnTo>
                  <a:lnTo>
                    <a:pt x="1234" y="124"/>
                  </a:lnTo>
                  <a:lnTo>
                    <a:pt x="1247" y="119"/>
                  </a:lnTo>
                  <a:lnTo>
                    <a:pt x="1266" y="110"/>
                  </a:lnTo>
                  <a:lnTo>
                    <a:pt x="1281" y="101"/>
                  </a:lnTo>
                  <a:lnTo>
                    <a:pt x="1287" y="95"/>
                  </a:lnTo>
                  <a:lnTo>
                    <a:pt x="1290" y="90"/>
                  </a:lnTo>
                  <a:lnTo>
                    <a:pt x="1290" y="87"/>
                  </a:lnTo>
                  <a:lnTo>
                    <a:pt x="1271" y="51"/>
                  </a:lnTo>
                  <a:lnTo>
                    <a:pt x="1270" y="46"/>
                  </a:lnTo>
                  <a:lnTo>
                    <a:pt x="1285" y="41"/>
                  </a:lnTo>
                  <a:lnTo>
                    <a:pt x="1289" y="40"/>
                  </a:lnTo>
                  <a:lnTo>
                    <a:pt x="1291" y="41"/>
                  </a:lnTo>
                  <a:lnTo>
                    <a:pt x="1300" y="50"/>
                  </a:lnTo>
                  <a:lnTo>
                    <a:pt x="1327" y="84"/>
                  </a:lnTo>
                  <a:lnTo>
                    <a:pt x="1333" y="89"/>
                  </a:lnTo>
                  <a:lnTo>
                    <a:pt x="1336" y="90"/>
                  </a:lnTo>
                  <a:lnTo>
                    <a:pt x="1339" y="90"/>
                  </a:lnTo>
                  <a:lnTo>
                    <a:pt x="1342" y="86"/>
                  </a:lnTo>
                  <a:lnTo>
                    <a:pt x="1345" y="72"/>
                  </a:lnTo>
                  <a:lnTo>
                    <a:pt x="1348" y="68"/>
                  </a:lnTo>
                  <a:lnTo>
                    <a:pt x="1351" y="67"/>
                  </a:lnTo>
                  <a:lnTo>
                    <a:pt x="1355" y="67"/>
                  </a:lnTo>
                  <a:lnTo>
                    <a:pt x="1360" y="71"/>
                  </a:lnTo>
                  <a:lnTo>
                    <a:pt x="1364" y="72"/>
                  </a:lnTo>
                  <a:lnTo>
                    <a:pt x="1371" y="66"/>
                  </a:lnTo>
                  <a:lnTo>
                    <a:pt x="1372" y="66"/>
                  </a:lnTo>
                  <a:lnTo>
                    <a:pt x="1380" y="72"/>
                  </a:lnTo>
                  <a:lnTo>
                    <a:pt x="1389" y="95"/>
                  </a:lnTo>
                  <a:lnTo>
                    <a:pt x="1391" y="99"/>
                  </a:lnTo>
                  <a:lnTo>
                    <a:pt x="1395" y="102"/>
                  </a:lnTo>
                  <a:lnTo>
                    <a:pt x="1402" y="105"/>
                  </a:lnTo>
                  <a:lnTo>
                    <a:pt x="1407" y="106"/>
                  </a:lnTo>
                  <a:lnTo>
                    <a:pt x="1411" y="106"/>
                  </a:lnTo>
                  <a:lnTo>
                    <a:pt x="1415" y="105"/>
                  </a:lnTo>
                  <a:lnTo>
                    <a:pt x="1417" y="102"/>
                  </a:lnTo>
                  <a:lnTo>
                    <a:pt x="1446" y="51"/>
                  </a:lnTo>
                  <a:lnTo>
                    <a:pt x="1457" y="36"/>
                  </a:lnTo>
                  <a:lnTo>
                    <a:pt x="1464" y="28"/>
                  </a:lnTo>
                  <a:lnTo>
                    <a:pt x="1485" y="16"/>
                  </a:lnTo>
                  <a:lnTo>
                    <a:pt x="1500" y="2"/>
                  </a:lnTo>
                  <a:lnTo>
                    <a:pt x="1512" y="4"/>
                  </a:lnTo>
                  <a:lnTo>
                    <a:pt x="1528" y="0"/>
                  </a:lnTo>
                  <a:lnTo>
                    <a:pt x="1533" y="3"/>
                  </a:lnTo>
                  <a:lnTo>
                    <a:pt x="1533" y="7"/>
                  </a:lnTo>
                  <a:lnTo>
                    <a:pt x="1516" y="41"/>
                  </a:lnTo>
                  <a:lnTo>
                    <a:pt x="1512" y="57"/>
                  </a:lnTo>
                  <a:lnTo>
                    <a:pt x="1512" y="59"/>
                  </a:lnTo>
                  <a:lnTo>
                    <a:pt x="1514" y="61"/>
                  </a:lnTo>
                  <a:lnTo>
                    <a:pt x="1525" y="65"/>
                  </a:lnTo>
                  <a:lnTo>
                    <a:pt x="1525" y="65"/>
                  </a:lnTo>
                  <a:lnTo>
                    <a:pt x="1524" y="68"/>
                  </a:lnTo>
                  <a:lnTo>
                    <a:pt x="1531" y="74"/>
                  </a:lnTo>
                  <a:lnTo>
                    <a:pt x="1538" y="74"/>
                  </a:lnTo>
                  <a:lnTo>
                    <a:pt x="1547" y="73"/>
                  </a:lnTo>
                  <a:lnTo>
                    <a:pt x="1549" y="74"/>
                  </a:lnTo>
                  <a:lnTo>
                    <a:pt x="1552" y="82"/>
                  </a:lnTo>
                  <a:lnTo>
                    <a:pt x="1561" y="89"/>
                  </a:lnTo>
                  <a:lnTo>
                    <a:pt x="1565" y="92"/>
                  </a:lnTo>
                  <a:lnTo>
                    <a:pt x="1565" y="95"/>
                  </a:lnTo>
                  <a:lnTo>
                    <a:pt x="1560" y="100"/>
                  </a:lnTo>
                  <a:lnTo>
                    <a:pt x="1547" y="112"/>
                  </a:lnTo>
                  <a:lnTo>
                    <a:pt x="1543" y="117"/>
                  </a:lnTo>
                  <a:lnTo>
                    <a:pt x="1535" y="154"/>
                  </a:lnTo>
                  <a:lnTo>
                    <a:pt x="1530" y="171"/>
                  </a:lnTo>
                  <a:lnTo>
                    <a:pt x="1526" y="176"/>
                  </a:lnTo>
                  <a:lnTo>
                    <a:pt x="1517" y="185"/>
                  </a:lnTo>
                  <a:lnTo>
                    <a:pt x="1498" y="196"/>
                  </a:lnTo>
                  <a:lnTo>
                    <a:pt x="1493" y="202"/>
                  </a:lnTo>
                  <a:lnTo>
                    <a:pt x="1493" y="210"/>
                  </a:lnTo>
                  <a:lnTo>
                    <a:pt x="1499" y="228"/>
                  </a:lnTo>
                  <a:lnTo>
                    <a:pt x="1499" y="234"/>
                  </a:lnTo>
                  <a:lnTo>
                    <a:pt x="1494" y="248"/>
                  </a:lnTo>
                  <a:lnTo>
                    <a:pt x="1486" y="265"/>
                  </a:lnTo>
                  <a:lnTo>
                    <a:pt x="1480" y="287"/>
                  </a:lnTo>
                  <a:lnTo>
                    <a:pt x="1469" y="316"/>
                  </a:lnTo>
                  <a:lnTo>
                    <a:pt x="1467" y="326"/>
                  </a:lnTo>
                  <a:lnTo>
                    <a:pt x="1464" y="359"/>
                  </a:lnTo>
                  <a:lnTo>
                    <a:pt x="1460" y="370"/>
                  </a:lnTo>
                  <a:lnTo>
                    <a:pt x="1457" y="375"/>
                  </a:lnTo>
                  <a:lnTo>
                    <a:pt x="1441" y="383"/>
                  </a:lnTo>
                  <a:lnTo>
                    <a:pt x="1429" y="404"/>
                  </a:lnTo>
                  <a:lnTo>
                    <a:pt x="1416" y="421"/>
                  </a:lnTo>
                  <a:lnTo>
                    <a:pt x="1409" y="427"/>
                  </a:lnTo>
                  <a:lnTo>
                    <a:pt x="1394" y="432"/>
                  </a:lnTo>
                  <a:lnTo>
                    <a:pt x="1390" y="435"/>
                  </a:lnTo>
                  <a:lnTo>
                    <a:pt x="1389" y="439"/>
                  </a:lnTo>
                  <a:lnTo>
                    <a:pt x="1388" y="458"/>
                  </a:lnTo>
                  <a:lnTo>
                    <a:pt x="1384" y="462"/>
                  </a:lnTo>
                  <a:lnTo>
                    <a:pt x="1377" y="465"/>
                  </a:lnTo>
                  <a:lnTo>
                    <a:pt x="1374" y="467"/>
                  </a:lnTo>
                  <a:lnTo>
                    <a:pt x="1372" y="471"/>
                  </a:lnTo>
                  <a:lnTo>
                    <a:pt x="1371" y="479"/>
                  </a:lnTo>
                  <a:lnTo>
                    <a:pt x="1370" y="514"/>
                  </a:lnTo>
                  <a:lnTo>
                    <a:pt x="1371" y="534"/>
                  </a:lnTo>
                  <a:lnTo>
                    <a:pt x="1372" y="543"/>
                  </a:lnTo>
                  <a:lnTo>
                    <a:pt x="1378" y="552"/>
                  </a:lnTo>
                  <a:lnTo>
                    <a:pt x="1390" y="564"/>
                  </a:lnTo>
                  <a:lnTo>
                    <a:pt x="1397" y="573"/>
                  </a:lnTo>
                  <a:lnTo>
                    <a:pt x="1415" y="604"/>
                  </a:lnTo>
                  <a:lnTo>
                    <a:pt x="1435" y="619"/>
                  </a:lnTo>
                  <a:lnTo>
                    <a:pt x="1435" y="622"/>
                  </a:lnTo>
                  <a:lnTo>
                    <a:pt x="1423" y="628"/>
                  </a:lnTo>
                  <a:lnTo>
                    <a:pt x="1423" y="632"/>
                  </a:lnTo>
                  <a:lnTo>
                    <a:pt x="1424" y="636"/>
                  </a:lnTo>
                  <a:lnTo>
                    <a:pt x="1427" y="639"/>
                  </a:lnTo>
                  <a:lnTo>
                    <a:pt x="1442" y="646"/>
                  </a:lnTo>
                  <a:lnTo>
                    <a:pt x="1446" y="650"/>
                  </a:lnTo>
                  <a:lnTo>
                    <a:pt x="1445" y="654"/>
                  </a:lnTo>
                  <a:lnTo>
                    <a:pt x="1440" y="658"/>
                  </a:lnTo>
                  <a:lnTo>
                    <a:pt x="1439" y="661"/>
                  </a:lnTo>
                  <a:lnTo>
                    <a:pt x="1440" y="668"/>
                  </a:lnTo>
                  <a:lnTo>
                    <a:pt x="1445" y="679"/>
                  </a:lnTo>
                  <a:lnTo>
                    <a:pt x="1445" y="683"/>
                  </a:lnTo>
                  <a:lnTo>
                    <a:pt x="1443" y="696"/>
                  </a:lnTo>
                  <a:lnTo>
                    <a:pt x="1433" y="721"/>
                  </a:lnTo>
                  <a:lnTo>
                    <a:pt x="1428" y="723"/>
                  </a:lnTo>
                  <a:lnTo>
                    <a:pt x="1412" y="727"/>
                  </a:lnTo>
                  <a:lnTo>
                    <a:pt x="1409" y="729"/>
                  </a:lnTo>
                  <a:lnTo>
                    <a:pt x="1407" y="731"/>
                  </a:lnTo>
                  <a:lnTo>
                    <a:pt x="1406" y="742"/>
                  </a:lnTo>
                  <a:lnTo>
                    <a:pt x="1407" y="750"/>
                  </a:lnTo>
                  <a:lnTo>
                    <a:pt x="1411" y="753"/>
                  </a:lnTo>
                  <a:lnTo>
                    <a:pt x="1422" y="756"/>
                  </a:lnTo>
                  <a:lnTo>
                    <a:pt x="1424" y="757"/>
                  </a:lnTo>
                  <a:lnTo>
                    <a:pt x="1421" y="768"/>
                  </a:lnTo>
                  <a:lnTo>
                    <a:pt x="1411" y="788"/>
                  </a:lnTo>
                  <a:lnTo>
                    <a:pt x="1397" y="808"/>
                  </a:lnTo>
                  <a:lnTo>
                    <a:pt x="1376" y="836"/>
                  </a:lnTo>
                  <a:lnTo>
                    <a:pt x="1368" y="845"/>
                  </a:lnTo>
                  <a:lnTo>
                    <a:pt x="1357" y="853"/>
                  </a:lnTo>
                  <a:lnTo>
                    <a:pt x="1357" y="864"/>
                  </a:lnTo>
                  <a:lnTo>
                    <a:pt x="1355" y="868"/>
                  </a:lnTo>
                  <a:lnTo>
                    <a:pt x="1352" y="872"/>
                  </a:lnTo>
                  <a:lnTo>
                    <a:pt x="1341" y="876"/>
                  </a:lnTo>
                  <a:lnTo>
                    <a:pt x="1340" y="878"/>
                  </a:lnTo>
                  <a:lnTo>
                    <a:pt x="1340" y="881"/>
                  </a:lnTo>
                  <a:lnTo>
                    <a:pt x="1344" y="894"/>
                  </a:lnTo>
                  <a:lnTo>
                    <a:pt x="1344" y="901"/>
                  </a:lnTo>
                  <a:lnTo>
                    <a:pt x="1342" y="907"/>
                  </a:lnTo>
                  <a:lnTo>
                    <a:pt x="1342" y="911"/>
                  </a:lnTo>
                  <a:lnTo>
                    <a:pt x="1348" y="925"/>
                  </a:lnTo>
                  <a:lnTo>
                    <a:pt x="1348" y="928"/>
                  </a:lnTo>
                  <a:lnTo>
                    <a:pt x="1348" y="934"/>
                  </a:lnTo>
                  <a:lnTo>
                    <a:pt x="1343" y="943"/>
                  </a:lnTo>
                  <a:lnTo>
                    <a:pt x="1345" y="947"/>
                  </a:lnTo>
                  <a:lnTo>
                    <a:pt x="1354" y="956"/>
                  </a:lnTo>
                  <a:lnTo>
                    <a:pt x="1355" y="961"/>
                  </a:lnTo>
                  <a:lnTo>
                    <a:pt x="1353" y="969"/>
                  </a:lnTo>
                  <a:lnTo>
                    <a:pt x="1345" y="977"/>
                  </a:lnTo>
                  <a:lnTo>
                    <a:pt x="1344" y="980"/>
                  </a:lnTo>
                  <a:lnTo>
                    <a:pt x="1349" y="989"/>
                  </a:lnTo>
                  <a:lnTo>
                    <a:pt x="1366" y="1014"/>
                  </a:lnTo>
                  <a:lnTo>
                    <a:pt x="1369" y="1022"/>
                  </a:lnTo>
                  <a:lnTo>
                    <a:pt x="1370" y="1029"/>
                  </a:lnTo>
                  <a:lnTo>
                    <a:pt x="1366" y="1099"/>
                  </a:lnTo>
                  <a:lnTo>
                    <a:pt x="1366" y="1123"/>
                  </a:lnTo>
                  <a:lnTo>
                    <a:pt x="1361" y="1150"/>
                  </a:lnTo>
                  <a:lnTo>
                    <a:pt x="1361" y="1165"/>
                  </a:lnTo>
                  <a:lnTo>
                    <a:pt x="1374" y="1219"/>
                  </a:lnTo>
                  <a:lnTo>
                    <a:pt x="1377" y="1253"/>
                  </a:lnTo>
                  <a:lnTo>
                    <a:pt x="1379" y="1255"/>
                  </a:lnTo>
                  <a:lnTo>
                    <a:pt x="1386" y="1258"/>
                  </a:lnTo>
                  <a:lnTo>
                    <a:pt x="1386" y="1260"/>
                  </a:lnTo>
                  <a:lnTo>
                    <a:pt x="1397" y="1313"/>
                  </a:lnTo>
                  <a:lnTo>
                    <a:pt x="1406" y="1343"/>
                  </a:lnTo>
                  <a:lnTo>
                    <a:pt x="1390" y="1375"/>
                  </a:lnTo>
                  <a:lnTo>
                    <a:pt x="1377" y="1416"/>
                  </a:lnTo>
                  <a:lnTo>
                    <a:pt x="1373" y="1428"/>
                  </a:lnTo>
                  <a:lnTo>
                    <a:pt x="1366" y="1442"/>
                  </a:lnTo>
                  <a:lnTo>
                    <a:pt x="1353" y="1459"/>
                  </a:lnTo>
                  <a:lnTo>
                    <a:pt x="1346" y="1472"/>
                  </a:lnTo>
                  <a:lnTo>
                    <a:pt x="1341" y="1490"/>
                  </a:lnTo>
                  <a:lnTo>
                    <a:pt x="1336" y="1518"/>
                  </a:lnTo>
                  <a:lnTo>
                    <a:pt x="1333" y="1530"/>
                  </a:lnTo>
                  <a:lnTo>
                    <a:pt x="1321" y="1558"/>
                  </a:lnTo>
                  <a:lnTo>
                    <a:pt x="1319" y="1571"/>
                  </a:lnTo>
                  <a:lnTo>
                    <a:pt x="1318" y="1604"/>
                  </a:lnTo>
                  <a:lnTo>
                    <a:pt x="1312" y="1644"/>
                  </a:lnTo>
                  <a:lnTo>
                    <a:pt x="1313" y="1665"/>
                  </a:lnTo>
                  <a:lnTo>
                    <a:pt x="1315" y="1674"/>
                  </a:lnTo>
                  <a:lnTo>
                    <a:pt x="1322" y="1683"/>
                  </a:lnTo>
                  <a:lnTo>
                    <a:pt x="1326" y="1685"/>
                  </a:lnTo>
                  <a:lnTo>
                    <a:pt x="1339" y="1686"/>
                  </a:lnTo>
                  <a:lnTo>
                    <a:pt x="1339" y="1686"/>
                  </a:lnTo>
                  <a:lnTo>
                    <a:pt x="1341" y="1696"/>
                  </a:lnTo>
                  <a:lnTo>
                    <a:pt x="1352" y="1699"/>
                  </a:lnTo>
                  <a:lnTo>
                    <a:pt x="1354" y="1700"/>
                  </a:lnTo>
                  <a:lnTo>
                    <a:pt x="1353" y="1702"/>
                  </a:lnTo>
                  <a:lnTo>
                    <a:pt x="1343" y="1709"/>
                  </a:lnTo>
                  <a:lnTo>
                    <a:pt x="1339" y="1714"/>
                  </a:lnTo>
                  <a:lnTo>
                    <a:pt x="1341" y="1723"/>
                  </a:lnTo>
                  <a:lnTo>
                    <a:pt x="1346" y="1736"/>
                  </a:lnTo>
                  <a:lnTo>
                    <a:pt x="1351" y="1744"/>
                  </a:lnTo>
                  <a:lnTo>
                    <a:pt x="1355" y="1750"/>
                  </a:lnTo>
                  <a:lnTo>
                    <a:pt x="1358" y="1751"/>
                  </a:lnTo>
                  <a:lnTo>
                    <a:pt x="1370" y="1753"/>
                  </a:lnTo>
                  <a:lnTo>
                    <a:pt x="1371" y="1755"/>
                  </a:lnTo>
                  <a:lnTo>
                    <a:pt x="1372" y="1758"/>
                  </a:lnTo>
                  <a:lnTo>
                    <a:pt x="1372" y="1765"/>
                  </a:lnTo>
                  <a:lnTo>
                    <a:pt x="1374" y="1778"/>
                  </a:lnTo>
                  <a:lnTo>
                    <a:pt x="1371" y="1783"/>
                  </a:lnTo>
                  <a:lnTo>
                    <a:pt x="1359" y="1795"/>
                  </a:lnTo>
                  <a:lnTo>
                    <a:pt x="1358" y="1799"/>
                  </a:lnTo>
                  <a:lnTo>
                    <a:pt x="1358" y="1802"/>
                  </a:lnTo>
                  <a:lnTo>
                    <a:pt x="1371" y="1811"/>
                  </a:lnTo>
                  <a:lnTo>
                    <a:pt x="1405" y="1829"/>
                  </a:lnTo>
                  <a:lnTo>
                    <a:pt x="1413" y="1835"/>
                  </a:lnTo>
                  <a:lnTo>
                    <a:pt x="1411" y="1845"/>
                  </a:lnTo>
                  <a:lnTo>
                    <a:pt x="1403" y="1859"/>
                  </a:lnTo>
                  <a:lnTo>
                    <a:pt x="1399" y="1867"/>
                  </a:lnTo>
                  <a:lnTo>
                    <a:pt x="1399" y="1886"/>
                  </a:lnTo>
                  <a:lnTo>
                    <a:pt x="1403" y="1891"/>
                  </a:lnTo>
                  <a:lnTo>
                    <a:pt x="1407" y="1896"/>
                  </a:lnTo>
                  <a:lnTo>
                    <a:pt x="1409" y="1895"/>
                  </a:lnTo>
                  <a:lnTo>
                    <a:pt x="1414" y="1890"/>
                  </a:lnTo>
                  <a:lnTo>
                    <a:pt x="1416" y="1891"/>
                  </a:lnTo>
                  <a:lnTo>
                    <a:pt x="1422" y="1897"/>
                  </a:lnTo>
                  <a:lnTo>
                    <a:pt x="1423" y="1902"/>
                  </a:lnTo>
                  <a:lnTo>
                    <a:pt x="1421" y="1908"/>
                  </a:lnTo>
                  <a:lnTo>
                    <a:pt x="1409" y="1925"/>
                  </a:lnTo>
                  <a:lnTo>
                    <a:pt x="1407" y="1931"/>
                  </a:lnTo>
                  <a:lnTo>
                    <a:pt x="1408" y="1934"/>
                  </a:lnTo>
                  <a:lnTo>
                    <a:pt x="1414" y="1939"/>
                  </a:lnTo>
                  <a:lnTo>
                    <a:pt x="1443" y="1954"/>
                  </a:lnTo>
                  <a:lnTo>
                    <a:pt x="1459" y="1966"/>
                  </a:lnTo>
                  <a:lnTo>
                    <a:pt x="1464" y="1973"/>
                  </a:lnTo>
                  <a:lnTo>
                    <a:pt x="1465" y="1986"/>
                  </a:lnTo>
                  <a:lnTo>
                    <a:pt x="1468" y="1994"/>
                  </a:lnTo>
                  <a:lnTo>
                    <a:pt x="1475" y="2005"/>
                  </a:lnTo>
                  <a:lnTo>
                    <a:pt x="1482" y="2011"/>
                  </a:lnTo>
                  <a:lnTo>
                    <a:pt x="1514" y="2023"/>
                  </a:lnTo>
                  <a:lnTo>
                    <a:pt x="1519" y="2034"/>
                  </a:lnTo>
                  <a:lnTo>
                    <a:pt x="1525" y="2043"/>
                  </a:lnTo>
                  <a:lnTo>
                    <a:pt x="1522" y="2068"/>
                  </a:lnTo>
                  <a:lnTo>
                    <a:pt x="1517" y="2079"/>
                  </a:lnTo>
                  <a:lnTo>
                    <a:pt x="1518" y="2084"/>
                  </a:lnTo>
                  <a:lnTo>
                    <a:pt x="1525" y="2101"/>
                  </a:lnTo>
                  <a:lnTo>
                    <a:pt x="1526" y="2106"/>
                  </a:lnTo>
                  <a:lnTo>
                    <a:pt x="1526" y="2113"/>
                  </a:lnTo>
                  <a:lnTo>
                    <a:pt x="1523" y="2125"/>
                  </a:lnTo>
                  <a:lnTo>
                    <a:pt x="1514" y="2143"/>
                  </a:lnTo>
                  <a:lnTo>
                    <a:pt x="1514" y="2151"/>
                  </a:lnTo>
                  <a:lnTo>
                    <a:pt x="1514" y="2151"/>
                  </a:lnTo>
                  <a:lnTo>
                    <a:pt x="1507" y="2149"/>
                  </a:lnTo>
                  <a:lnTo>
                    <a:pt x="1503" y="2149"/>
                  </a:lnTo>
                  <a:lnTo>
                    <a:pt x="1499" y="2153"/>
                  </a:lnTo>
                  <a:lnTo>
                    <a:pt x="1495" y="2161"/>
                  </a:lnTo>
                  <a:lnTo>
                    <a:pt x="1493" y="2163"/>
                  </a:lnTo>
                  <a:lnTo>
                    <a:pt x="1490" y="2163"/>
                  </a:lnTo>
                  <a:lnTo>
                    <a:pt x="1481" y="2158"/>
                  </a:lnTo>
                  <a:lnTo>
                    <a:pt x="1477" y="2158"/>
                  </a:lnTo>
                  <a:lnTo>
                    <a:pt x="1470" y="2164"/>
                  </a:lnTo>
                  <a:lnTo>
                    <a:pt x="1463" y="2173"/>
                  </a:lnTo>
                  <a:lnTo>
                    <a:pt x="1451" y="2182"/>
                  </a:lnTo>
                  <a:lnTo>
                    <a:pt x="1441" y="2187"/>
                  </a:lnTo>
                  <a:lnTo>
                    <a:pt x="1432" y="2189"/>
                  </a:lnTo>
                  <a:lnTo>
                    <a:pt x="1428" y="2188"/>
                  </a:lnTo>
                  <a:lnTo>
                    <a:pt x="1420" y="2179"/>
                  </a:lnTo>
                  <a:lnTo>
                    <a:pt x="1410" y="2179"/>
                  </a:lnTo>
                  <a:lnTo>
                    <a:pt x="1407" y="2177"/>
                  </a:lnTo>
                  <a:lnTo>
                    <a:pt x="1404" y="2172"/>
                  </a:lnTo>
                  <a:lnTo>
                    <a:pt x="1397" y="2150"/>
                  </a:lnTo>
                  <a:lnTo>
                    <a:pt x="1394" y="2148"/>
                  </a:lnTo>
                  <a:lnTo>
                    <a:pt x="1390" y="2147"/>
                  </a:lnTo>
                  <a:lnTo>
                    <a:pt x="1386" y="2148"/>
                  </a:lnTo>
                  <a:lnTo>
                    <a:pt x="1381" y="2152"/>
                  </a:lnTo>
                  <a:lnTo>
                    <a:pt x="1372" y="2174"/>
                  </a:lnTo>
                  <a:lnTo>
                    <a:pt x="1366" y="2175"/>
                  </a:lnTo>
                  <a:lnTo>
                    <a:pt x="1348" y="2171"/>
                  </a:lnTo>
                  <a:lnTo>
                    <a:pt x="1335" y="2170"/>
                  </a:lnTo>
                  <a:lnTo>
                    <a:pt x="1326" y="2179"/>
                  </a:lnTo>
                  <a:lnTo>
                    <a:pt x="1324" y="2181"/>
                  </a:lnTo>
                  <a:lnTo>
                    <a:pt x="1313" y="2178"/>
                  </a:lnTo>
                  <a:lnTo>
                    <a:pt x="1301" y="2175"/>
                  </a:lnTo>
                  <a:lnTo>
                    <a:pt x="1294" y="2171"/>
                  </a:lnTo>
                  <a:lnTo>
                    <a:pt x="1286" y="2165"/>
                  </a:lnTo>
                  <a:lnTo>
                    <a:pt x="1282" y="2163"/>
                  </a:lnTo>
                  <a:lnTo>
                    <a:pt x="1276" y="2163"/>
                  </a:lnTo>
                  <a:lnTo>
                    <a:pt x="1258" y="2166"/>
                  </a:lnTo>
                  <a:lnTo>
                    <a:pt x="1250" y="2166"/>
                  </a:lnTo>
                  <a:lnTo>
                    <a:pt x="1234" y="2161"/>
                  </a:lnTo>
                  <a:lnTo>
                    <a:pt x="1219" y="2155"/>
                  </a:lnTo>
                  <a:lnTo>
                    <a:pt x="1214" y="2153"/>
                  </a:lnTo>
                  <a:lnTo>
                    <a:pt x="1180" y="2152"/>
                  </a:lnTo>
                  <a:lnTo>
                    <a:pt x="1143" y="2147"/>
                  </a:lnTo>
                  <a:lnTo>
                    <a:pt x="1137" y="2148"/>
                  </a:lnTo>
                  <a:lnTo>
                    <a:pt x="1132" y="2151"/>
                  </a:lnTo>
                  <a:lnTo>
                    <a:pt x="1126" y="2153"/>
                  </a:lnTo>
                  <a:lnTo>
                    <a:pt x="1107" y="2156"/>
                  </a:lnTo>
                  <a:lnTo>
                    <a:pt x="1102" y="2160"/>
                  </a:lnTo>
                  <a:lnTo>
                    <a:pt x="1097" y="2165"/>
                  </a:lnTo>
                  <a:lnTo>
                    <a:pt x="1093" y="2170"/>
                  </a:lnTo>
                  <a:lnTo>
                    <a:pt x="1091" y="2175"/>
                  </a:lnTo>
                  <a:lnTo>
                    <a:pt x="1091" y="2179"/>
                  </a:lnTo>
                  <a:lnTo>
                    <a:pt x="1093" y="2182"/>
                  </a:lnTo>
                  <a:lnTo>
                    <a:pt x="1104" y="2186"/>
                  </a:lnTo>
                  <a:lnTo>
                    <a:pt x="1118" y="2190"/>
                  </a:lnTo>
                  <a:lnTo>
                    <a:pt x="1152" y="2197"/>
                  </a:lnTo>
                  <a:lnTo>
                    <a:pt x="1164" y="2205"/>
                  </a:lnTo>
                  <a:lnTo>
                    <a:pt x="1177" y="2209"/>
                  </a:lnTo>
                  <a:lnTo>
                    <a:pt x="1180" y="2211"/>
                  </a:lnTo>
                  <a:lnTo>
                    <a:pt x="1180" y="2214"/>
                  </a:lnTo>
                  <a:lnTo>
                    <a:pt x="1175" y="2257"/>
                  </a:lnTo>
                  <a:lnTo>
                    <a:pt x="1177" y="2263"/>
                  </a:lnTo>
                  <a:lnTo>
                    <a:pt x="1182" y="2271"/>
                  </a:lnTo>
                  <a:lnTo>
                    <a:pt x="1187" y="2272"/>
                  </a:lnTo>
                  <a:lnTo>
                    <a:pt x="1205" y="2264"/>
                  </a:lnTo>
                  <a:lnTo>
                    <a:pt x="1210" y="2264"/>
                  </a:lnTo>
                  <a:lnTo>
                    <a:pt x="1225" y="2269"/>
                  </a:lnTo>
                  <a:lnTo>
                    <a:pt x="1238" y="2273"/>
                  </a:lnTo>
                  <a:lnTo>
                    <a:pt x="1247" y="2276"/>
                  </a:lnTo>
                  <a:lnTo>
                    <a:pt x="1277" y="2296"/>
                  </a:lnTo>
                  <a:lnTo>
                    <a:pt x="1282" y="2337"/>
                  </a:lnTo>
                  <a:lnTo>
                    <a:pt x="1294" y="2351"/>
                  </a:lnTo>
                  <a:lnTo>
                    <a:pt x="1291" y="2356"/>
                  </a:lnTo>
                  <a:lnTo>
                    <a:pt x="1287" y="2359"/>
                  </a:lnTo>
                  <a:lnTo>
                    <a:pt x="1269" y="2363"/>
                  </a:lnTo>
                  <a:lnTo>
                    <a:pt x="1265" y="2364"/>
                  </a:lnTo>
                  <a:lnTo>
                    <a:pt x="1262" y="2368"/>
                  </a:lnTo>
                  <a:lnTo>
                    <a:pt x="1255" y="2380"/>
                  </a:lnTo>
                  <a:lnTo>
                    <a:pt x="1252" y="2383"/>
                  </a:lnTo>
                  <a:lnTo>
                    <a:pt x="1250" y="2385"/>
                  </a:lnTo>
                  <a:lnTo>
                    <a:pt x="1242" y="2383"/>
                  </a:lnTo>
                  <a:lnTo>
                    <a:pt x="1218" y="2373"/>
                  </a:lnTo>
                  <a:lnTo>
                    <a:pt x="1200" y="2370"/>
                  </a:lnTo>
                  <a:lnTo>
                    <a:pt x="1163" y="2379"/>
                  </a:lnTo>
                  <a:lnTo>
                    <a:pt x="1151" y="2379"/>
                  </a:lnTo>
                  <a:lnTo>
                    <a:pt x="1142" y="2375"/>
                  </a:lnTo>
                  <a:lnTo>
                    <a:pt x="1114" y="2384"/>
                  </a:lnTo>
                  <a:lnTo>
                    <a:pt x="1108" y="2388"/>
                  </a:lnTo>
                  <a:lnTo>
                    <a:pt x="1107" y="2389"/>
                  </a:lnTo>
                  <a:lnTo>
                    <a:pt x="1109" y="2392"/>
                  </a:lnTo>
                  <a:lnTo>
                    <a:pt x="1117" y="2401"/>
                  </a:lnTo>
                  <a:lnTo>
                    <a:pt x="1118" y="2404"/>
                  </a:lnTo>
                  <a:lnTo>
                    <a:pt x="1117" y="2408"/>
                  </a:lnTo>
                  <a:lnTo>
                    <a:pt x="1114" y="2417"/>
                  </a:lnTo>
                  <a:lnTo>
                    <a:pt x="1104" y="2432"/>
                  </a:lnTo>
                  <a:lnTo>
                    <a:pt x="1100" y="2437"/>
                  </a:lnTo>
                  <a:lnTo>
                    <a:pt x="1093" y="2440"/>
                  </a:lnTo>
                  <a:lnTo>
                    <a:pt x="1092" y="2444"/>
                  </a:lnTo>
                  <a:lnTo>
                    <a:pt x="1096" y="2462"/>
                  </a:lnTo>
                  <a:lnTo>
                    <a:pt x="1095" y="2476"/>
                  </a:lnTo>
                  <a:lnTo>
                    <a:pt x="1097" y="2481"/>
                  </a:lnTo>
                  <a:lnTo>
                    <a:pt x="1101" y="2484"/>
                  </a:lnTo>
                  <a:lnTo>
                    <a:pt x="1124" y="2496"/>
                  </a:lnTo>
                  <a:lnTo>
                    <a:pt x="1126" y="2501"/>
                  </a:lnTo>
                  <a:lnTo>
                    <a:pt x="1122" y="2516"/>
                  </a:lnTo>
                  <a:lnTo>
                    <a:pt x="1126" y="2540"/>
                  </a:lnTo>
                  <a:lnTo>
                    <a:pt x="1124" y="2560"/>
                  </a:lnTo>
                  <a:lnTo>
                    <a:pt x="1125" y="2566"/>
                  </a:lnTo>
                  <a:lnTo>
                    <a:pt x="1131" y="2578"/>
                  </a:lnTo>
                  <a:lnTo>
                    <a:pt x="1132" y="2586"/>
                  </a:lnTo>
                  <a:lnTo>
                    <a:pt x="1131" y="2590"/>
                  </a:lnTo>
                  <a:lnTo>
                    <a:pt x="1127" y="2603"/>
                  </a:lnTo>
                  <a:lnTo>
                    <a:pt x="1126" y="2608"/>
                  </a:lnTo>
                  <a:lnTo>
                    <a:pt x="1127" y="2614"/>
                  </a:lnTo>
                  <a:lnTo>
                    <a:pt x="1134" y="2624"/>
                  </a:lnTo>
                  <a:lnTo>
                    <a:pt x="1135" y="2632"/>
                  </a:lnTo>
                  <a:lnTo>
                    <a:pt x="1125" y="2646"/>
                  </a:lnTo>
                  <a:lnTo>
                    <a:pt x="1124" y="2653"/>
                  </a:lnTo>
                  <a:lnTo>
                    <a:pt x="1124" y="2657"/>
                  </a:lnTo>
                  <a:lnTo>
                    <a:pt x="1124" y="2657"/>
                  </a:lnTo>
                  <a:lnTo>
                    <a:pt x="1124" y="2657"/>
                  </a:lnTo>
                  <a:lnTo>
                    <a:pt x="1124" y="2657"/>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6" name="宁夏">
              <a:extLst>
                <a:ext uri="{FF2B5EF4-FFF2-40B4-BE49-F238E27FC236}">
                  <a16:creationId xmlns:a16="http://schemas.microsoft.com/office/drawing/2014/main" id="{3E48CF51-986C-186A-0F83-03A47FCF4179}"/>
                </a:ext>
              </a:extLst>
            </p:cNvPr>
            <p:cNvSpPr>
              <a:spLocks/>
            </p:cNvSpPr>
            <p:nvPr/>
          </p:nvSpPr>
          <p:spPr bwMode="auto">
            <a:xfrm>
              <a:off x="5564188" y="2847977"/>
              <a:ext cx="476250" cy="739775"/>
            </a:xfrm>
            <a:custGeom>
              <a:avLst/>
              <a:gdLst>
                <a:gd name="T0" fmla="*/ 862 w 900"/>
                <a:gd name="T1" fmla="*/ 560 h 1398"/>
                <a:gd name="T2" fmla="*/ 823 w 900"/>
                <a:gd name="T3" fmla="*/ 607 h 1398"/>
                <a:gd name="T4" fmla="*/ 807 w 900"/>
                <a:gd name="T5" fmla="*/ 655 h 1398"/>
                <a:gd name="T6" fmla="*/ 799 w 900"/>
                <a:gd name="T7" fmla="*/ 738 h 1398"/>
                <a:gd name="T8" fmla="*/ 795 w 900"/>
                <a:gd name="T9" fmla="*/ 775 h 1398"/>
                <a:gd name="T10" fmla="*/ 730 w 900"/>
                <a:gd name="T11" fmla="*/ 778 h 1398"/>
                <a:gd name="T12" fmla="*/ 676 w 900"/>
                <a:gd name="T13" fmla="*/ 772 h 1398"/>
                <a:gd name="T14" fmla="*/ 628 w 900"/>
                <a:gd name="T15" fmla="*/ 771 h 1398"/>
                <a:gd name="T16" fmla="*/ 618 w 900"/>
                <a:gd name="T17" fmla="*/ 832 h 1398"/>
                <a:gd name="T18" fmla="*/ 627 w 900"/>
                <a:gd name="T19" fmla="*/ 851 h 1398"/>
                <a:gd name="T20" fmla="*/ 622 w 900"/>
                <a:gd name="T21" fmla="*/ 901 h 1398"/>
                <a:gd name="T22" fmla="*/ 560 w 900"/>
                <a:gd name="T23" fmla="*/ 973 h 1398"/>
                <a:gd name="T24" fmla="*/ 577 w 900"/>
                <a:gd name="T25" fmla="*/ 1051 h 1398"/>
                <a:gd name="T26" fmla="*/ 605 w 900"/>
                <a:gd name="T27" fmla="*/ 1050 h 1398"/>
                <a:gd name="T28" fmla="*/ 647 w 900"/>
                <a:gd name="T29" fmla="*/ 1075 h 1398"/>
                <a:gd name="T30" fmla="*/ 701 w 900"/>
                <a:gd name="T31" fmla="*/ 1115 h 1398"/>
                <a:gd name="T32" fmla="*/ 682 w 900"/>
                <a:gd name="T33" fmla="*/ 1171 h 1398"/>
                <a:gd name="T34" fmla="*/ 678 w 900"/>
                <a:gd name="T35" fmla="*/ 1180 h 1398"/>
                <a:gd name="T36" fmla="*/ 674 w 900"/>
                <a:gd name="T37" fmla="*/ 1230 h 1398"/>
                <a:gd name="T38" fmla="*/ 611 w 900"/>
                <a:gd name="T39" fmla="*/ 1246 h 1398"/>
                <a:gd name="T40" fmla="*/ 567 w 900"/>
                <a:gd name="T41" fmla="*/ 1255 h 1398"/>
                <a:gd name="T42" fmla="*/ 575 w 900"/>
                <a:gd name="T43" fmla="*/ 1327 h 1398"/>
                <a:gd name="T44" fmla="*/ 541 w 900"/>
                <a:gd name="T45" fmla="*/ 1383 h 1398"/>
                <a:gd name="T46" fmla="*/ 502 w 900"/>
                <a:gd name="T47" fmla="*/ 1337 h 1398"/>
                <a:gd name="T48" fmla="*/ 460 w 900"/>
                <a:gd name="T49" fmla="*/ 1337 h 1398"/>
                <a:gd name="T50" fmla="*/ 418 w 900"/>
                <a:gd name="T51" fmla="*/ 1342 h 1398"/>
                <a:gd name="T52" fmla="*/ 446 w 900"/>
                <a:gd name="T53" fmla="*/ 1312 h 1398"/>
                <a:gd name="T54" fmla="*/ 395 w 900"/>
                <a:gd name="T55" fmla="*/ 1303 h 1398"/>
                <a:gd name="T56" fmla="*/ 372 w 900"/>
                <a:gd name="T57" fmla="*/ 1256 h 1398"/>
                <a:gd name="T58" fmla="*/ 380 w 900"/>
                <a:gd name="T59" fmla="*/ 1239 h 1398"/>
                <a:gd name="T60" fmla="*/ 340 w 900"/>
                <a:gd name="T61" fmla="*/ 1223 h 1398"/>
                <a:gd name="T62" fmla="*/ 303 w 900"/>
                <a:gd name="T63" fmla="*/ 1228 h 1398"/>
                <a:gd name="T64" fmla="*/ 275 w 900"/>
                <a:gd name="T65" fmla="*/ 1207 h 1398"/>
                <a:gd name="T66" fmla="*/ 269 w 900"/>
                <a:gd name="T67" fmla="*/ 1132 h 1398"/>
                <a:gd name="T68" fmla="*/ 309 w 900"/>
                <a:gd name="T69" fmla="*/ 1059 h 1398"/>
                <a:gd name="T70" fmla="*/ 286 w 900"/>
                <a:gd name="T71" fmla="*/ 964 h 1398"/>
                <a:gd name="T72" fmla="*/ 249 w 900"/>
                <a:gd name="T73" fmla="*/ 915 h 1398"/>
                <a:gd name="T74" fmla="*/ 271 w 900"/>
                <a:gd name="T75" fmla="*/ 849 h 1398"/>
                <a:gd name="T76" fmla="*/ 238 w 900"/>
                <a:gd name="T77" fmla="*/ 788 h 1398"/>
                <a:gd name="T78" fmla="*/ 148 w 900"/>
                <a:gd name="T79" fmla="*/ 704 h 1398"/>
                <a:gd name="T80" fmla="*/ 100 w 900"/>
                <a:gd name="T81" fmla="*/ 695 h 1398"/>
                <a:gd name="T82" fmla="*/ 110 w 900"/>
                <a:gd name="T83" fmla="*/ 656 h 1398"/>
                <a:gd name="T84" fmla="*/ 0 w 900"/>
                <a:gd name="T85" fmla="*/ 644 h 1398"/>
                <a:gd name="T86" fmla="*/ 168 w 900"/>
                <a:gd name="T87" fmla="*/ 611 h 1398"/>
                <a:gd name="T88" fmla="*/ 376 w 900"/>
                <a:gd name="T89" fmla="*/ 541 h 1398"/>
                <a:gd name="T90" fmla="*/ 433 w 900"/>
                <a:gd name="T91" fmla="*/ 485 h 1398"/>
                <a:gd name="T92" fmla="*/ 422 w 900"/>
                <a:gd name="T93" fmla="*/ 394 h 1398"/>
                <a:gd name="T94" fmla="*/ 444 w 900"/>
                <a:gd name="T95" fmla="*/ 271 h 1398"/>
                <a:gd name="T96" fmla="*/ 527 w 900"/>
                <a:gd name="T97" fmla="*/ 86 h 1398"/>
                <a:gd name="T98" fmla="*/ 567 w 900"/>
                <a:gd name="T99" fmla="*/ 37 h 1398"/>
                <a:gd name="T100" fmla="*/ 651 w 900"/>
                <a:gd name="T101" fmla="*/ 0 h 1398"/>
                <a:gd name="T102" fmla="*/ 712 w 900"/>
                <a:gd name="T103" fmla="*/ 77 h 1398"/>
                <a:gd name="T104" fmla="*/ 700 w 900"/>
                <a:gd name="T105" fmla="*/ 180 h 1398"/>
                <a:gd name="T106" fmla="*/ 619 w 900"/>
                <a:gd name="T107" fmla="*/ 366 h 1398"/>
                <a:gd name="T108" fmla="*/ 750 w 900"/>
                <a:gd name="T109" fmla="*/ 430 h 1398"/>
                <a:gd name="T110" fmla="*/ 862 w 900"/>
                <a:gd name="T111" fmla="*/ 501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0" h="1398">
                  <a:moveTo>
                    <a:pt x="900" y="521"/>
                  </a:moveTo>
                  <a:lnTo>
                    <a:pt x="900" y="536"/>
                  </a:lnTo>
                  <a:lnTo>
                    <a:pt x="898" y="542"/>
                  </a:lnTo>
                  <a:lnTo>
                    <a:pt x="894" y="546"/>
                  </a:lnTo>
                  <a:lnTo>
                    <a:pt x="889" y="550"/>
                  </a:lnTo>
                  <a:lnTo>
                    <a:pt x="870" y="553"/>
                  </a:lnTo>
                  <a:lnTo>
                    <a:pt x="865" y="556"/>
                  </a:lnTo>
                  <a:lnTo>
                    <a:pt x="862" y="560"/>
                  </a:lnTo>
                  <a:lnTo>
                    <a:pt x="854" y="576"/>
                  </a:lnTo>
                  <a:lnTo>
                    <a:pt x="850" y="582"/>
                  </a:lnTo>
                  <a:lnTo>
                    <a:pt x="847" y="583"/>
                  </a:lnTo>
                  <a:lnTo>
                    <a:pt x="831" y="586"/>
                  </a:lnTo>
                  <a:lnTo>
                    <a:pt x="829" y="590"/>
                  </a:lnTo>
                  <a:lnTo>
                    <a:pt x="828" y="599"/>
                  </a:lnTo>
                  <a:lnTo>
                    <a:pt x="827" y="604"/>
                  </a:lnTo>
                  <a:lnTo>
                    <a:pt x="823" y="607"/>
                  </a:lnTo>
                  <a:lnTo>
                    <a:pt x="815" y="614"/>
                  </a:lnTo>
                  <a:lnTo>
                    <a:pt x="812" y="617"/>
                  </a:lnTo>
                  <a:lnTo>
                    <a:pt x="812" y="619"/>
                  </a:lnTo>
                  <a:lnTo>
                    <a:pt x="822" y="628"/>
                  </a:lnTo>
                  <a:lnTo>
                    <a:pt x="823" y="632"/>
                  </a:lnTo>
                  <a:lnTo>
                    <a:pt x="821" y="636"/>
                  </a:lnTo>
                  <a:lnTo>
                    <a:pt x="810" y="650"/>
                  </a:lnTo>
                  <a:lnTo>
                    <a:pt x="807" y="655"/>
                  </a:lnTo>
                  <a:lnTo>
                    <a:pt x="801" y="677"/>
                  </a:lnTo>
                  <a:lnTo>
                    <a:pt x="799" y="699"/>
                  </a:lnTo>
                  <a:lnTo>
                    <a:pt x="801" y="708"/>
                  </a:lnTo>
                  <a:lnTo>
                    <a:pt x="808" y="723"/>
                  </a:lnTo>
                  <a:lnTo>
                    <a:pt x="809" y="730"/>
                  </a:lnTo>
                  <a:lnTo>
                    <a:pt x="808" y="733"/>
                  </a:lnTo>
                  <a:lnTo>
                    <a:pt x="800" y="736"/>
                  </a:lnTo>
                  <a:lnTo>
                    <a:pt x="799" y="738"/>
                  </a:lnTo>
                  <a:lnTo>
                    <a:pt x="802" y="745"/>
                  </a:lnTo>
                  <a:lnTo>
                    <a:pt x="810" y="758"/>
                  </a:lnTo>
                  <a:lnTo>
                    <a:pt x="811" y="762"/>
                  </a:lnTo>
                  <a:lnTo>
                    <a:pt x="810" y="768"/>
                  </a:lnTo>
                  <a:lnTo>
                    <a:pt x="809" y="774"/>
                  </a:lnTo>
                  <a:lnTo>
                    <a:pt x="808" y="776"/>
                  </a:lnTo>
                  <a:lnTo>
                    <a:pt x="803" y="777"/>
                  </a:lnTo>
                  <a:lnTo>
                    <a:pt x="795" y="775"/>
                  </a:lnTo>
                  <a:lnTo>
                    <a:pt x="794" y="776"/>
                  </a:lnTo>
                  <a:lnTo>
                    <a:pt x="793" y="780"/>
                  </a:lnTo>
                  <a:lnTo>
                    <a:pt x="793" y="780"/>
                  </a:lnTo>
                  <a:lnTo>
                    <a:pt x="773" y="773"/>
                  </a:lnTo>
                  <a:lnTo>
                    <a:pt x="754" y="771"/>
                  </a:lnTo>
                  <a:lnTo>
                    <a:pt x="744" y="772"/>
                  </a:lnTo>
                  <a:lnTo>
                    <a:pt x="739" y="774"/>
                  </a:lnTo>
                  <a:lnTo>
                    <a:pt x="730" y="778"/>
                  </a:lnTo>
                  <a:lnTo>
                    <a:pt x="722" y="779"/>
                  </a:lnTo>
                  <a:lnTo>
                    <a:pt x="705" y="767"/>
                  </a:lnTo>
                  <a:lnTo>
                    <a:pt x="702" y="766"/>
                  </a:lnTo>
                  <a:lnTo>
                    <a:pt x="699" y="767"/>
                  </a:lnTo>
                  <a:lnTo>
                    <a:pt x="696" y="769"/>
                  </a:lnTo>
                  <a:lnTo>
                    <a:pt x="695" y="778"/>
                  </a:lnTo>
                  <a:lnTo>
                    <a:pt x="693" y="781"/>
                  </a:lnTo>
                  <a:lnTo>
                    <a:pt x="676" y="772"/>
                  </a:lnTo>
                  <a:lnTo>
                    <a:pt x="670" y="774"/>
                  </a:lnTo>
                  <a:lnTo>
                    <a:pt x="663" y="774"/>
                  </a:lnTo>
                  <a:lnTo>
                    <a:pt x="660" y="776"/>
                  </a:lnTo>
                  <a:lnTo>
                    <a:pt x="657" y="781"/>
                  </a:lnTo>
                  <a:lnTo>
                    <a:pt x="654" y="782"/>
                  </a:lnTo>
                  <a:lnTo>
                    <a:pt x="648" y="780"/>
                  </a:lnTo>
                  <a:lnTo>
                    <a:pt x="633" y="772"/>
                  </a:lnTo>
                  <a:lnTo>
                    <a:pt x="628" y="771"/>
                  </a:lnTo>
                  <a:lnTo>
                    <a:pt x="627" y="773"/>
                  </a:lnTo>
                  <a:lnTo>
                    <a:pt x="627" y="778"/>
                  </a:lnTo>
                  <a:lnTo>
                    <a:pt x="634" y="794"/>
                  </a:lnTo>
                  <a:lnTo>
                    <a:pt x="635" y="800"/>
                  </a:lnTo>
                  <a:lnTo>
                    <a:pt x="634" y="808"/>
                  </a:lnTo>
                  <a:lnTo>
                    <a:pt x="630" y="820"/>
                  </a:lnTo>
                  <a:lnTo>
                    <a:pt x="619" y="832"/>
                  </a:lnTo>
                  <a:lnTo>
                    <a:pt x="618" y="832"/>
                  </a:lnTo>
                  <a:lnTo>
                    <a:pt x="611" y="832"/>
                  </a:lnTo>
                  <a:lnTo>
                    <a:pt x="600" y="827"/>
                  </a:lnTo>
                  <a:lnTo>
                    <a:pt x="604" y="836"/>
                  </a:lnTo>
                  <a:lnTo>
                    <a:pt x="609" y="842"/>
                  </a:lnTo>
                  <a:lnTo>
                    <a:pt x="614" y="845"/>
                  </a:lnTo>
                  <a:lnTo>
                    <a:pt x="624" y="848"/>
                  </a:lnTo>
                  <a:lnTo>
                    <a:pt x="627" y="850"/>
                  </a:lnTo>
                  <a:lnTo>
                    <a:pt x="627" y="851"/>
                  </a:lnTo>
                  <a:lnTo>
                    <a:pt x="624" y="858"/>
                  </a:lnTo>
                  <a:lnTo>
                    <a:pt x="630" y="866"/>
                  </a:lnTo>
                  <a:lnTo>
                    <a:pt x="631" y="871"/>
                  </a:lnTo>
                  <a:lnTo>
                    <a:pt x="625" y="883"/>
                  </a:lnTo>
                  <a:lnTo>
                    <a:pt x="625" y="889"/>
                  </a:lnTo>
                  <a:lnTo>
                    <a:pt x="625" y="897"/>
                  </a:lnTo>
                  <a:lnTo>
                    <a:pt x="624" y="900"/>
                  </a:lnTo>
                  <a:lnTo>
                    <a:pt x="622" y="901"/>
                  </a:lnTo>
                  <a:lnTo>
                    <a:pt x="605" y="904"/>
                  </a:lnTo>
                  <a:lnTo>
                    <a:pt x="600" y="906"/>
                  </a:lnTo>
                  <a:lnTo>
                    <a:pt x="575" y="935"/>
                  </a:lnTo>
                  <a:lnTo>
                    <a:pt x="570" y="958"/>
                  </a:lnTo>
                  <a:lnTo>
                    <a:pt x="556" y="958"/>
                  </a:lnTo>
                  <a:lnTo>
                    <a:pt x="552" y="961"/>
                  </a:lnTo>
                  <a:lnTo>
                    <a:pt x="553" y="967"/>
                  </a:lnTo>
                  <a:lnTo>
                    <a:pt x="560" y="973"/>
                  </a:lnTo>
                  <a:lnTo>
                    <a:pt x="588" y="989"/>
                  </a:lnTo>
                  <a:lnTo>
                    <a:pt x="589" y="992"/>
                  </a:lnTo>
                  <a:lnTo>
                    <a:pt x="593" y="1023"/>
                  </a:lnTo>
                  <a:lnTo>
                    <a:pt x="593" y="1033"/>
                  </a:lnTo>
                  <a:lnTo>
                    <a:pt x="593" y="1041"/>
                  </a:lnTo>
                  <a:lnTo>
                    <a:pt x="589" y="1047"/>
                  </a:lnTo>
                  <a:lnTo>
                    <a:pt x="577" y="1044"/>
                  </a:lnTo>
                  <a:lnTo>
                    <a:pt x="577" y="1051"/>
                  </a:lnTo>
                  <a:lnTo>
                    <a:pt x="579" y="1055"/>
                  </a:lnTo>
                  <a:lnTo>
                    <a:pt x="583" y="1058"/>
                  </a:lnTo>
                  <a:lnTo>
                    <a:pt x="588" y="1060"/>
                  </a:lnTo>
                  <a:lnTo>
                    <a:pt x="593" y="1061"/>
                  </a:lnTo>
                  <a:lnTo>
                    <a:pt x="598" y="1061"/>
                  </a:lnTo>
                  <a:lnTo>
                    <a:pt x="602" y="1059"/>
                  </a:lnTo>
                  <a:lnTo>
                    <a:pt x="603" y="1057"/>
                  </a:lnTo>
                  <a:lnTo>
                    <a:pt x="605" y="1050"/>
                  </a:lnTo>
                  <a:lnTo>
                    <a:pt x="607" y="1048"/>
                  </a:lnTo>
                  <a:lnTo>
                    <a:pt x="621" y="1054"/>
                  </a:lnTo>
                  <a:lnTo>
                    <a:pt x="631" y="1055"/>
                  </a:lnTo>
                  <a:lnTo>
                    <a:pt x="635" y="1057"/>
                  </a:lnTo>
                  <a:lnTo>
                    <a:pt x="637" y="1060"/>
                  </a:lnTo>
                  <a:lnTo>
                    <a:pt x="636" y="1064"/>
                  </a:lnTo>
                  <a:lnTo>
                    <a:pt x="637" y="1067"/>
                  </a:lnTo>
                  <a:lnTo>
                    <a:pt x="647" y="1075"/>
                  </a:lnTo>
                  <a:lnTo>
                    <a:pt x="652" y="1078"/>
                  </a:lnTo>
                  <a:lnTo>
                    <a:pt x="656" y="1078"/>
                  </a:lnTo>
                  <a:lnTo>
                    <a:pt x="661" y="1077"/>
                  </a:lnTo>
                  <a:lnTo>
                    <a:pt x="669" y="1069"/>
                  </a:lnTo>
                  <a:lnTo>
                    <a:pt x="673" y="1072"/>
                  </a:lnTo>
                  <a:lnTo>
                    <a:pt x="688" y="1099"/>
                  </a:lnTo>
                  <a:lnTo>
                    <a:pt x="697" y="1110"/>
                  </a:lnTo>
                  <a:lnTo>
                    <a:pt x="701" y="1115"/>
                  </a:lnTo>
                  <a:lnTo>
                    <a:pt x="690" y="1162"/>
                  </a:lnTo>
                  <a:lnTo>
                    <a:pt x="687" y="1162"/>
                  </a:lnTo>
                  <a:lnTo>
                    <a:pt x="681" y="1157"/>
                  </a:lnTo>
                  <a:lnTo>
                    <a:pt x="676" y="1156"/>
                  </a:lnTo>
                  <a:lnTo>
                    <a:pt x="673" y="1159"/>
                  </a:lnTo>
                  <a:lnTo>
                    <a:pt x="673" y="1164"/>
                  </a:lnTo>
                  <a:lnTo>
                    <a:pt x="676" y="1169"/>
                  </a:lnTo>
                  <a:lnTo>
                    <a:pt x="682" y="1171"/>
                  </a:lnTo>
                  <a:lnTo>
                    <a:pt x="699" y="1167"/>
                  </a:lnTo>
                  <a:lnTo>
                    <a:pt x="703" y="1167"/>
                  </a:lnTo>
                  <a:lnTo>
                    <a:pt x="703" y="1168"/>
                  </a:lnTo>
                  <a:lnTo>
                    <a:pt x="701" y="1174"/>
                  </a:lnTo>
                  <a:lnTo>
                    <a:pt x="699" y="1176"/>
                  </a:lnTo>
                  <a:lnTo>
                    <a:pt x="693" y="1177"/>
                  </a:lnTo>
                  <a:lnTo>
                    <a:pt x="684" y="1177"/>
                  </a:lnTo>
                  <a:lnTo>
                    <a:pt x="678" y="1180"/>
                  </a:lnTo>
                  <a:lnTo>
                    <a:pt x="676" y="1181"/>
                  </a:lnTo>
                  <a:lnTo>
                    <a:pt x="675" y="1190"/>
                  </a:lnTo>
                  <a:lnTo>
                    <a:pt x="676" y="1199"/>
                  </a:lnTo>
                  <a:lnTo>
                    <a:pt x="686" y="1209"/>
                  </a:lnTo>
                  <a:lnTo>
                    <a:pt x="689" y="1215"/>
                  </a:lnTo>
                  <a:lnTo>
                    <a:pt x="689" y="1223"/>
                  </a:lnTo>
                  <a:lnTo>
                    <a:pt x="687" y="1228"/>
                  </a:lnTo>
                  <a:lnTo>
                    <a:pt x="674" y="1230"/>
                  </a:lnTo>
                  <a:lnTo>
                    <a:pt x="668" y="1236"/>
                  </a:lnTo>
                  <a:lnTo>
                    <a:pt x="654" y="1240"/>
                  </a:lnTo>
                  <a:lnTo>
                    <a:pt x="649" y="1243"/>
                  </a:lnTo>
                  <a:lnTo>
                    <a:pt x="640" y="1244"/>
                  </a:lnTo>
                  <a:lnTo>
                    <a:pt x="632" y="1253"/>
                  </a:lnTo>
                  <a:lnTo>
                    <a:pt x="629" y="1255"/>
                  </a:lnTo>
                  <a:lnTo>
                    <a:pt x="622" y="1253"/>
                  </a:lnTo>
                  <a:lnTo>
                    <a:pt x="611" y="1246"/>
                  </a:lnTo>
                  <a:lnTo>
                    <a:pt x="600" y="1240"/>
                  </a:lnTo>
                  <a:lnTo>
                    <a:pt x="585" y="1236"/>
                  </a:lnTo>
                  <a:lnTo>
                    <a:pt x="582" y="1235"/>
                  </a:lnTo>
                  <a:lnTo>
                    <a:pt x="579" y="1237"/>
                  </a:lnTo>
                  <a:lnTo>
                    <a:pt x="571" y="1241"/>
                  </a:lnTo>
                  <a:lnTo>
                    <a:pt x="567" y="1245"/>
                  </a:lnTo>
                  <a:lnTo>
                    <a:pt x="566" y="1248"/>
                  </a:lnTo>
                  <a:lnTo>
                    <a:pt x="567" y="1255"/>
                  </a:lnTo>
                  <a:lnTo>
                    <a:pt x="578" y="1288"/>
                  </a:lnTo>
                  <a:lnTo>
                    <a:pt x="581" y="1308"/>
                  </a:lnTo>
                  <a:lnTo>
                    <a:pt x="580" y="1310"/>
                  </a:lnTo>
                  <a:lnTo>
                    <a:pt x="571" y="1308"/>
                  </a:lnTo>
                  <a:lnTo>
                    <a:pt x="568" y="1313"/>
                  </a:lnTo>
                  <a:lnTo>
                    <a:pt x="566" y="1320"/>
                  </a:lnTo>
                  <a:lnTo>
                    <a:pt x="568" y="1325"/>
                  </a:lnTo>
                  <a:lnTo>
                    <a:pt x="575" y="1327"/>
                  </a:lnTo>
                  <a:lnTo>
                    <a:pt x="578" y="1329"/>
                  </a:lnTo>
                  <a:lnTo>
                    <a:pt x="577" y="1338"/>
                  </a:lnTo>
                  <a:lnTo>
                    <a:pt x="573" y="1352"/>
                  </a:lnTo>
                  <a:lnTo>
                    <a:pt x="563" y="1372"/>
                  </a:lnTo>
                  <a:lnTo>
                    <a:pt x="559" y="1374"/>
                  </a:lnTo>
                  <a:lnTo>
                    <a:pt x="546" y="1377"/>
                  </a:lnTo>
                  <a:lnTo>
                    <a:pt x="543" y="1379"/>
                  </a:lnTo>
                  <a:lnTo>
                    <a:pt x="541" y="1383"/>
                  </a:lnTo>
                  <a:lnTo>
                    <a:pt x="542" y="1391"/>
                  </a:lnTo>
                  <a:lnTo>
                    <a:pt x="539" y="1396"/>
                  </a:lnTo>
                  <a:lnTo>
                    <a:pt x="537" y="1398"/>
                  </a:lnTo>
                  <a:lnTo>
                    <a:pt x="531" y="1396"/>
                  </a:lnTo>
                  <a:lnTo>
                    <a:pt x="527" y="1391"/>
                  </a:lnTo>
                  <a:lnTo>
                    <a:pt x="511" y="1371"/>
                  </a:lnTo>
                  <a:lnTo>
                    <a:pt x="504" y="1341"/>
                  </a:lnTo>
                  <a:lnTo>
                    <a:pt x="502" y="1337"/>
                  </a:lnTo>
                  <a:lnTo>
                    <a:pt x="488" y="1334"/>
                  </a:lnTo>
                  <a:lnTo>
                    <a:pt x="479" y="1328"/>
                  </a:lnTo>
                  <a:lnTo>
                    <a:pt x="476" y="1332"/>
                  </a:lnTo>
                  <a:lnTo>
                    <a:pt x="470" y="1348"/>
                  </a:lnTo>
                  <a:lnTo>
                    <a:pt x="468" y="1350"/>
                  </a:lnTo>
                  <a:lnTo>
                    <a:pt x="465" y="1351"/>
                  </a:lnTo>
                  <a:lnTo>
                    <a:pt x="462" y="1347"/>
                  </a:lnTo>
                  <a:lnTo>
                    <a:pt x="460" y="1337"/>
                  </a:lnTo>
                  <a:lnTo>
                    <a:pt x="462" y="1326"/>
                  </a:lnTo>
                  <a:lnTo>
                    <a:pt x="460" y="1325"/>
                  </a:lnTo>
                  <a:lnTo>
                    <a:pt x="454" y="1325"/>
                  </a:lnTo>
                  <a:lnTo>
                    <a:pt x="448" y="1321"/>
                  </a:lnTo>
                  <a:lnTo>
                    <a:pt x="442" y="1325"/>
                  </a:lnTo>
                  <a:lnTo>
                    <a:pt x="433" y="1333"/>
                  </a:lnTo>
                  <a:lnTo>
                    <a:pt x="422" y="1339"/>
                  </a:lnTo>
                  <a:lnTo>
                    <a:pt x="418" y="1342"/>
                  </a:lnTo>
                  <a:lnTo>
                    <a:pt x="415" y="1341"/>
                  </a:lnTo>
                  <a:lnTo>
                    <a:pt x="415" y="1338"/>
                  </a:lnTo>
                  <a:lnTo>
                    <a:pt x="416" y="1335"/>
                  </a:lnTo>
                  <a:lnTo>
                    <a:pt x="421" y="1328"/>
                  </a:lnTo>
                  <a:lnTo>
                    <a:pt x="428" y="1324"/>
                  </a:lnTo>
                  <a:lnTo>
                    <a:pt x="441" y="1317"/>
                  </a:lnTo>
                  <a:lnTo>
                    <a:pt x="444" y="1314"/>
                  </a:lnTo>
                  <a:lnTo>
                    <a:pt x="446" y="1312"/>
                  </a:lnTo>
                  <a:lnTo>
                    <a:pt x="443" y="1310"/>
                  </a:lnTo>
                  <a:lnTo>
                    <a:pt x="433" y="1303"/>
                  </a:lnTo>
                  <a:lnTo>
                    <a:pt x="419" y="1291"/>
                  </a:lnTo>
                  <a:lnTo>
                    <a:pt x="413" y="1287"/>
                  </a:lnTo>
                  <a:lnTo>
                    <a:pt x="410" y="1289"/>
                  </a:lnTo>
                  <a:lnTo>
                    <a:pt x="397" y="1302"/>
                  </a:lnTo>
                  <a:lnTo>
                    <a:pt x="395" y="1303"/>
                  </a:lnTo>
                  <a:lnTo>
                    <a:pt x="395" y="1303"/>
                  </a:lnTo>
                  <a:lnTo>
                    <a:pt x="392" y="1296"/>
                  </a:lnTo>
                  <a:lnTo>
                    <a:pt x="394" y="1278"/>
                  </a:lnTo>
                  <a:lnTo>
                    <a:pt x="392" y="1276"/>
                  </a:lnTo>
                  <a:lnTo>
                    <a:pt x="386" y="1276"/>
                  </a:lnTo>
                  <a:lnTo>
                    <a:pt x="384" y="1274"/>
                  </a:lnTo>
                  <a:lnTo>
                    <a:pt x="380" y="1256"/>
                  </a:lnTo>
                  <a:lnTo>
                    <a:pt x="378" y="1255"/>
                  </a:lnTo>
                  <a:lnTo>
                    <a:pt x="372" y="1256"/>
                  </a:lnTo>
                  <a:lnTo>
                    <a:pt x="370" y="1256"/>
                  </a:lnTo>
                  <a:lnTo>
                    <a:pt x="367" y="1246"/>
                  </a:lnTo>
                  <a:lnTo>
                    <a:pt x="362" y="1243"/>
                  </a:lnTo>
                  <a:lnTo>
                    <a:pt x="361" y="1242"/>
                  </a:lnTo>
                  <a:lnTo>
                    <a:pt x="365" y="1238"/>
                  </a:lnTo>
                  <a:lnTo>
                    <a:pt x="370" y="1236"/>
                  </a:lnTo>
                  <a:lnTo>
                    <a:pt x="375" y="1236"/>
                  </a:lnTo>
                  <a:lnTo>
                    <a:pt x="380" y="1239"/>
                  </a:lnTo>
                  <a:lnTo>
                    <a:pt x="383" y="1239"/>
                  </a:lnTo>
                  <a:lnTo>
                    <a:pt x="384" y="1236"/>
                  </a:lnTo>
                  <a:lnTo>
                    <a:pt x="383" y="1229"/>
                  </a:lnTo>
                  <a:lnTo>
                    <a:pt x="380" y="1224"/>
                  </a:lnTo>
                  <a:lnTo>
                    <a:pt x="376" y="1223"/>
                  </a:lnTo>
                  <a:lnTo>
                    <a:pt x="359" y="1221"/>
                  </a:lnTo>
                  <a:lnTo>
                    <a:pt x="348" y="1222"/>
                  </a:lnTo>
                  <a:lnTo>
                    <a:pt x="340" y="1223"/>
                  </a:lnTo>
                  <a:lnTo>
                    <a:pt x="334" y="1226"/>
                  </a:lnTo>
                  <a:lnTo>
                    <a:pt x="329" y="1231"/>
                  </a:lnTo>
                  <a:lnTo>
                    <a:pt x="326" y="1237"/>
                  </a:lnTo>
                  <a:lnTo>
                    <a:pt x="322" y="1244"/>
                  </a:lnTo>
                  <a:lnTo>
                    <a:pt x="320" y="1245"/>
                  </a:lnTo>
                  <a:lnTo>
                    <a:pt x="317" y="1243"/>
                  </a:lnTo>
                  <a:lnTo>
                    <a:pt x="310" y="1230"/>
                  </a:lnTo>
                  <a:lnTo>
                    <a:pt x="303" y="1228"/>
                  </a:lnTo>
                  <a:lnTo>
                    <a:pt x="300" y="1227"/>
                  </a:lnTo>
                  <a:lnTo>
                    <a:pt x="298" y="1221"/>
                  </a:lnTo>
                  <a:lnTo>
                    <a:pt x="296" y="1206"/>
                  </a:lnTo>
                  <a:lnTo>
                    <a:pt x="294" y="1202"/>
                  </a:lnTo>
                  <a:lnTo>
                    <a:pt x="291" y="1201"/>
                  </a:lnTo>
                  <a:lnTo>
                    <a:pt x="288" y="1201"/>
                  </a:lnTo>
                  <a:lnTo>
                    <a:pt x="277" y="1207"/>
                  </a:lnTo>
                  <a:lnTo>
                    <a:pt x="275" y="1207"/>
                  </a:lnTo>
                  <a:lnTo>
                    <a:pt x="276" y="1198"/>
                  </a:lnTo>
                  <a:lnTo>
                    <a:pt x="281" y="1187"/>
                  </a:lnTo>
                  <a:lnTo>
                    <a:pt x="282" y="1184"/>
                  </a:lnTo>
                  <a:lnTo>
                    <a:pt x="279" y="1180"/>
                  </a:lnTo>
                  <a:lnTo>
                    <a:pt x="272" y="1175"/>
                  </a:lnTo>
                  <a:lnTo>
                    <a:pt x="269" y="1169"/>
                  </a:lnTo>
                  <a:lnTo>
                    <a:pt x="268" y="1145"/>
                  </a:lnTo>
                  <a:lnTo>
                    <a:pt x="269" y="1132"/>
                  </a:lnTo>
                  <a:lnTo>
                    <a:pt x="270" y="1123"/>
                  </a:lnTo>
                  <a:lnTo>
                    <a:pt x="272" y="1120"/>
                  </a:lnTo>
                  <a:lnTo>
                    <a:pt x="290" y="1108"/>
                  </a:lnTo>
                  <a:lnTo>
                    <a:pt x="314" y="1095"/>
                  </a:lnTo>
                  <a:lnTo>
                    <a:pt x="316" y="1091"/>
                  </a:lnTo>
                  <a:lnTo>
                    <a:pt x="317" y="1083"/>
                  </a:lnTo>
                  <a:lnTo>
                    <a:pt x="314" y="1074"/>
                  </a:lnTo>
                  <a:lnTo>
                    <a:pt x="309" y="1059"/>
                  </a:lnTo>
                  <a:lnTo>
                    <a:pt x="307" y="1054"/>
                  </a:lnTo>
                  <a:lnTo>
                    <a:pt x="308" y="1047"/>
                  </a:lnTo>
                  <a:lnTo>
                    <a:pt x="311" y="1037"/>
                  </a:lnTo>
                  <a:lnTo>
                    <a:pt x="310" y="1032"/>
                  </a:lnTo>
                  <a:lnTo>
                    <a:pt x="299" y="1013"/>
                  </a:lnTo>
                  <a:lnTo>
                    <a:pt x="294" y="989"/>
                  </a:lnTo>
                  <a:lnTo>
                    <a:pt x="288" y="973"/>
                  </a:lnTo>
                  <a:lnTo>
                    <a:pt x="286" y="964"/>
                  </a:lnTo>
                  <a:lnTo>
                    <a:pt x="284" y="960"/>
                  </a:lnTo>
                  <a:lnTo>
                    <a:pt x="281" y="959"/>
                  </a:lnTo>
                  <a:lnTo>
                    <a:pt x="262" y="956"/>
                  </a:lnTo>
                  <a:lnTo>
                    <a:pt x="259" y="955"/>
                  </a:lnTo>
                  <a:lnTo>
                    <a:pt x="258" y="951"/>
                  </a:lnTo>
                  <a:lnTo>
                    <a:pt x="260" y="940"/>
                  </a:lnTo>
                  <a:lnTo>
                    <a:pt x="260" y="935"/>
                  </a:lnTo>
                  <a:lnTo>
                    <a:pt x="249" y="915"/>
                  </a:lnTo>
                  <a:lnTo>
                    <a:pt x="243" y="902"/>
                  </a:lnTo>
                  <a:lnTo>
                    <a:pt x="242" y="894"/>
                  </a:lnTo>
                  <a:lnTo>
                    <a:pt x="244" y="889"/>
                  </a:lnTo>
                  <a:lnTo>
                    <a:pt x="250" y="887"/>
                  </a:lnTo>
                  <a:lnTo>
                    <a:pt x="272" y="881"/>
                  </a:lnTo>
                  <a:lnTo>
                    <a:pt x="274" y="877"/>
                  </a:lnTo>
                  <a:lnTo>
                    <a:pt x="275" y="871"/>
                  </a:lnTo>
                  <a:lnTo>
                    <a:pt x="271" y="849"/>
                  </a:lnTo>
                  <a:lnTo>
                    <a:pt x="268" y="844"/>
                  </a:lnTo>
                  <a:lnTo>
                    <a:pt x="263" y="836"/>
                  </a:lnTo>
                  <a:lnTo>
                    <a:pt x="260" y="833"/>
                  </a:lnTo>
                  <a:lnTo>
                    <a:pt x="245" y="832"/>
                  </a:lnTo>
                  <a:lnTo>
                    <a:pt x="243" y="831"/>
                  </a:lnTo>
                  <a:lnTo>
                    <a:pt x="241" y="820"/>
                  </a:lnTo>
                  <a:lnTo>
                    <a:pt x="239" y="794"/>
                  </a:lnTo>
                  <a:lnTo>
                    <a:pt x="238" y="788"/>
                  </a:lnTo>
                  <a:lnTo>
                    <a:pt x="236" y="786"/>
                  </a:lnTo>
                  <a:lnTo>
                    <a:pt x="233" y="785"/>
                  </a:lnTo>
                  <a:lnTo>
                    <a:pt x="201" y="777"/>
                  </a:lnTo>
                  <a:lnTo>
                    <a:pt x="192" y="772"/>
                  </a:lnTo>
                  <a:lnTo>
                    <a:pt x="185" y="762"/>
                  </a:lnTo>
                  <a:lnTo>
                    <a:pt x="164" y="720"/>
                  </a:lnTo>
                  <a:lnTo>
                    <a:pt x="152" y="705"/>
                  </a:lnTo>
                  <a:lnTo>
                    <a:pt x="148" y="704"/>
                  </a:lnTo>
                  <a:lnTo>
                    <a:pt x="143" y="706"/>
                  </a:lnTo>
                  <a:lnTo>
                    <a:pt x="129" y="717"/>
                  </a:lnTo>
                  <a:lnTo>
                    <a:pt x="124" y="719"/>
                  </a:lnTo>
                  <a:lnTo>
                    <a:pt x="115" y="717"/>
                  </a:lnTo>
                  <a:lnTo>
                    <a:pt x="110" y="714"/>
                  </a:lnTo>
                  <a:lnTo>
                    <a:pt x="101" y="702"/>
                  </a:lnTo>
                  <a:lnTo>
                    <a:pt x="100" y="698"/>
                  </a:lnTo>
                  <a:lnTo>
                    <a:pt x="100" y="695"/>
                  </a:lnTo>
                  <a:lnTo>
                    <a:pt x="105" y="689"/>
                  </a:lnTo>
                  <a:lnTo>
                    <a:pt x="120" y="681"/>
                  </a:lnTo>
                  <a:lnTo>
                    <a:pt x="125" y="677"/>
                  </a:lnTo>
                  <a:lnTo>
                    <a:pt x="125" y="676"/>
                  </a:lnTo>
                  <a:lnTo>
                    <a:pt x="120" y="672"/>
                  </a:lnTo>
                  <a:lnTo>
                    <a:pt x="117" y="668"/>
                  </a:lnTo>
                  <a:lnTo>
                    <a:pt x="114" y="659"/>
                  </a:lnTo>
                  <a:lnTo>
                    <a:pt x="110" y="656"/>
                  </a:lnTo>
                  <a:lnTo>
                    <a:pt x="91" y="654"/>
                  </a:lnTo>
                  <a:lnTo>
                    <a:pt x="75" y="647"/>
                  </a:lnTo>
                  <a:lnTo>
                    <a:pt x="56" y="649"/>
                  </a:lnTo>
                  <a:lnTo>
                    <a:pt x="50" y="646"/>
                  </a:lnTo>
                  <a:lnTo>
                    <a:pt x="41" y="642"/>
                  </a:lnTo>
                  <a:lnTo>
                    <a:pt x="37" y="640"/>
                  </a:lnTo>
                  <a:lnTo>
                    <a:pt x="30" y="640"/>
                  </a:lnTo>
                  <a:lnTo>
                    <a:pt x="0" y="644"/>
                  </a:lnTo>
                  <a:lnTo>
                    <a:pt x="0" y="644"/>
                  </a:lnTo>
                  <a:lnTo>
                    <a:pt x="9" y="631"/>
                  </a:lnTo>
                  <a:lnTo>
                    <a:pt x="18" y="624"/>
                  </a:lnTo>
                  <a:lnTo>
                    <a:pt x="34" y="622"/>
                  </a:lnTo>
                  <a:lnTo>
                    <a:pt x="44" y="615"/>
                  </a:lnTo>
                  <a:lnTo>
                    <a:pt x="51" y="614"/>
                  </a:lnTo>
                  <a:lnTo>
                    <a:pt x="70" y="612"/>
                  </a:lnTo>
                  <a:lnTo>
                    <a:pt x="168" y="611"/>
                  </a:lnTo>
                  <a:lnTo>
                    <a:pt x="207" y="607"/>
                  </a:lnTo>
                  <a:lnTo>
                    <a:pt x="262" y="575"/>
                  </a:lnTo>
                  <a:lnTo>
                    <a:pt x="293" y="560"/>
                  </a:lnTo>
                  <a:lnTo>
                    <a:pt x="306" y="557"/>
                  </a:lnTo>
                  <a:lnTo>
                    <a:pt x="318" y="556"/>
                  </a:lnTo>
                  <a:lnTo>
                    <a:pt x="358" y="562"/>
                  </a:lnTo>
                  <a:lnTo>
                    <a:pt x="371" y="545"/>
                  </a:lnTo>
                  <a:lnTo>
                    <a:pt x="376" y="541"/>
                  </a:lnTo>
                  <a:lnTo>
                    <a:pt x="382" y="539"/>
                  </a:lnTo>
                  <a:lnTo>
                    <a:pt x="394" y="539"/>
                  </a:lnTo>
                  <a:lnTo>
                    <a:pt x="400" y="537"/>
                  </a:lnTo>
                  <a:lnTo>
                    <a:pt x="405" y="535"/>
                  </a:lnTo>
                  <a:lnTo>
                    <a:pt x="410" y="532"/>
                  </a:lnTo>
                  <a:lnTo>
                    <a:pt x="418" y="519"/>
                  </a:lnTo>
                  <a:lnTo>
                    <a:pt x="428" y="500"/>
                  </a:lnTo>
                  <a:lnTo>
                    <a:pt x="433" y="485"/>
                  </a:lnTo>
                  <a:lnTo>
                    <a:pt x="436" y="468"/>
                  </a:lnTo>
                  <a:lnTo>
                    <a:pt x="437" y="462"/>
                  </a:lnTo>
                  <a:lnTo>
                    <a:pt x="436" y="457"/>
                  </a:lnTo>
                  <a:lnTo>
                    <a:pt x="422" y="436"/>
                  </a:lnTo>
                  <a:lnTo>
                    <a:pt x="417" y="422"/>
                  </a:lnTo>
                  <a:lnTo>
                    <a:pt x="416" y="416"/>
                  </a:lnTo>
                  <a:lnTo>
                    <a:pt x="418" y="403"/>
                  </a:lnTo>
                  <a:lnTo>
                    <a:pt x="422" y="394"/>
                  </a:lnTo>
                  <a:lnTo>
                    <a:pt x="429" y="385"/>
                  </a:lnTo>
                  <a:lnTo>
                    <a:pt x="441" y="373"/>
                  </a:lnTo>
                  <a:lnTo>
                    <a:pt x="444" y="366"/>
                  </a:lnTo>
                  <a:lnTo>
                    <a:pt x="447" y="361"/>
                  </a:lnTo>
                  <a:lnTo>
                    <a:pt x="447" y="353"/>
                  </a:lnTo>
                  <a:lnTo>
                    <a:pt x="440" y="318"/>
                  </a:lnTo>
                  <a:lnTo>
                    <a:pt x="440" y="305"/>
                  </a:lnTo>
                  <a:lnTo>
                    <a:pt x="444" y="271"/>
                  </a:lnTo>
                  <a:lnTo>
                    <a:pt x="453" y="227"/>
                  </a:lnTo>
                  <a:lnTo>
                    <a:pt x="458" y="209"/>
                  </a:lnTo>
                  <a:lnTo>
                    <a:pt x="460" y="195"/>
                  </a:lnTo>
                  <a:lnTo>
                    <a:pt x="464" y="183"/>
                  </a:lnTo>
                  <a:lnTo>
                    <a:pt x="496" y="137"/>
                  </a:lnTo>
                  <a:lnTo>
                    <a:pt x="507" y="110"/>
                  </a:lnTo>
                  <a:lnTo>
                    <a:pt x="523" y="89"/>
                  </a:lnTo>
                  <a:lnTo>
                    <a:pt x="527" y="86"/>
                  </a:lnTo>
                  <a:lnTo>
                    <a:pt x="531" y="85"/>
                  </a:lnTo>
                  <a:lnTo>
                    <a:pt x="538" y="85"/>
                  </a:lnTo>
                  <a:lnTo>
                    <a:pt x="551" y="87"/>
                  </a:lnTo>
                  <a:lnTo>
                    <a:pt x="555" y="86"/>
                  </a:lnTo>
                  <a:lnTo>
                    <a:pt x="558" y="84"/>
                  </a:lnTo>
                  <a:lnTo>
                    <a:pt x="562" y="76"/>
                  </a:lnTo>
                  <a:lnTo>
                    <a:pt x="565" y="44"/>
                  </a:lnTo>
                  <a:lnTo>
                    <a:pt x="567" y="37"/>
                  </a:lnTo>
                  <a:lnTo>
                    <a:pt x="570" y="36"/>
                  </a:lnTo>
                  <a:lnTo>
                    <a:pt x="577" y="35"/>
                  </a:lnTo>
                  <a:lnTo>
                    <a:pt x="606" y="34"/>
                  </a:lnTo>
                  <a:lnTo>
                    <a:pt x="624" y="32"/>
                  </a:lnTo>
                  <a:lnTo>
                    <a:pt x="630" y="25"/>
                  </a:lnTo>
                  <a:lnTo>
                    <a:pt x="640" y="6"/>
                  </a:lnTo>
                  <a:lnTo>
                    <a:pt x="645" y="2"/>
                  </a:lnTo>
                  <a:lnTo>
                    <a:pt x="651" y="0"/>
                  </a:lnTo>
                  <a:lnTo>
                    <a:pt x="684" y="2"/>
                  </a:lnTo>
                  <a:lnTo>
                    <a:pt x="692" y="8"/>
                  </a:lnTo>
                  <a:lnTo>
                    <a:pt x="694" y="14"/>
                  </a:lnTo>
                  <a:lnTo>
                    <a:pt x="699" y="31"/>
                  </a:lnTo>
                  <a:lnTo>
                    <a:pt x="703" y="37"/>
                  </a:lnTo>
                  <a:lnTo>
                    <a:pt x="703" y="54"/>
                  </a:lnTo>
                  <a:lnTo>
                    <a:pt x="706" y="63"/>
                  </a:lnTo>
                  <a:lnTo>
                    <a:pt x="712" y="77"/>
                  </a:lnTo>
                  <a:lnTo>
                    <a:pt x="717" y="99"/>
                  </a:lnTo>
                  <a:lnTo>
                    <a:pt x="740" y="120"/>
                  </a:lnTo>
                  <a:lnTo>
                    <a:pt x="739" y="122"/>
                  </a:lnTo>
                  <a:lnTo>
                    <a:pt x="737" y="143"/>
                  </a:lnTo>
                  <a:lnTo>
                    <a:pt x="736" y="146"/>
                  </a:lnTo>
                  <a:lnTo>
                    <a:pt x="731" y="150"/>
                  </a:lnTo>
                  <a:lnTo>
                    <a:pt x="719" y="161"/>
                  </a:lnTo>
                  <a:lnTo>
                    <a:pt x="700" y="180"/>
                  </a:lnTo>
                  <a:lnTo>
                    <a:pt x="678" y="206"/>
                  </a:lnTo>
                  <a:lnTo>
                    <a:pt x="667" y="228"/>
                  </a:lnTo>
                  <a:lnTo>
                    <a:pt x="664" y="237"/>
                  </a:lnTo>
                  <a:lnTo>
                    <a:pt x="654" y="306"/>
                  </a:lnTo>
                  <a:lnTo>
                    <a:pt x="650" y="330"/>
                  </a:lnTo>
                  <a:lnTo>
                    <a:pt x="647" y="338"/>
                  </a:lnTo>
                  <a:lnTo>
                    <a:pt x="641" y="346"/>
                  </a:lnTo>
                  <a:lnTo>
                    <a:pt x="619" y="366"/>
                  </a:lnTo>
                  <a:lnTo>
                    <a:pt x="619" y="370"/>
                  </a:lnTo>
                  <a:lnTo>
                    <a:pt x="622" y="377"/>
                  </a:lnTo>
                  <a:lnTo>
                    <a:pt x="627" y="384"/>
                  </a:lnTo>
                  <a:lnTo>
                    <a:pt x="648" y="396"/>
                  </a:lnTo>
                  <a:lnTo>
                    <a:pt x="678" y="409"/>
                  </a:lnTo>
                  <a:lnTo>
                    <a:pt x="733" y="429"/>
                  </a:lnTo>
                  <a:lnTo>
                    <a:pt x="743" y="430"/>
                  </a:lnTo>
                  <a:lnTo>
                    <a:pt x="750" y="430"/>
                  </a:lnTo>
                  <a:lnTo>
                    <a:pt x="787" y="419"/>
                  </a:lnTo>
                  <a:lnTo>
                    <a:pt x="796" y="422"/>
                  </a:lnTo>
                  <a:lnTo>
                    <a:pt x="809" y="431"/>
                  </a:lnTo>
                  <a:lnTo>
                    <a:pt x="822" y="439"/>
                  </a:lnTo>
                  <a:lnTo>
                    <a:pt x="835" y="466"/>
                  </a:lnTo>
                  <a:lnTo>
                    <a:pt x="838" y="482"/>
                  </a:lnTo>
                  <a:lnTo>
                    <a:pt x="853" y="487"/>
                  </a:lnTo>
                  <a:lnTo>
                    <a:pt x="862" y="501"/>
                  </a:lnTo>
                  <a:lnTo>
                    <a:pt x="869" y="506"/>
                  </a:lnTo>
                  <a:lnTo>
                    <a:pt x="882" y="514"/>
                  </a:lnTo>
                  <a:lnTo>
                    <a:pt x="900" y="521"/>
                  </a:lnTo>
                  <a:lnTo>
                    <a:pt x="900" y="521"/>
                  </a:lnTo>
                  <a:lnTo>
                    <a:pt x="900" y="521"/>
                  </a:lnTo>
                  <a:lnTo>
                    <a:pt x="900" y="52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7" name="Freeform 9">
              <a:extLst>
                <a:ext uri="{FF2B5EF4-FFF2-40B4-BE49-F238E27FC236}">
                  <a16:creationId xmlns:a16="http://schemas.microsoft.com/office/drawing/2014/main" id="{4FC8A7D7-3556-F7D7-5B16-F404C75472FF}"/>
                </a:ext>
              </a:extLst>
            </p:cNvPr>
            <p:cNvSpPr>
              <a:spLocks/>
            </p:cNvSpPr>
            <p:nvPr/>
          </p:nvSpPr>
          <p:spPr bwMode="auto">
            <a:xfrm>
              <a:off x="7527926" y="2005014"/>
              <a:ext cx="900113" cy="885825"/>
            </a:xfrm>
            <a:custGeom>
              <a:avLst/>
              <a:gdLst>
                <a:gd name="T0" fmla="*/ 1546 w 1701"/>
                <a:gd name="T1" fmla="*/ 950 h 1674"/>
                <a:gd name="T2" fmla="*/ 1389 w 1701"/>
                <a:gd name="T3" fmla="*/ 1150 h 1674"/>
                <a:gd name="T4" fmla="*/ 1289 w 1701"/>
                <a:gd name="T5" fmla="*/ 1207 h 1674"/>
                <a:gd name="T6" fmla="*/ 1213 w 1701"/>
                <a:gd name="T7" fmla="*/ 1238 h 1674"/>
                <a:gd name="T8" fmla="*/ 1180 w 1701"/>
                <a:gd name="T9" fmla="*/ 1238 h 1674"/>
                <a:gd name="T10" fmla="*/ 1132 w 1701"/>
                <a:gd name="T11" fmla="*/ 1275 h 1674"/>
                <a:gd name="T12" fmla="*/ 1116 w 1701"/>
                <a:gd name="T13" fmla="*/ 1301 h 1674"/>
                <a:gd name="T14" fmla="*/ 1073 w 1701"/>
                <a:gd name="T15" fmla="*/ 1312 h 1674"/>
                <a:gd name="T16" fmla="*/ 986 w 1701"/>
                <a:gd name="T17" fmla="*/ 1381 h 1674"/>
                <a:gd name="T18" fmla="*/ 885 w 1701"/>
                <a:gd name="T19" fmla="*/ 1474 h 1674"/>
                <a:gd name="T20" fmla="*/ 870 w 1701"/>
                <a:gd name="T21" fmla="*/ 1517 h 1674"/>
                <a:gd name="T22" fmla="*/ 839 w 1701"/>
                <a:gd name="T23" fmla="*/ 1549 h 1674"/>
                <a:gd name="T24" fmla="*/ 819 w 1701"/>
                <a:gd name="T25" fmla="*/ 1573 h 1674"/>
                <a:gd name="T26" fmla="*/ 767 w 1701"/>
                <a:gd name="T27" fmla="*/ 1567 h 1674"/>
                <a:gd name="T28" fmla="*/ 790 w 1701"/>
                <a:gd name="T29" fmla="*/ 1609 h 1674"/>
                <a:gd name="T30" fmla="*/ 688 w 1701"/>
                <a:gd name="T31" fmla="*/ 1648 h 1674"/>
                <a:gd name="T32" fmla="*/ 644 w 1701"/>
                <a:gd name="T33" fmla="*/ 1654 h 1674"/>
                <a:gd name="T34" fmla="*/ 677 w 1701"/>
                <a:gd name="T35" fmla="*/ 1588 h 1674"/>
                <a:gd name="T36" fmla="*/ 748 w 1701"/>
                <a:gd name="T37" fmla="*/ 1551 h 1674"/>
                <a:gd name="T38" fmla="*/ 750 w 1701"/>
                <a:gd name="T39" fmla="*/ 1492 h 1674"/>
                <a:gd name="T40" fmla="*/ 780 w 1701"/>
                <a:gd name="T41" fmla="*/ 1444 h 1674"/>
                <a:gd name="T42" fmla="*/ 770 w 1701"/>
                <a:gd name="T43" fmla="*/ 1439 h 1674"/>
                <a:gd name="T44" fmla="*/ 694 w 1701"/>
                <a:gd name="T45" fmla="*/ 1451 h 1674"/>
                <a:gd name="T46" fmla="*/ 657 w 1701"/>
                <a:gd name="T47" fmla="*/ 1430 h 1674"/>
                <a:gd name="T48" fmla="*/ 717 w 1701"/>
                <a:gd name="T49" fmla="*/ 1388 h 1674"/>
                <a:gd name="T50" fmla="*/ 693 w 1701"/>
                <a:gd name="T51" fmla="*/ 1300 h 1674"/>
                <a:gd name="T52" fmla="*/ 788 w 1701"/>
                <a:gd name="T53" fmla="*/ 1225 h 1674"/>
                <a:gd name="T54" fmla="*/ 816 w 1701"/>
                <a:gd name="T55" fmla="*/ 1168 h 1674"/>
                <a:gd name="T56" fmla="*/ 855 w 1701"/>
                <a:gd name="T57" fmla="*/ 1072 h 1674"/>
                <a:gd name="T58" fmla="*/ 795 w 1701"/>
                <a:gd name="T59" fmla="*/ 964 h 1674"/>
                <a:gd name="T60" fmla="*/ 775 w 1701"/>
                <a:gd name="T61" fmla="*/ 900 h 1674"/>
                <a:gd name="T62" fmla="*/ 743 w 1701"/>
                <a:gd name="T63" fmla="*/ 889 h 1674"/>
                <a:gd name="T64" fmla="*/ 714 w 1701"/>
                <a:gd name="T65" fmla="*/ 900 h 1674"/>
                <a:gd name="T66" fmla="*/ 696 w 1701"/>
                <a:gd name="T67" fmla="*/ 926 h 1674"/>
                <a:gd name="T68" fmla="*/ 644 w 1701"/>
                <a:gd name="T69" fmla="*/ 930 h 1674"/>
                <a:gd name="T70" fmla="*/ 612 w 1701"/>
                <a:gd name="T71" fmla="*/ 920 h 1674"/>
                <a:gd name="T72" fmla="*/ 586 w 1701"/>
                <a:gd name="T73" fmla="*/ 928 h 1674"/>
                <a:gd name="T74" fmla="*/ 543 w 1701"/>
                <a:gd name="T75" fmla="*/ 968 h 1674"/>
                <a:gd name="T76" fmla="*/ 541 w 1701"/>
                <a:gd name="T77" fmla="*/ 1002 h 1674"/>
                <a:gd name="T78" fmla="*/ 470 w 1701"/>
                <a:gd name="T79" fmla="*/ 1077 h 1674"/>
                <a:gd name="T80" fmla="*/ 453 w 1701"/>
                <a:gd name="T81" fmla="*/ 1139 h 1674"/>
                <a:gd name="T82" fmla="*/ 398 w 1701"/>
                <a:gd name="T83" fmla="*/ 1204 h 1674"/>
                <a:gd name="T84" fmla="*/ 263 w 1701"/>
                <a:gd name="T85" fmla="*/ 1240 h 1674"/>
                <a:gd name="T86" fmla="*/ 128 w 1701"/>
                <a:gd name="T87" fmla="*/ 1113 h 1674"/>
                <a:gd name="T88" fmla="*/ 8 w 1701"/>
                <a:gd name="T89" fmla="*/ 1035 h 1674"/>
                <a:gd name="T90" fmla="*/ 49 w 1701"/>
                <a:gd name="T91" fmla="*/ 925 h 1674"/>
                <a:gd name="T92" fmla="*/ 100 w 1701"/>
                <a:gd name="T93" fmla="*/ 817 h 1674"/>
                <a:gd name="T94" fmla="*/ 91 w 1701"/>
                <a:gd name="T95" fmla="*/ 582 h 1674"/>
                <a:gd name="T96" fmla="*/ 199 w 1701"/>
                <a:gd name="T97" fmla="*/ 547 h 1674"/>
                <a:gd name="T98" fmla="*/ 312 w 1701"/>
                <a:gd name="T99" fmla="*/ 621 h 1674"/>
                <a:gd name="T100" fmla="*/ 436 w 1701"/>
                <a:gd name="T101" fmla="*/ 494 h 1674"/>
                <a:gd name="T102" fmla="*/ 664 w 1701"/>
                <a:gd name="T103" fmla="*/ 386 h 1674"/>
                <a:gd name="T104" fmla="*/ 788 w 1701"/>
                <a:gd name="T105" fmla="*/ 271 h 1674"/>
                <a:gd name="T106" fmla="*/ 994 w 1701"/>
                <a:gd name="T107" fmla="*/ 234 h 1674"/>
                <a:gd name="T108" fmla="*/ 1087 w 1701"/>
                <a:gd name="T109" fmla="*/ 45 h 1674"/>
                <a:gd name="T110" fmla="*/ 1224 w 1701"/>
                <a:gd name="T111" fmla="*/ 61 h 1674"/>
                <a:gd name="T112" fmla="*/ 1293 w 1701"/>
                <a:gd name="T113" fmla="*/ 188 h 1674"/>
                <a:gd name="T114" fmla="*/ 1400 w 1701"/>
                <a:gd name="T115" fmla="*/ 186 h 1674"/>
                <a:gd name="T116" fmla="*/ 1495 w 1701"/>
                <a:gd name="T117" fmla="*/ 331 h 1674"/>
                <a:gd name="T118" fmla="*/ 1564 w 1701"/>
                <a:gd name="T119" fmla="*/ 397 h 1674"/>
                <a:gd name="T120" fmla="*/ 1628 w 1701"/>
                <a:gd name="T121" fmla="*/ 613 h 1674"/>
                <a:gd name="T122" fmla="*/ 1665 w 1701"/>
                <a:gd name="T123" fmla="*/ 793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1674">
                  <a:moveTo>
                    <a:pt x="1701" y="802"/>
                  </a:moveTo>
                  <a:lnTo>
                    <a:pt x="1695" y="808"/>
                  </a:lnTo>
                  <a:lnTo>
                    <a:pt x="1691" y="813"/>
                  </a:lnTo>
                  <a:lnTo>
                    <a:pt x="1689" y="836"/>
                  </a:lnTo>
                  <a:lnTo>
                    <a:pt x="1685" y="838"/>
                  </a:lnTo>
                  <a:lnTo>
                    <a:pt x="1676" y="837"/>
                  </a:lnTo>
                  <a:lnTo>
                    <a:pt x="1671" y="838"/>
                  </a:lnTo>
                  <a:lnTo>
                    <a:pt x="1664" y="855"/>
                  </a:lnTo>
                  <a:lnTo>
                    <a:pt x="1661" y="857"/>
                  </a:lnTo>
                  <a:lnTo>
                    <a:pt x="1648" y="864"/>
                  </a:lnTo>
                  <a:lnTo>
                    <a:pt x="1633" y="889"/>
                  </a:lnTo>
                  <a:lnTo>
                    <a:pt x="1629" y="891"/>
                  </a:lnTo>
                  <a:lnTo>
                    <a:pt x="1618" y="889"/>
                  </a:lnTo>
                  <a:lnTo>
                    <a:pt x="1607" y="890"/>
                  </a:lnTo>
                  <a:lnTo>
                    <a:pt x="1585" y="909"/>
                  </a:lnTo>
                  <a:lnTo>
                    <a:pt x="1555" y="927"/>
                  </a:lnTo>
                  <a:lnTo>
                    <a:pt x="1551" y="931"/>
                  </a:lnTo>
                  <a:lnTo>
                    <a:pt x="1549" y="938"/>
                  </a:lnTo>
                  <a:lnTo>
                    <a:pt x="1549" y="946"/>
                  </a:lnTo>
                  <a:lnTo>
                    <a:pt x="1546" y="950"/>
                  </a:lnTo>
                  <a:lnTo>
                    <a:pt x="1542" y="953"/>
                  </a:lnTo>
                  <a:lnTo>
                    <a:pt x="1523" y="962"/>
                  </a:lnTo>
                  <a:lnTo>
                    <a:pt x="1517" y="966"/>
                  </a:lnTo>
                  <a:lnTo>
                    <a:pt x="1502" y="984"/>
                  </a:lnTo>
                  <a:lnTo>
                    <a:pt x="1487" y="1000"/>
                  </a:lnTo>
                  <a:lnTo>
                    <a:pt x="1484" y="1006"/>
                  </a:lnTo>
                  <a:lnTo>
                    <a:pt x="1483" y="1019"/>
                  </a:lnTo>
                  <a:lnTo>
                    <a:pt x="1481" y="1023"/>
                  </a:lnTo>
                  <a:lnTo>
                    <a:pt x="1458" y="1039"/>
                  </a:lnTo>
                  <a:lnTo>
                    <a:pt x="1448" y="1053"/>
                  </a:lnTo>
                  <a:lnTo>
                    <a:pt x="1415" y="1094"/>
                  </a:lnTo>
                  <a:lnTo>
                    <a:pt x="1406" y="1110"/>
                  </a:lnTo>
                  <a:lnTo>
                    <a:pt x="1402" y="1111"/>
                  </a:lnTo>
                  <a:lnTo>
                    <a:pt x="1398" y="1111"/>
                  </a:lnTo>
                  <a:lnTo>
                    <a:pt x="1395" y="1112"/>
                  </a:lnTo>
                  <a:lnTo>
                    <a:pt x="1394" y="1121"/>
                  </a:lnTo>
                  <a:lnTo>
                    <a:pt x="1399" y="1131"/>
                  </a:lnTo>
                  <a:lnTo>
                    <a:pt x="1398" y="1138"/>
                  </a:lnTo>
                  <a:lnTo>
                    <a:pt x="1396" y="1141"/>
                  </a:lnTo>
                  <a:lnTo>
                    <a:pt x="1389" y="1150"/>
                  </a:lnTo>
                  <a:lnTo>
                    <a:pt x="1382" y="1161"/>
                  </a:lnTo>
                  <a:lnTo>
                    <a:pt x="1375" y="1164"/>
                  </a:lnTo>
                  <a:lnTo>
                    <a:pt x="1373" y="1171"/>
                  </a:lnTo>
                  <a:lnTo>
                    <a:pt x="1372" y="1181"/>
                  </a:lnTo>
                  <a:lnTo>
                    <a:pt x="1368" y="1190"/>
                  </a:lnTo>
                  <a:lnTo>
                    <a:pt x="1360" y="1195"/>
                  </a:lnTo>
                  <a:lnTo>
                    <a:pt x="1354" y="1201"/>
                  </a:lnTo>
                  <a:lnTo>
                    <a:pt x="1352" y="1202"/>
                  </a:lnTo>
                  <a:lnTo>
                    <a:pt x="1346" y="1202"/>
                  </a:lnTo>
                  <a:lnTo>
                    <a:pt x="1340" y="1204"/>
                  </a:lnTo>
                  <a:lnTo>
                    <a:pt x="1334" y="1212"/>
                  </a:lnTo>
                  <a:lnTo>
                    <a:pt x="1332" y="1216"/>
                  </a:lnTo>
                  <a:lnTo>
                    <a:pt x="1328" y="1217"/>
                  </a:lnTo>
                  <a:lnTo>
                    <a:pt x="1321" y="1216"/>
                  </a:lnTo>
                  <a:lnTo>
                    <a:pt x="1320" y="1212"/>
                  </a:lnTo>
                  <a:lnTo>
                    <a:pt x="1315" y="1210"/>
                  </a:lnTo>
                  <a:lnTo>
                    <a:pt x="1292" y="1214"/>
                  </a:lnTo>
                  <a:lnTo>
                    <a:pt x="1290" y="1212"/>
                  </a:lnTo>
                  <a:lnTo>
                    <a:pt x="1292" y="1210"/>
                  </a:lnTo>
                  <a:lnTo>
                    <a:pt x="1289" y="1207"/>
                  </a:lnTo>
                  <a:lnTo>
                    <a:pt x="1287" y="1208"/>
                  </a:lnTo>
                  <a:lnTo>
                    <a:pt x="1285" y="1211"/>
                  </a:lnTo>
                  <a:lnTo>
                    <a:pt x="1280" y="1211"/>
                  </a:lnTo>
                  <a:lnTo>
                    <a:pt x="1272" y="1219"/>
                  </a:lnTo>
                  <a:lnTo>
                    <a:pt x="1262" y="1222"/>
                  </a:lnTo>
                  <a:lnTo>
                    <a:pt x="1252" y="1221"/>
                  </a:lnTo>
                  <a:lnTo>
                    <a:pt x="1245" y="1215"/>
                  </a:lnTo>
                  <a:lnTo>
                    <a:pt x="1243" y="1213"/>
                  </a:lnTo>
                  <a:lnTo>
                    <a:pt x="1235" y="1214"/>
                  </a:lnTo>
                  <a:lnTo>
                    <a:pt x="1232" y="1217"/>
                  </a:lnTo>
                  <a:lnTo>
                    <a:pt x="1230" y="1219"/>
                  </a:lnTo>
                  <a:lnTo>
                    <a:pt x="1233" y="1222"/>
                  </a:lnTo>
                  <a:lnTo>
                    <a:pt x="1235" y="1225"/>
                  </a:lnTo>
                  <a:lnTo>
                    <a:pt x="1236" y="1233"/>
                  </a:lnTo>
                  <a:lnTo>
                    <a:pt x="1235" y="1237"/>
                  </a:lnTo>
                  <a:lnTo>
                    <a:pt x="1227" y="1241"/>
                  </a:lnTo>
                  <a:lnTo>
                    <a:pt x="1219" y="1250"/>
                  </a:lnTo>
                  <a:lnTo>
                    <a:pt x="1216" y="1248"/>
                  </a:lnTo>
                  <a:lnTo>
                    <a:pt x="1216" y="1240"/>
                  </a:lnTo>
                  <a:lnTo>
                    <a:pt x="1213" y="1238"/>
                  </a:lnTo>
                  <a:lnTo>
                    <a:pt x="1211" y="1238"/>
                  </a:lnTo>
                  <a:lnTo>
                    <a:pt x="1208" y="1240"/>
                  </a:lnTo>
                  <a:lnTo>
                    <a:pt x="1199" y="1243"/>
                  </a:lnTo>
                  <a:lnTo>
                    <a:pt x="1197" y="1244"/>
                  </a:lnTo>
                  <a:lnTo>
                    <a:pt x="1196" y="1249"/>
                  </a:lnTo>
                  <a:lnTo>
                    <a:pt x="1197" y="1252"/>
                  </a:lnTo>
                  <a:lnTo>
                    <a:pt x="1198" y="1256"/>
                  </a:lnTo>
                  <a:lnTo>
                    <a:pt x="1198" y="1257"/>
                  </a:lnTo>
                  <a:lnTo>
                    <a:pt x="1194" y="1259"/>
                  </a:lnTo>
                  <a:lnTo>
                    <a:pt x="1189" y="1264"/>
                  </a:lnTo>
                  <a:lnTo>
                    <a:pt x="1185" y="1266"/>
                  </a:lnTo>
                  <a:lnTo>
                    <a:pt x="1182" y="1265"/>
                  </a:lnTo>
                  <a:lnTo>
                    <a:pt x="1181" y="1262"/>
                  </a:lnTo>
                  <a:lnTo>
                    <a:pt x="1182" y="1259"/>
                  </a:lnTo>
                  <a:lnTo>
                    <a:pt x="1186" y="1255"/>
                  </a:lnTo>
                  <a:lnTo>
                    <a:pt x="1182" y="1251"/>
                  </a:lnTo>
                  <a:lnTo>
                    <a:pt x="1180" y="1249"/>
                  </a:lnTo>
                  <a:lnTo>
                    <a:pt x="1180" y="1243"/>
                  </a:lnTo>
                  <a:lnTo>
                    <a:pt x="1181" y="1238"/>
                  </a:lnTo>
                  <a:lnTo>
                    <a:pt x="1180" y="1238"/>
                  </a:lnTo>
                  <a:lnTo>
                    <a:pt x="1178" y="1242"/>
                  </a:lnTo>
                  <a:lnTo>
                    <a:pt x="1175" y="1243"/>
                  </a:lnTo>
                  <a:lnTo>
                    <a:pt x="1176" y="1248"/>
                  </a:lnTo>
                  <a:lnTo>
                    <a:pt x="1173" y="1250"/>
                  </a:lnTo>
                  <a:lnTo>
                    <a:pt x="1168" y="1251"/>
                  </a:lnTo>
                  <a:lnTo>
                    <a:pt x="1161" y="1250"/>
                  </a:lnTo>
                  <a:lnTo>
                    <a:pt x="1154" y="1253"/>
                  </a:lnTo>
                  <a:lnTo>
                    <a:pt x="1147" y="1249"/>
                  </a:lnTo>
                  <a:lnTo>
                    <a:pt x="1143" y="1248"/>
                  </a:lnTo>
                  <a:lnTo>
                    <a:pt x="1138" y="1242"/>
                  </a:lnTo>
                  <a:lnTo>
                    <a:pt x="1137" y="1242"/>
                  </a:lnTo>
                  <a:lnTo>
                    <a:pt x="1138" y="1246"/>
                  </a:lnTo>
                  <a:lnTo>
                    <a:pt x="1146" y="1253"/>
                  </a:lnTo>
                  <a:lnTo>
                    <a:pt x="1147" y="1258"/>
                  </a:lnTo>
                  <a:lnTo>
                    <a:pt x="1146" y="1261"/>
                  </a:lnTo>
                  <a:lnTo>
                    <a:pt x="1144" y="1264"/>
                  </a:lnTo>
                  <a:lnTo>
                    <a:pt x="1138" y="1266"/>
                  </a:lnTo>
                  <a:lnTo>
                    <a:pt x="1135" y="1267"/>
                  </a:lnTo>
                  <a:lnTo>
                    <a:pt x="1132" y="1272"/>
                  </a:lnTo>
                  <a:lnTo>
                    <a:pt x="1132" y="1275"/>
                  </a:lnTo>
                  <a:lnTo>
                    <a:pt x="1132" y="1276"/>
                  </a:lnTo>
                  <a:lnTo>
                    <a:pt x="1135" y="1275"/>
                  </a:lnTo>
                  <a:lnTo>
                    <a:pt x="1137" y="1272"/>
                  </a:lnTo>
                  <a:lnTo>
                    <a:pt x="1139" y="1270"/>
                  </a:lnTo>
                  <a:lnTo>
                    <a:pt x="1145" y="1271"/>
                  </a:lnTo>
                  <a:lnTo>
                    <a:pt x="1148" y="1273"/>
                  </a:lnTo>
                  <a:lnTo>
                    <a:pt x="1152" y="1279"/>
                  </a:lnTo>
                  <a:lnTo>
                    <a:pt x="1152" y="1283"/>
                  </a:lnTo>
                  <a:lnTo>
                    <a:pt x="1150" y="1284"/>
                  </a:lnTo>
                  <a:lnTo>
                    <a:pt x="1136" y="1283"/>
                  </a:lnTo>
                  <a:lnTo>
                    <a:pt x="1135" y="1285"/>
                  </a:lnTo>
                  <a:lnTo>
                    <a:pt x="1137" y="1288"/>
                  </a:lnTo>
                  <a:lnTo>
                    <a:pt x="1136" y="1290"/>
                  </a:lnTo>
                  <a:lnTo>
                    <a:pt x="1134" y="1291"/>
                  </a:lnTo>
                  <a:lnTo>
                    <a:pt x="1129" y="1290"/>
                  </a:lnTo>
                  <a:lnTo>
                    <a:pt x="1127" y="1291"/>
                  </a:lnTo>
                  <a:lnTo>
                    <a:pt x="1123" y="1295"/>
                  </a:lnTo>
                  <a:lnTo>
                    <a:pt x="1121" y="1301"/>
                  </a:lnTo>
                  <a:lnTo>
                    <a:pt x="1119" y="1302"/>
                  </a:lnTo>
                  <a:lnTo>
                    <a:pt x="1116" y="1301"/>
                  </a:lnTo>
                  <a:lnTo>
                    <a:pt x="1117" y="1295"/>
                  </a:lnTo>
                  <a:lnTo>
                    <a:pt x="1108" y="1292"/>
                  </a:lnTo>
                  <a:lnTo>
                    <a:pt x="1098" y="1296"/>
                  </a:lnTo>
                  <a:lnTo>
                    <a:pt x="1092" y="1300"/>
                  </a:lnTo>
                  <a:lnTo>
                    <a:pt x="1087" y="1295"/>
                  </a:lnTo>
                  <a:lnTo>
                    <a:pt x="1082" y="1297"/>
                  </a:lnTo>
                  <a:lnTo>
                    <a:pt x="1080" y="1284"/>
                  </a:lnTo>
                  <a:lnTo>
                    <a:pt x="1078" y="1287"/>
                  </a:lnTo>
                  <a:lnTo>
                    <a:pt x="1078" y="1290"/>
                  </a:lnTo>
                  <a:lnTo>
                    <a:pt x="1082" y="1300"/>
                  </a:lnTo>
                  <a:lnTo>
                    <a:pt x="1080" y="1301"/>
                  </a:lnTo>
                  <a:lnTo>
                    <a:pt x="1075" y="1300"/>
                  </a:lnTo>
                  <a:lnTo>
                    <a:pt x="1074" y="1301"/>
                  </a:lnTo>
                  <a:lnTo>
                    <a:pt x="1076" y="1303"/>
                  </a:lnTo>
                  <a:lnTo>
                    <a:pt x="1081" y="1304"/>
                  </a:lnTo>
                  <a:lnTo>
                    <a:pt x="1082" y="1305"/>
                  </a:lnTo>
                  <a:lnTo>
                    <a:pt x="1082" y="1309"/>
                  </a:lnTo>
                  <a:lnTo>
                    <a:pt x="1078" y="1314"/>
                  </a:lnTo>
                  <a:lnTo>
                    <a:pt x="1075" y="1315"/>
                  </a:lnTo>
                  <a:lnTo>
                    <a:pt x="1073" y="1312"/>
                  </a:lnTo>
                  <a:lnTo>
                    <a:pt x="1072" y="1312"/>
                  </a:lnTo>
                  <a:lnTo>
                    <a:pt x="1068" y="1316"/>
                  </a:lnTo>
                  <a:lnTo>
                    <a:pt x="1057" y="1320"/>
                  </a:lnTo>
                  <a:lnTo>
                    <a:pt x="1049" y="1326"/>
                  </a:lnTo>
                  <a:lnTo>
                    <a:pt x="1039" y="1329"/>
                  </a:lnTo>
                  <a:lnTo>
                    <a:pt x="1033" y="1337"/>
                  </a:lnTo>
                  <a:lnTo>
                    <a:pt x="1032" y="1340"/>
                  </a:lnTo>
                  <a:lnTo>
                    <a:pt x="1029" y="1343"/>
                  </a:lnTo>
                  <a:lnTo>
                    <a:pt x="1027" y="1344"/>
                  </a:lnTo>
                  <a:lnTo>
                    <a:pt x="1021" y="1343"/>
                  </a:lnTo>
                  <a:lnTo>
                    <a:pt x="1016" y="1346"/>
                  </a:lnTo>
                  <a:lnTo>
                    <a:pt x="1016" y="1352"/>
                  </a:lnTo>
                  <a:lnTo>
                    <a:pt x="1011" y="1360"/>
                  </a:lnTo>
                  <a:lnTo>
                    <a:pt x="1010" y="1360"/>
                  </a:lnTo>
                  <a:lnTo>
                    <a:pt x="1004" y="1354"/>
                  </a:lnTo>
                  <a:lnTo>
                    <a:pt x="1001" y="1354"/>
                  </a:lnTo>
                  <a:lnTo>
                    <a:pt x="999" y="1359"/>
                  </a:lnTo>
                  <a:lnTo>
                    <a:pt x="998" y="1370"/>
                  </a:lnTo>
                  <a:lnTo>
                    <a:pt x="995" y="1375"/>
                  </a:lnTo>
                  <a:lnTo>
                    <a:pt x="986" y="1381"/>
                  </a:lnTo>
                  <a:lnTo>
                    <a:pt x="984" y="1380"/>
                  </a:lnTo>
                  <a:lnTo>
                    <a:pt x="984" y="1376"/>
                  </a:lnTo>
                  <a:lnTo>
                    <a:pt x="982" y="1376"/>
                  </a:lnTo>
                  <a:lnTo>
                    <a:pt x="977" y="1385"/>
                  </a:lnTo>
                  <a:lnTo>
                    <a:pt x="956" y="1402"/>
                  </a:lnTo>
                  <a:lnTo>
                    <a:pt x="950" y="1403"/>
                  </a:lnTo>
                  <a:lnTo>
                    <a:pt x="947" y="1401"/>
                  </a:lnTo>
                  <a:lnTo>
                    <a:pt x="940" y="1402"/>
                  </a:lnTo>
                  <a:lnTo>
                    <a:pt x="936" y="1411"/>
                  </a:lnTo>
                  <a:lnTo>
                    <a:pt x="920" y="1422"/>
                  </a:lnTo>
                  <a:lnTo>
                    <a:pt x="915" y="1437"/>
                  </a:lnTo>
                  <a:lnTo>
                    <a:pt x="913" y="1439"/>
                  </a:lnTo>
                  <a:lnTo>
                    <a:pt x="909" y="1440"/>
                  </a:lnTo>
                  <a:lnTo>
                    <a:pt x="912" y="1445"/>
                  </a:lnTo>
                  <a:lnTo>
                    <a:pt x="909" y="1447"/>
                  </a:lnTo>
                  <a:lnTo>
                    <a:pt x="907" y="1454"/>
                  </a:lnTo>
                  <a:lnTo>
                    <a:pt x="905" y="1458"/>
                  </a:lnTo>
                  <a:lnTo>
                    <a:pt x="901" y="1462"/>
                  </a:lnTo>
                  <a:lnTo>
                    <a:pt x="894" y="1461"/>
                  </a:lnTo>
                  <a:lnTo>
                    <a:pt x="885" y="1474"/>
                  </a:lnTo>
                  <a:lnTo>
                    <a:pt x="879" y="1477"/>
                  </a:lnTo>
                  <a:lnTo>
                    <a:pt x="878" y="1483"/>
                  </a:lnTo>
                  <a:lnTo>
                    <a:pt x="878" y="1484"/>
                  </a:lnTo>
                  <a:lnTo>
                    <a:pt x="882" y="1485"/>
                  </a:lnTo>
                  <a:lnTo>
                    <a:pt x="879" y="1492"/>
                  </a:lnTo>
                  <a:lnTo>
                    <a:pt x="875" y="1492"/>
                  </a:lnTo>
                  <a:lnTo>
                    <a:pt x="869" y="1487"/>
                  </a:lnTo>
                  <a:lnTo>
                    <a:pt x="867" y="1487"/>
                  </a:lnTo>
                  <a:lnTo>
                    <a:pt x="869" y="1492"/>
                  </a:lnTo>
                  <a:lnTo>
                    <a:pt x="878" y="1498"/>
                  </a:lnTo>
                  <a:lnTo>
                    <a:pt x="882" y="1499"/>
                  </a:lnTo>
                  <a:lnTo>
                    <a:pt x="888" y="1495"/>
                  </a:lnTo>
                  <a:lnTo>
                    <a:pt x="892" y="1500"/>
                  </a:lnTo>
                  <a:lnTo>
                    <a:pt x="891" y="1502"/>
                  </a:lnTo>
                  <a:lnTo>
                    <a:pt x="884" y="1504"/>
                  </a:lnTo>
                  <a:lnTo>
                    <a:pt x="880" y="1506"/>
                  </a:lnTo>
                  <a:lnTo>
                    <a:pt x="877" y="1509"/>
                  </a:lnTo>
                  <a:lnTo>
                    <a:pt x="874" y="1516"/>
                  </a:lnTo>
                  <a:lnTo>
                    <a:pt x="873" y="1517"/>
                  </a:lnTo>
                  <a:lnTo>
                    <a:pt x="870" y="1517"/>
                  </a:lnTo>
                  <a:lnTo>
                    <a:pt x="865" y="1511"/>
                  </a:lnTo>
                  <a:lnTo>
                    <a:pt x="859" y="1510"/>
                  </a:lnTo>
                  <a:lnTo>
                    <a:pt x="861" y="1517"/>
                  </a:lnTo>
                  <a:lnTo>
                    <a:pt x="868" y="1526"/>
                  </a:lnTo>
                  <a:lnTo>
                    <a:pt x="872" y="1530"/>
                  </a:lnTo>
                  <a:lnTo>
                    <a:pt x="872" y="1533"/>
                  </a:lnTo>
                  <a:lnTo>
                    <a:pt x="869" y="1533"/>
                  </a:lnTo>
                  <a:lnTo>
                    <a:pt x="861" y="1530"/>
                  </a:lnTo>
                  <a:lnTo>
                    <a:pt x="855" y="1533"/>
                  </a:lnTo>
                  <a:lnTo>
                    <a:pt x="851" y="1536"/>
                  </a:lnTo>
                  <a:lnTo>
                    <a:pt x="850" y="1545"/>
                  </a:lnTo>
                  <a:lnTo>
                    <a:pt x="849" y="1547"/>
                  </a:lnTo>
                  <a:lnTo>
                    <a:pt x="838" y="1541"/>
                  </a:lnTo>
                  <a:lnTo>
                    <a:pt x="836" y="1540"/>
                  </a:lnTo>
                  <a:lnTo>
                    <a:pt x="835" y="1536"/>
                  </a:lnTo>
                  <a:lnTo>
                    <a:pt x="832" y="1534"/>
                  </a:lnTo>
                  <a:lnTo>
                    <a:pt x="830" y="1536"/>
                  </a:lnTo>
                  <a:lnTo>
                    <a:pt x="828" y="1541"/>
                  </a:lnTo>
                  <a:lnTo>
                    <a:pt x="835" y="1547"/>
                  </a:lnTo>
                  <a:lnTo>
                    <a:pt x="839" y="1549"/>
                  </a:lnTo>
                  <a:lnTo>
                    <a:pt x="839" y="1551"/>
                  </a:lnTo>
                  <a:lnTo>
                    <a:pt x="838" y="1553"/>
                  </a:lnTo>
                  <a:lnTo>
                    <a:pt x="837" y="1553"/>
                  </a:lnTo>
                  <a:lnTo>
                    <a:pt x="830" y="1546"/>
                  </a:lnTo>
                  <a:lnTo>
                    <a:pt x="825" y="1545"/>
                  </a:lnTo>
                  <a:lnTo>
                    <a:pt x="818" y="1545"/>
                  </a:lnTo>
                  <a:lnTo>
                    <a:pt x="814" y="1549"/>
                  </a:lnTo>
                  <a:lnTo>
                    <a:pt x="814" y="1553"/>
                  </a:lnTo>
                  <a:lnTo>
                    <a:pt x="819" y="1556"/>
                  </a:lnTo>
                  <a:lnTo>
                    <a:pt x="821" y="1561"/>
                  </a:lnTo>
                  <a:lnTo>
                    <a:pt x="824" y="1562"/>
                  </a:lnTo>
                  <a:lnTo>
                    <a:pt x="829" y="1561"/>
                  </a:lnTo>
                  <a:lnTo>
                    <a:pt x="832" y="1564"/>
                  </a:lnTo>
                  <a:lnTo>
                    <a:pt x="836" y="1570"/>
                  </a:lnTo>
                  <a:lnTo>
                    <a:pt x="835" y="1573"/>
                  </a:lnTo>
                  <a:lnTo>
                    <a:pt x="834" y="1575"/>
                  </a:lnTo>
                  <a:lnTo>
                    <a:pt x="826" y="1578"/>
                  </a:lnTo>
                  <a:lnTo>
                    <a:pt x="819" y="1578"/>
                  </a:lnTo>
                  <a:lnTo>
                    <a:pt x="819" y="1577"/>
                  </a:lnTo>
                  <a:lnTo>
                    <a:pt x="819" y="1573"/>
                  </a:lnTo>
                  <a:lnTo>
                    <a:pt x="811" y="1569"/>
                  </a:lnTo>
                  <a:lnTo>
                    <a:pt x="806" y="1558"/>
                  </a:lnTo>
                  <a:lnTo>
                    <a:pt x="804" y="1555"/>
                  </a:lnTo>
                  <a:lnTo>
                    <a:pt x="795" y="1552"/>
                  </a:lnTo>
                  <a:lnTo>
                    <a:pt x="785" y="1548"/>
                  </a:lnTo>
                  <a:lnTo>
                    <a:pt x="782" y="1548"/>
                  </a:lnTo>
                  <a:lnTo>
                    <a:pt x="782" y="1549"/>
                  </a:lnTo>
                  <a:lnTo>
                    <a:pt x="782" y="1552"/>
                  </a:lnTo>
                  <a:lnTo>
                    <a:pt x="788" y="1555"/>
                  </a:lnTo>
                  <a:lnTo>
                    <a:pt x="794" y="1559"/>
                  </a:lnTo>
                  <a:lnTo>
                    <a:pt x="794" y="1562"/>
                  </a:lnTo>
                  <a:lnTo>
                    <a:pt x="792" y="1564"/>
                  </a:lnTo>
                  <a:lnTo>
                    <a:pt x="788" y="1564"/>
                  </a:lnTo>
                  <a:lnTo>
                    <a:pt x="786" y="1563"/>
                  </a:lnTo>
                  <a:lnTo>
                    <a:pt x="783" y="1559"/>
                  </a:lnTo>
                  <a:lnTo>
                    <a:pt x="779" y="1558"/>
                  </a:lnTo>
                  <a:lnTo>
                    <a:pt x="776" y="1557"/>
                  </a:lnTo>
                  <a:lnTo>
                    <a:pt x="774" y="1557"/>
                  </a:lnTo>
                  <a:lnTo>
                    <a:pt x="771" y="1560"/>
                  </a:lnTo>
                  <a:lnTo>
                    <a:pt x="767" y="1567"/>
                  </a:lnTo>
                  <a:lnTo>
                    <a:pt x="769" y="1569"/>
                  </a:lnTo>
                  <a:lnTo>
                    <a:pt x="775" y="1570"/>
                  </a:lnTo>
                  <a:lnTo>
                    <a:pt x="775" y="1572"/>
                  </a:lnTo>
                  <a:lnTo>
                    <a:pt x="774" y="1577"/>
                  </a:lnTo>
                  <a:lnTo>
                    <a:pt x="771" y="1580"/>
                  </a:lnTo>
                  <a:lnTo>
                    <a:pt x="768" y="1581"/>
                  </a:lnTo>
                  <a:lnTo>
                    <a:pt x="759" y="1582"/>
                  </a:lnTo>
                  <a:lnTo>
                    <a:pt x="758" y="1584"/>
                  </a:lnTo>
                  <a:lnTo>
                    <a:pt x="758" y="1588"/>
                  </a:lnTo>
                  <a:lnTo>
                    <a:pt x="759" y="1591"/>
                  </a:lnTo>
                  <a:lnTo>
                    <a:pt x="764" y="1593"/>
                  </a:lnTo>
                  <a:lnTo>
                    <a:pt x="766" y="1593"/>
                  </a:lnTo>
                  <a:lnTo>
                    <a:pt x="769" y="1589"/>
                  </a:lnTo>
                  <a:lnTo>
                    <a:pt x="771" y="1588"/>
                  </a:lnTo>
                  <a:lnTo>
                    <a:pt x="782" y="1592"/>
                  </a:lnTo>
                  <a:lnTo>
                    <a:pt x="788" y="1594"/>
                  </a:lnTo>
                  <a:lnTo>
                    <a:pt x="790" y="1596"/>
                  </a:lnTo>
                  <a:lnTo>
                    <a:pt x="792" y="1599"/>
                  </a:lnTo>
                  <a:lnTo>
                    <a:pt x="792" y="1606"/>
                  </a:lnTo>
                  <a:lnTo>
                    <a:pt x="790" y="1609"/>
                  </a:lnTo>
                  <a:lnTo>
                    <a:pt x="783" y="1613"/>
                  </a:lnTo>
                  <a:lnTo>
                    <a:pt x="775" y="1614"/>
                  </a:lnTo>
                  <a:lnTo>
                    <a:pt x="767" y="1613"/>
                  </a:lnTo>
                  <a:lnTo>
                    <a:pt x="758" y="1609"/>
                  </a:lnTo>
                  <a:lnTo>
                    <a:pt x="752" y="1614"/>
                  </a:lnTo>
                  <a:lnTo>
                    <a:pt x="747" y="1616"/>
                  </a:lnTo>
                  <a:lnTo>
                    <a:pt x="745" y="1625"/>
                  </a:lnTo>
                  <a:lnTo>
                    <a:pt x="740" y="1628"/>
                  </a:lnTo>
                  <a:lnTo>
                    <a:pt x="741" y="1630"/>
                  </a:lnTo>
                  <a:lnTo>
                    <a:pt x="742" y="1631"/>
                  </a:lnTo>
                  <a:lnTo>
                    <a:pt x="741" y="1633"/>
                  </a:lnTo>
                  <a:lnTo>
                    <a:pt x="739" y="1633"/>
                  </a:lnTo>
                  <a:lnTo>
                    <a:pt x="735" y="1631"/>
                  </a:lnTo>
                  <a:lnTo>
                    <a:pt x="718" y="1636"/>
                  </a:lnTo>
                  <a:lnTo>
                    <a:pt x="705" y="1634"/>
                  </a:lnTo>
                  <a:lnTo>
                    <a:pt x="698" y="1635"/>
                  </a:lnTo>
                  <a:lnTo>
                    <a:pt x="694" y="1637"/>
                  </a:lnTo>
                  <a:lnTo>
                    <a:pt x="694" y="1643"/>
                  </a:lnTo>
                  <a:lnTo>
                    <a:pt x="693" y="1646"/>
                  </a:lnTo>
                  <a:lnTo>
                    <a:pt x="688" y="1648"/>
                  </a:lnTo>
                  <a:lnTo>
                    <a:pt x="682" y="1648"/>
                  </a:lnTo>
                  <a:lnTo>
                    <a:pt x="676" y="1645"/>
                  </a:lnTo>
                  <a:lnTo>
                    <a:pt x="673" y="1645"/>
                  </a:lnTo>
                  <a:lnTo>
                    <a:pt x="671" y="1648"/>
                  </a:lnTo>
                  <a:lnTo>
                    <a:pt x="671" y="1651"/>
                  </a:lnTo>
                  <a:lnTo>
                    <a:pt x="672" y="1652"/>
                  </a:lnTo>
                  <a:lnTo>
                    <a:pt x="677" y="1649"/>
                  </a:lnTo>
                  <a:lnTo>
                    <a:pt x="677" y="1653"/>
                  </a:lnTo>
                  <a:lnTo>
                    <a:pt x="674" y="1657"/>
                  </a:lnTo>
                  <a:lnTo>
                    <a:pt x="670" y="1662"/>
                  </a:lnTo>
                  <a:lnTo>
                    <a:pt x="670" y="1669"/>
                  </a:lnTo>
                  <a:lnTo>
                    <a:pt x="669" y="1671"/>
                  </a:lnTo>
                  <a:lnTo>
                    <a:pt x="666" y="1673"/>
                  </a:lnTo>
                  <a:lnTo>
                    <a:pt x="660" y="1674"/>
                  </a:lnTo>
                  <a:lnTo>
                    <a:pt x="655" y="1674"/>
                  </a:lnTo>
                  <a:lnTo>
                    <a:pt x="651" y="1673"/>
                  </a:lnTo>
                  <a:lnTo>
                    <a:pt x="649" y="1670"/>
                  </a:lnTo>
                  <a:lnTo>
                    <a:pt x="648" y="1664"/>
                  </a:lnTo>
                  <a:lnTo>
                    <a:pt x="641" y="1657"/>
                  </a:lnTo>
                  <a:lnTo>
                    <a:pt x="644" y="1654"/>
                  </a:lnTo>
                  <a:lnTo>
                    <a:pt x="650" y="1655"/>
                  </a:lnTo>
                  <a:lnTo>
                    <a:pt x="650" y="1651"/>
                  </a:lnTo>
                  <a:lnTo>
                    <a:pt x="648" y="1646"/>
                  </a:lnTo>
                  <a:lnTo>
                    <a:pt x="642" y="1644"/>
                  </a:lnTo>
                  <a:lnTo>
                    <a:pt x="638" y="1632"/>
                  </a:lnTo>
                  <a:lnTo>
                    <a:pt x="639" y="1628"/>
                  </a:lnTo>
                  <a:lnTo>
                    <a:pt x="644" y="1623"/>
                  </a:lnTo>
                  <a:lnTo>
                    <a:pt x="644" y="1617"/>
                  </a:lnTo>
                  <a:lnTo>
                    <a:pt x="636" y="1618"/>
                  </a:lnTo>
                  <a:lnTo>
                    <a:pt x="633" y="1616"/>
                  </a:lnTo>
                  <a:lnTo>
                    <a:pt x="631" y="1612"/>
                  </a:lnTo>
                  <a:lnTo>
                    <a:pt x="634" y="1605"/>
                  </a:lnTo>
                  <a:lnTo>
                    <a:pt x="642" y="1597"/>
                  </a:lnTo>
                  <a:lnTo>
                    <a:pt x="649" y="1595"/>
                  </a:lnTo>
                  <a:lnTo>
                    <a:pt x="653" y="1596"/>
                  </a:lnTo>
                  <a:lnTo>
                    <a:pt x="660" y="1602"/>
                  </a:lnTo>
                  <a:lnTo>
                    <a:pt x="663" y="1602"/>
                  </a:lnTo>
                  <a:lnTo>
                    <a:pt x="667" y="1597"/>
                  </a:lnTo>
                  <a:lnTo>
                    <a:pt x="673" y="1593"/>
                  </a:lnTo>
                  <a:lnTo>
                    <a:pt x="677" y="1588"/>
                  </a:lnTo>
                  <a:lnTo>
                    <a:pt x="680" y="1587"/>
                  </a:lnTo>
                  <a:lnTo>
                    <a:pt x="687" y="1588"/>
                  </a:lnTo>
                  <a:lnTo>
                    <a:pt x="690" y="1587"/>
                  </a:lnTo>
                  <a:lnTo>
                    <a:pt x="694" y="1581"/>
                  </a:lnTo>
                  <a:lnTo>
                    <a:pt x="694" y="1577"/>
                  </a:lnTo>
                  <a:lnTo>
                    <a:pt x="692" y="1576"/>
                  </a:lnTo>
                  <a:lnTo>
                    <a:pt x="686" y="1577"/>
                  </a:lnTo>
                  <a:lnTo>
                    <a:pt x="685" y="1575"/>
                  </a:lnTo>
                  <a:lnTo>
                    <a:pt x="685" y="1573"/>
                  </a:lnTo>
                  <a:lnTo>
                    <a:pt x="690" y="1564"/>
                  </a:lnTo>
                  <a:lnTo>
                    <a:pt x="696" y="1560"/>
                  </a:lnTo>
                  <a:lnTo>
                    <a:pt x="698" y="1554"/>
                  </a:lnTo>
                  <a:lnTo>
                    <a:pt x="704" y="1558"/>
                  </a:lnTo>
                  <a:lnTo>
                    <a:pt x="708" y="1565"/>
                  </a:lnTo>
                  <a:lnTo>
                    <a:pt x="710" y="1566"/>
                  </a:lnTo>
                  <a:lnTo>
                    <a:pt x="714" y="1567"/>
                  </a:lnTo>
                  <a:lnTo>
                    <a:pt x="721" y="1567"/>
                  </a:lnTo>
                  <a:lnTo>
                    <a:pt x="730" y="1562"/>
                  </a:lnTo>
                  <a:lnTo>
                    <a:pt x="740" y="1553"/>
                  </a:lnTo>
                  <a:lnTo>
                    <a:pt x="748" y="1551"/>
                  </a:lnTo>
                  <a:lnTo>
                    <a:pt x="761" y="1541"/>
                  </a:lnTo>
                  <a:lnTo>
                    <a:pt x="769" y="1539"/>
                  </a:lnTo>
                  <a:lnTo>
                    <a:pt x="778" y="1531"/>
                  </a:lnTo>
                  <a:lnTo>
                    <a:pt x="778" y="1529"/>
                  </a:lnTo>
                  <a:lnTo>
                    <a:pt x="776" y="1522"/>
                  </a:lnTo>
                  <a:lnTo>
                    <a:pt x="771" y="1519"/>
                  </a:lnTo>
                  <a:lnTo>
                    <a:pt x="766" y="1518"/>
                  </a:lnTo>
                  <a:lnTo>
                    <a:pt x="763" y="1515"/>
                  </a:lnTo>
                  <a:lnTo>
                    <a:pt x="760" y="1506"/>
                  </a:lnTo>
                  <a:lnTo>
                    <a:pt x="758" y="1506"/>
                  </a:lnTo>
                  <a:lnTo>
                    <a:pt x="752" y="1510"/>
                  </a:lnTo>
                  <a:lnTo>
                    <a:pt x="750" y="1507"/>
                  </a:lnTo>
                  <a:lnTo>
                    <a:pt x="747" y="1505"/>
                  </a:lnTo>
                  <a:lnTo>
                    <a:pt x="748" y="1501"/>
                  </a:lnTo>
                  <a:lnTo>
                    <a:pt x="752" y="1501"/>
                  </a:lnTo>
                  <a:lnTo>
                    <a:pt x="753" y="1499"/>
                  </a:lnTo>
                  <a:lnTo>
                    <a:pt x="752" y="1497"/>
                  </a:lnTo>
                  <a:lnTo>
                    <a:pt x="748" y="1497"/>
                  </a:lnTo>
                  <a:lnTo>
                    <a:pt x="747" y="1493"/>
                  </a:lnTo>
                  <a:lnTo>
                    <a:pt x="750" y="1492"/>
                  </a:lnTo>
                  <a:lnTo>
                    <a:pt x="754" y="1494"/>
                  </a:lnTo>
                  <a:lnTo>
                    <a:pt x="756" y="1494"/>
                  </a:lnTo>
                  <a:lnTo>
                    <a:pt x="757" y="1492"/>
                  </a:lnTo>
                  <a:lnTo>
                    <a:pt x="758" y="1488"/>
                  </a:lnTo>
                  <a:lnTo>
                    <a:pt x="757" y="1486"/>
                  </a:lnTo>
                  <a:lnTo>
                    <a:pt x="749" y="1485"/>
                  </a:lnTo>
                  <a:lnTo>
                    <a:pt x="746" y="1483"/>
                  </a:lnTo>
                  <a:lnTo>
                    <a:pt x="745" y="1479"/>
                  </a:lnTo>
                  <a:lnTo>
                    <a:pt x="750" y="1475"/>
                  </a:lnTo>
                  <a:lnTo>
                    <a:pt x="760" y="1474"/>
                  </a:lnTo>
                  <a:lnTo>
                    <a:pt x="765" y="1472"/>
                  </a:lnTo>
                  <a:lnTo>
                    <a:pt x="767" y="1471"/>
                  </a:lnTo>
                  <a:lnTo>
                    <a:pt x="771" y="1466"/>
                  </a:lnTo>
                  <a:lnTo>
                    <a:pt x="779" y="1462"/>
                  </a:lnTo>
                  <a:lnTo>
                    <a:pt x="782" y="1457"/>
                  </a:lnTo>
                  <a:lnTo>
                    <a:pt x="780" y="1456"/>
                  </a:lnTo>
                  <a:lnTo>
                    <a:pt x="777" y="1457"/>
                  </a:lnTo>
                  <a:lnTo>
                    <a:pt x="776" y="1451"/>
                  </a:lnTo>
                  <a:lnTo>
                    <a:pt x="780" y="1451"/>
                  </a:lnTo>
                  <a:lnTo>
                    <a:pt x="780" y="1444"/>
                  </a:lnTo>
                  <a:lnTo>
                    <a:pt x="783" y="1438"/>
                  </a:lnTo>
                  <a:lnTo>
                    <a:pt x="807" y="1438"/>
                  </a:lnTo>
                  <a:lnTo>
                    <a:pt x="810" y="1436"/>
                  </a:lnTo>
                  <a:lnTo>
                    <a:pt x="814" y="1430"/>
                  </a:lnTo>
                  <a:lnTo>
                    <a:pt x="824" y="1427"/>
                  </a:lnTo>
                  <a:lnTo>
                    <a:pt x="825" y="1424"/>
                  </a:lnTo>
                  <a:lnTo>
                    <a:pt x="824" y="1421"/>
                  </a:lnTo>
                  <a:lnTo>
                    <a:pt x="823" y="1419"/>
                  </a:lnTo>
                  <a:lnTo>
                    <a:pt x="821" y="1422"/>
                  </a:lnTo>
                  <a:lnTo>
                    <a:pt x="820" y="1423"/>
                  </a:lnTo>
                  <a:lnTo>
                    <a:pt x="807" y="1424"/>
                  </a:lnTo>
                  <a:lnTo>
                    <a:pt x="800" y="1432"/>
                  </a:lnTo>
                  <a:lnTo>
                    <a:pt x="792" y="1432"/>
                  </a:lnTo>
                  <a:lnTo>
                    <a:pt x="781" y="1435"/>
                  </a:lnTo>
                  <a:lnTo>
                    <a:pt x="777" y="1434"/>
                  </a:lnTo>
                  <a:lnTo>
                    <a:pt x="771" y="1429"/>
                  </a:lnTo>
                  <a:lnTo>
                    <a:pt x="766" y="1428"/>
                  </a:lnTo>
                  <a:lnTo>
                    <a:pt x="765" y="1430"/>
                  </a:lnTo>
                  <a:lnTo>
                    <a:pt x="770" y="1436"/>
                  </a:lnTo>
                  <a:lnTo>
                    <a:pt x="770" y="1439"/>
                  </a:lnTo>
                  <a:lnTo>
                    <a:pt x="765" y="1440"/>
                  </a:lnTo>
                  <a:lnTo>
                    <a:pt x="756" y="1446"/>
                  </a:lnTo>
                  <a:lnTo>
                    <a:pt x="749" y="1445"/>
                  </a:lnTo>
                  <a:lnTo>
                    <a:pt x="736" y="1445"/>
                  </a:lnTo>
                  <a:lnTo>
                    <a:pt x="730" y="1446"/>
                  </a:lnTo>
                  <a:lnTo>
                    <a:pt x="723" y="1449"/>
                  </a:lnTo>
                  <a:lnTo>
                    <a:pt x="720" y="1448"/>
                  </a:lnTo>
                  <a:lnTo>
                    <a:pt x="717" y="1445"/>
                  </a:lnTo>
                  <a:lnTo>
                    <a:pt x="713" y="1437"/>
                  </a:lnTo>
                  <a:lnTo>
                    <a:pt x="712" y="1429"/>
                  </a:lnTo>
                  <a:lnTo>
                    <a:pt x="708" y="1422"/>
                  </a:lnTo>
                  <a:lnTo>
                    <a:pt x="706" y="1421"/>
                  </a:lnTo>
                  <a:lnTo>
                    <a:pt x="702" y="1426"/>
                  </a:lnTo>
                  <a:lnTo>
                    <a:pt x="697" y="1424"/>
                  </a:lnTo>
                  <a:lnTo>
                    <a:pt x="694" y="1426"/>
                  </a:lnTo>
                  <a:lnTo>
                    <a:pt x="700" y="1431"/>
                  </a:lnTo>
                  <a:lnTo>
                    <a:pt x="702" y="1434"/>
                  </a:lnTo>
                  <a:lnTo>
                    <a:pt x="699" y="1446"/>
                  </a:lnTo>
                  <a:lnTo>
                    <a:pt x="697" y="1449"/>
                  </a:lnTo>
                  <a:lnTo>
                    <a:pt x="694" y="1451"/>
                  </a:lnTo>
                  <a:lnTo>
                    <a:pt x="690" y="1451"/>
                  </a:lnTo>
                  <a:lnTo>
                    <a:pt x="679" y="1449"/>
                  </a:lnTo>
                  <a:lnTo>
                    <a:pt x="674" y="1450"/>
                  </a:lnTo>
                  <a:lnTo>
                    <a:pt x="674" y="1448"/>
                  </a:lnTo>
                  <a:lnTo>
                    <a:pt x="677" y="1439"/>
                  </a:lnTo>
                  <a:lnTo>
                    <a:pt x="686" y="1430"/>
                  </a:lnTo>
                  <a:lnTo>
                    <a:pt x="684" y="1428"/>
                  </a:lnTo>
                  <a:lnTo>
                    <a:pt x="678" y="1427"/>
                  </a:lnTo>
                  <a:lnTo>
                    <a:pt x="674" y="1427"/>
                  </a:lnTo>
                  <a:lnTo>
                    <a:pt x="672" y="1429"/>
                  </a:lnTo>
                  <a:lnTo>
                    <a:pt x="672" y="1435"/>
                  </a:lnTo>
                  <a:lnTo>
                    <a:pt x="666" y="1441"/>
                  </a:lnTo>
                  <a:lnTo>
                    <a:pt x="659" y="1452"/>
                  </a:lnTo>
                  <a:lnTo>
                    <a:pt x="657" y="1451"/>
                  </a:lnTo>
                  <a:lnTo>
                    <a:pt x="654" y="1449"/>
                  </a:lnTo>
                  <a:lnTo>
                    <a:pt x="652" y="1445"/>
                  </a:lnTo>
                  <a:lnTo>
                    <a:pt x="652" y="1437"/>
                  </a:lnTo>
                  <a:lnTo>
                    <a:pt x="654" y="1435"/>
                  </a:lnTo>
                  <a:lnTo>
                    <a:pt x="658" y="1435"/>
                  </a:lnTo>
                  <a:lnTo>
                    <a:pt x="657" y="1430"/>
                  </a:lnTo>
                  <a:lnTo>
                    <a:pt x="657" y="1428"/>
                  </a:lnTo>
                  <a:lnTo>
                    <a:pt x="668" y="1423"/>
                  </a:lnTo>
                  <a:lnTo>
                    <a:pt x="668" y="1417"/>
                  </a:lnTo>
                  <a:lnTo>
                    <a:pt x="673" y="1411"/>
                  </a:lnTo>
                  <a:lnTo>
                    <a:pt x="676" y="1410"/>
                  </a:lnTo>
                  <a:lnTo>
                    <a:pt x="682" y="1413"/>
                  </a:lnTo>
                  <a:lnTo>
                    <a:pt x="684" y="1412"/>
                  </a:lnTo>
                  <a:lnTo>
                    <a:pt x="686" y="1409"/>
                  </a:lnTo>
                  <a:lnTo>
                    <a:pt x="688" y="1409"/>
                  </a:lnTo>
                  <a:lnTo>
                    <a:pt x="699" y="1413"/>
                  </a:lnTo>
                  <a:lnTo>
                    <a:pt x="705" y="1418"/>
                  </a:lnTo>
                  <a:lnTo>
                    <a:pt x="707" y="1418"/>
                  </a:lnTo>
                  <a:lnTo>
                    <a:pt x="707" y="1416"/>
                  </a:lnTo>
                  <a:lnTo>
                    <a:pt x="703" y="1414"/>
                  </a:lnTo>
                  <a:lnTo>
                    <a:pt x="702" y="1412"/>
                  </a:lnTo>
                  <a:lnTo>
                    <a:pt x="699" y="1400"/>
                  </a:lnTo>
                  <a:lnTo>
                    <a:pt x="702" y="1398"/>
                  </a:lnTo>
                  <a:lnTo>
                    <a:pt x="711" y="1398"/>
                  </a:lnTo>
                  <a:lnTo>
                    <a:pt x="713" y="1397"/>
                  </a:lnTo>
                  <a:lnTo>
                    <a:pt x="717" y="1388"/>
                  </a:lnTo>
                  <a:lnTo>
                    <a:pt x="720" y="1372"/>
                  </a:lnTo>
                  <a:lnTo>
                    <a:pt x="729" y="1367"/>
                  </a:lnTo>
                  <a:lnTo>
                    <a:pt x="731" y="1365"/>
                  </a:lnTo>
                  <a:lnTo>
                    <a:pt x="727" y="1364"/>
                  </a:lnTo>
                  <a:lnTo>
                    <a:pt x="722" y="1366"/>
                  </a:lnTo>
                  <a:lnTo>
                    <a:pt x="721" y="1361"/>
                  </a:lnTo>
                  <a:lnTo>
                    <a:pt x="714" y="1351"/>
                  </a:lnTo>
                  <a:lnTo>
                    <a:pt x="718" y="1346"/>
                  </a:lnTo>
                  <a:lnTo>
                    <a:pt x="717" y="1342"/>
                  </a:lnTo>
                  <a:lnTo>
                    <a:pt x="712" y="1336"/>
                  </a:lnTo>
                  <a:lnTo>
                    <a:pt x="709" y="1339"/>
                  </a:lnTo>
                  <a:lnTo>
                    <a:pt x="707" y="1339"/>
                  </a:lnTo>
                  <a:lnTo>
                    <a:pt x="702" y="1330"/>
                  </a:lnTo>
                  <a:lnTo>
                    <a:pt x="694" y="1323"/>
                  </a:lnTo>
                  <a:lnTo>
                    <a:pt x="694" y="1321"/>
                  </a:lnTo>
                  <a:lnTo>
                    <a:pt x="700" y="1315"/>
                  </a:lnTo>
                  <a:lnTo>
                    <a:pt x="700" y="1313"/>
                  </a:lnTo>
                  <a:lnTo>
                    <a:pt x="698" y="1308"/>
                  </a:lnTo>
                  <a:lnTo>
                    <a:pt x="694" y="1303"/>
                  </a:lnTo>
                  <a:lnTo>
                    <a:pt x="693" y="1300"/>
                  </a:lnTo>
                  <a:lnTo>
                    <a:pt x="699" y="1297"/>
                  </a:lnTo>
                  <a:lnTo>
                    <a:pt x="702" y="1293"/>
                  </a:lnTo>
                  <a:lnTo>
                    <a:pt x="706" y="1288"/>
                  </a:lnTo>
                  <a:lnTo>
                    <a:pt x="709" y="1278"/>
                  </a:lnTo>
                  <a:lnTo>
                    <a:pt x="715" y="1279"/>
                  </a:lnTo>
                  <a:lnTo>
                    <a:pt x="723" y="1276"/>
                  </a:lnTo>
                  <a:lnTo>
                    <a:pt x="729" y="1271"/>
                  </a:lnTo>
                  <a:lnTo>
                    <a:pt x="731" y="1265"/>
                  </a:lnTo>
                  <a:lnTo>
                    <a:pt x="738" y="1262"/>
                  </a:lnTo>
                  <a:lnTo>
                    <a:pt x="745" y="1254"/>
                  </a:lnTo>
                  <a:lnTo>
                    <a:pt x="748" y="1254"/>
                  </a:lnTo>
                  <a:lnTo>
                    <a:pt x="751" y="1256"/>
                  </a:lnTo>
                  <a:lnTo>
                    <a:pt x="754" y="1257"/>
                  </a:lnTo>
                  <a:lnTo>
                    <a:pt x="764" y="1256"/>
                  </a:lnTo>
                  <a:lnTo>
                    <a:pt x="769" y="1249"/>
                  </a:lnTo>
                  <a:lnTo>
                    <a:pt x="768" y="1247"/>
                  </a:lnTo>
                  <a:lnTo>
                    <a:pt x="766" y="1243"/>
                  </a:lnTo>
                  <a:lnTo>
                    <a:pt x="767" y="1241"/>
                  </a:lnTo>
                  <a:lnTo>
                    <a:pt x="781" y="1233"/>
                  </a:lnTo>
                  <a:lnTo>
                    <a:pt x="788" y="1225"/>
                  </a:lnTo>
                  <a:lnTo>
                    <a:pt x="789" y="1223"/>
                  </a:lnTo>
                  <a:lnTo>
                    <a:pt x="788" y="1221"/>
                  </a:lnTo>
                  <a:lnTo>
                    <a:pt x="785" y="1220"/>
                  </a:lnTo>
                  <a:lnTo>
                    <a:pt x="780" y="1221"/>
                  </a:lnTo>
                  <a:lnTo>
                    <a:pt x="775" y="1219"/>
                  </a:lnTo>
                  <a:lnTo>
                    <a:pt x="774" y="1217"/>
                  </a:lnTo>
                  <a:lnTo>
                    <a:pt x="775" y="1216"/>
                  </a:lnTo>
                  <a:lnTo>
                    <a:pt x="781" y="1216"/>
                  </a:lnTo>
                  <a:lnTo>
                    <a:pt x="784" y="1214"/>
                  </a:lnTo>
                  <a:lnTo>
                    <a:pt x="789" y="1207"/>
                  </a:lnTo>
                  <a:lnTo>
                    <a:pt x="793" y="1205"/>
                  </a:lnTo>
                  <a:lnTo>
                    <a:pt x="795" y="1203"/>
                  </a:lnTo>
                  <a:lnTo>
                    <a:pt x="797" y="1197"/>
                  </a:lnTo>
                  <a:lnTo>
                    <a:pt x="798" y="1192"/>
                  </a:lnTo>
                  <a:lnTo>
                    <a:pt x="802" y="1184"/>
                  </a:lnTo>
                  <a:lnTo>
                    <a:pt x="805" y="1182"/>
                  </a:lnTo>
                  <a:lnTo>
                    <a:pt x="812" y="1181"/>
                  </a:lnTo>
                  <a:lnTo>
                    <a:pt x="814" y="1179"/>
                  </a:lnTo>
                  <a:lnTo>
                    <a:pt x="816" y="1171"/>
                  </a:lnTo>
                  <a:lnTo>
                    <a:pt x="816" y="1168"/>
                  </a:lnTo>
                  <a:lnTo>
                    <a:pt x="813" y="1164"/>
                  </a:lnTo>
                  <a:lnTo>
                    <a:pt x="808" y="1161"/>
                  </a:lnTo>
                  <a:lnTo>
                    <a:pt x="808" y="1159"/>
                  </a:lnTo>
                  <a:lnTo>
                    <a:pt x="810" y="1158"/>
                  </a:lnTo>
                  <a:lnTo>
                    <a:pt x="815" y="1157"/>
                  </a:lnTo>
                  <a:lnTo>
                    <a:pt x="821" y="1154"/>
                  </a:lnTo>
                  <a:lnTo>
                    <a:pt x="832" y="1145"/>
                  </a:lnTo>
                  <a:lnTo>
                    <a:pt x="834" y="1138"/>
                  </a:lnTo>
                  <a:lnTo>
                    <a:pt x="836" y="1127"/>
                  </a:lnTo>
                  <a:lnTo>
                    <a:pt x="836" y="1125"/>
                  </a:lnTo>
                  <a:lnTo>
                    <a:pt x="832" y="1120"/>
                  </a:lnTo>
                  <a:lnTo>
                    <a:pt x="832" y="1115"/>
                  </a:lnTo>
                  <a:lnTo>
                    <a:pt x="834" y="1113"/>
                  </a:lnTo>
                  <a:lnTo>
                    <a:pt x="846" y="1106"/>
                  </a:lnTo>
                  <a:lnTo>
                    <a:pt x="849" y="1102"/>
                  </a:lnTo>
                  <a:lnTo>
                    <a:pt x="855" y="1089"/>
                  </a:lnTo>
                  <a:lnTo>
                    <a:pt x="855" y="1082"/>
                  </a:lnTo>
                  <a:lnTo>
                    <a:pt x="853" y="1076"/>
                  </a:lnTo>
                  <a:lnTo>
                    <a:pt x="853" y="1074"/>
                  </a:lnTo>
                  <a:lnTo>
                    <a:pt x="855" y="1072"/>
                  </a:lnTo>
                  <a:lnTo>
                    <a:pt x="861" y="1073"/>
                  </a:lnTo>
                  <a:lnTo>
                    <a:pt x="862" y="1072"/>
                  </a:lnTo>
                  <a:lnTo>
                    <a:pt x="865" y="1063"/>
                  </a:lnTo>
                  <a:lnTo>
                    <a:pt x="871" y="1056"/>
                  </a:lnTo>
                  <a:lnTo>
                    <a:pt x="868" y="1050"/>
                  </a:lnTo>
                  <a:lnTo>
                    <a:pt x="869" y="1049"/>
                  </a:lnTo>
                  <a:lnTo>
                    <a:pt x="871" y="1048"/>
                  </a:lnTo>
                  <a:lnTo>
                    <a:pt x="871" y="1045"/>
                  </a:lnTo>
                  <a:lnTo>
                    <a:pt x="864" y="1037"/>
                  </a:lnTo>
                  <a:lnTo>
                    <a:pt x="850" y="1023"/>
                  </a:lnTo>
                  <a:lnTo>
                    <a:pt x="841" y="1019"/>
                  </a:lnTo>
                  <a:lnTo>
                    <a:pt x="829" y="1010"/>
                  </a:lnTo>
                  <a:lnTo>
                    <a:pt x="829" y="1006"/>
                  </a:lnTo>
                  <a:lnTo>
                    <a:pt x="834" y="997"/>
                  </a:lnTo>
                  <a:lnTo>
                    <a:pt x="834" y="991"/>
                  </a:lnTo>
                  <a:lnTo>
                    <a:pt x="833" y="989"/>
                  </a:lnTo>
                  <a:lnTo>
                    <a:pt x="825" y="987"/>
                  </a:lnTo>
                  <a:lnTo>
                    <a:pt x="819" y="984"/>
                  </a:lnTo>
                  <a:lnTo>
                    <a:pt x="804" y="971"/>
                  </a:lnTo>
                  <a:lnTo>
                    <a:pt x="795" y="964"/>
                  </a:lnTo>
                  <a:lnTo>
                    <a:pt x="788" y="958"/>
                  </a:lnTo>
                  <a:lnTo>
                    <a:pt x="784" y="954"/>
                  </a:lnTo>
                  <a:lnTo>
                    <a:pt x="782" y="951"/>
                  </a:lnTo>
                  <a:lnTo>
                    <a:pt x="781" y="951"/>
                  </a:lnTo>
                  <a:lnTo>
                    <a:pt x="778" y="954"/>
                  </a:lnTo>
                  <a:lnTo>
                    <a:pt x="777" y="953"/>
                  </a:lnTo>
                  <a:lnTo>
                    <a:pt x="776" y="948"/>
                  </a:lnTo>
                  <a:lnTo>
                    <a:pt x="781" y="944"/>
                  </a:lnTo>
                  <a:lnTo>
                    <a:pt x="777" y="940"/>
                  </a:lnTo>
                  <a:lnTo>
                    <a:pt x="780" y="935"/>
                  </a:lnTo>
                  <a:lnTo>
                    <a:pt x="782" y="929"/>
                  </a:lnTo>
                  <a:lnTo>
                    <a:pt x="781" y="927"/>
                  </a:lnTo>
                  <a:lnTo>
                    <a:pt x="779" y="926"/>
                  </a:lnTo>
                  <a:lnTo>
                    <a:pt x="777" y="925"/>
                  </a:lnTo>
                  <a:lnTo>
                    <a:pt x="775" y="927"/>
                  </a:lnTo>
                  <a:lnTo>
                    <a:pt x="774" y="926"/>
                  </a:lnTo>
                  <a:lnTo>
                    <a:pt x="772" y="910"/>
                  </a:lnTo>
                  <a:lnTo>
                    <a:pt x="770" y="906"/>
                  </a:lnTo>
                  <a:lnTo>
                    <a:pt x="771" y="902"/>
                  </a:lnTo>
                  <a:lnTo>
                    <a:pt x="775" y="900"/>
                  </a:lnTo>
                  <a:lnTo>
                    <a:pt x="775" y="899"/>
                  </a:lnTo>
                  <a:lnTo>
                    <a:pt x="772" y="898"/>
                  </a:lnTo>
                  <a:lnTo>
                    <a:pt x="770" y="897"/>
                  </a:lnTo>
                  <a:lnTo>
                    <a:pt x="767" y="899"/>
                  </a:lnTo>
                  <a:lnTo>
                    <a:pt x="766" y="899"/>
                  </a:lnTo>
                  <a:lnTo>
                    <a:pt x="762" y="895"/>
                  </a:lnTo>
                  <a:lnTo>
                    <a:pt x="761" y="892"/>
                  </a:lnTo>
                  <a:lnTo>
                    <a:pt x="758" y="890"/>
                  </a:lnTo>
                  <a:lnTo>
                    <a:pt x="753" y="891"/>
                  </a:lnTo>
                  <a:lnTo>
                    <a:pt x="747" y="890"/>
                  </a:lnTo>
                  <a:lnTo>
                    <a:pt x="748" y="877"/>
                  </a:lnTo>
                  <a:lnTo>
                    <a:pt x="747" y="869"/>
                  </a:lnTo>
                  <a:lnTo>
                    <a:pt x="745" y="867"/>
                  </a:lnTo>
                  <a:lnTo>
                    <a:pt x="741" y="867"/>
                  </a:lnTo>
                  <a:lnTo>
                    <a:pt x="738" y="869"/>
                  </a:lnTo>
                  <a:lnTo>
                    <a:pt x="736" y="870"/>
                  </a:lnTo>
                  <a:lnTo>
                    <a:pt x="736" y="871"/>
                  </a:lnTo>
                  <a:lnTo>
                    <a:pt x="744" y="871"/>
                  </a:lnTo>
                  <a:lnTo>
                    <a:pt x="745" y="874"/>
                  </a:lnTo>
                  <a:lnTo>
                    <a:pt x="743" y="889"/>
                  </a:lnTo>
                  <a:lnTo>
                    <a:pt x="740" y="894"/>
                  </a:lnTo>
                  <a:lnTo>
                    <a:pt x="734" y="896"/>
                  </a:lnTo>
                  <a:lnTo>
                    <a:pt x="732" y="893"/>
                  </a:lnTo>
                  <a:lnTo>
                    <a:pt x="732" y="890"/>
                  </a:lnTo>
                  <a:lnTo>
                    <a:pt x="738" y="881"/>
                  </a:lnTo>
                  <a:lnTo>
                    <a:pt x="738" y="880"/>
                  </a:lnTo>
                  <a:lnTo>
                    <a:pt x="735" y="881"/>
                  </a:lnTo>
                  <a:lnTo>
                    <a:pt x="729" y="890"/>
                  </a:lnTo>
                  <a:lnTo>
                    <a:pt x="728" y="884"/>
                  </a:lnTo>
                  <a:lnTo>
                    <a:pt x="729" y="876"/>
                  </a:lnTo>
                  <a:lnTo>
                    <a:pt x="728" y="874"/>
                  </a:lnTo>
                  <a:lnTo>
                    <a:pt x="725" y="872"/>
                  </a:lnTo>
                  <a:lnTo>
                    <a:pt x="724" y="873"/>
                  </a:lnTo>
                  <a:lnTo>
                    <a:pt x="725" y="879"/>
                  </a:lnTo>
                  <a:lnTo>
                    <a:pt x="716" y="892"/>
                  </a:lnTo>
                  <a:lnTo>
                    <a:pt x="717" y="892"/>
                  </a:lnTo>
                  <a:lnTo>
                    <a:pt x="717" y="892"/>
                  </a:lnTo>
                  <a:lnTo>
                    <a:pt x="716" y="894"/>
                  </a:lnTo>
                  <a:lnTo>
                    <a:pt x="716" y="899"/>
                  </a:lnTo>
                  <a:lnTo>
                    <a:pt x="714" y="900"/>
                  </a:lnTo>
                  <a:lnTo>
                    <a:pt x="712" y="900"/>
                  </a:lnTo>
                  <a:lnTo>
                    <a:pt x="712" y="897"/>
                  </a:lnTo>
                  <a:lnTo>
                    <a:pt x="710" y="895"/>
                  </a:lnTo>
                  <a:lnTo>
                    <a:pt x="708" y="894"/>
                  </a:lnTo>
                  <a:lnTo>
                    <a:pt x="707" y="895"/>
                  </a:lnTo>
                  <a:lnTo>
                    <a:pt x="710" y="898"/>
                  </a:lnTo>
                  <a:lnTo>
                    <a:pt x="709" y="905"/>
                  </a:lnTo>
                  <a:lnTo>
                    <a:pt x="712" y="910"/>
                  </a:lnTo>
                  <a:lnTo>
                    <a:pt x="721" y="913"/>
                  </a:lnTo>
                  <a:lnTo>
                    <a:pt x="722" y="915"/>
                  </a:lnTo>
                  <a:lnTo>
                    <a:pt x="710" y="912"/>
                  </a:lnTo>
                  <a:lnTo>
                    <a:pt x="709" y="913"/>
                  </a:lnTo>
                  <a:lnTo>
                    <a:pt x="710" y="916"/>
                  </a:lnTo>
                  <a:lnTo>
                    <a:pt x="715" y="919"/>
                  </a:lnTo>
                  <a:lnTo>
                    <a:pt x="721" y="919"/>
                  </a:lnTo>
                  <a:lnTo>
                    <a:pt x="720" y="924"/>
                  </a:lnTo>
                  <a:lnTo>
                    <a:pt x="717" y="924"/>
                  </a:lnTo>
                  <a:lnTo>
                    <a:pt x="708" y="920"/>
                  </a:lnTo>
                  <a:lnTo>
                    <a:pt x="698" y="924"/>
                  </a:lnTo>
                  <a:lnTo>
                    <a:pt x="696" y="926"/>
                  </a:lnTo>
                  <a:lnTo>
                    <a:pt x="696" y="931"/>
                  </a:lnTo>
                  <a:lnTo>
                    <a:pt x="688" y="941"/>
                  </a:lnTo>
                  <a:lnTo>
                    <a:pt x="687" y="941"/>
                  </a:lnTo>
                  <a:lnTo>
                    <a:pt x="686" y="938"/>
                  </a:lnTo>
                  <a:lnTo>
                    <a:pt x="684" y="931"/>
                  </a:lnTo>
                  <a:lnTo>
                    <a:pt x="682" y="932"/>
                  </a:lnTo>
                  <a:lnTo>
                    <a:pt x="681" y="935"/>
                  </a:lnTo>
                  <a:lnTo>
                    <a:pt x="679" y="937"/>
                  </a:lnTo>
                  <a:lnTo>
                    <a:pt x="672" y="934"/>
                  </a:lnTo>
                  <a:lnTo>
                    <a:pt x="676" y="930"/>
                  </a:lnTo>
                  <a:lnTo>
                    <a:pt x="676" y="926"/>
                  </a:lnTo>
                  <a:lnTo>
                    <a:pt x="674" y="924"/>
                  </a:lnTo>
                  <a:lnTo>
                    <a:pt x="672" y="927"/>
                  </a:lnTo>
                  <a:lnTo>
                    <a:pt x="667" y="927"/>
                  </a:lnTo>
                  <a:lnTo>
                    <a:pt x="666" y="925"/>
                  </a:lnTo>
                  <a:lnTo>
                    <a:pt x="666" y="920"/>
                  </a:lnTo>
                  <a:lnTo>
                    <a:pt x="654" y="921"/>
                  </a:lnTo>
                  <a:lnTo>
                    <a:pt x="652" y="926"/>
                  </a:lnTo>
                  <a:lnTo>
                    <a:pt x="649" y="926"/>
                  </a:lnTo>
                  <a:lnTo>
                    <a:pt x="644" y="930"/>
                  </a:lnTo>
                  <a:lnTo>
                    <a:pt x="641" y="931"/>
                  </a:lnTo>
                  <a:lnTo>
                    <a:pt x="636" y="929"/>
                  </a:lnTo>
                  <a:lnTo>
                    <a:pt x="630" y="930"/>
                  </a:lnTo>
                  <a:lnTo>
                    <a:pt x="627" y="929"/>
                  </a:lnTo>
                  <a:lnTo>
                    <a:pt x="626" y="927"/>
                  </a:lnTo>
                  <a:lnTo>
                    <a:pt x="630" y="923"/>
                  </a:lnTo>
                  <a:lnTo>
                    <a:pt x="626" y="920"/>
                  </a:lnTo>
                  <a:lnTo>
                    <a:pt x="625" y="917"/>
                  </a:lnTo>
                  <a:lnTo>
                    <a:pt x="623" y="919"/>
                  </a:lnTo>
                  <a:lnTo>
                    <a:pt x="623" y="925"/>
                  </a:lnTo>
                  <a:lnTo>
                    <a:pt x="621" y="927"/>
                  </a:lnTo>
                  <a:lnTo>
                    <a:pt x="618" y="928"/>
                  </a:lnTo>
                  <a:lnTo>
                    <a:pt x="617" y="923"/>
                  </a:lnTo>
                  <a:lnTo>
                    <a:pt x="621" y="912"/>
                  </a:lnTo>
                  <a:lnTo>
                    <a:pt x="620" y="912"/>
                  </a:lnTo>
                  <a:lnTo>
                    <a:pt x="616" y="919"/>
                  </a:lnTo>
                  <a:lnTo>
                    <a:pt x="614" y="921"/>
                  </a:lnTo>
                  <a:lnTo>
                    <a:pt x="614" y="915"/>
                  </a:lnTo>
                  <a:lnTo>
                    <a:pt x="612" y="913"/>
                  </a:lnTo>
                  <a:lnTo>
                    <a:pt x="612" y="920"/>
                  </a:lnTo>
                  <a:lnTo>
                    <a:pt x="611" y="923"/>
                  </a:lnTo>
                  <a:lnTo>
                    <a:pt x="609" y="924"/>
                  </a:lnTo>
                  <a:lnTo>
                    <a:pt x="607" y="921"/>
                  </a:lnTo>
                  <a:lnTo>
                    <a:pt x="608" y="917"/>
                  </a:lnTo>
                  <a:lnTo>
                    <a:pt x="606" y="913"/>
                  </a:lnTo>
                  <a:lnTo>
                    <a:pt x="607" y="910"/>
                  </a:lnTo>
                  <a:lnTo>
                    <a:pt x="606" y="909"/>
                  </a:lnTo>
                  <a:lnTo>
                    <a:pt x="604" y="911"/>
                  </a:lnTo>
                  <a:lnTo>
                    <a:pt x="605" y="919"/>
                  </a:lnTo>
                  <a:lnTo>
                    <a:pt x="601" y="926"/>
                  </a:lnTo>
                  <a:lnTo>
                    <a:pt x="613" y="927"/>
                  </a:lnTo>
                  <a:lnTo>
                    <a:pt x="612" y="932"/>
                  </a:lnTo>
                  <a:lnTo>
                    <a:pt x="605" y="934"/>
                  </a:lnTo>
                  <a:lnTo>
                    <a:pt x="601" y="936"/>
                  </a:lnTo>
                  <a:lnTo>
                    <a:pt x="596" y="933"/>
                  </a:lnTo>
                  <a:lnTo>
                    <a:pt x="589" y="931"/>
                  </a:lnTo>
                  <a:lnTo>
                    <a:pt x="588" y="929"/>
                  </a:lnTo>
                  <a:lnTo>
                    <a:pt x="590" y="923"/>
                  </a:lnTo>
                  <a:lnTo>
                    <a:pt x="590" y="918"/>
                  </a:lnTo>
                  <a:lnTo>
                    <a:pt x="586" y="928"/>
                  </a:lnTo>
                  <a:lnTo>
                    <a:pt x="584" y="929"/>
                  </a:lnTo>
                  <a:lnTo>
                    <a:pt x="583" y="929"/>
                  </a:lnTo>
                  <a:lnTo>
                    <a:pt x="582" y="928"/>
                  </a:lnTo>
                  <a:lnTo>
                    <a:pt x="582" y="926"/>
                  </a:lnTo>
                  <a:lnTo>
                    <a:pt x="586" y="919"/>
                  </a:lnTo>
                  <a:lnTo>
                    <a:pt x="585" y="917"/>
                  </a:lnTo>
                  <a:lnTo>
                    <a:pt x="581" y="923"/>
                  </a:lnTo>
                  <a:lnTo>
                    <a:pt x="577" y="934"/>
                  </a:lnTo>
                  <a:lnTo>
                    <a:pt x="573" y="938"/>
                  </a:lnTo>
                  <a:lnTo>
                    <a:pt x="569" y="948"/>
                  </a:lnTo>
                  <a:lnTo>
                    <a:pt x="566" y="950"/>
                  </a:lnTo>
                  <a:lnTo>
                    <a:pt x="561" y="951"/>
                  </a:lnTo>
                  <a:lnTo>
                    <a:pt x="558" y="956"/>
                  </a:lnTo>
                  <a:lnTo>
                    <a:pt x="557" y="961"/>
                  </a:lnTo>
                  <a:lnTo>
                    <a:pt x="560" y="967"/>
                  </a:lnTo>
                  <a:lnTo>
                    <a:pt x="560" y="969"/>
                  </a:lnTo>
                  <a:lnTo>
                    <a:pt x="555" y="969"/>
                  </a:lnTo>
                  <a:lnTo>
                    <a:pt x="546" y="968"/>
                  </a:lnTo>
                  <a:lnTo>
                    <a:pt x="543" y="969"/>
                  </a:lnTo>
                  <a:lnTo>
                    <a:pt x="543" y="968"/>
                  </a:lnTo>
                  <a:lnTo>
                    <a:pt x="544" y="965"/>
                  </a:lnTo>
                  <a:lnTo>
                    <a:pt x="544" y="964"/>
                  </a:lnTo>
                  <a:lnTo>
                    <a:pt x="540" y="959"/>
                  </a:lnTo>
                  <a:lnTo>
                    <a:pt x="537" y="959"/>
                  </a:lnTo>
                  <a:lnTo>
                    <a:pt x="536" y="962"/>
                  </a:lnTo>
                  <a:lnTo>
                    <a:pt x="539" y="967"/>
                  </a:lnTo>
                  <a:lnTo>
                    <a:pt x="537" y="968"/>
                  </a:lnTo>
                  <a:lnTo>
                    <a:pt x="531" y="976"/>
                  </a:lnTo>
                  <a:lnTo>
                    <a:pt x="530" y="978"/>
                  </a:lnTo>
                  <a:lnTo>
                    <a:pt x="531" y="982"/>
                  </a:lnTo>
                  <a:lnTo>
                    <a:pt x="535" y="985"/>
                  </a:lnTo>
                  <a:lnTo>
                    <a:pt x="535" y="986"/>
                  </a:lnTo>
                  <a:lnTo>
                    <a:pt x="534" y="988"/>
                  </a:lnTo>
                  <a:lnTo>
                    <a:pt x="527" y="990"/>
                  </a:lnTo>
                  <a:lnTo>
                    <a:pt x="524" y="992"/>
                  </a:lnTo>
                  <a:lnTo>
                    <a:pt x="525" y="1005"/>
                  </a:lnTo>
                  <a:lnTo>
                    <a:pt x="526" y="1007"/>
                  </a:lnTo>
                  <a:lnTo>
                    <a:pt x="529" y="1006"/>
                  </a:lnTo>
                  <a:lnTo>
                    <a:pt x="537" y="1002"/>
                  </a:lnTo>
                  <a:lnTo>
                    <a:pt x="541" y="1002"/>
                  </a:lnTo>
                  <a:lnTo>
                    <a:pt x="545" y="1003"/>
                  </a:lnTo>
                  <a:lnTo>
                    <a:pt x="548" y="1007"/>
                  </a:lnTo>
                  <a:lnTo>
                    <a:pt x="544" y="1010"/>
                  </a:lnTo>
                  <a:lnTo>
                    <a:pt x="539" y="1009"/>
                  </a:lnTo>
                  <a:lnTo>
                    <a:pt x="535" y="1010"/>
                  </a:lnTo>
                  <a:lnTo>
                    <a:pt x="531" y="1016"/>
                  </a:lnTo>
                  <a:lnTo>
                    <a:pt x="516" y="1023"/>
                  </a:lnTo>
                  <a:lnTo>
                    <a:pt x="508" y="1022"/>
                  </a:lnTo>
                  <a:lnTo>
                    <a:pt x="503" y="1025"/>
                  </a:lnTo>
                  <a:lnTo>
                    <a:pt x="500" y="1030"/>
                  </a:lnTo>
                  <a:lnTo>
                    <a:pt x="501" y="1038"/>
                  </a:lnTo>
                  <a:lnTo>
                    <a:pt x="498" y="1043"/>
                  </a:lnTo>
                  <a:lnTo>
                    <a:pt x="497" y="1051"/>
                  </a:lnTo>
                  <a:lnTo>
                    <a:pt x="495" y="1052"/>
                  </a:lnTo>
                  <a:lnTo>
                    <a:pt x="493" y="1051"/>
                  </a:lnTo>
                  <a:lnTo>
                    <a:pt x="491" y="1052"/>
                  </a:lnTo>
                  <a:lnTo>
                    <a:pt x="487" y="1062"/>
                  </a:lnTo>
                  <a:lnTo>
                    <a:pt x="483" y="1066"/>
                  </a:lnTo>
                  <a:lnTo>
                    <a:pt x="471" y="1074"/>
                  </a:lnTo>
                  <a:lnTo>
                    <a:pt x="470" y="1077"/>
                  </a:lnTo>
                  <a:lnTo>
                    <a:pt x="467" y="1080"/>
                  </a:lnTo>
                  <a:lnTo>
                    <a:pt x="469" y="1087"/>
                  </a:lnTo>
                  <a:lnTo>
                    <a:pt x="465" y="1095"/>
                  </a:lnTo>
                  <a:lnTo>
                    <a:pt x="463" y="1096"/>
                  </a:lnTo>
                  <a:lnTo>
                    <a:pt x="458" y="1096"/>
                  </a:lnTo>
                  <a:lnTo>
                    <a:pt x="450" y="1104"/>
                  </a:lnTo>
                  <a:lnTo>
                    <a:pt x="450" y="1107"/>
                  </a:lnTo>
                  <a:lnTo>
                    <a:pt x="453" y="1112"/>
                  </a:lnTo>
                  <a:lnTo>
                    <a:pt x="452" y="1117"/>
                  </a:lnTo>
                  <a:lnTo>
                    <a:pt x="450" y="1121"/>
                  </a:lnTo>
                  <a:lnTo>
                    <a:pt x="449" y="1122"/>
                  </a:lnTo>
                  <a:lnTo>
                    <a:pt x="443" y="1121"/>
                  </a:lnTo>
                  <a:lnTo>
                    <a:pt x="439" y="1122"/>
                  </a:lnTo>
                  <a:lnTo>
                    <a:pt x="438" y="1133"/>
                  </a:lnTo>
                  <a:lnTo>
                    <a:pt x="440" y="1135"/>
                  </a:lnTo>
                  <a:lnTo>
                    <a:pt x="446" y="1135"/>
                  </a:lnTo>
                  <a:lnTo>
                    <a:pt x="454" y="1132"/>
                  </a:lnTo>
                  <a:lnTo>
                    <a:pt x="455" y="1133"/>
                  </a:lnTo>
                  <a:lnTo>
                    <a:pt x="455" y="1136"/>
                  </a:lnTo>
                  <a:lnTo>
                    <a:pt x="453" y="1139"/>
                  </a:lnTo>
                  <a:lnTo>
                    <a:pt x="446" y="1142"/>
                  </a:lnTo>
                  <a:lnTo>
                    <a:pt x="441" y="1147"/>
                  </a:lnTo>
                  <a:lnTo>
                    <a:pt x="434" y="1150"/>
                  </a:lnTo>
                  <a:lnTo>
                    <a:pt x="433" y="1152"/>
                  </a:lnTo>
                  <a:lnTo>
                    <a:pt x="432" y="1157"/>
                  </a:lnTo>
                  <a:lnTo>
                    <a:pt x="434" y="1169"/>
                  </a:lnTo>
                  <a:lnTo>
                    <a:pt x="429" y="1174"/>
                  </a:lnTo>
                  <a:lnTo>
                    <a:pt x="432" y="1175"/>
                  </a:lnTo>
                  <a:lnTo>
                    <a:pt x="437" y="1175"/>
                  </a:lnTo>
                  <a:lnTo>
                    <a:pt x="437" y="1176"/>
                  </a:lnTo>
                  <a:lnTo>
                    <a:pt x="435" y="1181"/>
                  </a:lnTo>
                  <a:lnTo>
                    <a:pt x="428" y="1186"/>
                  </a:lnTo>
                  <a:lnTo>
                    <a:pt x="428" y="1190"/>
                  </a:lnTo>
                  <a:lnTo>
                    <a:pt x="425" y="1198"/>
                  </a:lnTo>
                  <a:lnTo>
                    <a:pt x="421" y="1200"/>
                  </a:lnTo>
                  <a:lnTo>
                    <a:pt x="409" y="1200"/>
                  </a:lnTo>
                  <a:lnTo>
                    <a:pt x="405" y="1200"/>
                  </a:lnTo>
                  <a:lnTo>
                    <a:pt x="402" y="1201"/>
                  </a:lnTo>
                  <a:lnTo>
                    <a:pt x="398" y="1200"/>
                  </a:lnTo>
                  <a:lnTo>
                    <a:pt x="398" y="1204"/>
                  </a:lnTo>
                  <a:lnTo>
                    <a:pt x="388" y="1206"/>
                  </a:lnTo>
                  <a:lnTo>
                    <a:pt x="384" y="1214"/>
                  </a:lnTo>
                  <a:lnTo>
                    <a:pt x="375" y="1221"/>
                  </a:lnTo>
                  <a:lnTo>
                    <a:pt x="362" y="1229"/>
                  </a:lnTo>
                  <a:lnTo>
                    <a:pt x="359" y="1232"/>
                  </a:lnTo>
                  <a:lnTo>
                    <a:pt x="353" y="1235"/>
                  </a:lnTo>
                  <a:lnTo>
                    <a:pt x="334" y="1244"/>
                  </a:lnTo>
                  <a:lnTo>
                    <a:pt x="327" y="1247"/>
                  </a:lnTo>
                  <a:lnTo>
                    <a:pt x="320" y="1251"/>
                  </a:lnTo>
                  <a:lnTo>
                    <a:pt x="310" y="1254"/>
                  </a:lnTo>
                  <a:lnTo>
                    <a:pt x="300" y="1262"/>
                  </a:lnTo>
                  <a:lnTo>
                    <a:pt x="297" y="1264"/>
                  </a:lnTo>
                  <a:lnTo>
                    <a:pt x="296" y="1274"/>
                  </a:lnTo>
                  <a:lnTo>
                    <a:pt x="294" y="1276"/>
                  </a:lnTo>
                  <a:lnTo>
                    <a:pt x="294" y="1276"/>
                  </a:lnTo>
                  <a:lnTo>
                    <a:pt x="283" y="1259"/>
                  </a:lnTo>
                  <a:lnTo>
                    <a:pt x="278" y="1255"/>
                  </a:lnTo>
                  <a:lnTo>
                    <a:pt x="269" y="1250"/>
                  </a:lnTo>
                  <a:lnTo>
                    <a:pt x="265" y="1247"/>
                  </a:lnTo>
                  <a:lnTo>
                    <a:pt x="263" y="1240"/>
                  </a:lnTo>
                  <a:lnTo>
                    <a:pt x="254" y="1234"/>
                  </a:lnTo>
                  <a:lnTo>
                    <a:pt x="247" y="1222"/>
                  </a:lnTo>
                  <a:lnTo>
                    <a:pt x="238" y="1216"/>
                  </a:lnTo>
                  <a:lnTo>
                    <a:pt x="236" y="1203"/>
                  </a:lnTo>
                  <a:lnTo>
                    <a:pt x="218" y="1184"/>
                  </a:lnTo>
                  <a:lnTo>
                    <a:pt x="213" y="1181"/>
                  </a:lnTo>
                  <a:lnTo>
                    <a:pt x="206" y="1184"/>
                  </a:lnTo>
                  <a:lnTo>
                    <a:pt x="204" y="1184"/>
                  </a:lnTo>
                  <a:lnTo>
                    <a:pt x="203" y="1175"/>
                  </a:lnTo>
                  <a:lnTo>
                    <a:pt x="204" y="1149"/>
                  </a:lnTo>
                  <a:lnTo>
                    <a:pt x="203" y="1140"/>
                  </a:lnTo>
                  <a:lnTo>
                    <a:pt x="200" y="1131"/>
                  </a:lnTo>
                  <a:lnTo>
                    <a:pt x="192" y="1118"/>
                  </a:lnTo>
                  <a:lnTo>
                    <a:pt x="191" y="1114"/>
                  </a:lnTo>
                  <a:lnTo>
                    <a:pt x="190" y="1108"/>
                  </a:lnTo>
                  <a:lnTo>
                    <a:pt x="187" y="1104"/>
                  </a:lnTo>
                  <a:lnTo>
                    <a:pt x="184" y="1102"/>
                  </a:lnTo>
                  <a:lnTo>
                    <a:pt x="166" y="1106"/>
                  </a:lnTo>
                  <a:lnTo>
                    <a:pt x="152" y="1106"/>
                  </a:lnTo>
                  <a:lnTo>
                    <a:pt x="128" y="1113"/>
                  </a:lnTo>
                  <a:lnTo>
                    <a:pt x="116" y="1112"/>
                  </a:lnTo>
                  <a:lnTo>
                    <a:pt x="113" y="1108"/>
                  </a:lnTo>
                  <a:lnTo>
                    <a:pt x="108" y="1095"/>
                  </a:lnTo>
                  <a:lnTo>
                    <a:pt x="105" y="1092"/>
                  </a:lnTo>
                  <a:lnTo>
                    <a:pt x="99" y="1091"/>
                  </a:lnTo>
                  <a:lnTo>
                    <a:pt x="87" y="1092"/>
                  </a:lnTo>
                  <a:lnTo>
                    <a:pt x="85" y="1090"/>
                  </a:lnTo>
                  <a:lnTo>
                    <a:pt x="85" y="1086"/>
                  </a:lnTo>
                  <a:lnTo>
                    <a:pt x="92" y="1066"/>
                  </a:lnTo>
                  <a:lnTo>
                    <a:pt x="91" y="1062"/>
                  </a:lnTo>
                  <a:lnTo>
                    <a:pt x="89" y="1062"/>
                  </a:lnTo>
                  <a:lnTo>
                    <a:pt x="66" y="1071"/>
                  </a:lnTo>
                  <a:lnTo>
                    <a:pt x="58" y="1071"/>
                  </a:lnTo>
                  <a:lnTo>
                    <a:pt x="49" y="1069"/>
                  </a:lnTo>
                  <a:lnTo>
                    <a:pt x="39" y="1061"/>
                  </a:lnTo>
                  <a:lnTo>
                    <a:pt x="33" y="1057"/>
                  </a:lnTo>
                  <a:lnTo>
                    <a:pt x="27" y="1050"/>
                  </a:lnTo>
                  <a:lnTo>
                    <a:pt x="22" y="1046"/>
                  </a:lnTo>
                  <a:lnTo>
                    <a:pt x="19" y="1039"/>
                  </a:lnTo>
                  <a:lnTo>
                    <a:pt x="8" y="1035"/>
                  </a:lnTo>
                  <a:lnTo>
                    <a:pt x="3" y="1031"/>
                  </a:lnTo>
                  <a:lnTo>
                    <a:pt x="0" y="998"/>
                  </a:lnTo>
                  <a:lnTo>
                    <a:pt x="0" y="991"/>
                  </a:lnTo>
                  <a:lnTo>
                    <a:pt x="1" y="987"/>
                  </a:lnTo>
                  <a:lnTo>
                    <a:pt x="4" y="984"/>
                  </a:lnTo>
                  <a:lnTo>
                    <a:pt x="8" y="982"/>
                  </a:lnTo>
                  <a:lnTo>
                    <a:pt x="27" y="980"/>
                  </a:lnTo>
                  <a:lnTo>
                    <a:pt x="33" y="978"/>
                  </a:lnTo>
                  <a:lnTo>
                    <a:pt x="37" y="972"/>
                  </a:lnTo>
                  <a:lnTo>
                    <a:pt x="40" y="964"/>
                  </a:lnTo>
                  <a:lnTo>
                    <a:pt x="39" y="962"/>
                  </a:lnTo>
                  <a:lnTo>
                    <a:pt x="37" y="961"/>
                  </a:lnTo>
                  <a:lnTo>
                    <a:pt x="23" y="958"/>
                  </a:lnTo>
                  <a:lnTo>
                    <a:pt x="19" y="955"/>
                  </a:lnTo>
                  <a:lnTo>
                    <a:pt x="17" y="951"/>
                  </a:lnTo>
                  <a:lnTo>
                    <a:pt x="18" y="944"/>
                  </a:lnTo>
                  <a:lnTo>
                    <a:pt x="23" y="942"/>
                  </a:lnTo>
                  <a:lnTo>
                    <a:pt x="39" y="938"/>
                  </a:lnTo>
                  <a:lnTo>
                    <a:pt x="46" y="932"/>
                  </a:lnTo>
                  <a:lnTo>
                    <a:pt x="49" y="925"/>
                  </a:lnTo>
                  <a:lnTo>
                    <a:pt x="51" y="914"/>
                  </a:lnTo>
                  <a:lnTo>
                    <a:pt x="55" y="912"/>
                  </a:lnTo>
                  <a:lnTo>
                    <a:pt x="63" y="908"/>
                  </a:lnTo>
                  <a:lnTo>
                    <a:pt x="67" y="903"/>
                  </a:lnTo>
                  <a:lnTo>
                    <a:pt x="69" y="899"/>
                  </a:lnTo>
                  <a:lnTo>
                    <a:pt x="68" y="895"/>
                  </a:lnTo>
                  <a:lnTo>
                    <a:pt x="63" y="887"/>
                  </a:lnTo>
                  <a:lnTo>
                    <a:pt x="64" y="884"/>
                  </a:lnTo>
                  <a:lnTo>
                    <a:pt x="81" y="876"/>
                  </a:lnTo>
                  <a:lnTo>
                    <a:pt x="86" y="864"/>
                  </a:lnTo>
                  <a:lnTo>
                    <a:pt x="84" y="858"/>
                  </a:lnTo>
                  <a:lnTo>
                    <a:pt x="84" y="858"/>
                  </a:lnTo>
                  <a:lnTo>
                    <a:pt x="87" y="847"/>
                  </a:lnTo>
                  <a:lnTo>
                    <a:pt x="90" y="843"/>
                  </a:lnTo>
                  <a:lnTo>
                    <a:pt x="92" y="843"/>
                  </a:lnTo>
                  <a:lnTo>
                    <a:pt x="102" y="845"/>
                  </a:lnTo>
                  <a:lnTo>
                    <a:pt x="109" y="839"/>
                  </a:lnTo>
                  <a:lnTo>
                    <a:pt x="108" y="824"/>
                  </a:lnTo>
                  <a:lnTo>
                    <a:pt x="101" y="819"/>
                  </a:lnTo>
                  <a:lnTo>
                    <a:pt x="100" y="817"/>
                  </a:lnTo>
                  <a:lnTo>
                    <a:pt x="103" y="813"/>
                  </a:lnTo>
                  <a:lnTo>
                    <a:pt x="110" y="812"/>
                  </a:lnTo>
                  <a:lnTo>
                    <a:pt x="114" y="811"/>
                  </a:lnTo>
                  <a:lnTo>
                    <a:pt x="117" y="807"/>
                  </a:lnTo>
                  <a:lnTo>
                    <a:pt x="118" y="802"/>
                  </a:lnTo>
                  <a:lnTo>
                    <a:pt x="117" y="797"/>
                  </a:lnTo>
                  <a:lnTo>
                    <a:pt x="110" y="774"/>
                  </a:lnTo>
                  <a:lnTo>
                    <a:pt x="110" y="770"/>
                  </a:lnTo>
                  <a:lnTo>
                    <a:pt x="112" y="764"/>
                  </a:lnTo>
                  <a:lnTo>
                    <a:pt x="119" y="757"/>
                  </a:lnTo>
                  <a:lnTo>
                    <a:pt x="120" y="754"/>
                  </a:lnTo>
                  <a:lnTo>
                    <a:pt x="114" y="747"/>
                  </a:lnTo>
                  <a:lnTo>
                    <a:pt x="94" y="731"/>
                  </a:lnTo>
                  <a:lnTo>
                    <a:pt x="91" y="728"/>
                  </a:lnTo>
                  <a:lnTo>
                    <a:pt x="89" y="631"/>
                  </a:lnTo>
                  <a:lnTo>
                    <a:pt x="91" y="620"/>
                  </a:lnTo>
                  <a:lnTo>
                    <a:pt x="97" y="606"/>
                  </a:lnTo>
                  <a:lnTo>
                    <a:pt x="97" y="592"/>
                  </a:lnTo>
                  <a:lnTo>
                    <a:pt x="96" y="587"/>
                  </a:lnTo>
                  <a:lnTo>
                    <a:pt x="91" y="582"/>
                  </a:lnTo>
                  <a:lnTo>
                    <a:pt x="76" y="567"/>
                  </a:lnTo>
                  <a:lnTo>
                    <a:pt x="65" y="556"/>
                  </a:lnTo>
                  <a:lnTo>
                    <a:pt x="64" y="551"/>
                  </a:lnTo>
                  <a:lnTo>
                    <a:pt x="64" y="543"/>
                  </a:lnTo>
                  <a:lnTo>
                    <a:pt x="65" y="535"/>
                  </a:lnTo>
                  <a:lnTo>
                    <a:pt x="71" y="528"/>
                  </a:lnTo>
                  <a:lnTo>
                    <a:pt x="85" y="516"/>
                  </a:lnTo>
                  <a:lnTo>
                    <a:pt x="103" y="503"/>
                  </a:lnTo>
                  <a:lnTo>
                    <a:pt x="109" y="499"/>
                  </a:lnTo>
                  <a:lnTo>
                    <a:pt x="116" y="487"/>
                  </a:lnTo>
                  <a:lnTo>
                    <a:pt x="125" y="488"/>
                  </a:lnTo>
                  <a:lnTo>
                    <a:pt x="131" y="492"/>
                  </a:lnTo>
                  <a:lnTo>
                    <a:pt x="131" y="496"/>
                  </a:lnTo>
                  <a:lnTo>
                    <a:pt x="127" y="503"/>
                  </a:lnTo>
                  <a:lnTo>
                    <a:pt x="127" y="507"/>
                  </a:lnTo>
                  <a:lnTo>
                    <a:pt x="131" y="514"/>
                  </a:lnTo>
                  <a:lnTo>
                    <a:pt x="144" y="524"/>
                  </a:lnTo>
                  <a:lnTo>
                    <a:pt x="155" y="531"/>
                  </a:lnTo>
                  <a:lnTo>
                    <a:pt x="191" y="541"/>
                  </a:lnTo>
                  <a:lnTo>
                    <a:pt x="199" y="547"/>
                  </a:lnTo>
                  <a:lnTo>
                    <a:pt x="198" y="570"/>
                  </a:lnTo>
                  <a:lnTo>
                    <a:pt x="227" y="611"/>
                  </a:lnTo>
                  <a:lnTo>
                    <a:pt x="238" y="630"/>
                  </a:lnTo>
                  <a:lnTo>
                    <a:pt x="255" y="655"/>
                  </a:lnTo>
                  <a:lnTo>
                    <a:pt x="259" y="664"/>
                  </a:lnTo>
                  <a:lnTo>
                    <a:pt x="267" y="693"/>
                  </a:lnTo>
                  <a:lnTo>
                    <a:pt x="273" y="695"/>
                  </a:lnTo>
                  <a:lnTo>
                    <a:pt x="279" y="695"/>
                  </a:lnTo>
                  <a:lnTo>
                    <a:pt x="281" y="694"/>
                  </a:lnTo>
                  <a:lnTo>
                    <a:pt x="283" y="690"/>
                  </a:lnTo>
                  <a:lnTo>
                    <a:pt x="287" y="675"/>
                  </a:lnTo>
                  <a:lnTo>
                    <a:pt x="289" y="666"/>
                  </a:lnTo>
                  <a:lnTo>
                    <a:pt x="299" y="646"/>
                  </a:lnTo>
                  <a:lnTo>
                    <a:pt x="303" y="641"/>
                  </a:lnTo>
                  <a:lnTo>
                    <a:pt x="316" y="635"/>
                  </a:lnTo>
                  <a:lnTo>
                    <a:pt x="317" y="633"/>
                  </a:lnTo>
                  <a:lnTo>
                    <a:pt x="317" y="631"/>
                  </a:lnTo>
                  <a:lnTo>
                    <a:pt x="314" y="628"/>
                  </a:lnTo>
                  <a:lnTo>
                    <a:pt x="312" y="623"/>
                  </a:lnTo>
                  <a:lnTo>
                    <a:pt x="312" y="621"/>
                  </a:lnTo>
                  <a:lnTo>
                    <a:pt x="313" y="617"/>
                  </a:lnTo>
                  <a:lnTo>
                    <a:pt x="319" y="609"/>
                  </a:lnTo>
                  <a:lnTo>
                    <a:pt x="326" y="604"/>
                  </a:lnTo>
                  <a:lnTo>
                    <a:pt x="331" y="602"/>
                  </a:lnTo>
                  <a:lnTo>
                    <a:pt x="337" y="602"/>
                  </a:lnTo>
                  <a:lnTo>
                    <a:pt x="342" y="600"/>
                  </a:lnTo>
                  <a:lnTo>
                    <a:pt x="349" y="590"/>
                  </a:lnTo>
                  <a:lnTo>
                    <a:pt x="352" y="583"/>
                  </a:lnTo>
                  <a:lnTo>
                    <a:pt x="353" y="574"/>
                  </a:lnTo>
                  <a:lnTo>
                    <a:pt x="360" y="564"/>
                  </a:lnTo>
                  <a:lnTo>
                    <a:pt x="361" y="558"/>
                  </a:lnTo>
                  <a:lnTo>
                    <a:pt x="359" y="555"/>
                  </a:lnTo>
                  <a:lnTo>
                    <a:pt x="359" y="552"/>
                  </a:lnTo>
                  <a:lnTo>
                    <a:pt x="360" y="549"/>
                  </a:lnTo>
                  <a:lnTo>
                    <a:pt x="363" y="546"/>
                  </a:lnTo>
                  <a:lnTo>
                    <a:pt x="396" y="523"/>
                  </a:lnTo>
                  <a:lnTo>
                    <a:pt x="401" y="518"/>
                  </a:lnTo>
                  <a:lnTo>
                    <a:pt x="404" y="513"/>
                  </a:lnTo>
                  <a:lnTo>
                    <a:pt x="408" y="510"/>
                  </a:lnTo>
                  <a:lnTo>
                    <a:pt x="436" y="494"/>
                  </a:lnTo>
                  <a:lnTo>
                    <a:pt x="470" y="485"/>
                  </a:lnTo>
                  <a:lnTo>
                    <a:pt x="480" y="491"/>
                  </a:lnTo>
                  <a:lnTo>
                    <a:pt x="485" y="492"/>
                  </a:lnTo>
                  <a:lnTo>
                    <a:pt x="487" y="491"/>
                  </a:lnTo>
                  <a:lnTo>
                    <a:pt x="492" y="483"/>
                  </a:lnTo>
                  <a:lnTo>
                    <a:pt x="495" y="479"/>
                  </a:lnTo>
                  <a:lnTo>
                    <a:pt x="512" y="468"/>
                  </a:lnTo>
                  <a:lnTo>
                    <a:pt x="525" y="450"/>
                  </a:lnTo>
                  <a:lnTo>
                    <a:pt x="546" y="431"/>
                  </a:lnTo>
                  <a:lnTo>
                    <a:pt x="548" y="424"/>
                  </a:lnTo>
                  <a:lnTo>
                    <a:pt x="558" y="420"/>
                  </a:lnTo>
                  <a:lnTo>
                    <a:pt x="563" y="403"/>
                  </a:lnTo>
                  <a:lnTo>
                    <a:pt x="595" y="396"/>
                  </a:lnTo>
                  <a:lnTo>
                    <a:pt x="618" y="387"/>
                  </a:lnTo>
                  <a:lnTo>
                    <a:pt x="634" y="407"/>
                  </a:lnTo>
                  <a:lnTo>
                    <a:pt x="639" y="410"/>
                  </a:lnTo>
                  <a:lnTo>
                    <a:pt x="643" y="409"/>
                  </a:lnTo>
                  <a:lnTo>
                    <a:pt x="650" y="403"/>
                  </a:lnTo>
                  <a:lnTo>
                    <a:pt x="660" y="388"/>
                  </a:lnTo>
                  <a:lnTo>
                    <a:pt x="664" y="386"/>
                  </a:lnTo>
                  <a:lnTo>
                    <a:pt x="671" y="381"/>
                  </a:lnTo>
                  <a:lnTo>
                    <a:pt x="680" y="369"/>
                  </a:lnTo>
                  <a:lnTo>
                    <a:pt x="688" y="355"/>
                  </a:lnTo>
                  <a:lnTo>
                    <a:pt x="689" y="332"/>
                  </a:lnTo>
                  <a:lnTo>
                    <a:pt x="693" y="321"/>
                  </a:lnTo>
                  <a:lnTo>
                    <a:pt x="708" y="303"/>
                  </a:lnTo>
                  <a:lnTo>
                    <a:pt x="711" y="303"/>
                  </a:lnTo>
                  <a:lnTo>
                    <a:pt x="749" y="310"/>
                  </a:lnTo>
                  <a:lnTo>
                    <a:pt x="769" y="308"/>
                  </a:lnTo>
                  <a:lnTo>
                    <a:pt x="783" y="312"/>
                  </a:lnTo>
                  <a:lnTo>
                    <a:pt x="792" y="310"/>
                  </a:lnTo>
                  <a:lnTo>
                    <a:pt x="797" y="308"/>
                  </a:lnTo>
                  <a:lnTo>
                    <a:pt x="801" y="304"/>
                  </a:lnTo>
                  <a:lnTo>
                    <a:pt x="803" y="297"/>
                  </a:lnTo>
                  <a:lnTo>
                    <a:pt x="812" y="280"/>
                  </a:lnTo>
                  <a:lnTo>
                    <a:pt x="811" y="277"/>
                  </a:lnTo>
                  <a:lnTo>
                    <a:pt x="810" y="274"/>
                  </a:lnTo>
                  <a:lnTo>
                    <a:pt x="794" y="278"/>
                  </a:lnTo>
                  <a:lnTo>
                    <a:pt x="793" y="277"/>
                  </a:lnTo>
                  <a:lnTo>
                    <a:pt x="788" y="271"/>
                  </a:lnTo>
                  <a:lnTo>
                    <a:pt x="786" y="266"/>
                  </a:lnTo>
                  <a:lnTo>
                    <a:pt x="787" y="260"/>
                  </a:lnTo>
                  <a:lnTo>
                    <a:pt x="789" y="255"/>
                  </a:lnTo>
                  <a:lnTo>
                    <a:pt x="808" y="254"/>
                  </a:lnTo>
                  <a:lnTo>
                    <a:pt x="829" y="255"/>
                  </a:lnTo>
                  <a:lnTo>
                    <a:pt x="833" y="258"/>
                  </a:lnTo>
                  <a:lnTo>
                    <a:pt x="846" y="266"/>
                  </a:lnTo>
                  <a:lnTo>
                    <a:pt x="850" y="268"/>
                  </a:lnTo>
                  <a:lnTo>
                    <a:pt x="857" y="268"/>
                  </a:lnTo>
                  <a:lnTo>
                    <a:pt x="871" y="266"/>
                  </a:lnTo>
                  <a:lnTo>
                    <a:pt x="879" y="266"/>
                  </a:lnTo>
                  <a:lnTo>
                    <a:pt x="903" y="278"/>
                  </a:lnTo>
                  <a:lnTo>
                    <a:pt x="910" y="278"/>
                  </a:lnTo>
                  <a:lnTo>
                    <a:pt x="913" y="277"/>
                  </a:lnTo>
                  <a:lnTo>
                    <a:pt x="918" y="266"/>
                  </a:lnTo>
                  <a:lnTo>
                    <a:pt x="921" y="263"/>
                  </a:lnTo>
                  <a:lnTo>
                    <a:pt x="929" y="260"/>
                  </a:lnTo>
                  <a:lnTo>
                    <a:pt x="949" y="255"/>
                  </a:lnTo>
                  <a:lnTo>
                    <a:pt x="963" y="245"/>
                  </a:lnTo>
                  <a:lnTo>
                    <a:pt x="994" y="234"/>
                  </a:lnTo>
                  <a:lnTo>
                    <a:pt x="996" y="231"/>
                  </a:lnTo>
                  <a:lnTo>
                    <a:pt x="996" y="227"/>
                  </a:lnTo>
                  <a:lnTo>
                    <a:pt x="980" y="217"/>
                  </a:lnTo>
                  <a:lnTo>
                    <a:pt x="979" y="213"/>
                  </a:lnTo>
                  <a:lnTo>
                    <a:pt x="980" y="206"/>
                  </a:lnTo>
                  <a:lnTo>
                    <a:pt x="983" y="198"/>
                  </a:lnTo>
                  <a:lnTo>
                    <a:pt x="988" y="190"/>
                  </a:lnTo>
                  <a:lnTo>
                    <a:pt x="996" y="182"/>
                  </a:lnTo>
                  <a:lnTo>
                    <a:pt x="1008" y="174"/>
                  </a:lnTo>
                  <a:lnTo>
                    <a:pt x="1045" y="154"/>
                  </a:lnTo>
                  <a:lnTo>
                    <a:pt x="1052" y="154"/>
                  </a:lnTo>
                  <a:lnTo>
                    <a:pt x="1068" y="164"/>
                  </a:lnTo>
                  <a:lnTo>
                    <a:pt x="1071" y="163"/>
                  </a:lnTo>
                  <a:lnTo>
                    <a:pt x="1074" y="159"/>
                  </a:lnTo>
                  <a:lnTo>
                    <a:pt x="1081" y="140"/>
                  </a:lnTo>
                  <a:lnTo>
                    <a:pt x="1084" y="116"/>
                  </a:lnTo>
                  <a:lnTo>
                    <a:pt x="1089" y="60"/>
                  </a:lnTo>
                  <a:lnTo>
                    <a:pt x="1088" y="51"/>
                  </a:lnTo>
                  <a:lnTo>
                    <a:pt x="1087" y="45"/>
                  </a:lnTo>
                  <a:lnTo>
                    <a:pt x="1087" y="45"/>
                  </a:lnTo>
                  <a:lnTo>
                    <a:pt x="1087" y="36"/>
                  </a:lnTo>
                  <a:lnTo>
                    <a:pt x="1088" y="28"/>
                  </a:lnTo>
                  <a:lnTo>
                    <a:pt x="1091" y="14"/>
                  </a:lnTo>
                  <a:lnTo>
                    <a:pt x="1094" y="9"/>
                  </a:lnTo>
                  <a:lnTo>
                    <a:pt x="1099" y="4"/>
                  </a:lnTo>
                  <a:lnTo>
                    <a:pt x="1105" y="1"/>
                  </a:lnTo>
                  <a:lnTo>
                    <a:pt x="1113" y="0"/>
                  </a:lnTo>
                  <a:lnTo>
                    <a:pt x="1119" y="1"/>
                  </a:lnTo>
                  <a:lnTo>
                    <a:pt x="1124" y="2"/>
                  </a:lnTo>
                  <a:lnTo>
                    <a:pt x="1126" y="3"/>
                  </a:lnTo>
                  <a:lnTo>
                    <a:pt x="1125" y="17"/>
                  </a:lnTo>
                  <a:lnTo>
                    <a:pt x="1129" y="22"/>
                  </a:lnTo>
                  <a:lnTo>
                    <a:pt x="1135" y="29"/>
                  </a:lnTo>
                  <a:lnTo>
                    <a:pt x="1153" y="36"/>
                  </a:lnTo>
                  <a:lnTo>
                    <a:pt x="1171" y="51"/>
                  </a:lnTo>
                  <a:lnTo>
                    <a:pt x="1177" y="52"/>
                  </a:lnTo>
                  <a:lnTo>
                    <a:pt x="1193" y="54"/>
                  </a:lnTo>
                  <a:lnTo>
                    <a:pt x="1203" y="58"/>
                  </a:lnTo>
                  <a:lnTo>
                    <a:pt x="1203" y="58"/>
                  </a:lnTo>
                  <a:lnTo>
                    <a:pt x="1224" y="61"/>
                  </a:lnTo>
                  <a:lnTo>
                    <a:pt x="1229" y="63"/>
                  </a:lnTo>
                  <a:lnTo>
                    <a:pt x="1231" y="66"/>
                  </a:lnTo>
                  <a:lnTo>
                    <a:pt x="1235" y="81"/>
                  </a:lnTo>
                  <a:lnTo>
                    <a:pt x="1238" y="87"/>
                  </a:lnTo>
                  <a:lnTo>
                    <a:pt x="1266" y="106"/>
                  </a:lnTo>
                  <a:lnTo>
                    <a:pt x="1271" y="111"/>
                  </a:lnTo>
                  <a:lnTo>
                    <a:pt x="1274" y="118"/>
                  </a:lnTo>
                  <a:lnTo>
                    <a:pt x="1275" y="121"/>
                  </a:lnTo>
                  <a:lnTo>
                    <a:pt x="1266" y="137"/>
                  </a:lnTo>
                  <a:lnTo>
                    <a:pt x="1265" y="142"/>
                  </a:lnTo>
                  <a:lnTo>
                    <a:pt x="1268" y="145"/>
                  </a:lnTo>
                  <a:lnTo>
                    <a:pt x="1280" y="147"/>
                  </a:lnTo>
                  <a:lnTo>
                    <a:pt x="1282" y="152"/>
                  </a:lnTo>
                  <a:lnTo>
                    <a:pt x="1280" y="156"/>
                  </a:lnTo>
                  <a:lnTo>
                    <a:pt x="1272" y="170"/>
                  </a:lnTo>
                  <a:lnTo>
                    <a:pt x="1271" y="174"/>
                  </a:lnTo>
                  <a:lnTo>
                    <a:pt x="1272" y="176"/>
                  </a:lnTo>
                  <a:lnTo>
                    <a:pt x="1288" y="180"/>
                  </a:lnTo>
                  <a:lnTo>
                    <a:pt x="1289" y="186"/>
                  </a:lnTo>
                  <a:lnTo>
                    <a:pt x="1293" y="188"/>
                  </a:lnTo>
                  <a:lnTo>
                    <a:pt x="1297" y="187"/>
                  </a:lnTo>
                  <a:lnTo>
                    <a:pt x="1303" y="174"/>
                  </a:lnTo>
                  <a:lnTo>
                    <a:pt x="1316" y="158"/>
                  </a:lnTo>
                  <a:lnTo>
                    <a:pt x="1325" y="145"/>
                  </a:lnTo>
                  <a:lnTo>
                    <a:pt x="1346" y="103"/>
                  </a:lnTo>
                  <a:lnTo>
                    <a:pt x="1355" y="88"/>
                  </a:lnTo>
                  <a:lnTo>
                    <a:pt x="1361" y="84"/>
                  </a:lnTo>
                  <a:lnTo>
                    <a:pt x="1372" y="80"/>
                  </a:lnTo>
                  <a:lnTo>
                    <a:pt x="1379" y="79"/>
                  </a:lnTo>
                  <a:lnTo>
                    <a:pt x="1382" y="81"/>
                  </a:lnTo>
                  <a:lnTo>
                    <a:pt x="1383" y="84"/>
                  </a:lnTo>
                  <a:lnTo>
                    <a:pt x="1383" y="90"/>
                  </a:lnTo>
                  <a:lnTo>
                    <a:pt x="1381" y="102"/>
                  </a:lnTo>
                  <a:lnTo>
                    <a:pt x="1381" y="106"/>
                  </a:lnTo>
                  <a:lnTo>
                    <a:pt x="1387" y="171"/>
                  </a:lnTo>
                  <a:lnTo>
                    <a:pt x="1389" y="178"/>
                  </a:lnTo>
                  <a:lnTo>
                    <a:pt x="1391" y="183"/>
                  </a:lnTo>
                  <a:lnTo>
                    <a:pt x="1395" y="188"/>
                  </a:lnTo>
                  <a:lnTo>
                    <a:pt x="1397" y="188"/>
                  </a:lnTo>
                  <a:lnTo>
                    <a:pt x="1400" y="186"/>
                  </a:lnTo>
                  <a:lnTo>
                    <a:pt x="1405" y="180"/>
                  </a:lnTo>
                  <a:lnTo>
                    <a:pt x="1410" y="178"/>
                  </a:lnTo>
                  <a:lnTo>
                    <a:pt x="1416" y="179"/>
                  </a:lnTo>
                  <a:lnTo>
                    <a:pt x="1422" y="182"/>
                  </a:lnTo>
                  <a:lnTo>
                    <a:pt x="1426" y="200"/>
                  </a:lnTo>
                  <a:lnTo>
                    <a:pt x="1429" y="207"/>
                  </a:lnTo>
                  <a:lnTo>
                    <a:pt x="1429" y="217"/>
                  </a:lnTo>
                  <a:lnTo>
                    <a:pt x="1430" y="224"/>
                  </a:lnTo>
                  <a:lnTo>
                    <a:pt x="1437" y="232"/>
                  </a:lnTo>
                  <a:lnTo>
                    <a:pt x="1440" y="237"/>
                  </a:lnTo>
                  <a:lnTo>
                    <a:pt x="1442" y="238"/>
                  </a:lnTo>
                  <a:lnTo>
                    <a:pt x="1445" y="240"/>
                  </a:lnTo>
                  <a:lnTo>
                    <a:pt x="1456" y="240"/>
                  </a:lnTo>
                  <a:lnTo>
                    <a:pt x="1462" y="241"/>
                  </a:lnTo>
                  <a:lnTo>
                    <a:pt x="1463" y="271"/>
                  </a:lnTo>
                  <a:lnTo>
                    <a:pt x="1470" y="279"/>
                  </a:lnTo>
                  <a:lnTo>
                    <a:pt x="1487" y="294"/>
                  </a:lnTo>
                  <a:lnTo>
                    <a:pt x="1494" y="304"/>
                  </a:lnTo>
                  <a:lnTo>
                    <a:pt x="1492" y="327"/>
                  </a:lnTo>
                  <a:lnTo>
                    <a:pt x="1495" y="331"/>
                  </a:lnTo>
                  <a:lnTo>
                    <a:pt x="1499" y="334"/>
                  </a:lnTo>
                  <a:lnTo>
                    <a:pt x="1516" y="338"/>
                  </a:lnTo>
                  <a:lnTo>
                    <a:pt x="1521" y="342"/>
                  </a:lnTo>
                  <a:lnTo>
                    <a:pt x="1523" y="346"/>
                  </a:lnTo>
                  <a:lnTo>
                    <a:pt x="1523" y="358"/>
                  </a:lnTo>
                  <a:lnTo>
                    <a:pt x="1524" y="366"/>
                  </a:lnTo>
                  <a:lnTo>
                    <a:pt x="1532" y="375"/>
                  </a:lnTo>
                  <a:lnTo>
                    <a:pt x="1534" y="381"/>
                  </a:lnTo>
                  <a:lnTo>
                    <a:pt x="1539" y="384"/>
                  </a:lnTo>
                  <a:lnTo>
                    <a:pt x="1543" y="385"/>
                  </a:lnTo>
                  <a:lnTo>
                    <a:pt x="1545" y="382"/>
                  </a:lnTo>
                  <a:lnTo>
                    <a:pt x="1551" y="376"/>
                  </a:lnTo>
                  <a:lnTo>
                    <a:pt x="1556" y="374"/>
                  </a:lnTo>
                  <a:lnTo>
                    <a:pt x="1559" y="376"/>
                  </a:lnTo>
                  <a:lnTo>
                    <a:pt x="1561" y="381"/>
                  </a:lnTo>
                  <a:lnTo>
                    <a:pt x="1571" y="382"/>
                  </a:lnTo>
                  <a:lnTo>
                    <a:pt x="1576" y="386"/>
                  </a:lnTo>
                  <a:lnTo>
                    <a:pt x="1575" y="389"/>
                  </a:lnTo>
                  <a:lnTo>
                    <a:pt x="1573" y="393"/>
                  </a:lnTo>
                  <a:lnTo>
                    <a:pt x="1564" y="397"/>
                  </a:lnTo>
                  <a:lnTo>
                    <a:pt x="1561" y="400"/>
                  </a:lnTo>
                  <a:lnTo>
                    <a:pt x="1555" y="416"/>
                  </a:lnTo>
                  <a:lnTo>
                    <a:pt x="1539" y="438"/>
                  </a:lnTo>
                  <a:lnTo>
                    <a:pt x="1537" y="444"/>
                  </a:lnTo>
                  <a:lnTo>
                    <a:pt x="1545" y="484"/>
                  </a:lnTo>
                  <a:lnTo>
                    <a:pt x="1557" y="510"/>
                  </a:lnTo>
                  <a:lnTo>
                    <a:pt x="1559" y="536"/>
                  </a:lnTo>
                  <a:lnTo>
                    <a:pt x="1562" y="538"/>
                  </a:lnTo>
                  <a:lnTo>
                    <a:pt x="1568" y="537"/>
                  </a:lnTo>
                  <a:lnTo>
                    <a:pt x="1578" y="531"/>
                  </a:lnTo>
                  <a:lnTo>
                    <a:pt x="1584" y="529"/>
                  </a:lnTo>
                  <a:lnTo>
                    <a:pt x="1587" y="529"/>
                  </a:lnTo>
                  <a:lnTo>
                    <a:pt x="1589" y="531"/>
                  </a:lnTo>
                  <a:lnTo>
                    <a:pt x="1594" y="539"/>
                  </a:lnTo>
                  <a:lnTo>
                    <a:pt x="1595" y="568"/>
                  </a:lnTo>
                  <a:lnTo>
                    <a:pt x="1604" y="579"/>
                  </a:lnTo>
                  <a:lnTo>
                    <a:pt x="1612" y="583"/>
                  </a:lnTo>
                  <a:lnTo>
                    <a:pt x="1616" y="586"/>
                  </a:lnTo>
                  <a:lnTo>
                    <a:pt x="1615" y="600"/>
                  </a:lnTo>
                  <a:lnTo>
                    <a:pt x="1628" y="613"/>
                  </a:lnTo>
                  <a:lnTo>
                    <a:pt x="1655" y="637"/>
                  </a:lnTo>
                  <a:lnTo>
                    <a:pt x="1665" y="657"/>
                  </a:lnTo>
                  <a:lnTo>
                    <a:pt x="1670" y="663"/>
                  </a:lnTo>
                  <a:lnTo>
                    <a:pt x="1681" y="671"/>
                  </a:lnTo>
                  <a:lnTo>
                    <a:pt x="1684" y="674"/>
                  </a:lnTo>
                  <a:lnTo>
                    <a:pt x="1686" y="679"/>
                  </a:lnTo>
                  <a:lnTo>
                    <a:pt x="1687" y="689"/>
                  </a:lnTo>
                  <a:lnTo>
                    <a:pt x="1689" y="694"/>
                  </a:lnTo>
                  <a:lnTo>
                    <a:pt x="1700" y="696"/>
                  </a:lnTo>
                  <a:lnTo>
                    <a:pt x="1699" y="701"/>
                  </a:lnTo>
                  <a:lnTo>
                    <a:pt x="1686" y="712"/>
                  </a:lnTo>
                  <a:lnTo>
                    <a:pt x="1686" y="716"/>
                  </a:lnTo>
                  <a:lnTo>
                    <a:pt x="1690" y="729"/>
                  </a:lnTo>
                  <a:lnTo>
                    <a:pt x="1689" y="741"/>
                  </a:lnTo>
                  <a:lnTo>
                    <a:pt x="1681" y="762"/>
                  </a:lnTo>
                  <a:lnTo>
                    <a:pt x="1673" y="766"/>
                  </a:lnTo>
                  <a:lnTo>
                    <a:pt x="1671" y="768"/>
                  </a:lnTo>
                  <a:lnTo>
                    <a:pt x="1666" y="783"/>
                  </a:lnTo>
                  <a:lnTo>
                    <a:pt x="1664" y="793"/>
                  </a:lnTo>
                  <a:lnTo>
                    <a:pt x="1665" y="793"/>
                  </a:lnTo>
                  <a:lnTo>
                    <a:pt x="1681" y="787"/>
                  </a:lnTo>
                  <a:lnTo>
                    <a:pt x="1688" y="791"/>
                  </a:lnTo>
                  <a:lnTo>
                    <a:pt x="1701" y="802"/>
                  </a:lnTo>
                  <a:lnTo>
                    <a:pt x="1701" y="802"/>
                  </a:lnTo>
                  <a:lnTo>
                    <a:pt x="1701" y="802"/>
                  </a:lnTo>
                  <a:lnTo>
                    <a:pt x="1701" y="802"/>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8" name="Freeform 91">
              <a:extLst>
                <a:ext uri="{FF2B5EF4-FFF2-40B4-BE49-F238E27FC236}">
                  <a16:creationId xmlns:a16="http://schemas.microsoft.com/office/drawing/2014/main" id="{4F817FC0-F5DE-3345-75FD-8A35A5244AFC}"/>
                </a:ext>
              </a:extLst>
            </p:cNvPr>
            <p:cNvSpPr>
              <a:spLocks/>
            </p:cNvSpPr>
            <p:nvPr/>
          </p:nvSpPr>
          <p:spPr bwMode="auto">
            <a:xfrm>
              <a:off x="7048501" y="3025777"/>
              <a:ext cx="1065213" cy="681038"/>
            </a:xfrm>
            <a:custGeom>
              <a:avLst/>
              <a:gdLst>
                <a:gd name="T0" fmla="*/ 1068 w 2011"/>
                <a:gd name="T1" fmla="*/ 1155 h 1286"/>
                <a:gd name="T2" fmla="*/ 973 w 2011"/>
                <a:gd name="T3" fmla="*/ 1269 h 1286"/>
                <a:gd name="T4" fmla="*/ 816 w 2011"/>
                <a:gd name="T5" fmla="*/ 1250 h 1286"/>
                <a:gd name="T6" fmla="*/ 639 w 2011"/>
                <a:gd name="T7" fmla="*/ 1258 h 1286"/>
                <a:gd name="T8" fmla="*/ 419 w 2011"/>
                <a:gd name="T9" fmla="*/ 1198 h 1286"/>
                <a:gd name="T10" fmla="*/ 246 w 2011"/>
                <a:gd name="T11" fmla="*/ 1265 h 1286"/>
                <a:gd name="T12" fmla="*/ 70 w 2011"/>
                <a:gd name="T13" fmla="*/ 1129 h 1286"/>
                <a:gd name="T14" fmla="*/ 45 w 2011"/>
                <a:gd name="T15" fmla="*/ 1037 h 1286"/>
                <a:gd name="T16" fmla="*/ 225 w 2011"/>
                <a:gd name="T17" fmla="*/ 855 h 1286"/>
                <a:gd name="T18" fmla="*/ 204 w 2011"/>
                <a:gd name="T19" fmla="*/ 813 h 1286"/>
                <a:gd name="T20" fmla="*/ 138 w 2011"/>
                <a:gd name="T21" fmla="*/ 684 h 1286"/>
                <a:gd name="T22" fmla="*/ 263 w 2011"/>
                <a:gd name="T23" fmla="*/ 334 h 1286"/>
                <a:gd name="T24" fmla="*/ 519 w 2011"/>
                <a:gd name="T25" fmla="*/ 144 h 1286"/>
                <a:gd name="T26" fmla="*/ 743 w 2011"/>
                <a:gd name="T27" fmla="*/ 9 h 1286"/>
                <a:gd name="T28" fmla="*/ 755 w 2011"/>
                <a:gd name="T29" fmla="*/ 35 h 1286"/>
                <a:gd name="T30" fmla="*/ 780 w 2011"/>
                <a:gd name="T31" fmla="*/ 94 h 1286"/>
                <a:gd name="T32" fmla="*/ 814 w 2011"/>
                <a:gd name="T33" fmla="*/ 78 h 1286"/>
                <a:gd name="T34" fmla="*/ 841 w 2011"/>
                <a:gd name="T35" fmla="*/ 45 h 1286"/>
                <a:gd name="T36" fmla="*/ 891 w 2011"/>
                <a:gd name="T37" fmla="*/ 22 h 1286"/>
                <a:gd name="T38" fmla="*/ 946 w 2011"/>
                <a:gd name="T39" fmla="*/ 39 h 1286"/>
                <a:gd name="T40" fmla="*/ 984 w 2011"/>
                <a:gd name="T41" fmla="*/ 37 h 1286"/>
                <a:gd name="T42" fmla="*/ 1029 w 2011"/>
                <a:gd name="T43" fmla="*/ 89 h 1286"/>
                <a:gd name="T44" fmla="*/ 1056 w 2011"/>
                <a:gd name="T45" fmla="*/ 137 h 1286"/>
                <a:gd name="T46" fmla="*/ 1019 w 2011"/>
                <a:gd name="T47" fmla="*/ 278 h 1286"/>
                <a:gd name="T48" fmla="*/ 1074 w 2011"/>
                <a:gd name="T49" fmla="*/ 312 h 1286"/>
                <a:gd name="T50" fmla="*/ 1206 w 2011"/>
                <a:gd name="T51" fmla="*/ 337 h 1286"/>
                <a:gd name="T52" fmla="*/ 1273 w 2011"/>
                <a:gd name="T53" fmla="*/ 246 h 1286"/>
                <a:gd name="T54" fmla="*/ 1384 w 2011"/>
                <a:gd name="T55" fmla="*/ 118 h 1286"/>
                <a:gd name="T56" fmla="*/ 1540 w 2011"/>
                <a:gd name="T57" fmla="*/ 61 h 1286"/>
                <a:gd name="T58" fmla="*/ 1617 w 2011"/>
                <a:gd name="T59" fmla="*/ 130 h 1286"/>
                <a:gd name="T60" fmla="*/ 1658 w 2011"/>
                <a:gd name="T61" fmla="*/ 131 h 1286"/>
                <a:gd name="T62" fmla="*/ 1770 w 2011"/>
                <a:gd name="T63" fmla="*/ 165 h 1286"/>
                <a:gd name="T64" fmla="*/ 1826 w 2011"/>
                <a:gd name="T65" fmla="*/ 132 h 1286"/>
                <a:gd name="T66" fmla="*/ 1870 w 2011"/>
                <a:gd name="T67" fmla="*/ 152 h 1286"/>
                <a:gd name="T68" fmla="*/ 1960 w 2011"/>
                <a:gd name="T69" fmla="*/ 155 h 1286"/>
                <a:gd name="T70" fmla="*/ 1985 w 2011"/>
                <a:gd name="T71" fmla="*/ 170 h 1286"/>
                <a:gd name="T72" fmla="*/ 1988 w 2011"/>
                <a:gd name="T73" fmla="*/ 231 h 1286"/>
                <a:gd name="T74" fmla="*/ 1953 w 2011"/>
                <a:gd name="T75" fmla="*/ 279 h 1286"/>
                <a:gd name="T76" fmla="*/ 1954 w 2011"/>
                <a:gd name="T77" fmla="*/ 308 h 1286"/>
                <a:gd name="T78" fmla="*/ 1919 w 2011"/>
                <a:gd name="T79" fmla="*/ 321 h 1286"/>
                <a:gd name="T80" fmla="*/ 1886 w 2011"/>
                <a:gd name="T81" fmla="*/ 293 h 1286"/>
                <a:gd name="T82" fmla="*/ 1835 w 2011"/>
                <a:gd name="T83" fmla="*/ 296 h 1286"/>
                <a:gd name="T84" fmla="*/ 1813 w 2011"/>
                <a:gd name="T85" fmla="*/ 329 h 1286"/>
                <a:gd name="T86" fmla="*/ 1746 w 2011"/>
                <a:gd name="T87" fmla="*/ 392 h 1286"/>
                <a:gd name="T88" fmla="*/ 1728 w 2011"/>
                <a:gd name="T89" fmla="*/ 373 h 1286"/>
                <a:gd name="T90" fmla="*/ 1698 w 2011"/>
                <a:gd name="T91" fmla="*/ 417 h 1286"/>
                <a:gd name="T92" fmla="*/ 1612 w 2011"/>
                <a:gd name="T93" fmla="*/ 458 h 1286"/>
                <a:gd name="T94" fmla="*/ 1589 w 2011"/>
                <a:gd name="T95" fmla="*/ 455 h 1286"/>
                <a:gd name="T96" fmla="*/ 1543 w 2011"/>
                <a:gd name="T97" fmla="*/ 478 h 1286"/>
                <a:gd name="T98" fmla="*/ 1590 w 2011"/>
                <a:gd name="T99" fmla="*/ 504 h 1286"/>
                <a:gd name="T100" fmla="*/ 1538 w 2011"/>
                <a:gd name="T101" fmla="*/ 521 h 1286"/>
                <a:gd name="T102" fmla="*/ 1520 w 2011"/>
                <a:gd name="T103" fmla="*/ 584 h 1286"/>
                <a:gd name="T104" fmla="*/ 1503 w 2011"/>
                <a:gd name="T105" fmla="*/ 642 h 1286"/>
                <a:gd name="T106" fmla="*/ 1441 w 2011"/>
                <a:gd name="T107" fmla="*/ 644 h 1286"/>
                <a:gd name="T108" fmla="*/ 1431 w 2011"/>
                <a:gd name="T109" fmla="*/ 625 h 1286"/>
                <a:gd name="T110" fmla="*/ 1378 w 2011"/>
                <a:gd name="T111" fmla="*/ 646 h 1286"/>
                <a:gd name="T112" fmla="*/ 1432 w 2011"/>
                <a:gd name="T113" fmla="*/ 689 h 1286"/>
                <a:gd name="T114" fmla="*/ 1374 w 2011"/>
                <a:gd name="T115" fmla="*/ 740 h 1286"/>
                <a:gd name="T116" fmla="*/ 1343 w 2011"/>
                <a:gd name="T117" fmla="*/ 820 h 1286"/>
                <a:gd name="T118" fmla="*/ 1286 w 2011"/>
                <a:gd name="T119" fmla="*/ 839 h 1286"/>
                <a:gd name="T120" fmla="*/ 1256 w 2011"/>
                <a:gd name="T121" fmla="*/ 916 h 1286"/>
                <a:gd name="T122" fmla="*/ 1200 w 2011"/>
                <a:gd name="T123" fmla="*/ 1021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1" h="1286">
                  <a:moveTo>
                    <a:pt x="1200" y="1021"/>
                  </a:moveTo>
                  <a:lnTo>
                    <a:pt x="1195" y="1014"/>
                  </a:lnTo>
                  <a:lnTo>
                    <a:pt x="1192" y="1012"/>
                  </a:lnTo>
                  <a:lnTo>
                    <a:pt x="1188" y="1011"/>
                  </a:lnTo>
                  <a:lnTo>
                    <a:pt x="1177" y="1024"/>
                  </a:lnTo>
                  <a:lnTo>
                    <a:pt x="1171" y="1027"/>
                  </a:lnTo>
                  <a:lnTo>
                    <a:pt x="1161" y="1029"/>
                  </a:lnTo>
                  <a:lnTo>
                    <a:pt x="1158" y="1030"/>
                  </a:lnTo>
                  <a:lnTo>
                    <a:pt x="1152" y="1039"/>
                  </a:lnTo>
                  <a:lnTo>
                    <a:pt x="1147" y="1044"/>
                  </a:lnTo>
                  <a:lnTo>
                    <a:pt x="1140" y="1046"/>
                  </a:lnTo>
                  <a:lnTo>
                    <a:pt x="1096" y="1049"/>
                  </a:lnTo>
                  <a:lnTo>
                    <a:pt x="1083" y="1057"/>
                  </a:lnTo>
                  <a:lnTo>
                    <a:pt x="1081" y="1063"/>
                  </a:lnTo>
                  <a:lnTo>
                    <a:pt x="1081" y="1084"/>
                  </a:lnTo>
                  <a:lnTo>
                    <a:pt x="1078" y="1096"/>
                  </a:lnTo>
                  <a:lnTo>
                    <a:pt x="1069" y="1118"/>
                  </a:lnTo>
                  <a:lnTo>
                    <a:pt x="1066" y="1128"/>
                  </a:lnTo>
                  <a:lnTo>
                    <a:pt x="1063" y="1133"/>
                  </a:lnTo>
                  <a:lnTo>
                    <a:pt x="1055" y="1140"/>
                  </a:lnTo>
                  <a:lnTo>
                    <a:pt x="1052" y="1149"/>
                  </a:lnTo>
                  <a:lnTo>
                    <a:pt x="1052" y="1151"/>
                  </a:lnTo>
                  <a:lnTo>
                    <a:pt x="1053" y="1153"/>
                  </a:lnTo>
                  <a:lnTo>
                    <a:pt x="1068" y="1155"/>
                  </a:lnTo>
                  <a:lnTo>
                    <a:pt x="1068" y="1158"/>
                  </a:lnTo>
                  <a:lnTo>
                    <a:pt x="1066" y="1160"/>
                  </a:lnTo>
                  <a:lnTo>
                    <a:pt x="1060" y="1163"/>
                  </a:lnTo>
                  <a:lnTo>
                    <a:pt x="1041" y="1170"/>
                  </a:lnTo>
                  <a:lnTo>
                    <a:pt x="1027" y="1170"/>
                  </a:lnTo>
                  <a:lnTo>
                    <a:pt x="1019" y="1162"/>
                  </a:lnTo>
                  <a:lnTo>
                    <a:pt x="1017" y="1164"/>
                  </a:lnTo>
                  <a:lnTo>
                    <a:pt x="1014" y="1172"/>
                  </a:lnTo>
                  <a:lnTo>
                    <a:pt x="1012" y="1174"/>
                  </a:lnTo>
                  <a:lnTo>
                    <a:pt x="1008" y="1174"/>
                  </a:lnTo>
                  <a:lnTo>
                    <a:pt x="998" y="1170"/>
                  </a:lnTo>
                  <a:lnTo>
                    <a:pt x="995" y="1171"/>
                  </a:lnTo>
                  <a:lnTo>
                    <a:pt x="994" y="1173"/>
                  </a:lnTo>
                  <a:lnTo>
                    <a:pt x="994" y="1175"/>
                  </a:lnTo>
                  <a:lnTo>
                    <a:pt x="999" y="1188"/>
                  </a:lnTo>
                  <a:lnTo>
                    <a:pt x="999" y="1192"/>
                  </a:lnTo>
                  <a:lnTo>
                    <a:pt x="998" y="1197"/>
                  </a:lnTo>
                  <a:lnTo>
                    <a:pt x="990" y="1204"/>
                  </a:lnTo>
                  <a:lnTo>
                    <a:pt x="988" y="1207"/>
                  </a:lnTo>
                  <a:lnTo>
                    <a:pt x="988" y="1234"/>
                  </a:lnTo>
                  <a:lnTo>
                    <a:pt x="983" y="1250"/>
                  </a:lnTo>
                  <a:lnTo>
                    <a:pt x="980" y="1265"/>
                  </a:lnTo>
                  <a:lnTo>
                    <a:pt x="977" y="1268"/>
                  </a:lnTo>
                  <a:lnTo>
                    <a:pt x="973" y="1269"/>
                  </a:lnTo>
                  <a:lnTo>
                    <a:pt x="960" y="1269"/>
                  </a:lnTo>
                  <a:lnTo>
                    <a:pt x="945" y="1272"/>
                  </a:lnTo>
                  <a:lnTo>
                    <a:pt x="933" y="1281"/>
                  </a:lnTo>
                  <a:lnTo>
                    <a:pt x="928" y="1282"/>
                  </a:lnTo>
                  <a:lnTo>
                    <a:pt x="924" y="1282"/>
                  </a:lnTo>
                  <a:lnTo>
                    <a:pt x="921" y="1278"/>
                  </a:lnTo>
                  <a:lnTo>
                    <a:pt x="919" y="1262"/>
                  </a:lnTo>
                  <a:lnTo>
                    <a:pt x="913" y="1249"/>
                  </a:lnTo>
                  <a:lnTo>
                    <a:pt x="914" y="1239"/>
                  </a:lnTo>
                  <a:lnTo>
                    <a:pt x="914" y="1235"/>
                  </a:lnTo>
                  <a:lnTo>
                    <a:pt x="899" y="1228"/>
                  </a:lnTo>
                  <a:lnTo>
                    <a:pt x="896" y="1226"/>
                  </a:lnTo>
                  <a:lnTo>
                    <a:pt x="895" y="1219"/>
                  </a:lnTo>
                  <a:lnTo>
                    <a:pt x="896" y="1205"/>
                  </a:lnTo>
                  <a:lnTo>
                    <a:pt x="895" y="1201"/>
                  </a:lnTo>
                  <a:lnTo>
                    <a:pt x="891" y="1199"/>
                  </a:lnTo>
                  <a:lnTo>
                    <a:pt x="859" y="1193"/>
                  </a:lnTo>
                  <a:lnTo>
                    <a:pt x="852" y="1194"/>
                  </a:lnTo>
                  <a:lnTo>
                    <a:pt x="840" y="1197"/>
                  </a:lnTo>
                  <a:lnTo>
                    <a:pt x="820" y="1203"/>
                  </a:lnTo>
                  <a:lnTo>
                    <a:pt x="819" y="1209"/>
                  </a:lnTo>
                  <a:lnTo>
                    <a:pt x="821" y="1239"/>
                  </a:lnTo>
                  <a:lnTo>
                    <a:pt x="819" y="1246"/>
                  </a:lnTo>
                  <a:lnTo>
                    <a:pt x="816" y="1250"/>
                  </a:lnTo>
                  <a:lnTo>
                    <a:pt x="811" y="1251"/>
                  </a:lnTo>
                  <a:lnTo>
                    <a:pt x="806" y="1251"/>
                  </a:lnTo>
                  <a:lnTo>
                    <a:pt x="792" y="1246"/>
                  </a:lnTo>
                  <a:lnTo>
                    <a:pt x="788" y="1245"/>
                  </a:lnTo>
                  <a:lnTo>
                    <a:pt x="759" y="1264"/>
                  </a:lnTo>
                  <a:lnTo>
                    <a:pt x="749" y="1268"/>
                  </a:lnTo>
                  <a:lnTo>
                    <a:pt x="744" y="1268"/>
                  </a:lnTo>
                  <a:lnTo>
                    <a:pt x="733" y="1266"/>
                  </a:lnTo>
                  <a:lnTo>
                    <a:pt x="725" y="1264"/>
                  </a:lnTo>
                  <a:lnTo>
                    <a:pt x="713" y="1255"/>
                  </a:lnTo>
                  <a:lnTo>
                    <a:pt x="701" y="1241"/>
                  </a:lnTo>
                  <a:lnTo>
                    <a:pt x="694" y="1237"/>
                  </a:lnTo>
                  <a:lnTo>
                    <a:pt x="690" y="1236"/>
                  </a:lnTo>
                  <a:lnTo>
                    <a:pt x="679" y="1242"/>
                  </a:lnTo>
                  <a:lnTo>
                    <a:pt x="676" y="1245"/>
                  </a:lnTo>
                  <a:lnTo>
                    <a:pt x="673" y="1253"/>
                  </a:lnTo>
                  <a:lnTo>
                    <a:pt x="669" y="1273"/>
                  </a:lnTo>
                  <a:lnTo>
                    <a:pt x="666" y="1281"/>
                  </a:lnTo>
                  <a:lnTo>
                    <a:pt x="661" y="1285"/>
                  </a:lnTo>
                  <a:lnTo>
                    <a:pt x="656" y="1286"/>
                  </a:lnTo>
                  <a:lnTo>
                    <a:pt x="652" y="1285"/>
                  </a:lnTo>
                  <a:lnTo>
                    <a:pt x="647" y="1281"/>
                  </a:lnTo>
                  <a:lnTo>
                    <a:pt x="643" y="1273"/>
                  </a:lnTo>
                  <a:lnTo>
                    <a:pt x="639" y="1258"/>
                  </a:lnTo>
                  <a:lnTo>
                    <a:pt x="637" y="1241"/>
                  </a:lnTo>
                  <a:lnTo>
                    <a:pt x="622" y="1240"/>
                  </a:lnTo>
                  <a:lnTo>
                    <a:pt x="619" y="1237"/>
                  </a:lnTo>
                  <a:lnTo>
                    <a:pt x="618" y="1235"/>
                  </a:lnTo>
                  <a:lnTo>
                    <a:pt x="617" y="1229"/>
                  </a:lnTo>
                  <a:lnTo>
                    <a:pt x="620" y="1219"/>
                  </a:lnTo>
                  <a:lnTo>
                    <a:pt x="620" y="1211"/>
                  </a:lnTo>
                  <a:lnTo>
                    <a:pt x="617" y="1203"/>
                  </a:lnTo>
                  <a:lnTo>
                    <a:pt x="611" y="1192"/>
                  </a:lnTo>
                  <a:lnTo>
                    <a:pt x="589" y="1163"/>
                  </a:lnTo>
                  <a:lnTo>
                    <a:pt x="583" y="1152"/>
                  </a:lnTo>
                  <a:lnTo>
                    <a:pt x="579" y="1146"/>
                  </a:lnTo>
                  <a:lnTo>
                    <a:pt x="563" y="1134"/>
                  </a:lnTo>
                  <a:lnTo>
                    <a:pt x="542" y="1120"/>
                  </a:lnTo>
                  <a:lnTo>
                    <a:pt x="538" y="1122"/>
                  </a:lnTo>
                  <a:lnTo>
                    <a:pt x="530" y="1135"/>
                  </a:lnTo>
                  <a:lnTo>
                    <a:pt x="526" y="1137"/>
                  </a:lnTo>
                  <a:lnTo>
                    <a:pt x="498" y="1139"/>
                  </a:lnTo>
                  <a:lnTo>
                    <a:pt x="483" y="1141"/>
                  </a:lnTo>
                  <a:lnTo>
                    <a:pt x="441" y="1155"/>
                  </a:lnTo>
                  <a:lnTo>
                    <a:pt x="438" y="1161"/>
                  </a:lnTo>
                  <a:lnTo>
                    <a:pt x="429" y="1195"/>
                  </a:lnTo>
                  <a:lnTo>
                    <a:pt x="422" y="1197"/>
                  </a:lnTo>
                  <a:lnTo>
                    <a:pt x="419" y="1198"/>
                  </a:lnTo>
                  <a:lnTo>
                    <a:pt x="427" y="1224"/>
                  </a:lnTo>
                  <a:lnTo>
                    <a:pt x="429" y="1226"/>
                  </a:lnTo>
                  <a:lnTo>
                    <a:pt x="432" y="1227"/>
                  </a:lnTo>
                  <a:lnTo>
                    <a:pt x="432" y="1227"/>
                  </a:lnTo>
                  <a:lnTo>
                    <a:pt x="413" y="1234"/>
                  </a:lnTo>
                  <a:lnTo>
                    <a:pt x="408" y="1237"/>
                  </a:lnTo>
                  <a:lnTo>
                    <a:pt x="404" y="1243"/>
                  </a:lnTo>
                  <a:lnTo>
                    <a:pt x="395" y="1245"/>
                  </a:lnTo>
                  <a:lnTo>
                    <a:pt x="394" y="1251"/>
                  </a:lnTo>
                  <a:lnTo>
                    <a:pt x="395" y="1261"/>
                  </a:lnTo>
                  <a:lnTo>
                    <a:pt x="394" y="1264"/>
                  </a:lnTo>
                  <a:lnTo>
                    <a:pt x="387" y="1266"/>
                  </a:lnTo>
                  <a:lnTo>
                    <a:pt x="376" y="1268"/>
                  </a:lnTo>
                  <a:lnTo>
                    <a:pt x="376" y="1268"/>
                  </a:lnTo>
                  <a:lnTo>
                    <a:pt x="366" y="1265"/>
                  </a:lnTo>
                  <a:lnTo>
                    <a:pt x="358" y="1255"/>
                  </a:lnTo>
                  <a:lnTo>
                    <a:pt x="332" y="1252"/>
                  </a:lnTo>
                  <a:lnTo>
                    <a:pt x="323" y="1253"/>
                  </a:lnTo>
                  <a:lnTo>
                    <a:pt x="315" y="1255"/>
                  </a:lnTo>
                  <a:lnTo>
                    <a:pt x="291" y="1266"/>
                  </a:lnTo>
                  <a:lnTo>
                    <a:pt x="279" y="1269"/>
                  </a:lnTo>
                  <a:lnTo>
                    <a:pt x="276" y="1269"/>
                  </a:lnTo>
                  <a:lnTo>
                    <a:pt x="249" y="1265"/>
                  </a:lnTo>
                  <a:lnTo>
                    <a:pt x="246" y="1265"/>
                  </a:lnTo>
                  <a:lnTo>
                    <a:pt x="232" y="1273"/>
                  </a:lnTo>
                  <a:lnTo>
                    <a:pt x="215" y="1273"/>
                  </a:lnTo>
                  <a:lnTo>
                    <a:pt x="198" y="1270"/>
                  </a:lnTo>
                  <a:lnTo>
                    <a:pt x="190" y="1265"/>
                  </a:lnTo>
                  <a:lnTo>
                    <a:pt x="184" y="1259"/>
                  </a:lnTo>
                  <a:lnTo>
                    <a:pt x="171" y="1222"/>
                  </a:lnTo>
                  <a:lnTo>
                    <a:pt x="167" y="1201"/>
                  </a:lnTo>
                  <a:lnTo>
                    <a:pt x="165" y="1197"/>
                  </a:lnTo>
                  <a:lnTo>
                    <a:pt x="160" y="1193"/>
                  </a:lnTo>
                  <a:lnTo>
                    <a:pt x="152" y="1187"/>
                  </a:lnTo>
                  <a:lnTo>
                    <a:pt x="133" y="1177"/>
                  </a:lnTo>
                  <a:lnTo>
                    <a:pt x="130" y="1178"/>
                  </a:lnTo>
                  <a:lnTo>
                    <a:pt x="123" y="1183"/>
                  </a:lnTo>
                  <a:lnTo>
                    <a:pt x="121" y="1185"/>
                  </a:lnTo>
                  <a:lnTo>
                    <a:pt x="117" y="1176"/>
                  </a:lnTo>
                  <a:lnTo>
                    <a:pt x="117" y="1163"/>
                  </a:lnTo>
                  <a:lnTo>
                    <a:pt x="102" y="1156"/>
                  </a:lnTo>
                  <a:lnTo>
                    <a:pt x="101" y="1154"/>
                  </a:lnTo>
                  <a:lnTo>
                    <a:pt x="101" y="1146"/>
                  </a:lnTo>
                  <a:lnTo>
                    <a:pt x="97" y="1141"/>
                  </a:lnTo>
                  <a:lnTo>
                    <a:pt x="87" y="1137"/>
                  </a:lnTo>
                  <a:lnTo>
                    <a:pt x="77" y="1129"/>
                  </a:lnTo>
                  <a:lnTo>
                    <a:pt x="75" y="1128"/>
                  </a:lnTo>
                  <a:lnTo>
                    <a:pt x="70" y="1129"/>
                  </a:lnTo>
                  <a:lnTo>
                    <a:pt x="61" y="1135"/>
                  </a:lnTo>
                  <a:lnTo>
                    <a:pt x="56" y="1137"/>
                  </a:lnTo>
                  <a:lnTo>
                    <a:pt x="50" y="1137"/>
                  </a:lnTo>
                  <a:lnTo>
                    <a:pt x="43" y="1135"/>
                  </a:lnTo>
                  <a:lnTo>
                    <a:pt x="38" y="1135"/>
                  </a:lnTo>
                  <a:lnTo>
                    <a:pt x="31" y="1137"/>
                  </a:lnTo>
                  <a:lnTo>
                    <a:pt x="29" y="1140"/>
                  </a:lnTo>
                  <a:lnTo>
                    <a:pt x="26" y="1141"/>
                  </a:lnTo>
                  <a:lnTo>
                    <a:pt x="24" y="1138"/>
                  </a:lnTo>
                  <a:lnTo>
                    <a:pt x="22" y="1124"/>
                  </a:lnTo>
                  <a:lnTo>
                    <a:pt x="18" y="1121"/>
                  </a:lnTo>
                  <a:lnTo>
                    <a:pt x="14" y="1119"/>
                  </a:lnTo>
                  <a:lnTo>
                    <a:pt x="11" y="1119"/>
                  </a:lnTo>
                  <a:lnTo>
                    <a:pt x="9" y="1121"/>
                  </a:lnTo>
                  <a:lnTo>
                    <a:pt x="9" y="1132"/>
                  </a:lnTo>
                  <a:lnTo>
                    <a:pt x="4" y="1132"/>
                  </a:lnTo>
                  <a:lnTo>
                    <a:pt x="0" y="1129"/>
                  </a:lnTo>
                  <a:lnTo>
                    <a:pt x="0" y="1122"/>
                  </a:lnTo>
                  <a:lnTo>
                    <a:pt x="6" y="1102"/>
                  </a:lnTo>
                  <a:lnTo>
                    <a:pt x="6" y="1088"/>
                  </a:lnTo>
                  <a:lnTo>
                    <a:pt x="8" y="1081"/>
                  </a:lnTo>
                  <a:lnTo>
                    <a:pt x="11" y="1075"/>
                  </a:lnTo>
                  <a:lnTo>
                    <a:pt x="35" y="1052"/>
                  </a:lnTo>
                  <a:lnTo>
                    <a:pt x="45" y="1037"/>
                  </a:lnTo>
                  <a:lnTo>
                    <a:pt x="49" y="1031"/>
                  </a:lnTo>
                  <a:lnTo>
                    <a:pt x="51" y="1015"/>
                  </a:lnTo>
                  <a:lnTo>
                    <a:pt x="56" y="1008"/>
                  </a:lnTo>
                  <a:lnTo>
                    <a:pt x="63" y="1002"/>
                  </a:lnTo>
                  <a:lnTo>
                    <a:pt x="80" y="992"/>
                  </a:lnTo>
                  <a:lnTo>
                    <a:pt x="87" y="990"/>
                  </a:lnTo>
                  <a:lnTo>
                    <a:pt x="102" y="990"/>
                  </a:lnTo>
                  <a:lnTo>
                    <a:pt x="115" y="976"/>
                  </a:lnTo>
                  <a:lnTo>
                    <a:pt x="128" y="966"/>
                  </a:lnTo>
                  <a:lnTo>
                    <a:pt x="130" y="963"/>
                  </a:lnTo>
                  <a:lnTo>
                    <a:pt x="131" y="960"/>
                  </a:lnTo>
                  <a:lnTo>
                    <a:pt x="129" y="945"/>
                  </a:lnTo>
                  <a:lnTo>
                    <a:pt x="129" y="940"/>
                  </a:lnTo>
                  <a:lnTo>
                    <a:pt x="132" y="939"/>
                  </a:lnTo>
                  <a:lnTo>
                    <a:pt x="137" y="939"/>
                  </a:lnTo>
                  <a:lnTo>
                    <a:pt x="141" y="936"/>
                  </a:lnTo>
                  <a:lnTo>
                    <a:pt x="154" y="914"/>
                  </a:lnTo>
                  <a:lnTo>
                    <a:pt x="171" y="890"/>
                  </a:lnTo>
                  <a:lnTo>
                    <a:pt x="179" y="883"/>
                  </a:lnTo>
                  <a:lnTo>
                    <a:pt x="187" y="878"/>
                  </a:lnTo>
                  <a:lnTo>
                    <a:pt x="198" y="875"/>
                  </a:lnTo>
                  <a:lnTo>
                    <a:pt x="208" y="876"/>
                  </a:lnTo>
                  <a:lnTo>
                    <a:pt x="212" y="874"/>
                  </a:lnTo>
                  <a:lnTo>
                    <a:pt x="225" y="855"/>
                  </a:lnTo>
                  <a:lnTo>
                    <a:pt x="227" y="840"/>
                  </a:lnTo>
                  <a:lnTo>
                    <a:pt x="229" y="838"/>
                  </a:lnTo>
                  <a:lnTo>
                    <a:pt x="245" y="831"/>
                  </a:lnTo>
                  <a:lnTo>
                    <a:pt x="252" y="833"/>
                  </a:lnTo>
                  <a:lnTo>
                    <a:pt x="263" y="831"/>
                  </a:lnTo>
                  <a:lnTo>
                    <a:pt x="268" y="829"/>
                  </a:lnTo>
                  <a:lnTo>
                    <a:pt x="270" y="824"/>
                  </a:lnTo>
                  <a:lnTo>
                    <a:pt x="265" y="819"/>
                  </a:lnTo>
                  <a:lnTo>
                    <a:pt x="265" y="812"/>
                  </a:lnTo>
                  <a:lnTo>
                    <a:pt x="268" y="805"/>
                  </a:lnTo>
                  <a:lnTo>
                    <a:pt x="275" y="798"/>
                  </a:lnTo>
                  <a:lnTo>
                    <a:pt x="283" y="793"/>
                  </a:lnTo>
                  <a:lnTo>
                    <a:pt x="293" y="790"/>
                  </a:lnTo>
                  <a:lnTo>
                    <a:pt x="297" y="791"/>
                  </a:lnTo>
                  <a:lnTo>
                    <a:pt x="308" y="795"/>
                  </a:lnTo>
                  <a:lnTo>
                    <a:pt x="310" y="791"/>
                  </a:lnTo>
                  <a:lnTo>
                    <a:pt x="318" y="751"/>
                  </a:lnTo>
                  <a:lnTo>
                    <a:pt x="298" y="762"/>
                  </a:lnTo>
                  <a:lnTo>
                    <a:pt x="284" y="772"/>
                  </a:lnTo>
                  <a:lnTo>
                    <a:pt x="266" y="783"/>
                  </a:lnTo>
                  <a:lnTo>
                    <a:pt x="223" y="797"/>
                  </a:lnTo>
                  <a:lnTo>
                    <a:pt x="216" y="801"/>
                  </a:lnTo>
                  <a:lnTo>
                    <a:pt x="210" y="808"/>
                  </a:lnTo>
                  <a:lnTo>
                    <a:pt x="204" y="813"/>
                  </a:lnTo>
                  <a:lnTo>
                    <a:pt x="177" y="824"/>
                  </a:lnTo>
                  <a:lnTo>
                    <a:pt x="165" y="831"/>
                  </a:lnTo>
                  <a:lnTo>
                    <a:pt x="153" y="839"/>
                  </a:lnTo>
                  <a:lnTo>
                    <a:pt x="138" y="859"/>
                  </a:lnTo>
                  <a:lnTo>
                    <a:pt x="135" y="863"/>
                  </a:lnTo>
                  <a:lnTo>
                    <a:pt x="133" y="864"/>
                  </a:lnTo>
                  <a:lnTo>
                    <a:pt x="129" y="859"/>
                  </a:lnTo>
                  <a:lnTo>
                    <a:pt x="125" y="851"/>
                  </a:lnTo>
                  <a:lnTo>
                    <a:pt x="130" y="832"/>
                  </a:lnTo>
                  <a:lnTo>
                    <a:pt x="129" y="816"/>
                  </a:lnTo>
                  <a:lnTo>
                    <a:pt x="129" y="810"/>
                  </a:lnTo>
                  <a:lnTo>
                    <a:pt x="131" y="804"/>
                  </a:lnTo>
                  <a:lnTo>
                    <a:pt x="134" y="800"/>
                  </a:lnTo>
                  <a:lnTo>
                    <a:pt x="151" y="783"/>
                  </a:lnTo>
                  <a:lnTo>
                    <a:pt x="153" y="767"/>
                  </a:lnTo>
                  <a:lnTo>
                    <a:pt x="159" y="745"/>
                  </a:lnTo>
                  <a:lnTo>
                    <a:pt x="158" y="738"/>
                  </a:lnTo>
                  <a:lnTo>
                    <a:pt x="158" y="738"/>
                  </a:lnTo>
                  <a:lnTo>
                    <a:pt x="155" y="711"/>
                  </a:lnTo>
                  <a:lnTo>
                    <a:pt x="153" y="703"/>
                  </a:lnTo>
                  <a:lnTo>
                    <a:pt x="149" y="695"/>
                  </a:lnTo>
                  <a:lnTo>
                    <a:pt x="144" y="688"/>
                  </a:lnTo>
                  <a:lnTo>
                    <a:pt x="141" y="685"/>
                  </a:lnTo>
                  <a:lnTo>
                    <a:pt x="138" y="684"/>
                  </a:lnTo>
                  <a:lnTo>
                    <a:pt x="132" y="684"/>
                  </a:lnTo>
                  <a:lnTo>
                    <a:pt x="129" y="682"/>
                  </a:lnTo>
                  <a:lnTo>
                    <a:pt x="124" y="670"/>
                  </a:lnTo>
                  <a:lnTo>
                    <a:pt x="122" y="665"/>
                  </a:lnTo>
                  <a:lnTo>
                    <a:pt x="105" y="651"/>
                  </a:lnTo>
                  <a:lnTo>
                    <a:pt x="106" y="641"/>
                  </a:lnTo>
                  <a:lnTo>
                    <a:pt x="105" y="638"/>
                  </a:lnTo>
                  <a:lnTo>
                    <a:pt x="101" y="633"/>
                  </a:lnTo>
                  <a:lnTo>
                    <a:pt x="101" y="625"/>
                  </a:lnTo>
                  <a:lnTo>
                    <a:pt x="103" y="617"/>
                  </a:lnTo>
                  <a:lnTo>
                    <a:pt x="105" y="614"/>
                  </a:lnTo>
                  <a:lnTo>
                    <a:pt x="111" y="611"/>
                  </a:lnTo>
                  <a:lnTo>
                    <a:pt x="113" y="605"/>
                  </a:lnTo>
                  <a:lnTo>
                    <a:pt x="117" y="580"/>
                  </a:lnTo>
                  <a:lnTo>
                    <a:pt x="124" y="570"/>
                  </a:lnTo>
                  <a:lnTo>
                    <a:pt x="156" y="533"/>
                  </a:lnTo>
                  <a:lnTo>
                    <a:pt x="166" y="526"/>
                  </a:lnTo>
                  <a:lnTo>
                    <a:pt x="182" y="516"/>
                  </a:lnTo>
                  <a:lnTo>
                    <a:pt x="189" y="510"/>
                  </a:lnTo>
                  <a:lnTo>
                    <a:pt x="202" y="483"/>
                  </a:lnTo>
                  <a:lnTo>
                    <a:pt x="215" y="460"/>
                  </a:lnTo>
                  <a:lnTo>
                    <a:pt x="234" y="424"/>
                  </a:lnTo>
                  <a:lnTo>
                    <a:pt x="257" y="361"/>
                  </a:lnTo>
                  <a:lnTo>
                    <a:pt x="263" y="334"/>
                  </a:lnTo>
                  <a:lnTo>
                    <a:pt x="268" y="325"/>
                  </a:lnTo>
                  <a:lnTo>
                    <a:pt x="272" y="323"/>
                  </a:lnTo>
                  <a:lnTo>
                    <a:pt x="277" y="320"/>
                  </a:lnTo>
                  <a:lnTo>
                    <a:pt x="313" y="317"/>
                  </a:lnTo>
                  <a:lnTo>
                    <a:pt x="334" y="314"/>
                  </a:lnTo>
                  <a:lnTo>
                    <a:pt x="328" y="297"/>
                  </a:lnTo>
                  <a:lnTo>
                    <a:pt x="327" y="291"/>
                  </a:lnTo>
                  <a:lnTo>
                    <a:pt x="330" y="283"/>
                  </a:lnTo>
                  <a:lnTo>
                    <a:pt x="338" y="271"/>
                  </a:lnTo>
                  <a:lnTo>
                    <a:pt x="347" y="246"/>
                  </a:lnTo>
                  <a:lnTo>
                    <a:pt x="347" y="246"/>
                  </a:lnTo>
                  <a:lnTo>
                    <a:pt x="352" y="247"/>
                  </a:lnTo>
                  <a:lnTo>
                    <a:pt x="363" y="255"/>
                  </a:lnTo>
                  <a:lnTo>
                    <a:pt x="365" y="272"/>
                  </a:lnTo>
                  <a:lnTo>
                    <a:pt x="368" y="273"/>
                  </a:lnTo>
                  <a:lnTo>
                    <a:pt x="375" y="269"/>
                  </a:lnTo>
                  <a:lnTo>
                    <a:pt x="393" y="254"/>
                  </a:lnTo>
                  <a:lnTo>
                    <a:pt x="408" y="237"/>
                  </a:lnTo>
                  <a:lnTo>
                    <a:pt x="430" y="207"/>
                  </a:lnTo>
                  <a:lnTo>
                    <a:pt x="461" y="161"/>
                  </a:lnTo>
                  <a:lnTo>
                    <a:pt x="468" y="153"/>
                  </a:lnTo>
                  <a:lnTo>
                    <a:pt x="477" y="149"/>
                  </a:lnTo>
                  <a:lnTo>
                    <a:pt x="482" y="147"/>
                  </a:lnTo>
                  <a:lnTo>
                    <a:pt x="519" y="144"/>
                  </a:lnTo>
                  <a:lnTo>
                    <a:pt x="571" y="135"/>
                  </a:lnTo>
                  <a:lnTo>
                    <a:pt x="585" y="132"/>
                  </a:lnTo>
                  <a:lnTo>
                    <a:pt x="624" y="121"/>
                  </a:lnTo>
                  <a:lnTo>
                    <a:pt x="636" y="109"/>
                  </a:lnTo>
                  <a:lnTo>
                    <a:pt x="652" y="78"/>
                  </a:lnTo>
                  <a:lnTo>
                    <a:pt x="659" y="65"/>
                  </a:lnTo>
                  <a:lnTo>
                    <a:pt x="669" y="58"/>
                  </a:lnTo>
                  <a:lnTo>
                    <a:pt x="700" y="36"/>
                  </a:lnTo>
                  <a:lnTo>
                    <a:pt x="708" y="26"/>
                  </a:lnTo>
                  <a:lnTo>
                    <a:pt x="711" y="21"/>
                  </a:lnTo>
                  <a:lnTo>
                    <a:pt x="715" y="17"/>
                  </a:lnTo>
                  <a:lnTo>
                    <a:pt x="718" y="9"/>
                  </a:lnTo>
                  <a:lnTo>
                    <a:pt x="726" y="0"/>
                  </a:lnTo>
                  <a:lnTo>
                    <a:pt x="726" y="0"/>
                  </a:lnTo>
                  <a:lnTo>
                    <a:pt x="728" y="0"/>
                  </a:lnTo>
                  <a:lnTo>
                    <a:pt x="730" y="1"/>
                  </a:lnTo>
                  <a:lnTo>
                    <a:pt x="731" y="8"/>
                  </a:lnTo>
                  <a:lnTo>
                    <a:pt x="732" y="10"/>
                  </a:lnTo>
                  <a:lnTo>
                    <a:pt x="736" y="8"/>
                  </a:lnTo>
                  <a:lnTo>
                    <a:pt x="734" y="6"/>
                  </a:lnTo>
                  <a:lnTo>
                    <a:pt x="735" y="5"/>
                  </a:lnTo>
                  <a:lnTo>
                    <a:pt x="742" y="6"/>
                  </a:lnTo>
                  <a:lnTo>
                    <a:pt x="743" y="8"/>
                  </a:lnTo>
                  <a:lnTo>
                    <a:pt x="743" y="9"/>
                  </a:lnTo>
                  <a:lnTo>
                    <a:pt x="738" y="11"/>
                  </a:lnTo>
                  <a:lnTo>
                    <a:pt x="738" y="19"/>
                  </a:lnTo>
                  <a:lnTo>
                    <a:pt x="733" y="23"/>
                  </a:lnTo>
                  <a:lnTo>
                    <a:pt x="730" y="27"/>
                  </a:lnTo>
                  <a:lnTo>
                    <a:pt x="731" y="29"/>
                  </a:lnTo>
                  <a:lnTo>
                    <a:pt x="733" y="29"/>
                  </a:lnTo>
                  <a:lnTo>
                    <a:pt x="735" y="28"/>
                  </a:lnTo>
                  <a:lnTo>
                    <a:pt x="743" y="18"/>
                  </a:lnTo>
                  <a:lnTo>
                    <a:pt x="744" y="18"/>
                  </a:lnTo>
                  <a:lnTo>
                    <a:pt x="747" y="20"/>
                  </a:lnTo>
                  <a:lnTo>
                    <a:pt x="741" y="30"/>
                  </a:lnTo>
                  <a:lnTo>
                    <a:pt x="739" y="31"/>
                  </a:lnTo>
                  <a:lnTo>
                    <a:pt x="734" y="31"/>
                  </a:lnTo>
                  <a:lnTo>
                    <a:pt x="735" y="33"/>
                  </a:lnTo>
                  <a:lnTo>
                    <a:pt x="739" y="35"/>
                  </a:lnTo>
                  <a:lnTo>
                    <a:pt x="746" y="36"/>
                  </a:lnTo>
                  <a:lnTo>
                    <a:pt x="751" y="32"/>
                  </a:lnTo>
                  <a:lnTo>
                    <a:pt x="759" y="26"/>
                  </a:lnTo>
                  <a:lnTo>
                    <a:pt x="763" y="28"/>
                  </a:lnTo>
                  <a:lnTo>
                    <a:pt x="767" y="27"/>
                  </a:lnTo>
                  <a:lnTo>
                    <a:pt x="768" y="28"/>
                  </a:lnTo>
                  <a:lnTo>
                    <a:pt x="764" y="32"/>
                  </a:lnTo>
                  <a:lnTo>
                    <a:pt x="759" y="32"/>
                  </a:lnTo>
                  <a:lnTo>
                    <a:pt x="755" y="35"/>
                  </a:lnTo>
                  <a:lnTo>
                    <a:pt x="751" y="40"/>
                  </a:lnTo>
                  <a:lnTo>
                    <a:pt x="748" y="40"/>
                  </a:lnTo>
                  <a:lnTo>
                    <a:pt x="743" y="48"/>
                  </a:lnTo>
                  <a:lnTo>
                    <a:pt x="748" y="47"/>
                  </a:lnTo>
                  <a:lnTo>
                    <a:pt x="759" y="38"/>
                  </a:lnTo>
                  <a:lnTo>
                    <a:pt x="765" y="39"/>
                  </a:lnTo>
                  <a:lnTo>
                    <a:pt x="770" y="38"/>
                  </a:lnTo>
                  <a:lnTo>
                    <a:pt x="771" y="43"/>
                  </a:lnTo>
                  <a:lnTo>
                    <a:pt x="773" y="44"/>
                  </a:lnTo>
                  <a:lnTo>
                    <a:pt x="780" y="41"/>
                  </a:lnTo>
                  <a:lnTo>
                    <a:pt x="781" y="42"/>
                  </a:lnTo>
                  <a:lnTo>
                    <a:pt x="780" y="47"/>
                  </a:lnTo>
                  <a:lnTo>
                    <a:pt x="782" y="53"/>
                  </a:lnTo>
                  <a:lnTo>
                    <a:pt x="782" y="57"/>
                  </a:lnTo>
                  <a:lnTo>
                    <a:pt x="778" y="65"/>
                  </a:lnTo>
                  <a:lnTo>
                    <a:pt x="772" y="69"/>
                  </a:lnTo>
                  <a:lnTo>
                    <a:pt x="773" y="71"/>
                  </a:lnTo>
                  <a:lnTo>
                    <a:pt x="777" y="71"/>
                  </a:lnTo>
                  <a:lnTo>
                    <a:pt x="783" y="67"/>
                  </a:lnTo>
                  <a:lnTo>
                    <a:pt x="786" y="69"/>
                  </a:lnTo>
                  <a:lnTo>
                    <a:pt x="788" y="73"/>
                  </a:lnTo>
                  <a:lnTo>
                    <a:pt x="787" y="92"/>
                  </a:lnTo>
                  <a:lnTo>
                    <a:pt x="786" y="94"/>
                  </a:lnTo>
                  <a:lnTo>
                    <a:pt x="780" y="94"/>
                  </a:lnTo>
                  <a:lnTo>
                    <a:pt x="778" y="97"/>
                  </a:lnTo>
                  <a:lnTo>
                    <a:pt x="780" y="99"/>
                  </a:lnTo>
                  <a:lnTo>
                    <a:pt x="779" y="109"/>
                  </a:lnTo>
                  <a:lnTo>
                    <a:pt x="780" y="112"/>
                  </a:lnTo>
                  <a:lnTo>
                    <a:pt x="782" y="114"/>
                  </a:lnTo>
                  <a:lnTo>
                    <a:pt x="782" y="121"/>
                  </a:lnTo>
                  <a:lnTo>
                    <a:pt x="785" y="117"/>
                  </a:lnTo>
                  <a:lnTo>
                    <a:pt x="782" y="110"/>
                  </a:lnTo>
                  <a:lnTo>
                    <a:pt x="783" y="105"/>
                  </a:lnTo>
                  <a:lnTo>
                    <a:pt x="783" y="98"/>
                  </a:lnTo>
                  <a:lnTo>
                    <a:pt x="787" y="96"/>
                  </a:lnTo>
                  <a:lnTo>
                    <a:pt x="796" y="96"/>
                  </a:lnTo>
                  <a:lnTo>
                    <a:pt x="797" y="96"/>
                  </a:lnTo>
                  <a:lnTo>
                    <a:pt x="793" y="93"/>
                  </a:lnTo>
                  <a:lnTo>
                    <a:pt x="792" y="90"/>
                  </a:lnTo>
                  <a:lnTo>
                    <a:pt x="792" y="83"/>
                  </a:lnTo>
                  <a:lnTo>
                    <a:pt x="793" y="79"/>
                  </a:lnTo>
                  <a:lnTo>
                    <a:pt x="800" y="76"/>
                  </a:lnTo>
                  <a:lnTo>
                    <a:pt x="807" y="75"/>
                  </a:lnTo>
                  <a:lnTo>
                    <a:pt x="809" y="77"/>
                  </a:lnTo>
                  <a:lnTo>
                    <a:pt x="810" y="82"/>
                  </a:lnTo>
                  <a:lnTo>
                    <a:pt x="811" y="84"/>
                  </a:lnTo>
                  <a:lnTo>
                    <a:pt x="814" y="82"/>
                  </a:lnTo>
                  <a:lnTo>
                    <a:pt x="814" y="78"/>
                  </a:lnTo>
                  <a:lnTo>
                    <a:pt x="819" y="79"/>
                  </a:lnTo>
                  <a:lnTo>
                    <a:pt x="820" y="79"/>
                  </a:lnTo>
                  <a:lnTo>
                    <a:pt x="820" y="77"/>
                  </a:lnTo>
                  <a:lnTo>
                    <a:pt x="817" y="76"/>
                  </a:lnTo>
                  <a:lnTo>
                    <a:pt x="816" y="75"/>
                  </a:lnTo>
                  <a:lnTo>
                    <a:pt x="814" y="60"/>
                  </a:lnTo>
                  <a:lnTo>
                    <a:pt x="815" y="58"/>
                  </a:lnTo>
                  <a:lnTo>
                    <a:pt x="819" y="56"/>
                  </a:lnTo>
                  <a:lnTo>
                    <a:pt x="816" y="53"/>
                  </a:lnTo>
                  <a:lnTo>
                    <a:pt x="816" y="44"/>
                  </a:lnTo>
                  <a:lnTo>
                    <a:pt x="818" y="37"/>
                  </a:lnTo>
                  <a:lnTo>
                    <a:pt x="821" y="36"/>
                  </a:lnTo>
                  <a:lnTo>
                    <a:pt x="824" y="37"/>
                  </a:lnTo>
                  <a:lnTo>
                    <a:pt x="823" y="31"/>
                  </a:lnTo>
                  <a:lnTo>
                    <a:pt x="821" y="31"/>
                  </a:lnTo>
                  <a:lnTo>
                    <a:pt x="823" y="28"/>
                  </a:lnTo>
                  <a:lnTo>
                    <a:pt x="825" y="28"/>
                  </a:lnTo>
                  <a:lnTo>
                    <a:pt x="825" y="37"/>
                  </a:lnTo>
                  <a:lnTo>
                    <a:pt x="828" y="42"/>
                  </a:lnTo>
                  <a:lnTo>
                    <a:pt x="831" y="43"/>
                  </a:lnTo>
                  <a:lnTo>
                    <a:pt x="832" y="40"/>
                  </a:lnTo>
                  <a:lnTo>
                    <a:pt x="833" y="40"/>
                  </a:lnTo>
                  <a:lnTo>
                    <a:pt x="839" y="49"/>
                  </a:lnTo>
                  <a:lnTo>
                    <a:pt x="841" y="45"/>
                  </a:lnTo>
                  <a:lnTo>
                    <a:pt x="840" y="35"/>
                  </a:lnTo>
                  <a:lnTo>
                    <a:pt x="840" y="32"/>
                  </a:lnTo>
                  <a:lnTo>
                    <a:pt x="842" y="32"/>
                  </a:lnTo>
                  <a:lnTo>
                    <a:pt x="842" y="39"/>
                  </a:lnTo>
                  <a:lnTo>
                    <a:pt x="843" y="44"/>
                  </a:lnTo>
                  <a:lnTo>
                    <a:pt x="840" y="53"/>
                  </a:lnTo>
                  <a:lnTo>
                    <a:pt x="842" y="56"/>
                  </a:lnTo>
                  <a:lnTo>
                    <a:pt x="845" y="57"/>
                  </a:lnTo>
                  <a:lnTo>
                    <a:pt x="847" y="56"/>
                  </a:lnTo>
                  <a:lnTo>
                    <a:pt x="847" y="49"/>
                  </a:lnTo>
                  <a:lnTo>
                    <a:pt x="851" y="45"/>
                  </a:lnTo>
                  <a:lnTo>
                    <a:pt x="853" y="44"/>
                  </a:lnTo>
                  <a:lnTo>
                    <a:pt x="857" y="45"/>
                  </a:lnTo>
                  <a:lnTo>
                    <a:pt x="862" y="44"/>
                  </a:lnTo>
                  <a:lnTo>
                    <a:pt x="864" y="41"/>
                  </a:lnTo>
                  <a:lnTo>
                    <a:pt x="868" y="35"/>
                  </a:lnTo>
                  <a:lnTo>
                    <a:pt x="870" y="32"/>
                  </a:lnTo>
                  <a:lnTo>
                    <a:pt x="871" y="33"/>
                  </a:lnTo>
                  <a:lnTo>
                    <a:pt x="873" y="39"/>
                  </a:lnTo>
                  <a:lnTo>
                    <a:pt x="876" y="40"/>
                  </a:lnTo>
                  <a:lnTo>
                    <a:pt x="881" y="33"/>
                  </a:lnTo>
                  <a:lnTo>
                    <a:pt x="886" y="32"/>
                  </a:lnTo>
                  <a:lnTo>
                    <a:pt x="888" y="31"/>
                  </a:lnTo>
                  <a:lnTo>
                    <a:pt x="891" y="22"/>
                  </a:lnTo>
                  <a:lnTo>
                    <a:pt x="893" y="21"/>
                  </a:lnTo>
                  <a:lnTo>
                    <a:pt x="895" y="24"/>
                  </a:lnTo>
                  <a:lnTo>
                    <a:pt x="895" y="29"/>
                  </a:lnTo>
                  <a:lnTo>
                    <a:pt x="892" y="39"/>
                  </a:lnTo>
                  <a:lnTo>
                    <a:pt x="888" y="50"/>
                  </a:lnTo>
                  <a:lnTo>
                    <a:pt x="888" y="53"/>
                  </a:lnTo>
                  <a:lnTo>
                    <a:pt x="893" y="54"/>
                  </a:lnTo>
                  <a:lnTo>
                    <a:pt x="896" y="57"/>
                  </a:lnTo>
                  <a:lnTo>
                    <a:pt x="903" y="54"/>
                  </a:lnTo>
                  <a:lnTo>
                    <a:pt x="907" y="54"/>
                  </a:lnTo>
                  <a:lnTo>
                    <a:pt x="909" y="56"/>
                  </a:lnTo>
                  <a:lnTo>
                    <a:pt x="914" y="65"/>
                  </a:lnTo>
                  <a:lnTo>
                    <a:pt x="916" y="64"/>
                  </a:lnTo>
                  <a:lnTo>
                    <a:pt x="919" y="57"/>
                  </a:lnTo>
                  <a:lnTo>
                    <a:pt x="921" y="57"/>
                  </a:lnTo>
                  <a:lnTo>
                    <a:pt x="924" y="60"/>
                  </a:lnTo>
                  <a:lnTo>
                    <a:pt x="924" y="59"/>
                  </a:lnTo>
                  <a:lnTo>
                    <a:pt x="925" y="57"/>
                  </a:lnTo>
                  <a:lnTo>
                    <a:pt x="925" y="51"/>
                  </a:lnTo>
                  <a:lnTo>
                    <a:pt x="927" y="47"/>
                  </a:lnTo>
                  <a:lnTo>
                    <a:pt x="929" y="41"/>
                  </a:lnTo>
                  <a:lnTo>
                    <a:pt x="937" y="38"/>
                  </a:lnTo>
                  <a:lnTo>
                    <a:pt x="943" y="39"/>
                  </a:lnTo>
                  <a:lnTo>
                    <a:pt x="946" y="39"/>
                  </a:lnTo>
                  <a:lnTo>
                    <a:pt x="949" y="35"/>
                  </a:lnTo>
                  <a:lnTo>
                    <a:pt x="955" y="31"/>
                  </a:lnTo>
                  <a:lnTo>
                    <a:pt x="953" y="26"/>
                  </a:lnTo>
                  <a:lnTo>
                    <a:pt x="954" y="23"/>
                  </a:lnTo>
                  <a:lnTo>
                    <a:pt x="957" y="22"/>
                  </a:lnTo>
                  <a:lnTo>
                    <a:pt x="963" y="22"/>
                  </a:lnTo>
                  <a:lnTo>
                    <a:pt x="966" y="21"/>
                  </a:lnTo>
                  <a:lnTo>
                    <a:pt x="967" y="10"/>
                  </a:lnTo>
                  <a:lnTo>
                    <a:pt x="970" y="4"/>
                  </a:lnTo>
                  <a:lnTo>
                    <a:pt x="973" y="0"/>
                  </a:lnTo>
                  <a:lnTo>
                    <a:pt x="976" y="1"/>
                  </a:lnTo>
                  <a:lnTo>
                    <a:pt x="976" y="2"/>
                  </a:lnTo>
                  <a:lnTo>
                    <a:pt x="969" y="23"/>
                  </a:lnTo>
                  <a:lnTo>
                    <a:pt x="968" y="37"/>
                  </a:lnTo>
                  <a:lnTo>
                    <a:pt x="969" y="37"/>
                  </a:lnTo>
                  <a:lnTo>
                    <a:pt x="970" y="35"/>
                  </a:lnTo>
                  <a:lnTo>
                    <a:pt x="975" y="22"/>
                  </a:lnTo>
                  <a:lnTo>
                    <a:pt x="981" y="5"/>
                  </a:lnTo>
                  <a:lnTo>
                    <a:pt x="982" y="4"/>
                  </a:lnTo>
                  <a:lnTo>
                    <a:pt x="984" y="4"/>
                  </a:lnTo>
                  <a:lnTo>
                    <a:pt x="984" y="6"/>
                  </a:lnTo>
                  <a:lnTo>
                    <a:pt x="983" y="18"/>
                  </a:lnTo>
                  <a:lnTo>
                    <a:pt x="986" y="29"/>
                  </a:lnTo>
                  <a:lnTo>
                    <a:pt x="984" y="37"/>
                  </a:lnTo>
                  <a:lnTo>
                    <a:pt x="980" y="43"/>
                  </a:lnTo>
                  <a:lnTo>
                    <a:pt x="980" y="45"/>
                  </a:lnTo>
                  <a:lnTo>
                    <a:pt x="982" y="50"/>
                  </a:lnTo>
                  <a:lnTo>
                    <a:pt x="987" y="56"/>
                  </a:lnTo>
                  <a:lnTo>
                    <a:pt x="989" y="56"/>
                  </a:lnTo>
                  <a:lnTo>
                    <a:pt x="993" y="55"/>
                  </a:lnTo>
                  <a:lnTo>
                    <a:pt x="991" y="50"/>
                  </a:lnTo>
                  <a:lnTo>
                    <a:pt x="993" y="48"/>
                  </a:lnTo>
                  <a:lnTo>
                    <a:pt x="996" y="42"/>
                  </a:lnTo>
                  <a:lnTo>
                    <a:pt x="998" y="38"/>
                  </a:lnTo>
                  <a:lnTo>
                    <a:pt x="1001" y="35"/>
                  </a:lnTo>
                  <a:lnTo>
                    <a:pt x="1006" y="28"/>
                  </a:lnTo>
                  <a:lnTo>
                    <a:pt x="1012" y="24"/>
                  </a:lnTo>
                  <a:lnTo>
                    <a:pt x="1016" y="23"/>
                  </a:lnTo>
                  <a:lnTo>
                    <a:pt x="1018" y="31"/>
                  </a:lnTo>
                  <a:lnTo>
                    <a:pt x="1017" y="39"/>
                  </a:lnTo>
                  <a:lnTo>
                    <a:pt x="1018" y="53"/>
                  </a:lnTo>
                  <a:lnTo>
                    <a:pt x="1021" y="61"/>
                  </a:lnTo>
                  <a:lnTo>
                    <a:pt x="1025" y="64"/>
                  </a:lnTo>
                  <a:lnTo>
                    <a:pt x="1030" y="66"/>
                  </a:lnTo>
                  <a:lnTo>
                    <a:pt x="1031" y="78"/>
                  </a:lnTo>
                  <a:lnTo>
                    <a:pt x="1035" y="81"/>
                  </a:lnTo>
                  <a:lnTo>
                    <a:pt x="1033" y="84"/>
                  </a:lnTo>
                  <a:lnTo>
                    <a:pt x="1029" y="89"/>
                  </a:lnTo>
                  <a:lnTo>
                    <a:pt x="1027" y="98"/>
                  </a:lnTo>
                  <a:lnTo>
                    <a:pt x="1023" y="104"/>
                  </a:lnTo>
                  <a:lnTo>
                    <a:pt x="1022" y="105"/>
                  </a:lnTo>
                  <a:lnTo>
                    <a:pt x="1020" y="104"/>
                  </a:lnTo>
                  <a:lnTo>
                    <a:pt x="1019" y="99"/>
                  </a:lnTo>
                  <a:lnTo>
                    <a:pt x="1018" y="98"/>
                  </a:lnTo>
                  <a:lnTo>
                    <a:pt x="1015" y="98"/>
                  </a:lnTo>
                  <a:lnTo>
                    <a:pt x="1013" y="100"/>
                  </a:lnTo>
                  <a:lnTo>
                    <a:pt x="1012" y="103"/>
                  </a:lnTo>
                  <a:lnTo>
                    <a:pt x="1012" y="109"/>
                  </a:lnTo>
                  <a:lnTo>
                    <a:pt x="1018" y="117"/>
                  </a:lnTo>
                  <a:lnTo>
                    <a:pt x="1014" y="121"/>
                  </a:lnTo>
                  <a:lnTo>
                    <a:pt x="1019" y="123"/>
                  </a:lnTo>
                  <a:lnTo>
                    <a:pt x="1022" y="128"/>
                  </a:lnTo>
                  <a:lnTo>
                    <a:pt x="1031" y="130"/>
                  </a:lnTo>
                  <a:lnTo>
                    <a:pt x="1033" y="130"/>
                  </a:lnTo>
                  <a:lnTo>
                    <a:pt x="1035" y="128"/>
                  </a:lnTo>
                  <a:lnTo>
                    <a:pt x="1044" y="130"/>
                  </a:lnTo>
                  <a:lnTo>
                    <a:pt x="1049" y="132"/>
                  </a:lnTo>
                  <a:lnTo>
                    <a:pt x="1052" y="131"/>
                  </a:lnTo>
                  <a:lnTo>
                    <a:pt x="1053" y="130"/>
                  </a:lnTo>
                  <a:lnTo>
                    <a:pt x="1057" y="130"/>
                  </a:lnTo>
                  <a:lnTo>
                    <a:pt x="1058" y="132"/>
                  </a:lnTo>
                  <a:lnTo>
                    <a:pt x="1056" y="137"/>
                  </a:lnTo>
                  <a:lnTo>
                    <a:pt x="1058" y="140"/>
                  </a:lnTo>
                  <a:lnTo>
                    <a:pt x="1040" y="145"/>
                  </a:lnTo>
                  <a:lnTo>
                    <a:pt x="1037" y="147"/>
                  </a:lnTo>
                  <a:lnTo>
                    <a:pt x="1041" y="150"/>
                  </a:lnTo>
                  <a:lnTo>
                    <a:pt x="1039" y="159"/>
                  </a:lnTo>
                  <a:lnTo>
                    <a:pt x="1037" y="164"/>
                  </a:lnTo>
                  <a:lnTo>
                    <a:pt x="1030" y="168"/>
                  </a:lnTo>
                  <a:lnTo>
                    <a:pt x="1027" y="170"/>
                  </a:lnTo>
                  <a:lnTo>
                    <a:pt x="1029" y="174"/>
                  </a:lnTo>
                  <a:lnTo>
                    <a:pt x="1034" y="183"/>
                  </a:lnTo>
                  <a:lnTo>
                    <a:pt x="1027" y="207"/>
                  </a:lnTo>
                  <a:lnTo>
                    <a:pt x="1027" y="215"/>
                  </a:lnTo>
                  <a:lnTo>
                    <a:pt x="1033" y="233"/>
                  </a:lnTo>
                  <a:lnTo>
                    <a:pt x="1033" y="236"/>
                  </a:lnTo>
                  <a:lnTo>
                    <a:pt x="1030" y="239"/>
                  </a:lnTo>
                  <a:lnTo>
                    <a:pt x="1011" y="254"/>
                  </a:lnTo>
                  <a:lnTo>
                    <a:pt x="1011" y="258"/>
                  </a:lnTo>
                  <a:lnTo>
                    <a:pt x="1013" y="270"/>
                  </a:lnTo>
                  <a:lnTo>
                    <a:pt x="1012" y="274"/>
                  </a:lnTo>
                  <a:lnTo>
                    <a:pt x="998" y="277"/>
                  </a:lnTo>
                  <a:lnTo>
                    <a:pt x="997" y="278"/>
                  </a:lnTo>
                  <a:lnTo>
                    <a:pt x="1001" y="280"/>
                  </a:lnTo>
                  <a:lnTo>
                    <a:pt x="1009" y="278"/>
                  </a:lnTo>
                  <a:lnTo>
                    <a:pt x="1019" y="278"/>
                  </a:lnTo>
                  <a:lnTo>
                    <a:pt x="1023" y="276"/>
                  </a:lnTo>
                  <a:lnTo>
                    <a:pt x="1030" y="273"/>
                  </a:lnTo>
                  <a:lnTo>
                    <a:pt x="1033" y="272"/>
                  </a:lnTo>
                  <a:lnTo>
                    <a:pt x="1034" y="284"/>
                  </a:lnTo>
                  <a:lnTo>
                    <a:pt x="1031" y="288"/>
                  </a:lnTo>
                  <a:lnTo>
                    <a:pt x="1024" y="290"/>
                  </a:lnTo>
                  <a:lnTo>
                    <a:pt x="1023" y="298"/>
                  </a:lnTo>
                  <a:lnTo>
                    <a:pt x="1024" y="298"/>
                  </a:lnTo>
                  <a:lnTo>
                    <a:pt x="1029" y="295"/>
                  </a:lnTo>
                  <a:lnTo>
                    <a:pt x="1035" y="298"/>
                  </a:lnTo>
                  <a:lnTo>
                    <a:pt x="1039" y="297"/>
                  </a:lnTo>
                  <a:lnTo>
                    <a:pt x="1041" y="299"/>
                  </a:lnTo>
                  <a:lnTo>
                    <a:pt x="1044" y="296"/>
                  </a:lnTo>
                  <a:lnTo>
                    <a:pt x="1047" y="295"/>
                  </a:lnTo>
                  <a:lnTo>
                    <a:pt x="1054" y="296"/>
                  </a:lnTo>
                  <a:lnTo>
                    <a:pt x="1060" y="297"/>
                  </a:lnTo>
                  <a:lnTo>
                    <a:pt x="1067" y="305"/>
                  </a:lnTo>
                  <a:lnTo>
                    <a:pt x="1067" y="311"/>
                  </a:lnTo>
                  <a:lnTo>
                    <a:pt x="1065" y="314"/>
                  </a:lnTo>
                  <a:lnTo>
                    <a:pt x="1056" y="316"/>
                  </a:lnTo>
                  <a:lnTo>
                    <a:pt x="1054" y="317"/>
                  </a:lnTo>
                  <a:lnTo>
                    <a:pt x="1054" y="319"/>
                  </a:lnTo>
                  <a:lnTo>
                    <a:pt x="1068" y="316"/>
                  </a:lnTo>
                  <a:lnTo>
                    <a:pt x="1074" y="312"/>
                  </a:lnTo>
                  <a:lnTo>
                    <a:pt x="1077" y="312"/>
                  </a:lnTo>
                  <a:lnTo>
                    <a:pt x="1092" y="318"/>
                  </a:lnTo>
                  <a:lnTo>
                    <a:pt x="1104" y="326"/>
                  </a:lnTo>
                  <a:lnTo>
                    <a:pt x="1106" y="334"/>
                  </a:lnTo>
                  <a:lnTo>
                    <a:pt x="1108" y="338"/>
                  </a:lnTo>
                  <a:lnTo>
                    <a:pt x="1109" y="338"/>
                  </a:lnTo>
                  <a:lnTo>
                    <a:pt x="1112" y="335"/>
                  </a:lnTo>
                  <a:lnTo>
                    <a:pt x="1120" y="333"/>
                  </a:lnTo>
                  <a:lnTo>
                    <a:pt x="1132" y="338"/>
                  </a:lnTo>
                  <a:lnTo>
                    <a:pt x="1135" y="333"/>
                  </a:lnTo>
                  <a:lnTo>
                    <a:pt x="1137" y="332"/>
                  </a:lnTo>
                  <a:lnTo>
                    <a:pt x="1144" y="338"/>
                  </a:lnTo>
                  <a:lnTo>
                    <a:pt x="1145" y="346"/>
                  </a:lnTo>
                  <a:lnTo>
                    <a:pt x="1146" y="348"/>
                  </a:lnTo>
                  <a:lnTo>
                    <a:pt x="1149" y="345"/>
                  </a:lnTo>
                  <a:lnTo>
                    <a:pt x="1153" y="337"/>
                  </a:lnTo>
                  <a:lnTo>
                    <a:pt x="1164" y="335"/>
                  </a:lnTo>
                  <a:lnTo>
                    <a:pt x="1173" y="331"/>
                  </a:lnTo>
                  <a:lnTo>
                    <a:pt x="1180" y="331"/>
                  </a:lnTo>
                  <a:lnTo>
                    <a:pt x="1187" y="327"/>
                  </a:lnTo>
                  <a:lnTo>
                    <a:pt x="1198" y="329"/>
                  </a:lnTo>
                  <a:lnTo>
                    <a:pt x="1199" y="334"/>
                  </a:lnTo>
                  <a:lnTo>
                    <a:pt x="1205" y="334"/>
                  </a:lnTo>
                  <a:lnTo>
                    <a:pt x="1206" y="337"/>
                  </a:lnTo>
                  <a:lnTo>
                    <a:pt x="1207" y="338"/>
                  </a:lnTo>
                  <a:lnTo>
                    <a:pt x="1209" y="337"/>
                  </a:lnTo>
                  <a:lnTo>
                    <a:pt x="1214" y="332"/>
                  </a:lnTo>
                  <a:lnTo>
                    <a:pt x="1217" y="334"/>
                  </a:lnTo>
                  <a:lnTo>
                    <a:pt x="1218" y="337"/>
                  </a:lnTo>
                  <a:lnTo>
                    <a:pt x="1220" y="337"/>
                  </a:lnTo>
                  <a:lnTo>
                    <a:pt x="1242" y="329"/>
                  </a:lnTo>
                  <a:lnTo>
                    <a:pt x="1247" y="328"/>
                  </a:lnTo>
                  <a:lnTo>
                    <a:pt x="1252" y="329"/>
                  </a:lnTo>
                  <a:lnTo>
                    <a:pt x="1255" y="324"/>
                  </a:lnTo>
                  <a:lnTo>
                    <a:pt x="1263" y="319"/>
                  </a:lnTo>
                  <a:lnTo>
                    <a:pt x="1261" y="312"/>
                  </a:lnTo>
                  <a:lnTo>
                    <a:pt x="1261" y="309"/>
                  </a:lnTo>
                  <a:lnTo>
                    <a:pt x="1273" y="298"/>
                  </a:lnTo>
                  <a:lnTo>
                    <a:pt x="1279" y="289"/>
                  </a:lnTo>
                  <a:lnTo>
                    <a:pt x="1285" y="284"/>
                  </a:lnTo>
                  <a:lnTo>
                    <a:pt x="1289" y="277"/>
                  </a:lnTo>
                  <a:lnTo>
                    <a:pt x="1291" y="272"/>
                  </a:lnTo>
                  <a:lnTo>
                    <a:pt x="1291" y="259"/>
                  </a:lnTo>
                  <a:lnTo>
                    <a:pt x="1287" y="258"/>
                  </a:lnTo>
                  <a:lnTo>
                    <a:pt x="1285" y="252"/>
                  </a:lnTo>
                  <a:lnTo>
                    <a:pt x="1282" y="248"/>
                  </a:lnTo>
                  <a:lnTo>
                    <a:pt x="1276" y="248"/>
                  </a:lnTo>
                  <a:lnTo>
                    <a:pt x="1273" y="246"/>
                  </a:lnTo>
                  <a:lnTo>
                    <a:pt x="1271" y="244"/>
                  </a:lnTo>
                  <a:lnTo>
                    <a:pt x="1272" y="242"/>
                  </a:lnTo>
                  <a:lnTo>
                    <a:pt x="1275" y="240"/>
                  </a:lnTo>
                  <a:lnTo>
                    <a:pt x="1293" y="230"/>
                  </a:lnTo>
                  <a:lnTo>
                    <a:pt x="1297" y="223"/>
                  </a:lnTo>
                  <a:lnTo>
                    <a:pt x="1306" y="219"/>
                  </a:lnTo>
                  <a:lnTo>
                    <a:pt x="1311" y="212"/>
                  </a:lnTo>
                  <a:lnTo>
                    <a:pt x="1329" y="207"/>
                  </a:lnTo>
                  <a:lnTo>
                    <a:pt x="1333" y="202"/>
                  </a:lnTo>
                  <a:lnTo>
                    <a:pt x="1346" y="193"/>
                  </a:lnTo>
                  <a:lnTo>
                    <a:pt x="1356" y="185"/>
                  </a:lnTo>
                  <a:lnTo>
                    <a:pt x="1369" y="165"/>
                  </a:lnTo>
                  <a:lnTo>
                    <a:pt x="1383" y="150"/>
                  </a:lnTo>
                  <a:lnTo>
                    <a:pt x="1387" y="135"/>
                  </a:lnTo>
                  <a:lnTo>
                    <a:pt x="1387" y="132"/>
                  </a:lnTo>
                  <a:lnTo>
                    <a:pt x="1385" y="129"/>
                  </a:lnTo>
                  <a:lnTo>
                    <a:pt x="1380" y="123"/>
                  </a:lnTo>
                  <a:lnTo>
                    <a:pt x="1378" y="122"/>
                  </a:lnTo>
                  <a:lnTo>
                    <a:pt x="1374" y="122"/>
                  </a:lnTo>
                  <a:lnTo>
                    <a:pt x="1363" y="125"/>
                  </a:lnTo>
                  <a:lnTo>
                    <a:pt x="1359" y="123"/>
                  </a:lnTo>
                  <a:lnTo>
                    <a:pt x="1358" y="122"/>
                  </a:lnTo>
                  <a:lnTo>
                    <a:pt x="1364" y="120"/>
                  </a:lnTo>
                  <a:lnTo>
                    <a:pt x="1384" y="118"/>
                  </a:lnTo>
                  <a:lnTo>
                    <a:pt x="1391" y="116"/>
                  </a:lnTo>
                  <a:lnTo>
                    <a:pt x="1400" y="110"/>
                  </a:lnTo>
                  <a:lnTo>
                    <a:pt x="1414" y="96"/>
                  </a:lnTo>
                  <a:lnTo>
                    <a:pt x="1420" y="94"/>
                  </a:lnTo>
                  <a:lnTo>
                    <a:pt x="1432" y="94"/>
                  </a:lnTo>
                  <a:lnTo>
                    <a:pt x="1435" y="92"/>
                  </a:lnTo>
                  <a:lnTo>
                    <a:pt x="1448" y="87"/>
                  </a:lnTo>
                  <a:lnTo>
                    <a:pt x="1451" y="85"/>
                  </a:lnTo>
                  <a:lnTo>
                    <a:pt x="1454" y="80"/>
                  </a:lnTo>
                  <a:lnTo>
                    <a:pt x="1462" y="79"/>
                  </a:lnTo>
                  <a:lnTo>
                    <a:pt x="1471" y="74"/>
                  </a:lnTo>
                  <a:lnTo>
                    <a:pt x="1484" y="60"/>
                  </a:lnTo>
                  <a:lnTo>
                    <a:pt x="1486" y="59"/>
                  </a:lnTo>
                  <a:lnTo>
                    <a:pt x="1497" y="59"/>
                  </a:lnTo>
                  <a:lnTo>
                    <a:pt x="1510" y="63"/>
                  </a:lnTo>
                  <a:lnTo>
                    <a:pt x="1513" y="62"/>
                  </a:lnTo>
                  <a:lnTo>
                    <a:pt x="1517" y="57"/>
                  </a:lnTo>
                  <a:lnTo>
                    <a:pt x="1521" y="55"/>
                  </a:lnTo>
                  <a:lnTo>
                    <a:pt x="1524" y="55"/>
                  </a:lnTo>
                  <a:lnTo>
                    <a:pt x="1527" y="58"/>
                  </a:lnTo>
                  <a:lnTo>
                    <a:pt x="1533" y="57"/>
                  </a:lnTo>
                  <a:lnTo>
                    <a:pt x="1536" y="57"/>
                  </a:lnTo>
                  <a:lnTo>
                    <a:pt x="1539" y="59"/>
                  </a:lnTo>
                  <a:lnTo>
                    <a:pt x="1540" y="61"/>
                  </a:lnTo>
                  <a:lnTo>
                    <a:pt x="1540" y="63"/>
                  </a:lnTo>
                  <a:lnTo>
                    <a:pt x="1537" y="66"/>
                  </a:lnTo>
                  <a:lnTo>
                    <a:pt x="1539" y="71"/>
                  </a:lnTo>
                  <a:lnTo>
                    <a:pt x="1541" y="73"/>
                  </a:lnTo>
                  <a:lnTo>
                    <a:pt x="1548" y="77"/>
                  </a:lnTo>
                  <a:lnTo>
                    <a:pt x="1558" y="80"/>
                  </a:lnTo>
                  <a:lnTo>
                    <a:pt x="1559" y="82"/>
                  </a:lnTo>
                  <a:lnTo>
                    <a:pt x="1560" y="86"/>
                  </a:lnTo>
                  <a:lnTo>
                    <a:pt x="1563" y="92"/>
                  </a:lnTo>
                  <a:lnTo>
                    <a:pt x="1573" y="92"/>
                  </a:lnTo>
                  <a:lnTo>
                    <a:pt x="1583" y="87"/>
                  </a:lnTo>
                  <a:lnTo>
                    <a:pt x="1595" y="89"/>
                  </a:lnTo>
                  <a:lnTo>
                    <a:pt x="1596" y="90"/>
                  </a:lnTo>
                  <a:lnTo>
                    <a:pt x="1597" y="92"/>
                  </a:lnTo>
                  <a:lnTo>
                    <a:pt x="1592" y="103"/>
                  </a:lnTo>
                  <a:lnTo>
                    <a:pt x="1593" y="104"/>
                  </a:lnTo>
                  <a:lnTo>
                    <a:pt x="1597" y="105"/>
                  </a:lnTo>
                  <a:lnTo>
                    <a:pt x="1598" y="107"/>
                  </a:lnTo>
                  <a:lnTo>
                    <a:pt x="1598" y="110"/>
                  </a:lnTo>
                  <a:lnTo>
                    <a:pt x="1596" y="115"/>
                  </a:lnTo>
                  <a:lnTo>
                    <a:pt x="1596" y="119"/>
                  </a:lnTo>
                  <a:lnTo>
                    <a:pt x="1600" y="125"/>
                  </a:lnTo>
                  <a:lnTo>
                    <a:pt x="1612" y="129"/>
                  </a:lnTo>
                  <a:lnTo>
                    <a:pt x="1617" y="130"/>
                  </a:lnTo>
                  <a:lnTo>
                    <a:pt x="1637" y="129"/>
                  </a:lnTo>
                  <a:lnTo>
                    <a:pt x="1638" y="130"/>
                  </a:lnTo>
                  <a:lnTo>
                    <a:pt x="1639" y="134"/>
                  </a:lnTo>
                  <a:lnTo>
                    <a:pt x="1640" y="134"/>
                  </a:lnTo>
                  <a:lnTo>
                    <a:pt x="1642" y="133"/>
                  </a:lnTo>
                  <a:lnTo>
                    <a:pt x="1643" y="129"/>
                  </a:lnTo>
                  <a:lnTo>
                    <a:pt x="1644" y="127"/>
                  </a:lnTo>
                  <a:lnTo>
                    <a:pt x="1653" y="123"/>
                  </a:lnTo>
                  <a:lnTo>
                    <a:pt x="1655" y="120"/>
                  </a:lnTo>
                  <a:lnTo>
                    <a:pt x="1655" y="114"/>
                  </a:lnTo>
                  <a:lnTo>
                    <a:pt x="1653" y="112"/>
                  </a:lnTo>
                  <a:lnTo>
                    <a:pt x="1650" y="110"/>
                  </a:lnTo>
                  <a:lnTo>
                    <a:pt x="1650" y="109"/>
                  </a:lnTo>
                  <a:lnTo>
                    <a:pt x="1652" y="108"/>
                  </a:lnTo>
                  <a:lnTo>
                    <a:pt x="1655" y="108"/>
                  </a:lnTo>
                  <a:lnTo>
                    <a:pt x="1666" y="113"/>
                  </a:lnTo>
                  <a:lnTo>
                    <a:pt x="1673" y="116"/>
                  </a:lnTo>
                  <a:lnTo>
                    <a:pt x="1673" y="118"/>
                  </a:lnTo>
                  <a:lnTo>
                    <a:pt x="1672" y="119"/>
                  </a:lnTo>
                  <a:lnTo>
                    <a:pt x="1664" y="117"/>
                  </a:lnTo>
                  <a:lnTo>
                    <a:pt x="1661" y="118"/>
                  </a:lnTo>
                  <a:lnTo>
                    <a:pt x="1658" y="120"/>
                  </a:lnTo>
                  <a:lnTo>
                    <a:pt x="1657" y="125"/>
                  </a:lnTo>
                  <a:lnTo>
                    <a:pt x="1658" y="131"/>
                  </a:lnTo>
                  <a:lnTo>
                    <a:pt x="1661" y="133"/>
                  </a:lnTo>
                  <a:lnTo>
                    <a:pt x="1665" y="133"/>
                  </a:lnTo>
                  <a:lnTo>
                    <a:pt x="1671" y="137"/>
                  </a:lnTo>
                  <a:lnTo>
                    <a:pt x="1676" y="138"/>
                  </a:lnTo>
                  <a:lnTo>
                    <a:pt x="1681" y="143"/>
                  </a:lnTo>
                  <a:lnTo>
                    <a:pt x="1681" y="148"/>
                  </a:lnTo>
                  <a:lnTo>
                    <a:pt x="1683" y="153"/>
                  </a:lnTo>
                  <a:lnTo>
                    <a:pt x="1693" y="163"/>
                  </a:lnTo>
                  <a:lnTo>
                    <a:pt x="1698" y="164"/>
                  </a:lnTo>
                  <a:lnTo>
                    <a:pt x="1704" y="162"/>
                  </a:lnTo>
                  <a:lnTo>
                    <a:pt x="1711" y="170"/>
                  </a:lnTo>
                  <a:lnTo>
                    <a:pt x="1714" y="171"/>
                  </a:lnTo>
                  <a:lnTo>
                    <a:pt x="1718" y="170"/>
                  </a:lnTo>
                  <a:lnTo>
                    <a:pt x="1722" y="167"/>
                  </a:lnTo>
                  <a:lnTo>
                    <a:pt x="1732" y="165"/>
                  </a:lnTo>
                  <a:lnTo>
                    <a:pt x="1745" y="163"/>
                  </a:lnTo>
                  <a:lnTo>
                    <a:pt x="1746" y="162"/>
                  </a:lnTo>
                  <a:lnTo>
                    <a:pt x="1745" y="161"/>
                  </a:lnTo>
                  <a:lnTo>
                    <a:pt x="1740" y="158"/>
                  </a:lnTo>
                  <a:lnTo>
                    <a:pt x="1740" y="157"/>
                  </a:lnTo>
                  <a:lnTo>
                    <a:pt x="1741" y="156"/>
                  </a:lnTo>
                  <a:lnTo>
                    <a:pt x="1757" y="157"/>
                  </a:lnTo>
                  <a:lnTo>
                    <a:pt x="1769" y="167"/>
                  </a:lnTo>
                  <a:lnTo>
                    <a:pt x="1770" y="165"/>
                  </a:lnTo>
                  <a:lnTo>
                    <a:pt x="1770" y="163"/>
                  </a:lnTo>
                  <a:lnTo>
                    <a:pt x="1763" y="159"/>
                  </a:lnTo>
                  <a:lnTo>
                    <a:pt x="1764" y="157"/>
                  </a:lnTo>
                  <a:lnTo>
                    <a:pt x="1765" y="156"/>
                  </a:lnTo>
                  <a:lnTo>
                    <a:pt x="1773" y="153"/>
                  </a:lnTo>
                  <a:lnTo>
                    <a:pt x="1786" y="151"/>
                  </a:lnTo>
                  <a:lnTo>
                    <a:pt x="1799" y="148"/>
                  </a:lnTo>
                  <a:lnTo>
                    <a:pt x="1811" y="144"/>
                  </a:lnTo>
                  <a:lnTo>
                    <a:pt x="1814" y="144"/>
                  </a:lnTo>
                  <a:lnTo>
                    <a:pt x="1815" y="148"/>
                  </a:lnTo>
                  <a:lnTo>
                    <a:pt x="1814" y="150"/>
                  </a:lnTo>
                  <a:lnTo>
                    <a:pt x="1809" y="153"/>
                  </a:lnTo>
                  <a:lnTo>
                    <a:pt x="1812" y="159"/>
                  </a:lnTo>
                  <a:lnTo>
                    <a:pt x="1816" y="159"/>
                  </a:lnTo>
                  <a:lnTo>
                    <a:pt x="1825" y="156"/>
                  </a:lnTo>
                  <a:lnTo>
                    <a:pt x="1826" y="155"/>
                  </a:lnTo>
                  <a:lnTo>
                    <a:pt x="1825" y="152"/>
                  </a:lnTo>
                  <a:lnTo>
                    <a:pt x="1817" y="145"/>
                  </a:lnTo>
                  <a:lnTo>
                    <a:pt x="1817" y="139"/>
                  </a:lnTo>
                  <a:lnTo>
                    <a:pt x="1824" y="137"/>
                  </a:lnTo>
                  <a:lnTo>
                    <a:pt x="1826" y="139"/>
                  </a:lnTo>
                  <a:lnTo>
                    <a:pt x="1827" y="139"/>
                  </a:lnTo>
                  <a:lnTo>
                    <a:pt x="1828" y="137"/>
                  </a:lnTo>
                  <a:lnTo>
                    <a:pt x="1826" y="132"/>
                  </a:lnTo>
                  <a:lnTo>
                    <a:pt x="1829" y="128"/>
                  </a:lnTo>
                  <a:lnTo>
                    <a:pt x="1832" y="130"/>
                  </a:lnTo>
                  <a:lnTo>
                    <a:pt x="1835" y="129"/>
                  </a:lnTo>
                  <a:lnTo>
                    <a:pt x="1828" y="123"/>
                  </a:lnTo>
                  <a:lnTo>
                    <a:pt x="1834" y="120"/>
                  </a:lnTo>
                  <a:lnTo>
                    <a:pt x="1836" y="118"/>
                  </a:lnTo>
                  <a:lnTo>
                    <a:pt x="1842" y="118"/>
                  </a:lnTo>
                  <a:lnTo>
                    <a:pt x="1842" y="113"/>
                  </a:lnTo>
                  <a:lnTo>
                    <a:pt x="1840" y="110"/>
                  </a:lnTo>
                  <a:lnTo>
                    <a:pt x="1841" y="110"/>
                  </a:lnTo>
                  <a:lnTo>
                    <a:pt x="1849" y="116"/>
                  </a:lnTo>
                  <a:lnTo>
                    <a:pt x="1852" y="114"/>
                  </a:lnTo>
                  <a:lnTo>
                    <a:pt x="1853" y="108"/>
                  </a:lnTo>
                  <a:lnTo>
                    <a:pt x="1856" y="109"/>
                  </a:lnTo>
                  <a:lnTo>
                    <a:pt x="1860" y="114"/>
                  </a:lnTo>
                  <a:lnTo>
                    <a:pt x="1864" y="115"/>
                  </a:lnTo>
                  <a:lnTo>
                    <a:pt x="1864" y="120"/>
                  </a:lnTo>
                  <a:lnTo>
                    <a:pt x="1858" y="125"/>
                  </a:lnTo>
                  <a:lnTo>
                    <a:pt x="1856" y="128"/>
                  </a:lnTo>
                  <a:lnTo>
                    <a:pt x="1861" y="133"/>
                  </a:lnTo>
                  <a:lnTo>
                    <a:pt x="1864" y="145"/>
                  </a:lnTo>
                  <a:lnTo>
                    <a:pt x="1868" y="149"/>
                  </a:lnTo>
                  <a:lnTo>
                    <a:pt x="1868" y="152"/>
                  </a:lnTo>
                  <a:lnTo>
                    <a:pt x="1870" y="152"/>
                  </a:lnTo>
                  <a:lnTo>
                    <a:pt x="1876" y="152"/>
                  </a:lnTo>
                  <a:lnTo>
                    <a:pt x="1879" y="145"/>
                  </a:lnTo>
                  <a:lnTo>
                    <a:pt x="1890" y="139"/>
                  </a:lnTo>
                  <a:lnTo>
                    <a:pt x="1899" y="141"/>
                  </a:lnTo>
                  <a:lnTo>
                    <a:pt x="1897" y="150"/>
                  </a:lnTo>
                  <a:lnTo>
                    <a:pt x="1910" y="152"/>
                  </a:lnTo>
                  <a:lnTo>
                    <a:pt x="1914" y="156"/>
                  </a:lnTo>
                  <a:lnTo>
                    <a:pt x="1919" y="152"/>
                  </a:lnTo>
                  <a:lnTo>
                    <a:pt x="1925" y="150"/>
                  </a:lnTo>
                  <a:lnTo>
                    <a:pt x="1927" y="150"/>
                  </a:lnTo>
                  <a:lnTo>
                    <a:pt x="1931" y="152"/>
                  </a:lnTo>
                  <a:lnTo>
                    <a:pt x="1937" y="151"/>
                  </a:lnTo>
                  <a:lnTo>
                    <a:pt x="1946" y="147"/>
                  </a:lnTo>
                  <a:lnTo>
                    <a:pt x="1952" y="143"/>
                  </a:lnTo>
                  <a:lnTo>
                    <a:pt x="1953" y="146"/>
                  </a:lnTo>
                  <a:lnTo>
                    <a:pt x="1953" y="151"/>
                  </a:lnTo>
                  <a:lnTo>
                    <a:pt x="1951" y="152"/>
                  </a:lnTo>
                  <a:lnTo>
                    <a:pt x="1946" y="153"/>
                  </a:lnTo>
                  <a:lnTo>
                    <a:pt x="1945" y="155"/>
                  </a:lnTo>
                  <a:lnTo>
                    <a:pt x="1960" y="159"/>
                  </a:lnTo>
                  <a:lnTo>
                    <a:pt x="1966" y="158"/>
                  </a:lnTo>
                  <a:lnTo>
                    <a:pt x="1967" y="155"/>
                  </a:lnTo>
                  <a:lnTo>
                    <a:pt x="1966" y="154"/>
                  </a:lnTo>
                  <a:lnTo>
                    <a:pt x="1960" y="155"/>
                  </a:lnTo>
                  <a:lnTo>
                    <a:pt x="1957" y="154"/>
                  </a:lnTo>
                  <a:lnTo>
                    <a:pt x="1956" y="151"/>
                  </a:lnTo>
                  <a:lnTo>
                    <a:pt x="1957" y="149"/>
                  </a:lnTo>
                  <a:lnTo>
                    <a:pt x="1972" y="150"/>
                  </a:lnTo>
                  <a:lnTo>
                    <a:pt x="1977" y="149"/>
                  </a:lnTo>
                  <a:lnTo>
                    <a:pt x="1980" y="147"/>
                  </a:lnTo>
                  <a:lnTo>
                    <a:pt x="1987" y="140"/>
                  </a:lnTo>
                  <a:lnTo>
                    <a:pt x="1994" y="138"/>
                  </a:lnTo>
                  <a:lnTo>
                    <a:pt x="2000" y="137"/>
                  </a:lnTo>
                  <a:lnTo>
                    <a:pt x="2010" y="140"/>
                  </a:lnTo>
                  <a:lnTo>
                    <a:pt x="2011" y="146"/>
                  </a:lnTo>
                  <a:lnTo>
                    <a:pt x="2009" y="152"/>
                  </a:lnTo>
                  <a:lnTo>
                    <a:pt x="2006" y="152"/>
                  </a:lnTo>
                  <a:lnTo>
                    <a:pt x="2003" y="149"/>
                  </a:lnTo>
                  <a:lnTo>
                    <a:pt x="1997" y="149"/>
                  </a:lnTo>
                  <a:lnTo>
                    <a:pt x="1990" y="154"/>
                  </a:lnTo>
                  <a:lnTo>
                    <a:pt x="1981" y="166"/>
                  </a:lnTo>
                  <a:lnTo>
                    <a:pt x="1979" y="162"/>
                  </a:lnTo>
                  <a:lnTo>
                    <a:pt x="1978" y="162"/>
                  </a:lnTo>
                  <a:lnTo>
                    <a:pt x="1976" y="164"/>
                  </a:lnTo>
                  <a:lnTo>
                    <a:pt x="1976" y="165"/>
                  </a:lnTo>
                  <a:lnTo>
                    <a:pt x="1977" y="168"/>
                  </a:lnTo>
                  <a:lnTo>
                    <a:pt x="1979" y="169"/>
                  </a:lnTo>
                  <a:lnTo>
                    <a:pt x="1985" y="170"/>
                  </a:lnTo>
                  <a:lnTo>
                    <a:pt x="1986" y="172"/>
                  </a:lnTo>
                  <a:lnTo>
                    <a:pt x="1986" y="173"/>
                  </a:lnTo>
                  <a:lnTo>
                    <a:pt x="1982" y="174"/>
                  </a:lnTo>
                  <a:lnTo>
                    <a:pt x="1979" y="177"/>
                  </a:lnTo>
                  <a:lnTo>
                    <a:pt x="1977" y="175"/>
                  </a:lnTo>
                  <a:lnTo>
                    <a:pt x="1978" y="172"/>
                  </a:lnTo>
                  <a:lnTo>
                    <a:pt x="1978" y="171"/>
                  </a:lnTo>
                  <a:lnTo>
                    <a:pt x="1975" y="171"/>
                  </a:lnTo>
                  <a:lnTo>
                    <a:pt x="1973" y="172"/>
                  </a:lnTo>
                  <a:lnTo>
                    <a:pt x="1974" y="176"/>
                  </a:lnTo>
                  <a:lnTo>
                    <a:pt x="1981" y="185"/>
                  </a:lnTo>
                  <a:lnTo>
                    <a:pt x="1977" y="187"/>
                  </a:lnTo>
                  <a:lnTo>
                    <a:pt x="1977" y="190"/>
                  </a:lnTo>
                  <a:lnTo>
                    <a:pt x="1981" y="197"/>
                  </a:lnTo>
                  <a:lnTo>
                    <a:pt x="1988" y="201"/>
                  </a:lnTo>
                  <a:lnTo>
                    <a:pt x="1990" y="207"/>
                  </a:lnTo>
                  <a:lnTo>
                    <a:pt x="1998" y="210"/>
                  </a:lnTo>
                  <a:lnTo>
                    <a:pt x="1999" y="213"/>
                  </a:lnTo>
                  <a:lnTo>
                    <a:pt x="1992" y="217"/>
                  </a:lnTo>
                  <a:lnTo>
                    <a:pt x="1982" y="223"/>
                  </a:lnTo>
                  <a:lnTo>
                    <a:pt x="1984" y="225"/>
                  </a:lnTo>
                  <a:lnTo>
                    <a:pt x="1989" y="228"/>
                  </a:lnTo>
                  <a:lnTo>
                    <a:pt x="1989" y="230"/>
                  </a:lnTo>
                  <a:lnTo>
                    <a:pt x="1988" y="231"/>
                  </a:lnTo>
                  <a:lnTo>
                    <a:pt x="1976" y="230"/>
                  </a:lnTo>
                  <a:lnTo>
                    <a:pt x="1970" y="231"/>
                  </a:lnTo>
                  <a:lnTo>
                    <a:pt x="1967" y="234"/>
                  </a:lnTo>
                  <a:lnTo>
                    <a:pt x="1963" y="239"/>
                  </a:lnTo>
                  <a:lnTo>
                    <a:pt x="1962" y="248"/>
                  </a:lnTo>
                  <a:lnTo>
                    <a:pt x="1961" y="252"/>
                  </a:lnTo>
                  <a:lnTo>
                    <a:pt x="1959" y="249"/>
                  </a:lnTo>
                  <a:lnTo>
                    <a:pt x="1958" y="244"/>
                  </a:lnTo>
                  <a:lnTo>
                    <a:pt x="1962" y="237"/>
                  </a:lnTo>
                  <a:lnTo>
                    <a:pt x="1960" y="237"/>
                  </a:lnTo>
                  <a:lnTo>
                    <a:pt x="1957" y="239"/>
                  </a:lnTo>
                  <a:lnTo>
                    <a:pt x="1956" y="242"/>
                  </a:lnTo>
                  <a:lnTo>
                    <a:pt x="1956" y="246"/>
                  </a:lnTo>
                  <a:lnTo>
                    <a:pt x="1958" y="253"/>
                  </a:lnTo>
                  <a:lnTo>
                    <a:pt x="1962" y="257"/>
                  </a:lnTo>
                  <a:lnTo>
                    <a:pt x="1962" y="263"/>
                  </a:lnTo>
                  <a:lnTo>
                    <a:pt x="1961" y="264"/>
                  </a:lnTo>
                  <a:lnTo>
                    <a:pt x="1959" y="261"/>
                  </a:lnTo>
                  <a:lnTo>
                    <a:pt x="1957" y="262"/>
                  </a:lnTo>
                  <a:lnTo>
                    <a:pt x="1956" y="264"/>
                  </a:lnTo>
                  <a:lnTo>
                    <a:pt x="1957" y="267"/>
                  </a:lnTo>
                  <a:lnTo>
                    <a:pt x="1955" y="271"/>
                  </a:lnTo>
                  <a:lnTo>
                    <a:pt x="1944" y="278"/>
                  </a:lnTo>
                  <a:lnTo>
                    <a:pt x="1953" y="279"/>
                  </a:lnTo>
                  <a:lnTo>
                    <a:pt x="1950" y="284"/>
                  </a:lnTo>
                  <a:lnTo>
                    <a:pt x="1949" y="292"/>
                  </a:lnTo>
                  <a:lnTo>
                    <a:pt x="1954" y="285"/>
                  </a:lnTo>
                  <a:lnTo>
                    <a:pt x="1957" y="282"/>
                  </a:lnTo>
                  <a:lnTo>
                    <a:pt x="1959" y="278"/>
                  </a:lnTo>
                  <a:lnTo>
                    <a:pt x="1961" y="276"/>
                  </a:lnTo>
                  <a:lnTo>
                    <a:pt x="1966" y="276"/>
                  </a:lnTo>
                  <a:lnTo>
                    <a:pt x="1973" y="278"/>
                  </a:lnTo>
                  <a:lnTo>
                    <a:pt x="1977" y="277"/>
                  </a:lnTo>
                  <a:lnTo>
                    <a:pt x="1979" y="282"/>
                  </a:lnTo>
                  <a:lnTo>
                    <a:pt x="1980" y="283"/>
                  </a:lnTo>
                  <a:lnTo>
                    <a:pt x="1982" y="274"/>
                  </a:lnTo>
                  <a:lnTo>
                    <a:pt x="1988" y="269"/>
                  </a:lnTo>
                  <a:lnTo>
                    <a:pt x="1992" y="269"/>
                  </a:lnTo>
                  <a:lnTo>
                    <a:pt x="1987" y="272"/>
                  </a:lnTo>
                  <a:lnTo>
                    <a:pt x="1984" y="281"/>
                  </a:lnTo>
                  <a:lnTo>
                    <a:pt x="1985" y="294"/>
                  </a:lnTo>
                  <a:lnTo>
                    <a:pt x="1984" y="303"/>
                  </a:lnTo>
                  <a:lnTo>
                    <a:pt x="1974" y="309"/>
                  </a:lnTo>
                  <a:lnTo>
                    <a:pt x="1958" y="314"/>
                  </a:lnTo>
                  <a:lnTo>
                    <a:pt x="1958" y="312"/>
                  </a:lnTo>
                  <a:lnTo>
                    <a:pt x="1959" y="309"/>
                  </a:lnTo>
                  <a:lnTo>
                    <a:pt x="1958" y="308"/>
                  </a:lnTo>
                  <a:lnTo>
                    <a:pt x="1954" y="308"/>
                  </a:lnTo>
                  <a:lnTo>
                    <a:pt x="1950" y="309"/>
                  </a:lnTo>
                  <a:lnTo>
                    <a:pt x="1953" y="311"/>
                  </a:lnTo>
                  <a:lnTo>
                    <a:pt x="1958" y="321"/>
                  </a:lnTo>
                  <a:lnTo>
                    <a:pt x="1963" y="327"/>
                  </a:lnTo>
                  <a:lnTo>
                    <a:pt x="1963" y="329"/>
                  </a:lnTo>
                  <a:lnTo>
                    <a:pt x="1961" y="331"/>
                  </a:lnTo>
                  <a:lnTo>
                    <a:pt x="1956" y="333"/>
                  </a:lnTo>
                  <a:lnTo>
                    <a:pt x="1940" y="334"/>
                  </a:lnTo>
                  <a:lnTo>
                    <a:pt x="1941" y="335"/>
                  </a:lnTo>
                  <a:lnTo>
                    <a:pt x="1949" y="339"/>
                  </a:lnTo>
                  <a:lnTo>
                    <a:pt x="1945" y="343"/>
                  </a:lnTo>
                  <a:lnTo>
                    <a:pt x="1940" y="347"/>
                  </a:lnTo>
                  <a:lnTo>
                    <a:pt x="1925" y="347"/>
                  </a:lnTo>
                  <a:lnTo>
                    <a:pt x="1913" y="346"/>
                  </a:lnTo>
                  <a:lnTo>
                    <a:pt x="1907" y="344"/>
                  </a:lnTo>
                  <a:lnTo>
                    <a:pt x="1900" y="346"/>
                  </a:lnTo>
                  <a:lnTo>
                    <a:pt x="1900" y="342"/>
                  </a:lnTo>
                  <a:lnTo>
                    <a:pt x="1897" y="332"/>
                  </a:lnTo>
                  <a:lnTo>
                    <a:pt x="1898" y="329"/>
                  </a:lnTo>
                  <a:lnTo>
                    <a:pt x="1908" y="325"/>
                  </a:lnTo>
                  <a:lnTo>
                    <a:pt x="1919" y="327"/>
                  </a:lnTo>
                  <a:lnTo>
                    <a:pt x="1921" y="326"/>
                  </a:lnTo>
                  <a:lnTo>
                    <a:pt x="1922" y="324"/>
                  </a:lnTo>
                  <a:lnTo>
                    <a:pt x="1919" y="321"/>
                  </a:lnTo>
                  <a:lnTo>
                    <a:pt x="1912" y="323"/>
                  </a:lnTo>
                  <a:lnTo>
                    <a:pt x="1908" y="320"/>
                  </a:lnTo>
                  <a:lnTo>
                    <a:pt x="1905" y="324"/>
                  </a:lnTo>
                  <a:lnTo>
                    <a:pt x="1901" y="323"/>
                  </a:lnTo>
                  <a:lnTo>
                    <a:pt x="1897" y="320"/>
                  </a:lnTo>
                  <a:lnTo>
                    <a:pt x="1895" y="315"/>
                  </a:lnTo>
                  <a:lnTo>
                    <a:pt x="1888" y="318"/>
                  </a:lnTo>
                  <a:lnTo>
                    <a:pt x="1886" y="317"/>
                  </a:lnTo>
                  <a:lnTo>
                    <a:pt x="1886" y="313"/>
                  </a:lnTo>
                  <a:lnTo>
                    <a:pt x="1891" y="312"/>
                  </a:lnTo>
                  <a:lnTo>
                    <a:pt x="1892" y="310"/>
                  </a:lnTo>
                  <a:lnTo>
                    <a:pt x="1892" y="295"/>
                  </a:lnTo>
                  <a:lnTo>
                    <a:pt x="1895" y="294"/>
                  </a:lnTo>
                  <a:lnTo>
                    <a:pt x="1899" y="294"/>
                  </a:lnTo>
                  <a:lnTo>
                    <a:pt x="1902" y="291"/>
                  </a:lnTo>
                  <a:lnTo>
                    <a:pt x="1901" y="281"/>
                  </a:lnTo>
                  <a:lnTo>
                    <a:pt x="1900" y="278"/>
                  </a:lnTo>
                  <a:lnTo>
                    <a:pt x="1898" y="277"/>
                  </a:lnTo>
                  <a:lnTo>
                    <a:pt x="1892" y="277"/>
                  </a:lnTo>
                  <a:lnTo>
                    <a:pt x="1891" y="278"/>
                  </a:lnTo>
                  <a:lnTo>
                    <a:pt x="1894" y="282"/>
                  </a:lnTo>
                  <a:lnTo>
                    <a:pt x="1894" y="289"/>
                  </a:lnTo>
                  <a:lnTo>
                    <a:pt x="1894" y="291"/>
                  </a:lnTo>
                  <a:lnTo>
                    <a:pt x="1886" y="293"/>
                  </a:lnTo>
                  <a:lnTo>
                    <a:pt x="1884" y="290"/>
                  </a:lnTo>
                  <a:lnTo>
                    <a:pt x="1882" y="292"/>
                  </a:lnTo>
                  <a:lnTo>
                    <a:pt x="1885" y="302"/>
                  </a:lnTo>
                  <a:lnTo>
                    <a:pt x="1885" y="307"/>
                  </a:lnTo>
                  <a:lnTo>
                    <a:pt x="1883" y="313"/>
                  </a:lnTo>
                  <a:lnTo>
                    <a:pt x="1882" y="313"/>
                  </a:lnTo>
                  <a:lnTo>
                    <a:pt x="1880" y="313"/>
                  </a:lnTo>
                  <a:lnTo>
                    <a:pt x="1877" y="305"/>
                  </a:lnTo>
                  <a:lnTo>
                    <a:pt x="1874" y="305"/>
                  </a:lnTo>
                  <a:lnTo>
                    <a:pt x="1873" y="307"/>
                  </a:lnTo>
                  <a:lnTo>
                    <a:pt x="1877" y="311"/>
                  </a:lnTo>
                  <a:lnTo>
                    <a:pt x="1870" y="318"/>
                  </a:lnTo>
                  <a:lnTo>
                    <a:pt x="1872" y="326"/>
                  </a:lnTo>
                  <a:lnTo>
                    <a:pt x="1865" y="327"/>
                  </a:lnTo>
                  <a:lnTo>
                    <a:pt x="1859" y="333"/>
                  </a:lnTo>
                  <a:lnTo>
                    <a:pt x="1855" y="333"/>
                  </a:lnTo>
                  <a:lnTo>
                    <a:pt x="1853" y="331"/>
                  </a:lnTo>
                  <a:lnTo>
                    <a:pt x="1859" y="320"/>
                  </a:lnTo>
                  <a:lnTo>
                    <a:pt x="1860" y="317"/>
                  </a:lnTo>
                  <a:lnTo>
                    <a:pt x="1859" y="315"/>
                  </a:lnTo>
                  <a:lnTo>
                    <a:pt x="1847" y="307"/>
                  </a:lnTo>
                  <a:lnTo>
                    <a:pt x="1843" y="298"/>
                  </a:lnTo>
                  <a:lnTo>
                    <a:pt x="1838" y="295"/>
                  </a:lnTo>
                  <a:lnTo>
                    <a:pt x="1835" y="296"/>
                  </a:lnTo>
                  <a:lnTo>
                    <a:pt x="1835" y="299"/>
                  </a:lnTo>
                  <a:lnTo>
                    <a:pt x="1842" y="305"/>
                  </a:lnTo>
                  <a:lnTo>
                    <a:pt x="1842" y="307"/>
                  </a:lnTo>
                  <a:lnTo>
                    <a:pt x="1837" y="307"/>
                  </a:lnTo>
                  <a:lnTo>
                    <a:pt x="1831" y="306"/>
                  </a:lnTo>
                  <a:lnTo>
                    <a:pt x="1832" y="299"/>
                  </a:lnTo>
                  <a:lnTo>
                    <a:pt x="1831" y="295"/>
                  </a:lnTo>
                  <a:lnTo>
                    <a:pt x="1830" y="297"/>
                  </a:lnTo>
                  <a:lnTo>
                    <a:pt x="1825" y="302"/>
                  </a:lnTo>
                  <a:lnTo>
                    <a:pt x="1824" y="303"/>
                  </a:lnTo>
                  <a:lnTo>
                    <a:pt x="1826" y="313"/>
                  </a:lnTo>
                  <a:lnTo>
                    <a:pt x="1825" y="315"/>
                  </a:lnTo>
                  <a:lnTo>
                    <a:pt x="1822" y="316"/>
                  </a:lnTo>
                  <a:lnTo>
                    <a:pt x="1822" y="317"/>
                  </a:lnTo>
                  <a:lnTo>
                    <a:pt x="1822" y="318"/>
                  </a:lnTo>
                  <a:lnTo>
                    <a:pt x="1828" y="317"/>
                  </a:lnTo>
                  <a:lnTo>
                    <a:pt x="1833" y="318"/>
                  </a:lnTo>
                  <a:lnTo>
                    <a:pt x="1835" y="320"/>
                  </a:lnTo>
                  <a:lnTo>
                    <a:pt x="1834" y="324"/>
                  </a:lnTo>
                  <a:lnTo>
                    <a:pt x="1832" y="325"/>
                  </a:lnTo>
                  <a:lnTo>
                    <a:pt x="1824" y="325"/>
                  </a:lnTo>
                  <a:lnTo>
                    <a:pt x="1813" y="333"/>
                  </a:lnTo>
                  <a:lnTo>
                    <a:pt x="1812" y="333"/>
                  </a:lnTo>
                  <a:lnTo>
                    <a:pt x="1813" y="329"/>
                  </a:lnTo>
                  <a:lnTo>
                    <a:pt x="1811" y="329"/>
                  </a:lnTo>
                  <a:lnTo>
                    <a:pt x="1809" y="339"/>
                  </a:lnTo>
                  <a:lnTo>
                    <a:pt x="1800" y="339"/>
                  </a:lnTo>
                  <a:lnTo>
                    <a:pt x="1798" y="342"/>
                  </a:lnTo>
                  <a:lnTo>
                    <a:pt x="1787" y="352"/>
                  </a:lnTo>
                  <a:lnTo>
                    <a:pt x="1786" y="356"/>
                  </a:lnTo>
                  <a:lnTo>
                    <a:pt x="1787" y="361"/>
                  </a:lnTo>
                  <a:lnTo>
                    <a:pt x="1776" y="367"/>
                  </a:lnTo>
                  <a:lnTo>
                    <a:pt x="1768" y="369"/>
                  </a:lnTo>
                  <a:lnTo>
                    <a:pt x="1761" y="374"/>
                  </a:lnTo>
                  <a:lnTo>
                    <a:pt x="1758" y="375"/>
                  </a:lnTo>
                  <a:lnTo>
                    <a:pt x="1757" y="375"/>
                  </a:lnTo>
                  <a:lnTo>
                    <a:pt x="1757" y="374"/>
                  </a:lnTo>
                  <a:lnTo>
                    <a:pt x="1760" y="369"/>
                  </a:lnTo>
                  <a:lnTo>
                    <a:pt x="1761" y="366"/>
                  </a:lnTo>
                  <a:lnTo>
                    <a:pt x="1759" y="365"/>
                  </a:lnTo>
                  <a:lnTo>
                    <a:pt x="1756" y="369"/>
                  </a:lnTo>
                  <a:lnTo>
                    <a:pt x="1754" y="373"/>
                  </a:lnTo>
                  <a:lnTo>
                    <a:pt x="1755" y="384"/>
                  </a:lnTo>
                  <a:lnTo>
                    <a:pt x="1757" y="392"/>
                  </a:lnTo>
                  <a:lnTo>
                    <a:pt x="1761" y="402"/>
                  </a:lnTo>
                  <a:lnTo>
                    <a:pt x="1754" y="399"/>
                  </a:lnTo>
                  <a:lnTo>
                    <a:pt x="1751" y="390"/>
                  </a:lnTo>
                  <a:lnTo>
                    <a:pt x="1746" y="392"/>
                  </a:lnTo>
                  <a:lnTo>
                    <a:pt x="1742" y="390"/>
                  </a:lnTo>
                  <a:lnTo>
                    <a:pt x="1740" y="390"/>
                  </a:lnTo>
                  <a:lnTo>
                    <a:pt x="1736" y="393"/>
                  </a:lnTo>
                  <a:lnTo>
                    <a:pt x="1736" y="399"/>
                  </a:lnTo>
                  <a:lnTo>
                    <a:pt x="1732" y="401"/>
                  </a:lnTo>
                  <a:lnTo>
                    <a:pt x="1728" y="400"/>
                  </a:lnTo>
                  <a:lnTo>
                    <a:pt x="1728" y="397"/>
                  </a:lnTo>
                  <a:lnTo>
                    <a:pt x="1727" y="395"/>
                  </a:lnTo>
                  <a:lnTo>
                    <a:pt x="1719" y="392"/>
                  </a:lnTo>
                  <a:lnTo>
                    <a:pt x="1721" y="388"/>
                  </a:lnTo>
                  <a:lnTo>
                    <a:pt x="1729" y="383"/>
                  </a:lnTo>
                  <a:lnTo>
                    <a:pt x="1732" y="383"/>
                  </a:lnTo>
                  <a:lnTo>
                    <a:pt x="1734" y="386"/>
                  </a:lnTo>
                  <a:lnTo>
                    <a:pt x="1735" y="386"/>
                  </a:lnTo>
                  <a:lnTo>
                    <a:pt x="1738" y="378"/>
                  </a:lnTo>
                  <a:lnTo>
                    <a:pt x="1746" y="372"/>
                  </a:lnTo>
                  <a:lnTo>
                    <a:pt x="1748" y="369"/>
                  </a:lnTo>
                  <a:lnTo>
                    <a:pt x="1751" y="365"/>
                  </a:lnTo>
                  <a:lnTo>
                    <a:pt x="1750" y="363"/>
                  </a:lnTo>
                  <a:lnTo>
                    <a:pt x="1743" y="363"/>
                  </a:lnTo>
                  <a:lnTo>
                    <a:pt x="1736" y="366"/>
                  </a:lnTo>
                  <a:lnTo>
                    <a:pt x="1734" y="368"/>
                  </a:lnTo>
                  <a:lnTo>
                    <a:pt x="1733" y="371"/>
                  </a:lnTo>
                  <a:lnTo>
                    <a:pt x="1728" y="373"/>
                  </a:lnTo>
                  <a:lnTo>
                    <a:pt x="1727" y="380"/>
                  </a:lnTo>
                  <a:lnTo>
                    <a:pt x="1724" y="382"/>
                  </a:lnTo>
                  <a:lnTo>
                    <a:pt x="1722" y="383"/>
                  </a:lnTo>
                  <a:lnTo>
                    <a:pt x="1721" y="382"/>
                  </a:lnTo>
                  <a:lnTo>
                    <a:pt x="1720" y="381"/>
                  </a:lnTo>
                  <a:lnTo>
                    <a:pt x="1722" y="370"/>
                  </a:lnTo>
                  <a:lnTo>
                    <a:pt x="1721" y="369"/>
                  </a:lnTo>
                  <a:lnTo>
                    <a:pt x="1720" y="371"/>
                  </a:lnTo>
                  <a:lnTo>
                    <a:pt x="1719" y="373"/>
                  </a:lnTo>
                  <a:lnTo>
                    <a:pt x="1714" y="374"/>
                  </a:lnTo>
                  <a:lnTo>
                    <a:pt x="1707" y="363"/>
                  </a:lnTo>
                  <a:lnTo>
                    <a:pt x="1705" y="367"/>
                  </a:lnTo>
                  <a:lnTo>
                    <a:pt x="1705" y="370"/>
                  </a:lnTo>
                  <a:lnTo>
                    <a:pt x="1710" y="378"/>
                  </a:lnTo>
                  <a:lnTo>
                    <a:pt x="1716" y="389"/>
                  </a:lnTo>
                  <a:lnTo>
                    <a:pt x="1717" y="396"/>
                  </a:lnTo>
                  <a:lnTo>
                    <a:pt x="1715" y="398"/>
                  </a:lnTo>
                  <a:lnTo>
                    <a:pt x="1708" y="401"/>
                  </a:lnTo>
                  <a:lnTo>
                    <a:pt x="1706" y="401"/>
                  </a:lnTo>
                  <a:lnTo>
                    <a:pt x="1701" y="400"/>
                  </a:lnTo>
                  <a:lnTo>
                    <a:pt x="1697" y="403"/>
                  </a:lnTo>
                  <a:lnTo>
                    <a:pt x="1693" y="409"/>
                  </a:lnTo>
                  <a:lnTo>
                    <a:pt x="1694" y="413"/>
                  </a:lnTo>
                  <a:lnTo>
                    <a:pt x="1698" y="417"/>
                  </a:lnTo>
                  <a:lnTo>
                    <a:pt x="1696" y="420"/>
                  </a:lnTo>
                  <a:lnTo>
                    <a:pt x="1692" y="419"/>
                  </a:lnTo>
                  <a:lnTo>
                    <a:pt x="1690" y="415"/>
                  </a:lnTo>
                  <a:lnTo>
                    <a:pt x="1685" y="415"/>
                  </a:lnTo>
                  <a:lnTo>
                    <a:pt x="1678" y="419"/>
                  </a:lnTo>
                  <a:lnTo>
                    <a:pt x="1669" y="421"/>
                  </a:lnTo>
                  <a:lnTo>
                    <a:pt x="1660" y="429"/>
                  </a:lnTo>
                  <a:lnTo>
                    <a:pt x="1652" y="429"/>
                  </a:lnTo>
                  <a:lnTo>
                    <a:pt x="1645" y="434"/>
                  </a:lnTo>
                  <a:lnTo>
                    <a:pt x="1644" y="434"/>
                  </a:lnTo>
                  <a:lnTo>
                    <a:pt x="1645" y="431"/>
                  </a:lnTo>
                  <a:lnTo>
                    <a:pt x="1648" y="424"/>
                  </a:lnTo>
                  <a:lnTo>
                    <a:pt x="1645" y="422"/>
                  </a:lnTo>
                  <a:lnTo>
                    <a:pt x="1640" y="422"/>
                  </a:lnTo>
                  <a:lnTo>
                    <a:pt x="1639" y="425"/>
                  </a:lnTo>
                  <a:lnTo>
                    <a:pt x="1642" y="432"/>
                  </a:lnTo>
                  <a:lnTo>
                    <a:pt x="1639" y="438"/>
                  </a:lnTo>
                  <a:lnTo>
                    <a:pt x="1626" y="447"/>
                  </a:lnTo>
                  <a:lnTo>
                    <a:pt x="1625" y="450"/>
                  </a:lnTo>
                  <a:lnTo>
                    <a:pt x="1625" y="454"/>
                  </a:lnTo>
                  <a:lnTo>
                    <a:pt x="1620" y="457"/>
                  </a:lnTo>
                  <a:lnTo>
                    <a:pt x="1615" y="460"/>
                  </a:lnTo>
                  <a:lnTo>
                    <a:pt x="1613" y="460"/>
                  </a:lnTo>
                  <a:lnTo>
                    <a:pt x="1612" y="458"/>
                  </a:lnTo>
                  <a:lnTo>
                    <a:pt x="1613" y="453"/>
                  </a:lnTo>
                  <a:lnTo>
                    <a:pt x="1620" y="450"/>
                  </a:lnTo>
                  <a:lnTo>
                    <a:pt x="1618" y="444"/>
                  </a:lnTo>
                  <a:lnTo>
                    <a:pt x="1613" y="449"/>
                  </a:lnTo>
                  <a:lnTo>
                    <a:pt x="1609" y="445"/>
                  </a:lnTo>
                  <a:lnTo>
                    <a:pt x="1607" y="446"/>
                  </a:lnTo>
                  <a:lnTo>
                    <a:pt x="1607" y="447"/>
                  </a:lnTo>
                  <a:lnTo>
                    <a:pt x="1609" y="450"/>
                  </a:lnTo>
                  <a:lnTo>
                    <a:pt x="1610" y="452"/>
                  </a:lnTo>
                  <a:lnTo>
                    <a:pt x="1603" y="451"/>
                  </a:lnTo>
                  <a:lnTo>
                    <a:pt x="1602" y="454"/>
                  </a:lnTo>
                  <a:lnTo>
                    <a:pt x="1611" y="459"/>
                  </a:lnTo>
                  <a:lnTo>
                    <a:pt x="1610" y="469"/>
                  </a:lnTo>
                  <a:lnTo>
                    <a:pt x="1608" y="471"/>
                  </a:lnTo>
                  <a:lnTo>
                    <a:pt x="1604" y="470"/>
                  </a:lnTo>
                  <a:lnTo>
                    <a:pt x="1602" y="465"/>
                  </a:lnTo>
                  <a:lnTo>
                    <a:pt x="1601" y="465"/>
                  </a:lnTo>
                  <a:lnTo>
                    <a:pt x="1590" y="471"/>
                  </a:lnTo>
                  <a:lnTo>
                    <a:pt x="1586" y="471"/>
                  </a:lnTo>
                  <a:lnTo>
                    <a:pt x="1582" y="470"/>
                  </a:lnTo>
                  <a:lnTo>
                    <a:pt x="1580" y="468"/>
                  </a:lnTo>
                  <a:lnTo>
                    <a:pt x="1583" y="465"/>
                  </a:lnTo>
                  <a:lnTo>
                    <a:pt x="1584" y="459"/>
                  </a:lnTo>
                  <a:lnTo>
                    <a:pt x="1589" y="455"/>
                  </a:lnTo>
                  <a:lnTo>
                    <a:pt x="1589" y="453"/>
                  </a:lnTo>
                  <a:lnTo>
                    <a:pt x="1581" y="452"/>
                  </a:lnTo>
                  <a:lnTo>
                    <a:pt x="1578" y="450"/>
                  </a:lnTo>
                  <a:lnTo>
                    <a:pt x="1575" y="452"/>
                  </a:lnTo>
                  <a:lnTo>
                    <a:pt x="1575" y="455"/>
                  </a:lnTo>
                  <a:lnTo>
                    <a:pt x="1573" y="457"/>
                  </a:lnTo>
                  <a:lnTo>
                    <a:pt x="1572" y="456"/>
                  </a:lnTo>
                  <a:lnTo>
                    <a:pt x="1572" y="450"/>
                  </a:lnTo>
                  <a:lnTo>
                    <a:pt x="1572" y="447"/>
                  </a:lnTo>
                  <a:lnTo>
                    <a:pt x="1568" y="447"/>
                  </a:lnTo>
                  <a:lnTo>
                    <a:pt x="1562" y="447"/>
                  </a:lnTo>
                  <a:lnTo>
                    <a:pt x="1557" y="456"/>
                  </a:lnTo>
                  <a:lnTo>
                    <a:pt x="1554" y="456"/>
                  </a:lnTo>
                  <a:lnTo>
                    <a:pt x="1553" y="457"/>
                  </a:lnTo>
                  <a:lnTo>
                    <a:pt x="1548" y="467"/>
                  </a:lnTo>
                  <a:lnTo>
                    <a:pt x="1544" y="462"/>
                  </a:lnTo>
                  <a:lnTo>
                    <a:pt x="1541" y="462"/>
                  </a:lnTo>
                  <a:lnTo>
                    <a:pt x="1542" y="465"/>
                  </a:lnTo>
                  <a:lnTo>
                    <a:pt x="1545" y="471"/>
                  </a:lnTo>
                  <a:lnTo>
                    <a:pt x="1544" y="473"/>
                  </a:lnTo>
                  <a:lnTo>
                    <a:pt x="1539" y="474"/>
                  </a:lnTo>
                  <a:lnTo>
                    <a:pt x="1538" y="476"/>
                  </a:lnTo>
                  <a:lnTo>
                    <a:pt x="1539" y="477"/>
                  </a:lnTo>
                  <a:lnTo>
                    <a:pt x="1543" y="478"/>
                  </a:lnTo>
                  <a:lnTo>
                    <a:pt x="1544" y="479"/>
                  </a:lnTo>
                  <a:lnTo>
                    <a:pt x="1543" y="485"/>
                  </a:lnTo>
                  <a:lnTo>
                    <a:pt x="1540" y="489"/>
                  </a:lnTo>
                  <a:lnTo>
                    <a:pt x="1540" y="491"/>
                  </a:lnTo>
                  <a:lnTo>
                    <a:pt x="1542" y="492"/>
                  </a:lnTo>
                  <a:lnTo>
                    <a:pt x="1543" y="491"/>
                  </a:lnTo>
                  <a:lnTo>
                    <a:pt x="1554" y="472"/>
                  </a:lnTo>
                  <a:lnTo>
                    <a:pt x="1557" y="469"/>
                  </a:lnTo>
                  <a:lnTo>
                    <a:pt x="1560" y="469"/>
                  </a:lnTo>
                  <a:lnTo>
                    <a:pt x="1570" y="475"/>
                  </a:lnTo>
                  <a:lnTo>
                    <a:pt x="1572" y="485"/>
                  </a:lnTo>
                  <a:lnTo>
                    <a:pt x="1573" y="487"/>
                  </a:lnTo>
                  <a:lnTo>
                    <a:pt x="1574" y="486"/>
                  </a:lnTo>
                  <a:lnTo>
                    <a:pt x="1577" y="481"/>
                  </a:lnTo>
                  <a:lnTo>
                    <a:pt x="1578" y="480"/>
                  </a:lnTo>
                  <a:lnTo>
                    <a:pt x="1581" y="480"/>
                  </a:lnTo>
                  <a:lnTo>
                    <a:pt x="1589" y="487"/>
                  </a:lnTo>
                  <a:lnTo>
                    <a:pt x="1591" y="486"/>
                  </a:lnTo>
                  <a:lnTo>
                    <a:pt x="1590" y="481"/>
                  </a:lnTo>
                  <a:lnTo>
                    <a:pt x="1594" y="483"/>
                  </a:lnTo>
                  <a:lnTo>
                    <a:pt x="1595" y="487"/>
                  </a:lnTo>
                  <a:lnTo>
                    <a:pt x="1590" y="495"/>
                  </a:lnTo>
                  <a:lnTo>
                    <a:pt x="1589" y="499"/>
                  </a:lnTo>
                  <a:lnTo>
                    <a:pt x="1590" y="504"/>
                  </a:lnTo>
                  <a:lnTo>
                    <a:pt x="1594" y="508"/>
                  </a:lnTo>
                  <a:lnTo>
                    <a:pt x="1595" y="510"/>
                  </a:lnTo>
                  <a:lnTo>
                    <a:pt x="1590" y="520"/>
                  </a:lnTo>
                  <a:lnTo>
                    <a:pt x="1586" y="517"/>
                  </a:lnTo>
                  <a:lnTo>
                    <a:pt x="1585" y="512"/>
                  </a:lnTo>
                  <a:lnTo>
                    <a:pt x="1582" y="513"/>
                  </a:lnTo>
                  <a:lnTo>
                    <a:pt x="1578" y="517"/>
                  </a:lnTo>
                  <a:lnTo>
                    <a:pt x="1578" y="521"/>
                  </a:lnTo>
                  <a:lnTo>
                    <a:pt x="1583" y="527"/>
                  </a:lnTo>
                  <a:lnTo>
                    <a:pt x="1582" y="531"/>
                  </a:lnTo>
                  <a:lnTo>
                    <a:pt x="1578" y="539"/>
                  </a:lnTo>
                  <a:lnTo>
                    <a:pt x="1580" y="543"/>
                  </a:lnTo>
                  <a:lnTo>
                    <a:pt x="1576" y="547"/>
                  </a:lnTo>
                  <a:lnTo>
                    <a:pt x="1573" y="546"/>
                  </a:lnTo>
                  <a:lnTo>
                    <a:pt x="1570" y="543"/>
                  </a:lnTo>
                  <a:lnTo>
                    <a:pt x="1568" y="538"/>
                  </a:lnTo>
                  <a:lnTo>
                    <a:pt x="1571" y="531"/>
                  </a:lnTo>
                  <a:lnTo>
                    <a:pt x="1564" y="526"/>
                  </a:lnTo>
                  <a:lnTo>
                    <a:pt x="1564" y="518"/>
                  </a:lnTo>
                  <a:lnTo>
                    <a:pt x="1561" y="514"/>
                  </a:lnTo>
                  <a:lnTo>
                    <a:pt x="1558" y="514"/>
                  </a:lnTo>
                  <a:lnTo>
                    <a:pt x="1553" y="516"/>
                  </a:lnTo>
                  <a:lnTo>
                    <a:pt x="1540" y="520"/>
                  </a:lnTo>
                  <a:lnTo>
                    <a:pt x="1538" y="521"/>
                  </a:lnTo>
                  <a:lnTo>
                    <a:pt x="1537" y="526"/>
                  </a:lnTo>
                  <a:lnTo>
                    <a:pt x="1536" y="527"/>
                  </a:lnTo>
                  <a:lnTo>
                    <a:pt x="1529" y="525"/>
                  </a:lnTo>
                  <a:lnTo>
                    <a:pt x="1528" y="525"/>
                  </a:lnTo>
                  <a:lnTo>
                    <a:pt x="1529" y="533"/>
                  </a:lnTo>
                  <a:lnTo>
                    <a:pt x="1533" y="535"/>
                  </a:lnTo>
                  <a:lnTo>
                    <a:pt x="1531" y="536"/>
                  </a:lnTo>
                  <a:lnTo>
                    <a:pt x="1528" y="543"/>
                  </a:lnTo>
                  <a:lnTo>
                    <a:pt x="1527" y="551"/>
                  </a:lnTo>
                  <a:lnTo>
                    <a:pt x="1528" y="552"/>
                  </a:lnTo>
                  <a:lnTo>
                    <a:pt x="1536" y="556"/>
                  </a:lnTo>
                  <a:lnTo>
                    <a:pt x="1539" y="564"/>
                  </a:lnTo>
                  <a:lnTo>
                    <a:pt x="1538" y="565"/>
                  </a:lnTo>
                  <a:lnTo>
                    <a:pt x="1533" y="564"/>
                  </a:lnTo>
                  <a:lnTo>
                    <a:pt x="1527" y="565"/>
                  </a:lnTo>
                  <a:lnTo>
                    <a:pt x="1521" y="562"/>
                  </a:lnTo>
                  <a:lnTo>
                    <a:pt x="1518" y="565"/>
                  </a:lnTo>
                  <a:lnTo>
                    <a:pt x="1517" y="569"/>
                  </a:lnTo>
                  <a:lnTo>
                    <a:pt x="1518" y="571"/>
                  </a:lnTo>
                  <a:lnTo>
                    <a:pt x="1520" y="572"/>
                  </a:lnTo>
                  <a:lnTo>
                    <a:pt x="1522" y="575"/>
                  </a:lnTo>
                  <a:lnTo>
                    <a:pt x="1521" y="577"/>
                  </a:lnTo>
                  <a:lnTo>
                    <a:pt x="1519" y="581"/>
                  </a:lnTo>
                  <a:lnTo>
                    <a:pt x="1520" y="584"/>
                  </a:lnTo>
                  <a:lnTo>
                    <a:pt x="1523" y="587"/>
                  </a:lnTo>
                  <a:lnTo>
                    <a:pt x="1525" y="583"/>
                  </a:lnTo>
                  <a:lnTo>
                    <a:pt x="1527" y="584"/>
                  </a:lnTo>
                  <a:lnTo>
                    <a:pt x="1527" y="588"/>
                  </a:lnTo>
                  <a:lnTo>
                    <a:pt x="1529" y="593"/>
                  </a:lnTo>
                  <a:lnTo>
                    <a:pt x="1526" y="596"/>
                  </a:lnTo>
                  <a:lnTo>
                    <a:pt x="1526" y="598"/>
                  </a:lnTo>
                  <a:lnTo>
                    <a:pt x="1530" y="603"/>
                  </a:lnTo>
                  <a:lnTo>
                    <a:pt x="1534" y="616"/>
                  </a:lnTo>
                  <a:lnTo>
                    <a:pt x="1538" y="624"/>
                  </a:lnTo>
                  <a:lnTo>
                    <a:pt x="1541" y="630"/>
                  </a:lnTo>
                  <a:lnTo>
                    <a:pt x="1541" y="632"/>
                  </a:lnTo>
                  <a:lnTo>
                    <a:pt x="1537" y="634"/>
                  </a:lnTo>
                  <a:lnTo>
                    <a:pt x="1530" y="633"/>
                  </a:lnTo>
                  <a:lnTo>
                    <a:pt x="1524" y="638"/>
                  </a:lnTo>
                  <a:lnTo>
                    <a:pt x="1513" y="638"/>
                  </a:lnTo>
                  <a:lnTo>
                    <a:pt x="1512" y="639"/>
                  </a:lnTo>
                  <a:lnTo>
                    <a:pt x="1515" y="643"/>
                  </a:lnTo>
                  <a:lnTo>
                    <a:pt x="1511" y="646"/>
                  </a:lnTo>
                  <a:lnTo>
                    <a:pt x="1507" y="644"/>
                  </a:lnTo>
                  <a:lnTo>
                    <a:pt x="1508" y="640"/>
                  </a:lnTo>
                  <a:lnTo>
                    <a:pt x="1507" y="638"/>
                  </a:lnTo>
                  <a:lnTo>
                    <a:pt x="1505" y="639"/>
                  </a:lnTo>
                  <a:lnTo>
                    <a:pt x="1503" y="642"/>
                  </a:lnTo>
                  <a:lnTo>
                    <a:pt x="1498" y="642"/>
                  </a:lnTo>
                  <a:lnTo>
                    <a:pt x="1497" y="643"/>
                  </a:lnTo>
                  <a:lnTo>
                    <a:pt x="1499" y="648"/>
                  </a:lnTo>
                  <a:lnTo>
                    <a:pt x="1498" y="650"/>
                  </a:lnTo>
                  <a:lnTo>
                    <a:pt x="1481" y="653"/>
                  </a:lnTo>
                  <a:lnTo>
                    <a:pt x="1476" y="656"/>
                  </a:lnTo>
                  <a:lnTo>
                    <a:pt x="1470" y="664"/>
                  </a:lnTo>
                  <a:lnTo>
                    <a:pt x="1465" y="666"/>
                  </a:lnTo>
                  <a:lnTo>
                    <a:pt x="1455" y="667"/>
                  </a:lnTo>
                  <a:lnTo>
                    <a:pt x="1453" y="669"/>
                  </a:lnTo>
                  <a:lnTo>
                    <a:pt x="1453" y="670"/>
                  </a:lnTo>
                  <a:lnTo>
                    <a:pt x="1452" y="672"/>
                  </a:lnTo>
                  <a:lnTo>
                    <a:pt x="1447" y="671"/>
                  </a:lnTo>
                  <a:lnTo>
                    <a:pt x="1443" y="669"/>
                  </a:lnTo>
                  <a:lnTo>
                    <a:pt x="1435" y="671"/>
                  </a:lnTo>
                  <a:lnTo>
                    <a:pt x="1432" y="671"/>
                  </a:lnTo>
                  <a:lnTo>
                    <a:pt x="1432" y="671"/>
                  </a:lnTo>
                  <a:lnTo>
                    <a:pt x="1433" y="667"/>
                  </a:lnTo>
                  <a:lnTo>
                    <a:pt x="1436" y="660"/>
                  </a:lnTo>
                  <a:lnTo>
                    <a:pt x="1440" y="656"/>
                  </a:lnTo>
                  <a:lnTo>
                    <a:pt x="1445" y="653"/>
                  </a:lnTo>
                  <a:lnTo>
                    <a:pt x="1440" y="650"/>
                  </a:lnTo>
                  <a:lnTo>
                    <a:pt x="1441" y="650"/>
                  </a:lnTo>
                  <a:lnTo>
                    <a:pt x="1441" y="644"/>
                  </a:lnTo>
                  <a:lnTo>
                    <a:pt x="1450" y="632"/>
                  </a:lnTo>
                  <a:lnTo>
                    <a:pt x="1451" y="628"/>
                  </a:lnTo>
                  <a:lnTo>
                    <a:pt x="1448" y="624"/>
                  </a:lnTo>
                  <a:lnTo>
                    <a:pt x="1448" y="615"/>
                  </a:lnTo>
                  <a:lnTo>
                    <a:pt x="1446" y="614"/>
                  </a:lnTo>
                  <a:lnTo>
                    <a:pt x="1439" y="612"/>
                  </a:lnTo>
                  <a:lnTo>
                    <a:pt x="1438" y="610"/>
                  </a:lnTo>
                  <a:lnTo>
                    <a:pt x="1437" y="603"/>
                  </a:lnTo>
                  <a:lnTo>
                    <a:pt x="1441" y="602"/>
                  </a:lnTo>
                  <a:lnTo>
                    <a:pt x="1440" y="599"/>
                  </a:lnTo>
                  <a:lnTo>
                    <a:pt x="1436" y="601"/>
                  </a:lnTo>
                  <a:lnTo>
                    <a:pt x="1434" y="601"/>
                  </a:lnTo>
                  <a:lnTo>
                    <a:pt x="1434" y="597"/>
                  </a:lnTo>
                  <a:lnTo>
                    <a:pt x="1435" y="593"/>
                  </a:lnTo>
                  <a:lnTo>
                    <a:pt x="1427" y="596"/>
                  </a:lnTo>
                  <a:lnTo>
                    <a:pt x="1425" y="598"/>
                  </a:lnTo>
                  <a:lnTo>
                    <a:pt x="1426" y="602"/>
                  </a:lnTo>
                  <a:lnTo>
                    <a:pt x="1428" y="607"/>
                  </a:lnTo>
                  <a:lnTo>
                    <a:pt x="1425" y="613"/>
                  </a:lnTo>
                  <a:lnTo>
                    <a:pt x="1423" y="621"/>
                  </a:lnTo>
                  <a:lnTo>
                    <a:pt x="1429" y="620"/>
                  </a:lnTo>
                  <a:lnTo>
                    <a:pt x="1431" y="620"/>
                  </a:lnTo>
                  <a:lnTo>
                    <a:pt x="1433" y="623"/>
                  </a:lnTo>
                  <a:lnTo>
                    <a:pt x="1431" y="625"/>
                  </a:lnTo>
                  <a:lnTo>
                    <a:pt x="1422" y="628"/>
                  </a:lnTo>
                  <a:lnTo>
                    <a:pt x="1420" y="625"/>
                  </a:lnTo>
                  <a:lnTo>
                    <a:pt x="1420" y="622"/>
                  </a:lnTo>
                  <a:lnTo>
                    <a:pt x="1418" y="621"/>
                  </a:lnTo>
                  <a:lnTo>
                    <a:pt x="1413" y="622"/>
                  </a:lnTo>
                  <a:lnTo>
                    <a:pt x="1410" y="625"/>
                  </a:lnTo>
                  <a:lnTo>
                    <a:pt x="1411" y="617"/>
                  </a:lnTo>
                  <a:lnTo>
                    <a:pt x="1409" y="612"/>
                  </a:lnTo>
                  <a:lnTo>
                    <a:pt x="1405" y="614"/>
                  </a:lnTo>
                  <a:lnTo>
                    <a:pt x="1400" y="615"/>
                  </a:lnTo>
                  <a:lnTo>
                    <a:pt x="1396" y="618"/>
                  </a:lnTo>
                  <a:lnTo>
                    <a:pt x="1395" y="620"/>
                  </a:lnTo>
                  <a:lnTo>
                    <a:pt x="1392" y="630"/>
                  </a:lnTo>
                  <a:lnTo>
                    <a:pt x="1390" y="632"/>
                  </a:lnTo>
                  <a:lnTo>
                    <a:pt x="1387" y="630"/>
                  </a:lnTo>
                  <a:lnTo>
                    <a:pt x="1384" y="626"/>
                  </a:lnTo>
                  <a:lnTo>
                    <a:pt x="1382" y="615"/>
                  </a:lnTo>
                  <a:lnTo>
                    <a:pt x="1379" y="614"/>
                  </a:lnTo>
                  <a:lnTo>
                    <a:pt x="1376" y="615"/>
                  </a:lnTo>
                  <a:lnTo>
                    <a:pt x="1375" y="617"/>
                  </a:lnTo>
                  <a:lnTo>
                    <a:pt x="1379" y="622"/>
                  </a:lnTo>
                  <a:lnTo>
                    <a:pt x="1382" y="630"/>
                  </a:lnTo>
                  <a:lnTo>
                    <a:pt x="1379" y="639"/>
                  </a:lnTo>
                  <a:lnTo>
                    <a:pt x="1378" y="646"/>
                  </a:lnTo>
                  <a:lnTo>
                    <a:pt x="1375" y="648"/>
                  </a:lnTo>
                  <a:lnTo>
                    <a:pt x="1374" y="650"/>
                  </a:lnTo>
                  <a:lnTo>
                    <a:pt x="1380" y="653"/>
                  </a:lnTo>
                  <a:lnTo>
                    <a:pt x="1381" y="657"/>
                  </a:lnTo>
                  <a:lnTo>
                    <a:pt x="1382" y="658"/>
                  </a:lnTo>
                  <a:lnTo>
                    <a:pt x="1391" y="660"/>
                  </a:lnTo>
                  <a:lnTo>
                    <a:pt x="1400" y="667"/>
                  </a:lnTo>
                  <a:lnTo>
                    <a:pt x="1405" y="669"/>
                  </a:lnTo>
                  <a:lnTo>
                    <a:pt x="1407" y="671"/>
                  </a:lnTo>
                  <a:lnTo>
                    <a:pt x="1405" y="679"/>
                  </a:lnTo>
                  <a:lnTo>
                    <a:pt x="1405" y="679"/>
                  </a:lnTo>
                  <a:lnTo>
                    <a:pt x="1402" y="684"/>
                  </a:lnTo>
                  <a:lnTo>
                    <a:pt x="1404" y="690"/>
                  </a:lnTo>
                  <a:lnTo>
                    <a:pt x="1405" y="700"/>
                  </a:lnTo>
                  <a:lnTo>
                    <a:pt x="1408" y="700"/>
                  </a:lnTo>
                  <a:lnTo>
                    <a:pt x="1411" y="693"/>
                  </a:lnTo>
                  <a:lnTo>
                    <a:pt x="1416" y="692"/>
                  </a:lnTo>
                  <a:lnTo>
                    <a:pt x="1421" y="687"/>
                  </a:lnTo>
                  <a:lnTo>
                    <a:pt x="1420" y="700"/>
                  </a:lnTo>
                  <a:lnTo>
                    <a:pt x="1421" y="701"/>
                  </a:lnTo>
                  <a:lnTo>
                    <a:pt x="1423" y="701"/>
                  </a:lnTo>
                  <a:lnTo>
                    <a:pt x="1433" y="691"/>
                  </a:lnTo>
                  <a:lnTo>
                    <a:pt x="1433" y="690"/>
                  </a:lnTo>
                  <a:lnTo>
                    <a:pt x="1432" y="689"/>
                  </a:lnTo>
                  <a:lnTo>
                    <a:pt x="1431" y="687"/>
                  </a:lnTo>
                  <a:lnTo>
                    <a:pt x="1432" y="685"/>
                  </a:lnTo>
                  <a:lnTo>
                    <a:pt x="1434" y="684"/>
                  </a:lnTo>
                  <a:lnTo>
                    <a:pt x="1438" y="685"/>
                  </a:lnTo>
                  <a:lnTo>
                    <a:pt x="1440" y="687"/>
                  </a:lnTo>
                  <a:lnTo>
                    <a:pt x="1437" y="692"/>
                  </a:lnTo>
                  <a:lnTo>
                    <a:pt x="1437" y="697"/>
                  </a:lnTo>
                  <a:lnTo>
                    <a:pt x="1428" y="700"/>
                  </a:lnTo>
                  <a:lnTo>
                    <a:pt x="1425" y="703"/>
                  </a:lnTo>
                  <a:lnTo>
                    <a:pt x="1414" y="716"/>
                  </a:lnTo>
                  <a:lnTo>
                    <a:pt x="1412" y="724"/>
                  </a:lnTo>
                  <a:lnTo>
                    <a:pt x="1408" y="727"/>
                  </a:lnTo>
                  <a:lnTo>
                    <a:pt x="1405" y="727"/>
                  </a:lnTo>
                  <a:lnTo>
                    <a:pt x="1405" y="724"/>
                  </a:lnTo>
                  <a:lnTo>
                    <a:pt x="1417" y="709"/>
                  </a:lnTo>
                  <a:lnTo>
                    <a:pt x="1414" y="706"/>
                  </a:lnTo>
                  <a:lnTo>
                    <a:pt x="1408" y="706"/>
                  </a:lnTo>
                  <a:lnTo>
                    <a:pt x="1405" y="712"/>
                  </a:lnTo>
                  <a:lnTo>
                    <a:pt x="1400" y="714"/>
                  </a:lnTo>
                  <a:lnTo>
                    <a:pt x="1390" y="724"/>
                  </a:lnTo>
                  <a:lnTo>
                    <a:pt x="1384" y="731"/>
                  </a:lnTo>
                  <a:lnTo>
                    <a:pt x="1380" y="731"/>
                  </a:lnTo>
                  <a:lnTo>
                    <a:pt x="1378" y="732"/>
                  </a:lnTo>
                  <a:lnTo>
                    <a:pt x="1374" y="740"/>
                  </a:lnTo>
                  <a:lnTo>
                    <a:pt x="1368" y="743"/>
                  </a:lnTo>
                  <a:lnTo>
                    <a:pt x="1369" y="744"/>
                  </a:lnTo>
                  <a:lnTo>
                    <a:pt x="1374" y="746"/>
                  </a:lnTo>
                  <a:lnTo>
                    <a:pt x="1372" y="757"/>
                  </a:lnTo>
                  <a:lnTo>
                    <a:pt x="1376" y="770"/>
                  </a:lnTo>
                  <a:lnTo>
                    <a:pt x="1371" y="790"/>
                  </a:lnTo>
                  <a:lnTo>
                    <a:pt x="1368" y="790"/>
                  </a:lnTo>
                  <a:lnTo>
                    <a:pt x="1364" y="788"/>
                  </a:lnTo>
                  <a:lnTo>
                    <a:pt x="1356" y="780"/>
                  </a:lnTo>
                  <a:lnTo>
                    <a:pt x="1349" y="777"/>
                  </a:lnTo>
                  <a:lnTo>
                    <a:pt x="1346" y="777"/>
                  </a:lnTo>
                  <a:lnTo>
                    <a:pt x="1343" y="781"/>
                  </a:lnTo>
                  <a:lnTo>
                    <a:pt x="1343" y="785"/>
                  </a:lnTo>
                  <a:lnTo>
                    <a:pt x="1345" y="790"/>
                  </a:lnTo>
                  <a:lnTo>
                    <a:pt x="1347" y="790"/>
                  </a:lnTo>
                  <a:lnTo>
                    <a:pt x="1353" y="790"/>
                  </a:lnTo>
                  <a:lnTo>
                    <a:pt x="1354" y="791"/>
                  </a:lnTo>
                  <a:lnTo>
                    <a:pt x="1353" y="793"/>
                  </a:lnTo>
                  <a:lnTo>
                    <a:pt x="1347" y="798"/>
                  </a:lnTo>
                  <a:lnTo>
                    <a:pt x="1343" y="805"/>
                  </a:lnTo>
                  <a:lnTo>
                    <a:pt x="1345" y="813"/>
                  </a:lnTo>
                  <a:lnTo>
                    <a:pt x="1349" y="817"/>
                  </a:lnTo>
                  <a:lnTo>
                    <a:pt x="1348" y="820"/>
                  </a:lnTo>
                  <a:lnTo>
                    <a:pt x="1343" y="820"/>
                  </a:lnTo>
                  <a:lnTo>
                    <a:pt x="1336" y="830"/>
                  </a:lnTo>
                  <a:lnTo>
                    <a:pt x="1333" y="830"/>
                  </a:lnTo>
                  <a:lnTo>
                    <a:pt x="1332" y="827"/>
                  </a:lnTo>
                  <a:lnTo>
                    <a:pt x="1336" y="820"/>
                  </a:lnTo>
                  <a:lnTo>
                    <a:pt x="1333" y="820"/>
                  </a:lnTo>
                  <a:lnTo>
                    <a:pt x="1325" y="828"/>
                  </a:lnTo>
                  <a:lnTo>
                    <a:pt x="1325" y="822"/>
                  </a:lnTo>
                  <a:lnTo>
                    <a:pt x="1330" y="815"/>
                  </a:lnTo>
                  <a:lnTo>
                    <a:pt x="1327" y="812"/>
                  </a:lnTo>
                  <a:lnTo>
                    <a:pt x="1323" y="811"/>
                  </a:lnTo>
                  <a:lnTo>
                    <a:pt x="1321" y="813"/>
                  </a:lnTo>
                  <a:lnTo>
                    <a:pt x="1321" y="819"/>
                  </a:lnTo>
                  <a:lnTo>
                    <a:pt x="1315" y="827"/>
                  </a:lnTo>
                  <a:lnTo>
                    <a:pt x="1312" y="836"/>
                  </a:lnTo>
                  <a:lnTo>
                    <a:pt x="1308" y="842"/>
                  </a:lnTo>
                  <a:lnTo>
                    <a:pt x="1307" y="839"/>
                  </a:lnTo>
                  <a:lnTo>
                    <a:pt x="1308" y="833"/>
                  </a:lnTo>
                  <a:lnTo>
                    <a:pt x="1302" y="823"/>
                  </a:lnTo>
                  <a:lnTo>
                    <a:pt x="1303" y="817"/>
                  </a:lnTo>
                  <a:lnTo>
                    <a:pt x="1300" y="816"/>
                  </a:lnTo>
                  <a:lnTo>
                    <a:pt x="1299" y="817"/>
                  </a:lnTo>
                  <a:lnTo>
                    <a:pt x="1300" y="823"/>
                  </a:lnTo>
                  <a:lnTo>
                    <a:pt x="1299" y="826"/>
                  </a:lnTo>
                  <a:lnTo>
                    <a:pt x="1286" y="839"/>
                  </a:lnTo>
                  <a:lnTo>
                    <a:pt x="1284" y="839"/>
                  </a:lnTo>
                  <a:lnTo>
                    <a:pt x="1282" y="837"/>
                  </a:lnTo>
                  <a:lnTo>
                    <a:pt x="1275" y="835"/>
                  </a:lnTo>
                  <a:lnTo>
                    <a:pt x="1273" y="836"/>
                  </a:lnTo>
                  <a:lnTo>
                    <a:pt x="1273" y="839"/>
                  </a:lnTo>
                  <a:lnTo>
                    <a:pt x="1277" y="846"/>
                  </a:lnTo>
                  <a:lnTo>
                    <a:pt x="1277" y="848"/>
                  </a:lnTo>
                  <a:lnTo>
                    <a:pt x="1273" y="851"/>
                  </a:lnTo>
                  <a:lnTo>
                    <a:pt x="1273" y="853"/>
                  </a:lnTo>
                  <a:lnTo>
                    <a:pt x="1275" y="854"/>
                  </a:lnTo>
                  <a:lnTo>
                    <a:pt x="1275" y="856"/>
                  </a:lnTo>
                  <a:lnTo>
                    <a:pt x="1274" y="869"/>
                  </a:lnTo>
                  <a:lnTo>
                    <a:pt x="1271" y="875"/>
                  </a:lnTo>
                  <a:lnTo>
                    <a:pt x="1271" y="883"/>
                  </a:lnTo>
                  <a:lnTo>
                    <a:pt x="1269" y="887"/>
                  </a:lnTo>
                  <a:lnTo>
                    <a:pt x="1265" y="890"/>
                  </a:lnTo>
                  <a:lnTo>
                    <a:pt x="1264" y="895"/>
                  </a:lnTo>
                  <a:lnTo>
                    <a:pt x="1259" y="898"/>
                  </a:lnTo>
                  <a:lnTo>
                    <a:pt x="1258" y="900"/>
                  </a:lnTo>
                  <a:lnTo>
                    <a:pt x="1259" y="907"/>
                  </a:lnTo>
                  <a:lnTo>
                    <a:pt x="1263" y="912"/>
                  </a:lnTo>
                  <a:lnTo>
                    <a:pt x="1263" y="913"/>
                  </a:lnTo>
                  <a:lnTo>
                    <a:pt x="1261" y="914"/>
                  </a:lnTo>
                  <a:lnTo>
                    <a:pt x="1256" y="916"/>
                  </a:lnTo>
                  <a:lnTo>
                    <a:pt x="1253" y="921"/>
                  </a:lnTo>
                  <a:lnTo>
                    <a:pt x="1252" y="929"/>
                  </a:lnTo>
                  <a:lnTo>
                    <a:pt x="1242" y="934"/>
                  </a:lnTo>
                  <a:lnTo>
                    <a:pt x="1235" y="943"/>
                  </a:lnTo>
                  <a:lnTo>
                    <a:pt x="1234" y="943"/>
                  </a:lnTo>
                  <a:lnTo>
                    <a:pt x="1234" y="938"/>
                  </a:lnTo>
                  <a:lnTo>
                    <a:pt x="1232" y="937"/>
                  </a:lnTo>
                  <a:lnTo>
                    <a:pt x="1231" y="943"/>
                  </a:lnTo>
                  <a:lnTo>
                    <a:pt x="1225" y="945"/>
                  </a:lnTo>
                  <a:lnTo>
                    <a:pt x="1224" y="946"/>
                  </a:lnTo>
                  <a:lnTo>
                    <a:pt x="1225" y="947"/>
                  </a:lnTo>
                  <a:lnTo>
                    <a:pt x="1232" y="947"/>
                  </a:lnTo>
                  <a:lnTo>
                    <a:pt x="1227" y="956"/>
                  </a:lnTo>
                  <a:lnTo>
                    <a:pt x="1223" y="960"/>
                  </a:lnTo>
                  <a:lnTo>
                    <a:pt x="1224" y="965"/>
                  </a:lnTo>
                  <a:lnTo>
                    <a:pt x="1222" y="974"/>
                  </a:lnTo>
                  <a:lnTo>
                    <a:pt x="1222" y="996"/>
                  </a:lnTo>
                  <a:lnTo>
                    <a:pt x="1220" y="1013"/>
                  </a:lnTo>
                  <a:lnTo>
                    <a:pt x="1218" y="1016"/>
                  </a:lnTo>
                  <a:lnTo>
                    <a:pt x="1216" y="1018"/>
                  </a:lnTo>
                  <a:lnTo>
                    <a:pt x="1207" y="1020"/>
                  </a:lnTo>
                  <a:lnTo>
                    <a:pt x="1202" y="1023"/>
                  </a:lnTo>
                  <a:lnTo>
                    <a:pt x="1200" y="1021"/>
                  </a:lnTo>
                  <a:lnTo>
                    <a:pt x="1200" y="1021"/>
                  </a:lnTo>
                  <a:lnTo>
                    <a:pt x="1200" y="1021"/>
                  </a:lnTo>
                  <a:lnTo>
                    <a:pt x="1200" y="102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19" name="河南">
              <a:extLst>
                <a:ext uri="{FF2B5EF4-FFF2-40B4-BE49-F238E27FC236}">
                  <a16:creationId xmlns:a16="http://schemas.microsoft.com/office/drawing/2014/main" id="{BEDF2C10-9E53-8E59-1436-E5E65E65EDFD}"/>
                </a:ext>
              </a:extLst>
            </p:cNvPr>
            <p:cNvSpPr>
              <a:spLocks/>
            </p:cNvSpPr>
            <p:nvPr/>
          </p:nvSpPr>
          <p:spPr bwMode="auto">
            <a:xfrm>
              <a:off x="6416676" y="3389314"/>
              <a:ext cx="904875" cy="881063"/>
            </a:xfrm>
            <a:custGeom>
              <a:avLst/>
              <a:gdLst>
                <a:gd name="T0" fmla="*/ 1329 w 1712"/>
                <a:gd name="T1" fmla="*/ 177 h 1666"/>
                <a:gd name="T2" fmla="*/ 1494 w 1712"/>
                <a:gd name="T3" fmla="*/ 75 h 1666"/>
                <a:gd name="T4" fmla="*/ 1464 w 1712"/>
                <a:gd name="T5" fmla="*/ 142 h 1666"/>
                <a:gd name="T6" fmla="*/ 1367 w 1712"/>
                <a:gd name="T7" fmla="*/ 203 h 1666"/>
                <a:gd name="T8" fmla="*/ 1283 w 1712"/>
                <a:gd name="T9" fmla="*/ 303 h 1666"/>
                <a:gd name="T10" fmla="*/ 1196 w 1712"/>
                <a:gd name="T11" fmla="*/ 435 h 1666"/>
                <a:gd name="T12" fmla="*/ 1227 w 1712"/>
                <a:gd name="T13" fmla="*/ 450 h 1666"/>
                <a:gd name="T14" fmla="*/ 1297 w 1712"/>
                <a:gd name="T15" fmla="*/ 467 h 1666"/>
                <a:gd name="T16" fmla="*/ 1367 w 1712"/>
                <a:gd name="T17" fmla="*/ 535 h 1666"/>
                <a:gd name="T18" fmla="*/ 1519 w 1712"/>
                <a:gd name="T19" fmla="*/ 566 h 1666"/>
                <a:gd name="T20" fmla="*/ 1606 w 1712"/>
                <a:gd name="T21" fmla="*/ 645 h 1666"/>
                <a:gd name="T22" fmla="*/ 1679 w 1712"/>
                <a:gd name="T23" fmla="*/ 688 h 1666"/>
                <a:gd name="T24" fmla="*/ 1705 w 1712"/>
                <a:gd name="T25" fmla="*/ 788 h 1666"/>
                <a:gd name="T26" fmla="*/ 1595 w 1712"/>
                <a:gd name="T27" fmla="*/ 858 h 1666"/>
                <a:gd name="T28" fmla="*/ 1502 w 1712"/>
                <a:gd name="T29" fmla="*/ 765 h 1666"/>
                <a:gd name="T30" fmla="*/ 1428 w 1712"/>
                <a:gd name="T31" fmla="*/ 765 h 1666"/>
                <a:gd name="T32" fmla="*/ 1422 w 1712"/>
                <a:gd name="T33" fmla="*/ 833 h 1666"/>
                <a:gd name="T34" fmla="*/ 1363 w 1712"/>
                <a:gd name="T35" fmla="*/ 942 h 1666"/>
                <a:gd name="T36" fmla="*/ 1281 w 1712"/>
                <a:gd name="T37" fmla="*/ 1093 h 1666"/>
                <a:gd name="T38" fmla="*/ 1250 w 1712"/>
                <a:gd name="T39" fmla="*/ 1138 h 1666"/>
                <a:gd name="T40" fmla="*/ 1346 w 1712"/>
                <a:gd name="T41" fmla="*/ 1260 h 1666"/>
                <a:gd name="T42" fmla="*/ 1438 w 1712"/>
                <a:gd name="T43" fmla="*/ 1309 h 1666"/>
                <a:gd name="T44" fmla="*/ 1506 w 1712"/>
                <a:gd name="T45" fmla="*/ 1287 h 1666"/>
                <a:gd name="T46" fmla="*/ 1533 w 1712"/>
                <a:gd name="T47" fmla="*/ 1313 h 1666"/>
                <a:gd name="T48" fmla="*/ 1513 w 1712"/>
                <a:gd name="T49" fmla="*/ 1523 h 1666"/>
                <a:gd name="T50" fmla="*/ 1408 w 1712"/>
                <a:gd name="T51" fmla="*/ 1657 h 1666"/>
                <a:gd name="T52" fmla="*/ 1343 w 1712"/>
                <a:gd name="T53" fmla="*/ 1590 h 1666"/>
                <a:gd name="T54" fmla="*/ 1267 w 1712"/>
                <a:gd name="T55" fmla="*/ 1646 h 1666"/>
                <a:gd name="T56" fmla="*/ 1186 w 1712"/>
                <a:gd name="T57" fmla="*/ 1583 h 1666"/>
                <a:gd name="T58" fmla="*/ 1100 w 1712"/>
                <a:gd name="T59" fmla="*/ 1532 h 1666"/>
                <a:gd name="T60" fmla="*/ 1009 w 1712"/>
                <a:gd name="T61" fmla="*/ 1560 h 1666"/>
                <a:gd name="T62" fmla="*/ 957 w 1712"/>
                <a:gd name="T63" fmla="*/ 1456 h 1666"/>
                <a:gd name="T64" fmla="*/ 947 w 1712"/>
                <a:gd name="T65" fmla="*/ 1348 h 1666"/>
                <a:gd name="T66" fmla="*/ 878 w 1712"/>
                <a:gd name="T67" fmla="*/ 1375 h 1666"/>
                <a:gd name="T68" fmla="*/ 738 w 1712"/>
                <a:gd name="T69" fmla="*/ 1356 h 1666"/>
                <a:gd name="T70" fmla="*/ 634 w 1712"/>
                <a:gd name="T71" fmla="*/ 1361 h 1666"/>
                <a:gd name="T72" fmla="*/ 507 w 1712"/>
                <a:gd name="T73" fmla="*/ 1344 h 1666"/>
                <a:gd name="T74" fmla="*/ 434 w 1712"/>
                <a:gd name="T75" fmla="*/ 1322 h 1666"/>
                <a:gd name="T76" fmla="*/ 302 w 1712"/>
                <a:gd name="T77" fmla="*/ 1241 h 1666"/>
                <a:gd name="T78" fmla="*/ 241 w 1712"/>
                <a:gd name="T79" fmla="*/ 1185 h 1666"/>
                <a:gd name="T80" fmla="*/ 205 w 1712"/>
                <a:gd name="T81" fmla="*/ 1107 h 1666"/>
                <a:gd name="T82" fmla="*/ 187 w 1712"/>
                <a:gd name="T83" fmla="*/ 1041 h 1666"/>
                <a:gd name="T84" fmla="*/ 126 w 1712"/>
                <a:gd name="T85" fmla="*/ 914 h 1666"/>
                <a:gd name="T86" fmla="*/ 75 w 1712"/>
                <a:gd name="T87" fmla="*/ 818 h 1666"/>
                <a:gd name="T88" fmla="*/ 19 w 1712"/>
                <a:gd name="T89" fmla="*/ 727 h 1666"/>
                <a:gd name="T90" fmla="*/ 2 w 1712"/>
                <a:gd name="T91" fmla="*/ 651 h 1666"/>
                <a:gd name="T92" fmla="*/ 52 w 1712"/>
                <a:gd name="T93" fmla="*/ 619 h 1666"/>
                <a:gd name="T94" fmla="*/ 163 w 1712"/>
                <a:gd name="T95" fmla="*/ 579 h 1666"/>
                <a:gd name="T96" fmla="*/ 269 w 1712"/>
                <a:gd name="T97" fmla="*/ 541 h 1666"/>
                <a:gd name="T98" fmla="*/ 387 w 1712"/>
                <a:gd name="T99" fmla="*/ 466 h 1666"/>
                <a:gd name="T100" fmla="*/ 451 w 1712"/>
                <a:gd name="T101" fmla="*/ 406 h 1666"/>
                <a:gd name="T102" fmla="*/ 522 w 1712"/>
                <a:gd name="T103" fmla="*/ 393 h 1666"/>
                <a:gd name="T104" fmla="*/ 700 w 1712"/>
                <a:gd name="T105" fmla="*/ 374 h 1666"/>
                <a:gd name="T106" fmla="*/ 755 w 1712"/>
                <a:gd name="T107" fmla="*/ 319 h 1666"/>
                <a:gd name="T108" fmla="*/ 812 w 1712"/>
                <a:gd name="T109" fmla="*/ 293 h 1666"/>
                <a:gd name="T110" fmla="*/ 861 w 1712"/>
                <a:gd name="T111" fmla="*/ 188 h 1666"/>
                <a:gd name="T112" fmla="*/ 885 w 1712"/>
                <a:gd name="T113" fmla="*/ 73 h 1666"/>
                <a:gd name="T114" fmla="*/ 949 w 1712"/>
                <a:gd name="T115" fmla="*/ 5 h 1666"/>
                <a:gd name="T116" fmla="*/ 1003 w 1712"/>
                <a:gd name="T117" fmla="*/ 36 h 1666"/>
                <a:gd name="T118" fmla="*/ 1145 w 1712"/>
                <a:gd name="T119" fmla="*/ 67 h 1666"/>
                <a:gd name="T120" fmla="*/ 1238 w 1712"/>
                <a:gd name="T121" fmla="*/ 62 h 1666"/>
                <a:gd name="T122" fmla="*/ 1312 w 1712"/>
                <a:gd name="T123" fmla="*/ 73 h 1666"/>
                <a:gd name="T124" fmla="*/ 1350 w 1712"/>
                <a:gd name="T125" fmla="*/ 47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2" h="1666">
                  <a:moveTo>
                    <a:pt x="1354" y="51"/>
                  </a:moveTo>
                  <a:lnTo>
                    <a:pt x="1355" y="58"/>
                  </a:lnTo>
                  <a:lnTo>
                    <a:pt x="1349" y="80"/>
                  </a:lnTo>
                  <a:lnTo>
                    <a:pt x="1347" y="96"/>
                  </a:lnTo>
                  <a:lnTo>
                    <a:pt x="1330" y="113"/>
                  </a:lnTo>
                  <a:lnTo>
                    <a:pt x="1327" y="117"/>
                  </a:lnTo>
                  <a:lnTo>
                    <a:pt x="1325" y="123"/>
                  </a:lnTo>
                  <a:lnTo>
                    <a:pt x="1325" y="129"/>
                  </a:lnTo>
                  <a:lnTo>
                    <a:pt x="1326" y="145"/>
                  </a:lnTo>
                  <a:lnTo>
                    <a:pt x="1321" y="164"/>
                  </a:lnTo>
                  <a:lnTo>
                    <a:pt x="1325" y="172"/>
                  </a:lnTo>
                  <a:lnTo>
                    <a:pt x="1329" y="177"/>
                  </a:lnTo>
                  <a:lnTo>
                    <a:pt x="1331" y="176"/>
                  </a:lnTo>
                  <a:lnTo>
                    <a:pt x="1334" y="172"/>
                  </a:lnTo>
                  <a:lnTo>
                    <a:pt x="1349" y="152"/>
                  </a:lnTo>
                  <a:lnTo>
                    <a:pt x="1361" y="144"/>
                  </a:lnTo>
                  <a:lnTo>
                    <a:pt x="1373" y="137"/>
                  </a:lnTo>
                  <a:lnTo>
                    <a:pt x="1400" y="126"/>
                  </a:lnTo>
                  <a:lnTo>
                    <a:pt x="1406" y="121"/>
                  </a:lnTo>
                  <a:lnTo>
                    <a:pt x="1412" y="114"/>
                  </a:lnTo>
                  <a:lnTo>
                    <a:pt x="1419" y="110"/>
                  </a:lnTo>
                  <a:lnTo>
                    <a:pt x="1462" y="96"/>
                  </a:lnTo>
                  <a:lnTo>
                    <a:pt x="1480" y="85"/>
                  </a:lnTo>
                  <a:lnTo>
                    <a:pt x="1494" y="75"/>
                  </a:lnTo>
                  <a:lnTo>
                    <a:pt x="1514" y="64"/>
                  </a:lnTo>
                  <a:lnTo>
                    <a:pt x="1506" y="104"/>
                  </a:lnTo>
                  <a:lnTo>
                    <a:pt x="1504" y="108"/>
                  </a:lnTo>
                  <a:lnTo>
                    <a:pt x="1493" y="104"/>
                  </a:lnTo>
                  <a:lnTo>
                    <a:pt x="1489" y="103"/>
                  </a:lnTo>
                  <a:lnTo>
                    <a:pt x="1479" y="106"/>
                  </a:lnTo>
                  <a:lnTo>
                    <a:pt x="1471" y="111"/>
                  </a:lnTo>
                  <a:lnTo>
                    <a:pt x="1464" y="118"/>
                  </a:lnTo>
                  <a:lnTo>
                    <a:pt x="1461" y="125"/>
                  </a:lnTo>
                  <a:lnTo>
                    <a:pt x="1461" y="132"/>
                  </a:lnTo>
                  <a:lnTo>
                    <a:pt x="1466" y="137"/>
                  </a:lnTo>
                  <a:lnTo>
                    <a:pt x="1464" y="142"/>
                  </a:lnTo>
                  <a:lnTo>
                    <a:pt x="1459" y="144"/>
                  </a:lnTo>
                  <a:lnTo>
                    <a:pt x="1448" y="146"/>
                  </a:lnTo>
                  <a:lnTo>
                    <a:pt x="1441" y="144"/>
                  </a:lnTo>
                  <a:lnTo>
                    <a:pt x="1425" y="151"/>
                  </a:lnTo>
                  <a:lnTo>
                    <a:pt x="1423" y="153"/>
                  </a:lnTo>
                  <a:lnTo>
                    <a:pt x="1421" y="168"/>
                  </a:lnTo>
                  <a:lnTo>
                    <a:pt x="1408" y="187"/>
                  </a:lnTo>
                  <a:lnTo>
                    <a:pt x="1404" y="189"/>
                  </a:lnTo>
                  <a:lnTo>
                    <a:pt x="1394" y="188"/>
                  </a:lnTo>
                  <a:lnTo>
                    <a:pt x="1383" y="191"/>
                  </a:lnTo>
                  <a:lnTo>
                    <a:pt x="1375" y="196"/>
                  </a:lnTo>
                  <a:lnTo>
                    <a:pt x="1367" y="203"/>
                  </a:lnTo>
                  <a:lnTo>
                    <a:pt x="1350" y="227"/>
                  </a:lnTo>
                  <a:lnTo>
                    <a:pt x="1337" y="249"/>
                  </a:lnTo>
                  <a:lnTo>
                    <a:pt x="1333" y="252"/>
                  </a:lnTo>
                  <a:lnTo>
                    <a:pt x="1328" y="252"/>
                  </a:lnTo>
                  <a:lnTo>
                    <a:pt x="1325" y="253"/>
                  </a:lnTo>
                  <a:lnTo>
                    <a:pt x="1325" y="258"/>
                  </a:lnTo>
                  <a:lnTo>
                    <a:pt x="1327" y="273"/>
                  </a:lnTo>
                  <a:lnTo>
                    <a:pt x="1326" y="276"/>
                  </a:lnTo>
                  <a:lnTo>
                    <a:pt x="1324" y="279"/>
                  </a:lnTo>
                  <a:lnTo>
                    <a:pt x="1311" y="289"/>
                  </a:lnTo>
                  <a:lnTo>
                    <a:pt x="1298" y="303"/>
                  </a:lnTo>
                  <a:lnTo>
                    <a:pt x="1283" y="303"/>
                  </a:lnTo>
                  <a:lnTo>
                    <a:pt x="1276" y="305"/>
                  </a:lnTo>
                  <a:lnTo>
                    <a:pt x="1259" y="315"/>
                  </a:lnTo>
                  <a:lnTo>
                    <a:pt x="1252" y="321"/>
                  </a:lnTo>
                  <a:lnTo>
                    <a:pt x="1247" y="328"/>
                  </a:lnTo>
                  <a:lnTo>
                    <a:pt x="1245" y="344"/>
                  </a:lnTo>
                  <a:lnTo>
                    <a:pt x="1241" y="350"/>
                  </a:lnTo>
                  <a:lnTo>
                    <a:pt x="1231" y="365"/>
                  </a:lnTo>
                  <a:lnTo>
                    <a:pt x="1207" y="388"/>
                  </a:lnTo>
                  <a:lnTo>
                    <a:pt x="1204" y="394"/>
                  </a:lnTo>
                  <a:lnTo>
                    <a:pt x="1202" y="401"/>
                  </a:lnTo>
                  <a:lnTo>
                    <a:pt x="1202" y="415"/>
                  </a:lnTo>
                  <a:lnTo>
                    <a:pt x="1196" y="435"/>
                  </a:lnTo>
                  <a:lnTo>
                    <a:pt x="1196" y="442"/>
                  </a:lnTo>
                  <a:lnTo>
                    <a:pt x="1200" y="445"/>
                  </a:lnTo>
                  <a:lnTo>
                    <a:pt x="1205" y="445"/>
                  </a:lnTo>
                  <a:lnTo>
                    <a:pt x="1205" y="434"/>
                  </a:lnTo>
                  <a:lnTo>
                    <a:pt x="1207" y="432"/>
                  </a:lnTo>
                  <a:lnTo>
                    <a:pt x="1210" y="432"/>
                  </a:lnTo>
                  <a:lnTo>
                    <a:pt x="1214" y="434"/>
                  </a:lnTo>
                  <a:lnTo>
                    <a:pt x="1218" y="437"/>
                  </a:lnTo>
                  <a:lnTo>
                    <a:pt x="1220" y="451"/>
                  </a:lnTo>
                  <a:lnTo>
                    <a:pt x="1222" y="454"/>
                  </a:lnTo>
                  <a:lnTo>
                    <a:pt x="1225" y="453"/>
                  </a:lnTo>
                  <a:lnTo>
                    <a:pt x="1227" y="450"/>
                  </a:lnTo>
                  <a:lnTo>
                    <a:pt x="1234" y="448"/>
                  </a:lnTo>
                  <a:lnTo>
                    <a:pt x="1239" y="448"/>
                  </a:lnTo>
                  <a:lnTo>
                    <a:pt x="1246" y="450"/>
                  </a:lnTo>
                  <a:lnTo>
                    <a:pt x="1252" y="450"/>
                  </a:lnTo>
                  <a:lnTo>
                    <a:pt x="1257" y="448"/>
                  </a:lnTo>
                  <a:lnTo>
                    <a:pt x="1266" y="442"/>
                  </a:lnTo>
                  <a:lnTo>
                    <a:pt x="1271" y="441"/>
                  </a:lnTo>
                  <a:lnTo>
                    <a:pt x="1273" y="442"/>
                  </a:lnTo>
                  <a:lnTo>
                    <a:pt x="1283" y="450"/>
                  </a:lnTo>
                  <a:lnTo>
                    <a:pt x="1293" y="454"/>
                  </a:lnTo>
                  <a:lnTo>
                    <a:pt x="1297" y="459"/>
                  </a:lnTo>
                  <a:lnTo>
                    <a:pt x="1297" y="467"/>
                  </a:lnTo>
                  <a:lnTo>
                    <a:pt x="1298" y="469"/>
                  </a:lnTo>
                  <a:lnTo>
                    <a:pt x="1313" y="476"/>
                  </a:lnTo>
                  <a:lnTo>
                    <a:pt x="1313" y="489"/>
                  </a:lnTo>
                  <a:lnTo>
                    <a:pt x="1317" y="498"/>
                  </a:lnTo>
                  <a:lnTo>
                    <a:pt x="1319" y="496"/>
                  </a:lnTo>
                  <a:lnTo>
                    <a:pt x="1326" y="491"/>
                  </a:lnTo>
                  <a:lnTo>
                    <a:pt x="1329" y="490"/>
                  </a:lnTo>
                  <a:lnTo>
                    <a:pt x="1348" y="500"/>
                  </a:lnTo>
                  <a:lnTo>
                    <a:pt x="1356" y="506"/>
                  </a:lnTo>
                  <a:lnTo>
                    <a:pt x="1361" y="510"/>
                  </a:lnTo>
                  <a:lnTo>
                    <a:pt x="1363" y="514"/>
                  </a:lnTo>
                  <a:lnTo>
                    <a:pt x="1367" y="535"/>
                  </a:lnTo>
                  <a:lnTo>
                    <a:pt x="1380" y="572"/>
                  </a:lnTo>
                  <a:lnTo>
                    <a:pt x="1386" y="578"/>
                  </a:lnTo>
                  <a:lnTo>
                    <a:pt x="1394" y="583"/>
                  </a:lnTo>
                  <a:lnTo>
                    <a:pt x="1411" y="586"/>
                  </a:lnTo>
                  <a:lnTo>
                    <a:pt x="1428" y="586"/>
                  </a:lnTo>
                  <a:lnTo>
                    <a:pt x="1442" y="578"/>
                  </a:lnTo>
                  <a:lnTo>
                    <a:pt x="1445" y="578"/>
                  </a:lnTo>
                  <a:lnTo>
                    <a:pt x="1472" y="582"/>
                  </a:lnTo>
                  <a:lnTo>
                    <a:pt x="1475" y="582"/>
                  </a:lnTo>
                  <a:lnTo>
                    <a:pt x="1487" y="579"/>
                  </a:lnTo>
                  <a:lnTo>
                    <a:pt x="1511" y="568"/>
                  </a:lnTo>
                  <a:lnTo>
                    <a:pt x="1519" y="566"/>
                  </a:lnTo>
                  <a:lnTo>
                    <a:pt x="1528" y="565"/>
                  </a:lnTo>
                  <a:lnTo>
                    <a:pt x="1554" y="568"/>
                  </a:lnTo>
                  <a:lnTo>
                    <a:pt x="1562" y="578"/>
                  </a:lnTo>
                  <a:lnTo>
                    <a:pt x="1572" y="581"/>
                  </a:lnTo>
                  <a:lnTo>
                    <a:pt x="1572" y="581"/>
                  </a:lnTo>
                  <a:lnTo>
                    <a:pt x="1572" y="604"/>
                  </a:lnTo>
                  <a:lnTo>
                    <a:pt x="1574" y="609"/>
                  </a:lnTo>
                  <a:lnTo>
                    <a:pt x="1581" y="617"/>
                  </a:lnTo>
                  <a:lnTo>
                    <a:pt x="1584" y="625"/>
                  </a:lnTo>
                  <a:lnTo>
                    <a:pt x="1585" y="634"/>
                  </a:lnTo>
                  <a:lnTo>
                    <a:pt x="1588" y="639"/>
                  </a:lnTo>
                  <a:lnTo>
                    <a:pt x="1606" y="645"/>
                  </a:lnTo>
                  <a:lnTo>
                    <a:pt x="1623" y="655"/>
                  </a:lnTo>
                  <a:lnTo>
                    <a:pt x="1627" y="660"/>
                  </a:lnTo>
                  <a:lnTo>
                    <a:pt x="1632" y="672"/>
                  </a:lnTo>
                  <a:lnTo>
                    <a:pt x="1638" y="671"/>
                  </a:lnTo>
                  <a:lnTo>
                    <a:pt x="1648" y="668"/>
                  </a:lnTo>
                  <a:lnTo>
                    <a:pt x="1657" y="669"/>
                  </a:lnTo>
                  <a:lnTo>
                    <a:pt x="1663" y="661"/>
                  </a:lnTo>
                  <a:lnTo>
                    <a:pt x="1674" y="664"/>
                  </a:lnTo>
                  <a:lnTo>
                    <a:pt x="1681" y="668"/>
                  </a:lnTo>
                  <a:lnTo>
                    <a:pt x="1681" y="671"/>
                  </a:lnTo>
                  <a:lnTo>
                    <a:pt x="1677" y="683"/>
                  </a:lnTo>
                  <a:lnTo>
                    <a:pt x="1679" y="688"/>
                  </a:lnTo>
                  <a:lnTo>
                    <a:pt x="1684" y="697"/>
                  </a:lnTo>
                  <a:lnTo>
                    <a:pt x="1685" y="702"/>
                  </a:lnTo>
                  <a:lnTo>
                    <a:pt x="1684" y="704"/>
                  </a:lnTo>
                  <a:lnTo>
                    <a:pt x="1676" y="714"/>
                  </a:lnTo>
                  <a:lnTo>
                    <a:pt x="1676" y="722"/>
                  </a:lnTo>
                  <a:lnTo>
                    <a:pt x="1696" y="743"/>
                  </a:lnTo>
                  <a:lnTo>
                    <a:pt x="1710" y="762"/>
                  </a:lnTo>
                  <a:lnTo>
                    <a:pt x="1712" y="768"/>
                  </a:lnTo>
                  <a:lnTo>
                    <a:pt x="1712" y="772"/>
                  </a:lnTo>
                  <a:lnTo>
                    <a:pt x="1711" y="778"/>
                  </a:lnTo>
                  <a:lnTo>
                    <a:pt x="1708" y="783"/>
                  </a:lnTo>
                  <a:lnTo>
                    <a:pt x="1705" y="788"/>
                  </a:lnTo>
                  <a:lnTo>
                    <a:pt x="1689" y="792"/>
                  </a:lnTo>
                  <a:lnTo>
                    <a:pt x="1669" y="806"/>
                  </a:lnTo>
                  <a:lnTo>
                    <a:pt x="1660" y="818"/>
                  </a:lnTo>
                  <a:lnTo>
                    <a:pt x="1659" y="820"/>
                  </a:lnTo>
                  <a:lnTo>
                    <a:pt x="1658" y="829"/>
                  </a:lnTo>
                  <a:lnTo>
                    <a:pt x="1656" y="831"/>
                  </a:lnTo>
                  <a:lnTo>
                    <a:pt x="1640" y="836"/>
                  </a:lnTo>
                  <a:lnTo>
                    <a:pt x="1628" y="841"/>
                  </a:lnTo>
                  <a:lnTo>
                    <a:pt x="1623" y="845"/>
                  </a:lnTo>
                  <a:lnTo>
                    <a:pt x="1616" y="853"/>
                  </a:lnTo>
                  <a:lnTo>
                    <a:pt x="1607" y="853"/>
                  </a:lnTo>
                  <a:lnTo>
                    <a:pt x="1595" y="858"/>
                  </a:lnTo>
                  <a:lnTo>
                    <a:pt x="1589" y="859"/>
                  </a:lnTo>
                  <a:lnTo>
                    <a:pt x="1587" y="858"/>
                  </a:lnTo>
                  <a:lnTo>
                    <a:pt x="1576" y="847"/>
                  </a:lnTo>
                  <a:lnTo>
                    <a:pt x="1564" y="840"/>
                  </a:lnTo>
                  <a:lnTo>
                    <a:pt x="1559" y="834"/>
                  </a:lnTo>
                  <a:lnTo>
                    <a:pt x="1549" y="810"/>
                  </a:lnTo>
                  <a:lnTo>
                    <a:pt x="1538" y="791"/>
                  </a:lnTo>
                  <a:lnTo>
                    <a:pt x="1536" y="772"/>
                  </a:lnTo>
                  <a:lnTo>
                    <a:pt x="1532" y="765"/>
                  </a:lnTo>
                  <a:lnTo>
                    <a:pt x="1520" y="763"/>
                  </a:lnTo>
                  <a:lnTo>
                    <a:pt x="1504" y="763"/>
                  </a:lnTo>
                  <a:lnTo>
                    <a:pt x="1502" y="765"/>
                  </a:lnTo>
                  <a:lnTo>
                    <a:pt x="1496" y="773"/>
                  </a:lnTo>
                  <a:lnTo>
                    <a:pt x="1493" y="774"/>
                  </a:lnTo>
                  <a:lnTo>
                    <a:pt x="1490" y="771"/>
                  </a:lnTo>
                  <a:lnTo>
                    <a:pt x="1483" y="757"/>
                  </a:lnTo>
                  <a:lnTo>
                    <a:pt x="1480" y="753"/>
                  </a:lnTo>
                  <a:lnTo>
                    <a:pt x="1476" y="751"/>
                  </a:lnTo>
                  <a:lnTo>
                    <a:pt x="1469" y="754"/>
                  </a:lnTo>
                  <a:lnTo>
                    <a:pt x="1458" y="753"/>
                  </a:lnTo>
                  <a:lnTo>
                    <a:pt x="1452" y="754"/>
                  </a:lnTo>
                  <a:lnTo>
                    <a:pt x="1442" y="757"/>
                  </a:lnTo>
                  <a:lnTo>
                    <a:pt x="1436" y="760"/>
                  </a:lnTo>
                  <a:lnTo>
                    <a:pt x="1428" y="765"/>
                  </a:lnTo>
                  <a:lnTo>
                    <a:pt x="1422" y="775"/>
                  </a:lnTo>
                  <a:lnTo>
                    <a:pt x="1419" y="780"/>
                  </a:lnTo>
                  <a:lnTo>
                    <a:pt x="1419" y="786"/>
                  </a:lnTo>
                  <a:lnTo>
                    <a:pt x="1420" y="809"/>
                  </a:lnTo>
                  <a:lnTo>
                    <a:pt x="1432" y="817"/>
                  </a:lnTo>
                  <a:lnTo>
                    <a:pt x="1435" y="823"/>
                  </a:lnTo>
                  <a:lnTo>
                    <a:pt x="1437" y="829"/>
                  </a:lnTo>
                  <a:lnTo>
                    <a:pt x="1437" y="831"/>
                  </a:lnTo>
                  <a:lnTo>
                    <a:pt x="1436" y="832"/>
                  </a:lnTo>
                  <a:lnTo>
                    <a:pt x="1432" y="833"/>
                  </a:lnTo>
                  <a:lnTo>
                    <a:pt x="1423" y="832"/>
                  </a:lnTo>
                  <a:lnTo>
                    <a:pt x="1422" y="833"/>
                  </a:lnTo>
                  <a:lnTo>
                    <a:pt x="1422" y="835"/>
                  </a:lnTo>
                  <a:lnTo>
                    <a:pt x="1423" y="842"/>
                  </a:lnTo>
                  <a:lnTo>
                    <a:pt x="1428" y="852"/>
                  </a:lnTo>
                  <a:lnTo>
                    <a:pt x="1428" y="883"/>
                  </a:lnTo>
                  <a:lnTo>
                    <a:pt x="1432" y="895"/>
                  </a:lnTo>
                  <a:lnTo>
                    <a:pt x="1438" y="913"/>
                  </a:lnTo>
                  <a:lnTo>
                    <a:pt x="1439" y="918"/>
                  </a:lnTo>
                  <a:lnTo>
                    <a:pt x="1430" y="924"/>
                  </a:lnTo>
                  <a:lnTo>
                    <a:pt x="1423" y="926"/>
                  </a:lnTo>
                  <a:lnTo>
                    <a:pt x="1389" y="932"/>
                  </a:lnTo>
                  <a:lnTo>
                    <a:pt x="1376" y="945"/>
                  </a:lnTo>
                  <a:lnTo>
                    <a:pt x="1363" y="942"/>
                  </a:lnTo>
                  <a:lnTo>
                    <a:pt x="1361" y="953"/>
                  </a:lnTo>
                  <a:lnTo>
                    <a:pt x="1361" y="968"/>
                  </a:lnTo>
                  <a:lnTo>
                    <a:pt x="1364" y="1009"/>
                  </a:lnTo>
                  <a:lnTo>
                    <a:pt x="1363" y="1032"/>
                  </a:lnTo>
                  <a:lnTo>
                    <a:pt x="1361" y="1047"/>
                  </a:lnTo>
                  <a:lnTo>
                    <a:pt x="1357" y="1058"/>
                  </a:lnTo>
                  <a:lnTo>
                    <a:pt x="1353" y="1066"/>
                  </a:lnTo>
                  <a:lnTo>
                    <a:pt x="1348" y="1073"/>
                  </a:lnTo>
                  <a:lnTo>
                    <a:pt x="1319" y="1091"/>
                  </a:lnTo>
                  <a:lnTo>
                    <a:pt x="1310" y="1094"/>
                  </a:lnTo>
                  <a:lnTo>
                    <a:pt x="1294" y="1096"/>
                  </a:lnTo>
                  <a:lnTo>
                    <a:pt x="1281" y="1093"/>
                  </a:lnTo>
                  <a:lnTo>
                    <a:pt x="1277" y="1092"/>
                  </a:lnTo>
                  <a:lnTo>
                    <a:pt x="1266" y="1080"/>
                  </a:lnTo>
                  <a:lnTo>
                    <a:pt x="1259" y="1077"/>
                  </a:lnTo>
                  <a:lnTo>
                    <a:pt x="1256" y="1082"/>
                  </a:lnTo>
                  <a:lnTo>
                    <a:pt x="1254" y="1091"/>
                  </a:lnTo>
                  <a:lnTo>
                    <a:pt x="1254" y="1098"/>
                  </a:lnTo>
                  <a:lnTo>
                    <a:pt x="1258" y="1110"/>
                  </a:lnTo>
                  <a:lnTo>
                    <a:pt x="1259" y="1117"/>
                  </a:lnTo>
                  <a:lnTo>
                    <a:pt x="1259" y="1119"/>
                  </a:lnTo>
                  <a:lnTo>
                    <a:pt x="1249" y="1129"/>
                  </a:lnTo>
                  <a:lnTo>
                    <a:pt x="1249" y="1133"/>
                  </a:lnTo>
                  <a:lnTo>
                    <a:pt x="1250" y="1138"/>
                  </a:lnTo>
                  <a:lnTo>
                    <a:pt x="1263" y="1147"/>
                  </a:lnTo>
                  <a:lnTo>
                    <a:pt x="1283" y="1150"/>
                  </a:lnTo>
                  <a:lnTo>
                    <a:pt x="1296" y="1155"/>
                  </a:lnTo>
                  <a:lnTo>
                    <a:pt x="1317" y="1157"/>
                  </a:lnTo>
                  <a:lnTo>
                    <a:pt x="1334" y="1173"/>
                  </a:lnTo>
                  <a:lnTo>
                    <a:pt x="1336" y="1176"/>
                  </a:lnTo>
                  <a:lnTo>
                    <a:pt x="1337" y="1181"/>
                  </a:lnTo>
                  <a:lnTo>
                    <a:pt x="1335" y="1209"/>
                  </a:lnTo>
                  <a:lnTo>
                    <a:pt x="1334" y="1223"/>
                  </a:lnTo>
                  <a:lnTo>
                    <a:pt x="1339" y="1255"/>
                  </a:lnTo>
                  <a:lnTo>
                    <a:pt x="1342" y="1258"/>
                  </a:lnTo>
                  <a:lnTo>
                    <a:pt x="1346" y="1260"/>
                  </a:lnTo>
                  <a:lnTo>
                    <a:pt x="1366" y="1261"/>
                  </a:lnTo>
                  <a:lnTo>
                    <a:pt x="1367" y="1277"/>
                  </a:lnTo>
                  <a:lnTo>
                    <a:pt x="1369" y="1280"/>
                  </a:lnTo>
                  <a:lnTo>
                    <a:pt x="1371" y="1280"/>
                  </a:lnTo>
                  <a:lnTo>
                    <a:pt x="1373" y="1278"/>
                  </a:lnTo>
                  <a:lnTo>
                    <a:pt x="1381" y="1267"/>
                  </a:lnTo>
                  <a:lnTo>
                    <a:pt x="1398" y="1262"/>
                  </a:lnTo>
                  <a:lnTo>
                    <a:pt x="1403" y="1273"/>
                  </a:lnTo>
                  <a:lnTo>
                    <a:pt x="1418" y="1281"/>
                  </a:lnTo>
                  <a:lnTo>
                    <a:pt x="1424" y="1286"/>
                  </a:lnTo>
                  <a:lnTo>
                    <a:pt x="1433" y="1302"/>
                  </a:lnTo>
                  <a:lnTo>
                    <a:pt x="1438" y="1309"/>
                  </a:lnTo>
                  <a:lnTo>
                    <a:pt x="1446" y="1313"/>
                  </a:lnTo>
                  <a:lnTo>
                    <a:pt x="1452" y="1310"/>
                  </a:lnTo>
                  <a:lnTo>
                    <a:pt x="1453" y="1310"/>
                  </a:lnTo>
                  <a:lnTo>
                    <a:pt x="1462" y="1314"/>
                  </a:lnTo>
                  <a:lnTo>
                    <a:pt x="1469" y="1314"/>
                  </a:lnTo>
                  <a:lnTo>
                    <a:pt x="1472" y="1313"/>
                  </a:lnTo>
                  <a:lnTo>
                    <a:pt x="1474" y="1311"/>
                  </a:lnTo>
                  <a:lnTo>
                    <a:pt x="1476" y="1293"/>
                  </a:lnTo>
                  <a:lnTo>
                    <a:pt x="1480" y="1286"/>
                  </a:lnTo>
                  <a:lnTo>
                    <a:pt x="1481" y="1285"/>
                  </a:lnTo>
                  <a:lnTo>
                    <a:pt x="1499" y="1289"/>
                  </a:lnTo>
                  <a:lnTo>
                    <a:pt x="1506" y="1287"/>
                  </a:lnTo>
                  <a:lnTo>
                    <a:pt x="1512" y="1286"/>
                  </a:lnTo>
                  <a:lnTo>
                    <a:pt x="1515" y="1282"/>
                  </a:lnTo>
                  <a:lnTo>
                    <a:pt x="1520" y="1275"/>
                  </a:lnTo>
                  <a:lnTo>
                    <a:pt x="1530" y="1254"/>
                  </a:lnTo>
                  <a:lnTo>
                    <a:pt x="1535" y="1250"/>
                  </a:lnTo>
                  <a:lnTo>
                    <a:pt x="1540" y="1250"/>
                  </a:lnTo>
                  <a:lnTo>
                    <a:pt x="1541" y="1253"/>
                  </a:lnTo>
                  <a:lnTo>
                    <a:pt x="1541" y="1258"/>
                  </a:lnTo>
                  <a:lnTo>
                    <a:pt x="1538" y="1265"/>
                  </a:lnTo>
                  <a:lnTo>
                    <a:pt x="1526" y="1289"/>
                  </a:lnTo>
                  <a:lnTo>
                    <a:pt x="1523" y="1299"/>
                  </a:lnTo>
                  <a:lnTo>
                    <a:pt x="1533" y="1313"/>
                  </a:lnTo>
                  <a:lnTo>
                    <a:pt x="1547" y="1375"/>
                  </a:lnTo>
                  <a:lnTo>
                    <a:pt x="1550" y="1394"/>
                  </a:lnTo>
                  <a:lnTo>
                    <a:pt x="1554" y="1429"/>
                  </a:lnTo>
                  <a:lnTo>
                    <a:pt x="1554" y="1474"/>
                  </a:lnTo>
                  <a:lnTo>
                    <a:pt x="1553" y="1479"/>
                  </a:lnTo>
                  <a:lnTo>
                    <a:pt x="1550" y="1489"/>
                  </a:lnTo>
                  <a:lnTo>
                    <a:pt x="1548" y="1495"/>
                  </a:lnTo>
                  <a:lnTo>
                    <a:pt x="1550" y="1501"/>
                  </a:lnTo>
                  <a:lnTo>
                    <a:pt x="1554" y="1513"/>
                  </a:lnTo>
                  <a:lnTo>
                    <a:pt x="1553" y="1514"/>
                  </a:lnTo>
                  <a:lnTo>
                    <a:pt x="1546" y="1516"/>
                  </a:lnTo>
                  <a:lnTo>
                    <a:pt x="1513" y="1523"/>
                  </a:lnTo>
                  <a:lnTo>
                    <a:pt x="1464" y="1551"/>
                  </a:lnTo>
                  <a:lnTo>
                    <a:pt x="1454" y="1558"/>
                  </a:lnTo>
                  <a:lnTo>
                    <a:pt x="1447" y="1563"/>
                  </a:lnTo>
                  <a:lnTo>
                    <a:pt x="1440" y="1572"/>
                  </a:lnTo>
                  <a:lnTo>
                    <a:pt x="1438" y="1587"/>
                  </a:lnTo>
                  <a:lnTo>
                    <a:pt x="1430" y="1594"/>
                  </a:lnTo>
                  <a:lnTo>
                    <a:pt x="1426" y="1608"/>
                  </a:lnTo>
                  <a:lnTo>
                    <a:pt x="1414" y="1627"/>
                  </a:lnTo>
                  <a:lnTo>
                    <a:pt x="1411" y="1634"/>
                  </a:lnTo>
                  <a:lnTo>
                    <a:pt x="1411" y="1649"/>
                  </a:lnTo>
                  <a:lnTo>
                    <a:pt x="1410" y="1654"/>
                  </a:lnTo>
                  <a:lnTo>
                    <a:pt x="1408" y="1657"/>
                  </a:lnTo>
                  <a:lnTo>
                    <a:pt x="1408" y="1657"/>
                  </a:lnTo>
                  <a:lnTo>
                    <a:pt x="1396" y="1664"/>
                  </a:lnTo>
                  <a:lnTo>
                    <a:pt x="1390" y="1666"/>
                  </a:lnTo>
                  <a:lnTo>
                    <a:pt x="1383" y="1663"/>
                  </a:lnTo>
                  <a:lnTo>
                    <a:pt x="1373" y="1657"/>
                  </a:lnTo>
                  <a:lnTo>
                    <a:pt x="1365" y="1654"/>
                  </a:lnTo>
                  <a:lnTo>
                    <a:pt x="1365" y="1652"/>
                  </a:lnTo>
                  <a:lnTo>
                    <a:pt x="1368" y="1609"/>
                  </a:lnTo>
                  <a:lnTo>
                    <a:pt x="1360" y="1606"/>
                  </a:lnTo>
                  <a:lnTo>
                    <a:pt x="1351" y="1596"/>
                  </a:lnTo>
                  <a:lnTo>
                    <a:pt x="1347" y="1592"/>
                  </a:lnTo>
                  <a:lnTo>
                    <a:pt x="1343" y="1590"/>
                  </a:lnTo>
                  <a:lnTo>
                    <a:pt x="1338" y="1592"/>
                  </a:lnTo>
                  <a:lnTo>
                    <a:pt x="1334" y="1596"/>
                  </a:lnTo>
                  <a:lnTo>
                    <a:pt x="1328" y="1617"/>
                  </a:lnTo>
                  <a:lnTo>
                    <a:pt x="1324" y="1622"/>
                  </a:lnTo>
                  <a:lnTo>
                    <a:pt x="1314" y="1630"/>
                  </a:lnTo>
                  <a:lnTo>
                    <a:pt x="1313" y="1636"/>
                  </a:lnTo>
                  <a:lnTo>
                    <a:pt x="1311" y="1639"/>
                  </a:lnTo>
                  <a:lnTo>
                    <a:pt x="1306" y="1639"/>
                  </a:lnTo>
                  <a:lnTo>
                    <a:pt x="1296" y="1634"/>
                  </a:lnTo>
                  <a:lnTo>
                    <a:pt x="1294" y="1634"/>
                  </a:lnTo>
                  <a:lnTo>
                    <a:pt x="1285" y="1637"/>
                  </a:lnTo>
                  <a:lnTo>
                    <a:pt x="1267" y="1646"/>
                  </a:lnTo>
                  <a:lnTo>
                    <a:pt x="1261" y="1649"/>
                  </a:lnTo>
                  <a:lnTo>
                    <a:pt x="1256" y="1641"/>
                  </a:lnTo>
                  <a:lnTo>
                    <a:pt x="1248" y="1626"/>
                  </a:lnTo>
                  <a:lnTo>
                    <a:pt x="1244" y="1622"/>
                  </a:lnTo>
                  <a:lnTo>
                    <a:pt x="1222" y="1616"/>
                  </a:lnTo>
                  <a:lnTo>
                    <a:pt x="1209" y="1602"/>
                  </a:lnTo>
                  <a:lnTo>
                    <a:pt x="1203" y="1603"/>
                  </a:lnTo>
                  <a:lnTo>
                    <a:pt x="1192" y="1607"/>
                  </a:lnTo>
                  <a:lnTo>
                    <a:pt x="1190" y="1607"/>
                  </a:lnTo>
                  <a:lnTo>
                    <a:pt x="1188" y="1605"/>
                  </a:lnTo>
                  <a:lnTo>
                    <a:pt x="1186" y="1599"/>
                  </a:lnTo>
                  <a:lnTo>
                    <a:pt x="1186" y="1583"/>
                  </a:lnTo>
                  <a:lnTo>
                    <a:pt x="1186" y="1572"/>
                  </a:lnTo>
                  <a:lnTo>
                    <a:pt x="1188" y="1552"/>
                  </a:lnTo>
                  <a:lnTo>
                    <a:pt x="1186" y="1548"/>
                  </a:lnTo>
                  <a:lnTo>
                    <a:pt x="1182" y="1542"/>
                  </a:lnTo>
                  <a:lnTo>
                    <a:pt x="1180" y="1542"/>
                  </a:lnTo>
                  <a:lnTo>
                    <a:pt x="1167" y="1546"/>
                  </a:lnTo>
                  <a:lnTo>
                    <a:pt x="1160" y="1547"/>
                  </a:lnTo>
                  <a:lnTo>
                    <a:pt x="1135" y="1548"/>
                  </a:lnTo>
                  <a:lnTo>
                    <a:pt x="1124" y="1546"/>
                  </a:lnTo>
                  <a:lnTo>
                    <a:pt x="1112" y="1542"/>
                  </a:lnTo>
                  <a:lnTo>
                    <a:pt x="1106" y="1538"/>
                  </a:lnTo>
                  <a:lnTo>
                    <a:pt x="1100" y="1532"/>
                  </a:lnTo>
                  <a:lnTo>
                    <a:pt x="1088" y="1517"/>
                  </a:lnTo>
                  <a:lnTo>
                    <a:pt x="1084" y="1514"/>
                  </a:lnTo>
                  <a:lnTo>
                    <a:pt x="1080" y="1512"/>
                  </a:lnTo>
                  <a:lnTo>
                    <a:pt x="1073" y="1513"/>
                  </a:lnTo>
                  <a:lnTo>
                    <a:pt x="1062" y="1520"/>
                  </a:lnTo>
                  <a:lnTo>
                    <a:pt x="1057" y="1528"/>
                  </a:lnTo>
                  <a:lnTo>
                    <a:pt x="1045" y="1550"/>
                  </a:lnTo>
                  <a:lnTo>
                    <a:pt x="1030" y="1554"/>
                  </a:lnTo>
                  <a:lnTo>
                    <a:pt x="1015" y="1564"/>
                  </a:lnTo>
                  <a:lnTo>
                    <a:pt x="1012" y="1564"/>
                  </a:lnTo>
                  <a:lnTo>
                    <a:pt x="1011" y="1563"/>
                  </a:lnTo>
                  <a:lnTo>
                    <a:pt x="1009" y="1560"/>
                  </a:lnTo>
                  <a:lnTo>
                    <a:pt x="1019" y="1533"/>
                  </a:lnTo>
                  <a:lnTo>
                    <a:pt x="1018" y="1526"/>
                  </a:lnTo>
                  <a:lnTo>
                    <a:pt x="1014" y="1518"/>
                  </a:lnTo>
                  <a:lnTo>
                    <a:pt x="1013" y="1517"/>
                  </a:lnTo>
                  <a:lnTo>
                    <a:pt x="1009" y="1517"/>
                  </a:lnTo>
                  <a:lnTo>
                    <a:pt x="990" y="1526"/>
                  </a:lnTo>
                  <a:lnTo>
                    <a:pt x="986" y="1526"/>
                  </a:lnTo>
                  <a:lnTo>
                    <a:pt x="983" y="1524"/>
                  </a:lnTo>
                  <a:lnTo>
                    <a:pt x="972" y="1494"/>
                  </a:lnTo>
                  <a:lnTo>
                    <a:pt x="955" y="1473"/>
                  </a:lnTo>
                  <a:lnTo>
                    <a:pt x="957" y="1459"/>
                  </a:lnTo>
                  <a:lnTo>
                    <a:pt x="957" y="1456"/>
                  </a:lnTo>
                  <a:lnTo>
                    <a:pt x="953" y="1451"/>
                  </a:lnTo>
                  <a:lnTo>
                    <a:pt x="946" y="1443"/>
                  </a:lnTo>
                  <a:lnTo>
                    <a:pt x="941" y="1438"/>
                  </a:lnTo>
                  <a:lnTo>
                    <a:pt x="941" y="1436"/>
                  </a:lnTo>
                  <a:lnTo>
                    <a:pt x="942" y="1434"/>
                  </a:lnTo>
                  <a:lnTo>
                    <a:pt x="954" y="1427"/>
                  </a:lnTo>
                  <a:lnTo>
                    <a:pt x="957" y="1425"/>
                  </a:lnTo>
                  <a:lnTo>
                    <a:pt x="956" y="1419"/>
                  </a:lnTo>
                  <a:lnTo>
                    <a:pt x="950" y="1401"/>
                  </a:lnTo>
                  <a:lnTo>
                    <a:pt x="948" y="1381"/>
                  </a:lnTo>
                  <a:lnTo>
                    <a:pt x="949" y="1363"/>
                  </a:lnTo>
                  <a:lnTo>
                    <a:pt x="947" y="1348"/>
                  </a:lnTo>
                  <a:lnTo>
                    <a:pt x="942" y="1334"/>
                  </a:lnTo>
                  <a:lnTo>
                    <a:pt x="940" y="1335"/>
                  </a:lnTo>
                  <a:lnTo>
                    <a:pt x="936" y="1338"/>
                  </a:lnTo>
                  <a:lnTo>
                    <a:pt x="928" y="1337"/>
                  </a:lnTo>
                  <a:lnTo>
                    <a:pt x="920" y="1338"/>
                  </a:lnTo>
                  <a:lnTo>
                    <a:pt x="916" y="1339"/>
                  </a:lnTo>
                  <a:lnTo>
                    <a:pt x="906" y="1355"/>
                  </a:lnTo>
                  <a:lnTo>
                    <a:pt x="896" y="1366"/>
                  </a:lnTo>
                  <a:lnTo>
                    <a:pt x="893" y="1374"/>
                  </a:lnTo>
                  <a:lnTo>
                    <a:pt x="889" y="1379"/>
                  </a:lnTo>
                  <a:lnTo>
                    <a:pt x="887" y="1379"/>
                  </a:lnTo>
                  <a:lnTo>
                    <a:pt x="878" y="1375"/>
                  </a:lnTo>
                  <a:lnTo>
                    <a:pt x="874" y="1374"/>
                  </a:lnTo>
                  <a:lnTo>
                    <a:pt x="848" y="1382"/>
                  </a:lnTo>
                  <a:lnTo>
                    <a:pt x="835" y="1376"/>
                  </a:lnTo>
                  <a:lnTo>
                    <a:pt x="801" y="1342"/>
                  </a:lnTo>
                  <a:lnTo>
                    <a:pt x="791" y="1338"/>
                  </a:lnTo>
                  <a:lnTo>
                    <a:pt x="777" y="1352"/>
                  </a:lnTo>
                  <a:lnTo>
                    <a:pt x="774" y="1354"/>
                  </a:lnTo>
                  <a:lnTo>
                    <a:pt x="769" y="1353"/>
                  </a:lnTo>
                  <a:lnTo>
                    <a:pt x="754" y="1344"/>
                  </a:lnTo>
                  <a:lnTo>
                    <a:pt x="747" y="1343"/>
                  </a:lnTo>
                  <a:lnTo>
                    <a:pt x="742" y="1347"/>
                  </a:lnTo>
                  <a:lnTo>
                    <a:pt x="738" y="1356"/>
                  </a:lnTo>
                  <a:lnTo>
                    <a:pt x="735" y="1358"/>
                  </a:lnTo>
                  <a:lnTo>
                    <a:pt x="730" y="1358"/>
                  </a:lnTo>
                  <a:lnTo>
                    <a:pt x="714" y="1353"/>
                  </a:lnTo>
                  <a:lnTo>
                    <a:pt x="705" y="1353"/>
                  </a:lnTo>
                  <a:lnTo>
                    <a:pt x="697" y="1355"/>
                  </a:lnTo>
                  <a:lnTo>
                    <a:pt x="668" y="1368"/>
                  </a:lnTo>
                  <a:lnTo>
                    <a:pt x="662" y="1365"/>
                  </a:lnTo>
                  <a:lnTo>
                    <a:pt x="649" y="1355"/>
                  </a:lnTo>
                  <a:lnTo>
                    <a:pt x="645" y="1352"/>
                  </a:lnTo>
                  <a:lnTo>
                    <a:pt x="643" y="1353"/>
                  </a:lnTo>
                  <a:lnTo>
                    <a:pt x="641" y="1358"/>
                  </a:lnTo>
                  <a:lnTo>
                    <a:pt x="634" y="1361"/>
                  </a:lnTo>
                  <a:lnTo>
                    <a:pt x="624" y="1358"/>
                  </a:lnTo>
                  <a:lnTo>
                    <a:pt x="605" y="1352"/>
                  </a:lnTo>
                  <a:lnTo>
                    <a:pt x="585" y="1367"/>
                  </a:lnTo>
                  <a:lnTo>
                    <a:pt x="579" y="1368"/>
                  </a:lnTo>
                  <a:lnTo>
                    <a:pt x="567" y="1366"/>
                  </a:lnTo>
                  <a:lnTo>
                    <a:pt x="563" y="1367"/>
                  </a:lnTo>
                  <a:lnTo>
                    <a:pt x="557" y="1369"/>
                  </a:lnTo>
                  <a:lnTo>
                    <a:pt x="549" y="1375"/>
                  </a:lnTo>
                  <a:lnTo>
                    <a:pt x="545" y="1376"/>
                  </a:lnTo>
                  <a:lnTo>
                    <a:pt x="542" y="1374"/>
                  </a:lnTo>
                  <a:lnTo>
                    <a:pt x="518" y="1352"/>
                  </a:lnTo>
                  <a:lnTo>
                    <a:pt x="507" y="1344"/>
                  </a:lnTo>
                  <a:lnTo>
                    <a:pt x="505" y="1344"/>
                  </a:lnTo>
                  <a:lnTo>
                    <a:pt x="500" y="1350"/>
                  </a:lnTo>
                  <a:lnTo>
                    <a:pt x="497" y="1352"/>
                  </a:lnTo>
                  <a:lnTo>
                    <a:pt x="489" y="1348"/>
                  </a:lnTo>
                  <a:lnTo>
                    <a:pt x="477" y="1337"/>
                  </a:lnTo>
                  <a:lnTo>
                    <a:pt x="471" y="1337"/>
                  </a:lnTo>
                  <a:lnTo>
                    <a:pt x="463" y="1339"/>
                  </a:lnTo>
                  <a:lnTo>
                    <a:pt x="461" y="1336"/>
                  </a:lnTo>
                  <a:lnTo>
                    <a:pt x="457" y="1328"/>
                  </a:lnTo>
                  <a:lnTo>
                    <a:pt x="449" y="1320"/>
                  </a:lnTo>
                  <a:lnTo>
                    <a:pt x="444" y="1320"/>
                  </a:lnTo>
                  <a:lnTo>
                    <a:pt x="434" y="1322"/>
                  </a:lnTo>
                  <a:lnTo>
                    <a:pt x="427" y="1321"/>
                  </a:lnTo>
                  <a:lnTo>
                    <a:pt x="419" y="1317"/>
                  </a:lnTo>
                  <a:lnTo>
                    <a:pt x="395" y="1298"/>
                  </a:lnTo>
                  <a:lnTo>
                    <a:pt x="358" y="1277"/>
                  </a:lnTo>
                  <a:lnTo>
                    <a:pt x="352" y="1275"/>
                  </a:lnTo>
                  <a:lnTo>
                    <a:pt x="341" y="1279"/>
                  </a:lnTo>
                  <a:lnTo>
                    <a:pt x="337" y="1279"/>
                  </a:lnTo>
                  <a:lnTo>
                    <a:pt x="331" y="1278"/>
                  </a:lnTo>
                  <a:lnTo>
                    <a:pt x="325" y="1273"/>
                  </a:lnTo>
                  <a:lnTo>
                    <a:pt x="309" y="1256"/>
                  </a:lnTo>
                  <a:lnTo>
                    <a:pt x="302" y="1244"/>
                  </a:lnTo>
                  <a:lnTo>
                    <a:pt x="302" y="1241"/>
                  </a:lnTo>
                  <a:lnTo>
                    <a:pt x="303" y="1239"/>
                  </a:lnTo>
                  <a:lnTo>
                    <a:pt x="312" y="1229"/>
                  </a:lnTo>
                  <a:lnTo>
                    <a:pt x="313" y="1225"/>
                  </a:lnTo>
                  <a:lnTo>
                    <a:pt x="312" y="1222"/>
                  </a:lnTo>
                  <a:lnTo>
                    <a:pt x="309" y="1220"/>
                  </a:lnTo>
                  <a:lnTo>
                    <a:pt x="297" y="1224"/>
                  </a:lnTo>
                  <a:lnTo>
                    <a:pt x="292" y="1224"/>
                  </a:lnTo>
                  <a:lnTo>
                    <a:pt x="283" y="1214"/>
                  </a:lnTo>
                  <a:lnTo>
                    <a:pt x="264" y="1203"/>
                  </a:lnTo>
                  <a:lnTo>
                    <a:pt x="249" y="1184"/>
                  </a:lnTo>
                  <a:lnTo>
                    <a:pt x="246" y="1183"/>
                  </a:lnTo>
                  <a:lnTo>
                    <a:pt x="241" y="1185"/>
                  </a:lnTo>
                  <a:lnTo>
                    <a:pt x="238" y="1184"/>
                  </a:lnTo>
                  <a:lnTo>
                    <a:pt x="238" y="1176"/>
                  </a:lnTo>
                  <a:lnTo>
                    <a:pt x="244" y="1154"/>
                  </a:lnTo>
                  <a:lnTo>
                    <a:pt x="244" y="1149"/>
                  </a:lnTo>
                  <a:lnTo>
                    <a:pt x="238" y="1146"/>
                  </a:lnTo>
                  <a:lnTo>
                    <a:pt x="223" y="1140"/>
                  </a:lnTo>
                  <a:lnTo>
                    <a:pt x="219" y="1138"/>
                  </a:lnTo>
                  <a:lnTo>
                    <a:pt x="218" y="1137"/>
                  </a:lnTo>
                  <a:lnTo>
                    <a:pt x="219" y="1135"/>
                  </a:lnTo>
                  <a:lnTo>
                    <a:pt x="225" y="1127"/>
                  </a:lnTo>
                  <a:lnTo>
                    <a:pt x="223" y="1121"/>
                  </a:lnTo>
                  <a:lnTo>
                    <a:pt x="205" y="1107"/>
                  </a:lnTo>
                  <a:lnTo>
                    <a:pt x="193" y="1094"/>
                  </a:lnTo>
                  <a:lnTo>
                    <a:pt x="191" y="1095"/>
                  </a:lnTo>
                  <a:lnTo>
                    <a:pt x="186" y="1100"/>
                  </a:lnTo>
                  <a:lnTo>
                    <a:pt x="185" y="1100"/>
                  </a:lnTo>
                  <a:lnTo>
                    <a:pt x="184" y="1097"/>
                  </a:lnTo>
                  <a:lnTo>
                    <a:pt x="184" y="1091"/>
                  </a:lnTo>
                  <a:lnTo>
                    <a:pt x="180" y="1087"/>
                  </a:lnTo>
                  <a:lnTo>
                    <a:pt x="175" y="1079"/>
                  </a:lnTo>
                  <a:lnTo>
                    <a:pt x="175" y="1079"/>
                  </a:lnTo>
                  <a:lnTo>
                    <a:pt x="175" y="1071"/>
                  </a:lnTo>
                  <a:lnTo>
                    <a:pt x="184" y="1053"/>
                  </a:lnTo>
                  <a:lnTo>
                    <a:pt x="187" y="1041"/>
                  </a:lnTo>
                  <a:lnTo>
                    <a:pt x="187" y="1034"/>
                  </a:lnTo>
                  <a:lnTo>
                    <a:pt x="186" y="1029"/>
                  </a:lnTo>
                  <a:lnTo>
                    <a:pt x="179" y="1012"/>
                  </a:lnTo>
                  <a:lnTo>
                    <a:pt x="178" y="1007"/>
                  </a:lnTo>
                  <a:lnTo>
                    <a:pt x="183" y="996"/>
                  </a:lnTo>
                  <a:lnTo>
                    <a:pt x="186" y="971"/>
                  </a:lnTo>
                  <a:lnTo>
                    <a:pt x="180" y="962"/>
                  </a:lnTo>
                  <a:lnTo>
                    <a:pt x="175" y="951"/>
                  </a:lnTo>
                  <a:lnTo>
                    <a:pt x="143" y="939"/>
                  </a:lnTo>
                  <a:lnTo>
                    <a:pt x="136" y="933"/>
                  </a:lnTo>
                  <a:lnTo>
                    <a:pt x="129" y="922"/>
                  </a:lnTo>
                  <a:lnTo>
                    <a:pt x="126" y="914"/>
                  </a:lnTo>
                  <a:lnTo>
                    <a:pt x="125" y="901"/>
                  </a:lnTo>
                  <a:lnTo>
                    <a:pt x="120" y="894"/>
                  </a:lnTo>
                  <a:lnTo>
                    <a:pt x="104" y="882"/>
                  </a:lnTo>
                  <a:lnTo>
                    <a:pt x="75" y="867"/>
                  </a:lnTo>
                  <a:lnTo>
                    <a:pt x="69" y="862"/>
                  </a:lnTo>
                  <a:lnTo>
                    <a:pt x="68" y="859"/>
                  </a:lnTo>
                  <a:lnTo>
                    <a:pt x="70" y="853"/>
                  </a:lnTo>
                  <a:lnTo>
                    <a:pt x="82" y="836"/>
                  </a:lnTo>
                  <a:lnTo>
                    <a:pt x="84" y="830"/>
                  </a:lnTo>
                  <a:lnTo>
                    <a:pt x="83" y="825"/>
                  </a:lnTo>
                  <a:lnTo>
                    <a:pt x="77" y="819"/>
                  </a:lnTo>
                  <a:lnTo>
                    <a:pt x="75" y="818"/>
                  </a:lnTo>
                  <a:lnTo>
                    <a:pt x="70" y="823"/>
                  </a:lnTo>
                  <a:lnTo>
                    <a:pt x="68" y="824"/>
                  </a:lnTo>
                  <a:lnTo>
                    <a:pt x="64" y="819"/>
                  </a:lnTo>
                  <a:lnTo>
                    <a:pt x="60" y="814"/>
                  </a:lnTo>
                  <a:lnTo>
                    <a:pt x="60" y="795"/>
                  </a:lnTo>
                  <a:lnTo>
                    <a:pt x="64" y="787"/>
                  </a:lnTo>
                  <a:lnTo>
                    <a:pt x="72" y="773"/>
                  </a:lnTo>
                  <a:lnTo>
                    <a:pt x="74" y="763"/>
                  </a:lnTo>
                  <a:lnTo>
                    <a:pt x="66" y="757"/>
                  </a:lnTo>
                  <a:lnTo>
                    <a:pt x="32" y="739"/>
                  </a:lnTo>
                  <a:lnTo>
                    <a:pt x="19" y="730"/>
                  </a:lnTo>
                  <a:lnTo>
                    <a:pt x="19" y="727"/>
                  </a:lnTo>
                  <a:lnTo>
                    <a:pt x="20" y="723"/>
                  </a:lnTo>
                  <a:lnTo>
                    <a:pt x="32" y="711"/>
                  </a:lnTo>
                  <a:lnTo>
                    <a:pt x="35" y="706"/>
                  </a:lnTo>
                  <a:lnTo>
                    <a:pt x="33" y="693"/>
                  </a:lnTo>
                  <a:lnTo>
                    <a:pt x="33" y="686"/>
                  </a:lnTo>
                  <a:lnTo>
                    <a:pt x="32" y="683"/>
                  </a:lnTo>
                  <a:lnTo>
                    <a:pt x="31" y="681"/>
                  </a:lnTo>
                  <a:lnTo>
                    <a:pt x="19" y="679"/>
                  </a:lnTo>
                  <a:lnTo>
                    <a:pt x="16" y="678"/>
                  </a:lnTo>
                  <a:lnTo>
                    <a:pt x="12" y="672"/>
                  </a:lnTo>
                  <a:lnTo>
                    <a:pt x="7" y="664"/>
                  </a:lnTo>
                  <a:lnTo>
                    <a:pt x="2" y="651"/>
                  </a:lnTo>
                  <a:lnTo>
                    <a:pt x="0" y="642"/>
                  </a:lnTo>
                  <a:lnTo>
                    <a:pt x="4" y="637"/>
                  </a:lnTo>
                  <a:lnTo>
                    <a:pt x="14" y="630"/>
                  </a:lnTo>
                  <a:lnTo>
                    <a:pt x="15" y="628"/>
                  </a:lnTo>
                  <a:lnTo>
                    <a:pt x="13" y="627"/>
                  </a:lnTo>
                  <a:lnTo>
                    <a:pt x="2" y="624"/>
                  </a:lnTo>
                  <a:lnTo>
                    <a:pt x="0" y="614"/>
                  </a:lnTo>
                  <a:lnTo>
                    <a:pt x="0" y="614"/>
                  </a:lnTo>
                  <a:lnTo>
                    <a:pt x="13" y="618"/>
                  </a:lnTo>
                  <a:lnTo>
                    <a:pt x="24" y="614"/>
                  </a:lnTo>
                  <a:lnTo>
                    <a:pt x="29" y="614"/>
                  </a:lnTo>
                  <a:lnTo>
                    <a:pt x="52" y="619"/>
                  </a:lnTo>
                  <a:lnTo>
                    <a:pt x="63" y="620"/>
                  </a:lnTo>
                  <a:lnTo>
                    <a:pt x="69" y="620"/>
                  </a:lnTo>
                  <a:lnTo>
                    <a:pt x="78" y="616"/>
                  </a:lnTo>
                  <a:lnTo>
                    <a:pt x="97" y="603"/>
                  </a:lnTo>
                  <a:lnTo>
                    <a:pt x="107" y="599"/>
                  </a:lnTo>
                  <a:lnTo>
                    <a:pt x="113" y="597"/>
                  </a:lnTo>
                  <a:lnTo>
                    <a:pt x="143" y="592"/>
                  </a:lnTo>
                  <a:lnTo>
                    <a:pt x="147" y="585"/>
                  </a:lnTo>
                  <a:lnTo>
                    <a:pt x="153" y="573"/>
                  </a:lnTo>
                  <a:lnTo>
                    <a:pt x="157" y="574"/>
                  </a:lnTo>
                  <a:lnTo>
                    <a:pt x="161" y="578"/>
                  </a:lnTo>
                  <a:lnTo>
                    <a:pt x="163" y="579"/>
                  </a:lnTo>
                  <a:lnTo>
                    <a:pt x="182" y="567"/>
                  </a:lnTo>
                  <a:lnTo>
                    <a:pt x="198" y="563"/>
                  </a:lnTo>
                  <a:lnTo>
                    <a:pt x="200" y="561"/>
                  </a:lnTo>
                  <a:lnTo>
                    <a:pt x="211" y="547"/>
                  </a:lnTo>
                  <a:lnTo>
                    <a:pt x="214" y="544"/>
                  </a:lnTo>
                  <a:lnTo>
                    <a:pt x="220" y="545"/>
                  </a:lnTo>
                  <a:lnTo>
                    <a:pt x="229" y="548"/>
                  </a:lnTo>
                  <a:lnTo>
                    <a:pt x="233" y="549"/>
                  </a:lnTo>
                  <a:lnTo>
                    <a:pt x="240" y="544"/>
                  </a:lnTo>
                  <a:lnTo>
                    <a:pt x="252" y="543"/>
                  </a:lnTo>
                  <a:lnTo>
                    <a:pt x="262" y="540"/>
                  </a:lnTo>
                  <a:lnTo>
                    <a:pt x="269" y="541"/>
                  </a:lnTo>
                  <a:lnTo>
                    <a:pt x="273" y="541"/>
                  </a:lnTo>
                  <a:lnTo>
                    <a:pt x="287" y="537"/>
                  </a:lnTo>
                  <a:lnTo>
                    <a:pt x="310" y="534"/>
                  </a:lnTo>
                  <a:lnTo>
                    <a:pt x="325" y="527"/>
                  </a:lnTo>
                  <a:lnTo>
                    <a:pt x="327" y="526"/>
                  </a:lnTo>
                  <a:lnTo>
                    <a:pt x="338" y="509"/>
                  </a:lnTo>
                  <a:lnTo>
                    <a:pt x="348" y="496"/>
                  </a:lnTo>
                  <a:lnTo>
                    <a:pt x="351" y="491"/>
                  </a:lnTo>
                  <a:lnTo>
                    <a:pt x="352" y="483"/>
                  </a:lnTo>
                  <a:lnTo>
                    <a:pt x="362" y="477"/>
                  </a:lnTo>
                  <a:lnTo>
                    <a:pt x="384" y="468"/>
                  </a:lnTo>
                  <a:lnTo>
                    <a:pt x="387" y="466"/>
                  </a:lnTo>
                  <a:lnTo>
                    <a:pt x="390" y="457"/>
                  </a:lnTo>
                  <a:lnTo>
                    <a:pt x="393" y="453"/>
                  </a:lnTo>
                  <a:lnTo>
                    <a:pt x="400" y="452"/>
                  </a:lnTo>
                  <a:lnTo>
                    <a:pt x="412" y="450"/>
                  </a:lnTo>
                  <a:lnTo>
                    <a:pt x="429" y="451"/>
                  </a:lnTo>
                  <a:lnTo>
                    <a:pt x="442" y="455"/>
                  </a:lnTo>
                  <a:lnTo>
                    <a:pt x="448" y="463"/>
                  </a:lnTo>
                  <a:lnTo>
                    <a:pt x="449" y="463"/>
                  </a:lnTo>
                  <a:lnTo>
                    <a:pt x="455" y="447"/>
                  </a:lnTo>
                  <a:lnTo>
                    <a:pt x="459" y="432"/>
                  </a:lnTo>
                  <a:lnTo>
                    <a:pt x="457" y="426"/>
                  </a:lnTo>
                  <a:lnTo>
                    <a:pt x="451" y="406"/>
                  </a:lnTo>
                  <a:lnTo>
                    <a:pt x="457" y="397"/>
                  </a:lnTo>
                  <a:lnTo>
                    <a:pt x="457" y="393"/>
                  </a:lnTo>
                  <a:lnTo>
                    <a:pt x="456" y="382"/>
                  </a:lnTo>
                  <a:lnTo>
                    <a:pt x="457" y="379"/>
                  </a:lnTo>
                  <a:lnTo>
                    <a:pt x="460" y="377"/>
                  </a:lnTo>
                  <a:lnTo>
                    <a:pt x="467" y="377"/>
                  </a:lnTo>
                  <a:lnTo>
                    <a:pt x="474" y="379"/>
                  </a:lnTo>
                  <a:lnTo>
                    <a:pt x="480" y="382"/>
                  </a:lnTo>
                  <a:lnTo>
                    <a:pt x="491" y="396"/>
                  </a:lnTo>
                  <a:lnTo>
                    <a:pt x="498" y="393"/>
                  </a:lnTo>
                  <a:lnTo>
                    <a:pt x="509" y="399"/>
                  </a:lnTo>
                  <a:lnTo>
                    <a:pt x="522" y="393"/>
                  </a:lnTo>
                  <a:lnTo>
                    <a:pt x="601" y="393"/>
                  </a:lnTo>
                  <a:lnTo>
                    <a:pt x="613" y="385"/>
                  </a:lnTo>
                  <a:lnTo>
                    <a:pt x="617" y="384"/>
                  </a:lnTo>
                  <a:lnTo>
                    <a:pt x="623" y="386"/>
                  </a:lnTo>
                  <a:lnTo>
                    <a:pt x="634" y="398"/>
                  </a:lnTo>
                  <a:lnTo>
                    <a:pt x="641" y="401"/>
                  </a:lnTo>
                  <a:lnTo>
                    <a:pt x="646" y="398"/>
                  </a:lnTo>
                  <a:lnTo>
                    <a:pt x="659" y="387"/>
                  </a:lnTo>
                  <a:lnTo>
                    <a:pt x="663" y="386"/>
                  </a:lnTo>
                  <a:lnTo>
                    <a:pt x="677" y="385"/>
                  </a:lnTo>
                  <a:lnTo>
                    <a:pt x="690" y="379"/>
                  </a:lnTo>
                  <a:lnTo>
                    <a:pt x="700" y="374"/>
                  </a:lnTo>
                  <a:lnTo>
                    <a:pt x="703" y="369"/>
                  </a:lnTo>
                  <a:lnTo>
                    <a:pt x="703" y="355"/>
                  </a:lnTo>
                  <a:lnTo>
                    <a:pt x="705" y="350"/>
                  </a:lnTo>
                  <a:lnTo>
                    <a:pt x="707" y="349"/>
                  </a:lnTo>
                  <a:lnTo>
                    <a:pt x="712" y="348"/>
                  </a:lnTo>
                  <a:lnTo>
                    <a:pt x="716" y="348"/>
                  </a:lnTo>
                  <a:lnTo>
                    <a:pt x="736" y="360"/>
                  </a:lnTo>
                  <a:lnTo>
                    <a:pt x="742" y="357"/>
                  </a:lnTo>
                  <a:lnTo>
                    <a:pt x="745" y="354"/>
                  </a:lnTo>
                  <a:lnTo>
                    <a:pt x="748" y="349"/>
                  </a:lnTo>
                  <a:lnTo>
                    <a:pt x="753" y="323"/>
                  </a:lnTo>
                  <a:lnTo>
                    <a:pt x="755" y="319"/>
                  </a:lnTo>
                  <a:lnTo>
                    <a:pt x="758" y="315"/>
                  </a:lnTo>
                  <a:lnTo>
                    <a:pt x="765" y="313"/>
                  </a:lnTo>
                  <a:lnTo>
                    <a:pt x="781" y="324"/>
                  </a:lnTo>
                  <a:lnTo>
                    <a:pt x="786" y="324"/>
                  </a:lnTo>
                  <a:lnTo>
                    <a:pt x="790" y="321"/>
                  </a:lnTo>
                  <a:lnTo>
                    <a:pt x="787" y="308"/>
                  </a:lnTo>
                  <a:lnTo>
                    <a:pt x="787" y="306"/>
                  </a:lnTo>
                  <a:lnTo>
                    <a:pt x="790" y="306"/>
                  </a:lnTo>
                  <a:lnTo>
                    <a:pt x="796" y="309"/>
                  </a:lnTo>
                  <a:lnTo>
                    <a:pt x="799" y="308"/>
                  </a:lnTo>
                  <a:lnTo>
                    <a:pt x="806" y="304"/>
                  </a:lnTo>
                  <a:lnTo>
                    <a:pt x="812" y="293"/>
                  </a:lnTo>
                  <a:lnTo>
                    <a:pt x="831" y="295"/>
                  </a:lnTo>
                  <a:lnTo>
                    <a:pt x="849" y="263"/>
                  </a:lnTo>
                  <a:lnTo>
                    <a:pt x="850" y="260"/>
                  </a:lnTo>
                  <a:lnTo>
                    <a:pt x="850" y="249"/>
                  </a:lnTo>
                  <a:lnTo>
                    <a:pt x="853" y="248"/>
                  </a:lnTo>
                  <a:lnTo>
                    <a:pt x="864" y="249"/>
                  </a:lnTo>
                  <a:lnTo>
                    <a:pt x="866" y="248"/>
                  </a:lnTo>
                  <a:lnTo>
                    <a:pt x="866" y="238"/>
                  </a:lnTo>
                  <a:lnTo>
                    <a:pt x="861" y="215"/>
                  </a:lnTo>
                  <a:lnTo>
                    <a:pt x="858" y="191"/>
                  </a:lnTo>
                  <a:lnTo>
                    <a:pt x="859" y="189"/>
                  </a:lnTo>
                  <a:lnTo>
                    <a:pt x="861" y="188"/>
                  </a:lnTo>
                  <a:lnTo>
                    <a:pt x="874" y="185"/>
                  </a:lnTo>
                  <a:lnTo>
                    <a:pt x="876" y="184"/>
                  </a:lnTo>
                  <a:lnTo>
                    <a:pt x="877" y="182"/>
                  </a:lnTo>
                  <a:lnTo>
                    <a:pt x="872" y="159"/>
                  </a:lnTo>
                  <a:lnTo>
                    <a:pt x="871" y="141"/>
                  </a:lnTo>
                  <a:lnTo>
                    <a:pt x="874" y="136"/>
                  </a:lnTo>
                  <a:lnTo>
                    <a:pt x="880" y="128"/>
                  </a:lnTo>
                  <a:lnTo>
                    <a:pt x="884" y="112"/>
                  </a:lnTo>
                  <a:lnTo>
                    <a:pt x="884" y="106"/>
                  </a:lnTo>
                  <a:lnTo>
                    <a:pt x="883" y="91"/>
                  </a:lnTo>
                  <a:lnTo>
                    <a:pt x="885" y="80"/>
                  </a:lnTo>
                  <a:lnTo>
                    <a:pt x="885" y="73"/>
                  </a:lnTo>
                  <a:lnTo>
                    <a:pt x="881" y="42"/>
                  </a:lnTo>
                  <a:lnTo>
                    <a:pt x="886" y="10"/>
                  </a:lnTo>
                  <a:lnTo>
                    <a:pt x="886" y="0"/>
                  </a:lnTo>
                  <a:lnTo>
                    <a:pt x="886" y="0"/>
                  </a:lnTo>
                  <a:lnTo>
                    <a:pt x="903" y="13"/>
                  </a:lnTo>
                  <a:lnTo>
                    <a:pt x="923" y="5"/>
                  </a:lnTo>
                  <a:lnTo>
                    <a:pt x="929" y="13"/>
                  </a:lnTo>
                  <a:lnTo>
                    <a:pt x="932" y="15"/>
                  </a:lnTo>
                  <a:lnTo>
                    <a:pt x="935" y="13"/>
                  </a:lnTo>
                  <a:lnTo>
                    <a:pt x="940" y="6"/>
                  </a:lnTo>
                  <a:lnTo>
                    <a:pt x="943" y="4"/>
                  </a:lnTo>
                  <a:lnTo>
                    <a:pt x="949" y="5"/>
                  </a:lnTo>
                  <a:lnTo>
                    <a:pt x="953" y="8"/>
                  </a:lnTo>
                  <a:lnTo>
                    <a:pt x="957" y="10"/>
                  </a:lnTo>
                  <a:lnTo>
                    <a:pt x="964" y="5"/>
                  </a:lnTo>
                  <a:lnTo>
                    <a:pt x="968" y="4"/>
                  </a:lnTo>
                  <a:lnTo>
                    <a:pt x="975" y="5"/>
                  </a:lnTo>
                  <a:lnTo>
                    <a:pt x="977" y="13"/>
                  </a:lnTo>
                  <a:lnTo>
                    <a:pt x="975" y="20"/>
                  </a:lnTo>
                  <a:lnTo>
                    <a:pt x="971" y="26"/>
                  </a:lnTo>
                  <a:lnTo>
                    <a:pt x="970" y="31"/>
                  </a:lnTo>
                  <a:lnTo>
                    <a:pt x="982" y="38"/>
                  </a:lnTo>
                  <a:lnTo>
                    <a:pt x="991" y="33"/>
                  </a:lnTo>
                  <a:lnTo>
                    <a:pt x="1003" y="36"/>
                  </a:lnTo>
                  <a:lnTo>
                    <a:pt x="1009" y="31"/>
                  </a:lnTo>
                  <a:lnTo>
                    <a:pt x="1012" y="26"/>
                  </a:lnTo>
                  <a:lnTo>
                    <a:pt x="1033" y="31"/>
                  </a:lnTo>
                  <a:lnTo>
                    <a:pt x="1056" y="27"/>
                  </a:lnTo>
                  <a:lnTo>
                    <a:pt x="1078" y="47"/>
                  </a:lnTo>
                  <a:lnTo>
                    <a:pt x="1083" y="50"/>
                  </a:lnTo>
                  <a:lnTo>
                    <a:pt x="1093" y="53"/>
                  </a:lnTo>
                  <a:lnTo>
                    <a:pt x="1098" y="56"/>
                  </a:lnTo>
                  <a:lnTo>
                    <a:pt x="1114" y="72"/>
                  </a:lnTo>
                  <a:lnTo>
                    <a:pt x="1120" y="73"/>
                  </a:lnTo>
                  <a:lnTo>
                    <a:pt x="1129" y="72"/>
                  </a:lnTo>
                  <a:lnTo>
                    <a:pt x="1145" y="67"/>
                  </a:lnTo>
                  <a:lnTo>
                    <a:pt x="1153" y="65"/>
                  </a:lnTo>
                  <a:lnTo>
                    <a:pt x="1170" y="69"/>
                  </a:lnTo>
                  <a:lnTo>
                    <a:pt x="1187" y="67"/>
                  </a:lnTo>
                  <a:lnTo>
                    <a:pt x="1199" y="68"/>
                  </a:lnTo>
                  <a:lnTo>
                    <a:pt x="1202" y="69"/>
                  </a:lnTo>
                  <a:lnTo>
                    <a:pt x="1205" y="74"/>
                  </a:lnTo>
                  <a:lnTo>
                    <a:pt x="1206" y="81"/>
                  </a:lnTo>
                  <a:lnTo>
                    <a:pt x="1207" y="90"/>
                  </a:lnTo>
                  <a:lnTo>
                    <a:pt x="1208" y="90"/>
                  </a:lnTo>
                  <a:lnTo>
                    <a:pt x="1225" y="85"/>
                  </a:lnTo>
                  <a:lnTo>
                    <a:pt x="1236" y="76"/>
                  </a:lnTo>
                  <a:lnTo>
                    <a:pt x="1238" y="62"/>
                  </a:lnTo>
                  <a:lnTo>
                    <a:pt x="1241" y="55"/>
                  </a:lnTo>
                  <a:lnTo>
                    <a:pt x="1244" y="52"/>
                  </a:lnTo>
                  <a:lnTo>
                    <a:pt x="1253" y="50"/>
                  </a:lnTo>
                  <a:lnTo>
                    <a:pt x="1257" y="39"/>
                  </a:lnTo>
                  <a:lnTo>
                    <a:pt x="1259" y="38"/>
                  </a:lnTo>
                  <a:lnTo>
                    <a:pt x="1262" y="39"/>
                  </a:lnTo>
                  <a:lnTo>
                    <a:pt x="1270" y="43"/>
                  </a:lnTo>
                  <a:lnTo>
                    <a:pt x="1279" y="40"/>
                  </a:lnTo>
                  <a:lnTo>
                    <a:pt x="1288" y="43"/>
                  </a:lnTo>
                  <a:lnTo>
                    <a:pt x="1293" y="49"/>
                  </a:lnTo>
                  <a:lnTo>
                    <a:pt x="1308" y="70"/>
                  </a:lnTo>
                  <a:lnTo>
                    <a:pt x="1312" y="73"/>
                  </a:lnTo>
                  <a:lnTo>
                    <a:pt x="1316" y="75"/>
                  </a:lnTo>
                  <a:lnTo>
                    <a:pt x="1319" y="74"/>
                  </a:lnTo>
                  <a:lnTo>
                    <a:pt x="1324" y="71"/>
                  </a:lnTo>
                  <a:lnTo>
                    <a:pt x="1330" y="55"/>
                  </a:lnTo>
                  <a:lnTo>
                    <a:pt x="1332" y="52"/>
                  </a:lnTo>
                  <a:lnTo>
                    <a:pt x="1335" y="51"/>
                  </a:lnTo>
                  <a:lnTo>
                    <a:pt x="1336" y="57"/>
                  </a:lnTo>
                  <a:lnTo>
                    <a:pt x="1337" y="59"/>
                  </a:lnTo>
                  <a:lnTo>
                    <a:pt x="1339" y="57"/>
                  </a:lnTo>
                  <a:lnTo>
                    <a:pt x="1344" y="50"/>
                  </a:lnTo>
                  <a:lnTo>
                    <a:pt x="1346" y="47"/>
                  </a:lnTo>
                  <a:lnTo>
                    <a:pt x="1350" y="47"/>
                  </a:lnTo>
                  <a:lnTo>
                    <a:pt x="1354" y="51"/>
                  </a:lnTo>
                  <a:lnTo>
                    <a:pt x="1354" y="51"/>
                  </a:lnTo>
                  <a:lnTo>
                    <a:pt x="1354" y="51"/>
                  </a:lnTo>
                  <a:lnTo>
                    <a:pt x="1354" y="5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0" name="湖北">
              <a:extLst>
                <a:ext uri="{FF2B5EF4-FFF2-40B4-BE49-F238E27FC236}">
                  <a16:creationId xmlns:a16="http://schemas.microsoft.com/office/drawing/2014/main" id="{C3078E5F-F14C-32B4-E172-23A415A04C1A}"/>
                </a:ext>
              </a:extLst>
            </p:cNvPr>
            <p:cNvSpPr>
              <a:spLocks/>
            </p:cNvSpPr>
            <p:nvPr/>
          </p:nvSpPr>
          <p:spPr bwMode="auto">
            <a:xfrm>
              <a:off x="6118225" y="3957639"/>
              <a:ext cx="1176338" cy="739775"/>
            </a:xfrm>
            <a:custGeom>
              <a:avLst/>
              <a:gdLst>
                <a:gd name="T0" fmla="*/ 1882 w 2222"/>
                <a:gd name="T1" fmla="*/ 1242 h 1396"/>
                <a:gd name="T2" fmla="*/ 1719 w 2222"/>
                <a:gd name="T3" fmla="*/ 1294 h 1396"/>
                <a:gd name="T4" fmla="*/ 1606 w 2222"/>
                <a:gd name="T5" fmla="*/ 1396 h 1396"/>
                <a:gd name="T6" fmla="*/ 1528 w 2222"/>
                <a:gd name="T7" fmla="*/ 1341 h 1396"/>
                <a:gd name="T8" fmla="*/ 1540 w 2222"/>
                <a:gd name="T9" fmla="*/ 1274 h 1396"/>
                <a:gd name="T10" fmla="*/ 1512 w 2222"/>
                <a:gd name="T11" fmla="*/ 1188 h 1396"/>
                <a:gd name="T12" fmla="*/ 1368 w 2222"/>
                <a:gd name="T13" fmla="*/ 1270 h 1396"/>
                <a:gd name="T14" fmla="*/ 1313 w 2222"/>
                <a:gd name="T15" fmla="*/ 1263 h 1396"/>
                <a:gd name="T16" fmla="*/ 1307 w 2222"/>
                <a:gd name="T17" fmla="*/ 1180 h 1396"/>
                <a:gd name="T18" fmla="*/ 1191 w 2222"/>
                <a:gd name="T19" fmla="*/ 1217 h 1396"/>
                <a:gd name="T20" fmla="*/ 1120 w 2222"/>
                <a:gd name="T21" fmla="*/ 1221 h 1396"/>
                <a:gd name="T22" fmla="*/ 974 w 2222"/>
                <a:gd name="T23" fmla="*/ 1124 h 1396"/>
                <a:gd name="T24" fmla="*/ 767 w 2222"/>
                <a:gd name="T25" fmla="*/ 1078 h 1396"/>
                <a:gd name="T26" fmla="*/ 609 w 2222"/>
                <a:gd name="T27" fmla="*/ 1071 h 1396"/>
                <a:gd name="T28" fmla="*/ 643 w 2222"/>
                <a:gd name="T29" fmla="*/ 1176 h 1396"/>
                <a:gd name="T30" fmla="*/ 543 w 2222"/>
                <a:gd name="T31" fmla="*/ 1203 h 1396"/>
                <a:gd name="T32" fmla="*/ 379 w 2222"/>
                <a:gd name="T33" fmla="*/ 1212 h 1396"/>
                <a:gd name="T34" fmla="*/ 290 w 2222"/>
                <a:gd name="T35" fmla="*/ 1282 h 1396"/>
                <a:gd name="T36" fmla="*/ 240 w 2222"/>
                <a:gd name="T37" fmla="*/ 1383 h 1396"/>
                <a:gd name="T38" fmla="*/ 170 w 2222"/>
                <a:gd name="T39" fmla="*/ 1310 h 1396"/>
                <a:gd name="T40" fmla="*/ 133 w 2222"/>
                <a:gd name="T41" fmla="*/ 1236 h 1396"/>
                <a:gd name="T42" fmla="*/ 102 w 2222"/>
                <a:gd name="T43" fmla="*/ 1206 h 1396"/>
                <a:gd name="T44" fmla="*/ 31 w 2222"/>
                <a:gd name="T45" fmla="*/ 1189 h 1396"/>
                <a:gd name="T46" fmla="*/ 27 w 2222"/>
                <a:gd name="T47" fmla="*/ 1134 h 1396"/>
                <a:gd name="T48" fmla="*/ 33 w 2222"/>
                <a:gd name="T49" fmla="*/ 987 h 1396"/>
                <a:gd name="T50" fmla="*/ 91 w 2222"/>
                <a:gd name="T51" fmla="*/ 897 h 1396"/>
                <a:gd name="T52" fmla="*/ 208 w 2222"/>
                <a:gd name="T53" fmla="*/ 891 h 1396"/>
                <a:gd name="T54" fmla="*/ 304 w 2222"/>
                <a:gd name="T55" fmla="*/ 897 h 1396"/>
                <a:gd name="T56" fmla="*/ 477 w 2222"/>
                <a:gd name="T57" fmla="*/ 798 h 1396"/>
                <a:gd name="T58" fmla="*/ 513 w 2222"/>
                <a:gd name="T59" fmla="*/ 672 h 1396"/>
                <a:gd name="T60" fmla="*/ 454 w 2222"/>
                <a:gd name="T61" fmla="*/ 580 h 1396"/>
                <a:gd name="T62" fmla="*/ 347 w 2222"/>
                <a:gd name="T63" fmla="*/ 506 h 1396"/>
                <a:gd name="T64" fmla="*/ 347 w 2222"/>
                <a:gd name="T65" fmla="*/ 349 h 1396"/>
                <a:gd name="T66" fmla="*/ 331 w 2222"/>
                <a:gd name="T67" fmla="*/ 241 h 1396"/>
                <a:gd name="T68" fmla="*/ 514 w 2222"/>
                <a:gd name="T69" fmla="*/ 209 h 1396"/>
                <a:gd name="T70" fmla="*/ 400 w 2222"/>
                <a:gd name="T71" fmla="*/ 62 h 1396"/>
                <a:gd name="T72" fmla="*/ 366 w 2222"/>
                <a:gd name="T73" fmla="*/ 0 h 1396"/>
                <a:gd name="T74" fmla="*/ 558 w 2222"/>
                <a:gd name="T75" fmla="*/ 23 h 1396"/>
                <a:gd name="T76" fmla="*/ 664 w 2222"/>
                <a:gd name="T77" fmla="*/ 40 h 1396"/>
                <a:gd name="T78" fmla="*/ 746 w 2222"/>
                <a:gd name="T79" fmla="*/ 16 h 1396"/>
                <a:gd name="T80" fmla="*/ 806 w 2222"/>
                <a:gd name="T81" fmla="*/ 79 h 1396"/>
                <a:gd name="T82" fmla="*/ 864 w 2222"/>
                <a:gd name="T83" fmla="*/ 166 h 1396"/>
                <a:gd name="T84" fmla="*/ 1019 w 2222"/>
                <a:gd name="T85" fmla="*/ 253 h 1396"/>
                <a:gd name="T86" fmla="*/ 1125 w 2222"/>
                <a:gd name="T87" fmla="*/ 292 h 1396"/>
                <a:gd name="T88" fmla="*/ 1276 w 2222"/>
                <a:gd name="T89" fmla="*/ 278 h 1396"/>
                <a:gd name="T90" fmla="*/ 1440 w 2222"/>
                <a:gd name="T91" fmla="*/ 300 h 1396"/>
                <a:gd name="T92" fmla="*/ 1512 w 2222"/>
                <a:gd name="T93" fmla="*/ 326 h 1396"/>
                <a:gd name="T94" fmla="*/ 1552 w 2222"/>
                <a:gd name="T95" fmla="*/ 451 h 1396"/>
                <a:gd name="T96" fmla="*/ 1642 w 2222"/>
                <a:gd name="T97" fmla="*/ 437 h 1396"/>
                <a:gd name="T98" fmla="*/ 1748 w 2222"/>
                <a:gd name="T99" fmla="*/ 508 h 1396"/>
                <a:gd name="T100" fmla="*/ 1858 w 2222"/>
                <a:gd name="T101" fmla="*/ 559 h 1396"/>
                <a:gd name="T102" fmla="*/ 1927 w 2222"/>
                <a:gd name="T103" fmla="*/ 579 h 1396"/>
                <a:gd name="T104" fmla="*/ 2033 w 2222"/>
                <a:gd name="T105" fmla="*/ 660 h 1396"/>
                <a:gd name="T106" fmla="*/ 2139 w 2222"/>
                <a:gd name="T107" fmla="*/ 685 h 1396"/>
                <a:gd name="T108" fmla="*/ 2120 w 2222"/>
                <a:gd name="T109" fmla="*/ 770 h 1396"/>
                <a:gd name="T110" fmla="*/ 2143 w 2222"/>
                <a:gd name="T111" fmla="*/ 888 h 1396"/>
                <a:gd name="T112" fmla="*/ 2202 w 2222"/>
                <a:gd name="T113" fmla="*/ 1044 h 1396"/>
                <a:gd name="T114" fmla="*/ 2037 w 2222"/>
                <a:gd name="T115" fmla="*/ 1118 h 1396"/>
                <a:gd name="T116" fmla="*/ 1938 w 2222"/>
                <a:gd name="T117" fmla="*/ 1180 h 1396"/>
                <a:gd name="T118" fmla="*/ 1911 w 2222"/>
                <a:gd name="T119" fmla="*/ 1209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2" h="1396">
                  <a:moveTo>
                    <a:pt x="1899" y="1206"/>
                  </a:moveTo>
                  <a:lnTo>
                    <a:pt x="1892" y="1209"/>
                  </a:lnTo>
                  <a:lnTo>
                    <a:pt x="1891" y="1214"/>
                  </a:lnTo>
                  <a:lnTo>
                    <a:pt x="1892" y="1227"/>
                  </a:lnTo>
                  <a:lnTo>
                    <a:pt x="1890" y="1230"/>
                  </a:lnTo>
                  <a:lnTo>
                    <a:pt x="1889" y="1230"/>
                  </a:lnTo>
                  <a:lnTo>
                    <a:pt x="1886" y="1230"/>
                  </a:lnTo>
                  <a:lnTo>
                    <a:pt x="1874" y="1223"/>
                  </a:lnTo>
                  <a:lnTo>
                    <a:pt x="1873" y="1224"/>
                  </a:lnTo>
                  <a:lnTo>
                    <a:pt x="1870" y="1229"/>
                  </a:lnTo>
                  <a:lnTo>
                    <a:pt x="1865" y="1241"/>
                  </a:lnTo>
                  <a:lnTo>
                    <a:pt x="1868" y="1248"/>
                  </a:lnTo>
                  <a:lnTo>
                    <a:pt x="1870" y="1248"/>
                  </a:lnTo>
                  <a:lnTo>
                    <a:pt x="1878" y="1241"/>
                  </a:lnTo>
                  <a:lnTo>
                    <a:pt x="1882" y="1242"/>
                  </a:lnTo>
                  <a:lnTo>
                    <a:pt x="1884" y="1244"/>
                  </a:lnTo>
                  <a:lnTo>
                    <a:pt x="1881" y="1254"/>
                  </a:lnTo>
                  <a:lnTo>
                    <a:pt x="1875" y="1263"/>
                  </a:lnTo>
                  <a:lnTo>
                    <a:pt x="1853" y="1265"/>
                  </a:lnTo>
                  <a:lnTo>
                    <a:pt x="1847" y="1268"/>
                  </a:lnTo>
                  <a:lnTo>
                    <a:pt x="1838" y="1275"/>
                  </a:lnTo>
                  <a:lnTo>
                    <a:pt x="1834" y="1276"/>
                  </a:lnTo>
                  <a:lnTo>
                    <a:pt x="1822" y="1269"/>
                  </a:lnTo>
                  <a:lnTo>
                    <a:pt x="1815" y="1267"/>
                  </a:lnTo>
                  <a:lnTo>
                    <a:pt x="1809" y="1267"/>
                  </a:lnTo>
                  <a:lnTo>
                    <a:pt x="1794" y="1274"/>
                  </a:lnTo>
                  <a:lnTo>
                    <a:pt x="1774" y="1287"/>
                  </a:lnTo>
                  <a:lnTo>
                    <a:pt x="1763" y="1292"/>
                  </a:lnTo>
                  <a:lnTo>
                    <a:pt x="1749" y="1294"/>
                  </a:lnTo>
                  <a:lnTo>
                    <a:pt x="1719" y="1294"/>
                  </a:lnTo>
                  <a:lnTo>
                    <a:pt x="1716" y="1294"/>
                  </a:lnTo>
                  <a:lnTo>
                    <a:pt x="1707" y="1287"/>
                  </a:lnTo>
                  <a:lnTo>
                    <a:pt x="1700" y="1289"/>
                  </a:lnTo>
                  <a:lnTo>
                    <a:pt x="1697" y="1293"/>
                  </a:lnTo>
                  <a:lnTo>
                    <a:pt x="1695" y="1296"/>
                  </a:lnTo>
                  <a:lnTo>
                    <a:pt x="1691" y="1321"/>
                  </a:lnTo>
                  <a:lnTo>
                    <a:pt x="1688" y="1328"/>
                  </a:lnTo>
                  <a:lnTo>
                    <a:pt x="1679" y="1334"/>
                  </a:lnTo>
                  <a:lnTo>
                    <a:pt x="1645" y="1340"/>
                  </a:lnTo>
                  <a:lnTo>
                    <a:pt x="1639" y="1342"/>
                  </a:lnTo>
                  <a:lnTo>
                    <a:pt x="1630" y="1355"/>
                  </a:lnTo>
                  <a:lnTo>
                    <a:pt x="1610" y="1378"/>
                  </a:lnTo>
                  <a:lnTo>
                    <a:pt x="1607" y="1387"/>
                  </a:lnTo>
                  <a:lnTo>
                    <a:pt x="1606" y="1396"/>
                  </a:lnTo>
                  <a:lnTo>
                    <a:pt x="1606" y="1396"/>
                  </a:lnTo>
                  <a:lnTo>
                    <a:pt x="1594" y="1396"/>
                  </a:lnTo>
                  <a:lnTo>
                    <a:pt x="1583" y="1392"/>
                  </a:lnTo>
                  <a:lnTo>
                    <a:pt x="1575" y="1387"/>
                  </a:lnTo>
                  <a:lnTo>
                    <a:pt x="1568" y="1377"/>
                  </a:lnTo>
                  <a:lnTo>
                    <a:pt x="1564" y="1375"/>
                  </a:lnTo>
                  <a:lnTo>
                    <a:pt x="1560" y="1376"/>
                  </a:lnTo>
                  <a:lnTo>
                    <a:pt x="1549" y="1386"/>
                  </a:lnTo>
                  <a:lnTo>
                    <a:pt x="1541" y="1381"/>
                  </a:lnTo>
                  <a:lnTo>
                    <a:pt x="1536" y="1383"/>
                  </a:lnTo>
                  <a:lnTo>
                    <a:pt x="1532" y="1383"/>
                  </a:lnTo>
                  <a:lnTo>
                    <a:pt x="1531" y="1374"/>
                  </a:lnTo>
                  <a:lnTo>
                    <a:pt x="1517" y="1358"/>
                  </a:lnTo>
                  <a:lnTo>
                    <a:pt x="1518" y="1354"/>
                  </a:lnTo>
                  <a:lnTo>
                    <a:pt x="1527" y="1345"/>
                  </a:lnTo>
                  <a:lnTo>
                    <a:pt x="1528" y="1341"/>
                  </a:lnTo>
                  <a:lnTo>
                    <a:pt x="1527" y="1338"/>
                  </a:lnTo>
                  <a:lnTo>
                    <a:pt x="1523" y="1335"/>
                  </a:lnTo>
                  <a:lnTo>
                    <a:pt x="1521" y="1334"/>
                  </a:lnTo>
                  <a:lnTo>
                    <a:pt x="1518" y="1334"/>
                  </a:lnTo>
                  <a:lnTo>
                    <a:pt x="1509" y="1336"/>
                  </a:lnTo>
                  <a:lnTo>
                    <a:pt x="1506" y="1336"/>
                  </a:lnTo>
                  <a:lnTo>
                    <a:pt x="1504" y="1333"/>
                  </a:lnTo>
                  <a:lnTo>
                    <a:pt x="1503" y="1328"/>
                  </a:lnTo>
                  <a:lnTo>
                    <a:pt x="1505" y="1315"/>
                  </a:lnTo>
                  <a:lnTo>
                    <a:pt x="1508" y="1311"/>
                  </a:lnTo>
                  <a:lnTo>
                    <a:pt x="1518" y="1294"/>
                  </a:lnTo>
                  <a:lnTo>
                    <a:pt x="1520" y="1282"/>
                  </a:lnTo>
                  <a:lnTo>
                    <a:pt x="1522" y="1279"/>
                  </a:lnTo>
                  <a:lnTo>
                    <a:pt x="1538" y="1276"/>
                  </a:lnTo>
                  <a:lnTo>
                    <a:pt x="1540" y="1274"/>
                  </a:lnTo>
                  <a:lnTo>
                    <a:pt x="1544" y="1269"/>
                  </a:lnTo>
                  <a:lnTo>
                    <a:pt x="1546" y="1262"/>
                  </a:lnTo>
                  <a:lnTo>
                    <a:pt x="1548" y="1251"/>
                  </a:lnTo>
                  <a:lnTo>
                    <a:pt x="1548" y="1245"/>
                  </a:lnTo>
                  <a:lnTo>
                    <a:pt x="1547" y="1242"/>
                  </a:lnTo>
                  <a:lnTo>
                    <a:pt x="1544" y="1240"/>
                  </a:lnTo>
                  <a:lnTo>
                    <a:pt x="1539" y="1238"/>
                  </a:lnTo>
                  <a:lnTo>
                    <a:pt x="1530" y="1236"/>
                  </a:lnTo>
                  <a:lnTo>
                    <a:pt x="1528" y="1234"/>
                  </a:lnTo>
                  <a:lnTo>
                    <a:pt x="1529" y="1228"/>
                  </a:lnTo>
                  <a:lnTo>
                    <a:pt x="1535" y="1220"/>
                  </a:lnTo>
                  <a:lnTo>
                    <a:pt x="1537" y="1214"/>
                  </a:lnTo>
                  <a:lnTo>
                    <a:pt x="1534" y="1208"/>
                  </a:lnTo>
                  <a:lnTo>
                    <a:pt x="1523" y="1197"/>
                  </a:lnTo>
                  <a:lnTo>
                    <a:pt x="1512" y="1188"/>
                  </a:lnTo>
                  <a:lnTo>
                    <a:pt x="1487" y="1187"/>
                  </a:lnTo>
                  <a:lnTo>
                    <a:pt x="1485" y="1187"/>
                  </a:lnTo>
                  <a:lnTo>
                    <a:pt x="1484" y="1185"/>
                  </a:lnTo>
                  <a:lnTo>
                    <a:pt x="1481" y="1179"/>
                  </a:lnTo>
                  <a:lnTo>
                    <a:pt x="1480" y="1172"/>
                  </a:lnTo>
                  <a:lnTo>
                    <a:pt x="1479" y="1146"/>
                  </a:lnTo>
                  <a:lnTo>
                    <a:pt x="1481" y="1139"/>
                  </a:lnTo>
                  <a:lnTo>
                    <a:pt x="1480" y="1137"/>
                  </a:lnTo>
                  <a:lnTo>
                    <a:pt x="1474" y="1140"/>
                  </a:lnTo>
                  <a:lnTo>
                    <a:pt x="1465" y="1148"/>
                  </a:lnTo>
                  <a:lnTo>
                    <a:pt x="1438" y="1176"/>
                  </a:lnTo>
                  <a:lnTo>
                    <a:pt x="1407" y="1216"/>
                  </a:lnTo>
                  <a:lnTo>
                    <a:pt x="1389" y="1238"/>
                  </a:lnTo>
                  <a:lnTo>
                    <a:pt x="1372" y="1265"/>
                  </a:lnTo>
                  <a:lnTo>
                    <a:pt x="1368" y="1270"/>
                  </a:lnTo>
                  <a:lnTo>
                    <a:pt x="1364" y="1268"/>
                  </a:lnTo>
                  <a:lnTo>
                    <a:pt x="1359" y="1258"/>
                  </a:lnTo>
                  <a:lnTo>
                    <a:pt x="1356" y="1254"/>
                  </a:lnTo>
                  <a:lnTo>
                    <a:pt x="1355" y="1257"/>
                  </a:lnTo>
                  <a:lnTo>
                    <a:pt x="1353" y="1262"/>
                  </a:lnTo>
                  <a:lnTo>
                    <a:pt x="1352" y="1274"/>
                  </a:lnTo>
                  <a:lnTo>
                    <a:pt x="1350" y="1275"/>
                  </a:lnTo>
                  <a:lnTo>
                    <a:pt x="1348" y="1275"/>
                  </a:lnTo>
                  <a:lnTo>
                    <a:pt x="1346" y="1269"/>
                  </a:lnTo>
                  <a:lnTo>
                    <a:pt x="1345" y="1256"/>
                  </a:lnTo>
                  <a:lnTo>
                    <a:pt x="1342" y="1251"/>
                  </a:lnTo>
                  <a:lnTo>
                    <a:pt x="1339" y="1250"/>
                  </a:lnTo>
                  <a:lnTo>
                    <a:pt x="1328" y="1253"/>
                  </a:lnTo>
                  <a:lnTo>
                    <a:pt x="1314" y="1263"/>
                  </a:lnTo>
                  <a:lnTo>
                    <a:pt x="1313" y="1263"/>
                  </a:lnTo>
                  <a:lnTo>
                    <a:pt x="1311" y="1262"/>
                  </a:lnTo>
                  <a:lnTo>
                    <a:pt x="1310" y="1257"/>
                  </a:lnTo>
                  <a:lnTo>
                    <a:pt x="1307" y="1243"/>
                  </a:lnTo>
                  <a:lnTo>
                    <a:pt x="1302" y="1227"/>
                  </a:lnTo>
                  <a:lnTo>
                    <a:pt x="1301" y="1220"/>
                  </a:lnTo>
                  <a:lnTo>
                    <a:pt x="1302" y="1211"/>
                  </a:lnTo>
                  <a:lnTo>
                    <a:pt x="1304" y="1206"/>
                  </a:lnTo>
                  <a:lnTo>
                    <a:pt x="1321" y="1192"/>
                  </a:lnTo>
                  <a:lnTo>
                    <a:pt x="1327" y="1187"/>
                  </a:lnTo>
                  <a:lnTo>
                    <a:pt x="1329" y="1174"/>
                  </a:lnTo>
                  <a:lnTo>
                    <a:pt x="1330" y="1163"/>
                  </a:lnTo>
                  <a:lnTo>
                    <a:pt x="1329" y="1160"/>
                  </a:lnTo>
                  <a:lnTo>
                    <a:pt x="1328" y="1160"/>
                  </a:lnTo>
                  <a:lnTo>
                    <a:pt x="1312" y="1177"/>
                  </a:lnTo>
                  <a:lnTo>
                    <a:pt x="1307" y="1180"/>
                  </a:lnTo>
                  <a:lnTo>
                    <a:pt x="1304" y="1181"/>
                  </a:lnTo>
                  <a:lnTo>
                    <a:pt x="1303" y="1180"/>
                  </a:lnTo>
                  <a:lnTo>
                    <a:pt x="1296" y="1158"/>
                  </a:lnTo>
                  <a:lnTo>
                    <a:pt x="1295" y="1155"/>
                  </a:lnTo>
                  <a:lnTo>
                    <a:pt x="1293" y="1155"/>
                  </a:lnTo>
                  <a:lnTo>
                    <a:pt x="1288" y="1156"/>
                  </a:lnTo>
                  <a:lnTo>
                    <a:pt x="1283" y="1160"/>
                  </a:lnTo>
                  <a:lnTo>
                    <a:pt x="1261" y="1192"/>
                  </a:lnTo>
                  <a:lnTo>
                    <a:pt x="1244" y="1208"/>
                  </a:lnTo>
                  <a:lnTo>
                    <a:pt x="1232" y="1221"/>
                  </a:lnTo>
                  <a:lnTo>
                    <a:pt x="1228" y="1221"/>
                  </a:lnTo>
                  <a:lnTo>
                    <a:pt x="1217" y="1214"/>
                  </a:lnTo>
                  <a:lnTo>
                    <a:pt x="1209" y="1215"/>
                  </a:lnTo>
                  <a:lnTo>
                    <a:pt x="1194" y="1218"/>
                  </a:lnTo>
                  <a:lnTo>
                    <a:pt x="1191" y="1217"/>
                  </a:lnTo>
                  <a:lnTo>
                    <a:pt x="1186" y="1214"/>
                  </a:lnTo>
                  <a:lnTo>
                    <a:pt x="1181" y="1212"/>
                  </a:lnTo>
                  <a:lnTo>
                    <a:pt x="1175" y="1212"/>
                  </a:lnTo>
                  <a:lnTo>
                    <a:pt x="1168" y="1213"/>
                  </a:lnTo>
                  <a:lnTo>
                    <a:pt x="1167" y="1214"/>
                  </a:lnTo>
                  <a:lnTo>
                    <a:pt x="1160" y="1225"/>
                  </a:lnTo>
                  <a:lnTo>
                    <a:pt x="1155" y="1231"/>
                  </a:lnTo>
                  <a:lnTo>
                    <a:pt x="1136" y="1245"/>
                  </a:lnTo>
                  <a:lnTo>
                    <a:pt x="1125" y="1256"/>
                  </a:lnTo>
                  <a:lnTo>
                    <a:pt x="1122" y="1257"/>
                  </a:lnTo>
                  <a:lnTo>
                    <a:pt x="1120" y="1254"/>
                  </a:lnTo>
                  <a:lnTo>
                    <a:pt x="1120" y="1249"/>
                  </a:lnTo>
                  <a:lnTo>
                    <a:pt x="1124" y="1235"/>
                  </a:lnTo>
                  <a:lnTo>
                    <a:pt x="1124" y="1231"/>
                  </a:lnTo>
                  <a:lnTo>
                    <a:pt x="1120" y="1221"/>
                  </a:lnTo>
                  <a:lnTo>
                    <a:pt x="1112" y="1210"/>
                  </a:lnTo>
                  <a:lnTo>
                    <a:pt x="1106" y="1208"/>
                  </a:lnTo>
                  <a:lnTo>
                    <a:pt x="1095" y="1213"/>
                  </a:lnTo>
                  <a:lnTo>
                    <a:pt x="1090" y="1202"/>
                  </a:lnTo>
                  <a:lnTo>
                    <a:pt x="1087" y="1197"/>
                  </a:lnTo>
                  <a:lnTo>
                    <a:pt x="1079" y="1197"/>
                  </a:lnTo>
                  <a:lnTo>
                    <a:pt x="1066" y="1198"/>
                  </a:lnTo>
                  <a:lnTo>
                    <a:pt x="1060" y="1197"/>
                  </a:lnTo>
                  <a:lnTo>
                    <a:pt x="1058" y="1195"/>
                  </a:lnTo>
                  <a:lnTo>
                    <a:pt x="1054" y="1191"/>
                  </a:lnTo>
                  <a:lnTo>
                    <a:pt x="1052" y="1177"/>
                  </a:lnTo>
                  <a:lnTo>
                    <a:pt x="1045" y="1168"/>
                  </a:lnTo>
                  <a:lnTo>
                    <a:pt x="1024" y="1152"/>
                  </a:lnTo>
                  <a:lnTo>
                    <a:pt x="983" y="1127"/>
                  </a:lnTo>
                  <a:lnTo>
                    <a:pt x="974" y="1124"/>
                  </a:lnTo>
                  <a:lnTo>
                    <a:pt x="965" y="1122"/>
                  </a:lnTo>
                  <a:lnTo>
                    <a:pt x="944" y="1131"/>
                  </a:lnTo>
                  <a:lnTo>
                    <a:pt x="915" y="1130"/>
                  </a:lnTo>
                  <a:lnTo>
                    <a:pt x="907" y="1127"/>
                  </a:lnTo>
                  <a:lnTo>
                    <a:pt x="901" y="1121"/>
                  </a:lnTo>
                  <a:lnTo>
                    <a:pt x="897" y="1119"/>
                  </a:lnTo>
                  <a:lnTo>
                    <a:pt x="878" y="1117"/>
                  </a:lnTo>
                  <a:lnTo>
                    <a:pt x="874" y="1117"/>
                  </a:lnTo>
                  <a:lnTo>
                    <a:pt x="869" y="1121"/>
                  </a:lnTo>
                  <a:lnTo>
                    <a:pt x="864" y="1122"/>
                  </a:lnTo>
                  <a:lnTo>
                    <a:pt x="855" y="1117"/>
                  </a:lnTo>
                  <a:lnTo>
                    <a:pt x="838" y="1102"/>
                  </a:lnTo>
                  <a:lnTo>
                    <a:pt x="831" y="1090"/>
                  </a:lnTo>
                  <a:lnTo>
                    <a:pt x="825" y="1084"/>
                  </a:lnTo>
                  <a:lnTo>
                    <a:pt x="767" y="1078"/>
                  </a:lnTo>
                  <a:lnTo>
                    <a:pt x="738" y="1071"/>
                  </a:lnTo>
                  <a:lnTo>
                    <a:pt x="730" y="1069"/>
                  </a:lnTo>
                  <a:lnTo>
                    <a:pt x="723" y="1054"/>
                  </a:lnTo>
                  <a:lnTo>
                    <a:pt x="713" y="1052"/>
                  </a:lnTo>
                  <a:lnTo>
                    <a:pt x="692" y="1051"/>
                  </a:lnTo>
                  <a:lnTo>
                    <a:pt x="684" y="1051"/>
                  </a:lnTo>
                  <a:lnTo>
                    <a:pt x="681" y="1053"/>
                  </a:lnTo>
                  <a:lnTo>
                    <a:pt x="679" y="1074"/>
                  </a:lnTo>
                  <a:lnTo>
                    <a:pt x="673" y="1078"/>
                  </a:lnTo>
                  <a:lnTo>
                    <a:pt x="667" y="1080"/>
                  </a:lnTo>
                  <a:lnTo>
                    <a:pt x="665" y="1079"/>
                  </a:lnTo>
                  <a:lnTo>
                    <a:pt x="648" y="1067"/>
                  </a:lnTo>
                  <a:lnTo>
                    <a:pt x="617" y="1067"/>
                  </a:lnTo>
                  <a:lnTo>
                    <a:pt x="612" y="1069"/>
                  </a:lnTo>
                  <a:lnTo>
                    <a:pt x="609" y="1071"/>
                  </a:lnTo>
                  <a:lnTo>
                    <a:pt x="608" y="1074"/>
                  </a:lnTo>
                  <a:lnTo>
                    <a:pt x="609" y="1077"/>
                  </a:lnTo>
                  <a:lnTo>
                    <a:pt x="620" y="1091"/>
                  </a:lnTo>
                  <a:lnTo>
                    <a:pt x="618" y="1097"/>
                  </a:lnTo>
                  <a:lnTo>
                    <a:pt x="611" y="1103"/>
                  </a:lnTo>
                  <a:lnTo>
                    <a:pt x="608" y="1108"/>
                  </a:lnTo>
                  <a:lnTo>
                    <a:pt x="605" y="1117"/>
                  </a:lnTo>
                  <a:lnTo>
                    <a:pt x="607" y="1124"/>
                  </a:lnTo>
                  <a:lnTo>
                    <a:pt x="611" y="1132"/>
                  </a:lnTo>
                  <a:lnTo>
                    <a:pt x="616" y="1139"/>
                  </a:lnTo>
                  <a:lnTo>
                    <a:pt x="623" y="1145"/>
                  </a:lnTo>
                  <a:lnTo>
                    <a:pt x="638" y="1155"/>
                  </a:lnTo>
                  <a:lnTo>
                    <a:pt x="644" y="1166"/>
                  </a:lnTo>
                  <a:lnTo>
                    <a:pt x="644" y="1172"/>
                  </a:lnTo>
                  <a:lnTo>
                    <a:pt x="643" y="1176"/>
                  </a:lnTo>
                  <a:lnTo>
                    <a:pt x="638" y="1181"/>
                  </a:lnTo>
                  <a:lnTo>
                    <a:pt x="635" y="1185"/>
                  </a:lnTo>
                  <a:lnTo>
                    <a:pt x="630" y="1188"/>
                  </a:lnTo>
                  <a:lnTo>
                    <a:pt x="619" y="1192"/>
                  </a:lnTo>
                  <a:lnTo>
                    <a:pt x="608" y="1196"/>
                  </a:lnTo>
                  <a:lnTo>
                    <a:pt x="603" y="1196"/>
                  </a:lnTo>
                  <a:lnTo>
                    <a:pt x="599" y="1195"/>
                  </a:lnTo>
                  <a:lnTo>
                    <a:pt x="596" y="1195"/>
                  </a:lnTo>
                  <a:lnTo>
                    <a:pt x="589" y="1209"/>
                  </a:lnTo>
                  <a:lnTo>
                    <a:pt x="584" y="1212"/>
                  </a:lnTo>
                  <a:lnTo>
                    <a:pt x="578" y="1215"/>
                  </a:lnTo>
                  <a:lnTo>
                    <a:pt x="569" y="1218"/>
                  </a:lnTo>
                  <a:lnTo>
                    <a:pt x="561" y="1213"/>
                  </a:lnTo>
                  <a:lnTo>
                    <a:pt x="548" y="1210"/>
                  </a:lnTo>
                  <a:lnTo>
                    <a:pt x="543" y="1203"/>
                  </a:lnTo>
                  <a:lnTo>
                    <a:pt x="538" y="1189"/>
                  </a:lnTo>
                  <a:lnTo>
                    <a:pt x="535" y="1185"/>
                  </a:lnTo>
                  <a:lnTo>
                    <a:pt x="530" y="1182"/>
                  </a:lnTo>
                  <a:lnTo>
                    <a:pt x="521" y="1179"/>
                  </a:lnTo>
                  <a:lnTo>
                    <a:pt x="519" y="1176"/>
                  </a:lnTo>
                  <a:lnTo>
                    <a:pt x="515" y="1169"/>
                  </a:lnTo>
                  <a:lnTo>
                    <a:pt x="513" y="1168"/>
                  </a:lnTo>
                  <a:lnTo>
                    <a:pt x="508" y="1167"/>
                  </a:lnTo>
                  <a:lnTo>
                    <a:pt x="423" y="1176"/>
                  </a:lnTo>
                  <a:lnTo>
                    <a:pt x="410" y="1178"/>
                  </a:lnTo>
                  <a:lnTo>
                    <a:pt x="406" y="1179"/>
                  </a:lnTo>
                  <a:lnTo>
                    <a:pt x="403" y="1184"/>
                  </a:lnTo>
                  <a:lnTo>
                    <a:pt x="394" y="1199"/>
                  </a:lnTo>
                  <a:lnTo>
                    <a:pt x="381" y="1209"/>
                  </a:lnTo>
                  <a:lnTo>
                    <a:pt x="379" y="1212"/>
                  </a:lnTo>
                  <a:lnTo>
                    <a:pt x="379" y="1222"/>
                  </a:lnTo>
                  <a:lnTo>
                    <a:pt x="375" y="1227"/>
                  </a:lnTo>
                  <a:lnTo>
                    <a:pt x="368" y="1228"/>
                  </a:lnTo>
                  <a:lnTo>
                    <a:pt x="363" y="1228"/>
                  </a:lnTo>
                  <a:lnTo>
                    <a:pt x="361" y="1227"/>
                  </a:lnTo>
                  <a:lnTo>
                    <a:pt x="354" y="1222"/>
                  </a:lnTo>
                  <a:lnTo>
                    <a:pt x="341" y="1218"/>
                  </a:lnTo>
                  <a:lnTo>
                    <a:pt x="336" y="1218"/>
                  </a:lnTo>
                  <a:lnTo>
                    <a:pt x="330" y="1222"/>
                  </a:lnTo>
                  <a:lnTo>
                    <a:pt x="322" y="1230"/>
                  </a:lnTo>
                  <a:lnTo>
                    <a:pt x="313" y="1248"/>
                  </a:lnTo>
                  <a:lnTo>
                    <a:pt x="309" y="1251"/>
                  </a:lnTo>
                  <a:lnTo>
                    <a:pt x="294" y="1265"/>
                  </a:lnTo>
                  <a:lnTo>
                    <a:pt x="292" y="1269"/>
                  </a:lnTo>
                  <a:lnTo>
                    <a:pt x="290" y="1282"/>
                  </a:lnTo>
                  <a:lnTo>
                    <a:pt x="283" y="1291"/>
                  </a:lnTo>
                  <a:lnTo>
                    <a:pt x="282" y="1293"/>
                  </a:lnTo>
                  <a:lnTo>
                    <a:pt x="284" y="1309"/>
                  </a:lnTo>
                  <a:lnTo>
                    <a:pt x="283" y="1319"/>
                  </a:lnTo>
                  <a:lnTo>
                    <a:pt x="279" y="1323"/>
                  </a:lnTo>
                  <a:lnTo>
                    <a:pt x="275" y="1327"/>
                  </a:lnTo>
                  <a:lnTo>
                    <a:pt x="262" y="1329"/>
                  </a:lnTo>
                  <a:lnTo>
                    <a:pt x="259" y="1330"/>
                  </a:lnTo>
                  <a:lnTo>
                    <a:pt x="259" y="1332"/>
                  </a:lnTo>
                  <a:lnTo>
                    <a:pt x="260" y="1342"/>
                  </a:lnTo>
                  <a:lnTo>
                    <a:pt x="258" y="1353"/>
                  </a:lnTo>
                  <a:lnTo>
                    <a:pt x="250" y="1374"/>
                  </a:lnTo>
                  <a:lnTo>
                    <a:pt x="246" y="1378"/>
                  </a:lnTo>
                  <a:lnTo>
                    <a:pt x="240" y="1383"/>
                  </a:lnTo>
                  <a:lnTo>
                    <a:pt x="240" y="1383"/>
                  </a:lnTo>
                  <a:lnTo>
                    <a:pt x="234" y="1382"/>
                  </a:lnTo>
                  <a:lnTo>
                    <a:pt x="216" y="1373"/>
                  </a:lnTo>
                  <a:lnTo>
                    <a:pt x="213" y="1370"/>
                  </a:lnTo>
                  <a:lnTo>
                    <a:pt x="212" y="1361"/>
                  </a:lnTo>
                  <a:lnTo>
                    <a:pt x="211" y="1341"/>
                  </a:lnTo>
                  <a:lnTo>
                    <a:pt x="210" y="1336"/>
                  </a:lnTo>
                  <a:lnTo>
                    <a:pt x="204" y="1330"/>
                  </a:lnTo>
                  <a:lnTo>
                    <a:pt x="203" y="1325"/>
                  </a:lnTo>
                  <a:lnTo>
                    <a:pt x="204" y="1311"/>
                  </a:lnTo>
                  <a:lnTo>
                    <a:pt x="202" y="1305"/>
                  </a:lnTo>
                  <a:lnTo>
                    <a:pt x="198" y="1300"/>
                  </a:lnTo>
                  <a:lnTo>
                    <a:pt x="195" y="1299"/>
                  </a:lnTo>
                  <a:lnTo>
                    <a:pt x="192" y="1299"/>
                  </a:lnTo>
                  <a:lnTo>
                    <a:pt x="176" y="1311"/>
                  </a:lnTo>
                  <a:lnTo>
                    <a:pt x="170" y="1310"/>
                  </a:lnTo>
                  <a:lnTo>
                    <a:pt x="163" y="1313"/>
                  </a:lnTo>
                  <a:lnTo>
                    <a:pt x="156" y="1315"/>
                  </a:lnTo>
                  <a:lnTo>
                    <a:pt x="151" y="1315"/>
                  </a:lnTo>
                  <a:lnTo>
                    <a:pt x="149" y="1313"/>
                  </a:lnTo>
                  <a:lnTo>
                    <a:pt x="149" y="1310"/>
                  </a:lnTo>
                  <a:lnTo>
                    <a:pt x="153" y="1296"/>
                  </a:lnTo>
                  <a:lnTo>
                    <a:pt x="151" y="1293"/>
                  </a:lnTo>
                  <a:lnTo>
                    <a:pt x="143" y="1288"/>
                  </a:lnTo>
                  <a:lnTo>
                    <a:pt x="140" y="1283"/>
                  </a:lnTo>
                  <a:lnTo>
                    <a:pt x="140" y="1275"/>
                  </a:lnTo>
                  <a:lnTo>
                    <a:pt x="143" y="1257"/>
                  </a:lnTo>
                  <a:lnTo>
                    <a:pt x="143" y="1250"/>
                  </a:lnTo>
                  <a:lnTo>
                    <a:pt x="141" y="1244"/>
                  </a:lnTo>
                  <a:lnTo>
                    <a:pt x="134" y="1239"/>
                  </a:lnTo>
                  <a:lnTo>
                    <a:pt x="133" y="1236"/>
                  </a:lnTo>
                  <a:lnTo>
                    <a:pt x="139" y="1224"/>
                  </a:lnTo>
                  <a:lnTo>
                    <a:pt x="139" y="1222"/>
                  </a:lnTo>
                  <a:lnTo>
                    <a:pt x="133" y="1216"/>
                  </a:lnTo>
                  <a:lnTo>
                    <a:pt x="121" y="1213"/>
                  </a:lnTo>
                  <a:lnTo>
                    <a:pt x="117" y="1212"/>
                  </a:lnTo>
                  <a:lnTo>
                    <a:pt x="115" y="1208"/>
                  </a:lnTo>
                  <a:lnTo>
                    <a:pt x="112" y="1192"/>
                  </a:lnTo>
                  <a:lnTo>
                    <a:pt x="110" y="1189"/>
                  </a:lnTo>
                  <a:lnTo>
                    <a:pt x="108" y="1187"/>
                  </a:lnTo>
                  <a:lnTo>
                    <a:pt x="102" y="1186"/>
                  </a:lnTo>
                  <a:lnTo>
                    <a:pt x="98" y="1187"/>
                  </a:lnTo>
                  <a:lnTo>
                    <a:pt x="99" y="1190"/>
                  </a:lnTo>
                  <a:lnTo>
                    <a:pt x="103" y="1198"/>
                  </a:lnTo>
                  <a:lnTo>
                    <a:pt x="104" y="1203"/>
                  </a:lnTo>
                  <a:lnTo>
                    <a:pt x="102" y="1206"/>
                  </a:lnTo>
                  <a:lnTo>
                    <a:pt x="98" y="1205"/>
                  </a:lnTo>
                  <a:lnTo>
                    <a:pt x="91" y="1199"/>
                  </a:lnTo>
                  <a:lnTo>
                    <a:pt x="86" y="1189"/>
                  </a:lnTo>
                  <a:lnTo>
                    <a:pt x="82" y="1170"/>
                  </a:lnTo>
                  <a:lnTo>
                    <a:pt x="79" y="1161"/>
                  </a:lnTo>
                  <a:lnTo>
                    <a:pt x="73" y="1149"/>
                  </a:lnTo>
                  <a:lnTo>
                    <a:pt x="68" y="1141"/>
                  </a:lnTo>
                  <a:lnTo>
                    <a:pt x="64" y="1139"/>
                  </a:lnTo>
                  <a:lnTo>
                    <a:pt x="62" y="1141"/>
                  </a:lnTo>
                  <a:lnTo>
                    <a:pt x="51" y="1157"/>
                  </a:lnTo>
                  <a:lnTo>
                    <a:pt x="45" y="1167"/>
                  </a:lnTo>
                  <a:lnTo>
                    <a:pt x="41" y="1181"/>
                  </a:lnTo>
                  <a:lnTo>
                    <a:pt x="38" y="1188"/>
                  </a:lnTo>
                  <a:lnTo>
                    <a:pt x="34" y="1190"/>
                  </a:lnTo>
                  <a:lnTo>
                    <a:pt x="31" y="1189"/>
                  </a:lnTo>
                  <a:lnTo>
                    <a:pt x="21" y="1186"/>
                  </a:lnTo>
                  <a:lnTo>
                    <a:pt x="18" y="1182"/>
                  </a:lnTo>
                  <a:lnTo>
                    <a:pt x="17" y="1178"/>
                  </a:lnTo>
                  <a:lnTo>
                    <a:pt x="19" y="1171"/>
                  </a:lnTo>
                  <a:lnTo>
                    <a:pt x="19" y="1167"/>
                  </a:lnTo>
                  <a:lnTo>
                    <a:pt x="15" y="1162"/>
                  </a:lnTo>
                  <a:lnTo>
                    <a:pt x="8" y="1152"/>
                  </a:lnTo>
                  <a:lnTo>
                    <a:pt x="4" y="1155"/>
                  </a:lnTo>
                  <a:lnTo>
                    <a:pt x="3" y="1155"/>
                  </a:lnTo>
                  <a:lnTo>
                    <a:pt x="0" y="1150"/>
                  </a:lnTo>
                  <a:lnTo>
                    <a:pt x="0" y="1144"/>
                  </a:lnTo>
                  <a:lnTo>
                    <a:pt x="2" y="1139"/>
                  </a:lnTo>
                  <a:lnTo>
                    <a:pt x="6" y="1136"/>
                  </a:lnTo>
                  <a:lnTo>
                    <a:pt x="25" y="1137"/>
                  </a:lnTo>
                  <a:lnTo>
                    <a:pt x="27" y="1134"/>
                  </a:lnTo>
                  <a:lnTo>
                    <a:pt x="30" y="1127"/>
                  </a:lnTo>
                  <a:lnTo>
                    <a:pt x="32" y="1125"/>
                  </a:lnTo>
                  <a:lnTo>
                    <a:pt x="34" y="1126"/>
                  </a:lnTo>
                  <a:lnTo>
                    <a:pt x="39" y="1132"/>
                  </a:lnTo>
                  <a:lnTo>
                    <a:pt x="40" y="1132"/>
                  </a:lnTo>
                  <a:lnTo>
                    <a:pt x="41" y="1125"/>
                  </a:lnTo>
                  <a:lnTo>
                    <a:pt x="42" y="1079"/>
                  </a:lnTo>
                  <a:lnTo>
                    <a:pt x="38" y="1072"/>
                  </a:lnTo>
                  <a:lnTo>
                    <a:pt x="43" y="1063"/>
                  </a:lnTo>
                  <a:lnTo>
                    <a:pt x="45" y="1053"/>
                  </a:lnTo>
                  <a:lnTo>
                    <a:pt x="48" y="1037"/>
                  </a:lnTo>
                  <a:lnTo>
                    <a:pt x="49" y="1018"/>
                  </a:lnTo>
                  <a:lnTo>
                    <a:pt x="46" y="1005"/>
                  </a:lnTo>
                  <a:lnTo>
                    <a:pt x="41" y="996"/>
                  </a:lnTo>
                  <a:lnTo>
                    <a:pt x="33" y="987"/>
                  </a:lnTo>
                  <a:lnTo>
                    <a:pt x="12" y="970"/>
                  </a:lnTo>
                  <a:lnTo>
                    <a:pt x="10" y="965"/>
                  </a:lnTo>
                  <a:lnTo>
                    <a:pt x="20" y="928"/>
                  </a:lnTo>
                  <a:lnTo>
                    <a:pt x="22" y="923"/>
                  </a:lnTo>
                  <a:lnTo>
                    <a:pt x="26" y="922"/>
                  </a:lnTo>
                  <a:lnTo>
                    <a:pt x="45" y="928"/>
                  </a:lnTo>
                  <a:lnTo>
                    <a:pt x="48" y="930"/>
                  </a:lnTo>
                  <a:lnTo>
                    <a:pt x="57" y="939"/>
                  </a:lnTo>
                  <a:lnTo>
                    <a:pt x="60" y="940"/>
                  </a:lnTo>
                  <a:lnTo>
                    <a:pt x="64" y="937"/>
                  </a:lnTo>
                  <a:lnTo>
                    <a:pt x="69" y="930"/>
                  </a:lnTo>
                  <a:lnTo>
                    <a:pt x="79" y="904"/>
                  </a:lnTo>
                  <a:lnTo>
                    <a:pt x="82" y="898"/>
                  </a:lnTo>
                  <a:lnTo>
                    <a:pt x="86" y="896"/>
                  </a:lnTo>
                  <a:lnTo>
                    <a:pt x="91" y="897"/>
                  </a:lnTo>
                  <a:lnTo>
                    <a:pt x="97" y="901"/>
                  </a:lnTo>
                  <a:lnTo>
                    <a:pt x="100" y="905"/>
                  </a:lnTo>
                  <a:lnTo>
                    <a:pt x="103" y="916"/>
                  </a:lnTo>
                  <a:lnTo>
                    <a:pt x="105" y="918"/>
                  </a:lnTo>
                  <a:lnTo>
                    <a:pt x="108" y="918"/>
                  </a:lnTo>
                  <a:lnTo>
                    <a:pt x="121" y="911"/>
                  </a:lnTo>
                  <a:lnTo>
                    <a:pt x="129" y="912"/>
                  </a:lnTo>
                  <a:lnTo>
                    <a:pt x="139" y="908"/>
                  </a:lnTo>
                  <a:lnTo>
                    <a:pt x="183" y="870"/>
                  </a:lnTo>
                  <a:lnTo>
                    <a:pt x="196" y="868"/>
                  </a:lnTo>
                  <a:lnTo>
                    <a:pt x="206" y="869"/>
                  </a:lnTo>
                  <a:lnTo>
                    <a:pt x="214" y="870"/>
                  </a:lnTo>
                  <a:lnTo>
                    <a:pt x="217" y="873"/>
                  </a:lnTo>
                  <a:lnTo>
                    <a:pt x="216" y="876"/>
                  </a:lnTo>
                  <a:lnTo>
                    <a:pt x="208" y="891"/>
                  </a:lnTo>
                  <a:lnTo>
                    <a:pt x="212" y="903"/>
                  </a:lnTo>
                  <a:lnTo>
                    <a:pt x="214" y="906"/>
                  </a:lnTo>
                  <a:lnTo>
                    <a:pt x="217" y="908"/>
                  </a:lnTo>
                  <a:lnTo>
                    <a:pt x="224" y="909"/>
                  </a:lnTo>
                  <a:lnTo>
                    <a:pt x="230" y="908"/>
                  </a:lnTo>
                  <a:lnTo>
                    <a:pt x="234" y="905"/>
                  </a:lnTo>
                  <a:lnTo>
                    <a:pt x="262" y="879"/>
                  </a:lnTo>
                  <a:lnTo>
                    <a:pt x="271" y="872"/>
                  </a:lnTo>
                  <a:lnTo>
                    <a:pt x="273" y="875"/>
                  </a:lnTo>
                  <a:lnTo>
                    <a:pt x="276" y="885"/>
                  </a:lnTo>
                  <a:lnTo>
                    <a:pt x="284" y="899"/>
                  </a:lnTo>
                  <a:lnTo>
                    <a:pt x="279" y="918"/>
                  </a:lnTo>
                  <a:lnTo>
                    <a:pt x="283" y="921"/>
                  </a:lnTo>
                  <a:lnTo>
                    <a:pt x="286" y="922"/>
                  </a:lnTo>
                  <a:lnTo>
                    <a:pt x="304" y="897"/>
                  </a:lnTo>
                  <a:lnTo>
                    <a:pt x="330" y="867"/>
                  </a:lnTo>
                  <a:lnTo>
                    <a:pt x="333" y="866"/>
                  </a:lnTo>
                  <a:lnTo>
                    <a:pt x="344" y="865"/>
                  </a:lnTo>
                  <a:lnTo>
                    <a:pt x="350" y="870"/>
                  </a:lnTo>
                  <a:lnTo>
                    <a:pt x="356" y="863"/>
                  </a:lnTo>
                  <a:lnTo>
                    <a:pt x="366" y="842"/>
                  </a:lnTo>
                  <a:lnTo>
                    <a:pt x="373" y="833"/>
                  </a:lnTo>
                  <a:lnTo>
                    <a:pt x="406" y="804"/>
                  </a:lnTo>
                  <a:lnTo>
                    <a:pt x="427" y="793"/>
                  </a:lnTo>
                  <a:lnTo>
                    <a:pt x="431" y="792"/>
                  </a:lnTo>
                  <a:lnTo>
                    <a:pt x="438" y="792"/>
                  </a:lnTo>
                  <a:lnTo>
                    <a:pt x="448" y="792"/>
                  </a:lnTo>
                  <a:lnTo>
                    <a:pt x="458" y="795"/>
                  </a:lnTo>
                  <a:lnTo>
                    <a:pt x="475" y="795"/>
                  </a:lnTo>
                  <a:lnTo>
                    <a:pt x="477" y="798"/>
                  </a:lnTo>
                  <a:lnTo>
                    <a:pt x="479" y="809"/>
                  </a:lnTo>
                  <a:lnTo>
                    <a:pt x="482" y="813"/>
                  </a:lnTo>
                  <a:lnTo>
                    <a:pt x="488" y="817"/>
                  </a:lnTo>
                  <a:lnTo>
                    <a:pt x="490" y="817"/>
                  </a:lnTo>
                  <a:lnTo>
                    <a:pt x="492" y="816"/>
                  </a:lnTo>
                  <a:lnTo>
                    <a:pt x="502" y="797"/>
                  </a:lnTo>
                  <a:lnTo>
                    <a:pt x="506" y="782"/>
                  </a:lnTo>
                  <a:lnTo>
                    <a:pt x="506" y="775"/>
                  </a:lnTo>
                  <a:lnTo>
                    <a:pt x="501" y="738"/>
                  </a:lnTo>
                  <a:lnTo>
                    <a:pt x="502" y="729"/>
                  </a:lnTo>
                  <a:lnTo>
                    <a:pt x="505" y="721"/>
                  </a:lnTo>
                  <a:lnTo>
                    <a:pt x="520" y="708"/>
                  </a:lnTo>
                  <a:lnTo>
                    <a:pt x="521" y="705"/>
                  </a:lnTo>
                  <a:lnTo>
                    <a:pt x="520" y="697"/>
                  </a:lnTo>
                  <a:lnTo>
                    <a:pt x="513" y="672"/>
                  </a:lnTo>
                  <a:lnTo>
                    <a:pt x="511" y="654"/>
                  </a:lnTo>
                  <a:lnTo>
                    <a:pt x="505" y="633"/>
                  </a:lnTo>
                  <a:lnTo>
                    <a:pt x="502" y="628"/>
                  </a:lnTo>
                  <a:lnTo>
                    <a:pt x="497" y="623"/>
                  </a:lnTo>
                  <a:lnTo>
                    <a:pt x="485" y="620"/>
                  </a:lnTo>
                  <a:lnTo>
                    <a:pt x="478" y="617"/>
                  </a:lnTo>
                  <a:lnTo>
                    <a:pt x="470" y="606"/>
                  </a:lnTo>
                  <a:lnTo>
                    <a:pt x="465" y="602"/>
                  </a:lnTo>
                  <a:lnTo>
                    <a:pt x="451" y="600"/>
                  </a:lnTo>
                  <a:lnTo>
                    <a:pt x="448" y="598"/>
                  </a:lnTo>
                  <a:lnTo>
                    <a:pt x="448" y="596"/>
                  </a:lnTo>
                  <a:lnTo>
                    <a:pt x="448" y="595"/>
                  </a:lnTo>
                  <a:lnTo>
                    <a:pt x="458" y="583"/>
                  </a:lnTo>
                  <a:lnTo>
                    <a:pt x="456" y="581"/>
                  </a:lnTo>
                  <a:lnTo>
                    <a:pt x="454" y="580"/>
                  </a:lnTo>
                  <a:lnTo>
                    <a:pt x="440" y="583"/>
                  </a:lnTo>
                  <a:lnTo>
                    <a:pt x="416" y="578"/>
                  </a:lnTo>
                  <a:lnTo>
                    <a:pt x="398" y="579"/>
                  </a:lnTo>
                  <a:lnTo>
                    <a:pt x="395" y="579"/>
                  </a:lnTo>
                  <a:lnTo>
                    <a:pt x="394" y="574"/>
                  </a:lnTo>
                  <a:lnTo>
                    <a:pt x="395" y="563"/>
                  </a:lnTo>
                  <a:lnTo>
                    <a:pt x="395" y="556"/>
                  </a:lnTo>
                  <a:lnTo>
                    <a:pt x="388" y="528"/>
                  </a:lnTo>
                  <a:lnTo>
                    <a:pt x="384" y="523"/>
                  </a:lnTo>
                  <a:lnTo>
                    <a:pt x="379" y="520"/>
                  </a:lnTo>
                  <a:lnTo>
                    <a:pt x="351" y="516"/>
                  </a:lnTo>
                  <a:lnTo>
                    <a:pt x="349" y="514"/>
                  </a:lnTo>
                  <a:lnTo>
                    <a:pt x="347" y="510"/>
                  </a:lnTo>
                  <a:lnTo>
                    <a:pt x="347" y="510"/>
                  </a:lnTo>
                  <a:lnTo>
                    <a:pt x="347" y="506"/>
                  </a:lnTo>
                  <a:lnTo>
                    <a:pt x="348" y="499"/>
                  </a:lnTo>
                  <a:lnTo>
                    <a:pt x="358" y="485"/>
                  </a:lnTo>
                  <a:lnTo>
                    <a:pt x="357" y="477"/>
                  </a:lnTo>
                  <a:lnTo>
                    <a:pt x="350" y="467"/>
                  </a:lnTo>
                  <a:lnTo>
                    <a:pt x="349" y="461"/>
                  </a:lnTo>
                  <a:lnTo>
                    <a:pt x="350" y="456"/>
                  </a:lnTo>
                  <a:lnTo>
                    <a:pt x="354" y="443"/>
                  </a:lnTo>
                  <a:lnTo>
                    <a:pt x="355" y="439"/>
                  </a:lnTo>
                  <a:lnTo>
                    <a:pt x="354" y="431"/>
                  </a:lnTo>
                  <a:lnTo>
                    <a:pt x="348" y="419"/>
                  </a:lnTo>
                  <a:lnTo>
                    <a:pt x="347" y="413"/>
                  </a:lnTo>
                  <a:lnTo>
                    <a:pt x="349" y="393"/>
                  </a:lnTo>
                  <a:lnTo>
                    <a:pt x="345" y="369"/>
                  </a:lnTo>
                  <a:lnTo>
                    <a:pt x="349" y="354"/>
                  </a:lnTo>
                  <a:lnTo>
                    <a:pt x="347" y="349"/>
                  </a:lnTo>
                  <a:lnTo>
                    <a:pt x="324" y="337"/>
                  </a:lnTo>
                  <a:lnTo>
                    <a:pt x="320" y="334"/>
                  </a:lnTo>
                  <a:lnTo>
                    <a:pt x="318" y="329"/>
                  </a:lnTo>
                  <a:lnTo>
                    <a:pt x="319" y="315"/>
                  </a:lnTo>
                  <a:lnTo>
                    <a:pt x="315" y="297"/>
                  </a:lnTo>
                  <a:lnTo>
                    <a:pt x="316" y="293"/>
                  </a:lnTo>
                  <a:lnTo>
                    <a:pt x="323" y="290"/>
                  </a:lnTo>
                  <a:lnTo>
                    <a:pt x="327" y="285"/>
                  </a:lnTo>
                  <a:lnTo>
                    <a:pt x="337" y="270"/>
                  </a:lnTo>
                  <a:lnTo>
                    <a:pt x="340" y="261"/>
                  </a:lnTo>
                  <a:lnTo>
                    <a:pt x="341" y="257"/>
                  </a:lnTo>
                  <a:lnTo>
                    <a:pt x="340" y="254"/>
                  </a:lnTo>
                  <a:lnTo>
                    <a:pt x="332" y="245"/>
                  </a:lnTo>
                  <a:lnTo>
                    <a:pt x="330" y="242"/>
                  </a:lnTo>
                  <a:lnTo>
                    <a:pt x="331" y="241"/>
                  </a:lnTo>
                  <a:lnTo>
                    <a:pt x="337" y="237"/>
                  </a:lnTo>
                  <a:lnTo>
                    <a:pt x="365" y="228"/>
                  </a:lnTo>
                  <a:lnTo>
                    <a:pt x="374" y="232"/>
                  </a:lnTo>
                  <a:lnTo>
                    <a:pt x="386" y="232"/>
                  </a:lnTo>
                  <a:lnTo>
                    <a:pt x="423" y="223"/>
                  </a:lnTo>
                  <a:lnTo>
                    <a:pt x="441" y="226"/>
                  </a:lnTo>
                  <a:lnTo>
                    <a:pt x="465" y="236"/>
                  </a:lnTo>
                  <a:lnTo>
                    <a:pt x="473" y="238"/>
                  </a:lnTo>
                  <a:lnTo>
                    <a:pt x="475" y="236"/>
                  </a:lnTo>
                  <a:lnTo>
                    <a:pt x="478" y="233"/>
                  </a:lnTo>
                  <a:lnTo>
                    <a:pt x="485" y="221"/>
                  </a:lnTo>
                  <a:lnTo>
                    <a:pt x="488" y="217"/>
                  </a:lnTo>
                  <a:lnTo>
                    <a:pt x="492" y="216"/>
                  </a:lnTo>
                  <a:lnTo>
                    <a:pt x="510" y="212"/>
                  </a:lnTo>
                  <a:lnTo>
                    <a:pt x="514" y="209"/>
                  </a:lnTo>
                  <a:lnTo>
                    <a:pt x="517" y="204"/>
                  </a:lnTo>
                  <a:lnTo>
                    <a:pt x="505" y="190"/>
                  </a:lnTo>
                  <a:lnTo>
                    <a:pt x="500" y="149"/>
                  </a:lnTo>
                  <a:lnTo>
                    <a:pt x="470" y="129"/>
                  </a:lnTo>
                  <a:lnTo>
                    <a:pt x="461" y="126"/>
                  </a:lnTo>
                  <a:lnTo>
                    <a:pt x="448" y="122"/>
                  </a:lnTo>
                  <a:lnTo>
                    <a:pt x="433" y="117"/>
                  </a:lnTo>
                  <a:lnTo>
                    <a:pt x="428" y="117"/>
                  </a:lnTo>
                  <a:lnTo>
                    <a:pt x="410" y="125"/>
                  </a:lnTo>
                  <a:lnTo>
                    <a:pt x="405" y="124"/>
                  </a:lnTo>
                  <a:lnTo>
                    <a:pt x="400" y="116"/>
                  </a:lnTo>
                  <a:lnTo>
                    <a:pt x="398" y="110"/>
                  </a:lnTo>
                  <a:lnTo>
                    <a:pt x="403" y="67"/>
                  </a:lnTo>
                  <a:lnTo>
                    <a:pt x="403" y="64"/>
                  </a:lnTo>
                  <a:lnTo>
                    <a:pt x="400" y="62"/>
                  </a:lnTo>
                  <a:lnTo>
                    <a:pt x="387" y="58"/>
                  </a:lnTo>
                  <a:lnTo>
                    <a:pt x="375" y="50"/>
                  </a:lnTo>
                  <a:lnTo>
                    <a:pt x="341" y="43"/>
                  </a:lnTo>
                  <a:lnTo>
                    <a:pt x="327" y="39"/>
                  </a:lnTo>
                  <a:lnTo>
                    <a:pt x="316" y="35"/>
                  </a:lnTo>
                  <a:lnTo>
                    <a:pt x="314" y="32"/>
                  </a:lnTo>
                  <a:lnTo>
                    <a:pt x="314" y="28"/>
                  </a:lnTo>
                  <a:lnTo>
                    <a:pt x="316" y="23"/>
                  </a:lnTo>
                  <a:lnTo>
                    <a:pt x="320" y="18"/>
                  </a:lnTo>
                  <a:lnTo>
                    <a:pt x="325" y="13"/>
                  </a:lnTo>
                  <a:lnTo>
                    <a:pt x="330" y="9"/>
                  </a:lnTo>
                  <a:lnTo>
                    <a:pt x="349" y="6"/>
                  </a:lnTo>
                  <a:lnTo>
                    <a:pt x="355" y="4"/>
                  </a:lnTo>
                  <a:lnTo>
                    <a:pt x="360" y="1"/>
                  </a:lnTo>
                  <a:lnTo>
                    <a:pt x="366" y="0"/>
                  </a:lnTo>
                  <a:lnTo>
                    <a:pt x="403" y="5"/>
                  </a:lnTo>
                  <a:lnTo>
                    <a:pt x="437" y="6"/>
                  </a:lnTo>
                  <a:lnTo>
                    <a:pt x="442" y="8"/>
                  </a:lnTo>
                  <a:lnTo>
                    <a:pt x="457" y="14"/>
                  </a:lnTo>
                  <a:lnTo>
                    <a:pt x="473" y="19"/>
                  </a:lnTo>
                  <a:lnTo>
                    <a:pt x="481" y="19"/>
                  </a:lnTo>
                  <a:lnTo>
                    <a:pt x="499" y="16"/>
                  </a:lnTo>
                  <a:lnTo>
                    <a:pt x="505" y="16"/>
                  </a:lnTo>
                  <a:lnTo>
                    <a:pt x="509" y="18"/>
                  </a:lnTo>
                  <a:lnTo>
                    <a:pt x="517" y="24"/>
                  </a:lnTo>
                  <a:lnTo>
                    <a:pt x="524" y="28"/>
                  </a:lnTo>
                  <a:lnTo>
                    <a:pt x="536" y="31"/>
                  </a:lnTo>
                  <a:lnTo>
                    <a:pt x="547" y="34"/>
                  </a:lnTo>
                  <a:lnTo>
                    <a:pt x="549" y="32"/>
                  </a:lnTo>
                  <a:lnTo>
                    <a:pt x="558" y="23"/>
                  </a:lnTo>
                  <a:lnTo>
                    <a:pt x="571" y="24"/>
                  </a:lnTo>
                  <a:lnTo>
                    <a:pt x="589" y="28"/>
                  </a:lnTo>
                  <a:lnTo>
                    <a:pt x="595" y="27"/>
                  </a:lnTo>
                  <a:lnTo>
                    <a:pt x="604" y="5"/>
                  </a:lnTo>
                  <a:lnTo>
                    <a:pt x="609" y="1"/>
                  </a:lnTo>
                  <a:lnTo>
                    <a:pt x="613" y="0"/>
                  </a:lnTo>
                  <a:lnTo>
                    <a:pt x="617" y="1"/>
                  </a:lnTo>
                  <a:lnTo>
                    <a:pt x="620" y="3"/>
                  </a:lnTo>
                  <a:lnTo>
                    <a:pt x="627" y="25"/>
                  </a:lnTo>
                  <a:lnTo>
                    <a:pt x="630" y="30"/>
                  </a:lnTo>
                  <a:lnTo>
                    <a:pt x="633" y="32"/>
                  </a:lnTo>
                  <a:lnTo>
                    <a:pt x="643" y="32"/>
                  </a:lnTo>
                  <a:lnTo>
                    <a:pt x="651" y="41"/>
                  </a:lnTo>
                  <a:lnTo>
                    <a:pt x="655" y="42"/>
                  </a:lnTo>
                  <a:lnTo>
                    <a:pt x="664" y="40"/>
                  </a:lnTo>
                  <a:lnTo>
                    <a:pt x="674" y="35"/>
                  </a:lnTo>
                  <a:lnTo>
                    <a:pt x="686" y="26"/>
                  </a:lnTo>
                  <a:lnTo>
                    <a:pt x="693" y="17"/>
                  </a:lnTo>
                  <a:lnTo>
                    <a:pt x="700" y="11"/>
                  </a:lnTo>
                  <a:lnTo>
                    <a:pt x="704" y="11"/>
                  </a:lnTo>
                  <a:lnTo>
                    <a:pt x="713" y="16"/>
                  </a:lnTo>
                  <a:lnTo>
                    <a:pt x="716" y="16"/>
                  </a:lnTo>
                  <a:lnTo>
                    <a:pt x="718" y="14"/>
                  </a:lnTo>
                  <a:lnTo>
                    <a:pt x="722" y="6"/>
                  </a:lnTo>
                  <a:lnTo>
                    <a:pt x="726" y="2"/>
                  </a:lnTo>
                  <a:lnTo>
                    <a:pt x="730" y="2"/>
                  </a:lnTo>
                  <a:lnTo>
                    <a:pt x="737" y="4"/>
                  </a:lnTo>
                  <a:lnTo>
                    <a:pt x="737" y="4"/>
                  </a:lnTo>
                  <a:lnTo>
                    <a:pt x="742" y="12"/>
                  </a:lnTo>
                  <a:lnTo>
                    <a:pt x="746" y="16"/>
                  </a:lnTo>
                  <a:lnTo>
                    <a:pt x="746" y="22"/>
                  </a:lnTo>
                  <a:lnTo>
                    <a:pt x="747" y="25"/>
                  </a:lnTo>
                  <a:lnTo>
                    <a:pt x="748" y="25"/>
                  </a:lnTo>
                  <a:lnTo>
                    <a:pt x="753" y="20"/>
                  </a:lnTo>
                  <a:lnTo>
                    <a:pt x="755" y="19"/>
                  </a:lnTo>
                  <a:lnTo>
                    <a:pt x="767" y="32"/>
                  </a:lnTo>
                  <a:lnTo>
                    <a:pt x="785" y="46"/>
                  </a:lnTo>
                  <a:lnTo>
                    <a:pt x="787" y="52"/>
                  </a:lnTo>
                  <a:lnTo>
                    <a:pt x="781" y="60"/>
                  </a:lnTo>
                  <a:lnTo>
                    <a:pt x="780" y="62"/>
                  </a:lnTo>
                  <a:lnTo>
                    <a:pt x="781" y="63"/>
                  </a:lnTo>
                  <a:lnTo>
                    <a:pt x="785" y="65"/>
                  </a:lnTo>
                  <a:lnTo>
                    <a:pt x="800" y="71"/>
                  </a:lnTo>
                  <a:lnTo>
                    <a:pt x="806" y="74"/>
                  </a:lnTo>
                  <a:lnTo>
                    <a:pt x="806" y="79"/>
                  </a:lnTo>
                  <a:lnTo>
                    <a:pt x="800" y="101"/>
                  </a:lnTo>
                  <a:lnTo>
                    <a:pt x="800" y="109"/>
                  </a:lnTo>
                  <a:lnTo>
                    <a:pt x="803" y="110"/>
                  </a:lnTo>
                  <a:lnTo>
                    <a:pt x="808" y="108"/>
                  </a:lnTo>
                  <a:lnTo>
                    <a:pt x="811" y="109"/>
                  </a:lnTo>
                  <a:lnTo>
                    <a:pt x="826" y="128"/>
                  </a:lnTo>
                  <a:lnTo>
                    <a:pt x="845" y="139"/>
                  </a:lnTo>
                  <a:lnTo>
                    <a:pt x="854" y="149"/>
                  </a:lnTo>
                  <a:lnTo>
                    <a:pt x="859" y="149"/>
                  </a:lnTo>
                  <a:lnTo>
                    <a:pt x="871" y="145"/>
                  </a:lnTo>
                  <a:lnTo>
                    <a:pt x="874" y="147"/>
                  </a:lnTo>
                  <a:lnTo>
                    <a:pt x="875" y="150"/>
                  </a:lnTo>
                  <a:lnTo>
                    <a:pt x="874" y="154"/>
                  </a:lnTo>
                  <a:lnTo>
                    <a:pt x="865" y="164"/>
                  </a:lnTo>
                  <a:lnTo>
                    <a:pt x="864" y="166"/>
                  </a:lnTo>
                  <a:lnTo>
                    <a:pt x="864" y="169"/>
                  </a:lnTo>
                  <a:lnTo>
                    <a:pt x="871" y="181"/>
                  </a:lnTo>
                  <a:lnTo>
                    <a:pt x="887" y="198"/>
                  </a:lnTo>
                  <a:lnTo>
                    <a:pt x="893" y="203"/>
                  </a:lnTo>
                  <a:lnTo>
                    <a:pt x="899" y="204"/>
                  </a:lnTo>
                  <a:lnTo>
                    <a:pt x="903" y="204"/>
                  </a:lnTo>
                  <a:lnTo>
                    <a:pt x="914" y="200"/>
                  </a:lnTo>
                  <a:lnTo>
                    <a:pt x="920" y="202"/>
                  </a:lnTo>
                  <a:lnTo>
                    <a:pt x="957" y="223"/>
                  </a:lnTo>
                  <a:lnTo>
                    <a:pt x="981" y="242"/>
                  </a:lnTo>
                  <a:lnTo>
                    <a:pt x="989" y="246"/>
                  </a:lnTo>
                  <a:lnTo>
                    <a:pt x="996" y="247"/>
                  </a:lnTo>
                  <a:lnTo>
                    <a:pt x="1006" y="245"/>
                  </a:lnTo>
                  <a:lnTo>
                    <a:pt x="1011" y="245"/>
                  </a:lnTo>
                  <a:lnTo>
                    <a:pt x="1019" y="253"/>
                  </a:lnTo>
                  <a:lnTo>
                    <a:pt x="1023" y="261"/>
                  </a:lnTo>
                  <a:lnTo>
                    <a:pt x="1025" y="264"/>
                  </a:lnTo>
                  <a:lnTo>
                    <a:pt x="1033" y="262"/>
                  </a:lnTo>
                  <a:lnTo>
                    <a:pt x="1039" y="262"/>
                  </a:lnTo>
                  <a:lnTo>
                    <a:pt x="1051" y="273"/>
                  </a:lnTo>
                  <a:lnTo>
                    <a:pt x="1059" y="277"/>
                  </a:lnTo>
                  <a:lnTo>
                    <a:pt x="1062" y="275"/>
                  </a:lnTo>
                  <a:lnTo>
                    <a:pt x="1067" y="269"/>
                  </a:lnTo>
                  <a:lnTo>
                    <a:pt x="1069" y="269"/>
                  </a:lnTo>
                  <a:lnTo>
                    <a:pt x="1080" y="277"/>
                  </a:lnTo>
                  <a:lnTo>
                    <a:pt x="1104" y="299"/>
                  </a:lnTo>
                  <a:lnTo>
                    <a:pt x="1107" y="301"/>
                  </a:lnTo>
                  <a:lnTo>
                    <a:pt x="1111" y="300"/>
                  </a:lnTo>
                  <a:lnTo>
                    <a:pt x="1119" y="294"/>
                  </a:lnTo>
                  <a:lnTo>
                    <a:pt x="1125" y="292"/>
                  </a:lnTo>
                  <a:lnTo>
                    <a:pt x="1129" y="291"/>
                  </a:lnTo>
                  <a:lnTo>
                    <a:pt x="1141" y="293"/>
                  </a:lnTo>
                  <a:lnTo>
                    <a:pt x="1147" y="292"/>
                  </a:lnTo>
                  <a:lnTo>
                    <a:pt x="1167" y="277"/>
                  </a:lnTo>
                  <a:lnTo>
                    <a:pt x="1186" y="283"/>
                  </a:lnTo>
                  <a:lnTo>
                    <a:pt x="1196" y="286"/>
                  </a:lnTo>
                  <a:lnTo>
                    <a:pt x="1203" y="283"/>
                  </a:lnTo>
                  <a:lnTo>
                    <a:pt x="1205" y="278"/>
                  </a:lnTo>
                  <a:lnTo>
                    <a:pt x="1207" y="277"/>
                  </a:lnTo>
                  <a:lnTo>
                    <a:pt x="1211" y="280"/>
                  </a:lnTo>
                  <a:lnTo>
                    <a:pt x="1224" y="290"/>
                  </a:lnTo>
                  <a:lnTo>
                    <a:pt x="1230" y="293"/>
                  </a:lnTo>
                  <a:lnTo>
                    <a:pt x="1259" y="280"/>
                  </a:lnTo>
                  <a:lnTo>
                    <a:pt x="1267" y="278"/>
                  </a:lnTo>
                  <a:lnTo>
                    <a:pt x="1276" y="278"/>
                  </a:lnTo>
                  <a:lnTo>
                    <a:pt x="1292" y="283"/>
                  </a:lnTo>
                  <a:lnTo>
                    <a:pt x="1297" y="283"/>
                  </a:lnTo>
                  <a:lnTo>
                    <a:pt x="1300" y="281"/>
                  </a:lnTo>
                  <a:lnTo>
                    <a:pt x="1304" y="272"/>
                  </a:lnTo>
                  <a:lnTo>
                    <a:pt x="1309" y="268"/>
                  </a:lnTo>
                  <a:lnTo>
                    <a:pt x="1316" y="269"/>
                  </a:lnTo>
                  <a:lnTo>
                    <a:pt x="1331" y="278"/>
                  </a:lnTo>
                  <a:lnTo>
                    <a:pt x="1336" y="279"/>
                  </a:lnTo>
                  <a:lnTo>
                    <a:pt x="1339" y="277"/>
                  </a:lnTo>
                  <a:lnTo>
                    <a:pt x="1353" y="263"/>
                  </a:lnTo>
                  <a:lnTo>
                    <a:pt x="1363" y="267"/>
                  </a:lnTo>
                  <a:lnTo>
                    <a:pt x="1397" y="301"/>
                  </a:lnTo>
                  <a:lnTo>
                    <a:pt x="1410" y="307"/>
                  </a:lnTo>
                  <a:lnTo>
                    <a:pt x="1436" y="299"/>
                  </a:lnTo>
                  <a:lnTo>
                    <a:pt x="1440" y="300"/>
                  </a:lnTo>
                  <a:lnTo>
                    <a:pt x="1449" y="304"/>
                  </a:lnTo>
                  <a:lnTo>
                    <a:pt x="1451" y="304"/>
                  </a:lnTo>
                  <a:lnTo>
                    <a:pt x="1455" y="299"/>
                  </a:lnTo>
                  <a:lnTo>
                    <a:pt x="1458" y="291"/>
                  </a:lnTo>
                  <a:lnTo>
                    <a:pt x="1468" y="280"/>
                  </a:lnTo>
                  <a:lnTo>
                    <a:pt x="1478" y="264"/>
                  </a:lnTo>
                  <a:lnTo>
                    <a:pt x="1482" y="263"/>
                  </a:lnTo>
                  <a:lnTo>
                    <a:pt x="1490" y="262"/>
                  </a:lnTo>
                  <a:lnTo>
                    <a:pt x="1498" y="263"/>
                  </a:lnTo>
                  <a:lnTo>
                    <a:pt x="1502" y="260"/>
                  </a:lnTo>
                  <a:lnTo>
                    <a:pt x="1504" y="259"/>
                  </a:lnTo>
                  <a:lnTo>
                    <a:pt x="1509" y="273"/>
                  </a:lnTo>
                  <a:lnTo>
                    <a:pt x="1511" y="288"/>
                  </a:lnTo>
                  <a:lnTo>
                    <a:pt x="1510" y="306"/>
                  </a:lnTo>
                  <a:lnTo>
                    <a:pt x="1512" y="326"/>
                  </a:lnTo>
                  <a:lnTo>
                    <a:pt x="1518" y="344"/>
                  </a:lnTo>
                  <a:lnTo>
                    <a:pt x="1519" y="350"/>
                  </a:lnTo>
                  <a:lnTo>
                    <a:pt x="1516" y="352"/>
                  </a:lnTo>
                  <a:lnTo>
                    <a:pt x="1504" y="359"/>
                  </a:lnTo>
                  <a:lnTo>
                    <a:pt x="1503" y="361"/>
                  </a:lnTo>
                  <a:lnTo>
                    <a:pt x="1503" y="363"/>
                  </a:lnTo>
                  <a:lnTo>
                    <a:pt x="1508" y="368"/>
                  </a:lnTo>
                  <a:lnTo>
                    <a:pt x="1515" y="376"/>
                  </a:lnTo>
                  <a:lnTo>
                    <a:pt x="1519" y="381"/>
                  </a:lnTo>
                  <a:lnTo>
                    <a:pt x="1519" y="384"/>
                  </a:lnTo>
                  <a:lnTo>
                    <a:pt x="1517" y="398"/>
                  </a:lnTo>
                  <a:lnTo>
                    <a:pt x="1534" y="419"/>
                  </a:lnTo>
                  <a:lnTo>
                    <a:pt x="1545" y="449"/>
                  </a:lnTo>
                  <a:lnTo>
                    <a:pt x="1548" y="451"/>
                  </a:lnTo>
                  <a:lnTo>
                    <a:pt x="1552" y="451"/>
                  </a:lnTo>
                  <a:lnTo>
                    <a:pt x="1571" y="442"/>
                  </a:lnTo>
                  <a:lnTo>
                    <a:pt x="1575" y="442"/>
                  </a:lnTo>
                  <a:lnTo>
                    <a:pt x="1576" y="443"/>
                  </a:lnTo>
                  <a:lnTo>
                    <a:pt x="1580" y="451"/>
                  </a:lnTo>
                  <a:lnTo>
                    <a:pt x="1581" y="458"/>
                  </a:lnTo>
                  <a:lnTo>
                    <a:pt x="1571" y="485"/>
                  </a:lnTo>
                  <a:lnTo>
                    <a:pt x="1573" y="488"/>
                  </a:lnTo>
                  <a:lnTo>
                    <a:pt x="1574" y="489"/>
                  </a:lnTo>
                  <a:lnTo>
                    <a:pt x="1577" y="489"/>
                  </a:lnTo>
                  <a:lnTo>
                    <a:pt x="1592" y="479"/>
                  </a:lnTo>
                  <a:lnTo>
                    <a:pt x="1607" y="475"/>
                  </a:lnTo>
                  <a:lnTo>
                    <a:pt x="1619" y="453"/>
                  </a:lnTo>
                  <a:lnTo>
                    <a:pt x="1624" y="445"/>
                  </a:lnTo>
                  <a:lnTo>
                    <a:pt x="1635" y="438"/>
                  </a:lnTo>
                  <a:lnTo>
                    <a:pt x="1642" y="437"/>
                  </a:lnTo>
                  <a:lnTo>
                    <a:pt x="1646" y="439"/>
                  </a:lnTo>
                  <a:lnTo>
                    <a:pt x="1650" y="442"/>
                  </a:lnTo>
                  <a:lnTo>
                    <a:pt x="1662" y="457"/>
                  </a:lnTo>
                  <a:lnTo>
                    <a:pt x="1668" y="463"/>
                  </a:lnTo>
                  <a:lnTo>
                    <a:pt x="1674" y="467"/>
                  </a:lnTo>
                  <a:lnTo>
                    <a:pt x="1686" y="471"/>
                  </a:lnTo>
                  <a:lnTo>
                    <a:pt x="1697" y="473"/>
                  </a:lnTo>
                  <a:lnTo>
                    <a:pt x="1722" y="472"/>
                  </a:lnTo>
                  <a:lnTo>
                    <a:pt x="1729" y="471"/>
                  </a:lnTo>
                  <a:lnTo>
                    <a:pt x="1742" y="467"/>
                  </a:lnTo>
                  <a:lnTo>
                    <a:pt x="1744" y="467"/>
                  </a:lnTo>
                  <a:lnTo>
                    <a:pt x="1748" y="473"/>
                  </a:lnTo>
                  <a:lnTo>
                    <a:pt x="1750" y="477"/>
                  </a:lnTo>
                  <a:lnTo>
                    <a:pt x="1748" y="497"/>
                  </a:lnTo>
                  <a:lnTo>
                    <a:pt x="1748" y="508"/>
                  </a:lnTo>
                  <a:lnTo>
                    <a:pt x="1748" y="524"/>
                  </a:lnTo>
                  <a:lnTo>
                    <a:pt x="1750" y="530"/>
                  </a:lnTo>
                  <a:lnTo>
                    <a:pt x="1752" y="532"/>
                  </a:lnTo>
                  <a:lnTo>
                    <a:pt x="1754" y="532"/>
                  </a:lnTo>
                  <a:lnTo>
                    <a:pt x="1765" y="528"/>
                  </a:lnTo>
                  <a:lnTo>
                    <a:pt x="1771" y="527"/>
                  </a:lnTo>
                  <a:lnTo>
                    <a:pt x="1784" y="541"/>
                  </a:lnTo>
                  <a:lnTo>
                    <a:pt x="1806" y="547"/>
                  </a:lnTo>
                  <a:lnTo>
                    <a:pt x="1810" y="551"/>
                  </a:lnTo>
                  <a:lnTo>
                    <a:pt x="1818" y="566"/>
                  </a:lnTo>
                  <a:lnTo>
                    <a:pt x="1823" y="574"/>
                  </a:lnTo>
                  <a:lnTo>
                    <a:pt x="1829" y="571"/>
                  </a:lnTo>
                  <a:lnTo>
                    <a:pt x="1847" y="562"/>
                  </a:lnTo>
                  <a:lnTo>
                    <a:pt x="1856" y="559"/>
                  </a:lnTo>
                  <a:lnTo>
                    <a:pt x="1858" y="559"/>
                  </a:lnTo>
                  <a:lnTo>
                    <a:pt x="1868" y="564"/>
                  </a:lnTo>
                  <a:lnTo>
                    <a:pt x="1873" y="564"/>
                  </a:lnTo>
                  <a:lnTo>
                    <a:pt x="1875" y="561"/>
                  </a:lnTo>
                  <a:lnTo>
                    <a:pt x="1876" y="555"/>
                  </a:lnTo>
                  <a:lnTo>
                    <a:pt x="1886" y="547"/>
                  </a:lnTo>
                  <a:lnTo>
                    <a:pt x="1890" y="542"/>
                  </a:lnTo>
                  <a:lnTo>
                    <a:pt x="1896" y="521"/>
                  </a:lnTo>
                  <a:lnTo>
                    <a:pt x="1900" y="517"/>
                  </a:lnTo>
                  <a:lnTo>
                    <a:pt x="1905" y="515"/>
                  </a:lnTo>
                  <a:lnTo>
                    <a:pt x="1909" y="517"/>
                  </a:lnTo>
                  <a:lnTo>
                    <a:pt x="1913" y="521"/>
                  </a:lnTo>
                  <a:lnTo>
                    <a:pt x="1922" y="531"/>
                  </a:lnTo>
                  <a:lnTo>
                    <a:pt x="1930" y="534"/>
                  </a:lnTo>
                  <a:lnTo>
                    <a:pt x="1927" y="577"/>
                  </a:lnTo>
                  <a:lnTo>
                    <a:pt x="1927" y="579"/>
                  </a:lnTo>
                  <a:lnTo>
                    <a:pt x="1935" y="582"/>
                  </a:lnTo>
                  <a:lnTo>
                    <a:pt x="1945" y="588"/>
                  </a:lnTo>
                  <a:lnTo>
                    <a:pt x="1952" y="591"/>
                  </a:lnTo>
                  <a:lnTo>
                    <a:pt x="1958" y="589"/>
                  </a:lnTo>
                  <a:lnTo>
                    <a:pt x="1970" y="582"/>
                  </a:lnTo>
                  <a:lnTo>
                    <a:pt x="1970" y="582"/>
                  </a:lnTo>
                  <a:lnTo>
                    <a:pt x="1972" y="593"/>
                  </a:lnTo>
                  <a:lnTo>
                    <a:pt x="1974" y="598"/>
                  </a:lnTo>
                  <a:lnTo>
                    <a:pt x="1980" y="600"/>
                  </a:lnTo>
                  <a:lnTo>
                    <a:pt x="1992" y="602"/>
                  </a:lnTo>
                  <a:lnTo>
                    <a:pt x="2001" y="609"/>
                  </a:lnTo>
                  <a:lnTo>
                    <a:pt x="2021" y="651"/>
                  </a:lnTo>
                  <a:lnTo>
                    <a:pt x="2025" y="656"/>
                  </a:lnTo>
                  <a:lnTo>
                    <a:pt x="2030" y="660"/>
                  </a:lnTo>
                  <a:lnTo>
                    <a:pt x="2033" y="660"/>
                  </a:lnTo>
                  <a:lnTo>
                    <a:pt x="2037" y="658"/>
                  </a:lnTo>
                  <a:lnTo>
                    <a:pt x="2053" y="646"/>
                  </a:lnTo>
                  <a:lnTo>
                    <a:pt x="2060" y="642"/>
                  </a:lnTo>
                  <a:lnTo>
                    <a:pt x="2066" y="645"/>
                  </a:lnTo>
                  <a:lnTo>
                    <a:pt x="2071" y="649"/>
                  </a:lnTo>
                  <a:lnTo>
                    <a:pt x="2086" y="668"/>
                  </a:lnTo>
                  <a:lnTo>
                    <a:pt x="2090" y="670"/>
                  </a:lnTo>
                  <a:lnTo>
                    <a:pt x="2094" y="671"/>
                  </a:lnTo>
                  <a:lnTo>
                    <a:pt x="2097" y="670"/>
                  </a:lnTo>
                  <a:lnTo>
                    <a:pt x="2111" y="661"/>
                  </a:lnTo>
                  <a:lnTo>
                    <a:pt x="2118" y="663"/>
                  </a:lnTo>
                  <a:lnTo>
                    <a:pt x="2122" y="665"/>
                  </a:lnTo>
                  <a:lnTo>
                    <a:pt x="2126" y="672"/>
                  </a:lnTo>
                  <a:lnTo>
                    <a:pt x="2130" y="677"/>
                  </a:lnTo>
                  <a:lnTo>
                    <a:pt x="2139" y="685"/>
                  </a:lnTo>
                  <a:lnTo>
                    <a:pt x="2146" y="693"/>
                  </a:lnTo>
                  <a:lnTo>
                    <a:pt x="2153" y="696"/>
                  </a:lnTo>
                  <a:lnTo>
                    <a:pt x="2176" y="706"/>
                  </a:lnTo>
                  <a:lnTo>
                    <a:pt x="2180" y="709"/>
                  </a:lnTo>
                  <a:lnTo>
                    <a:pt x="2183" y="713"/>
                  </a:lnTo>
                  <a:lnTo>
                    <a:pt x="2183" y="719"/>
                  </a:lnTo>
                  <a:lnTo>
                    <a:pt x="2180" y="723"/>
                  </a:lnTo>
                  <a:lnTo>
                    <a:pt x="2160" y="729"/>
                  </a:lnTo>
                  <a:lnTo>
                    <a:pt x="2141" y="743"/>
                  </a:lnTo>
                  <a:lnTo>
                    <a:pt x="2135" y="745"/>
                  </a:lnTo>
                  <a:lnTo>
                    <a:pt x="2126" y="748"/>
                  </a:lnTo>
                  <a:lnTo>
                    <a:pt x="2122" y="751"/>
                  </a:lnTo>
                  <a:lnTo>
                    <a:pt x="2120" y="756"/>
                  </a:lnTo>
                  <a:lnTo>
                    <a:pt x="2118" y="764"/>
                  </a:lnTo>
                  <a:lnTo>
                    <a:pt x="2120" y="770"/>
                  </a:lnTo>
                  <a:lnTo>
                    <a:pt x="2122" y="777"/>
                  </a:lnTo>
                  <a:lnTo>
                    <a:pt x="2122" y="780"/>
                  </a:lnTo>
                  <a:lnTo>
                    <a:pt x="2105" y="786"/>
                  </a:lnTo>
                  <a:lnTo>
                    <a:pt x="2099" y="795"/>
                  </a:lnTo>
                  <a:lnTo>
                    <a:pt x="2099" y="802"/>
                  </a:lnTo>
                  <a:lnTo>
                    <a:pt x="2102" y="815"/>
                  </a:lnTo>
                  <a:lnTo>
                    <a:pt x="2107" y="824"/>
                  </a:lnTo>
                  <a:lnTo>
                    <a:pt x="2116" y="832"/>
                  </a:lnTo>
                  <a:lnTo>
                    <a:pt x="2121" y="842"/>
                  </a:lnTo>
                  <a:lnTo>
                    <a:pt x="2125" y="844"/>
                  </a:lnTo>
                  <a:lnTo>
                    <a:pt x="2133" y="847"/>
                  </a:lnTo>
                  <a:lnTo>
                    <a:pt x="2136" y="851"/>
                  </a:lnTo>
                  <a:lnTo>
                    <a:pt x="2139" y="873"/>
                  </a:lnTo>
                  <a:lnTo>
                    <a:pt x="2140" y="883"/>
                  </a:lnTo>
                  <a:lnTo>
                    <a:pt x="2143" y="888"/>
                  </a:lnTo>
                  <a:lnTo>
                    <a:pt x="2151" y="898"/>
                  </a:lnTo>
                  <a:lnTo>
                    <a:pt x="2152" y="901"/>
                  </a:lnTo>
                  <a:lnTo>
                    <a:pt x="2151" y="904"/>
                  </a:lnTo>
                  <a:lnTo>
                    <a:pt x="2143" y="915"/>
                  </a:lnTo>
                  <a:lnTo>
                    <a:pt x="2140" y="920"/>
                  </a:lnTo>
                  <a:lnTo>
                    <a:pt x="2146" y="935"/>
                  </a:lnTo>
                  <a:lnTo>
                    <a:pt x="2147" y="941"/>
                  </a:lnTo>
                  <a:lnTo>
                    <a:pt x="2149" y="944"/>
                  </a:lnTo>
                  <a:lnTo>
                    <a:pt x="2162" y="950"/>
                  </a:lnTo>
                  <a:lnTo>
                    <a:pt x="2172" y="955"/>
                  </a:lnTo>
                  <a:lnTo>
                    <a:pt x="2177" y="959"/>
                  </a:lnTo>
                  <a:lnTo>
                    <a:pt x="2182" y="968"/>
                  </a:lnTo>
                  <a:lnTo>
                    <a:pt x="2189" y="989"/>
                  </a:lnTo>
                  <a:lnTo>
                    <a:pt x="2198" y="1008"/>
                  </a:lnTo>
                  <a:lnTo>
                    <a:pt x="2202" y="1044"/>
                  </a:lnTo>
                  <a:lnTo>
                    <a:pt x="2204" y="1056"/>
                  </a:lnTo>
                  <a:lnTo>
                    <a:pt x="2217" y="1090"/>
                  </a:lnTo>
                  <a:lnTo>
                    <a:pt x="2222" y="1100"/>
                  </a:lnTo>
                  <a:lnTo>
                    <a:pt x="2222" y="1100"/>
                  </a:lnTo>
                  <a:lnTo>
                    <a:pt x="2216" y="1107"/>
                  </a:lnTo>
                  <a:lnTo>
                    <a:pt x="2201" y="1119"/>
                  </a:lnTo>
                  <a:lnTo>
                    <a:pt x="2182" y="1131"/>
                  </a:lnTo>
                  <a:lnTo>
                    <a:pt x="2167" y="1138"/>
                  </a:lnTo>
                  <a:lnTo>
                    <a:pt x="2152" y="1135"/>
                  </a:lnTo>
                  <a:lnTo>
                    <a:pt x="2128" y="1125"/>
                  </a:lnTo>
                  <a:lnTo>
                    <a:pt x="2117" y="1120"/>
                  </a:lnTo>
                  <a:lnTo>
                    <a:pt x="2091" y="1101"/>
                  </a:lnTo>
                  <a:lnTo>
                    <a:pt x="2071" y="1103"/>
                  </a:lnTo>
                  <a:lnTo>
                    <a:pt x="2045" y="1109"/>
                  </a:lnTo>
                  <a:lnTo>
                    <a:pt x="2037" y="1118"/>
                  </a:lnTo>
                  <a:lnTo>
                    <a:pt x="2034" y="1128"/>
                  </a:lnTo>
                  <a:lnTo>
                    <a:pt x="2026" y="1138"/>
                  </a:lnTo>
                  <a:lnTo>
                    <a:pt x="2024" y="1154"/>
                  </a:lnTo>
                  <a:lnTo>
                    <a:pt x="2001" y="1171"/>
                  </a:lnTo>
                  <a:lnTo>
                    <a:pt x="1985" y="1181"/>
                  </a:lnTo>
                  <a:lnTo>
                    <a:pt x="1980" y="1182"/>
                  </a:lnTo>
                  <a:lnTo>
                    <a:pt x="1978" y="1181"/>
                  </a:lnTo>
                  <a:lnTo>
                    <a:pt x="1972" y="1172"/>
                  </a:lnTo>
                  <a:lnTo>
                    <a:pt x="1950" y="1174"/>
                  </a:lnTo>
                  <a:lnTo>
                    <a:pt x="1944" y="1167"/>
                  </a:lnTo>
                  <a:lnTo>
                    <a:pt x="1941" y="1164"/>
                  </a:lnTo>
                  <a:lnTo>
                    <a:pt x="1934" y="1168"/>
                  </a:lnTo>
                  <a:lnTo>
                    <a:pt x="1933" y="1171"/>
                  </a:lnTo>
                  <a:lnTo>
                    <a:pt x="1934" y="1176"/>
                  </a:lnTo>
                  <a:lnTo>
                    <a:pt x="1938" y="1180"/>
                  </a:lnTo>
                  <a:lnTo>
                    <a:pt x="1937" y="1191"/>
                  </a:lnTo>
                  <a:lnTo>
                    <a:pt x="1938" y="1195"/>
                  </a:lnTo>
                  <a:lnTo>
                    <a:pt x="1941" y="1196"/>
                  </a:lnTo>
                  <a:lnTo>
                    <a:pt x="1952" y="1197"/>
                  </a:lnTo>
                  <a:lnTo>
                    <a:pt x="1955" y="1198"/>
                  </a:lnTo>
                  <a:lnTo>
                    <a:pt x="1956" y="1199"/>
                  </a:lnTo>
                  <a:lnTo>
                    <a:pt x="1954" y="1205"/>
                  </a:lnTo>
                  <a:lnTo>
                    <a:pt x="1947" y="1214"/>
                  </a:lnTo>
                  <a:lnTo>
                    <a:pt x="1945" y="1223"/>
                  </a:lnTo>
                  <a:lnTo>
                    <a:pt x="1937" y="1223"/>
                  </a:lnTo>
                  <a:lnTo>
                    <a:pt x="1928" y="1218"/>
                  </a:lnTo>
                  <a:lnTo>
                    <a:pt x="1926" y="1216"/>
                  </a:lnTo>
                  <a:lnTo>
                    <a:pt x="1928" y="1211"/>
                  </a:lnTo>
                  <a:lnTo>
                    <a:pt x="1927" y="1209"/>
                  </a:lnTo>
                  <a:lnTo>
                    <a:pt x="1911" y="1209"/>
                  </a:lnTo>
                  <a:lnTo>
                    <a:pt x="1899" y="1206"/>
                  </a:lnTo>
                  <a:lnTo>
                    <a:pt x="1899" y="1206"/>
                  </a:lnTo>
                  <a:lnTo>
                    <a:pt x="1899" y="1206"/>
                  </a:lnTo>
                  <a:lnTo>
                    <a:pt x="1899" y="1206"/>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1" name="贵州">
              <a:extLst>
                <a:ext uri="{FF2B5EF4-FFF2-40B4-BE49-F238E27FC236}">
                  <a16:creationId xmlns:a16="http://schemas.microsoft.com/office/drawing/2014/main" id="{F3A4408C-5C36-3ACC-925F-EEFD4C5B2A1E}"/>
                </a:ext>
              </a:extLst>
            </p:cNvPr>
            <p:cNvSpPr>
              <a:spLocks/>
            </p:cNvSpPr>
            <p:nvPr/>
          </p:nvSpPr>
          <p:spPr bwMode="auto">
            <a:xfrm>
              <a:off x="5360988" y="4675188"/>
              <a:ext cx="933450" cy="800100"/>
            </a:xfrm>
            <a:custGeom>
              <a:avLst/>
              <a:gdLst>
                <a:gd name="T0" fmla="*/ 1711 w 1762"/>
                <a:gd name="T1" fmla="*/ 324 h 1512"/>
                <a:gd name="T2" fmla="*/ 1697 w 1762"/>
                <a:gd name="T3" fmla="*/ 488 h 1512"/>
                <a:gd name="T4" fmla="*/ 1686 w 1762"/>
                <a:gd name="T5" fmla="*/ 609 h 1512"/>
                <a:gd name="T6" fmla="*/ 1578 w 1762"/>
                <a:gd name="T7" fmla="*/ 685 h 1512"/>
                <a:gd name="T8" fmla="*/ 1633 w 1762"/>
                <a:gd name="T9" fmla="*/ 704 h 1512"/>
                <a:gd name="T10" fmla="*/ 1733 w 1762"/>
                <a:gd name="T11" fmla="*/ 710 h 1512"/>
                <a:gd name="T12" fmla="*/ 1732 w 1762"/>
                <a:gd name="T13" fmla="*/ 784 h 1512"/>
                <a:gd name="T14" fmla="*/ 1749 w 1762"/>
                <a:gd name="T15" fmla="*/ 829 h 1512"/>
                <a:gd name="T16" fmla="*/ 1715 w 1762"/>
                <a:gd name="T17" fmla="*/ 905 h 1512"/>
                <a:gd name="T18" fmla="*/ 1741 w 1762"/>
                <a:gd name="T19" fmla="*/ 985 h 1512"/>
                <a:gd name="T20" fmla="*/ 1723 w 1762"/>
                <a:gd name="T21" fmla="*/ 1102 h 1512"/>
                <a:gd name="T22" fmla="*/ 1650 w 1762"/>
                <a:gd name="T23" fmla="*/ 1151 h 1512"/>
                <a:gd name="T24" fmla="*/ 1569 w 1762"/>
                <a:gd name="T25" fmla="*/ 1168 h 1512"/>
                <a:gd name="T26" fmla="*/ 1607 w 1762"/>
                <a:gd name="T27" fmla="*/ 1222 h 1512"/>
                <a:gd name="T28" fmla="*/ 1505 w 1762"/>
                <a:gd name="T29" fmla="*/ 1210 h 1512"/>
                <a:gd name="T30" fmla="*/ 1463 w 1762"/>
                <a:gd name="T31" fmla="*/ 1294 h 1512"/>
                <a:gd name="T32" fmla="*/ 1338 w 1762"/>
                <a:gd name="T33" fmla="*/ 1264 h 1512"/>
                <a:gd name="T34" fmla="*/ 1222 w 1762"/>
                <a:gd name="T35" fmla="*/ 1370 h 1512"/>
                <a:gd name="T36" fmla="*/ 1187 w 1762"/>
                <a:gd name="T37" fmla="*/ 1308 h 1512"/>
                <a:gd name="T38" fmla="*/ 1104 w 1762"/>
                <a:gd name="T39" fmla="*/ 1272 h 1512"/>
                <a:gd name="T40" fmla="*/ 1042 w 1762"/>
                <a:gd name="T41" fmla="*/ 1209 h 1512"/>
                <a:gd name="T42" fmla="*/ 973 w 1762"/>
                <a:gd name="T43" fmla="*/ 1321 h 1512"/>
                <a:gd name="T44" fmla="*/ 780 w 1762"/>
                <a:gd name="T45" fmla="*/ 1400 h 1512"/>
                <a:gd name="T46" fmla="*/ 682 w 1762"/>
                <a:gd name="T47" fmla="*/ 1512 h 1512"/>
                <a:gd name="T48" fmla="*/ 537 w 1762"/>
                <a:gd name="T49" fmla="*/ 1450 h 1512"/>
                <a:gd name="T50" fmla="*/ 436 w 1762"/>
                <a:gd name="T51" fmla="*/ 1379 h 1512"/>
                <a:gd name="T52" fmla="*/ 286 w 1762"/>
                <a:gd name="T53" fmla="*/ 1497 h 1512"/>
                <a:gd name="T54" fmla="*/ 291 w 1762"/>
                <a:gd name="T55" fmla="*/ 1367 h 1512"/>
                <a:gd name="T56" fmla="*/ 328 w 1762"/>
                <a:gd name="T57" fmla="*/ 1313 h 1512"/>
                <a:gd name="T58" fmla="*/ 245 w 1762"/>
                <a:gd name="T59" fmla="*/ 1223 h 1512"/>
                <a:gd name="T60" fmla="*/ 192 w 1762"/>
                <a:gd name="T61" fmla="*/ 1164 h 1512"/>
                <a:gd name="T62" fmla="*/ 237 w 1762"/>
                <a:gd name="T63" fmla="*/ 1033 h 1512"/>
                <a:gd name="T64" fmla="*/ 278 w 1762"/>
                <a:gd name="T65" fmla="*/ 847 h 1512"/>
                <a:gd name="T66" fmla="*/ 170 w 1762"/>
                <a:gd name="T67" fmla="*/ 824 h 1512"/>
                <a:gd name="T68" fmla="*/ 41 w 1762"/>
                <a:gd name="T69" fmla="*/ 783 h 1512"/>
                <a:gd name="T70" fmla="*/ 25 w 1762"/>
                <a:gd name="T71" fmla="*/ 674 h 1512"/>
                <a:gd name="T72" fmla="*/ 32 w 1762"/>
                <a:gd name="T73" fmla="*/ 640 h 1512"/>
                <a:gd name="T74" fmla="*/ 172 w 1762"/>
                <a:gd name="T75" fmla="*/ 610 h 1512"/>
                <a:gd name="T76" fmla="*/ 312 w 1762"/>
                <a:gd name="T77" fmla="*/ 602 h 1512"/>
                <a:gd name="T78" fmla="*/ 482 w 1762"/>
                <a:gd name="T79" fmla="*/ 584 h 1512"/>
                <a:gd name="T80" fmla="*/ 540 w 1762"/>
                <a:gd name="T81" fmla="*/ 466 h 1512"/>
                <a:gd name="T82" fmla="*/ 707 w 1762"/>
                <a:gd name="T83" fmla="*/ 478 h 1512"/>
                <a:gd name="T84" fmla="*/ 805 w 1762"/>
                <a:gd name="T85" fmla="*/ 401 h 1512"/>
                <a:gd name="T86" fmla="*/ 714 w 1762"/>
                <a:gd name="T87" fmla="*/ 353 h 1512"/>
                <a:gd name="T88" fmla="*/ 647 w 1762"/>
                <a:gd name="T89" fmla="*/ 290 h 1512"/>
                <a:gd name="T90" fmla="*/ 684 w 1762"/>
                <a:gd name="T91" fmla="*/ 191 h 1512"/>
                <a:gd name="T92" fmla="*/ 795 w 1762"/>
                <a:gd name="T93" fmla="*/ 207 h 1512"/>
                <a:gd name="T94" fmla="*/ 872 w 1762"/>
                <a:gd name="T95" fmla="*/ 215 h 1512"/>
                <a:gd name="T96" fmla="*/ 875 w 1762"/>
                <a:gd name="T97" fmla="*/ 130 h 1512"/>
                <a:gd name="T98" fmla="*/ 905 w 1762"/>
                <a:gd name="T99" fmla="*/ 196 h 1512"/>
                <a:gd name="T100" fmla="*/ 939 w 1762"/>
                <a:gd name="T101" fmla="*/ 226 h 1512"/>
                <a:gd name="T102" fmla="*/ 983 w 1762"/>
                <a:gd name="T103" fmla="*/ 173 h 1512"/>
                <a:gd name="T104" fmla="*/ 1040 w 1762"/>
                <a:gd name="T105" fmla="*/ 119 h 1512"/>
                <a:gd name="T106" fmla="*/ 1145 w 1762"/>
                <a:gd name="T107" fmla="*/ 75 h 1512"/>
                <a:gd name="T108" fmla="*/ 1209 w 1762"/>
                <a:gd name="T109" fmla="*/ 17 h 1512"/>
                <a:gd name="T110" fmla="*/ 1267 w 1762"/>
                <a:gd name="T111" fmla="*/ 58 h 1512"/>
                <a:gd name="T112" fmla="*/ 1345 w 1762"/>
                <a:gd name="T113" fmla="*/ 47 h 1512"/>
                <a:gd name="T114" fmla="*/ 1423 w 1762"/>
                <a:gd name="T115" fmla="*/ 147 h 1512"/>
                <a:gd name="T116" fmla="*/ 1481 w 1762"/>
                <a:gd name="T117" fmla="*/ 238 h 1512"/>
                <a:gd name="T118" fmla="*/ 1503 w 1762"/>
                <a:gd name="T119" fmla="*/ 292 h 1512"/>
                <a:gd name="T120" fmla="*/ 1535 w 1762"/>
                <a:gd name="T121" fmla="*/ 285 h 1512"/>
                <a:gd name="T122" fmla="*/ 1588 w 1762"/>
                <a:gd name="T123" fmla="*/ 359 h 1512"/>
                <a:gd name="T124" fmla="*/ 1648 w 1762"/>
                <a:gd name="T125" fmla="*/ 285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2" h="1512">
                  <a:moveTo>
                    <a:pt x="1680" y="258"/>
                  </a:moveTo>
                  <a:lnTo>
                    <a:pt x="1678" y="269"/>
                  </a:lnTo>
                  <a:lnTo>
                    <a:pt x="1679" y="277"/>
                  </a:lnTo>
                  <a:lnTo>
                    <a:pt x="1681" y="283"/>
                  </a:lnTo>
                  <a:lnTo>
                    <a:pt x="1686" y="290"/>
                  </a:lnTo>
                  <a:lnTo>
                    <a:pt x="1686" y="292"/>
                  </a:lnTo>
                  <a:lnTo>
                    <a:pt x="1683" y="299"/>
                  </a:lnTo>
                  <a:lnTo>
                    <a:pt x="1678" y="315"/>
                  </a:lnTo>
                  <a:lnTo>
                    <a:pt x="1685" y="325"/>
                  </a:lnTo>
                  <a:lnTo>
                    <a:pt x="1688" y="328"/>
                  </a:lnTo>
                  <a:lnTo>
                    <a:pt x="1695" y="328"/>
                  </a:lnTo>
                  <a:lnTo>
                    <a:pt x="1703" y="324"/>
                  </a:lnTo>
                  <a:lnTo>
                    <a:pt x="1707" y="323"/>
                  </a:lnTo>
                  <a:lnTo>
                    <a:pt x="1711" y="324"/>
                  </a:lnTo>
                  <a:lnTo>
                    <a:pt x="1715" y="328"/>
                  </a:lnTo>
                  <a:lnTo>
                    <a:pt x="1707" y="343"/>
                  </a:lnTo>
                  <a:lnTo>
                    <a:pt x="1704" y="353"/>
                  </a:lnTo>
                  <a:lnTo>
                    <a:pt x="1692" y="387"/>
                  </a:lnTo>
                  <a:lnTo>
                    <a:pt x="1688" y="407"/>
                  </a:lnTo>
                  <a:lnTo>
                    <a:pt x="1689" y="408"/>
                  </a:lnTo>
                  <a:lnTo>
                    <a:pt x="1703" y="401"/>
                  </a:lnTo>
                  <a:lnTo>
                    <a:pt x="1705" y="402"/>
                  </a:lnTo>
                  <a:lnTo>
                    <a:pt x="1706" y="405"/>
                  </a:lnTo>
                  <a:lnTo>
                    <a:pt x="1705" y="408"/>
                  </a:lnTo>
                  <a:lnTo>
                    <a:pt x="1692" y="426"/>
                  </a:lnTo>
                  <a:lnTo>
                    <a:pt x="1691" y="431"/>
                  </a:lnTo>
                  <a:lnTo>
                    <a:pt x="1691" y="447"/>
                  </a:lnTo>
                  <a:lnTo>
                    <a:pt x="1697" y="488"/>
                  </a:lnTo>
                  <a:lnTo>
                    <a:pt x="1700" y="502"/>
                  </a:lnTo>
                  <a:lnTo>
                    <a:pt x="1702" y="507"/>
                  </a:lnTo>
                  <a:lnTo>
                    <a:pt x="1705" y="510"/>
                  </a:lnTo>
                  <a:lnTo>
                    <a:pt x="1723" y="518"/>
                  </a:lnTo>
                  <a:lnTo>
                    <a:pt x="1728" y="521"/>
                  </a:lnTo>
                  <a:lnTo>
                    <a:pt x="1731" y="524"/>
                  </a:lnTo>
                  <a:lnTo>
                    <a:pt x="1732" y="533"/>
                  </a:lnTo>
                  <a:lnTo>
                    <a:pt x="1732" y="562"/>
                  </a:lnTo>
                  <a:lnTo>
                    <a:pt x="1729" y="566"/>
                  </a:lnTo>
                  <a:lnTo>
                    <a:pt x="1726" y="569"/>
                  </a:lnTo>
                  <a:lnTo>
                    <a:pt x="1705" y="580"/>
                  </a:lnTo>
                  <a:lnTo>
                    <a:pt x="1692" y="590"/>
                  </a:lnTo>
                  <a:lnTo>
                    <a:pt x="1690" y="595"/>
                  </a:lnTo>
                  <a:lnTo>
                    <a:pt x="1686" y="609"/>
                  </a:lnTo>
                  <a:lnTo>
                    <a:pt x="1685" y="610"/>
                  </a:lnTo>
                  <a:lnTo>
                    <a:pt x="1679" y="611"/>
                  </a:lnTo>
                  <a:lnTo>
                    <a:pt x="1672" y="610"/>
                  </a:lnTo>
                  <a:lnTo>
                    <a:pt x="1662" y="600"/>
                  </a:lnTo>
                  <a:lnTo>
                    <a:pt x="1646" y="613"/>
                  </a:lnTo>
                  <a:lnTo>
                    <a:pt x="1644" y="611"/>
                  </a:lnTo>
                  <a:lnTo>
                    <a:pt x="1644" y="604"/>
                  </a:lnTo>
                  <a:lnTo>
                    <a:pt x="1643" y="603"/>
                  </a:lnTo>
                  <a:lnTo>
                    <a:pt x="1638" y="609"/>
                  </a:lnTo>
                  <a:lnTo>
                    <a:pt x="1629" y="635"/>
                  </a:lnTo>
                  <a:lnTo>
                    <a:pt x="1620" y="642"/>
                  </a:lnTo>
                  <a:lnTo>
                    <a:pt x="1616" y="661"/>
                  </a:lnTo>
                  <a:lnTo>
                    <a:pt x="1603" y="670"/>
                  </a:lnTo>
                  <a:lnTo>
                    <a:pt x="1578" y="685"/>
                  </a:lnTo>
                  <a:lnTo>
                    <a:pt x="1576" y="688"/>
                  </a:lnTo>
                  <a:lnTo>
                    <a:pt x="1572" y="699"/>
                  </a:lnTo>
                  <a:lnTo>
                    <a:pt x="1562" y="707"/>
                  </a:lnTo>
                  <a:lnTo>
                    <a:pt x="1553" y="714"/>
                  </a:lnTo>
                  <a:lnTo>
                    <a:pt x="1535" y="719"/>
                  </a:lnTo>
                  <a:lnTo>
                    <a:pt x="1530" y="724"/>
                  </a:lnTo>
                  <a:lnTo>
                    <a:pt x="1544" y="729"/>
                  </a:lnTo>
                  <a:lnTo>
                    <a:pt x="1560" y="744"/>
                  </a:lnTo>
                  <a:lnTo>
                    <a:pt x="1563" y="744"/>
                  </a:lnTo>
                  <a:lnTo>
                    <a:pt x="1571" y="742"/>
                  </a:lnTo>
                  <a:lnTo>
                    <a:pt x="1580" y="737"/>
                  </a:lnTo>
                  <a:lnTo>
                    <a:pt x="1603" y="717"/>
                  </a:lnTo>
                  <a:lnTo>
                    <a:pt x="1619" y="705"/>
                  </a:lnTo>
                  <a:lnTo>
                    <a:pt x="1633" y="704"/>
                  </a:lnTo>
                  <a:lnTo>
                    <a:pt x="1637" y="705"/>
                  </a:lnTo>
                  <a:lnTo>
                    <a:pt x="1637" y="710"/>
                  </a:lnTo>
                  <a:lnTo>
                    <a:pt x="1631" y="719"/>
                  </a:lnTo>
                  <a:lnTo>
                    <a:pt x="1631" y="721"/>
                  </a:lnTo>
                  <a:lnTo>
                    <a:pt x="1632" y="723"/>
                  </a:lnTo>
                  <a:lnTo>
                    <a:pt x="1641" y="725"/>
                  </a:lnTo>
                  <a:lnTo>
                    <a:pt x="1651" y="721"/>
                  </a:lnTo>
                  <a:lnTo>
                    <a:pt x="1655" y="719"/>
                  </a:lnTo>
                  <a:lnTo>
                    <a:pt x="1669" y="698"/>
                  </a:lnTo>
                  <a:lnTo>
                    <a:pt x="1670" y="697"/>
                  </a:lnTo>
                  <a:lnTo>
                    <a:pt x="1681" y="701"/>
                  </a:lnTo>
                  <a:lnTo>
                    <a:pt x="1701" y="701"/>
                  </a:lnTo>
                  <a:lnTo>
                    <a:pt x="1715" y="703"/>
                  </a:lnTo>
                  <a:lnTo>
                    <a:pt x="1733" y="710"/>
                  </a:lnTo>
                  <a:lnTo>
                    <a:pt x="1737" y="713"/>
                  </a:lnTo>
                  <a:lnTo>
                    <a:pt x="1738" y="729"/>
                  </a:lnTo>
                  <a:lnTo>
                    <a:pt x="1741" y="730"/>
                  </a:lnTo>
                  <a:lnTo>
                    <a:pt x="1747" y="730"/>
                  </a:lnTo>
                  <a:lnTo>
                    <a:pt x="1752" y="734"/>
                  </a:lnTo>
                  <a:lnTo>
                    <a:pt x="1756" y="746"/>
                  </a:lnTo>
                  <a:lnTo>
                    <a:pt x="1755" y="753"/>
                  </a:lnTo>
                  <a:lnTo>
                    <a:pt x="1761" y="764"/>
                  </a:lnTo>
                  <a:lnTo>
                    <a:pt x="1762" y="768"/>
                  </a:lnTo>
                  <a:lnTo>
                    <a:pt x="1760" y="771"/>
                  </a:lnTo>
                  <a:lnTo>
                    <a:pt x="1756" y="773"/>
                  </a:lnTo>
                  <a:lnTo>
                    <a:pt x="1743" y="776"/>
                  </a:lnTo>
                  <a:lnTo>
                    <a:pt x="1737" y="779"/>
                  </a:lnTo>
                  <a:lnTo>
                    <a:pt x="1732" y="784"/>
                  </a:lnTo>
                  <a:lnTo>
                    <a:pt x="1729" y="789"/>
                  </a:lnTo>
                  <a:lnTo>
                    <a:pt x="1729" y="791"/>
                  </a:lnTo>
                  <a:lnTo>
                    <a:pt x="1732" y="792"/>
                  </a:lnTo>
                  <a:lnTo>
                    <a:pt x="1742" y="786"/>
                  </a:lnTo>
                  <a:lnTo>
                    <a:pt x="1744" y="786"/>
                  </a:lnTo>
                  <a:lnTo>
                    <a:pt x="1752" y="787"/>
                  </a:lnTo>
                  <a:lnTo>
                    <a:pt x="1755" y="790"/>
                  </a:lnTo>
                  <a:lnTo>
                    <a:pt x="1755" y="793"/>
                  </a:lnTo>
                  <a:lnTo>
                    <a:pt x="1751" y="802"/>
                  </a:lnTo>
                  <a:lnTo>
                    <a:pt x="1750" y="807"/>
                  </a:lnTo>
                  <a:lnTo>
                    <a:pt x="1750" y="812"/>
                  </a:lnTo>
                  <a:lnTo>
                    <a:pt x="1753" y="822"/>
                  </a:lnTo>
                  <a:lnTo>
                    <a:pt x="1752" y="827"/>
                  </a:lnTo>
                  <a:lnTo>
                    <a:pt x="1749" y="829"/>
                  </a:lnTo>
                  <a:lnTo>
                    <a:pt x="1734" y="831"/>
                  </a:lnTo>
                  <a:lnTo>
                    <a:pt x="1724" y="832"/>
                  </a:lnTo>
                  <a:lnTo>
                    <a:pt x="1706" y="841"/>
                  </a:lnTo>
                  <a:lnTo>
                    <a:pt x="1686" y="841"/>
                  </a:lnTo>
                  <a:lnTo>
                    <a:pt x="1684" y="842"/>
                  </a:lnTo>
                  <a:lnTo>
                    <a:pt x="1683" y="844"/>
                  </a:lnTo>
                  <a:lnTo>
                    <a:pt x="1683" y="850"/>
                  </a:lnTo>
                  <a:lnTo>
                    <a:pt x="1686" y="856"/>
                  </a:lnTo>
                  <a:lnTo>
                    <a:pt x="1691" y="860"/>
                  </a:lnTo>
                  <a:lnTo>
                    <a:pt x="1703" y="866"/>
                  </a:lnTo>
                  <a:lnTo>
                    <a:pt x="1710" y="874"/>
                  </a:lnTo>
                  <a:lnTo>
                    <a:pt x="1715" y="885"/>
                  </a:lnTo>
                  <a:lnTo>
                    <a:pt x="1717" y="895"/>
                  </a:lnTo>
                  <a:lnTo>
                    <a:pt x="1715" y="905"/>
                  </a:lnTo>
                  <a:lnTo>
                    <a:pt x="1709" y="918"/>
                  </a:lnTo>
                  <a:lnTo>
                    <a:pt x="1697" y="938"/>
                  </a:lnTo>
                  <a:lnTo>
                    <a:pt x="1688" y="954"/>
                  </a:lnTo>
                  <a:lnTo>
                    <a:pt x="1677" y="973"/>
                  </a:lnTo>
                  <a:lnTo>
                    <a:pt x="1679" y="980"/>
                  </a:lnTo>
                  <a:lnTo>
                    <a:pt x="1683" y="987"/>
                  </a:lnTo>
                  <a:lnTo>
                    <a:pt x="1688" y="992"/>
                  </a:lnTo>
                  <a:lnTo>
                    <a:pt x="1695" y="997"/>
                  </a:lnTo>
                  <a:lnTo>
                    <a:pt x="1713" y="986"/>
                  </a:lnTo>
                  <a:lnTo>
                    <a:pt x="1725" y="981"/>
                  </a:lnTo>
                  <a:lnTo>
                    <a:pt x="1739" y="972"/>
                  </a:lnTo>
                  <a:lnTo>
                    <a:pt x="1741" y="973"/>
                  </a:lnTo>
                  <a:lnTo>
                    <a:pt x="1742" y="979"/>
                  </a:lnTo>
                  <a:lnTo>
                    <a:pt x="1741" y="985"/>
                  </a:lnTo>
                  <a:lnTo>
                    <a:pt x="1731" y="1003"/>
                  </a:lnTo>
                  <a:lnTo>
                    <a:pt x="1729" y="1008"/>
                  </a:lnTo>
                  <a:lnTo>
                    <a:pt x="1731" y="1011"/>
                  </a:lnTo>
                  <a:lnTo>
                    <a:pt x="1737" y="1028"/>
                  </a:lnTo>
                  <a:lnTo>
                    <a:pt x="1743" y="1038"/>
                  </a:lnTo>
                  <a:lnTo>
                    <a:pt x="1744" y="1042"/>
                  </a:lnTo>
                  <a:lnTo>
                    <a:pt x="1744" y="1045"/>
                  </a:lnTo>
                  <a:lnTo>
                    <a:pt x="1739" y="1062"/>
                  </a:lnTo>
                  <a:lnTo>
                    <a:pt x="1738" y="1075"/>
                  </a:lnTo>
                  <a:lnTo>
                    <a:pt x="1738" y="1075"/>
                  </a:lnTo>
                  <a:lnTo>
                    <a:pt x="1722" y="1090"/>
                  </a:lnTo>
                  <a:lnTo>
                    <a:pt x="1718" y="1094"/>
                  </a:lnTo>
                  <a:lnTo>
                    <a:pt x="1719" y="1096"/>
                  </a:lnTo>
                  <a:lnTo>
                    <a:pt x="1723" y="1102"/>
                  </a:lnTo>
                  <a:lnTo>
                    <a:pt x="1723" y="1109"/>
                  </a:lnTo>
                  <a:lnTo>
                    <a:pt x="1718" y="1113"/>
                  </a:lnTo>
                  <a:lnTo>
                    <a:pt x="1710" y="1117"/>
                  </a:lnTo>
                  <a:lnTo>
                    <a:pt x="1705" y="1127"/>
                  </a:lnTo>
                  <a:lnTo>
                    <a:pt x="1695" y="1136"/>
                  </a:lnTo>
                  <a:lnTo>
                    <a:pt x="1689" y="1160"/>
                  </a:lnTo>
                  <a:lnTo>
                    <a:pt x="1696" y="1167"/>
                  </a:lnTo>
                  <a:lnTo>
                    <a:pt x="1693" y="1168"/>
                  </a:lnTo>
                  <a:lnTo>
                    <a:pt x="1690" y="1170"/>
                  </a:lnTo>
                  <a:lnTo>
                    <a:pt x="1686" y="1170"/>
                  </a:lnTo>
                  <a:lnTo>
                    <a:pt x="1674" y="1167"/>
                  </a:lnTo>
                  <a:lnTo>
                    <a:pt x="1666" y="1164"/>
                  </a:lnTo>
                  <a:lnTo>
                    <a:pt x="1656" y="1159"/>
                  </a:lnTo>
                  <a:lnTo>
                    <a:pt x="1650" y="1151"/>
                  </a:lnTo>
                  <a:lnTo>
                    <a:pt x="1645" y="1148"/>
                  </a:lnTo>
                  <a:lnTo>
                    <a:pt x="1644" y="1151"/>
                  </a:lnTo>
                  <a:lnTo>
                    <a:pt x="1645" y="1157"/>
                  </a:lnTo>
                  <a:lnTo>
                    <a:pt x="1645" y="1163"/>
                  </a:lnTo>
                  <a:lnTo>
                    <a:pt x="1643" y="1164"/>
                  </a:lnTo>
                  <a:lnTo>
                    <a:pt x="1639" y="1164"/>
                  </a:lnTo>
                  <a:lnTo>
                    <a:pt x="1635" y="1160"/>
                  </a:lnTo>
                  <a:lnTo>
                    <a:pt x="1631" y="1148"/>
                  </a:lnTo>
                  <a:lnTo>
                    <a:pt x="1629" y="1146"/>
                  </a:lnTo>
                  <a:lnTo>
                    <a:pt x="1626" y="1145"/>
                  </a:lnTo>
                  <a:lnTo>
                    <a:pt x="1607" y="1149"/>
                  </a:lnTo>
                  <a:lnTo>
                    <a:pt x="1595" y="1147"/>
                  </a:lnTo>
                  <a:lnTo>
                    <a:pt x="1593" y="1148"/>
                  </a:lnTo>
                  <a:lnTo>
                    <a:pt x="1569" y="1168"/>
                  </a:lnTo>
                  <a:lnTo>
                    <a:pt x="1560" y="1177"/>
                  </a:lnTo>
                  <a:lnTo>
                    <a:pt x="1561" y="1179"/>
                  </a:lnTo>
                  <a:lnTo>
                    <a:pt x="1564" y="1181"/>
                  </a:lnTo>
                  <a:lnTo>
                    <a:pt x="1577" y="1182"/>
                  </a:lnTo>
                  <a:lnTo>
                    <a:pt x="1588" y="1178"/>
                  </a:lnTo>
                  <a:lnTo>
                    <a:pt x="1606" y="1168"/>
                  </a:lnTo>
                  <a:lnTo>
                    <a:pt x="1609" y="1167"/>
                  </a:lnTo>
                  <a:lnTo>
                    <a:pt x="1611" y="1168"/>
                  </a:lnTo>
                  <a:lnTo>
                    <a:pt x="1613" y="1174"/>
                  </a:lnTo>
                  <a:lnTo>
                    <a:pt x="1614" y="1182"/>
                  </a:lnTo>
                  <a:lnTo>
                    <a:pt x="1612" y="1186"/>
                  </a:lnTo>
                  <a:lnTo>
                    <a:pt x="1607" y="1196"/>
                  </a:lnTo>
                  <a:lnTo>
                    <a:pt x="1606" y="1213"/>
                  </a:lnTo>
                  <a:lnTo>
                    <a:pt x="1607" y="1222"/>
                  </a:lnTo>
                  <a:lnTo>
                    <a:pt x="1615" y="1235"/>
                  </a:lnTo>
                  <a:lnTo>
                    <a:pt x="1615" y="1238"/>
                  </a:lnTo>
                  <a:lnTo>
                    <a:pt x="1613" y="1240"/>
                  </a:lnTo>
                  <a:lnTo>
                    <a:pt x="1607" y="1242"/>
                  </a:lnTo>
                  <a:lnTo>
                    <a:pt x="1600" y="1242"/>
                  </a:lnTo>
                  <a:lnTo>
                    <a:pt x="1569" y="1235"/>
                  </a:lnTo>
                  <a:lnTo>
                    <a:pt x="1529" y="1235"/>
                  </a:lnTo>
                  <a:lnTo>
                    <a:pt x="1527" y="1231"/>
                  </a:lnTo>
                  <a:lnTo>
                    <a:pt x="1526" y="1214"/>
                  </a:lnTo>
                  <a:lnTo>
                    <a:pt x="1524" y="1207"/>
                  </a:lnTo>
                  <a:lnTo>
                    <a:pt x="1520" y="1206"/>
                  </a:lnTo>
                  <a:lnTo>
                    <a:pt x="1513" y="1206"/>
                  </a:lnTo>
                  <a:lnTo>
                    <a:pt x="1508" y="1208"/>
                  </a:lnTo>
                  <a:lnTo>
                    <a:pt x="1505" y="1210"/>
                  </a:lnTo>
                  <a:lnTo>
                    <a:pt x="1499" y="1218"/>
                  </a:lnTo>
                  <a:lnTo>
                    <a:pt x="1495" y="1226"/>
                  </a:lnTo>
                  <a:lnTo>
                    <a:pt x="1494" y="1232"/>
                  </a:lnTo>
                  <a:lnTo>
                    <a:pt x="1497" y="1238"/>
                  </a:lnTo>
                  <a:lnTo>
                    <a:pt x="1497" y="1241"/>
                  </a:lnTo>
                  <a:lnTo>
                    <a:pt x="1486" y="1246"/>
                  </a:lnTo>
                  <a:lnTo>
                    <a:pt x="1483" y="1254"/>
                  </a:lnTo>
                  <a:lnTo>
                    <a:pt x="1480" y="1267"/>
                  </a:lnTo>
                  <a:lnTo>
                    <a:pt x="1479" y="1298"/>
                  </a:lnTo>
                  <a:lnTo>
                    <a:pt x="1476" y="1305"/>
                  </a:lnTo>
                  <a:lnTo>
                    <a:pt x="1474" y="1307"/>
                  </a:lnTo>
                  <a:lnTo>
                    <a:pt x="1470" y="1308"/>
                  </a:lnTo>
                  <a:lnTo>
                    <a:pt x="1467" y="1306"/>
                  </a:lnTo>
                  <a:lnTo>
                    <a:pt x="1463" y="1294"/>
                  </a:lnTo>
                  <a:lnTo>
                    <a:pt x="1438" y="1265"/>
                  </a:lnTo>
                  <a:lnTo>
                    <a:pt x="1418" y="1267"/>
                  </a:lnTo>
                  <a:lnTo>
                    <a:pt x="1394" y="1237"/>
                  </a:lnTo>
                  <a:lnTo>
                    <a:pt x="1390" y="1235"/>
                  </a:lnTo>
                  <a:lnTo>
                    <a:pt x="1385" y="1234"/>
                  </a:lnTo>
                  <a:lnTo>
                    <a:pt x="1376" y="1249"/>
                  </a:lnTo>
                  <a:lnTo>
                    <a:pt x="1369" y="1258"/>
                  </a:lnTo>
                  <a:lnTo>
                    <a:pt x="1365" y="1269"/>
                  </a:lnTo>
                  <a:lnTo>
                    <a:pt x="1363" y="1271"/>
                  </a:lnTo>
                  <a:lnTo>
                    <a:pt x="1361" y="1271"/>
                  </a:lnTo>
                  <a:lnTo>
                    <a:pt x="1358" y="1270"/>
                  </a:lnTo>
                  <a:lnTo>
                    <a:pt x="1350" y="1261"/>
                  </a:lnTo>
                  <a:lnTo>
                    <a:pt x="1343" y="1261"/>
                  </a:lnTo>
                  <a:lnTo>
                    <a:pt x="1338" y="1264"/>
                  </a:lnTo>
                  <a:lnTo>
                    <a:pt x="1338" y="1268"/>
                  </a:lnTo>
                  <a:lnTo>
                    <a:pt x="1346" y="1274"/>
                  </a:lnTo>
                  <a:lnTo>
                    <a:pt x="1346" y="1275"/>
                  </a:lnTo>
                  <a:lnTo>
                    <a:pt x="1344" y="1280"/>
                  </a:lnTo>
                  <a:lnTo>
                    <a:pt x="1338" y="1285"/>
                  </a:lnTo>
                  <a:lnTo>
                    <a:pt x="1335" y="1292"/>
                  </a:lnTo>
                  <a:lnTo>
                    <a:pt x="1330" y="1306"/>
                  </a:lnTo>
                  <a:lnTo>
                    <a:pt x="1326" y="1329"/>
                  </a:lnTo>
                  <a:lnTo>
                    <a:pt x="1305" y="1343"/>
                  </a:lnTo>
                  <a:lnTo>
                    <a:pt x="1281" y="1350"/>
                  </a:lnTo>
                  <a:lnTo>
                    <a:pt x="1247" y="1367"/>
                  </a:lnTo>
                  <a:lnTo>
                    <a:pt x="1241" y="1368"/>
                  </a:lnTo>
                  <a:lnTo>
                    <a:pt x="1234" y="1368"/>
                  </a:lnTo>
                  <a:lnTo>
                    <a:pt x="1222" y="1370"/>
                  </a:lnTo>
                  <a:lnTo>
                    <a:pt x="1222" y="1368"/>
                  </a:lnTo>
                  <a:lnTo>
                    <a:pt x="1223" y="1359"/>
                  </a:lnTo>
                  <a:lnTo>
                    <a:pt x="1222" y="1354"/>
                  </a:lnTo>
                  <a:lnTo>
                    <a:pt x="1217" y="1346"/>
                  </a:lnTo>
                  <a:lnTo>
                    <a:pt x="1217" y="1334"/>
                  </a:lnTo>
                  <a:lnTo>
                    <a:pt x="1216" y="1327"/>
                  </a:lnTo>
                  <a:lnTo>
                    <a:pt x="1212" y="1328"/>
                  </a:lnTo>
                  <a:lnTo>
                    <a:pt x="1202" y="1340"/>
                  </a:lnTo>
                  <a:lnTo>
                    <a:pt x="1200" y="1340"/>
                  </a:lnTo>
                  <a:lnTo>
                    <a:pt x="1199" y="1336"/>
                  </a:lnTo>
                  <a:lnTo>
                    <a:pt x="1196" y="1311"/>
                  </a:lnTo>
                  <a:lnTo>
                    <a:pt x="1194" y="1308"/>
                  </a:lnTo>
                  <a:lnTo>
                    <a:pt x="1189" y="1307"/>
                  </a:lnTo>
                  <a:lnTo>
                    <a:pt x="1187" y="1308"/>
                  </a:lnTo>
                  <a:lnTo>
                    <a:pt x="1168" y="1330"/>
                  </a:lnTo>
                  <a:lnTo>
                    <a:pt x="1155" y="1336"/>
                  </a:lnTo>
                  <a:lnTo>
                    <a:pt x="1149" y="1335"/>
                  </a:lnTo>
                  <a:lnTo>
                    <a:pt x="1145" y="1331"/>
                  </a:lnTo>
                  <a:lnTo>
                    <a:pt x="1141" y="1319"/>
                  </a:lnTo>
                  <a:lnTo>
                    <a:pt x="1135" y="1319"/>
                  </a:lnTo>
                  <a:lnTo>
                    <a:pt x="1129" y="1324"/>
                  </a:lnTo>
                  <a:lnTo>
                    <a:pt x="1126" y="1322"/>
                  </a:lnTo>
                  <a:lnTo>
                    <a:pt x="1109" y="1297"/>
                  </a:lnTo>
                  <a:lnTo>
                    <a:pt x="1109" y="1290"/>
                  </a:lnTo>
                  <a:lnTo>
                    <a:pt x="1112" y="1281"/>
                  </a:lnTo>
                  <a:lnTo>
                    <a:pt x="1111" y="1278"/>
                  </a:lnTo>
                  <a:lnTo>
                    <a:pt x="1108" y="1275"/>
                  </a:lnTo>
                  <a:lnTo>
                    <a:pt x="1104" y="1272"/>
                  </a:lnTo>
                  <a:lnTo>
                    <a:pt x="1091" y="1271"/>
                  </a:lnTo>
                  <a:lnTo>
                    <a:pt x="1087" y="1269"/>
                  </a:lnTo>
                  <a:lnTo>
                    <a:pt x="1084" y="1265"/>
                  </a:lnTo>
                  <a:lnTo>
                    <a:pt x="1083" y="1262"/>
                  </a:lnTo>
                  <a:lnTo>
                    <a:pt x="1087" y="1245"/>
                  </a:lnTo>
                  <a:lnTo>
                    <a:pt x="1086" y="1239"/>
                  </a:lnTo>
                  <a:lnTo>
                    <a:pt x="1081" y="1234"/>
                  </a:lnTo>
                  <a:lnTo>
                    <a:pt x="1067" y="1220"/>
                  </a:lnTo>
                  <a:lnTo>
                    <a:pt x="1062" y="1214"/>
                  </a:lnTo>
                  <a:lnTo>
                    <a:pt x="1059" y="1204"/>
                  </a:lnTo>
                  <a:lnTo>
                    <a:pt x="1058" y="1202"/>
                  </a:lnTo>
                  <a:lnTo>
                    <a:pt x="1056" y="1202"/>
                  </a:lnTo>
                  <a:lnTo>
                    <a:pt x="1051" y="1203"/>
                  </a:lnTo>
                  <a:lnTo>
                    <a:pt x="1042" y="1209"/>
                  </a:lnTo>
                  <a:lnTo>
                    <a:pt x="1037" y="1213"/>
                  </a:lnTo>
                  <a:lnTo>
                    <a:pt x="1011" y="1217"/>
                  </a:lnTo>
                  <a:lnTo>
                    <a:pt x="1009" y="1225"/>
                  </a:lnTo>
                  <a:lnTo>
                    <a:pt x="1006" y="1233"/>
                  </a:lnTo>
                  <a:lnTo>
                    <a:pt x="990" y="1250"/>
                  </a:lnTo>
                  <a:lnTo>
                    <a:pt x="979" y="1259"/>
                  </a:lnTo>
                  <a:lnTo>
                    <a:pt x="979" y="1263"/>
                  </a:lnTo>
                  <a:lnTo>
                    <a:pt x="984" y="1281"/>
                  </a:lnTo>
                  <a:lnTo>
                    <a:pt x="991" y="1287"/>
                  </a:lnTo>
                  <a:lnTo>
                    <a:pt x="993" y="1288"/>
                  </a:lnTo>
                  <a:lnTo>
                    <a:pt x="988" y="1309"/>
                  </a:lnTo>
                  <a:lnTo>
                    <a:pt x="982" y="1325"/>
                  </a:lnTo>
                  <a:lnTo>
                    <a:pt x="982" y="1325"/>
                  </a:lnTo>
                  <a:lnTo>
                    <a:pt x="973" y="1321"/>
                  </a:lnTo>
                  <a:lnTo>
                    <a:pt x="966" y="1319"/>
                  </a:lnTo>
                  <a:lnTo>
                    <a:pt x="963" y="1321"/>
                  </a:lnTo>
                  <a:lnTo>
                    <a:pt x="961" y="1323"/>
                  </a:lnTo>
                  <a:lnTo>
                    <a:pt x="954" y="1336"/>
                  </a:lnTo>
                  <a:lnTo>
                    <a:pt x="951" y="1339"/>
                  </a:lnTo>
                  <a:lnTo>
                    <a:pt x="903" y="1341"/>
                  </a:lnTo>
                  <a:lnTo>
                    <a:pt x="884" y="1343"/>
                  </a:lnTo>
                  <a:lnTo>
                    <a:pt x="870" y="1350"/>
                  </a:lnTo>
                  <a:lnTo>
                    <a:pt x="853" y="1364"/>
                  </a:lnTo>
                  <a:lnTo>
                    <a:pt x="836" y="1372"/>
                  </a:lnTo>
                  <a:lnTo>
                    <a:pt x="815" y="1387"/>
                  </a:lnTo>
                  <a:lnTo>
                    <a:pt x="797" y="1396"/>
                  </a:lnTo>
                  <a:lnTo>
                    <a:pt x="789" y="1399"/>
                  </a:lnTo>
                  <a:lnTo>
                    <a:pt x="780" y="1400"/>
                  </a:lnTo>
                  <a:lnTo>
                    <a:pt x="753" y="1400"/>
                  </a:lnTo>
                  <a:lnTo>
                    <a:pt x="729" y="1407"/>
                  </a:lnTo>
                  <a:lnTo>
                    <a:pt x="728" y="1409"/>
                  </a:lnTo>
                  <a:lnTo>
                    <a:pt x="729" y="1413"/>
                  </a:lnTo>
                  <a:lnTo>
                    <a:pt x="737" y="1428"/>
                  </a:lnTo>
                  <a:lnTo>
                    <a:pt x="743" y="1441"/>
                  </a:lnTo>
                  <a:lnTo>
                    <a:pt x="742" y="1450"/>
                  </a:lnTo>
                  <a:lnTo>
                    <a:pt x="736" y="1465"/>
                  </a:lnTo>
                  <a:lnTo>
                    <a:pt x="733" y="1470"/>
                  </a:lnTo>
                  <a:lnTo>
                    <a:pt x="724" y="1477"/>
                  </a:lnTo>
                  <a:lnTo>
                    <a:pt x="713" y="1488"/>
                  </a:lnTo>
                  <a:lnTo>
                    <a:pt x="697" y="1493"/>
                  </a:lnTo>
                  <a:lnTo>
                    <a:pt x="686" y="1510"/>
                  </a:lnTo>
                  <a:lnTo>
                    <a:pt x="682" y="1512"/>
                  </a:lnTo>
                  <a:lnTo>
                    <a:pt x="681" y="1512"/>
                  </a:lnTo>
                  <a:lnTo>
                    <a:pt x="678" y="1510"/>
                  </a:lnTo>
                  <a:lnTo>
                    <a:pt x="661" y="1488"/>
                  </a:lnTo>
                  <a:lnTo>
                    <a:pt x="656" y="1483"/>
                  </a:lnTo>
                  <a:lnTo>
                    <a:pt x="646" y="1483"/>
                  </a:lnTo>
                  <a:lnTo>
                    <a:pt x="629" y="1487"/>
                  </a:lnTo>
                  <a:lnTo>
                    <a:pt x="619" y="1486"/>
                  </a:lnTo>
                  <a:lnTo>
                    <a:pt x="614" y="1484"/>
                  </a:lnTo>
                  <a:lnTo>
                    <a:pt x="593" y="1469"/>
                  </a:lnTo>
                  <a:lnTo>
                    <a:pt x="587" y="1466"/>
                  </a:lnTo>
                  <a:lnTo>
                    <a:pt x="570" y="1460"/>
                  </a:lnTo>
                  <a:lnTo>
                    <a:pt x="556" y="1452"/>
                  </a:lnTo>
                  <a:lnTo>
                    <a:pt x="543" y="1452"/>
                  </a:lnTo>
                  <a:lnTo>
                    <a:pt x="537" y="1450"/>
                  </a:lnTo>
                  <a:lnTo>
                    <a:pt x="530" y="1444"/>
                  </a:lnTo>
                  <a:lnTo>
                    <a:pt x="525" y="1438"/>
                  </a:lnTo>
                  <a:lnTo>
                    <a:pt x="518" y="1428"/>
                  </a:lnTo>
                  <a:lnTo>
                    <a:pt x="512" y="1412"/>
                  </a:lnTo>
                  <a:lnTo>
                    <a:pt x="507" y="1404"/>
                  </a:lnTo>
                  <a:lnTo>
                    <a:pt x="500" y="1404"/>
                  </a:lnTo>
                  <a:lnTo>
                    <a:pt x="474" y="1407"/>
                  </a:lnTo>
                  <a:lnTo>
                    <a:pt x="463" y="1406"/>
                  </a:lnTo>
                  <a:lnTo>
                    <a:pt x="458" y="1403"/>
                  </a:lnTo>
                  <a:lnTo>
                    <a:pt x="454" y="1399"/>
                  </a:lnTo>
                  <a:lnTo>
                    <a:pt x="448" y="1382"/>
                  </a:lnTo>
                  <a:lnTo>
                    <a:pt x="444" y="1380"/>
                  </a:lnTo>
                  <a:lnTo>
                    <a:pt x="439" y="1379"/>
                  </a:lnTo>
                  <a:lnTo>
                    <a:pt x="436" y="1379"/>
                  </a:lnTo>
                  <a:lnTo>
                    <a:pt x="428" y="1384"/>
                  </a:lnTo>
                  <a:lnTo>
                    <a:pt x="394" y="1416"/>
                  </a:lnTo>
                  <a:lnTo>
                    <a:pt x="391" y="1421"/>
                  </a:lnTo>
                  <a:lnTo>
                    <a:pt x="386" y="1442"/>
                  </a:lnTo>
                  <a:lnTo>
                    <a:pt x="383" y="1448"/>
                  </a:lnTo>
                  <a:lnTo>
                    <a:pt x="375" y="1452"/>
                  </a:lnTo>
                  <a:lnTo>
                    <a:pt x="354" y="1457"/>
                  </a:lnTo>
                  <a:lnTo>
                    <a:pt x="342" y="1461"/>
                  </a:lnTo>
                  <a:lnTo>
                    <a:pt x="338" y="1466"/>
                  </a:lnTo>
                  <a:lnTo>
                    <a:pt x="329" y="1482"/>
                  </a:lnTo>
                  <a:lnTo>
                    <a:pt x="308" y="1490"/>
                  </a:lnTo>
                  <a:lnTo>
                    <a:pt x="295" y="1500"/>
                  </a:lnTo>
                  <a:lnTo>
                    <a:pt x="291" y="1500"/>
                  </a:lnTo>
                  <a:lnTo>
                    <a:pt x="286" y="1497"/>
                  </a:lnTo>
                  <a:lnTo>
                    <a:pt x="276" y="1489"/>
                  </a:lnTo>
                  <a:lnTo>
                    <a:pt x="262" y="1482"/>
                  </a:lnTo>
                  <a:lnTo>
                    <a:pt x="243" y="1464"/>
                  </a:lnTo>
                  <a:lnTo>
                    <a:pt x="240" y="1461"/>
                  </a:lnTo>
                  <a:lnTo>
                    <a:pt x="234" y="1460"/>
                  </a:lnTo>
                  <a:lnTo>
                    <a:pt x="234" y="1460"/>
                  </a:lnTo>
                  <a:lnTo>
                    <a:pt x="233" y="1449"/>
                  </a:lnTo>
                  <a:lnTo>
                    <a:pt x="234" y="1444"/>
                  </a:lnTo>
                  <a:lnTo>
                    <a:pt x="237" y="1440"/>
                  </a:lnTo>
                  <a:lnTo>
                    <a:pt x="259" y="1417"/>
                  </a:lnTo>
                  <a:lnTo>
                    <a:pt x="269" y="1403"/>
                  </a:lnTo>
                  <a:lnTo>
                    <a:pt x="288" y="1382"/>
                  </a:lnTo>
                  <a:lnTo>
                    <a:pt x="292" y="1375"/>
                  </a:lnTo>
                  <a:lnTo>
                    <a:pt x="291" y="1367"/>
                  </a:lnTo>
                  <a:lnTo>
                    <a:pt x="288" y="1362"/>
                  </a:lnTo>
                  <a:lnTo>
                    <a:pt x="286" y="1361"/>
                  </a:lnTo>
                  <a:lnTo>
                    <a:pt x="278" y="1361"/>
                  </a:lnTo>
                  <a:lnTo>
                    <a:pt x="259" y="1369"/>
                  </a:lnTo>
                  <a:lnTo>
                    <a:pt x="251" y="1367"/>
                  </a:lnTo>
                  <a:lnTo>
                    <a:pt x="249" y="1365"/>
                  </a:lnTo>
                  <a:lnTo>
                    <a:pt x="249" y="1363"/>
                  </a:lnTo>
                  <a:lnTo>
                    <a:pt x="259" y="1354"/>
                  </a:lnTo>
                  <a:lnTo>
                    <a:pt x="285" y="1335"/>
                  </a:lnTo>
                  <a:lnTo>
                    <a:pt x="302" y="1322"/>
                  </a:lnTo>
                  <a:lnTo>
                    <a:pt x="312" y="1318"/>
                  </a:lnTo>
                  <a:lnTo>
                    <a:pt x="322" y="1318"/>
                  </a:lnTo>
                  <a:lnTo>
                    <a:pt x="326" y="1317"/>
                  </a:lnTo>
                  <a:lnTo>
                    <a:pt x="328" y="1313"/>
                  </a:lnTo>
                  <a:lnTo>
                    <a:pt x="330" y="1294"/>
                  </a:lnTo>
                  <a:lnTo>
                    <a:pt x="329" y="1293"/>
                  </a:lnTo>
                  <a:lnTo>
                    <a:pt x="323" y="1291"/>
                  </a:lnTo>
                  <a:lnTo>
                    <a:pt x="301" y="1285"/>
                  </a:lnTo>
                  <a:lnTo>
                    <a:pt x="291" y="1282"/>
                  </a:lnTo>
                  <a:lnTo>
                    <a:pt x="280" y="1283"/>
                  </a:lnTo>
                  <a:lnTo>
                    <a:pt x="277" y="1282"/>
                  </a:lnTo>
                  <a:lnTo>
                    <a:pt x="274" y="1262"/>
                  </a:lnTo>
                  <a:lnTo>
                    <a:pt x="270" y="1255"/>
                  </a:lnTo>
                  <a:lnTo>
                    <a:pt x="266" y="1250"/>
                  </a:lnTo>
                  <a:lnTo>
                    <a:pt x="248" y="1236"/>
                  </a:lnTo>
                  <a:lnTo>
                    <a:pt x="245" y="1233"/>
                  </a:lnTo>
                  <a:lnTo>
                    <a:pt x="245" y="1227"/>
                  </a:lnTo>
                  <a:lnTo>
                    <a:pt x="245" y="1223"/>
                  </a:lnTo>
                  <a:lnTo>
                    <a:pt x="254" y="1206"/>
                  </a:lnTo>
                  <a:lnTo>
                    <a:pt x="251" y="1202"/>
                  </a:lnTo>
                  <a:lnTo>
                    <a:pt x="249" y="1200"/>
                  </a:lnTo>
                  <a:lnTo>
                    <a:pt x="241" y="1201"/>
                  </a:lnTo>
                  <a:lnTo>
                    <a:pt x="232" y="1203"/>
                  </a:lnTo>
                  <a:lnTo>
                    <a:pt x="219" y="1209"/>
                  </a:lnTo>
                  <a:lnTo>
                    <a:pt x="215" y="1209"/>
                  </a:lnTo>
                  <a:lnTo>
                    <a:pt x="213" y="1202"/>
                  </a:lnTo>
                  <a:lnTo>
                    <a:pt x="216" y="1183"/>
                  </a:lnTo>
                  <a:lnTo>
                    <a:pt x="216" y="1181"/>
                  </a:lnTo>
                  <a:lnTo>
                    <a:pt x="212" y="1177"/>
                  </a:lnTo>
                  <a:lnTo>
                    <a:pt x="197" y="1170"/>
                  </a:lnTo>
                  <a:lnTo>
                    <a:pt x="194" y="1167"/>
                  </a:lnTo>
                  <a:lnTo>
                    <a:pt x="192" y="1164"/>
                  </a:lnTo>
                  <a:lnTo>
                    <a:pt x="189" y="1156"/>
                  </a:lnTo>
                  <a:lnTo>
                    <a:pt x="187" y="1148"/>
                  </a:lnTo>
                  <a:lnTo>
                    <a:pt x="188" y="1128"/>
                  </a:lnTo>
                  <a:lnTo>
                    <a:pt x="189" y="1123"/>
                  </a:lnTo>
                  <a:lnTo>
                    <a:pt x="191" y="1120"/>
                  </a:lnTo>
                  <a:lnTo>
                    <a:pt x="194" y="1121"/>
                  </a:lnTo>
                  <a:lnTo>
                    <a:pt x="200" y="1125"/>
                  </a:lnTo>
                  <a:lnTo>
                    <a:pt x="203" y="1126"/>
                  </a:lnTo>
                  <a:lnTo>
                    <a:pt x="212" y="1108"/>
                  </a:lnTo>
                  <a:lnTo>
                    <a:pt x="216" y="1097"/>
                  </a:lnTo>
                  <a:lnTo>
                    <a:pt x="225" y="1067"/>
                  </a:lnTo>
                  <a:lnTo>
                    <a:pt x="232" y="1052"/>
                  </a:lnTo>
                  <a:lnTo>
                    <a:pt x="236" y="1041"/>
                  </a:lnTo>
                  <a:lnTo>
                    <a:pt x="237" y="1033"/>
                  </a:lnTo>
                  <a:lnTo>
                    <a:pt x="236" y="1016"/>
                  </a:lnTo>
                  <a:lnTo>
                    <a:pt x="238" y="1012"/>
                  </a:lnTo>
                  <a:lnTo>
                    <a:pt x="250" y="1013"/>
                  </a:lnTo>
                  <a:lnTo>
                    <a:pt x="250" y="1013"/>
                  </a:lnTo>
                  <a:lnTo>
                    <a:pt x="256" y="995"/>
                  </a:lnTo>
                  <a:lnTo>
                    <a:pt x="265" y="954"/>
                  </a:lnTo>
                  <a:lnTo>
                    <a:pt x="279" y="937"/>
                  </a:lnTo>
                  <a:lnTo>
                    <a:pt x="305" y="922"/>
                  </a:lnTo>
                  <a:lnTo>
                    <a:pt x="309" y="919"/>
                  </a:lnTo>
                  <a:lnTo>
                    <a:pt x="310" y="917"/>
                  </a:lnTo>
                  <a:lnTo>
                    <a:pt x="294" y="875"/>
                  </a:lnTo>
                  <a:lnTo>
                    <a:pt x="278" y="862"/>
                  </a:lnTo>
                  <a:lnTo>
                    <a:pt x="277" y="856"/>
                  </a:lnTo>
                  <a:lnTo>
                    <a:pt x="278" y="847"/>
                  </a:lnTo>
                  <a:lnTo>
                    <a:pt x="277" y="845"/>
                  </a:lnTo>
                  <a:lnTo>
                    <a:pt x="275" y="843"/>
                  </a:lnTo>
                  <a:lnTo>
                    <a:pt x="260" y="842"/>
                  </a:lnTo>
                  <a:lnTo>
                    <a:pt x="256" y="839"/>
                  </a:lnTo>
                  <a:lnTo>
                    <a:pt x="251" y="831"/>
                  </a:lnTo>
                  <a:lnTo>
                    <a:pt x="242" y="806"/>
                  </a:lnTo>
                  <a:lnTo>
                    <a:pt x="239" y="802"/>
                  </a:lnTo>
                  <a:lnTo>
                    <a:pt x="236" y="800"/>
                  </a:lnTo>
                  <a:lnTo>
                    <a:pt x="231" y="800"/>
                  </a:lnTo>
                  <a:lnTo>
                    <a:pt x="228" y="803"/>
                  </a:lnTo>
                  <a:lnTo>
                    <a:pt x="220" y="824"/>
                  </a:lnTo>
                  <a:lnTo>
                    <a:pt x="213" y="827"/>
                  </a:lnTo>
                  <a:lnTo>
                    <a:pt x="205" y="829"/>
                  </a:lnTo>
                  <a:lnTo>
                    <a:pt x="170" y="824"/>
                  </a:lnTo>
                  <a:lnTo>
                    <a:pt x="155" y="823"/>
                  </a:lnTo>
                  <a:lnTo>
                    <a:pt x="150" y="824"/>
                  </a:lnTo>
                  <a:lnTo>
                    <a:pt x="146" y="826"/>
                  </a:lnTo>
                  <a:lnTo>
                    <a:pt x="142" y="830"/>
                  </a:lnTo>
                  <a:lnTo>
                    <a:pt x="130" y="851"/>
                  </a:lnTo>
                  <a:lnTo>
                    <a:pt x="128" y="854"/>
                  </a:lnTo>
                  <a:lnTo>
                    <a:pt x="123" y="855"/>
                  </a:lnTo>
                  <a:lnTo>
                    <a:pt x="97" y="856"/>
                  </a:lnTo>
                  <a:lnTo>
                    <a:pt x="82" y="855"/>
                  </a:lnTo>
                  <a:lnTo>
                    <a:pt x="74" y="854"/>
                  </a:lnTo>
                  <a:lnTo>
                    <a:pt x="41" y="832"/>
                  </a:lnTo>
                  <a:lnTo>
                    <a:pt x="40" y="831"/>
                  </a:lnTo>
                  <a:lnTo>
                    <a:pt x="40" y="813"/>
                  </a:lnTo>
                  <a:lnTo>
                    <a:pt x="41" y="783"/>
                  </a:lnTo>
                  <a:lnTo>
                    <a:pt x="40" y="782"/>
                  </a:lnTo>
                  <a:lnTo>
                    <a:pt x="32" y="780"/>
                  </a:lnTo>
                  <a:lnTo>
                    <a:pt x="28" y="762"/>
                  </a:lnTo>
                  <a:lnTo>
                    <a:pt x="27" y="755"/>
                  </a:lnTo>
                  <a:lnTo>
                    <a:pt x="29" y="748"/>
                  </a:lnTo>
                  <a:lnTo>
                    <a:pt x="33" y="741"/>
                  </a:lnTo>
                  <a:lnTo>
                    <a:pt x="35" y="740"/>
                  </a:lnTo>
                  <a:lnTo>
                    <a:pt x="48" y="736"/>
                  </a:lnTo>
                  <a:lnTo>
                    <a:pt x="44" y="704"/>
                  </a:lnTo>
                  <a:lnTo>
                    <a:pt x="38" y="685"/>
                  </a:lnTo>
                  <a:lnTo>
                    <a:pt x="34" y="678"/>
                  </a:lnTo>
                  <a:lnTo>
                    <a:pt x="30" y="674"/>
                  </a:lnTo>
                  <a:lnTo>
                    <a:pt x="28" y="672"/>
                  </a:lnTo>
                  <a:lnTo>
                    <a:pt x="25" y="674"/>
                  </a:lnTo>
                  <a:lnTo>
                    <a:pt x="9" y="684"/>
                  </a:lnTo>
                  <a:lnTo>
                    <a:pt x="5" y="685"/>
                  </a:lnTo>
                  <a:lnTo>
                    <a:pt x="3" y="679"/>
                  </a:lnTo>
                  <a:lnTo>
                    <a:pt x="0" y="668"/>
                  </a:lnTo>
                  <a:lnTo>
                    <a:pt x="3" y="665"/>
                  </a:lnTo>
                  <a:lnTo>
                    <a:pt x="6" y="663"/>
                  </a:lnTo>
                  <a:lnTo>
                    <a:pt x="10" y="663"/>
                  </a:lnTo>
                  <a:lnTo>
                    <a:pt x="14" y="665"/>
                  </a:lnTo>
                  <a:lnTo>
                    <a:pt x="16" y="664"/>
                  </a:lnTo>
                  <a:lnTo>
                    <a:pt x="17" y="663"/>
                  </a:lnTo>
                  <a:lnTo>
                    <a:pt x="16" y="661"/>
                  </a:lnTo>
                  <a:lnTo>
                    <a:pt x="9" y="653"/>
                  </a:lnTo>
                  <a:lnTo>
                    <a:pt x="10" y="649"/>
                  </a:lnTo>
                  <a:lnTo>
                    <a:pt x="32" y="640"/>
                  </a:lnTo>
                  <a:lnTo>
                    <a:pt x="36" y="635"/>
                  </a:lnTo>
                  <a:lnTo>
                    <a:pt x="45" y="625"/>
                  </a:lnTo>
                  <a:lnTo>
                    <a:pt x="72" y="604"/>
                  </a:lnTo>
                  <a:lnTo>
                    <a:pt x="94" y="576"/>
                  </a:lnTo>
                  <a:lnTo>
                    <a:pt x="105" y="545"/>
                  </a:lnTo>
                  <a:lnTo>
                    <a:pt x="107" y="544"/>
                  </a:lnTo>
                  <a:lnTo>
                    <a:pt x="112" y="544"/>
                  </a:lnTo>
                  <a:lnTo>
                    <a:pt x="126" y="556"/>
                  </a:lnTo>
                  <a:lnTo>
                    <a:pt x="131" y="570"/>
                  </a:lnTo>
                  <a:lnTo>
                    <a:pt x="139" y="579"/>
                  </a:lnTo>
                  <a:lnTo>
                    <a:pt x="146" y="584"/>
                  </a:lnTo>
                  <a:lnTo>
                    <a:pt x="158" y="588"/>
                  </a:lnTo>
                  <a:lnTo>
                    <a:pt x="161" y="591"/>
                  </a:lnTo>
                  <a:lnTo>
                    <a:pt x="172" y="610"/>
                  </a:lnTo>
                  <a:lnTo>
                    <a:pt x="186" y="607"/>
                  </a:lnTo>
                  <a:lnTo>
                    <a:pt x="193" y="604"/>
                  </a:lnTo>
                  <a:lnTo>
                    <a:pt x="197" y="598"/>
                  </a:lnTo>
                  <a:lnTo>
                    <a:pt x="203" y="588"/>
                  </a:lnTo>
                  <a:lnTo>
                    <a:pt x="213" y="576"/>
                  </a:lnTo>
                  <a:lnTo>
                    <a:pt x="229" y="556"/>
                  </a:lnTo>
                  <a:lnTo>
                    <a:pt x="236" y="551"/>
                  </a:lnTo>
                  <a:lnTo>
                    <a:pt x="242" y="548"/>
                  </a:lnTo>
                  <a:lnTo>
                    <a:pt x="269" y="569"/>
                  </a:lnTo>
                  <a:lnTo>
                    <a:pt x="275" y="576"/>
                  </a:lnTo>
                  <a:lnTo>
                    <a:pt x="285" y="596"/>
                  </a:lnTo>
                  <a:lnTo>
                    <a:pt x="287" y="597"/>
                  </a:lnTo>
                  <a:lnTo>
                    <a:pt x="293" y="598"/>
                  </a:lnTo>
                  <a:lnTo>
                    <a:pt x="312" y="602"/>
                  </a:lnTo>
                  <a:lnTo>
                    <a:pt x="323" y="602"/>
                  </a:lnTo>
                  <a:lnTo>
                    <a:pt x="365" y="592"/>
                  </a:lnTo>
                  <a:lnTo>
                    <a:pt x="370" y="595"/>
                  </a:lnTo>
                  <a:lnTo>
                    <a:pt x="377" y="612"/>
                  </a:lnTo>
                  <a:lnTo>
                    <a:pt x="382" y="614"/>
                  </a:lnTo>
                  <a:lnTo>
                    <a:pt x="398" y="599"/>
                  </a:lnTo>
                  <a:lnTo>
                    <a:pt x="405" y="594"/>
                  </a:lnTo>
                  <a:lnTo>
                    <a:pt x="425" y="582"/>
                  </a:lnTo>
                  <a:lnTo>
                    <a:pt x="442" y="576"/>
                  </a:lnTo>
                  <a:lnTo>
                    <a:pt x="450" y="575"/>
                  </a:lnTo>
                  <a:lnTo>
                    <a:pt x="458" y="576"/>
                  </a:lnTo>
                  <a:lnTo>
                    <a:pt x="476" y="589"/>
                  </a:lnTo>
                  <a:lnTo>
                    <a:pt x="478" y="589"/>
                  </a:lnTo>
                  <a:lnTo>
                    <a:pt x="482" y="584"/>
                  </a:lnTo>
                  <a:lnTo>
                    <a:pt x="490" y="559"/>
                  </a:lnTo>
                  <a:lnTo>
                    <a:pt x="496" y="545"/>
                  </a:lnTo>
                  <a:lnTo>
                    <a:pt x="496" y="543"/>
                  </a:lnTo>
                  <a:lnTo>
                    <a:pt x="491" y="534"/>
                  </a:lnTo>
                  <a:lnTo>
                    <a:pt x="491" y="532"/>
                  </a:lnTo>
                  <a:lnTo>
                    <a:pt x="494" y="526"/>
                  </a:lnTo>
                  <a:lnTo>
                    <a:pt x="509" y="516"/>
                  </a:lnTo>
                  <a:lnTo>
                    <a:pt x="512" y="512"/>
                  </a:lnTo>
                  <a:lnTo>
                    <a:pt x="514" y="508"/>
                  </a:lnTo>
                  <a:lnTo>
                    <a:pt x="515" y="487"/>
                  </a:lnTo>
                  <a:lnTo>
                    <a:pt x="514" y="476"/>
                  </a:lnTo>
                  <a:lnTo>
                    <a:pt x="514" y="476"/>
                  </a:lnTo>
                  <a:lnTo>
                    <a:pt x="520" y="474"/>
                  </a:lnTo>
                  <a:lnTo>
                    <a:pt x="540" y="466"/>
                  </a:lnTo>
                  <a:lnTo>
                    <a:pt x="548" y="464"/>
                  </a:lnTo>
                  <a:lnTo>
                    <a:pt x="563" y="462"/>
                  </a:lnTo>
                  <a:lnTo>
                    <a:pt x="575" y="463"/>
                  </a:lnTo>
                  <a:lnTo>
                    <a:pt x="580" y="465"/>
                  </a:lnTo>
                  <a:lnTo>
                    <a:pt x="590" y="477"/>
                  </a:lnTo>
                  <a:lnTo>
                    <a:pt x="602" y="482"/>
                  </a:lnTo>
                  <a:lnTo>
                    <a:pt x="609" y="497"/>
                  </a:lnTo>
                  <a:lnTo>
                    <a:pt x="611" y="498"/>
                  </a:lnTo>
                  <a:lnTo>
                    <a:pt x="629" y="492"/>
                  </a:lnTo>
                  <a:lnTo>
                    <a:pt x="651" y="482"/>
                  </a:lnTo>
                  <a:lnTo>
                    <a:pt x="670" y="486"/>
                  </a:lnTo>
                  <a:lnTo>
                    <a:pt x="676" y="484"/>
                  </a:lnTo>
                  <a:lnTo>
                    <a:pt x="692" y="477"/>
                  </a:lnTo>
                  <a:lnTo>
                    <a:pt x="707" y="478"/>
                  </a:lnTo>
                  <a:lnTo>
                    <a:pt x="733" y="472"/>
                  </a:lnTo>
                  <a:lnTo>
                    <a:pt x="746" y="464"/>
                  </a:lnTo>
                  <a:lnTo>
                    <a:pt x="754" y="465"/>
                  </a:lnTo>
                  <a:lnTo>
                    <a:pt x="770" y="471"/>
                  </a:lnTo>
                  <a:lnTo>
                    <a:pt x="780" y="471"/>
                  </a:lnTo>
                  <a:lnTo>
                    <a:pt x="791" y="466"/>
                  </a:lnTo>
                  <a:lnTo>
                    <a:pt x="810" y="453"/>
                  </a:lnTo>
                  <a:lnTo>
                    <a:pt x="817" y="447"/>
                  </a:lnTo>
                  <a:lnTo>
                    <a:pt x="819" y="443"/>
                  </a:lnTo>
                  <a:lnTo>
                    <a:pt x="819" y="438"/>
                  </a:lnTo>
                  <a:lnTo>
                    <a:pt x="819" y="434"/>
                  </a:lnTo>
                  <a:lnTo>
                    <a:pt x="812" y="423"/>
                  </a:lnTo>
                  <a:lnTo>
                    <a:pt x="812" y="411"/>
                  </a:lnTo>
                  <a:lnTo>
                    <a:pt x="805" y="401"/>
                  </a:lnTo>
                  <a:lnTo>
                    <a:pt x="803" y="395"/>
                  </a:lnTo>
                  <a:lnTo>
                    <a:pt x="804" y="374"/>
                  </a:lnTo>
                  <a:lnTo>
                    <a:pt x="794" y="363"/>
                  </a:lnTo>
                  <a:lnTo>
                    <a:pt x="781" y="346"/>
                  </a:lnTo>
                  <a:lnTo>
                    <a:pt x="772" y="341"/>
                  </a:lnTo>
                  <a:lnTo>
                    <a:pt x="761" y="339"/>
                  </a:lnTo>
                  <a:lnTo>
                    <a:pt x="752" y="339"/>
                  </a:lnTo>
                  <a:lnTo>
                    <a:pt x="741" y="344"/>
                  </a:lnTo>
                  <a:lnTo>
                    <a:pt x="737" y="349"/>
                  </a:lnTo>
                  <a:lnTo>
                    <a:pt x="734" y="353"/>
                  </a:lnTo>
                  <a:lnTo>
                    <a:pt x="729" y="354"/>
                  </a:lnTo>
                  <a:lnTo>
                    <a:pt x="722" y="355"/>
                  </a:lnTo>
                  <a:lnTo>
                    <a:pt x="717" y="355"/>
                  </a:lnTo>
                  <a:lnTo>
                    <a:pt x="714" y="353"/>
                  </a:lnTo>
                  <a:lnTo>
                    <a:pt x="712" y="352"/>
                  </a:lnTo>
                  <a:lnTo>
                    <a:pt x="711" y="346"/>
                  </a:lnTo>
                  <a:lnTo>
                    <a:pt x="707" y="343"/>
                  </a:lnTo>
                  <a:lnTo>
                    <a:pt x="696" y="343"/>
                  </a:lnTo>
                  <a:lnTo>
                    <a:pt x="692" y="342"/>
                  </a:lnTo>
                  <a:lnTo>
                    <a:pt x="689" y="338"/>
                  </a:lnTo>
                  <a:lnTo>
                    <a:pt x="691" y="322"/>
                  </a:lnTo>
                  <a:lnTo>
                    <a:pt x="687" y="312"/>
                  </a:lnTo>
                  <a:lnTo>
                    <a:pt x="679" y="303"/>
                  </a:lnTo>
                  <a:lnTo>
                    <a:pt x="670" y="283"/>
                  </a:lnTo>
                  <a:lnTo>
                    <a:pt x="666" y="282"/>
                  </a:lnTo>
                  <a:lnTo>
                    <a:pt x="664" y="283"/>
                  </a:lnTo>
                  <a:lnTo>
                    <a:pt x="655" y="288"/>
                  </a:lnTo>
                  <a:lnTo>
                    <a:pt x="647" y="290"/>
                  </a:lnTo>
                  <a:lnTo>
                    <a:pt x="634" y="289"/>
                  </a:lnTo>
                  <a:lnTo>
                    <a:pt x="632" y="288"/>
                  </a:lnTo>
                  <a:lnTo>
                    <a:pt x="630" y="286"/>
                  </a:lnTo>
                  <a:lnTo>
                    <a:pt x="628" y="280"/>
                  </a:lnTo>
                  <a:lnTo>
                    <a:pt x="625" y="254"/>
                  </a:lnTo>
                  <a:lnTo>
                    <a:pt x="622" y="235"/>
                  </a:lnTo>
                  <a:lnTo>
                    <a:pt x="622" y="226"/>
                  </a:lnTo>
                  <a:lnTo>
                    <a:pt x="625" y="220"/>
                  </a:lnTo>
                  <a:lnTo>
                    <a:pt x="636" y="208"/>
                  </a:lnTo>
                  <a:lnTo>
                    <a:pt x="643" y="191"/>
                  </a:lnTo>
                  <a:lnTo>
                    <a:pt x="650" y="185"/>
                  </a:lnTo>
                  <a:lnTo>
                    <a:pt x="656" y="184"/>
                  </a:lnTo>
                  <a:lnTo>
                    <a:pt x="668" y="189"/>
                  </a:lnTo>
                  <a:lnTo>
                    <a:pt x="684" y="191"/>
                  </a:lnTo>
                  <a:lnTo>
                    <a:pt x="693" y="190"/>
                  </a:lnTo>
                  <a:lnTo>
                    <a:pt x="698" y="187"/>
                  </a:lnTo>
                  <a:lnTo>
                    <a:pt x="704" y="182"/>
                  </a:lnTo>
                  <a:lnTo>
                    <a:pt x="705" y="171"/>
                  </a:lnTo>
                  <a:lnTo>
                    <a:pt x="708" y="163"/>
                  </a:lnTo>
                  <a:lnTo>
                    <a:pt x="717" y="155"/>
                  </a:lnTo>
                  <a:lnTo>
                    <a:pt x="727" y="143"/>
                  </a:lnTo>
                  <a:lnTo>
                    <a:pt x="729" y="141"/>
                  </a:lnTo>
                  <a:lnTo>
                    <a:pt x="737" y="147"/>
                  </a:lnTo>
                  <a:lnTo>
                    <a:pt x="764" y="182"/>
                  </a:lnTo>
                  <a:lnTo>
                    <a:pt x="767" y="184"/>
                  </a:lnTo>
                  <a:lnTo>
                    <a:pt x="780" y="189"/>
                  </a:lnTo>
                  <a:lnTo>
                    <a:pt x="786" y="197"/>
                  </a:lnTo>
                  <a:lnTo>
                    <a:pt x="795" y="207"/>
                  </a:lnTo>
                  <a:lnTo>
                    <a:pt x="819" y="226"/>
                  </a:lnTo>
                  <a:lnTo>
                    <a:pt x="825" y="232"/>
                  </a:lnTo>
                  <a:lnTo>
                    <a:pt x="831" y="235"/>
                  </a:lnTo>
                  <a:lnTo>
                    <a:pt x="837" y="236"/>
                  </a:lnTo>
                  <a:lnTo>
                    <a:pt x="842" y="237"/>
                  </a:lnTo>
                  <a:lnTo>
                    <a:pt x="846" y="236"/>
                  </a:lnTo>
                  <a:lnTo>
                    <a:pt x="849" y="234"/>
                  </a:lnTo>
                  <a:lnTo>
                    <a:pt x="846" y="228"/>
                  </a:lnTo>
                  <a:lnTo>
                    <a:pt x="849" y="219"/>
                  </a:lnTo>
                  <a:lnTo>
                    <a:pt x="849" y="219"/>
                  </a:lnTo>
                  <a:lnTo>
                    <a:pt x="852" y="213"/>
                  </a:lnTo>
                  <a:lnTo>
                    <a:pt x="858" y="210"/>
                  </a:lnTo>
                  <a:lnTo>
                    <a:pt x="862" y="210"/>
                  </a:lnTo>
                  <a:lnTo>
                    <a:pt x="872" y="215"/>
                  </a:lnTo>
                  <a:lnTo>
                    <a:pt x="875" y="216"/>
                  </a:lnTo>
                  <a:lnTo>
                    <a:pt x="875" y="211"/>
                  </a:lnTo>
                  <a:lnTo>
                    <a:pt x="870" y="200"/>
                  </a:lnTo>
                  <a:lnTo>
                    <a:pt x="870" y="196"/>
                  </a:lnTo>
                  <a:lnTo>
                    <a:pt x="872" y="194"/>
                  </a:lnTo>
                  <a:lnTo>
                    <a:pt x="874" y="194"/>
                  </a:lnTo>
                  <a:lnTo>
                    <a:pt x="886" y="204"/>
                  </a:lnTo>
                  <a:lnTo>
                    <a:pt x="889" y="202"/>
                  </a:lnTo>
                  <a:lnTo>
                    <a:pt x="892" y="197"/>
                  </a:lnTo>
                  <a:lnTo>
                    <a:pt x="891" y="195"/>
                  </a:lnTo>
                  <a:lnTo>
                    <a:pt x="884" y="189"/>
                  </a:lnTo>
                  <a:lnTo>
                    <a:pt x="887" y="171"/>
                  </a:lnTo>
                  <a:lnTo>
                    <a:pt x="878" y="156"/>
                  </a:lnTo>
                  <a:lnTo>
                    <a:pt x="875" y="130"/>
                  </a:lnTo>
                  <a:lnTo>
                    <a:pt x="870" y="110"/>
                  </a:lnTo>
                  <a:lnTo>
                    <a:pt x="874" y="112"/>
                  </a:lnTo>
                  <a:lnTo>
                    <a:pt x="877" y="115"/>
                  </a:lnTo>
                  <a:lnTo>
                    <a:pt x="895" y="148"/>
                  </a:lnTo>
                  <a:lnTo>
                    <a:pt x="896" y="155"/>
                  </a:lnTo>
                  <a:lnTo>
                    <a:pt x="895" y="163"/>
                  </a:lnTo>
                  <a:lnTo>
                    <a:pt x="896" y="165"/>
                  </a:lnTo>
                  <a:lnTo>
                    <a:pt x="898" y="167"/>
                  </a:lnTo>
                  <a:lnTo>
                    <a:pt x="915" y="176"/>
                  </a:lnTo>
                  <a:lnTo>
                    <a:pt x="917" y="178"/>
                  </a:lnTo>
                  <a:lnTo>
                    <a:pt x="918" y="184"/>
                  </a:lnTo>
                  <a:lnTo>
                    <a:pt x="917" y="189"/>
                  </a:lnTo>
                  <a:lnTo>
                    <a:pt x="913" y="191"/>
                  </a:lnTo>
                  <a:lnTo>
                    <a:pt x="905" y="196"/>
                  </a:lnTo>
                  <a:lnTo>
                    <a:pt x="902" y="199"/>
                  </a:lnTo>
                  <a:lnTo>
                    <a:pt x="905" y="212"/>
                  </a:lnTo>
                  <a:lnTo>
                    <a:pt x="903" y="217"/>
                  </a:lnTo>
                  <a:lnTo>
                    <a:pt x="898" y="226"/>
                  </a:lnTo>
                  <a:lnTo>
                    <a:pt x="897" y="229"/>
                  </a:lnTo>
                  <a:lnTo>
                    <a:pt x="898" y="231"/>
                  </a:lnTo>
                  <a:lnTo>
                    <a:pt x="902" y="236"/>
                  </a:lnTo>
                  <a:lnTo>
                    <a:pt x="906" y="239"/>
                  </a:lnTo>
                  <a:lnTo>
                    <a:pt x="923" y="237"/>
                  </a:lnTo>
                  <a:lnTo>
                    <a:pt x="931" y="244"/>
                  </a:lnTo>
                  <a:lnTo>
                    <a:pt x="936" y="244"/>
                  </a:lnTo>
                  <a:lnTo>
                    <a:pt x="940" y="241"/>
                  </a:lnTo>
                  <a:lnTo>
                    <a:pt x="942" y="239"/>
                  </a:lnTo>
                  <a:lnTo>
                    <a:pt x="939" y="226"/>
                  </a:lnTo>
                  <a:lnTo>
                    <a:pt x="939" y="222"/>
                  </a:lnTo>
                  <a:lnTo>
                    <a:pt x="941" y="219"/>
                  </a:lnTo>
                  <a:lnTo>
                    <a:pt x="948" y="218"/>
                  </a:lnTo>
                  <a:lnTo>
                    <a:pt x="949" y="216"/>
                  </a:lnTo>
                  <a:lnTo>
                    <a:pt x="944" y="201"/>
                  </a:lnTo>
                  <a:lnTo>
                    <a:pt x="945" y="200"/>
                  </a:lnTo>
                  <a:lnTo>
                    <a:pt x="949" y="196"/>
                  </a:lnTo>
                  <a:lnTo>
                    <a:pt x="954" y="194"/>
                  </a:lnTo>
                  <a:lnTo>
                    <a:pt x="966" y="201"/>
                  </a:lnTo>
                  <a:lnTo>
                    <a:pt x="970" y="201"/>
                  </a:lnTo>
                  <a:lnTo>
                    <a:pt x="972" y="199"/>
                  </a:lnTo>
                  <a:lnTo>
                    <a:pt x="976" y="195"/>
                  </a:lnTo>
                  <a:lnTo>
                    <a:pt x="981" y="181"/>
                  </a:lnTo>
                  <a:lnTo>
                    <a:pt x="983" y="173"/>
                  </a:lnTo>
                  <a:lnTo>
                    <a:pt x="982" y="167"/>
                  </a:lnTo>
                  <a:lnTo>
                    <a:pt x="977" y="160"/>
                  </a:lnTo>
                  <a:lnTo>
                    <a:pt x="965" y="149"/>
                  </a:lnTo>
                  <a:lnTo>
                    <a:pt x="965" y="147"/>
                  </a:lnTo>
                  <a:lnTo>
                    <a:pt x="966" y="145"/>
                  </a:lnTo>
                  <a:lnTo>
                    <a:pt x="998" y="140"/>
                  </a:lnTo>
                  <a:lnTo>
                    <a:pt x="1005" y="140"/>
                  </a:lnTo>
                  <a:lnTo>
                    <a:pt x="1013" y="143"/>
                  </a:lnTo>
                  <a:lnTo>
                    <a:pt x="1018" y="142"/>
                  </a:lnTo>
                  <a:lnTo>
                    <a:pt x="1019" y="141"/>
                  </a:lnTo>
                  <a:lnTo>
                    <a:pt x="1022" y="128"/>
                  </a:lnTo>
                  <a:lnTo>
                    <a:pt x="1024" y="122"/>
                  </a:lnTo>
                  <a:lnTo>
                    <a:pt x="1027" y="120"/>
                  </a:lnTo>
                  <a:lnTo>
                    <a:pt x="1040" y="119"/>
                  </a:lnTo>
                  <a:lnTo>
                    <a:pt x="1067" y="120"/>
                  </a:lnTo>
                  <a:lnTo>
                    <a:pt x="1086" y="121"/>
                  </a:lnTo>
                  <a:lnTo>
                    <a:pt x="1089" y="126"/>
                  </a:lnTo>
                  <a:lnTo>
                    <a:pt x="1090" y="138"/>
                  </a:lnTo>
                  <a:lnTo>
                    <a:pt x="1091" y="141"/>
                  </a:lnTo>
                  <a:lnTo>
                    <a:pt x="1094" y="142"/>
                  </a:lnTo>
                  <a:lnTo>
                    <a:pt x="1099" y="141"/>
                  </a:lnTo>
                  <a:lnTo>
                    <a:pt x="1120" y="128"/>
                  </a:lnTo>
                  <a:lnTo>
                    <a:pt x="1121" y="115"/>
                  </a:lnTo>
                  <a:lnTo>
                    <a:pt x="1138" y="108"/>
                  </a:lnTo>
                  <a:lnTo>
                    <a:pt x="1145" y="101"/>
                  </a:lnTo>
                  <a:lnTo>
                    <a:pt x="1151" y="92"/>
                  </a:lnTo>
                  <a:lnTo>
                    <a:pt x="1150" y="88"/>
                  </a:lnTo>
                  <a:lnTo>
                    <a:pt x="1145" y="75"/>
                  </a:lnTo>
                  <a:lnTo>
                    <a:pt x="1143" y="53"/>
                  </a:lnTo>
                  <a:lnTo>
                    <a:pt x="1134" y="45"/>
                  </a:lnTo>
                  <a:lnTo>
                    <a:pt x="1133" y="42"/>
                  </a:lnTo>
                  <a:lnTo>
                    <a:pt x="1135" y="38"/>
                  </a:lnTo>
                  <a:lnTo>
                    <a:pt x="1144" y="31"/>
                  </a:lnTo>
                  <a:lnTo>
                    <a:pt x="1147" y="25"/>
                  </a:lnTo>
                  <a:lnTo>
                    <a:pt x="1156" y="4"/>
                  </a:lnTo>
                  <a:lnTo>
                    <a:pt x="1159" y="4"/>
                  </a:lnTo>
                  <a:lnTo>
                    <a:pt x="1165" y="9"/>
                  </a:lnTo>
                  <a:lnTo>
                    <a:pt x="1168" y="9"/>
                  </a:lnTo>
                  <a:lnTo>
                    <a:pt x="1198" y="0"/>
                  </a:lnTo>
                  <a:lnTo>
                    <a:pt x="1200" y="2"/>
                  </a:lnTo>
                  <a:lnTo>
                    <a:pt x="1204" y="15"/>
                  </a:lnTo>
                  <a:lnTo>
                    <a:pt x="1209" y="17"/>
                  </a:lnTo>
                  <a:lnTo>
                    <a:pt x="1215" y="17"/>
                  </a:lnTo>
                  <a:lnTo>
                    <a:pt x="1220" y="22"/>
                  </a:lnTo>
                  <a:lnTo>
                    <a:pt x="1222" y="23"/>
                  </a:lnTo>
                  <a:lnTo>
                    <a:pt x="1227" y="23"/>
                  </a:lnTo>
                  <a:lnTo>
                    <a:pt x="1229" y="22"/>
                  </a:lnTo>
                  <a:lnTo>
                    <a:pt x="1240" y="7"/>
                  </a:lnTo>
                  <a:lnTo>
                    <a:pt x="1242" y="7"/>
                  </a:lnTo>
                  <a:lnTo>
                    <a:pt x="1247" y="10"/>
                  </a:lnTo>
                  <a:lnTo>
                    <a:pt x="1252" y="17"/>
                  </a:lnTo>
                  <a:lnTo>
                    <a:pt x="1256" y="25"/>
                  </a:lnTo>
                  <a:lnTo>
                    <a:pt x="1258" y="30"/>
                  </a:lnTo>
                  <a:lnTo>
                    <a:pt x="1258" y="39"/>
                  </a:lnTo>
                  <a:lnTo>
                    <a:pt x="1260" y="48"/>
                  </a:lnTo>
                  <a:lnTo>
                    <a:pt x="1267" y="58"/>
                  </a:lnTo>
                  <a:lnTo>
                    <a:pt x="1266" y="69"/>
                  </a:lnTo>
                  <a:lnTo>
                    <a:pt x="1267" y="74"/>
                  </a:lnTo>
                  <a:lnTo>
                    <a:pt x="1269" y="76"/>
                  </a:lnTo>
                  <a:lnTo>
                    <a:pt x="1275" y="78"/>
                  </a:lnTo>
                  <a:lnTo>
                    <a:pt x="1282" y="79"/>
                  </a:lnTo>
                  <a:lnTo>
                    <a:pt x="1285" y="78"/>
                  </a:lnTo>
                  <a:lnTo>
                    <a:pt x="1289" y="74"/>
                  </a:lnTo>
                  <a:lnTo>
                    <a:pt x="1293" y="66"/>
                  </a:lnTo>
                  <a:lnTo>
                    <a:pt x="1297" y="63"/>
                  </a:lnTo>
                  <a:lnTo>
                    <a:pt x="1304" y="61"/>
                  </a:lnTo>
                  <a:lnTo>
                    <a:pt x="1321" y="59"/>
                  </a:lnTo>
                  <a:lnTo>
                    <a:pt x="1333" y="50"/>
                  </a:lnTo>
                  <a:lnTo>
                    <a:pt x="1342" y="47"/>
                  </a:lnTo>
                  <a:lnTo>
                    <a:pt x="1345" y="47"/>
                  </a:lnTo>
                  <a:lnTo>
                    <a:pt x="1372" y="55"/>
                  </a:lnTo>
                  <a:lnTo>
                    <a:pt x="1376" y="58"/>
                  </a:lnTo>
                  <a:lnTo>
                    <a:pt x="1381" y="63"/>
                  </a:lnTo>
                  <a:lnTo>
                    <a:pt x="1384" y="64"/>
                  </a:lnTo>
                  <a:lnTo>
                    <a:pt x="1389" y="61"/>
                  </a:lnTo>
                  <a:lnTo>
                    <a:pt x="1398" y="50"/>
                  </a:lnTo>
                  <a:lnTo>
                    <a:pt x="1401" y="49"/>
                  </a:lnTo>
                  <a:lnTo>
                    <a:pt x="1404" y="50"/>
                  </a:lnTo>
                  <a:lnTo>
                    <a:pt x="1405" y="53"/>
                  </a:lnTo>
                  <a:lnTo>
                    <a:pt x="1405" y="66"/>
                  </a:lnTo>
                  <a:lnTo>
                    <a:pt x="1407" y="81"/>
                  </a:lnTo>
                  <a:lnTo>
                    <a:pt x="1415" y="109"/>
                  </a:lnTo>
                  <a:lnTo>
                    <a:pt x="1417" y="129"/>
                  </a:lnTo>
                  <a:lnTo>
                    <a:pt x="1423" y="147"/>
                  </a:lnTo>
                  <a:lnTo>
                    <a:pt x="1423" y="153"/>
                  </a:lnTo>
                  <a:lnTo>
                    <a:pt x="1420" y="172"/>
                  </a:lnTo>
                  <a:lnTo>
                    <a:pt x="1420" y="178"/>
                  </a:lnTo>
                  <a:lnTo>
                    <a:pt x="1422" y="183"/>
                  </a:lnTo>
                  <a:lnTo>
                    <a:pt x="1426" y="187"/>
                  </a:lnTo>
                  <a:lnTo>
                    <a:pt x="1431" y="193"/>
                  </a:lnTo>
                  <a:lnTo>
                    <a:pt x="1448" y="199"/>
                  </a:lnTo>
                  <a:lnTo>
                    <a:pt x="1456" y="200"/>
                  </a:lnTo>
                  <a:lnTo>
                    <a:pt x="1482" y="193"/>
                  </a:lnTo>
                  <a:lnTo>
                    <a:pt x="1488" y="197"/>
                  </a:lnTo>
                  <a:lnTo>
                    <a:pt x="1492" y="203"/>
                  </a:lnTo>
                  <a:lnTo>
                    <a:pt x="1492" y="208"/>
                  </a:lnTo>
                  <a:lnTo>
                    <a:pt x="1486" y="220"/>
                  </a:lnTo>
                  <a:lnTo>
                    <a:pt x="1481" y="238"/>
                  </a:lnTo>
                  <a:lnTo>
                    <a:pt x="1481" y="253"/>
                  </a:lnTo>
                  <a:lnTo>
                    <a:pt x="1486" y="268"/>
                  </a:lnTo>
                  <a:lnTo>
                    <a:pt x="1484" y="274"/>
                  </a:lnTo>
                  <a:lnTo>
                    <a:pt x="1480" y="279"/>
                  </a:lnTo>
                  <a:lnTo>
                    <a:pt x="1477" y="284"/>
                  </a:lnTo>
                  <a:lnTo>
                    <a:pt x="1477" y="288"/>
                  </a:lnTo>
                  <a:lnTo>
                    <a:pt x="1481" y="294"/>
                  </a:lnTo>
                  <a:lnTo>
                    <a:pt x="1485" y="300"/>
                  </a:lnTo>
                  <a:lnTo>
                    <a:pt x="1488" y="303"/>
                  </a:lnTo>
                  <a:lnTo>
                    <a:pt x="1498" y="303"/>
                  </a:lnTo>
                  <a:lnTo>
                    <a:pt x="1504" y="301"/>
                  </a:lnTo>
                  <a:lnTo>
                    <a:pt x="1504" y="300"/>
                  </a:lnTo>
                  <a:lnTo>
                    <a:pt x="1503" y="295"/>
                  </a:lnTo>
                  <a:lnTo>
                    <a:pt x="1503" y="292"/>
                  </a:lnTo>
                  <a:lnTo>
                    <a:pt x="1507" y="282"/>
                  </a:lnTo>
                  <a:lnTo>
                    <a:pt x="1500" y="266"/>
                  </a:lnTo>
                  <a:lnTo>
                    <a:pt x="1500" y="262"/>
                  </a:lnTo>
                  <a:lnTo>
                    <a:pt x="1504" y="254"/>
                  </a:lnTo>
                  <a:lnTo>
                    <a:pt x="1510" y="247"/>
                  </a:lnTo>
                  <a:lnTo>
                    <a:pt x="1515" y="247"/>
                  </a:lnTo>
                  <a:lnTo>
                    <a:pt x="1520" y="249"/>
                  </a:lnTo>
                  <a:lnTo>
                    <a:pt x="1520" y="249"/>
                  </a:lnTo>
                  <a:lnTo>
                    <a:pt x="1522" y="250"/>
                  </a:lnTo>
                  <a:lnTo>
                    <a:pt x="1526" y="254"/>
                  </a:lnTo>
                  <a:lnTo>
                    <a:pt x="1535" y="264"/>
                  </a:lnTo>
                  <a:lnTo>
                    <a:pt x="1536" y="269"/>
                  </a:lnTo>
                  <a:lnTo>
                    <a:pt x="1534" y="281"/>
                  </a:lnTo>
                  <a:lnTo>
                    <a:pt x="1535" y="285"/>
                  </a:lnTo>
                  <a:lnTo>
                    <a:pt x="1540" y="289"/>
                  </a:lnTo>
                  <a:lnTo>
                    <a:pt x="1536" y="299"/>
                  </a:lnTo>
                  <a:lnTo>
                    <a:pt x="1526" y="312"/>
                  </a:lnTo>
                  <a:lnTo>
                    <a:pt x="1524" y="318"/>
                  </a:lnTo>
                  <a:lnTo>
                    <a:pt x="1525" y="329"/>
                  </a:lnTo>
                  <a:lnTo>
                    <a:pt x="1527" y="338"/>
                  </a:lnTo>
                  <a:lnTo>
                    <a:pt x="1529" y="344"/>
                  </a:lnTo>
                  <a:lnTo>
                    <a:pt x="1531" y="346"/>
                  </a:lnTo>
                  <a:lnTo>
                    <a:pt x="1535" y="345"/>
                  </a:lnTo>
                  <a:lnTo>
                    <a:pt x="1542" y="336"/>
                  </a:lnTo>
                  <a:lnTo>
                    <a:pt x="1545" y="334"/>
                  </a:lnTo>
                  <a:lnTo>
                    <a:pt x="1561" y="344"/>
                  </a:lnTo>
                  <a:lnTo>
                    <a:pt x="1574" y="343"/>
                  </a:lnTo>
                  <a:lnTo>
                    <a:pt x="1588" y="359"/>
                  </a:lnTo>
                  <a:lnTo>
                    <a:pt x="1592" y="361"/>
                  </a:lnTo>
                  <a:lnTo>
                    <a:pt x="1597" y="362"/>
                  </a:lnTo>
                  <a:lnTo>
                    <a:pt x="1605" y="361"/>
                  </a:lnTo>
                  <a:lnTo>
                    <a:pt x="1608" y="352"/>
                  </a:lnTo>
                  <a:lnTo>
                    <a:pt x="1611" y="349"/>
                  </a:lnTo>
                  <a:lnTo>
                    <a:pt x="1618" y="349"/>
                  </a:lnTo>
                  <a:lnTo>
                    <a:pt x="1628" y="355"/>
                  </a:lnTo>
                  <a:lnTo>
                    <a:pt x="1631" y="355"/>
                  </a:lnTo>
                  <a:lnTo>
                    <a:pt x="1633" y="354"/>
                  </a:lnTo>
                  <a:lnTo>
                    <a:pt x="1634" y="349"/>
                  </a:lnTo>
                  <a:lnTo>
                    <a:pt x="1630" y="339"/>
                  </a:lnTo>
                  <a:lnTo>
                    <a:pt x="1630" y="334"/>
                  </a:lnTo>
                  <a:lnTo>
                    <a:pt x="1642" y="315"/>
                  </a:lnTo>
                  <a:lnTo>
                    <a:pt x="1648" y="285"/>
                  </a:lnTo>
                  <a:lnTo>
                    <a:pt x="1652" y="273"/>
                  </a:lnTo>
                  <a:lnTo>
                    <a:pt x="1656" y="268"/>
                  </a:lnTo>
                  <a:lnTo>
                    <a:pt x="1663" y="264"/>
                  </a:lnTo>
                  <a:lnTo>
                    <a:pt x="1671" y="261"/>
                  </a:lnTo>
                  <a:lnTo>
                    <a:pt x="1680" y="258"/>
                  </a:lnTo>
                  <a:lnTo>
                    <a:pt x="1680" y="258"/>
                  </a:lnTo>
                  <a:lnTo>
                    <a:pt x="1680" y="258"/>
                  </a:lnTo>
                  <a:lnTo>
                    <a:pt x="1680" y="258"/>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2" name="Freeform 395">
              <a:extLst>
                <a:ext uri="{FF2B5EF4-FFF2-40B4-BE49-F238E27FC236}">
                  <a16:creationId xmlns:a16="http://schemas.microsoft.com/office/drawing/2014/main" id="{E3E92ACF-D598-6F28-C368-54D7A01DD93D}"/>
                </a:ext>
              </a:extLst>
            </p:cNvPr>
            <p:cNvSpPr>
              <a:spLocks/>
            </p:cNvSpPr>
            <p:nvPr/>
          </p:nvSpPr>
          <p:spPr bwMode="auto">
            <a:xfrm>
              <a:off x="5476875" y="5180013"/>
              <a:ext cx="1219200" cy="874713"/>
            </a:xfrm>
            <a:custGeom>
              <a:avLst/>
              <a:gdLst>
                <a:gd name="T0" fmla="*/ 221 w 2304"/>
                <a:gd name="T1" fmla="*/ 425 h 1653"/>
                <a:gd name="T2" fmla="*/ 411 w 2304"/>
                <a:gd name="T3" fmla="*/ 533 h 1653"/>
                <a:gd name="T4" fmla="*/ 571 w 2304"/>
                <a:gd name="T5" fmla="*/ 445 h 1653"/>
                <a:gd name="T6" fmla="*/ 761 w 2304"/>
                <a:gd name="T7" fmla="*/ 305 h 1653"/>
                <a:gd name="T8" fmla="*/ 890 w 2304"/>
                <a:gd name="T9" fmla="*/ 321 h 1653"/>
                <a:gd name="T10" fmla="*/ 998 w 2304"/>
                <a:gd name="T11" fmla="*/ 373 h 1653"/>
                <a:gd name="T12" fmla="*/ 1125 w 2304"/>
                <a:gd name="T13" fmla="*/ 307 h 1653"/>
                <a:gd name="T14" fmla="*/ 1268 w 2304"/>
                <a:gd name="T15" fmla="*/ 292 h 1653"/>
                <a:gd name="T16" fmla="*/ 1388 w 2304"/>
                <a:gd name="T17" fmla="*/ 259 h 1653"/>
                <a:gd name="T18" fmla="*/ 1421 w 2304"/>
                <a:gd name="T19" fmla="*/ 210 h 1653"/>
                <a:gd name="T20" fmla="*/ 1501 w 2304"/>
                <a:gd name="T21" fmla="*/ 142 h 1653"/>
                <a:gd name="T22" fmla="*/ 1618 w 2304"/>
                <a:gd name="T23" fmla="*/ 148 h 1653"/>
                <a:gd name="T24" fmla="*/ 1698 w 2304"/>
                <a:gd name="T25" fmla="*/ 117 h 1653"/>
                <a:gd name="T26" fmla="*/ 1842 w 2304"/>
                <a:gd name="T27" fmla="*/ 49 h 1653"/>
                <a:gd name="T28" fmla="*/ 1965 w 2304"/>
                <a:gd name="T29" fmla="*/ 0 h 1653"/>
                <a:gd name="T30" fmla="*/ 2062 w 2304"/>
                <a:gd name="T31" fmla="*/ 176 h 1653"/>
                <a:gd name="T32" fmla="*/ 2015 w 2304"/>
                <a:gd name="T33" fmla="*/ 370 h 1653"/>
                <a:gd name="T34" fmla="*/ 2060 w 2304"/>
                <a:gd name="T35" fmla="*/ 416 h 1653"/>
                <a:gd name="T36" fmla="*/ 2123 w 2304"/>
                <a:gd name="T37" fmla="*/ 528 h 1653"/>
                <a:gd name="T38" fmla="*/ 2276 w 2304"/>
                <a:gd name="T39" fmla="*/ 551 h 1653"/>
                <a:gd name="T40" fmla="*/ 2273 w 2304"/>
                <a:gd name="T41" fmla="*/ 793 h 1653"/>
                <a:gd name="T42" fmla="*/ 2182 w 2304"/>
                <a:gd name="T43" fmla="*/ 894 h 1653"/>
                <a:gd name="T44" fmla="*/ 2111 w 2304"/>
                <a:gd name="T45" fmla="*/ 1119 h 1653"/>
                <a:gd name="T46" fmla="*/ 1907 w 2304"/>
                <a:gd name="T47" fmla="*/ 1298 h 1653"/>
                <a:gd name="T48" fmla="*/ 1840 w 2304"/>
                <a:gd name="T49" fmla="*/ 1404 h 1653"/>
                <a:gd name="T50" fmla="*/ 1715 w 2304"/>
                <a:gd name="T51" fmla="*/ 1489 h 1653"/>
                <a:gd name="T52" fmla="*/ 1598 w 2304"/>
                <a:gd name="T53" fmla="*/ 1594 h 1653"/>
                <a:gd name="T54" fmla="*/ 1569 w 2304"/>
                <a:gd name="T55" fmla="*/ 1588 h 1653"/>
                <a:gd name="T56" fmla="*/ 1536 w 2304"/>
                <a:gd name="T57" fmla="*/ 1555 h 1653"/>
                <a:gd name="T58" fmla="*/ 1509 w 2304"/>
                <a:gd name="T59" fmla="*/ 1564 h 1653"/>
                <a:gd name="T60" fmla="*/ 1503 w 2304"/>
                <a:gd name="T61" fmla="*/ 1633 h 1653"/>
                <a:gd name="T62" fmla="*/ 1432 w 2304"/>
                <a:gd name="T63" fmla="*/ 1646 h 1653"/>
                <a:gd name="T64" fmla="*/ 1407 w 2304"/>
                <a:gd name="T65" fmla="*/ 1621 h 1653"/>
                <a:gd name="T66" fmla="*/ 1384 w 2304"/>
                <a:gd name="T67" fmla="*/ 1575 h 1653"/>
                <a:gd name="T68" fmla="*/ 1322 w 2304"/>
                <a:gd name="T69" fmla="*/ 1553 h 1653"/>
                <a:gd name="T70" fmla="*/ 1318 w 2304"/>
                <a:gd name="T71" fmla="*/ 1517 h 1653"/>
                <a:gd name="T72" fmla="*/ 1303 w 2304"/>
                <a:gd name="T73" fmla="*/ 1538 h 1653"/>
                <a:gd name="T74" fmla="*/ 1283 w 2304"/>
                <a:gd name="T75" fmla="*/ 1586 h 1653"/>
                <a:gd name="T76" fmla="*/ 1273 w 2304"/>
                <a:gd name="T77" fmla="*/ 1539 h 1653"/>
                <a:gd name="T78" fmla="*/ 1246 w 2304"/>
                <a:gd name="T79" fmla="*/ 1531 h 1653"/>
                <a:gd name="T80" fmla="*/ 1230 w 2304"/>
                <a:gd name="T81" fmla="*/ 1486 h 1653"/>
                <a:gd name="T82" fmla="*/ 1198 w 2304"/>
                <a:gd name="T83" fmla="*/ 1503 h 1653"/>
                <a:gd name="T84" fmla="*/ 1205 w 2304"/>
                <a:gd name="T85" fmla="*/ 1517 h 1653"/>
                <a:gd name="T86" fmla="*/ 1207 w 2304"/>
                <a:gd name="T87" fmla="*/ 1554 h 1653"/>
                <a:gd name="T88" fmla="*/ 1202 w 2304"/>
                <a:gd name="T89" fmla="*/ 1592 h 1653"/>
                <a:gd name="T90" fmla="*/ 1172 w 2304"/>
                <a:gd name="T91" fmla="*/ 1600 h 1653"/>
                <a:gd name="T92" fmla="*/ 1197 w 2304"/>
                <a:gd name="T93" fmla="*/ 1564 h 1653"/>
                <a:gd name="T94" fmla="*/ 1157 w 2304"/>
                <a:gd name="T95" fmla="*/ 1583 h 1653"/>
                <a:gd name="T96" fmla="*/ 1150 w 2304"/>
                <a:gd name="T97" fmla="*/ 1571 h 1653"/>
                <a:gd name="T98" fmla="*/ 1123 w 2304"/>
                <a:gd name="T99" fmla="*/ 1564 h 1653"/>
                <a:gd name="T100" fmla="*/ 1097 w 2304"/>
                <a:gd name="T101" fmla="*/ 1603 h 1653"/>
                <a:gd name="T102" fmla="*/ 1037 w 2304"/>
                <a:gd name="T103" fmla="*/ 1606 h 1653"/>
                <a:gd name="T104" fmla="*/ 822 w 2304"/>
                <a:gd name="T105" fmla="*/ 1534 h 1653"/>
                <a:gd name="T106" fmla="*/ 675 w 2304"/>
                <a:gd name="T107" fmla="*/ 1448 h 1653"/>
                <a:gd name="T108" fmla="*/ 613 w 2304"/>
                <a:gd name="T109" fmla="*/ 1274 h 1653"/>
                <a:gd name="T110" fmla="*/ 598 w 2304"/>
                <a:gd name="T111" fmla="*/ 1130 h 1653"/>
                <a:gd name="T112" fmla="*/ 346 w 2304"/>
                <a:gd name="T113" fmla="*/ 1077 h 1653"/>
                <a:gd name="T114" fmla="*/ 339 w 2304"/>
                <a:gd name="T115" fmla="*/ 963 h 1653"/>
                <a:gd name="T116" fmla="*/ 504 w 2304"/>
                <a:gd name="T117" fmla="*/ 817 h 1653"/>
                <a:gd name="T118" fmla="*/ 388 w 2304"/>
                <a:gd name="T119" fmla="*/ 753 h 1653"/>
                <a:gd name="T120" fmla="*/ 276 w 2304"/>
                <a:gd name="T121" fmla="*/ 745 h 1653"/>
                <a:gd name="T122" fmla="*/ 184 w 2304"/>
                <a:gd name="T123" fmla="*/ 628 h 1653"/>
                <a:gd name="T124" fmla="*/ 11 w 2304"/>
                <a:gd name="T125" fmla="*/ 575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4" h="1653">
                  <a:moveTo>
                    <a:pt x="16" y="506"/>
                  </a:moveTo>
                  <a:lnTo>
                    <a:pt x="22" y="507"/>
                  </a:lnTo>
                  <a:lnTo>
                    <a:pt x="25" y="510"/>
                  </a:lnTo>
                  <a:lnTo>
                    <a:pt x="44" y="528"/>
                  </a:lnTo>
                  <a:lnTo>
                    <a:pt x="58" y="535"/>
                  </a:lnTo>
                  <a:lnTo>
                    <a:pt x="68" y="543"/>
                  </a:lnTo>
                  <a:lnTo>
                    <a:pt x="73" y="546"/>
                  </a:lnTo>
                  <a:lnTo>
                    <a:pt x="77" y="546"/>
                  </a:lnTo>
                  <a:lnTo>
                    <a:pt x="90" y="536"/>
                  </a:lnTo>
                  <a:lnTo>
                    <a:pt x="111" y="528"/>
                  </a:lnTo>
                  <a:lnTo>
                    <a:pt x="120" y="512"/>
                  </a:lnTo>
                  <a:lnTo>
                    <a:pt x="124" y="507"/>
                  </a:lnTo>
                  <a:lnTo>
                    <a:pt x="136" y="503"/>
                  </a:lnTo>
                  <a:lnTo>
                    <a:pt x="157" y="498"/>
                  </a:lnTo>
                  <a:lnTo>
                    <a:pt x="165" y="494"/>
                  </a:lnTo>
                  <a:lnTo>
                    <a:pt x="168" y="488"/>
                  </a:lnTo>
                  <a:lnTo>
                    <a:pt x="173" y="467"/>
                  </a:lnTo>
                  <a:lnTo>
                    <a:pt x="176" y="462"/>
                  </a:lnTo>
                  <a:lnTo>
                    <a:pt x="210" y="430"/>
                  </a:lnTo>
                  <a:lnTo>
                    <a:pt x="218" y="425"/>
                  </a:lnTo>
                  <a:lnTo>
                    <a:pt x="221" y="425"/>
                  </a:lnTo>
                  <a:lnTo>
                    <a:pt x="226" y="426"/>
                  </a:lnTo>
                  <a:lnTo>
                    <a:pt x="230" y="428"/>
                  </a:lnTo>
                  <a:lnTo>
                    <a:pt x="236" y="445"/>
                  </a:lnTo>
                  <a:lnTo>
                    <a:pt x="240" y="449"/>
                  </a:lnTo>
                  <a:lnTo>
                    <a:pt x="245" y="452"/>
                  </a:lnTo>
                  <a:lnTo>
                    <a:pt x="256" y="453"/>
                  </a:lnTo>
                  <a:lnTo>
                    <a:pt x="282" y="450"/>
                  </a:lnTo>
                  <a:lnTo>
                    <a:pt x="289" y="450"/>
                  </a:lnTo>
                  <a:lnTo>
                    <a:pt x="294" y="458"/>
                  </a:lnTo>
                  <a:lnTo>
                    <a:pt x="300" y="474"/>
                  </a:lnTo>
                  <a:lnTo>
                    <a:pt x="307" y="484"/>
                  </a:lnTo>
                  <a:lnTo>
                    <a:pt x="312" y="490"/>
                  </a:lnTo>
                  <a:lnTo>
                    <a:pt x="319" y="496"/>
                  </a:lnTo>
                  <a:lnTo>
                    <a:pt x="325" y="498"/>
                  </a:lnTo>
                  <a:lnTo>
                    <a:pt x="338" y="498"/>
                  </a:lnTo>
                  <a:lnTo>
                    <a:pt x="352" y="506"/>
                  </a:lnTo>
                  <a:lnTo>
                    <a:pt x="369" y="512"/>
                  </a:lnTo>
                  <a:lnTo>
                    <a:pt x="375" y="515"/>
                  </a:lnTo>
                  <a:lnTo>
                    <a:pt x="396" y="530"/>
                  </a:lnTo>
                  <a:lnTo>
                    <a:pt x="401" y="532"/>
                  </a:lnTo>
                  <a:lnTo>
                    <a:pt x="411" y="533"/>
                  </a:lnTo>
                  <a:lnTo>
                    <a:pt x="428" y="529"/>
                  </a:lnTo>
                  <a:lnTo>
                    <a:pt x="438" y="529"/>
                  </a:lnTo>
                  <a:lnTo>
                    <a:pt x="443" y="534"/>
                  </a:lnTo>
                  <a:lnTo>
                    <a:pt x="460" y="556"/>
                  </a:lnTo>
                  <a:lnTo>
                    <a:pt x="463" y="558"/>
                  </a:lnTo>
                  <a:lnTo>
                    <a:pt x="464" y="558"/>
                  </a:lnTo>
                  <a:lnTo>
                    <a:pt x="468" y="556"/>
                  </a:lnTo>
                  <a:lnTo>
                    <a:pt x="479" y="539"/>
                  </a:lnTo>
                  <a:lnTo>
                    <a:pt x="495" y="534"/>
                  </a:lnTo>
                  <a:lnTo>
                    <a:pt x="506" y="523"/>
                  </a:lnTo>
                  <a:lnTo>
                    <a:pt x="515" y="516"/>
                  </a:lnTo>
                  <a:lnTo>
                    <a:pt x="518" y="511"/>
                  </a:lnTo>
                  <a:lnTo>
                    <a:pt x="524" y="496"/>
                  </a:lnTo>
                  <a:lnTo>
                    <a:pt x="525" y="487"/>
                  </a:lnTo>
                  <a:lnTo>
                    <a:pt x="519" y="474"/>
                  </a:lnTo>
                  <a:lnTo>
                    <a:pt x="511" y="459"/>
                  </a:lnTo>
                  <a:lnTo>
                    <a:pt x="510" y="455"/>
                  </a:lnTo>
                  <a:lnTo>
                    <a:pt x="511" y="453"/>
                  </a:lnTo>
                  <a:lnTo>
                    <a:pt x="535" y="446"/>
                  </a:lnTo>
                  <a:lnTo>
                    <a:pt x="562" y="446"/>
                  </a:lnTo>
                  <a:lnTo>
                    <a:pt x="571" y="445"/>
                  </a:lnTo>
                  <a:lnTo>
                    <a:pt x="579" y="442"/>
                  </a:lnTo>
                  <a:lnTo>
                    <a:pt x="597" y="433"/>
                  </a:lnTo>
                  <a:lnTo>
                    <a:pt x="618" y="418"/>
                  </a:lnTo>
                  <a:lnTo>
                    <a:pt x="635" y="410"/>
                  </a:lnTo>
                  <a:lnTo>
                    <a:pt x="652" y="396"/>
                  </a:lnTo>
                  <a:lnTo>
                    <a:pt x="666" y="389"/>
                  </a:lnTo>
                  <a:lnTo>
                    <a:pt x="685" y="387"/>
                  </a:lnTo>
                  <a:lnTo>
                    <a:pt x="733" y="385"/>
                  </a:lnTo>
                  <a:lnTo>
                    <a:pt x="736" y="382"/>
                  </a:lnTo>
                  <a:lnTo>
                    <a:pt x="743" y="369"/>
                  </a:lnTo>
                  <a:lnTo>
                    <a:pt x="745" y="367"/>
                  </a:lnTo>
                  <a:lnTo>
                    <a:pt x="748" y="365"/>
                  </a:lnTo>
                  <a:lnTo>
                    <a:pt x="755" y="367"/>
                  </a:lnTo>
                  <a:lnTo>
                    <a:pt x="764" y="371"/>
                  </a:lnTo>
                  <a:lnTo>
                    <a:pt x="764" y="371"/>
                  </a:lnTo>
                  <a:lnTo>
                    <a:pt x="770" y="355"/>
                  </a:lnTo>
                  <a:lnTo>
                    <a:pt x="775" y="334"/>
                  </a:lnTo>
                  <a:lnTo>
                    <a:pt x="773" y="333"/>
                  </a:lnTo>
                  <a:lnTo>
                    <a:pt x="766" y="327"/>
                  </a:lnTo>
                  <a:lnTo>
                    <a:pt x="761" y="309"/>
                  </a:lnTo>
                  <a:lnTo>
                    <a:pt x="761" y="305"/>
                  </a:lnTo>
                  <a:lnTo>
                    <a:pt x="772" y="296"/>
                  </a:lnTo>
                  <a:lnTo>
                    <a:pt x="788" y="279"/>
                  </a:lnTo>
                  <a:lnTo>
                    <a:pt x="791" y="271"/>
                  </a:lnTo>
                  <a:lnTo>
                    <a:pt x="793" y="263"/>
                  </a:lnTo>
                  <a:lnTo>
                    <a:pt x="819" y="259"/>
                  </a:lnTo>
                  <a:lnTo>
                    <a:pt x="824" y="255"/>
                  </a:lnTo>
                  <a:lnTo>
                    <a:pt x="833" y="249"/>
                  </a:lnTo>
                  <a:lnTo>
                    <a:pt x="838" y="248"/>
                  </a:lnTo>
                  <a:lnTo>
                    <a:pt x="840" y="248"/>
                  </a:lnTo>
                  <a:lnTo>
                    <a:pt x="841" y="250"/>
                  </a:lnTo>
                  <a:lnTo>
                    <a:pt x="844" y="260"/>
                  </a:lnTo>
                  <a:lnTo>
                    <a:pt x="849" y="266"/>
                  </a:lnTo>
                  <a:lnTo>
                    <a:pt x="863" y="280"/>
                  </a:lnTo>
                  <a:lnTo>
                    <a:pt x="868" y="285"/>
                  </a:lnTo>
                  <a:lnTo>
                    <a:pt x="869" y="291"/>
                  </a:lnTo>
                  <a:lnTo>
                    <a:pt x="865" y="308"/>
                  </a:lnTo>
                  <a:lnTo>
                    <a:pt x="866" y="311"/>
                  </a:lnTo>
                  <a:lnTo>
                    <a:pt x="869" y="315"/>
                  </a:lnTo>
                  <a:lnTo>
                    <a:pt x="873" y="317"/>
                  </a:lnTo>
                  <a:lnTo>
                    <a:pt x="886" y="318"/>
                  </a:lnTo>
                  <a:lnTo>
                    <a:pt x="890" y="321"/>
                  </a:lnTo>
                  <a:lnTo>
                    <a:pt x="893" y="324"/>
                  </a:lnTo>
                  <a:lnTo>
                    <a:pt x="894" y="327"/>
                  </a:lnTo>
                  <a:lnTo>
                    <a:pt x="891" y="336"/>
                  </a:lnTo>
                  <a:lnTo>
                    <a:pt x="891" y="343"/>
                  </a:lnTo>
                  <a:lnTo>
                    <a:pt x="908" y="368"/>
                  </a:lnTo>
                  <a:lnTo>
                    <a:pt x="911" y="370"/>
                  </a:lnTo>
                  <a:lnTo>
                    <a:pt x="917" y="365"/>
                  </a:lnTo>
                  <a:lnTo>
                    <a:pt x="923" y="365"/>
                  </a:lnTo>
                  <a:lnTo>
                    <a:pt x="927" y="377"/>
                  </a:lnTo>
                  <a:lnTo>
                    <a:pt x="931" y="381"/>
                  </a:lnTo>
                  <a:lnTo>
                    <a:pt x="937" y="382"/>
                  </a:lnTo>
                  <a:lnTo>
                    <a:pt x="950" y="376"/>
                  </a:lnTo>
                  <a:lnTo>
                    <a:pt x="969" y="354"/>
                  </a:lnTo>
                  <a:lnTo>
                    <a:pt x="971" y="353"/>
                  </a:lnTo>
                  <a:lnTo>
                    <a:pt x="976" y="354"/>
                  </a:lnTo>
                  <a:lnTo>
                    <a:pt x="978" y="357"/>
                  </a:lnTo>
                  <a:lnTo>
                    <a:pt x="981" y="382"/>
                  </a:lnTo>
                  <a:lnTo>
                    <a:pt x="982" y="386"/>
                  </a:lnTo>
                  <a:lnTo>
                    <a:pt x="984" y="386"/>
                  </a:lnTo>
                  <a:lnTo>
                    <a:pt x="994" y="374"/>
                  </a:lnTo>
                  <a:lnTo>
                    <a:pt x="998" y="373"/>
                  </a:lnTo>
                  <a:lnTo>
                    <a:pt x="999" y="380"/>
                  </a:lnTo>
                  <a:lnTo>
                    <a:pt x="999" y="392"/>
                  </a:lnTo>
                  <a:lnTo>
                    <a:pt x="1004" y="400"/>
                  </a:lnTo>
                  <a:lnTo>
                    <a:pt x="1005" y="405"/>
                  </a:lnTo>
                  <a:lnTo>
                    <a:pt x="1004" y="414"/>
                  </a:lnTo>
                  <a:lnTo>
                    <a:pt x="1004" y="416"/>
                  </a:lnTo>
                  <a:lnTo>
                    <a:pt x="1016" y="414"/>
                  </a:lnTo>
                  <a:lnTo>
                    <a:pt x="1023" y="414"/>
                  </a:lnTo>
                  <a:lnTo>
                    <a:pt x="1029" y="413"/>
                  </a:lnTo>
                  <a:lnTo>
                    <a:pt x="1063" y="396"/>
                  </a:lnTo>
                  <a:lnTo>
                    <a:pt x="1087" y="389"/>
                  </a:lnTo>
                  <a:lnTo>
                    <a:pt x="1108" y="375"/>
                  </a:lnTo>
                  <a:lnTo>
                    <a:pt x="1112" y="352"/>
                  </a:lnTo>
                  <a:lnTo>
                    <a:pt x="1117" y="338"/>
                  </a:lnTo>
                  <a:lnTo>
                    <a:pt x="1120" y="331"/>
                  </a:lnTo>
                  <a:lnTo>
                    <a:pt x="1126" y="326"/>
                  </a:lnTo>
                  <a:lnTo>
                    <a:pt x="1128" y="321"/>
                  </a:lnTo>
                  <a:lnTo>
                    <a:pt x="1128" y="320"/>
                  </a:lnTo>
                  <a:lnTo>
                    <a:pt x="1120" y="314"/>
                  </a:lnTo>
                  <a:lnTo>
                    <a:pt x="1120" y="310"/>
                  </a:lnTo>
                  <a:lnTo>
                    <a:pt x="1125" y="307"/>
                  </a:lnTo>
                  <a:lnTo>
                    <a:pt x="1132" y="307"/>
                  </a:lnTo>
                  <a:lnTo>
                    <a:pt x="1140" y="316"/>
                  </a:lnTo>
                  <a:lnTo>
                    <a:pt x="1143" y="317"/>
                  </a:lnTo>
                  <a:lnTo>
                    <a:pt x="1145" y="317"/>
                  </a:lnTo>
                  <a:lnTo>
                    <a:pt x="1147" y="315"/>
                  </a:lnTo>
                  <a:lnTo>
                    <a:pt x="1151" y="304"/>
                  </a:lnTo>
                  <a:lnTo>
                    <a:pt x="1158" y="295"/>
                  </a:lnTo>
                  <a:lnTo>
                    <a:pt x="1167" y="280"/>
                  </a:lnTo>
                  <a:lnTo>
                    <a:pt x="1172" y="281"/>
                  </a:lnTo>
                  <a:lnTo>
                    <a:pt x="1176" y="283"/>
                  </a:lnTo>
                  <a:lnTo>
                    <a:pt x="1200" y="313"/>
                  </a:lnTo>
                  <a:lnTo>
                    <a:pt x="1220" y="311"/>
                  </a:lnTo>
                  <a:lnTo>
                    <a:pt x="1245" y="340"/>
                  </a:lnTo>
                  <a:lnTo>
                    <a:pt x="1249" y="352"/>
                  </a:lnTo>
                  <a:lnTo>
                    <a:pt x="1252" y="354"/>
                  </a:lnTo>
                  <a:lnTo>
                    <a:pt x="1256" y="353"/>
                  </a:lnTo>
                  <a:lnTo>
                    <a:pt x="1258" y="351"/>
                  </a:lnTo>
                  <a:lnTo>
                    <a:pt x="1261" y="344"/>
                  </a:lnTo>
                  <a:lnTo>
                    <a:pt x="1262" y="313"/>
                  </a:lnTo>
                  <a:lnTo>
                    <a:pt x="1265" y="300"/>
                  </a:lnTo>
                  <a:lnTo>
                    <a:pt x="1268" y="292"/>
                  </a:lnTo>
                  <a:lnTo>
                    <a:pt x="1279" y="287"/>
                  </a:lnTo>
                  <a:lnTo>
                    <a:pt x="1279" y="284"/>
                  </a:lnTo>
                  <a:lnTo>
                    <a:pt x="1276" y="278"/>
                  </a:lnTo>
                  <a:lnTo>
                    <a:pt x="1277" y="272"/>
                  </a:lnTo>
                  <a:lnTo>
                    <a:pt x="1281" y="264"/>
                  </a:lnTo>
                  <a:lnTo>
                    <a:pt x="1287" y="256"/>
                  </a:lnTo>
                  <a:lnTo>
                    <a:pt x="1290" y="254"/>
                  </a:lnTo>
                  <a:lnTo>
                    <a:pt x="1295" y="252"/>
                  </a:lnTo>
                  <a:lnTo>
                    <a:pt x="1302" y="252"/>
                  </a:lnTo>
                  <a:lnTo>
                    <a:pt x="1306" y="253"/>
                  </a:lnTo>
                  <a:lnTo>
                    <a:pt x="1308" y="260"/>
                  </a:lnTo>
                  <a:lnTo>
                    <a:pt x="1309" y="277"/>
                  </a:lnTo>
                  <a:lnTo>
                    <a:pt x="1311" y="281"/>
                  </a:lnTo>
                  <a:lnTo>
                    <a:pt x="1351" y="281"/>
                  </a:lnTo>
                  <a:lnTo>
                    <a:pt x="1382" y="288"/>
                  </a:lnTo>
                  <a:lnTo>
                    <a:pt x="1389" y="288"/>
                  </a:lnTo>
                  <a:lnTo>
                    <a:pt x="1395" y="286"/>
                  </a:lnTo>
                  <a:lnTo>
                    <a:pt x="1397" y="284"/>
                  </a:lnTo>
                  <a:lnTo>
                    <a:pt x="1397" y="281"/>
                  </a:lnTo>
                  <a:lnTo>
                    <a:pt x="1389" y="268"/>
                  </a:lnTo>
                  <a:lnTo>
                    <a:pt x="1388" y="259"/>
                  </a:lnTo>
                  <a:lnTo>
                    <a:pt x="1389" y="242"/>
                  </a:lnTo>
                  <a:lnTo>
                    <a:pt x="1394" y="232"/>
                  </a:lnTo>
                  <a:lnTo>
                    <a:pt x="1396" y="228"/>
                  </a:lnTo>
                  <a:lnTo>
                    <a:pt x="1395" y="220"/>
                  </a:lnTo>
                  <a:lnTo>
                    <a:pt x="1393" y="214"/>
                  </a:lnTo>
                  <a:lnTo>
                    <a:pt x="1391" y="213"/>
                  </a:lnTo>
                  <a:lnTo>
                    <a:pt x="1388" y="214"/>
                  </a:lnTo>
                  <a:lnTo>
                    <a:pt x="1370" y="224"/>
                  </a:lnTo>
                  <a:lnTo>
                    <a:pt x="1359" y="228"/>
                  </a:lnTo>
                  <a:lnTo>
                    <a:pt x="1346" y="227"/>
                  </a:lnTo>
                  <a:lnTo>
                    <a:pt x="1343" y="225"/>
                  </a:lnTo>
                  <a:lnTo>
                    <a:pt x="1342" y="223"/>
                  </a:lnTo>
                  <a:lnTo>
                    <a:pt x="1351" y="214"/>
                  </a:lnTo>
                  <a:lnTo>
                    <a:pt x="1375" y="194"/>
                  </a:lnTo>
                  <a:lnTo>
                    <a:pt x="1377" y="193"/>
                  </a:lnTo>
                  <a:lnTo>
                    <a:pt x="1389" y="195"/>
                  </a:lnTo>
                  <a:lnTo>
                    <a:pt x="1408" y="191"/>
                  </a:lnTo>
                  <a:lnTo>
                    <a:pt x="1411" y="192"/>
                  </a:lnTo>
                  <a:lnTo>
                    <a:pt x="1413" y="194"/>
                  </a:lnTo>
                  <a:lnTo>
                    <a:pt x="1417" y="206"/>
                  </a:lnTo>
                  <a:lnTo>
                    <a:pt x="1421" y="210"/>
                  </a:lnTo>
                  <a:lnTo>
                    <a:pt x="1425" y="210"/>
                  </a:lnTo>
                  <a:lnTo>
                    <a:pt x="1427" y="209"/>
                  </a:lnTo>
                  <a:lnTo>
                    <a:pt x="1427" y="203"/>
                  </a:lnTo>
                  <a:lnTo>
                    <a:pt x="1426" y="197"/>
                  </a:lnTo>
                  <a:lnTo>
                    <a:pt x="1427" y="194"/>
                  </a:lnTo>
                  <a:lnTo>
                    <a:pt x="1432" y="197"/>
                  </a:lnTo>
                  <a:lnTo>
                    <a:pt x="1438" y="205"/>
                  </a:lnTo>
                  <a:lnTo>
                    <a:pt x="1448" y="210"/>
                  </a:lnTo>
                  <a:lnTo>
                    <a:pt x="1456" y="213"/>
                  </a:lnTo>
                  <a:lnTo>
                    <a:pt x="1468" y="216"/>
                  </a:lnTo>
                  <a:lnTo>
                    <a:pt x="1472" y="216"/>
                  </a:lnTo>
                  <a:lnTo>
                    <a:pt x="1475" y="214"/>
                  </a:lnTo>
                  <a:lnTo>
                    <a:pt x="1478" y="213"/>
                  </a:lnTo>
                  <a:lnTo>
                    <a:pt x="1471" y="206"/>
                  </a:lnTo>
                  <a:lnTo>
                    <a:pt x="1477" y="182"/>
                  </a:lnTo>
                  <a:lnTo>
                    <a:pt x="1487" y="173"/>
                  </a:lnTo>
                  <a:lnTo>
                    <a:pt x="1492" y="163"/>
                  </a:lnTo>
                  <a:lnTo>
                    <a:pt x="1500" y="159"/>
                  </a:lnTo>
                  <a:lnTo>
                    <a:pt x="1505" y="155"/>
                  </a:lnTo>
                  <a:lnTo>
                    <a:pt x="1505" y="148"/>
                  </a:lnTo>
                  <a:lnTo>
                    <a:pt x="1501" y="142"/>
                  </a:lnTo>
                  <a:lnTo>
                    <a:pt x="1500" y="140"/>
                  </a:lnTo>
                  <a:lnTo>
                    <a:pt x="1504" y="136"/>
                  </a:lnTo>
                  <a:lnTo>
                    <a:pt x="1520" y="121"/>
                  </a:lnTo>
                  <a:lnTo>
                    <a:pt x="1520" y="121"/>
                  </a:lnTo>
                  <a:lnTo>
                    <a:pt x="1523" y="121"/>
                  </a:lnTo>
                  <a:lnTo>
                    <a:pt x="1531" y="128"/>
                  </a:lnTo>
                  <a:lnTo>
                    <a:pt x="1534" y="129"/>
                  </a:lnTo>
                  <a:lnTo>
                    <a:pt x="1561" y="116"/>
                  </a:lnTo>
                  <a:lnTo>
                    <a:pt x="1568" y="115"/>
                  </a:lnTo>
                  <a:lnTo>
                    <a:pt x="1573" y="122"/>
                  </a:lnTo>
                  <a:lnTo>
                    <a:pt x="1582" y="128"/>
                  </a:lnTo>
                  <a:lnTo>
                    <a:pt x="1586" y="133"/>
                  </a:lnTo>
                  <a:lnTo>
                    <a:pt x="1585" y="138"/>
                  </a:lnTo>
                  <a:lnTo>
                    <a:pt x="1579" y="157"/>
                  </a:lnTo>
                  <a:lnTo>
                    <a:pt x="1579" y="165"/>
                  </a:lnTo>
                  <a:lnTo>
                    <a:pt x="1585" y="167"/>
                  </a:lnTo>
                  <a:lnTo>
                    <a:pt x="1610" y="170"/>
                  </a:lnTo>
                  <a:lnTo>
                    <a:pt x="1613" y="167"/>
                  </a:lnTo>
                  <a:lnTo>
                    <a:pt x="1616" y="165"/>
                  </a:lnTo>
                  <a:lnTo>
                    <a:pt x="1619" y="160"/>
                  </a:lnTo>
                  <a:lnTo>
                    <a:pt x="1618" y="148"/>
                  </a:lnTo>
                  <a:lnTo>
                    <a:pt x="1612" y="140"/>
                  </a:lnTo>
                  <a:lnTo>
                    <a:pt x="1611" y="137"/>
                  </a:lnTo>
                  <a:lnTo>
                    <a:pt x="1612" y="130"/>
                  </a:lnTo>
                  <a:lnTo>
                    <a:pt x="1614" y="123"/>
                  </a:lnTo>
                  <a:lnTo>
                    <a:pt x="1616" y="119"/>
                  </a:lnTo>
                  <a:lnTo>
                    <a:pt x="1619" y="118"/>
                  </a:lnTo>
                  <a:lnTo>
                    <a:pt x="1623" y="117"/>
                  </a:lnTo>
                  <a:lnTo>
                    <a:pt x="1633" y="119"/>
                  </a:lnTo>
                  <a:lnTo>
                    <a:pt x="1637" y="117"/>
                  </a:lnTo>
                  <a:lnTo>
                    <a:pt x="1645" y="98"/>
                  </a:lnTo>
                  <a:lnTo>
                    <a:pt x="1651" y="75"/>
                  </a:lnTo>
                  <a:lnTo>
                    <a:pt x="1655" y="69"/>
                  </a:lnTo>
                  <a:lnTo>
                    <a:pt x="1660" y="66"/>
                  </a:lnTo>
                  <a:lnTo>
                    <a:pt x="1667" y="67"/>
                  </a:lnTo>
                  <a:lnTo>
                    <a:pt x="1679" y="71"/>
                  </a:lnTo>
                  <a:lnTo>
                    <a:pt x="1696" y="70"/>
                  </a:lnTo>
                  <a:lnTo>
                    <a:pt x="1699" y="73"/>
                  </a:lnTo>
                  <a:lnTo>
                    <a:pt x="1701" y="77"/>
                  </a:lnTo>
                  <a:lnTo>
                    <a:pt x="1701" y="80"/>
                  </a:lnTo>
                  <a:lnTo>
                    <a:pt x="1697" y="113"/>
                  </a:lnTo>
                  <a:lnTo>
                    <a:pt x="1698" y="117"/>
                  </a:lnTo>
                  <a:lnTo>
                    <a:pt x="1700" y="119"/>
                  </a:lnTo>
                  <a:lnTo>
                    <a:pt x="1710" y="122"/>
                  </a:lnTo>
                  <a:lnTo>
                    <a:pt x="1724" y="123"/>
                  </a:lnTo>
                  <a:lnTo>
                    <a:pt x="1728" y="118"/>
                  </a:lnTo>
                  <a:lnTo>
                    <a:pt x="1734" y="108"/>
                  </a:lnTo>
                  <a:lnTo>
                    <a:pt x="1736" y="106"/>
                  </a:lnTo>
                  <a:lnTo>
                    <a:pt x="1751" y="125"/>
                  </a:lnTo>
                  <a:lnTo>
                    <a:pt x="1753" y="135"/>
                  </a:lnTo>
                  <a:lnTo>
                    <a:pt x="1754" y="139"/>
                  </a:lnTo>
                  <a:lnTo>
                    <a:pt x="1756" y="140"/>
                  </a:lnTo>
                  <a:lnTo>
                    <a:pt x="1761" y="141"/>
                  </a:lnTo>
                  <a:lnTo>
                    <a:pt x="1770" y="139"/>
                  </a:lnTo>
                  <a:lnTo>
                    <a:pt x="1773" y="137"/>
                  </a:lnTo>
                  <a:lnTo>
                    <a:pt x="1785" y="108"/>
                  </a:lnTo>
                  <a:lnTo>
                    <a:pt x="1797" y="87"/>
                  </a:lnTo>
                  <a:lnTo>
                    <a:pt x="1804" y="81"/>
                  </a:lnTo>
                  <a:lnTo>
                    <a:pt x="1812" y="73"/>
                  </a:lnTo>
                  <a:lnTo>
                    <a:pt x="1816" y="71"/>
                  </a:lnTo>
                  <a:lnTo>
                    <a:pt x="1825" y="70"/>
                  </a:lnTo>
                  <a:lnTo>
                    <a:pt x="1831" y="65"/>
                  </a:lnTo>
                  <a:lnTo>
                    <a:pt x="1842" y="49"/>
                  </a:lnTo>
                  <a:lnTo>
                    <a:pt x="1842" y="35"/>
                  </a:lnTo>
                  <a:lnTo>
                    <a:pt x="1860" y="21"/>
                  </a:lnTo>
                  <a:lnTo>
                    <a:pt x="1863" y="21"/>
                  </a:lnTo>
                  <a:lnTo>
                    <a:pt x="1869" y="25"/>
                  </a:lnTo>
                  <a:lnTo>
                    <a:pt x="1879" y="25"/>
                  </a:lnTo>
                  <a:lnTo>
                    <a:pt x="1888" y="30"/>
                  </a:lnTo>
                  <a:lnTo>
                    <a:pt x="1894" y="22"/>
                  </a:lnTo>
                  <a:lnTo>
                    <a:pt x="1898" y="29"/>
                  </a:lnTo>
                  <a:lnTo>
                    <a:pt x="1895" y="39"/>
                  </a:lnTo>
                  <a:lnTo>
                    <a:pt x="1898" y="43"/>
                  </a:lnTo>
                  <a:lnTo>
                    <a:pt x="1902" y="45"/>
                  </a:lnTo>
                  <a:lnTo>
                    <a:pt x="1905" y="45"/>
                  </a:lnTo>
                  <a:lnTo>
                    <a:pt x="1915" y="41"/>
                  </a:lnTo>
                  <a:lnTo>
                    <a:pt x="1922" y="40"/>
                  </a:lnTo>
                  <a:lnTo>
                    <a:pt x="1942" y="40"/>
                  </a:lnTo>
                  <a:lnTo>
                    <a:pt x="1952" y="43"/>
                  </a:lnTo>
                  <a:lnTo>
                    <a:pt x="1955" y="39"/>
                  </a:lnTo>
                  <a:lnTo>
                    <a:pt x="1954" y="25"/>
                  </a:lnTo>
                  <a:lnTo>
                    <a:pt x="1958" y="3"/>
                  </a:lnTo>
                  <a:lnTo>
                    <a:pt x="1960" y="1"/>
                  </a:lnTo>
                  <a:lnTo>
                    <a:pt x="1965" y="0"/>
                  </a:lnTo>
                  <a:lnTo>
                    <a:pt x="1969" y="2"/>
                  </a:lnTo>
                  <a:lnTo>
                    <a:pt x="1973" y="5"/>
                  </a:lnTo>
                  <a:lnTo>
                    <a:pt x="1973" y="17"/>
                  </a:lnTo>
                  <a:lnTo>
                    <a:pt x="1976" y="19"/>
                  </a:lnTo>
                  <a:lnTo>
                    <a:pt x="2005" y="26"/>
                  </a:lnTo>
                  <a:lnTo>
                    <a:pt x="2021" y="28"/>
                  </a:lnTo>
                  <a:lnTo>
                    <a:pt x="2025" y="30"/>
                  </a:lnTo>
                  <a:lnTo>
                    <a:pt x="2026" y="36"/>
                  </a:lnTo>
                  <a:lnTo>
                    <a:pt x="2030" y="38"/>
                  </a:lnTo>
                  <a:lnTo>
                    <a:pt x="2057" y="41"/>
                  </a:lnTo>
                  <a:lnTo>
                    <a:pt x="2060" y="45"/>
                  </a:lnTo>
                  <a:lnTo>
                    <a:pt x="2061" y="50"/>
                  </a:lnTo>
                  <a:lnTo>
                    <a:pt x="2056" y="98"/>
                  </a:lnTo>
                  <a:lnTo>
                    <a:pt x="2052" y="108"/>
                  </a:lnTo>
                  <a:lnTo>
                    <a:pt x="2043" y="125"/>
                  </a:lnTo>
                  <a:lnTo>
                    <a:pt x="2039" y="137"/>
                  </a:lnTo>
                  <a:lnTo>
                    <a:pt x="2041" y="144"/>
                  </a:lnTo>
                  <a:lnTo>
                    <a:pt x="2049" y="164"/>
                  </a:lnTo>
                  <a:lnTo>
                    <a:pt x="2056" y="176"/>
                  </a:lnTo>
                  <a:lnTo>
                    <a:pt x="2058" y="177"/>
                  </a:lnTo>
                  <a:lnTo>
                    <a:pt x="2062" y="176"/>
                  </a:lnTo>
                  <a:lnTo>
                    <a:pt x="2073" y="166"/>
                  </a:lnTo>
                  <a:lnTo>
                    <a:pt x="2078" y="164"/>
                  </a:lnTo>
                  <a:lnTo>
                    <a:pt x="2113" y="164"/>
                  </a:lnTo>
                  <a:lnTo>
                    <a:pt x="2120" y="167"/>
                  </a:lnTo>
                  <a:lnTo>
                    <a:pt x="2122" y="171"/>
                  </a:lnTo>
                  <a:lnTo>
                    <a:pt x="2122" y="173"/>
                  </a:lnTo>
                  <a:lnTo>
                    <a:pt x="2120" y="176"/>
                  </a:lnTo>
                  <a:lnTo>
                    <a:pt x="2110" y="180"/>
                  </a:lnTo>
                  <a:lnTo>
                    <a:pt x="2104" y="183"/>
                  </a:lnTo>
                  <a:lnTo>
                    <a:pt x="2103" y="201"/>
                  </a:lnTo>
                  <a:lnTo>
                    <a:pt x="2075" y="218"/>
                  </a:lnTo>
                  <a:lnTo>
                    <a:pt x="2072" y="221"/>
                  </a:lnTo>
                  <a:lnTo>
                    <a:pt x="2070" y="230"/>
                  </a:lnTo>
                  <a:lnTo>
                    <a:pt x="2074" y="259"/>
                  </a:lnTo>
                  <a:lnTo>
                    <a:pt x="2074" y="274"/>
                  </a:lnTo>
                  <a:lnTo>
                    <a:pt x="2061" y="314"/>
                  </a:lnTo>
                  <a:lnTo>
                    <a:pt x="2058" y="322"/>
                  </a:lnTo>
                  <a:lnTo>
                    <a:pt x="2054" y="327"/>
                  </a:lnTo>
                  <a:lnTo>
                    <a:pt x="2026" y="354"/>
                  </a:lnTo>
                  <a:lnTo>
                    <a:pt x="2020" y="361"/>
                  </a:lnTo>
                  <a:lnTo>
                    <a:pt x="2015" y="370"/>
                  </a:lnTo>
                  <a:lnTo>
                    <a:pt x="2010" y="386"/>
                  </a:lnTo>
                  <a:lnTo>
                    <a:pt x="2007" y="392"/>
                  </a:lnTo>
                  <a:lnTo>
                    <a:pt x="1984" y="408"/>
                  </a:lnTo>
                  <a:lnTo>
                    <a:pt x="1977" y="415"/>
                  </a:lnTo>
                  <a:lnTo>
                    <a:pt x="1971" y="426"/>
                  </a:lnTo>
                  <a:lnTo>
                    <a:pt x="1967" y="437"/>
                  </a:lnTo>
                  <a:lnTo>
                    <a:pt x="1967" y="450"/>
                  </a:lnTo>
                  <a:lnTo>
                    <a:pt x="1970" y="470"/>
                  </a:lnTo>
                  <a:lnTo>
                    <a:pt x="1974" y="485"/>
                  </a:lnTo>
                  <a:lnTo>
                    <a:pt x="1977" y="489"/>
                  </a:lnTo>
                  <a:lnTo>
                    <a:pt x="1986" y="490"/>
                  </a:lnTo>
                  <a:lnTo>
                    <a:pt x="1994" y="488"/>
                  </a:lnTo>
                  <a:lnTo>
                    <a:pt x="2003" y="483"/>
                  </a:lnTo>
                  <a:lnTo>
                    <a:pt x="2006" y="480"/>
                  </a:lnTo>
                  <a:lnTo>
                    <a:pt x="2008" y="477"/>
                  </a:lnTo>
                  <a:lnTo>
                    <a:pt x="2012" y="453"/>
                  </a:lnTo>
                  <a:lnTo>
                    <a:pt x="2014" y="450"/>
                  </a:lnTo>
                  <a:lnTo>
                    <a:pt x="2020" y="446"/>
                  </a:lnTo>
                  <a:lnTo>
                    <a:pt x="2031" y="441"/>
                  </a:lnTo>
                  <a:lnTo>
                    <a:pt x="2041" y="434"/>
                  </a:lnTo>
                  <a:lnTo>
                    <a:pt x="2060" y="416"/>
                  </a:lnTo>
                  <a:lnTo>
                    <a:pt x="2063" y="416"/>
                  </a:lnTo>
                  <a:lnTo>
                    <a:pt x="2075" y="424"/>
                  </a:lnTo>
                  <a:lnTo>
                    <a:pt x="2079" y="425"/>
                  </a:lnTo>
                  <a:lnTo>
                    <a:pt x="2088" y="422"/>
                  </a:lnTo>
                  <a:lnTo>
                    <a:pt x="2097" y="416"/>
                  </a:lnTo>
                  <a:lnTo>
                    <a:pt x="2100" y="415"/>
                  </a:lnTo>
                  <a:lnTo>
                    <a:pt x="2104" y="424"/>
                  </a:lnTo>
                  <a:lnTo>
                    <a:pt x="2109" y="428"/>
                  </a:lnTo>
                  <a:lnTo>
                    <a:pt x="2110" y="430"/>
                  </a:lnTo>
                  <a:lnTo>
                    <a:pt x="2109" y="434"/>
                  </a:lnTo>
                  <a:lnTo>
                    <a:pt x="2105" y="444"/>
                  </a:lnTo>
                  <a:lnTo>
                    <a:pt x="2105" y="447"/>
                  </a:lnTo>
                  <a:lnTo>
                    <a:pt x="2111" y="451"/>
                  </a:lnTo>
                  <a:lnTo>
                    <a:pt x="2119" y="452"/>
                  </a:lnTo>
                  <a:lnTo>
                    <a:pt x="2121" y="453"/>
                  </a:lnTo>
                  <a:lnTo>
                    <a:pt x="2120" y="460"/>
                  </a:lnTo>
                  <a:lnTo>
                    <a:pt x="2115" y="468"/>
                  </a:lnTo>
                  <a:lnTo>
                    <a:pt x="2114" y="474"/>
                  </a:lnTo>
                  <a:lnTo>
                    <a:pt x="2120" y="488"/>
                  </a:lnTo>
                  <a:lnTo>
                    <a:pt x="2116" y="507"/>
                  </a:lnTo>
                  <a:lnTo>
                    <a:pt x="2123" y="528"/>
                  </a:lnTo>
                  <a:lnTo>
                    <a:pt x="2112" y="564"/>
                  </a:lnTo>
                  <a:lnTo>
                    <a:pt x="2113" y="568"/>
                  </a:lnTo>
                  <a:lnTo>
                    <a:pt x="2114" y="570"/>
                  </a:lnTo>
                  <a:lnTo>
                    <a:pt x="2132" y="570"/>
                  </a:lnTo>
                  <a:lnTo>
                    <a:pt x="2144" y="578"/>
                  </a:lnTo>
                  <a:lnTo>
                    <a:pt x="2150" y="577"/>
                  </a:lnTo>
                  <a:lnTo>
                    <a:pt x="2153" y="575"/>
                  </a:lnTo>
                  <a:lnTo>
                    <a:pt x="2159" y="564"/>
                  </a:lnTo>
                  <a:lnTo>
                    <a:pt x="2163" y="562"/>
                  </a:lnTo>
                  <a:lnTo>
                    <a:pt x="2170" y="564"/>
                  </a:lnTo>
                  <a:lnTo>
                    <a:pt x="2173" y="562"/>
                  </a:lnTo>
                  <a:lnTo>
                    <a:pt x="2175" y="552"/>
                  </a:lnTo>
                  <a:lnTo>
                    <a:pt x="2190" y="536"/>
                  </a:lnTo>
                  <a:lnTo>
                    <a:pt x="2195" y="534"/>
                  </a:lnTo>
                  <a:lnTo>
                    <a:pt x="2218" y="533"/>
                  </a:lnTo>
                  <a:lnTo>
                    <a:pt x="2264" y="536"/>
                  </a:lnTo>
                  <a:lnTo>
                    <a:pt x="2277" y="538"/>
                  </a:lnTo>
                  <a:lnTo>
                    <a:pt x="2288" y="543"/>
                  </a:lnTo>
                  <a:lnTo>
                    <a:pt x="2288" y="543"/>
                  </a:lnTo>
                  <a:lnTo>
                    <a:pt x="2284" y="547"/>
                  </a:lnTo>
                  <a:lnTo>
                    <a:pt x="2276" y="551"/>
                  </a:lnTo>
                  <a:lnTo>
                    <a:pt x="2272" y="555"/>
                  </a:lnTo>
                  <a:lnTo>
                    <a:pt x="2270" y="560"/>
                  </a:lnTo>
                  <a:lnTo>
                    <a:pt x="2263" y="582"/>
                  </a:lnTo>
                  <a:lnTo>
                    <a:pt x="2282" y="606"/>
                  </a:lnTo>
                  <a:lnTo>
                    <a:pt x="2284" y="612"/>
                  </a:lnTo>
                  <a:lnTo>
                    <a:pt x="2285" y="622"/>
                  </a:lnTo>
                  <a:lnTo>
                    <a:pt x="2281" y="634"/>
                  </a:lnTo>
                  <a:lnTo>
                    <a:pt x="2285" y="640"/>
                  </a:lnTo>
                  <a:lnTo>
                    <a:pt x="2292" y="645"/>
                  </a:lnTo>
                  <a:lnTo>
                    <a:pt x="2298" y="655"/>
                  </a:lnTo>
                  <a:lnTo>
                    <a:pt x="2304" y="666"/>
                  </a:lnTo>
                  <a:lnTo>
                    <a:pt x="2304" y="672"/>
                  </a:lnTo>
                  <a:lnTo>
                    <a:pt x="2300" y="682"/>
                  </a:lnTo>
                  <a:lnTo>
                    <a:pt x="2294" y="688"/>
                  </a:lnTo>
                  <a:lnTo>
                    <a:pt x="2274" y="703"/>
                  </a:lnTo>
                  <a:lnTo>
                    <a:pt x="2256" y="712"/>
                  </a:lnTo>
                  <a:lnTo>
                    <a:pt x="2254" y="714"/>
                  </a:lnTo>
                  <a:lnTo>
                    <a:pt x="2253" y="717"/>
                  </a:lnTo>
                  <a:lnTo>
                    <a:pt x="2255" y="734"/>
                  </a:lnTo>
                  <a:lnTo>
                    <a:pt x="2259" y="758"/>
                  </a:lnTo>
                  <a:lnTo>
                    <a:pt x="2273" y="793"/>
                  </a:lnTo>
                  <a:lnTo>
                    <a:pt x="2273" y="798"/>
                  </a:lnTo>
                  <a:lnTo>
                    <a:pt x="2271" y="802"/>
                  </a:lnTo>
                  <a:lnTo>
                    <a:pt x="2270" y="803"/>
                  </a:lnTo>
                  <a:lnTo>
                    <a:pt x="2259" y="807"/>
                  </a:lnTo>
                  <a:lnTo>
                    <a:pt x="2247" y="809"/>
                  </a:lnTo>
                  <a:lnTo>
                    <a:pt x="2244" y="810"/>
                  </a:lnTo>
                  <a:lnTo>
                    <a:pt x="2243" y="814"/>
                  </a:lnTo>
                  <a:lnTo>
                    <a:pt x="2236" y="841"/>
                  </a:lnTo>
                  <a:lnTo>
                    <a:pt x="2232" y="845"/>
                  </a:lnTo>
                  <a:lnTo>
                    <a:pt x="2229" y="848"/>
                  </a:lnTo>
                  <a:lnTo>
                    <a:pt x="2212" y="848"/>
                  </a:lnTo>
                  <a:lnTo>
                    <a:pt x="2203" y="849"/>
                  </a:lnTo>
                  <a:lnTo>
                    <a:pt x="2189" y="847"/>
                  </a:lnTo>
                  <a:lnTo>
                    <a:pt x="2187" y="848"/>
                  </a:lnTo>
                  <a:lnTo>
                    <a:pt x="2183" y="861"/>
                  </a:lnTo>
                  <a:lnTo>
                    <a:pt x="2181" y="873"/>
                  </a:lnTo>
                  <a:lnTo>
                    <a:pt x="2182" y="877"/>
                  </a:lnTo>
                  <a:lnTo>
                    <a:pt x="2188" y="878"/>
                  </a:lnTo>
                  <a:lnTo>
                    <a:pt x="2190" y="880"/>
                  </a:lnTo>
                  <a:lnTo>
                    <a:pt x="2188" y="886"/>
                  </a:lnTo>
                  <a:lnTo>
                    <a:pt x="2182" y="894"/>
                  </a:lnTo>
                  <a:lnTo>
                    <a:pt x="2177" y="903"/>
                  </a:lnTo>
                  <a:lnTo>
                    <a:pt x="2174" y="906"/>
                  </a:lnTo>
                  <a:lnTo>
                    <a:pt x="2165" y="910"/>
                  </a:lnTo>
                  <a:lnTo>
                    <a:pt x="2145" y="913"/>
                  </a:lnTo>
                  <a:lnTo>
                    <a:pt x="2140" y="915"/>
                  </a:lnTo>
                  <a:lnTo>
                    <a:pt x="2136" y="933"/>
                  </a:lnTo>
                  <a:lnTo>
                    <a:pt x="2130" y="947"/>
                  </a:lnTo>
                  <a:lnTo>
                    <a:pt x="2124" y="954"/>
                  </a:lnTo>
                  <a:lnTo>
                    <a:pt x="2109" y="971"/>
                  </a:lnTo>
                  <a:lnTo>
                    <a:pt x="2102" y="1003"/>
                  </a:lnTo>
                  <a:lnTo>
                    <a:pt x="2098" y="1018"/>
                  </a:lnTo>
                  <a:lnTo>
                    <a:pt x="2097" y="1036"/>
                  </a:lnTo>
                  <a:lnTo>
                    <a:pt x="2097" y="1038"/>
                  </a:lnTo>
                  <a:lnTo>
                    <a:pt x="2101" y="1045"/>
                  </a:lnTo>
                  <a:lnTo>
                    <a:pt x="2103" y="1053"/>
                  </a:lnTo>
                  <a:lnTo>
                    <a:pt x="2102" y="1083"/>
                  </a:lnTo>
                  <a:lnTo>
                    <a:pt x="2103" y="1091"/>
                  </a:lnTo>
                  <a:lnTo>
                    <a:pt x="2106" y="1097"/>
                  </a:lnTo>
                  <a:lnTo>
                    <a:pt x="2116" y="1104"/>
                  </a:lnTo>
                  <a:lnTo>
                    <a:pt x="2118" y="1108"/>
                  </a:lnTo>
                  <a:lnTo>
                    <a:pt x="2111" y="1119"/>
                  </a:lnTo>
                  <a:lnTo>
                    <a:pt x="2108" y="1127"/>
                  </a:lnTo>
                  <a:lnTo>
                    <a:pt x="2098" y="1137"/>
                  </a:lnTo>
                  <a:lnTo>
                    <a:pt x="2101" y="1146"/>
                  </a:lnTo>
                  <a:lnTo>
                    <a:pt x="2100" y="1148"/>
                  </a:lnTo>
                  <a:lnTo>
                    <a:pt x="2090" y="1162"/>
                  </a:lnTo>
                  <a:lnTo>
                    <a:pt x="2052" y="1199"/>
                  </a:lnTo>
                  <a:lnTo>
                    <a:pt x="2031" y="1207"/>
                  </a:lnTo>
                  <a:lnTo>
                    <a:pt x="2011" y="1212"/>
                  </a:lnTo>
                  <a:lnTo>
                    <a:pt x="2007" y="1214"/>
                  </a:lnTo>
                  <a:lnTo>
                    <a:pt x="2009" y="1231"/>
                  </a:lnTo>
                  <a:lnTo>
                    <a:pt x="2008" y="1234"/>
                  </a:lnTo>
                  <a:lnTo>
                    <a:pt x="2006" y="1237"/>
                  </a:lnTo>
                  <a:lnTo>
                    <a:pt x="1991" y="1243"/>
                  </a:lnTo>
                  <a:lnTo>
                    <a:pt x="1966" y="1251"/>
                  </a:lnTo>
                  <a:lnTo>
                    <a:pt x="1954" y="1257"/>
                  </a:lnTo>
                  <a:lnTo>
                    <a:pt x="1933" y="1262"/>
                  </a:lnTo>
                  <a:lnTo>
                    <a:pt x="1925" y="1268"/>
                  </a:lnTo>
                  <a:lnTo>
                    <a:pt x="1919" y="1266"/>
                  </a:lnTo>
                  <a:lnTo>
                    <a:pt x="1914" y="1267"/>
                  </a:lnTo>
                  <a:lnTo>
                    <a:pt x="1912" y="1273"/>
                  </a:lnTo>
                  <a:lnTo>
                    <a:pt x="1907" y="1298"/>
                  </a:lnTo>
                  <a:lnTo>
                    <a:pt x="1905" y="1299"/>
                  </a:lnTo>
                  <a:lnTo>
                    <a:pt x="1897" y="1296"/>
                  </a:lnTo>
                  <a:lnTo>
                    <a:pt x="1896" y="1297"/>
                  </a:lnTo>
                  <a:lnTo>
                    <a:pt x="1895" y="1299"/>
                  </a:lnTo>
                  <a:lnTo>
                    <a:pt x="1899" y="1313"/>
                  </a:lnTo>
                  <a:lnTo>
                    <a:pt x="1900" y="1322"/>
                  </a:lnTo>
                  <a:lnTo>
                    <a:pt x="1902" y="1329"/>
                  </a:lnTo>
                  <a:lnTo>
                    <a:pt x="1916" y="1350"/>
                  </a:lnTo>
                  <a:lnTo>
                    <a:pt x="1920" y="1358"/>
                  </a:lnTo>
                  <a:lnTo>
                    <a:pt x="1915" y="1361"/>
                  </a:lnTo>
                  <a:lnTo>
                    <a:pt x="1895" y="1367"/>
                  </a:lnTo>
                  <a:lnTo>
                    <a:pt x="1884" y="1374"/>
                  </a:lnTo>
                  <a:lnTo>
                    <a:pt x="1883" y="1376"/>
                  </a:lnTo>
                  <a:lnTo>
                    <a:pt x="1879" y="1392"/>
                  </a:lnTo>
                  <a:lnTo>
                    <a:pt x="1876" y="1396"/>
                  </a:lnTo>
                  <a:lnTo>
                    <a:pt x="1869" y="1399"/>
                  </a:lnTo>
                  <a:lnTo>
                    <a:pt x="1859" y="1392"/>
                  </a:lnTo>
                  <a:lnTo>
                    <a:pt x="1850" y="1388"/>
                  </a:lnTo>
                  <a:lnTo>
                    <a:pt x="1848" y="1392"/>
                  </a:lnTo>
                  <a:lnTo>
                    <a:pt x="1842" y="1401"/>
                  </a:lnTo>
                  <a:lnTo>
                    <a:pt x="1840" y="1404"/>
                  </a:lnTo>
                  <a:lnTo>
                    <a:pt x="1836" y="1405"/>
                  </a:lnTo>
                  <a:lnTo>
                    <a:pt x="1830" y="1403"/>
                  </a:lnTo>
                  <a:lnTo>
                    <a:pt x="1815" y="1394"/>
                  </a:lnTo>
                  <a:lnTo>
                    <a:pt x="1810" y="1391"/>
                  </a:lnTo>
                  <a:lnTo>
                    <a:pt x="1807" y="1392"/>
                  </a:lnTo>
                  <a:lnTo>
                    <a:pt x="1798" y="1395"/>
                  </a:lnTo>
                  <a:lnTo>
                    <a:pt x="1789" y="1394"/>
                  </a:lnTo>
                  <a:lnTo>
                    <a:pt x="1785" y="1395"/>
                  </a:lnTo>
                  <a:lnTo>
                    <a:pt x="1784" y="1401"/>
                  </a:lnTo>
                  <a:lnTo>
                    <a:pt x="1789" y="1419"/>
                  </a:lnTo>
                  <a:lnTo>
                    <a:pt x="1791" y="1446"/>
                  </a:lnTo>
                  <a:lnTo>
                    <a:pt x="1794" y="1458"/>
                  </a:lnTo>
                  <a:lnTo>
                    <a:pt x="1802" y="1474"/>
                  </a:lnTo>
                  <a:lnTo>
                    <a:pt x="1802" y="1477"/>
                  </a:lnTo>
                  <a:lnTo>
                    <a:pt x="1799" y="1480"/>
                  </a:lnTo>
                  <a:lnTo>
                    <a:pt x="1790" y="1486"/>
                  </a:lnTo>
                  <a:lnTo>
                    <a:pt x="1768" y="1486"/>
                  </a:lnTo>
                  <a:lnTo>
                    <a:pt x="1742" y="1491"/>
                  </a:lnTo>
                  <a:lnTo>
                    <a:pt x="1728" y="1488"/>
                  </a:lnTo>
                  <a:lnTo>
                    <a:pt x="1719" y="1488"/>
                  </a:lnTo>
                  <a:lnTo>
                    <a:pt x="1715" y="1489"/>
                  </a:lnTo>
                  <a:lnTo>
                    <a:pt x="1700" y="1498"/>
                  </a:lnTo>
                  <a:lnTo>
                    <a:pt x="1690" y="1498"/>
                  </a:lnTo>
                  <a:lnTo>
                    <a:pt x="1678" y="1496"/>
                  </a:lnTo>
                  <a:lnTo>
                    <a:pt x="1669" y="1500"/>
                  </a:lnTo>
                  <a:lnTo>
                    <a:pt x="1663" y="1505"/>
                  </a:lnTo>
                  <a:lnTo>
                    <a:pt x="1658" y="1514"/>
                  </a:lnTo>
                  <a:lnTo>
                    <a:pt x="1652" y="1547"/>
                  </a:lnTo>
                  <a:lnTo>
                    <a:pt x="1650" y="1555"/>
                  </a:lnTo>
                  <a:lnTo>
                    <a:pt x="1647" y="1560"/>
                  </a:lnTo>
                  <a:lnTo>
                    <a:pt x="1644" y="1563"/>
                  </a:lnTo>
                  <a:lnTo>
                    <a:pt x="1639" y="1566"/>
                  </a:lnTo>
                  <a:lnTo>
                    <a:pt x="1630" y="1570"/>
                  </a:lnTo>
                  <a:lnTo>
                    <a:pt x="1623" y="1571"/>
                  </a:lnTo>
                  <a:lnTo>
                    <a:pt x="1615" y="1570"/>
                  </a:lnTo>
                  <a:lnTo>
                    <a:pt x="1608" y="1564"/>
                  </a:lnTo>
                  <a:lnTo>
                    <a:pt x="1605" y="1563"/>
                  </a:lnTo>
                  <a:lnTo>
                    <a:pt x="1600" y="1571"/>
                  </a:lnTo>
                  <a:lnTo>
                    <a:pt x="1598" y="1580"/>
                  </a:lnTo>
                  <a:lnTo>
                    <a:pt x="1597" y="1585"/>
                  </a:lnTo>
                  <a:lnTo>
                    <a:pt x="1598" y="1594"/>
                  </a:lnTo>
                  <a:lnTo>
                    <a:pt x="1598" y="1594"/>
                  </a:lnTo>
                  <a:lnTo>
                    <a:pt x="1598" y="1593"/>
                  </a:lnTo>
                  <a:lnTo>
                    <a:pt x="1596" y="1594"/>
                  </a:lnTo>
                  <a:lnTo>
                    <a:pt x="1596" y="1597"/>
                  </a:lnTo>
                  <a:lnTo>
                    <a:pt x="1599" y="1609"/>
                  </a:lnTo>
                  <a:lnTo>
                    <a:pt x="1605" y="1624"/>
                  </a:lnTo>
                  <a:lnTo>
                    <a:pt x="1605" y="1628"/>
                  </a:lnTo>
                  <a:lnTo>
                    <a:pt x="1596" y="1632"/>
                  </a:lnTo>
                  <a:lnTo>
                    <a:pt x="1593" y="1632"/>
                  </a:lnTo>
                  <a:lnTo>
                    <a:pt x="1587" y="1629"/>
                  </a:lnTo>
                  <a:lnTo>
                    <a:pt x="1580" y="1624"/>
                  </a:lnTo>
                  <a:lnTo>
                    <a:pt x="1574" y="1621"/>
                  </a:lnTo>
                  <a:lnTo>
                    <a:pt x="1571" y="1619"/>
                  </a:lnTo>
                  <a:lnTo>
                    <a:pt x="1570" y="1613"/>
                  </a:lnTo>
                  <a:lnTo>
                    <a:pt x="1573" y="1602"/>
                  </a:lnTo>
                  <a:lnTo>
                    <a:pt x="1574" y="1592"/>
                  </a:lnTo>
                  <a:lnTo>
                    <a:pt x="1575" y="1590"/>
                  </a:lnTo>
                  <a:lnTo>
                    <a:pt x="1579" y="1588"/>
                  </a:lnTo>
                  <a:lnTo>
                    <a:pt x="1581" y="1580"/>
                  </a:lnTo>
                  <a:lnTo>
                    <a:pt x="1579" y="1579"/>
                  </a:lnTo>
                  <a:lnTo>
                    <a:pt x="1576" y="1580"/>
                  </a:lnTo>
                  <a:lnTo>
                    <a:pt x="1569" y="1588"/>
                  </a:lnTo>
                  <a:lnTo>
                    <a:pt x="1563" y="1591"/>
                  </a:lnTo>
                  <a:lnTo>
                    <a:pt x="1562" y="1594"/>
                  </a:lnTo>
                  <a:lnTo>
                    <a:pt x="1562" y="1602"/>
                  </a:lnTo>
                  <a:lnTo>
                    <a:pt x="1559" y="1601"/>
                  </a:lnTo>
                  <a:lnTo>
                    <a:pt x="1555" y="1596"/>
                  </a:lnTo>
                  <a:lnTo>
                    <a:pt x="1554" y="1594"/>
                  </a:lnTo>
                  <a:lnTo>
                    <a:pt x="1558" y="1593"/>
                  </a:lnTo>
                  <a:lnTo>
                    <a:pt x="1559" y="1589"/>
                  </a:lnTo>
                  <a:lnTo>
                    <a:pt x="1558" y="1589"/>
                  </a:lnTo>
                  <a:lnTo>
                    <a:pt x="1555" y="1591"/>
                  </a:lnTo>
                  <a:lnTo>
                    <a:pt x="1553" y="1590"/>
                  </a:lnTo>
                  <a:lnTo>
                    <a:pt x="1553" y="1582"/>
                  </a:lnTo>
                  <a:lnTo>
                    <a:pt x="1554" y="1578"/>
                  </a:lnTo>
                  <a:lnTo>
                    <a:pt x="1554" y="1576"/>
                  </a:lnTo>
                  <a:lnTo>
                    <a:pt x="1552" y="1575"/>
                  </a:lnTo>
                  <a:lnTo>
                    <a:pt x="1547" y="1579"/>
                  </a:lnTo>
                  <a:lnTo>
                    <a:pt x="1545" y="1579"/>
                  </a:lnTo>
                  <a:lnTo>
                    <a:pt x="1544" y="1576"/>
                  </a:lnTo>
                  <a:lnTo>
                    <a:pt x="1543" y="1568"/>
                  </a:lnTo>
                  <a:lnTo>
                    <a:pt x="1541" y="1562"/>
                  </a:lnTo>
                  <a:lnTo>
                    <a:pt x="1536" y="1555"/>
                  </a:lnTo>
                  <a:lnTo>
                    <a:pt x="1538" y="1553"/>
                  </a:lnTo>
                  <a:lnTo>
                    <a:pt x="1546" y="1548"/>
                  </a:lnTo>
                  <a:lnTo>
                    <a:pt x="1555" y="1541"/>
                  </a:lnTo>
                  <a:lnTo>
                    <a:pt x="1551" y="1534"/>
                  </a:lnTo>
                  <a:lnTo>
                    <a:pt x="1550" y="1531"/>
                  </a:lnTo>
                  <a:lnTo>
                    <a:pt x="1549" y="1534"/>
                  </a:lnTo>
                  <a:lnTo>
                    <a:pt x="1545" y="1541"/>
                  </a:lnTo>
                  <a:lnTo>
                    <a:pt x="1544" y="1540"/>
                  </a:lnTo>
                  <a:lnTo>
                    <a:pt x="1543" y="1537"/>
                  </a:lnTo>
                  <a:lnTo>
                    <a:pt x="1542" y="1537"/>
                  </a:lnTo>
                  <a:lnTo>
                    <a:pt x="1519" y="1555"/>
                  </a:lnTo>
                  <a:lnTo>
                    <a:pt x="1520" y="1558"/>
                  </a:lnTo>
                  <a:lnTo>
                    <a:pt x="1525" y="1559"/>
                  </a:lnTo>
                  <a:lnTo>
                    <a:pt x="1526" y="1560"/>
                  </a:lnTo>
                  <a:lnTo>
                    <a:pt x="1527" y="1566"/>
                  </a:lnTo>
                  <a:lnTo>
                    <a:pt x="1526" y="1568"/>
                  </a:lnTo>
                  <a:lnTo>
                    <a:pt x="1524" y="1568"/>
                  </a:lnTo>
                  <a:lnTo>
                    <a:pt x="1519" y="1566"/>
                  </a:lnTo>
                  <a:lnTo>
                    <a:pt x="1515" y="1565"/>
                  </a:lnTo>
                  <a:lnTo>
                    <a:pt x="1511" y="1563"/>
                  </a:lnTo>
                  <a:lnTo>
                    <a:pt x="1509" y="1564"/>
                  </a:lnTo>
                  <a:lnTo>
                    <a:pt x="1508" y="1567"/>
                  </a:lnTo>
                  <a:lnTo>
                    <a:pt x="1508" y="1570"/>
                  </a:lnTo>
                  <a:lnTo>
                    <a:pt x="1510" y="1571"/>
                  </a:lnTo>
                  <a:lnTo>
                    <a:pt x="1526" y="1574"/>
                  </a:lnTo>
                  <a:lnTo>
                    <a:pt x="1529" y="1575"/>
                  </a:lnTo>
                  <a:lnTo>
                    <a:pt x="1539" y="1585"/>
                  </a:lnTo>
                  <a:lnTo>
                    <a:pt x="1544" y="1595"/>
                  </a:lnTo>
                  <a:lnTo>
                    <a:pt x="1543" y="1597"/>
                  </a:lnTo>
                  <a:lnTo>
                    <a:pt x="1537" y="1603"/>
                  </a:lnTo>
                  <a:lnTo>
                    <a:pt x="1538" y="1613"/>
                  </a:lnTo>
                  <a:lnTo>
                    <a:pt x="1533" y="1619"/>
                  </a:lnTo>
                  <a:lnTo>
                    <a:pt x="1519" y="1629"/>
                  </a:lnTo>
                  <a:lnTo>
                    <a:pt x="1511" y="1632"/>
                  </a:lnTo>
                  <a:lnTo>
                    <a:pt x="1510" y="1631"/>
                  </a:lnTo>
                  <a:lnTo>
                    <a:pt x="1510" y="1630"/>
                  </a:lnTo>
                  <a:lnTo>
                    <a:pt x="1514" y="1626"/>
                  </a:lnTo>
                  <a:lnTo>
                    <a:pt x="1513" y="1620"/>
                  </a:lnTo>
                  <a:lnTo>
                    <a:pt x="1510" y="1619"/>
                  </a:lnTo>
                  <a:lnTo>
                    <a:pt x="1509" y="1620"/>
                  </a:lnTo>
                  <a:lnTo>
                    <a:pt x="1507" y="1629"/>
                  </a:lnTo>
                  <a:lnTo>
                    <a:pt x="1503" y="1633"/>
                  </a:lnTo>
                  <a:lnTo>
                    <a:pt x="1498" y="1636"/>
                  </a:lnTo>
                  <a:lnTo>
                    <a:pt x="1490" y="1635"/>
                  </a:lnTo>
                  <a:lnTo>
                    <a:pt x="1485" y="1632"/>
                  </a:lnTo>
                  <a:lnTo>
                    <a:pt x="1481" y="1636"/>
                  </a:lnTo>
                  <a:lnTo>
                    <a:pt x="1475" y="1636"/>
                  </a:lnTo>
                  <a:lnTo>
                    <a:pt x="1469" y="1637"/>
                  </a:lnTo>
                  <a:lnTo>
                    <a:pt x="1468" y="1635"/>
                  </a:lnTo>
                  <a:lnTo>
                    <a:pt x="1469" y="1631"/>
                  </a:lnTo>
                  <a:lnTo>
                    <a:pt x="1466" y="1630"/>
                  </a:lnTo>
                  <a:lnTo>
                    <a:pt x="1462" y="1637"/>
                  </a:lnTo>
                  <a:lnTo>
                    <a:pt x="1459" y="1638"/>
                  </a:lnTo>
                  <a:lnTo>
                    <a:pt x="1439" y="1636"/>
                  </a:lnTo>
                  <a:lnTo>
                    <a:pt x="1438" y="1633"/>
                  </a:lnTo>
                  <a:lnTo>
                    <a:pt x="1441" y="1625"/>
                  </a:lnTo>
                  <a:lnTo>
                    <a:pt x="1439" y="1622"/>
                  </a:lnTo>
                  <a:lnTo>
                    <a:pt x="1437" y="1621"/>
                  </a:lnTo>
                  <a:lnTo>
                    <a:pt x="1436" y="1622"/>
                  </a:lnTo>
                  <a:lnTo>
                    <a:pt x="1436" y="1629"/>
                  </a:lnTo>
                  <a:lnTo>
                    <a:pt x="1433" y="1636"/>
                  </a:lnTo>
                  <a:lnTo>
                    <a:pt x="1433" y="1644"/>
                  </a:lnTo>
                  <a:lnTo>
                    <a:pt x="1432" y="1646"/>
                  </a:lnTo>
                  <a:lnTo>
                    <a:pt x="1430" y="1648"/>
                  </a:lnTo>
                  <a:lnTo>
                    <a:pt x="1415" y="1650"/>
                  </a:lnTo>
                  <a:lnTo>
                    <a:pt x="1414" y="1648"/>
                  </a:lnTo>
                  <a:lnTo>
                    <a:pt x="1414" y="1640"/>
                  </a:lnTo>
                  <a:lnTo>
                    <a:pt x="1413" y="1639"/>
                  </a:lnTo>
                  <a:lnTo>
                    <a:pt x="1412" y="1642"/>
                  </a:lnTo>
                  <a:lnTo>
                    <a:pt x="1412" y="1645"/>
                  </a:lnTo>
                  <a:lnTo>
                    <a:pt x="1413" y="1652"/>
                  </a:lnTo>
                  <a:lnTo>
                    <a:pt x="1412" y="1653"/>
                  </a:lnTo>
                  <a:lnTo>
                    <a:pt x="1410" y="1653"/>
                  </a:lnTo>
                  <a:lnTo>
                    <a:pt x="1398" y="1647"/>
                  </a:lnTo>
                  <a:lnTo>
                    <a:pt x="1392" y="1643"/>
                  </a:lnTo>
                  <a:lnTo>
                    <a:pt x="1387" y="1642"/>
                  </a:lnTo>
                  <a:lnTo>
                    <a:pt x="1377" y="1642"/>
                  </a:lnTo>
                  <a:lnTo>
                    <a:pt x="1376" y="1639"/>
                  </a:lnTo>
                  <a:lnTo>
                    <a:pt x="1378" y="1634"/>
                  </a:lnTo>
                  <a:lnTo>
                    <a:pt x="1383" y="1628"/>
                  </a:lnTo>
                  <a:lnTo>
                    <a:pt x="1385" y="1627"/>
                  </a:lnTo>
                  <a:lnTo>
                    <a:pt x="1390" y="1628"/>
                  </a:lnTo>
                  <a:lnTo>
                    <a:pt x="1398" y="1626"/>
                  </a:lnTo>
                  <a:lnTo>
                    <a:pt x="1407" y="1621"/>
                  </a:lnTo>
                  <a:lnTo>
                    <a:pt x="1413" y="1614"/>
                  </a:lnTo>
                  <a:lnTo>
                    <a:pt x="1414" y="1608"/>
                  </a:lnTo>
                  <a:lnTo>
                    <a:pt x="1411" y="1599"/>
                  </a:lnTo>
                  <a:lnTo>
                    <a:pt x="1411" y="1592"/>
                  </a:lnTo>
                  <a:lnTo>
                    <a:pt x="1410" y="1584"/>
                  </a:lnTo>
                  <a:lnTo>
                    <a:pt x="1411" y="1577"/>
                  </a:lnTo>
                  <a:lnTo>
                    <a:pt x="1409" y="1578"/>
                  </a:lnTo>
                  <a:lnTo>
                    <a:pt x="1405" y="1593"/>
                  </a:lnTo>
                  <a:lnTo>
                    <a:pt x="1401" y="1592"/>
                  </a:lnTo>
                  <a:lnTo>
                    <a:pt x="1398" y="1589"/>
                  </a:lnTo>
                  <a:lnTo>
                    <a:pt x="1398" y="1584"/>
                  </a:lnTo>
                  <a:lnTo>
                    <a:pt x="1393" y="1591"/>
                  </a:lnTo>
                  <a:lnTo>
                    <a:pt x="1389" y="1591"/>
                  </a:lnTo>
                  <a:lnTo>
                    <a:pt x="1387" y="1588"/>
                  </a:lnTo>
                  <a:lnTo>
                    <a:pt x="1385" y="1582"/>
                  </a:lnTo>
                  <a:lnTo>
                    <a:pt x="1384" y="1580"/>
                  </a:lnTo>
                  <a:lnTo>
                    <a:pt x="1382" y="1588"/>
                  </a:lnTo>
                  <a:lnTo>
                    <a:pt x="1381" y="1589"/>
                  </a:lnTo>
                  <a:lnTo>
                    <a:pt x="1380" y="1588"/>
                  </a:lnTo>
                  <a:lnTo>
                    <a:pt x="1379" y="1584"/>
                  </a:lnTo>
                  <a:lnTo>
                    <a:pt x="1384" y="1575"/>
                  </a:lnTo>
                  <a:lnTo>
                    <a:pt x="1384" y="1573"/>
                  </a:lnTo>
                  <a:lnTo>
                    <a:pt x="1383" y="1572"/>
                  </a:lnTo>
                  <a:lnTo>
                    <a:pt x="1380" y="1577"/>
                  </a:lnTo>
                  <a:lnTo>
                    <a:pt x="1374" y="1581"/>
                  </a:lnTo>
                  <a:lnTo>
                    <a:pt x="1370" y="1582"/>
                  </a:lnTo>
                  <a:lnTo>
                    <a:pt x="1365" y="1580"/>
                  </a:lnTo>
                  <a:lnTo>
                    <a:pt x="1364" y="1580"/>
                  </a:lnTo>
                  <a:lnTo>
                    <a:pt x="1363" y="1585"/>
                  </a:lnTo>
                  <a:lnTo>
                    <a:pt x="1361" y="1586"/>
                  </a:lnTo>
                  <a:lnTo>
                    <a:pt x="1347" y="1585"/>
                  </a:lnTo>
                  <a:lnTo>
                    <a:pt x="1337" y="1582"/>
                  </a:lnTo>
                  <a:lnTo>
                    <a:pt x="1334" y="1579"/>
                  </a:lnTo>
                  <a:lnTo>
                    <a:pt x="1330" y="1566"/>
                  </a:lnTo>
                  <a:lnTo>
                    <a:pt x="1329" y="1565"/>
                  </a:lnTo>
                  <a:lnTo>
                    <a:pt x="1324" y="1565"/>
                  </a:lnTo>
                  <a:lnTo>
                    <a:pt x="1321" y="1564"/>
                  </a:lnTo>
                  <a:lnTo>
                    <a:pt x="1318" y="1561"/>
                  </a:lnTo>
                  <a:lnTo>
                    <a:pt x="1316" y="1557"/>
                  </a:lnTo>
                  <a:lnTo>
                    <a:pt x="1317" y="1556"/>
                  </a:lnTo>
                  <a:lnTo>
                    <a:pt x="1321" y="1554"/>
                  </a:lnTo>
                  <a:lnTo>
                    <a:pt x="1322" y="1553"/>
                  </a:lnTo>
                  <a:lnTo>
                    <a:pt x="1321" y="1542"/>
                  </a:lnTo>
                  <a:lnTo>
                    <a:pt x="1324" y="1541"/>
                  </a:lnTo>
                  <a:lnTo>
                    <a:pt x="1329" y="1542"/>
                  </a:lnTo>
                  <a:lnTo>
                    <a:pt x="1335" y="1539"/>
                  </a:lnTo>
                  <a:lnTo>
                    <a:pt x="1342" y="1536"/>
                  </a:lnTo>
                  <a:lnTo>
                    <a:pt x="1342" y="1535"/>
                  </a:lnTo>
                  <a:lnTo>
                    <a:pt x="1341" y="1534"/>
                  </a:lnTo>
                  <a:lnTo>
                    <a:pt x="1334" y="1536"/>
                  </a:lnTo>
                  <a:lnTo>
                    <a:pt x="1329" y="1536"/>
                  </a:lnTo>
                  <a:lnTo>
                    <a:pt x="1329" y="1535"/>
                  </a:lnTo>
                  <a:lnTo>
                    <a:pt x="1335" y="1530"/>
                  </a:lnTo>
                  <a:lnTo>
                    <a:pt x="1334" y="1528"/>
                  </a:lnTo>
                  <a:lnTo>
                    <a:pt x="1325" y="1537"/>
                  </a:lnTo>
                  <a:lnTo>
                    <a:pt x="1322" y="1537"/>
                  </a:lnTo>
                  <a:lnTo>
                    <a:pt x="1321" y="1534"/>
                  </a:lnTo>
                  <a:lnTo>
                    <a:pt x="1324" y="1520"/>
                  </a:lnTo>
                  <a:lnTo>
                    <a:pt x="1322" y="1521"/>
                  </a:lnTo>
                  <a:lnTo>
                    <a:pt x="1320" y="1525"/>
                  </a:lnTo>
                  <a:lnTo>
                    <a:pt x="1318" y="1525"/>
                  </a:lnTo>
                  <a:lnTo>
                    <a:pt x="1318" y="1523"/>
                  </a:lnTo>
                  <a:lnTo>
                    <a:pt x="1318" y="1517"/>
                  </a:lnTo>
                  <a:lnTo>
                    <a:pt x="1315" y="1517"/>
                  </a:lnTo>
                  <a:lnTo>
                    <a:pt x="1311" y="1519"/>
                  </a:lnTo>
                  <a:lnTo>
                    <a:pt x="1307" y="1517"/>
                  </a:lnTo>
                  <a:lnTo>
                    <a:pt x="1305" y="1516"/>
                  </a:lnTo>
                  <a:lnTo>
                    <a:pt x="1303" y="1509"/>
                  </a:lnTo>
                  <a:lnTo>
                    <a:pt x="1301" y="1508"/>
                  </a:lnTo>
                  <a:lnTo>
                    <a:pt x="1299" y="1509"/>
                  </a:lnTo>
                  <a:lnTo>
                    <a:pt x="1298" y="1510"/>
                  </a:lnTo>
                  <a:lnTo>
                    <a:pt x="1302" y="1516"/>
                  </a:lnTo>
                  <a:lnTo>
                    <a:pt x="1297" y="1518"/>
                  </a:lnTo>
                  <a:lnTo>
                    <a:pt x="1306" y="1521"/>
                  </a:lnTo>
                  <a:lnTo>
                    <a:pt x="1306" y="1525"/>
                  </a:lnTo>
                  <a:lnTo>
                    <a:pt x="1317" y="1534"/>
                  </a:lnTo>
                  <a:lnTo>
                    <a:pt x="1318" y="1538"/>
                  </a:lnTo>
                  <a:lnTo>
                    <a:pt x="1315" y="1545"/>
                  </a:lnTo>
                  <a:lnTo>
                    <a:pt x="1309" y="1546"/>
                  </a:lnTo>
                  <a:lnTo>
                    <a:pt x="1312" y="1550"/>
                  </a:lnTo>
                  <a:lnTo>
                    <a:pt x="1311" y="1553"/>
                  </a:lnTo>
                  <a:lnTo>
                    <a:pt x="1307" y="1552"/>
                  </a:lnTo>
                  <a:lnTo>
                    <a:pt x="1305" y="1549"/>
                  </a:lnTo>
                  <a:lnTo>
                    <a:pt x="1303" y="1538"/>
                  </a:lnTo>
                  <a:lnTo>
                    <a:pt x="1300" y="1539"/>
                  </a:lnTo>
                  <a:lnTo>
                    <a:pt x="1301" y="1544"/>
                  </a:lnTo>
                  <a:lnTo>
                    <a:pt x="1297" y="1543"/>
                  </a:lnTo>
                  <a:lnTo>
                    <a:pt x="1295" y="1544"/>
                  </a:lnTo>
                  <a:lnTo>
                    <a:pt x="1300" y="1552"/>
                  </a:lnTo>
                  <a:lnTo>
                    <a:pt x="1303" y="1554"/>
                  </a:lnTo>
                  <a:lnTo>
                    <a:pt x="1307" y="1554"/>
                  </a:lnTo>
                  <a:lnTo>
                    <a:pt x="1311" y="1560"/>
                  </a:lnTo>
                  <a:lnTo>
                    <a:pt x="1313" y="1566"/>
                  </a:lnTo>
                  <a:lnTo>
                    <a:pt x="1309" y="1574"/>
                  </a:lnTo>
                  <a:lnTo>
                    <a:pt x="1316" y="1574"/>
                  </a:lnTo>
                  <a:lnTo>
                    <a:pt x="1320" y="1575"/>
                  </a:lnTo>
                  <a:lnTo>
                    <a:pt x="1321" y="1577"/>
                  </a:lnTo>
                  <a:lnTo>
                    <a:pt x="1318" y="1580"/>
                  </a:lnTo>
                  <a:lnTo>
                    <a:pt x="1311" y="1581"/>
                  </a:lnTo>
                  <a:lnTo>
                    <a:pt x="1308" y="1580"/>
                  </a:lnTo>
                  <a:lnTo>
                    <a:pt x="1303" y="1576"/>
                  </a:lnTo>
                  <a:lnTo>
                    <a:pt x="1300" y="1576"/>
                  </a:lnTo>
                  <a:lnTo>
                    <a:pt x="1290" y="1581"/>
                  </a:lnTo>
                  <a:lnTo>
                    <a:pt x="1285" y="1582"/>
                  </a:lnTo>
                  <a:lnTo>
                    <a:pt x="1283" y="1586"/>
                  </a:lnTo>
                  <a:lnTo>
                    <a:pt x="1282" y="1586"/>
                  </a:lnTo>
                  <a:lnTo>
                    <a:pt x="1280" y="1583"/>
                  </a:lnTo>
                  <a:lnTo>
                    <a:pt x="1279" y="1576"/>
                  </a:lnTo>
                  <a:lnTo>
                    <a:pt x="1272" y="1571"/>
                  </a:lnTo>
                  <a:lnTo>
                    <a:pt x="1271" y="1567"/>
                  </a:lnTo>
                  <a:lnTo>
                    <a:pt x="1272" y="1566"/>
                  </a:lnTo>
                  <a:lnTo>
                    <a:pt x="1276" y="1570"/>
                  </a:lnTo>
                  <a:lnTo>
                    <a:pt x="1285" y="1568"/>
                  </a:lnTo>
                  <a:lnTo>
                    <a:pt x="1285" y="1566"/>
                  </a:lnTo>
                  <a:lnTo>
                    <a:pt x="1285" y="1558"/>
                  </a:lnTo>
                  <a:lnTo>
                    <a:pt x="1284" y="1555"/>
                  </a:lnTo>
                  <a:lnTo>
                    <a:pt x="1282" y="1563"/>
                  </a:lnTo>
                  <a:lnTo>
                    <a:pt x="1280" y="1565"/>
                  </a:lnTo>
                  <a:lnTo>
                    <a:pt x="1274" y="1563"/>
                  </a:lnTo>
                  <a:lnTo>
                    <a:pt x="1271" y="1560"/>
                  </a:lnTo>
                  <a:lnTo>
                    <a:pt x="1271" y="1558"/>
                  </a:lnTo>
                  <a:lnTo>
                    <a:pt x="1272" y="1554"/>
                  </a:lnTo>
                  <a:lnTo>
                    <a:pt x="1279" y="1546"/>
                  </a:lnTo>
                  <a:lnTo>
                    <a:pt x="1276" y="1543"/>
                  </a:lnTo>
                  <a:lnTo>
                    <a:pt x="1273" y="1544"/>
                  </a:lnTo>
                  <a:lnTo>
                    <a:pt x="1273" y="1539"/>
                  </a:lnTo>
                  <a:lnTo>
                    <a:pt x="1273" y="1536"/>
                  </a:lnTo>
                  <a:lnTo>
                    <a:pt x="1271" y="1538"/>
                  </a:lnTo>
                  <a:lnTo>
                    <a:pt x="1270" y="1547"/>
                  </a:lnTo>
                  <a:lnTo>
                    <a:pt x="1266" y="1554"/>
                  </a:lnTo>
                  <a:lnTo>
                    <a:pt x="1264" y="1554"/>
                  </a:lnTo>
                  <a:lnTo>
                    <a:pt x="1261" y="1549"/>
                  </a:lnTo>
                  <a:lnTo>
                    <a:pt x="1255" y="1547"/>
                  </a:lnTo>
                  <a:lnTo>
                    <a:pt x="1251" y="1542"/>
                  </a:lnTo>
                  <a:lnTo>
                    <a:pt x="1255" y="1530"/>
                  </a:lnTo>
                  <a:lnTo>
                    <a:pt x="1265" y="1518"/>
                  </a:lnTo>
                  <a:lnTo>
                    <a:pt x="1263" y="1519"/>
                  </a:lnTo>
                  <a:lnTo>
                    <a:pt x="1255" y="1524"/>
                  </a:lnTo>
                  <a:lnTo>
                    <a:pt x="1255" y="1520"/>
                  </a:lnTo>
                  <a:lnTo>
                    <a:pt x="1257" y="1513"/>
                  </a:lnTo>
                  <a:lnTo>
                    <a:pt x="1256" y="1513"/>
                  </a:lnTo>
                  <a:lnTo>
                    <a:pt x="1254" y="1514"/>
                  </a:lnTo>
                  <a:lnTo>
                    <a:pt x="1251" y="1529"/>
                  </a:lnTo>
                  <a:lnTo>
                    <a:pt x="1249" y="1530"/>
                  </a:lnTo>
                  <a:lnTo>
                    <a:pt x="1246" y="1527"/>
                  </a:lnTo>
                  <a:lnTo>
                    <a:pt x="1246" y="1527"/>
                  </a:lnTo>
                  <a:lnTo>
                    <a:pt x="1246" y="1531"/>
                  </a:lnTo>
                  <a:lnTo>
                    <a:pt x="1249" y="1537"/>
                  </a:lnTo>
                  <a:lnTo>
                    <a:pt x="1249" y="1539"/>
                  </a:lnTo>
                  <a:lnTo>
                    <a:pt x="1244" y="1546"/>
                  </a:lnTo>
                  <a:lnTo>
                    <a:pt x="1240" y="1548"/>
                  </a:lnTo>
                  <a:lnTo>
                    <a:pt x="1238" y="1548"/>
                  </a:lnTo>
                  <a:lnTo>
                    <a:pt x="1238" y="1547"/>
                  </a:lnTo>
                  <a:lnTo>
                    <a:pt x="1235" y="1534"/>
                  </a:lnTo>
                  <a:lnTo>
                    <a:pt x="1227" y="1525"/>
                  </a:lnTo>
                  <a:lnTo>
                    <a:pt x="1227" y="1522"/>
                  </a:lnTo>
                  <a:lnTo>
                    <a:pt x="1231" y="1517"/>
                  </a:lnTo>
                  <a:lnTo>
                    <a:pt x="1244" y="1508"/>
                  </a:lnTo>
                  <a:lnTo>
                    <a:pt x="1239" y="1505"/>
                  </a:lnTo>
                  <a:lnTo>
                    <a:pt x="1239" y="1501"/>
                  </a:lnTo>
                  <a:lnTo>
                    <a:pt x="1245" y="1499"/>
                  </a:lnTo>
                  <a:lnTo>
                    <a:pt x="1250" y="1493"/>
                  </a:lnTo>
                  <a:lnTo>
                    <a:pt x="1248" y="1490"/>
                  </a:lnTo>
                  <a:lnTo>
                    <a:pt x="1240" y="1486"/>
                  </a:lnTo>
                  <a:lnTo>
                    <a:pt x="1236" y="1489"/>
                  </a:lnTo>
                  <a:lnTo>
                    <a:pt x="1233" y="1489"/>
                  </a:lnTo>
                  <a:lnTo>
                    <a:pt x="1232" y="1489"/>
                  </a:lnTo>
                  <a:lnTo>
                    <a:pt x="1230" y="1486"/>
                  </a:lnTo>
                  <a:lnTo>
                    <a:pt x="1229" y="1488"/>
                  </a:lnTo>
                  <a:lnTo>
                    <a:pt x="1231" y="1491"/>
                  </a:lnTo>
                  <a:lnTo>
                    <a:pt x="1230" y="1492"/>
                  </a:lnTo>
                  <a:lnTo>
                    <a:pt x="1225" y="1492"/>
                  </a:lnTo>
                  <a:lnTo>
                    <a:pt x="1221" y="1491"/>
                  </a:lnTo>
                  <a:lnTo>
                    <a:pt x="1221" y="1488"/>
                  </a:lnTo>
                  <a:lnTo>
                    <a:pt x="1222" y="1485"/>
                  </a:lnTo>
                  <a:lnTo>
                    <a:pt x="1225" y="1481"/>
                  </a:lnTo>
                  <a:lnTo>
                    <a:pt x="1231" y="1475"/>
                  </a:lnTo>
                  <a:lnTo>
                    <a:pt x="1231" y="1474"/>
                  </a:lnTo>
                  <a:lnTo>
                    <a:pt x="1230" y="1473"/>
                  </a:lnTo>
                  <a:lnTo>
                    <a:pt x="1227" y="1475"/>
                  </a:lnTo>
                  <a:lnTo>
                    <a:pt x="1221" y="1482"/>
                  </a:lnTo>
                  <a:lnTo>
                    <a:pt x="1216" y="1485"/>
                  </a:lnTo>
                  <a:lnTo>
                    <a:pt x="1214" y="1493"/>
                  </a:lnTo>
                  <a:lnTo>
                    <a:pt x="1203" y="1495"/>
                  </a:lnTo>
                  <a:lnTo>
                    <a:pt x="1202" y="1498"/>
                  </a:lnTo>
                  <a:lnTo>
                    <a:pt x="1203" y="1503"/>
                  </a:lnTo>
                  <a:lnTo>
                    <a:pt x="1203" y="1504"/>
                  </a:lnTo>
                  <a:lnTo>
                    <a:pt x="1200" y="1504"/>
                  </a:lnTo>
                  <a:lnTo>
                    <a:pt x="1198" y="1503"/>
                  </a:lnTo>
                  <a:lnTo>
                    <a:pt x="1195" y="1499"/>
                  </a:lnTo>
                  <a:lnTo>
                    <a:pt x="1196" y="1495"/>
                  </a:lnTo>
                  <a:lnTo>
                    <a:pt x="1198" y="1492"/>
                  </a:lnTo>
                  <a:lnTo>
                    <a:pt x="1197" y="1486"/>
                  </a:lnTo>
                  <a:lnTo>
                    <a:pt x="1200" y="1481"/>
                  </a:lnTo>
                  <a:lnTo>
                    <a:pt x="1200" y="1478"/>
                  </a:lnTo>
                  <a:lnTo>
                    <a:pt x="1198" y="1478"/>
                  </a:lnTo>
                  <a:lnTo>
                    <a:pt x="1194" y="1485"/>
                  </a:lnTo>
                  <a:lnTo>
                    <a:pt x="1193" y="1488"/>
                  </a:lnTo>
                  <a:lnTo>
                    <a:pt x="1194" y="1493"/>
                  </a:lnTo>
                  <a:lnTo>
                    <a:pt x="1194" y="1495"/>
                  </a:lnTo>
                  <a:lnTo>
                    <a:pt x="1192" y="1496"/>
                  </a:lnTo>
                  <a:lnTo>
                    <a:pt x="1189" y="1496"/>
                  </a:lnTo>
                  <a:lnTo>
                    <a:pt x="1187" y="1499"/>
                  </a:lnTo>
                  <a:lnTo>
                    <a:pt x="1189" y="1500"/>
                  </a:lnTo>
                  <a:lnTo>
                    <a:pt x="1192" y="1500"/>
                  </a:lnTo>
                  <a:lnTo>
                    <a:pt x="1194" y="1502"/>
                  </a:lnTo>
                  <a:lnTo>
                    <a:pt x="1198" y="1509"/>
                  </a:lnTo>
                  <a:lnTo>
                    <a:pt x="1198" y="1514"/>
                  </a:lnTo>
                  <a:lnTo>
                    <a:pt x="1203" y="1514"/>
                  </a:lnTo>
                  <a:lnTo>
                    <a:pt x="1205" y="1517"/>
                  </a:lnTo>
                  <a:lnTo>
                    <a:pt x="1208" y="1521"/>
                  </a:lnTo>
                  <a:lnTo>
                    <a:pt x="1208" y="1527"/>
                  </a:lnTo>
                  <a:lnTo>
                    <a:pt x="1207" y="1534"/>
                  </a:lnTo>
                  <a:lnTo>
                    <a:pt x="1209" y="1536"/>
                  </a:lnTo>
                  <a:lnTo>
                    <a:pt x="1219" y="1537"/>
                  </a:lnTo>
                  <a:lnTo>
                    <a:pt x="1221" y="1538"/>
                  </a:lnTo>
                  <a:lnTo>
                    <a:pt x="1220" y="1541"/>
                  </a:lnTo>
                  <a:lnTo>
                    <a:pt x="1216" y="1542"/>
                  </a:lnTo>
                  <a:lnTo>
                    <a:pt x="1211" y="1547"/>
                  </a:lnTo>
                  <a:lnTo>
                    <a:pt x="1210" y="1546"/>
                  </a:lnTo>
                  <a:lnTo>
                    <a:pt x="1208" y="1543"/>
                  </a:lnTo>
                  <a:lnTo>
                    <a:pt x="1207" y="1538"/>
                  </a:lnTo>
                  <a:lnTo>
                    <a:pt x="1201" y="1539"/>
                  </a:lnTo>
                  <a:lnTo>
                    <a:pt x="1196" y="1542"/>
                  </a:lnTo>
                  <a:lnTo>
                    <a:pt x="1202" y="1543"/>
                  </a:lnTo>
                  <a:lnTo>
                    <a:pt x="1204" y="1545"/>
                  </a:lnTo>
                  <a:lnTo>
                    <a:pt x="1207" y="1550"/>
                  </a:lnTo>
                  <a:lnTo>
                    <a:pt x="1198" y="1554"/>
                  </a:lnTo>
                  <a:lnTo>
                    <a:pt x="1198" y="1555"/>
                  </a:lnTo>
                  <a:lnTo>
                    <a:pt x="1199" y="1556"/>
                  </a:lnTo>
                  <a:lnTo>
                    <a:pt x="1207" y="1554"/>
                  </a:lnTo>
                  <a:lnTo>
                    <a:pt x="1208" y="1561"/>
                  </a:lnTo>
                  <a:lnTo>
                    <a:pt x="1210" y="1558"/>
                  </a:lnTo>
                  <a:lnTo>
                    <a:pt x="1210" y="1555"/>
                  </a:lnTo>
                  <a:lnTo>
                    <a:pt x="1210" y="1552"/>
                  </a:lnTo>
                  <a:lnTo>
                    <a:pt x="1216" y="1547"/>
                  </a:lnTo>
                  <a:lnTo>
                    <a:pt x="1218" y="1546"/>
                  </a:lnTo>
                  <a:lnTo>
                    <a:pt x="1218" y="1549"/>
                  </a:lnTo>
                  <a:lnTo>
                    <a:pt x="1216" y="1554"/>
                  </a:lnTo>
                  <a:lnTo>
                    <a:pt x="1215" y="1556"/>
                  </a:lnTo>
                  <a:lnTo>
                    <a:pt x="1221" y="1566"/>
                  </a:lnTo>
                  <a:lnTo>
                    <a:pt x="1222" y="1571"/>
                  </a:lnTo>
                  <a:lnTo>
                    <a:pt x="1221" y="1574"/>
                  </a:lnTo>
                  <a:lnTo>
                    <a:pt x="1218" y="1576"/>
                  </a:lnTo>
                  <a:lnTo>
                    <a:pt x="1213" y="1573"/>
                  </a:lnTo>
                  <a:lnTo>
                    <a:pt x="1205" y="1574"/>
                  </a:lnTo>
                  <a:lnTo>
                    <a:pt x="1208" y="1575"/>
                  </a:lnTo>
                  <a:lnTo>
                    <a:pt x="1214" y="1578"/>
                  </a:lnTo>
                  <a:lnTo>
                    <a:pt x="1215" y="1580"/>
                  </a:lnTo>
                  <a:lnTo>
                    <a:pt x="1215" y="1582"/>
                  </a:lnTo>
                  <a:lnTo>
                    <a:pt x="1210" y="1589"/>
                  </a:lnTo>
                  <a:lnTo>
                    <a:pt x="1202" y="1592"/>
                  </a:lnTo>
                  <a:lnTo>
                    <a:pt x="1202" y="1595"/>
                  </a:lnTo>
                  <a:lnTo>
                    <a:pt x="1201" y="1596"/>
                  </a:lnTo>
                  <a:lnTo>
                    <a:pt x="1199" y="1594"/>
                  </a:lnTo>
                  <a:lnTo>
                    <a:pt x="1200" y="1589"/>
                  </a:lnTo>
                  <a:lnTo>
                    <a:pt x="1203" y="1585"/>
                  </a:lnTo>
                  <a:lnTo>
                    <a:pt x="1205" y="1588"/>
                  </a:lnTo>
                  <a:lnTo>
                    <a:pt x="1207" y="1585"/>
                  </a:lnTo>
                  <a:lnTo>
                    <a:pt x="1203" y="1580"/>
                  </a:lnTo>
                  <a:lnTo>
                    <a:pt x="1200" y="1581"/>
                  </a:lnTo>
                  <a:lnTo>
                    <a:pt x="1198" y="1585"/>
                  </a:lnTo>
                  <a:lnTo>
                    <a:pt x="1196" y="1594"/>
                  </a:lnTo>
                  <a:lnTo>
                    <a:pt x="1194" y="1595"/>
                  </a:lnTo>
                  <a:lnTo>
                    <a:pt x="1192" y="1595"/>
                  </a:lnTo>
                  <a:lnTo>
                    <a:pt x="1190" y="1597"/>
                  </a:lnTo>
                  <a:lnTo>
                    <a:pt x="1190" y="1598"/>
                  </a:lnTo>
                  <a:lnTo>
                    <a:pt x="1197" y="1599"/>
                  </a:lnTo>
                  <a:lnTo>
                    <a:pt x="1198" y="1599"/>
                  </a:lnTo>
                  <a:lnTo>
                    <a:pt x="1197" y="1600"/>
                  </a:lnTo>
                  <a:lnTo>
                    <a:pt x="1177" y="1601"/>
                  </a:lnTo>
                  <a:lnTo>
                    <a:pt x="1174" y="1601"/>
                  </a:lnTo>
                  <a:lnTo>
                    <a:pt x="1172" y="1600"/>
                  </a:lnTo>
                  <a:lnTo>
                    <a:pt x="1174" y="1593"/>
                  </a:lnTo>
                  <a:lnTo>
                    <a:pt x="1173" y="1589"/>
                  </a:lnTo>
                  <a:lnTo>
                    <a:pt x="1174" y="1588"/>
                  </a:lnTo>
                  <a:lnTo>
                    <a:pt x="1183" y="1588"/>
                  </a:lnTo>
                  <a:lnTo>
                    <a:pt x="1183" y="1590"/>
                  </a:lnTo>
                  <a:lnTo>
                    <a:pt x="1178" y="1593"/>
                  </a:lnTo>
                  <a:lnTo>
                    <a:pt x="1178" y="1594"/>
                  </a:lnTo>
                  <a:lnTo>
                    <a:pt x="1184" y="1594"/>
                  </a:lnTo>
                  <a:lnTo>
                    <a:pt x="1189" y="1593"/>
                  </a:lnTo>
                  <a:lnTo>
                    <a:pt x="1186" y="1583"/>
                  </a:lnTo>
                  <a:lnTo>
                    <a:pt x="1190" y="1582"/>
                  </a:lnTo>
                  <a:lnTo>
                    <a:pt x="1191" y="1580"/>
                  </a:lnTo>
                  <a:lnTo>
                    <a:pt x="1189" y="1579"/>
                  </a:lnTo>
                  <a:lnTo>
                    <a:pt x="1182" y="1582"/>
                  </a:lnTo>
                  <a:lnTo>
                    <a:pt x="1180" y="1581"/>
                  </a:lnTo>
                  <a:lnTo>
                    <a:pt x="1180" y="1579"/>
                  </a:lnTo>
                  <a:lnTo>
                    <a:pt x="1182" y="1576"/>
                  </a:lnTo>
                  <a:lnTo>
                    <a:pt x="1186" y="1574"/>
                  </a:lnTo>
                  <a:lnTo>
                    <a:pt x="1186" y="1571"/>
                  </a:lnTo>
                  <a:lnTo>
                    <a:pt x="1189" y="1570"/>
                  </a:lnTo>
                  <a:lnTo>
                    <a:pt x="1197" y="1564"/>
                  </a:lnTo>
                  <a:lnTo>
                    <a:pt x="1196" y="1563"/>
                  </a:lnTo>
                  <a:lnTo>
                    <a:pt x="1194" y="1563"/>
                  </a:lnTo>
                  <a:lnTo>
                    <a:pt x="1189" y="1564"/>
                  </a:lnTo>
                  <a:lnTo>
                    <a:pt x="1182" y="1567"/>
                  </a:lnTo>
                  <a:lnTo>
                    <a:pt x="1180" y="1566"/>
                  </a:lnTo>
                  <a:lnTo>
                    <a:pt x="1180" y="1565"/>
                  </a:lnTo>
                  <a:lnTo>
                    <a:pt x="1185" y="1560"/>
                  </a:lnTo>
                  <a:lnTo>
                    <a:pt x="1186" y="1556"/>
                  </a:lnTo>
                  <a:lnTo>
                    <a:pt x="1186" y="1555"/>
                  </a:lnTo>
                  <a:lnTo>
                    <a:pt x="1175" y="1558"/>
                  </a:lnTo>
                  <a:lnTo>
                    <a:pt x="1175" y="1560"/>
                  </a:lnTo>
                  <a:lnTo>
                    <a:pt x="1178" y="1563"/>
                  </a:lnTo>
                  <a:lnTo>
                    <a:pt x="1176" y="1565"/>
                  </a:lnTo>
                  <a:lnTo>
                    <a:pt x="1173" y="1565"/>
                  </a:lnTo>
                  <a:lnTo>
                    <a:pt x="1172" y="1561"/>
                  </a:lnTo>
                  <a:lnTo>
                    <a:pt x="1167" y="1562"/>
                  </a:lnTo>
                  <a:lnTo>
                    <a:pt x="1167" y="1564"/>
                  </a:lnTo>
                  <a:lnTo>
                    <a:pt x="1168" y="1568"/>
                  </a:lnTo>
                  <a:lnTo>
                    <a:pt x="1167" y="1571"/>
                  </a:lnTo>
                  <a:lnTo>
                    <a:pt x="1161" y="1575"/>
                  </a:lnTo>
                  <a:lnTo>
                    <a:pt x="1157" y="1583"/>
                  </a:lnTo>
                  <a:lnTo>
                    <a:pt x="1155" y="1584"/>
                  </a:lnTo>
                  <a:lnTo>
                    <a:pt x="1154" y="1583"/>
                  </a:lnTo>
                  <a:lnTo>
                    <a:pt x="1154" y="1578"/>
                  </a:lnTo>
                  <a:lnTo>
                    <a:pt x="1157" y="1576"/>
                  </a:lnTo>
                  <a:lnTo>
                    <a:pt x="1163" y="1568"/>
                  </a:lnTo>
                  <a:lnTo>
                    <a:pt x="1162" y="1567"/>
                  </a:lnTo>
                  <a:lnTo>
                    <a:pt x="1159" y="1570"/>
                  </a:lnTo>
                  <a:lnTo>
                    <a:pt x="1158" y="1568"/>
                  </a:lnTo>
                  <a:lnTo>
                    <a:pt x="1165" y="1561"/>
                  </a:lnTo>
                  <a:lnTo>
                    <a:pt x="1163" y="1558"/>
                  </a:lnTo>
                  <a:lnTo>
                    <a:pt x="1156" y="1556"/>
                  </a:lnTo>
                  <a:lnTo>
                    <a:pt x="1155" y="1555"/>
                  </a:lnTo>
                  <a:lnTo>
                    <a:pt x="1155" y="1550"/>
                  </a:lnTo>
                  <a:lnTo>
                    <a:pt x="1160" y="1542"/>
                  </a:lnTo>
                  <a:lnTo>
                    <a:pt x="1160" y="1540"/>
                  </a:lnTo>
                  <a:lnTo>
                    <a:pt x="1159" y="1540"/>
                  </a:lnTo>
                  <a:lnTo>
                    <a:pt x="1151" y="1548"/>
                  </a:lnTo>
                  <a:lnTo>
                    <a:pt x="1149" y="1559"/>
                  </a:lnTo>
                  <a:lnTo>
                    <a:pt x="1146" y="1561"/>
                  </a:lnTo>
                  <a:lnTo>
                    <a:pt x="1147" y="1563"/>
                  </a:lnTo>
                  <a:lnTo>
                    <a:pt x="1150" y="1571"/>
                  </a:lnTo>
                  <a:lnTo>
                    <a:pt x="1150" y="1574"/>
                  </a:lnTo>
                  <a:lnTo>
                    <a:pt x="1144" y="1585"/>
                  </a:lnTo>
                  <a:lnTo>
                    <a:pt x="1145" y="1586"/>
                  </a:lnTo>
                  <a:lnTo>
                    <a:pt x="1149" y="1588"/>
                  </a:lnTo>
                  <a:lnTo>
                    <a:pt x="1149" y="1590"/>
                  </a:lnTo>
                  <a:lnTo>
                    <a:pt x="1144" y="1595"/>
                  </a:lnTo>
                  <a:lnTo>
                    <a:pt x="1140" y="1604"/>
                  </a:lnTo>
                  <a:lnTo>
                    <a:pt x="1120" y="1616"/>
                  </a:lnTo>
                  <a:lnTo>
                    <a:pt x="1115" y="1618"/>
                  </a:lnTo>
                  <a:lnTo>
                    <a:pt x="1114" y="1616"/>
                  </a:lnTo>
                  <a:lnTo>
                    <a:pt x="1122" y="1607"/>
                  </a:lnTo>
                  <a:lnTo>
                    <a:pt x="1128" y="1596"/>
                  </a:lnTo>
                  <a:lnTo>
                    <a:pt x="1130" y="1590"/>
                  </a:lnTo>
                  <a:lnTo>
                    <a:pt x="1130" y="1586"/>
                  </a:lnTo>
                  <a:lnTo>
                    <a:pt x="1126" y="1580"/>
                  </a:lnTo>
                  <a:lnTo>
                    <a:pt x="1120" y="1578"/>
                  </a:lnTo>
                  <a:lnTo>
                    <a:pt x="1123" y="1574"/>
                  </a:lnTo>
                  <a:lnTo>
                    <a:pt x="1125" y="1571"/>
                  </a:lnTo>
                  <a:lnTo>
                    <a:pt x="1126" y="1565"/>
                  </a:lnTo>
                  <a:lnTo>
                    <a:pt x="1124" y="1563"/>
                  </a:lnTo>
                  <a:lnTo>
                    <a:pt x="1123" y="1564"/>
                  </a:lnTo>
                  <a:lnTo>
                    <a:pt x="1121" y="1571"/>
                  </a:lnTo>
                  <a:lnTo>
                    <a:pt x="1118" y="1575"/>
                  </a:lnTo>
                  <a:lnTo>
                    <a:pt x="1117" y="1574"/>
                  </a:lnTo>
                  <a:lnTo>
                    <a:pt x="1117" y="1568"/>
                  </a:lnTo>
                  <a:lnTo>
                    <a:pt x="1114" y="1568"/>
                  </a:lnTo>
                  <a:lnTo>
                    <a:pt x="1113" y="1571"/>
                  </a:lnTo>
                  <a:lnTo>
                    <a:pt x="1112" y="1573"/>
                  </a:lnTo>
                  <a:lnTo>
                    <a:pt x="1115" y="1579"/>
                  </a:lnTo>
                  <a:lnTo>
                    <a:pt x="1115" y="1580"/>
                  </a:lnTo>
                  <a:lnTo>
                    <a:pt x="1108" y="1582"/>
                  </a:lnTo>
                  <a:lnTo>
                    <a:pt x="1100" y="1583"/>
                  </a:lnTo>
                  <a:lnTo>
                    <a:pt x="1100" y="1585"/>
                  </a:lnTo>
                  <a:lnTo>
                    <a:pt x="1102" y="1589"/>
                  </a:lnTo>
                  <a:lnTo>
                    <a:pt x="1101" y="1591"/>
                  </a:lnTo>
                  <a:lnTo>
                    <a:pt x="1094" y="1592"/>
                  </a:lnTo>
                  <a:lnTo>
                    <a:pt x="1091" y="1591"/>
                  </a:lnTo>
                  <a:lnTo>
                    <a:pt x="1090" y="1592"/>
                  </a:lnTo>
                  <a:lnTo>
                    <a:pt x="1090" y="1594"/>
                  </a:lnTo>
                  <a:lnTo>
                    <a:pt x="1092" y="1596"/>
                  </a:lnTo>
                  <a:lnTo>
                    <a:pt x="1094" y="1601"/>
                  </a:lnTo>
                  <a:lnTo>
                    <a:pt x="1097" y="1603"/>
                  </a:lnTo>
                  <a:lnTo>
                    <a:pt x="1103" y="1603"/>
                  </a:lnTo>
                  <a:lnTo>
                    <a:pt x="1107" y="1607"/>
                  </a:lnTo>
                  <a:lnTo>
                    <a:pt x="1106" y="1608"/>
                  </a:lnTo>
                  <a:lnTo>
                    <a:pt x="1087" y="1612"/>
                  </a:lnTo>
                  <a:lnTo>
                    <a:pt x="1085" y="1611"/>
                  </a:lnTo>
                  <a:lnTo>
                    <a:pt x="1087" y="1609"/>
                  </a:lnTo>
                  <a:lnTo>
                    <a:pt x="1087" y="1608"/>
                  </a:lnTo>
                  <a:lnTo>
                    <a:pt x="1084" y="1603"/>
                  </a:lnTo>
                  <a:lnTo>
                    <a:pt x="1082" y="1602"/>
                  </a:lnTo>
                  <a:lnTo>
                    <a:pt x="1073" y="1601"/>
                  </a:lnTo>
                  <a:lnTo>
                    <a:pt x="1073" y="1604"/>
                  </a:lnTo>
                  <a:lnTo>
                    <a:pt x="1068" y="1606"/>
                  </a:lnTo>
                  <a:lnTo>
                    <a:pt x="1066" y="1604"/>
                  </a:lnTo>
                  <a:lnTo>
                    <a:pt x="1064" y="1600"/>
                  </a:lnTo>
                  <a:lnTo>
                    <a:pt x="1063" y="1599"/>
                  </a:lnTo>
                  <a:lnTo>
                    <a:pt x="1052" y="1599"/>
                  </a:lnTo>
                  <a:lnTo>
                    <a:pt x="1050" y="1599"/>
                  </a:lnTo>
                  <a:lnTo>
                    <a:pt x="1050" y="1600"/>
                  </a:lnTo>
                  <a:lnTo>
                    <a:pt x="1050" y="1600"/>
                  </a:lnTo>
                  <a:lnTo>
                    <a:pt x="1040" y="1606"/>
                  </a:lnTo>
                  <a:lnTo>
                    <a:pt x="1037" y="1606"/>
                  </a:lnTo>
                  <a:lnTo>
                    <a:pt x="1031" y="1594"/>
                  </a:lnTo>
                  <a:lnTo>
                    <a:pt x="1018" y="1583"/>
                  </a:lnTo>
                  <a:lnTo>
                    <a:pt x="1013" y="1572"/>
                  </a:lnTo>
                  <a:lnTo>
                    <a:pt x="1011" y="1568"/>
                  </a:lnTo>
                  <a:lnTo>
                    <a:pt x="1004" y="1565"/>
                  </a:lnTo>
                  <a:lnTo>
                    <a:pt x="998" y="1566"/>
                  </a:lnTo>
                  <a:lnTo>
                    <a:pt x="987" y="1561"/>
                  </a:lnTo>
                  <a:lnTo>
                    <a:pt x="957" y="1571"/>
                  </a:lnTo>
                  <a:lnTo>
                    <a:pt x="923" y="1575"/>
                  </a:lnTo>
                  <a:lnTo>
                    <a:pt x="907" y="1574"/>
                  </a:lnTo>
                  <a:lnTo>
                    <a:pt x="893" y="1572"/>
                  </a:lnTo>
                  <a:lnTo>
                    <a:pt x="877" y="1562"/>
                  </a:lnTo>
                  <a:lnTo>
                    <a:pt x="871" y="1561"/>
                  </a:lnTo>
                  <a:lnTo>
                    <a:pt x="857" y="1576"/>
                  </a:lnTo>
                  <a:lnTo>
                    <a:pt x="853" y="1579"/>
                  </a:lnTo>
                  <a:lnTo>
                    <a:pt x="851" y="1576"/>
                  </a:lnTo>
                  <a:lnTo>
                    <a:pt x="847" y="1571"/>
                  </a:lnTo>
                  <a:lnTo>
                    <a:pt x="837" y="1547"/>
                  </a:lnTo>
                  <a:lnTo>
                    <a:pt x="831" y="1538"/>
                  </a:lnTo>
                  <a:lnTo>
                    <a:pt x="825" y="1532"/>
                  </a:lnTo>
                  <a:lnTo>
                    <a:pt x="822" y="1534"/>
                  </a:lnTo>
                  <a:lnTo>
                    <a:pt x="807" y="1540"/>
                  </a:lnTo>
                  <a:lnTo>
                    <a:pt x="802" y="1541"/>
                  </a:lnTo>
                  <a:lnTo>
                    <a:pt x="793" y="1536"/>
                  </a:lnTo>
                  <a:lnTo>
                    <a:pt x="775" y="1521"/>
                  </a:lnTo>
                  <a:lnTo>
                    <a:pt x="765" y="1514"/>
                  </a:lnTo>
                  <a:lnTo>
                    <a:pt x="754" y="1509"/>
                  </a:lnTo>
                  <a:lnTo>
                    <a:pt x="744" y="1506"/>
                  </a:lnTo>
                  <a:lnTo>
                    <a:pt x="743" y="1504"/>
                  </a:lnTo>
                  <a:lnTo>
                    <a:pt x="741" y="1500"/>
                  </a:lnTo>
                  <a:lnTo>
                    <a:pt x="742" y="1492"/>
                  </a:lnTo>
                  <a:lnTo>
                    <a:pt x="751" y="1482"/>
                  </a:lnTo>
                  <a:lnTo>
                    <a:pt x="755" y="1474"/>
                  </a:lnTo>
                  <a:lnTo>
                    <a:pt x="755" y="1470"/>
                  </a:lnTo>
                  <a:lnTo>
                    <a:pt x="753" y="1466"/>
                  </a:lnTo>
                  <a:lnTo>
                    <a:pt x="750" y="1465"/>
                  </a:lnTo>
                  <a:lnTo>
                    <a:pt x="745" y="1465"/>
                  </a:lnTo>
                  <a:lnTo>
                    <a:pt x="729" y="1469"/>
                  </a:lnTo>
                  <a:lnTo>
                    <a:pt x="718" y="1464"/>
                  </a:lnTo>
                  <a:lnTo>
                    <a:pt x="704" y="1453"/>
                  </a:lnTo>
                  <a:lnTo>
                    <a:pt x="692" y="1450"/>
                  </a:lnTo>
                  <a:lnTo>
                    <a:pt x="675" y="1448"/>
                  </a:lnTo>
                  <a:lnTo>
                    <a:pt x="670" y="1449"/>
                  </a:lnTo>
                  <a:lnTo>
                    <a:pt x="651" y="1455"/>
                  </a:lnTo>
                  <a:lnTo>
                    <a:pt x="646" y="1455"/>
                  </a:lnTo>
                  <a:lnTo>
                    <a:pt x="643" y="1454"/>
                  </a:lnTo>
                  <a:lnTo>
                    <a:pt x="640" y="1450"/>
                  </a:lnTo>
                  <a:lnTo>
                    <a:pt x="638" y="1441"/>
                  </a:lnTo>
                  <a:lnTo>
                    <a:pt x="639" y="1429"/>
                  </a:lnTo>
                  <a:lnTo>
                    <a:pt x="642" y="1416"/>
                  </a:lnTo>
                  <a:lnTo>
                    <a:pt x="640" y="1395"/>
                  </a:lnTo>
                  <a:lnTo>
                    <a:pt x="642" y="1383"/>
                  </a:lnTo>
                  <a:lnTo>
                    <a:pt x="638" y="1352"/>
                  </a:lnTo>
                  <a:lnTo>
                    <a:pt x="634" y="1342"/>
                  </a:lnTo>
                  <a:lnTo>
                    <a:pt x="630" y="1335"/>
                  </a:lnTo>
                  <a:lnTo>
                    <a:pt x="627" y="1333"/>
                  </a:lnTo>
                  <a:lnTo>
                    <a:pt x="617" y="1329"/>
                  </a:lnTo>
                  <a:lnTo>
                    <a:pt x="610" y="1324"/>
                  </a:lnTo>
                  <a:lnTo>
                    <a:pt x="609" y="1321"/>
                  </a:lnTo>
                  <a:lnTo>
                    <a:pt x="608" y="1311"/>
                  </a:lnTo>
                  <a:lnTo>
                    <a:pt x="603" y="1297"/>
                  </a:lnTo>
                  <a:lnTo>
                    <a:pt x="603" y="1292"/>
                  </a:lnTo>
                  <a:lnTo>
                    <a:pt x="613" y="1274"/>
                  </a:lnTo>
                  <a:lnTo>
                    <a:pt x="616" y="1263"/>
                  </a:lnTo>
                  <a:lnTo>
                    <a:pt x="620" y="1258"/>
                  </a:lnTo>
                  <a:lnTo>
                    <a:pt x="625" y="1256"/>
                  </a:lnTo>
                  <a:lnTo>
                    <a:pt x="632" y="1259"/>
                  </a:lnTo>
                  <a:lnTo>
                    <a:pt x="637" y="1259"/>
                  </a:lnTo>
                  <a:lnTo>
                    <a:pt x="642" y="1257"/>
                  </a:lnTo>
                  <a:lnTo>
                    <a:pt x="645" y="1254"/>
                  </a:lnTo>
                  <a:lnTo>
                    <a:pt x="654" y="1234"/>
                  </a:lnTo>
                  <a:lnTo>
                    <a:pt x="673" y="1198"/>
                  </a:lnTo>
                  <a:lnTo>
                    <a:pt x="680" y="1189"/>
                  </a:lnTo>
                  <a:lnTo>
                    <a:pt x="686" y="1182"/>
                  </a:lnTo>
                  <a:lnTo>
                    <a:pt x="688" y="1178"/>
                  </a:lnTo>
                  <a:lnTo>
                    <a:pt x="687" y="1176"/>
                  </a:lnTo>
                  <a:lnTo>
                    <a:pt x="684" y="1173"/>
                  </a:lnTo>
                  <a:lnTo>
                    <a:pt x="674" y="1169"/>
                  </a:lnTo>
                  <a:lnTo>
                    <a:pt x="667" y="1162"/>
                  </a:lnTo>
                  <a:lnTo>
                    <a:pt x="653" y="1151"/>
                  </a:lnTo>
                  <a:lnTo>
                    <a:pt x="628" y="1144"/>
                  </a:lnTo>
                  <a:lnTo>
                    <a:pt x="619" y="1134"/>
                  </a:lnTo>
                  <a:lnTo>
                    <a:pt x="606" y="1127"/>
                  </a:lnTo>
                  <a:lnTo>
                    <a:pt x="598" y="1130"/>
                  </a:lnTo>
                  <a:lnTo>
                    <a:pt x="580" y="1141"/>
                  </a:lnTo>
                  <a:lnTo>
                    <a:pt x="570" y="1145"/>
                  </a:lnTo>
                  <a:lnTo>
                    <a:pt x="553" y="1150"/>
                  </a:lnTo>
                  <a:lnTo>
                    <a:pt x="546" y="1151"/>
                  </a:lnTo>
                  <a:lnTo>
                    <a:pt x="531" y="1149"/>
                  </a:lnTo>
                  <a:lnTo>
                    <a:pt x="523" y="1146"/>
                  </a:lnTo>
                  <a:lnTo>
                    <a:pt x="519" y="1142"/>
                  </a:lnTo>
                  <a:lnTo>
                    <a:pt x="514" y="1129"/>
                  </a:lnTo>
                  <a:lnTo>
                    <a:pt x="512" y="1126"/>
                  </a:lnTo>
                  <a:lnTo>
                    <a:pt x="502" y="1116"/>
                  </a:lnTo>
                  <a:lnTo>
                    <a:pt x="494" y="1111"/>
                  </a:lnTo>
                  <a:lnTo>
                    <a:pt x="471" y="1109"/>
                  </a:lnTo>
                  <a:lnTo>
                    <a:pt x="440" y="1109"/>
                  </a:lnTo>
                  <a:lnTo>
                    <a:pt x="436" y="1110"/>
                  </a:lnTo>
                  <a:lnTo>
                    <a:pt x="433" y="1114"/>
                  </a:lnTo>
                  <a:lnTo>
                    <a:pt x="426" y="1117"/>
                  </a:lnTo>
                  <a:lnTo>
                    <a:pt x="407" y="1122"/>
                  </a:lnTo>
                  <a:lnTo>
                    <a:pt x="402" y="1122"/>
                  </a:lnTo>
                  <a:lnTo>
                    <a:pt x="392" y="1116"/>
                  </a:lnTo>
                  <a:lnTo>
                    <a:pt x="379" y="1099"/>
                  </a:lnTo>
                  <a:lnTo>
                    <a:pt x="346" y="1077"/>
                  </a:lnTo>
                  <a:lnTo>
                    <a:pt x="334" y="1072"/>
                  </a:lnTo>
                  <a:lnTo>
                    <a:pt x="314" y="1071"/>
                  </a:lnTo>
                  <a:lnTo>
                    <a:pt x="309" y="1070"/>
                  </a:lnTo>
                  <a:lnTo>
                    <a:pt x="304" y="1061"/>
                  </a:lnTo>
                  <a:lnTo>
                    <a:pt x="300" y="1040"/>
                  </a:lnTo>
                  <a:lnTo>
                    <a:pt x="292" y="1027"/>
                  </a:lnTo>
                  <a:lnTo>
                    <a:pt x="292" y="1027"/>
                  </a:lnTo>
                  <a:lnTo>
                    <a:pt x="295" y="1020"/>
                  </a:lnTo>
                  <a:lnTo>
                    <a:pt x="301" y="1013"/>
                  </a:lnTo>
                  <a:lnTo>
                    <a:pt x="318" y="995"/>
                  </a:lnTo>
                  <a:lnTo>
                    <a:pt x="332" y="983"/>
                  </a:lnTo>
                  <a:lnTo>
                    <a:pt x="334" y="982"/>
                  </a:lnTo>
                  <a:lnTo>
                    <a:pt x="336" y="982"/>
                  </a:lnTo>
                  <a:lnTo>
                    <a:pt x="344" y="989"/>
                  </a:lnTo>
                  <a:lnTo>
                    <a:pt x="346" y="989"/>
                  </a:lnTo>
                  <a:lnTo>
                    <a:pt x="348" y="987"/>
                  </a:lnTo>
                  <a:lnTo>
                    <a:pt x="348" y="984"/>
                  </a:lnTo>
                  <a:lnTo>
                    <a:pt x="346" y="977"/>
                  </a:lnTo>
                  <a:lnTo>
                    <a:pt x="336" y="967"/>
                  </a:lnTo>
                  <a:lnTo>
                    <a:pt x="337" y="964"/>
                  </a:lnTo>
                  <a:lnTo>
                    <a:pt x="339" y="963"/>
                  </a:lnTo>
                  <a:lnTo>
                    <a:pt x="351" y="964"/>
                  </a:lnTo>
                  <a:lnTo>
                    <a:pt x="368" y="949"/>
                  </a:lnTo>
                  <a:lnTo>
                    <a:pt x="385" y="942"/>
                  </a:lnTo>
                  <a:lnTo>
                    <a:pt x="388" y="930"/>
                  </a:lnTo>
                  <a:lnTo>
                    <a:pt x="392" y="926"/>
                  </a:lnTo>
                  <a:lnTo>
                    <a:pt x="398" y="924"/>
                  </a:lnTo>
                  <a:lnTo>
                    <a:pt x="406" y="924"/>
                  </a:lnTo>
                  <a:lnTo>
                    <a:pt x="433" y="933"/>
                  </a:lnTo>
                  <a:lnTo>
                    <a:pt x="439" y="938"/>
                  </a:lnTo>
                  <a:lnTo>
                    <a:pt x="441" y="943"/>
                  </a:lnTo>
                  <a:lnTo>
                    <a:pt x="443" y="947"/>
                  </a:lnTo>
                  <a:lnTo>
                    <a:pt x="444" y="948"/>
                  </a:lnTo>
                  <a:lnTo>
                    <a:pt x="468" y="933"/>
                  </a:lnTo>
                  <a:lnTo>
                    <a:pt x="474" y="927"/>
                  </a:lnTo>
                  <a:lnTo>
                    <a:pt x="480" y="920"/>
                  </a:lnTo>
                  <a:lnTo>
                    <a:pt x="486" y="909"/>
                  </a:lnTo>
                  <a:lnTo>
                    <a:pt x="490" y="881"/>
                  </a:lnTo>
                  <a:lnTo>
                    <a:pt x="494" y="862"/>
                  </a:lnTo>
                  <a:lnTo>
                    <a:pt x="494" y="840"/>
                  </a:lnTo>
                  <a:lnTo>
                    <a:pt x="501" y="823"/>
                  </a:lnTo>
                  <a:lnTo>
                    <a:pt x="504" y="817"/>
                  </a:lnTo>
                  <a:lnTo>
                    <a:pt x="501" y="807"/>
                  </a:lnTo>
                  <a:lnTo>
                    <a:pt x="488" y="781"/>
                  </a:lnTo>
                  <a:lnTo>
                    <a:pt x="480" y="759"/>
                  </a:lnTo>
                  <a:lnTo>
                    <a:pt x="471" y="749"/>
                  </a:lnTo>
                  <a:lnTo>
                    <a:pt x="465" y="737"/>
                  </a:lnTo>
                  <a:lnTo>
                    <a:pt x="460" y="732"/>
                  </a:lnTo>
                  <a:lnTo>
                    <a:pt x="450" y="727"/>
                  </a:lnTo>
                  <a:lnTo>
                    <a:pt x="434" y="728"/>
                  </a:lnTo>
                  <a:lnTo>
                    <a:pt x="424" y="723"/>
                  </a:lnTo>
                  <a:lnTo>
                    <a:pt x="420" y="723"/>
                  </a:lnTo>
                  <a:lnTo>
                    <a:pt x="418" y="729"/>
                  </a:lnTo>
                  <a:lnTo>
                    <a:pt x="416" y="733"/>
                  </a:lnTo>
                  <a:lnTo>
                    <a:pt x="416" y="742"/>
                  </a:lnTo>
                  <a:lnTo>
                    <a:pt x="414" y="746"/>
                  </a:lnTo>
                  <a:lnTo>
                    <a:pt x="411" y="746"/>
                  </a:lnTo>
                  <a:lnTo>
                    <a:pt x="405" y="739"/>
                  </a:lnTo>
                  <a:lnTo>
                    <a:pt x="404" y="741"/>
                  </a:lnTo>
                  <a:lnTo>
                    <a:pt x="401" y="747"/>
                  </a:lnTo>
                  <a:lnTo>
                    <a:pt x="398" y="750"/>
                  </a:lnTo>
                  <a:lnTo>
                    <a:pt x="394" y="752"/>
                  </a:lnTo>
                  <a:lnTo>
                    <a:pt x="388" y="753"/>
                  </a:lnTo>
                  <a:lnTo>
                    <a:pt x="384" y="751"/>
                  </a:lnTo>
                  <a:lnTo>
                    <a:pt x="383" y="746"/>
                  </a:lnTo>
                  <a:lnTo>
                    <a:pt x="381" y="744"/>
                  </a:lnTo>
                  <a:lnTo>
                    <a:pt x="374" y="740"/>
                  </a:lnTo>
                  <a:lnTo>
                    <a:pt x="368" y="739"/>
                  </a:lnTo>
                  <a:lnTo>
                    <a:pt x="360" y="740"/>
                  </a:lnTo>
                  <a:lnTo>
                    <a:pt x="347" y="747"/>
                  </a:lnTo>
                  <a:lnTo>
                    <a:pt x="344" y="748"/>
                  </a:lnTo>
                  <a:lnTo>
                    <a:pt x="342" y="747"/>
                  </a:lnTo>
                  <a:lnTo>
                    <a:pt x="339" y="744"/>
                  </a:lnTo>
                  <a:lnTo>
                    <a:pt x="338" y="726"/>
                  </a:lnTo>
                  <a:lnTo>
                    <a:pt x="336" y="723"/>
                  </a:lnTo>
                  <a:lnTo>
                    <a:pt x="331" y="721"/>
                  </a:lnTo>
                  <a:lnTo>
                    <a:pt x="317" y="722"/>
                  </a:lnTo>
                  <a:lnTo>
                    <a:pt x="310" y="726"/>
                  </a:lnTo>
                  <a:lnTo>
                    <a:pt x="306" y="733"/>
                  </a:lnTo>
                  <a:lnTo>
                    <a:pt x="303" y="747"/>
                  </a:lnTo>
                  <a:lnTo>
                    <a:pt x="301" y="748"/>
                  </a:lnTo>
                  <a:lnTo>
                    <a:pt x="299" y="749"/>
                  </a:lnTo>
                  <a:lnTo>
                    <a:pt x="289" y="748"/>
                  </a:lnTo>
                  <a:lnTo>
                    <a:pt x="276" y="745"/>
                  </a:lnTo>
                  <a:lnTo>
                    <a:pt x="272" y="740"/>
                  </a:lnTo>
                  <a:lnTo>
                    <a:pt x="261" y="728"/>
                  </a:lnTo>
                  <a:lnTo>
                    <a:pt x="255" y="726"/>
                  </a:lnTo>
                  <a:lnTo>
                    <a:pt x="249" y="726"/>
                  </a:lnTo>
                  <a:lnTo>
                    <a:pt x="236" y="736"/>
                  </a:lnTo>
                  <a:lnTo>
                    <a:pt x="230" y="735"/>
                  </a:lnTo>
                  <a:lnTo>
                    <a:pt x="219" y="726"/>
                  </a:lnTo>
                  <a:lnTo>
                    <a:pt x="206" y="710"/>
                  </a:lnTo>
                  <a:lnTo>
                    <a:pt x="206" y="706"/>
                  </a:lnTo>
                  <a:lnTo>
                    <a:pt x="208" y="702"/>
                  </a:lnTo>
                  <a:lnTo>
                    <a:pt x="224" y="696"/>
                  </a:lnTo>
                  <a:lnTo>
                    <a:pt x="225" y="693"/>
                  </a:lnTo>
                  <a:lnTo>
                    <a:pt x="224" y="690"/>
                  </a:lnTo>
                  <a:lnTo>
                    <a:pt x="216" y="678"/>
                  </a:lnTo>
                  <a:lnTo>
                    <a:pt x="212" y="669"/>
                  </a:lnTo>
                  <a:lnTo>
                    <a:pt x="210" y="655"/>
                  </a:lnTo>
                  <a:lnTo>
                    <a:pt x="209" y="648"/>
                  </a:lnTo>
                  <a:lnTo>
                    <a:pt x="205" y="643"/>
                  </a:lnTo>
                  <a:lnTo>
                    <a:pt x="202" y="640"/>
                  </a:lnTo>
                  <a:lnTo>
                    <a:pt x="186" y="632"/>
                  </a:lnTo>
                  <a:lnTo>
                    <a:pt x="184" y="628"/>
                  </a:lnTo>
                  <a:lnTo>
                    <a:pt x="182" y="619"/>
                  </a:lnTo>
                  <a:lnTo>
                    <a:pt x="178" y="616"/>
                  </a:lnTo>
                  <a:lnTo>
                    <a:pt x="174" y="614"/>
                  </a:lnTo>
                  <a:lnTo>
                    <a:pt x="167" y="613"/>
                  </a:lnTo>
                  <a:lnTo>
                    <a:pt x="159" y="613"/>
                  </a:lnTo>
                  <a:lnTo>
                    <a:pt x="145" y="619"/>
                  </a:lnTo>
                  <a:lnTo>
                    <a:pt x="133" y="620"/>
                  </a:lnTo>
                  <a:lnTo>
                    <a:pt x="117" y="608"/>
                  </a:lnTo>
                  <a:lnTo>
                    <a:pt x="98" y="605"/>
                  </a:lnTo>
                  <a:lnTo>
                    <a:pt x="84" y="601"/>
                  </a:lnTo>
                  <a:lnTo>
                    <a:pt x="75" y="605"/>
                  </a:lnTo>
                  <a:lnTo>
                    <a:pt x="68" y="607"/>
                  </a:lnTo>
                  <a:lnTo>
                    <a:pt x="65" y="609"/>
                  </a:lnTo>
                  <a:lnTo>
                    <a:pt x="64" y="613"/>
                  </a:lnTo>
                  <a:lnTo>
                    <a:pt x="63" y="618"/>
                  </a:lnTo>
                  <a:lnTo>
                    <a:pt x="65" y="640"/>
                  </a:lnTo>
                  <a:lnTo>
                    <a:pt x="62" y="644"/>
                  </a:lnTo>
                  <a:lnTo>
                    <a:pt x="57" y="642"/>
                  </a:lnTo>
                  <a:lnTo>
                    <a:pt x="28" y="622"/>
                  </a:lnTo>
                  <a:lnTo>
                    <a:pt x="23" y="602"/>
                  </a:lnTo>
                  <a:lnTo>
                    <a:pt x="11" y="575"/>
                  </a:lnTo>
                  <a:lnTo>
                    <a:pt x="3" y="552"/>
                  </a:lnTo>
                  <a:lnTo>
                    <a:pt x="0" y="538"/>
                  </a:lnTo>
                  <a:lnTo>
                    <a:pt x="0" y="532"/>
                  </a:lnTo>
                  <a:lnTo>
                    <a:pt x="12" y="512"/>
                  </a:lnTo>
                  <a:lnTo>
                    <a:pt x="16" y="506"/>
                  </a:lnTo>
                  <a:lnTo>
                    <a:pt x="16" y="506"/>
                  </a:lnTo>
                  <a:lnTo>
                    <a:pt x="16" y="506"/>
                  </a:lnTo>
                  <a:lnTo>
                    <a:pt x="16" y="506"/>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3" name="重庆">
              <a:extLst>
                <a:ext uri="{FF2B5EF4-FFF2-40B4-BE49-F238E27FC236}">
                  <a16:creationId xmlns:a16="http://schemas.microsoft.com/office/drawing/2014/main" id="{7F1DF96A-17BD-D204-A240-32826BF4C485}"/>
                </a:ext>
              </a:extLst>
            </p:cNvPr>
            <p:cNvSpPr>
              <a:spLocks/>
            </p:cNvSpPr>
            <p:nvPr/>
          </p:nvSpPr>
          <p:spPr bwMode="auto">
            <a:xfrm>
              <a:off x="5646739" y="4140201"/>
              <a:ext cx="747713" cy="725488"/>
            </a:xfrm>
            <a:custGeom>
              <a:avLst/>
              <a:gdLst>
                <a:gd name="T0" fmla="*/ 1290 w 1413"/>
                <a:gd name="T1" fmla="*/ 235 h 1372"/>
                <a:gd name="T2" fmla="*/ 1362 w 1413"/>
                <a:gd name="T3" fmla="*/ 262 h 1372"/>
                <a:gd name="T4" fmla="*/ 1397 w 1413"/>
                <a:gd name="T5" fmla="*/ 377 h 1372"/>
                <a:gd name="T6" fmla="*/ 1369 w 1413"/>
                <a:gd name="T7" fmla="*/ 454 h 1372"/>
                <a:gd name="T8" fmla="*/ 1242 w 1413"/>
                <a:gd name="T9" fmla="*/ 526 h 1372"/>
                <a:gd name="T10" fmla="*/ 1163 w 1413"/>
                <a:gd name="T11" fmla="*/ 528 h 1372"/>
                <a:gd name="T12" fmla="*/ 1106 w 1413"/>
                <a:gd name="T13" fmla="*/ 526 h 1372"/>
                <a:gd name="T14" fmla="*/ 989 w 1413"/>
                <a:gd name="T15" fmla="*/ 557 h 1372"/>
                <a:gd name="T16" fmla="*/ 918 w 1413"/>
                <a:gd name="T17" fmla="*/ 578 h 1372"/>
                <a:gd name="T18" fmla="*/ 935 w 1413"/>
                <a:gd name="T19" fmla="*/ 719 h 1372"/>
                <a:gd name="T20" fmla="*/ 898 w 1413"/>
                <a:gd name="T21" fmla="*/ 792 h 1372"/>
                <a:gd name="T22" fmla="*/ 910 w 1413"/>
                <a:gd name="T23" fmla="*/ 838 h 1372"/>
                <a:gd name="T24" fmla="*/ 965 w 1413"/>
                <a:gd name="T25" fmla="*/ 805 h 1372"/>
                <a:gd name="T26" fmla="*/ 994 w 1413"/>
                <a:gd name="T27" fmla="*/ 842 h 1372"/>
                <a:gd name="T28" fmla="*/ 1026 w 1413"/>
                <a:gd name="T29" fmla="*/ 895 h 1372"/>
                <a:gd name="T30" fmla="*/ 1043 w 1413"/>
                <a:gd name="T31" fmla="*/ 971 h 1372"/>
                <a:gd name="T32" fmla="*/ 1096 w 1413"/>
                <a:gd name="T33" fmla="*/ 986 h 1372"/>
                <a:gd name="T34" fmla="*/ 1144 w 1413"/>
                <a:gd name="T35" fmla="*/ 1062 h 1372"/>
                <a:gd name="T36" fmla="*/ 1151 w 1413"/>
                <a:gd name="T37" fmla="*/ 1175 h 1372"/>
                <a:gd name="T38" fmla="*/ 1149 w 1413"/>
                <a:gd name="T39" fmla="*/ 1218 h 1372"/>
                <a:gd name="T40" fmla="*/ 1117 w 1413"/>
                <a:gd name="T41" fmla="*/ 1278 h 1372"/>
                <a:gd name="T42" fmla="*/ 1072 w 1413"/>
                <a:gd name="T43" fmla="*/ 1359 h 1372"/>
                <a:gd name="T44" fmla="*/ 992 w 1413"/>
                <a:gd name="T45" fmla="*/ 1356 h 1372"/>
                <a:gd name="T46" fmla="*/ 996 w 1413"/>
                <a:gd name="T47" fmla="*/ 1274 h 1372"/>
                <a:gd name="T48" fmla="*/ 964 w 1413"/>
                <a:gd name="T49" fmla="*/ 1302 h 1372"/>
                <a:gd name="T50" fmla="*/ 945 w 1413"/>
                <a:gd name="T51" fmla="*/ 1284 h 1372"/>
                <a:gd name="T52" fmla="*/ 892 w 1413"/>
                <a:gd name="T53" fmla="*/ 1203 h 1372"/>
                <a:gd name="T54" fmla="*/ 866 w 1413"/>
                <a:gd name="T55" fmla="*/ 1063 h 1372"/>
                <a:gd name="T56" fmla="*/ 794 w 1413"/>
                <a:gd name="T57" fmla="*/ 1060 h 1372"/>
                <a:gd name="T58" fmla="*/ 727 w 1413"/>
                <a:gd name="T59" fmla="*/ 1079 h 1372"/>
                <a:gd name="T60" fmla="*/ 688 w 1413"/>
                <a:gd name="T61" fmla="*/ 1033 h 1372"/>
                <a:gd name="T62" fmla="*/ 617 w 1413"/>
                <a:gd name="T63" fmla="*/ 1014 h 1372"/>
                <a:gd name="T64" fmla="*/ 599 w 1413"/>
                <a:gd name="T65" fmla="*/ 1118 h 1372"/>
                <a:gd name="T66" fmla="*/ 488 w 1413"/>
                <a:gd name="T67" fmla="*/ 1130 h 1372"/>
                <a:gd name="T68" fmla="*/ 438 w 1413"/>
                <a:gd name="T69" fmla="*/ 1170 h 1372"/>
                <a:gd name="T70" fmla="*/ 405 w 1413"/>
                <a:gd name="T71" fmla="*/ 1211 h 1372"/>
                <a:gd name="T72" fmla="*/ 367 w 1413"/>
                <a:gd name="T73" fmla="*/ 1249 h 1372"/>
                <a:gd name="T74" fmla="*/ 379 w 1413"/>
                <a:gd name="T75" fmla="*/ 1194 h 1372"/>
                <a:gd name="T76" fmla="*/ 336 w 1413"/>
                <a:gd name="T77" fmla="*/ 1140 h 1372"/>
                <a:gd name="T78" fmla="*/ 331 w 1413"/>
                <a:gd name="T79" fmla="*/ 1210 h 1372"/>
                <a:gd name="T80" fmla="*/ 283 w 1413"/>
                <a:gd name="T81" fmla="*/ 1172 h 1372"/>
                <a:gd name="T82" fmla="*/ 193 w 1413"/>
                <a:gd name="T83" fmla="*/ 1076 h 1372"/>
                <a:gd name="T84" fmla="*/ 114 w 1413"/>
                <a:gd name="T85" fmla="*/ 987 h 1372"/>
                <a:gd name="T86" fmla="*/ 39 w 1413"/>
                <a:gd name="T87" fmla="*/ 947 h 1372"/>
                <a:gd name="T88" fmla="*/ 8 w 1413"/>
                <a:gd name="T89" fmla="*/ 854 h 1372"/>
                <a:gd name="T90" fmla="*/ 127 w 1413"/>
                <a:gd name="T91" fmla="*/ 778 h 1372"/>
                <a:gd name="T92" fmla="*/ 98 w 1413"/>
                <a:gd name="T93" fmla="*/ 684 h 1372"/>
                <a:gd name="T94" fmla="*/ 137 w 1413"/>
                <a:gd name="T95" fmla="*/ 612 h 1372"/>
                <a:gd name="T96" fmla="*/ 281 w 1413"/>
                <a:gd name="T97" fmla="*/ 660 h 1372"/>
                <a:gd name="T98" fmla="*/ 414 w 1413"/>
                <a:gd name="T99" fmla="*/ 708 h 1372"/>
                <a:gd name="T100" fmla="*/ 480 w 1413"/>
                <a:gd name="T101" fmla="*/ 722 h 1372"/>
                <a:gd name="T102" fmla="*/ 549 w 1413"/>
                <a:gd name="T103" fmla="*/ 681 h 1372"/>
                <a:gd name="T104" fmla="*/ 667 w 1413"/>
                <a:gd name="T105" fmla="*/ 448 h 1372"/>
                <a:gd name="T106" fmla="*/ 731 w 1413"/>
                <a:gd name="T107" fmla="*/ 474 h 1372"/>
                <a:gd name="T108" fmla="*/ 774 w 1413"/>
                <a:gd name="T109" fmla="*/ 412 h 1372"/>
                <a:gd name="T110" fmla="*/ 792 w 1413"/>
                <a:gd name="T111" fmla="*/ 339 h 1372"/>
                <a:gd name="T112" fmla="*/ 857 w 1413"/>
                <a:gd name="T113" fmla="*/ 255 h 1372"/>
                <a:gd name="T114" fmla="*/ 922 w 1413"/>
                <a:gd name="T115" fmla="*/ 202 h 1372"/>
                <a:gd name="T116" fmla="*/ 930 w 1413"/>
                <a:gd name="T117" fmla="*/ 147 h 1372"/>
                <a:gd name="T118" fmla="*/ 881 w 1413"/>
                <a:gd name="T119" fmla="*/ 70 h 1372"/>
                <a:gd name="T120" fmla="*/ 917 w 1413"/>
                <a:gd name="T121" fmla="*/ 35 h 1372"/>
                <a:gd name="T122" fmla="*/ 1008 w 1413"/>
                <a:gd name="T123" fmla="*/ 43 h 1372"/>
                <a:gd name="T124" fmla="*/ 1154 w 1413"/>
                <a:gd name="T125" fmla="*/ 157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3" h="1372">
                  <a:moveTo>
                    <a:pt x="1239" y="166"/>
                  </a:moveTo>
                  <a:lnTo>
                    <a:pt x="1241" y="170"/>
                  </a:lnTo>
                  <a:lnTo>
                    <a:pt x="1243" y="172"/>
                  </a:lnTo>
                  <a:lnTo>
                    <a:pt x="1271" y="176"/>
                  </a:lnTo>
                  <a:lnTo>
                    <a:pt x="1276" y="179"/>
                  </a:lnTo>
                  <a:lnTo>
                    <a:pt x="1280" y="184"/>
                  </a:lnTo>
                  <a:lnTo>
                    <a:pt x="1287" y="212"/>
                  </a:lnTo>
                  <a:lnTo>
                    <a:pt x="1287" y="219"/>
                  </a:lnTo>
                  <a:lnTo>
                    <a:pt x="1286" y="230"/>
                  </a:lnTo>
                  <a:lnTo>
                    <a:pt x="1287" y="235"/>
                  </a:lnTo>
                  <a:lnTo>
                    <a:pt x="1290" y="235"/>
                  </a:lnTo>
                  <a:lnTo>
                    <a:pt x="1308" y="234"/>
                  </a:lnTo>
                  <a:lnTo>
                    <a:pt x="1332" y="239"/>
                  </a:lnTo>
                  <a:lnTo>
                    <a:pt x="1346" y="236"/>
                  </a:lnTo>
                  <a:lnTo>
                    <a:pt x="1348" y="237"/>
                  </a:lnTo>
                  <a:lnTo>
                    <a:pt x="1350" y="239"/>
                  </a:lnTo>
                  <a:lnTo>
                    <a:pt x="1340" y="251"/>
                  </a:lnTo>
                  <a:lnTo>
                    <a:pt x="1340" y="252"/>
                  </a:lnTo>
                  <a:lnTo>
                    <a:pt x="1340" y="254"/>
                  </a:lnTo>
                  <a:lnTo>
                    <a:pt x="1343" y="256"/>
                  </a:lnTo>
                  <a:lnTo>
                    <a:pt x="1357" y="258"/>
                  </a:lnTo>
                  <a:lnTo>
                    <a:pt x="1362" y="262"/>
                  </a:lnTo>
                  <a:lnTo>
                    <a:pt x="1370" y="273"/>
                  </a:lnTo>
                  <a:lnTo>
                    <a:pt x="1377" y="276"/>
                  </a:lnTo>
                  <a:lnTo>
                    <a:pt x="1389" y="279"/>
                  </a:lnTo>
                  <a:lnTo>
                    <a:pt x="1394" y="284"/>
                  </a:lnTo>
                  <a:lnTo>
                    <a:pt x="1397" y="289"/>
                  </a:lnTo>
                  <a:lnTo>
                    <a:pt x="1403" y="310"/>
                  </a:lnTo>
                  <a:lnTo>
                    <a:pt x="1405" y="328"/>
                  </a:lnTo>
                  <a:lnTo>
                    <a:pt x="1412" y="353"/>
                  </a:lnTo>
                  <a:lnTo>
                    <a:pt x="1413" y="361"/>
                  </a:lnTo>
                  <a:lnTo>
                    <a:pt x="1412" y="364"/>
                  </a:lnTo>
                  <a:lnTo>
                    <a:pt x="1397" y="377"/>
                  </a:lnTo>
                  <a:lnTo>
                    <a:pt x="1394" y="385"/>
                  </a:lnTo>
                  <a:lnTo>
                    <a:pt x="1393" y="394"/>
                  </a:lnTo>
                  <a:lnTo>
                    <a:pt x="1398" y="431"/>
                  </a:lnTo>
                  <a:lnTo>
                    <a:pt x="1398" y="438"/>
                  </a:lnTo>
                  <a:lnTo>
                    <a:pt x="1394" y="453"/>
                  </a:lnTo>
                  <a:lnTo>
                    <a:pt x="1384" y="472"/>
                  </a:lnTo>
                  <a:lnTo>
                    <a:pt x="1382" y="473"/>
                  </a:lnTo>
                  <a:lnTo>
                    <a:pt x="1380" y="473"/>
                  </a:lnTo>
                  <a:lnTo>
                    <a:pt x="1374" y="469"/>
                  </a:lnTo>
                  <a:lnTo>
                    <a:pt x="1371" y="465"/>
                  </a:lnTo>
                  <a:lnTo>
                    <a:pt x="1369" y="454"/>
                  </a:lnTo>
                  <a:lnTo>
                    <a:pt x="1367" y="451"/>
                  </a:lnTo>
                  <a:lnTo>
                    <a:pt x="1350" y="451"/>
                  </a:lnTo>
                  <a:lnTo>
                    <a:pt x="1340" y="448"/>
                  </a:lnTo>
                  <a:lnTo>
                    <a:pt x="1330" y="448"/>
                  </a:lnTo>
                  <a:lnTo>
                    <a:pt x="1323" y="448"/>
                  </a:lnTo>
                  <a:lnTo>
                    <a:pt x="1319" y="449"/>
                  </a:lnTo>
                  <a:lnTo>
                    <a:pt x="1298" y="460"/>
                  </a:lnTo>
                  <a:lnTo>
                    <a:pt x="1265" y="489"/>
                  </a:lnTo>
                  <a:lnTo>
                    <a:pt x="1258" y="498"/>
                  </a:lnTo>
                  <a:lnTo>
                    <a:pt x="1248" y="519"/>
                  </a:lnTo>
                  <a:lnTo>
                    <a:pt x="1242" y="526"/>
                  </a:lnTo>
                  <a:lnTo>
                    <a:pt x="1236" y="521"/>
                  </a:lnTo>
                  <a:lnTo>
                    <a:pt x="1225" y="522"/>
                  </a:lnTo>
                  <a:lnTo>
                    <a:pt x="1222" y="523"/>
                  </a:lnTo>
                  <a:lnTo>
                    <a:pt x="1196" y="553"/>
                  </a:lnTo>
                  <a:lnTo>
                    <a:pt x="1178" y="578"/>
                  </a:lnTo>
                  <a:lnTo>
                    <a:pt x="1175" y="577"/>
                  </a:lnTo>
                  <a:lnTo>
                    <a:pt x="1171" y="574"/>
                  </a:lnTo>
                  <a:lnTo>
                    <a:pt x="1176" y="555"/>
                  </a:lnTo>
                  <a:lnTo>
                    <a:pt x="1168" y="541"/>
                  </a:lnTo>
                  <a:lnTo>
                    <a:pt x="1165" y="531"/>
                  </a:lnTo>
                  <a:lnTo>
                    <a:pt x="1163" y="528"/>
                  </a:lnTo>
                  <a:lnTo>
                    <a:pt x="1154" y="535"/>
                  </a:lnTo>
                  <a:lnTo>
                    <a:pt x="1126" y="561"/>
                  </a:lnTo>
                  <a:lnTo>
                    <a:pt x="1122" y="564"/>
                  </a:lnTo>
                  <a:lnTo>
                    <a:pt x="1116" y="565"/>
                  </a:lnTo>
                  <a:lnTo>
                    <a:pt x="1109" y="564"/>
                  </a:lnTo>
                  <a:lnTo>
                    <a:pt x="1106" y="562"/>
                  </a:lnTo>
                  <a:lnTo>
                    <a:pt x="1104" y="559"/>
                  </a:lnTo>
                  <a:lnTo>
                    <a:pt x="1100" y="547"/>
                  </a:lnTo>
                  <a:lnTo>
                    <a:pt x="1108" y="532"/>
                  </a:lnTo>
                  <a:lnTo>
                    <a:pt x="1109" y="529"/>
                  </a:lnTo>
                  <a:lnTo>
                    <a:pt x="1106" y="526"/>
                  </a:lnTo>
                  <a:lnTo>
                    <a:pt x="1098" y="525"/>
                  </a:lnTo>
                  <a:lnTo>
                    <a:pt x="1088" y="524"/>
                  </a:lnTo>
                  <a:lnTo>
                    <a:pt x="1075" y="526"/>
                  </a:lnTo>
                  <a:lnTo>
                    <a:pt x="1031" y="564"/>
                  </a:lnTo>
                  <a:lnTo>
                    <a:pt x="1021" y="568"/>
                  </a:lnTo>
                  <a:lnTo>
                    <a:pt x="1013" y="567"/>
                  </a:lnTo>
                  <a:lnTo>
                    <a:pt x="1000" y="574"/>
                  </a:lnTo>
                  <a:lnTo>
                    <a:pt x="997" y="574"/>
                  </a:lnTo>
                  <a:lnTo>
                    <a:pt x="995" y="572"/>
                  </a:lnTo>
                  <a:lnTo>
                    <a:pt x="992" y="561"/>
                  </a:lnTo>
                  <a:lnTo>
                    <a:pt x="989" y="557"/>
                  </a:lnTo>
                  <a:lnTo>
                    <a:pt x="983" y="553"/>
                  </a:lnTo>
                  <a:lnTo>
                    <a:pt x="978" y="552"/>
                  </a:lnTo>
                  <a:lnTo>
                    <a:pt x="974" y="554"/>
                  </a:lnTo>
                  <a:lnTo>
                    <a:pt x="971" y="560"/>
                  </a:lnTo>
                  <a:lnTo>
                    <a:pt x="961" y="586"/>
                  </a:lnTo>
                  <a:lnTo>
                    <a:pt x="956" y="593"/>
                  </a:lnTo>
                  <a:lnTo>
                    <a:pt x="952" y="596"/>
                  </a:lnTo>
                  <a:lnTo>
                    <a:pt x="949" y="595"/>
                  </a:lnTo>
                  <a:lnTo>
                    <a:pt x="940" y="586"/>
                  </a:lnTo>
                  <a:lnTo>
                    <a:pt x="937" y="584"/>
                  </a:lnTo>
                  <a:lnTo>
                    <a:pt x="918" y="578"/>
                  </a:lnTo>
                  <a:lnTo>
                    <a:pt x="914" y="579"/>
                  </a:lnTo>
                  <a:lnTo>
                    <a:pt x="912" y="584"/>
                  </a:lnTo>
                  <a:lnTo>
                    <a:pt x="902" y="621"/>
                  </a:lnTo>
                  <a:lnTo>
                    <a:pt x="904" y="626"/>
                  </a:lnTo>
                  <a:lnTo>
                    <a:pt x="925" y="643"/>
                  </a:lnTo>
                  <a:lnTo>
                    <a:pt x="933" y="652"/>
                  </a:lnTo>
                  <a:lnTo>
                    <a:pt x="938" y="661"/>
                  </a:lnTo>
                  <a:lnTo>
                    <a:pt x="941" y="674"/>
                  </a:lnTo>
                  <a:lnTo>
                    <a:pt x="940" y="693"/>
                  </a:lnTo>
                  <a:lnTo>
                    <a:pt x="937" y="709"/>
                  </a:lnTo>
                  <a:lnTo>
                    <a:pt x="935" y="719"/>
                  </a:lnTo>
                  <a:lnTo>
                    <a:pt x="930" y="728"/>
                  </a:lnTo>
                  <a:lnTo>
                    <a:pt x="934" y="735"/>
                  </a:lnTo>
                  <a:lnTo>
                    <a:pt x="933" y="781"/>
                  </a:lnTo>
                  <a:lnTo>
                    <a:pt x="932" y="788"/>
                  </a:lnTo>
                  <a:lnTo>
                    <a:pt x="931" y="788"/>
                  </a:lnTo>
                  <a:lnTo>
                    <a:pt x="926" y="782"/>
                  </a:lnTo>
                  <a:lnTo>
                    <a:pt x="924" y="781"/>
                  </a:lnTo>
                  <a:lnTo>
                    <a:pt x="922" y="783"/>
                  </a:lnTo>
                  <a:lnTo>
                    <a:pt x="919" y="790"/>
                  </a:lnTo>
                  <a:lnTo>
                    <a:pt x="917" y="793"/>
                  </a:lnTo>
                  <a:lnTo>
                    <a:pt x="898" y="792"/>
                  </a:lnTo>
                  <a:lnTo>
                    <a:pt x="894" y="795"/>
                  </a:lnTo>
                  <a:lnTo>
                    <a:pt x="892" y="800"/>
                  </a:lnTo>
                  <a:lnTo>
                    <a:pt x="892" y="806"/>
                  </a:lnTo>
                  <a:lnTo>
                    <a:pt x="895" y="811"/>
                  </a:lnTo>
                  <a:lnTo>
                    <a:pt x="896" y="811"/>
                  </a:lnTo>
                  <a:lnTo>
                    <a:pt x="900" y="808"/>
                  </a:lnTo>
                  <a:lnTo>
                    <a:pt x="907" y="818"/>
                  </a:lnTo>
                  <a:lnTo>
                    <a:pt x="911" y="823"/>
                  </a:lnTo>
                  <a:lnTo>
                    <a:pt x="911" y="827"/>
                  </a:lnTo>
                  <a:lnTo>
                    <a:pt x="909" y="834"/>
                  </a:lnTo>
                  <a:lnTo>
                    <a:pt x="910" y="838"/>
                  </a:lnTo>
                  <a:lnTo>
                    <a:pt x="913" y="842"/>
                  </a:lnTo>
                  <a:lnTo>
                    <a:pt x="923" y="845"/>
                  </a:lnTo>
                  <a:lnTo>
                    <a:pt x="926" y="846"/>
                  </a:lnTo>
                  <a:lnTo>
                    <a:pt x="930" y="844"/>
                  </a:lnTo>
                  <a:lnTo>
                    <a:pt x="933" y="837"/>
                  </a:lnTo>
                  <a:lnTo>
                    <a:pt x="937" y="823"/>
                  </a:lnTo>
                  <a:lnTo>
                    <a:pt x="943" y="813"/>
                  </a:lnTo>
                  <a:lnTo>
                    <a:pt x="954" y="797"/>
                  </a:lnTo>
                  <a:lnTo>
                    <a:pt x="956" y="795"/>
                  </a:lnTo>
                  <a:lnTo>
                    <a:pt x="960" y="797"/>
                  </a:lnTo>
                  <a:lnTo>
                    <a:pt x="965" y="805"/>
                  </a:lnTo>
                  <a:lnTo>
                    <a:pt x="971" y="817"/>
                  </a:lnTo>
                  <a:lnTo>
                    <a:pt x="974" y="826"/>
                  </a:lnTo>
                  <a:lnTo>
                    <a:pt x="978" y="845"/>
                  </a:lnTo>
                  <a:lnTo>
                    <a:pt x="983" y="855"/>
                  </a:lnTo>
                  <a:lnTo>
                    <a:pt x="990" y="861"/>
                  </a:lnTo>
                  <a:lnTo>
                    <a:pt x="994" y="862"/>
                  </a:lnTo>
                  <a:lnTo>
                    <a:pt x="996" y="859"/>
                  </a:lnTo>
                  <a:lnTo>
                    <a:pt x="995" y="854"/>
                  </a:lnTo>
                  <a:lnTo>
                    <a:pt x="991" y="846"/>
                  </a:lnTo>
                  <a:lnTo>
                    <a:pt x="990" y="843"/>
                  </a:lnTo>
                  <a:lnTo>
                    <a:pt x="994" y="842"/>
                  </a:lnTo>
                  <a:lnTo>
                    <a:pt x="1000" y="843"/>
                  </a:lnTo>
                  <a:lnTo>
                    <a:pt x="1002" y="845"/>
                  </a:lnTo>
                  <a:lnTo>
                    <a:pt x="1004" y="848"/>
                  </a:lnTo>
                  <a:lnTo>
                    <a:pt x="1007" y="864"/>
                  </a:lnTo>
                  <a:lnTo>
                    <a:pt x="1009" y="868"/>
                  </a:lnTo>
                  <a:lnTo>
                    <a:pt x="1013" y="869"/>
                  </a:lnTo>
                  <a:lnTo>
                    <a:pt x="1025" y="872"/>
                  </a:lnTo>
                  <a:lnTo>
                    <a:pt x="1031" y="878"/>
                  </a:lnTo>
                  <a:lnTo>
                    <a:pt x="1031" y="880"/>
                  </a:lnTo>
                  <a:lnTo>
                    <a:pt x="1025" y="892"/>
                  </a:lnTo>
                  <a:lnTo>
                    <a:pt x="1026" y="895"/>
                  </a:lnTo>
                  <a:lnTo>
                    <a:pt x="1033" y="900"/>
                  </a:lnTo>
                  <a:lnTo>
                    <a:pt x="1035" y="906"/>
                  </a:lnTo>
                  <a:lnTo>
                    <a:pt x="1035" y="913"/>
                  </a:lnTo>
                  <a:lnTo>
                    <a:pt x="1032" y="931"/>
                  </a:lnTo>
                  <a:lnTo>
                    <a:pt x="1032" y="939"/>
                  </a:lnTo>
                  <a:lnTo>
                    <a:pt x="1035" y="944"/>
                  </a:lnTo>
                  <a:lnTo>
                    <a:pt x="1043" y="949"/>
                  </a:lnTo>
                  <a:lnTo>
                    <a:pt x="1045" y="952"/>
                  </a:lnTo>
                  <a:lnTo>
                    <a:pt x="1041" y="966"/>
                  </a:lnTo>
                  <a:lnTo>
                    <a:pt x="1041" y="969"/>
                  </a:lnTo>
                  <a:lnTo>
                    <a:pt x="1043" y="971"/>
                  </a:lnTo>
                  <a:lnTo>
                    <a:pt x="1048" y="971"/>
                  </a:lnTo>
                  <a:lnTo>
                    <a:pt x="1055" y="969"/>
                  </a:lnTo>
                  <a:lnTo>
                    <a:pt x="1062" y="966"/>
                  </a:lnTo>
                  <a:lnTo>
                    <a:pt x="1068" y="967"/>
                  </a:lnTo>
                  <a:lnTo>
                    <a:pt x="1084" y="955"/>
                  </a:lnTo>
                  <a:lnTo>
                    <a:pt x="1087" y="955"/>
                  </a:lnTo>
                  <a:lnTo>
                    <a:pt x="1090" y="956"/>
                  </a:lnTo>
                  <a:lnTo>
                    <a:pt x="1094" y="961"/>
                  </a:lnTo>
                  <a:lnTo>
                    <a:pt x="1096" y="967"/>
                  </a:lnTo>
                  <a:lnTo>
                    <a:pt x="1095" y="981"/>
                  </a:lnTo>
                  <a:lnTo>
                    <a:pt x="1096" y="986"/>
                  </a:lnTo>
                  <a:lnTo>
                    <a:pt x="1102" y="992"/>
                  </a:lnTo>
                  <a:lnTo>
                    <a:pt x="1103" y="997"/>
                  </a:lnTo>
                  <a:lnTo>
                    <a:pt x="1104" y="1017"/>
                  </a:lnTo>
                  <a:lnTo>
                    <a:pt x="1105" y="1026"/>
                  </a:lnTo>
                  <a:lnTo>
                    <a:pt x="1108" y="1029"/>
                  </a:lnTo>
                  <a:lnTo>
                    <a:pt x="1126" y="1038"/>
                  </a:lnTo>
                  <a:lnTo>
                    <a:pt x="1132" y="1039"/>
                  </a:lnTo>
                  <a:lnTo>
                    <a:pt x="1132" y="1039"/>
                  </a:lnTo>
                  <a:lnTo>
                    <a:pt x="1134" y="1047"/>
                  </a:lnTo>
                  <a:lnTo>
                    <a:pt x="1136" y="1052"/>
                  </a:lnTo>
                  <a:lnTo>
                    <a:pt x="1144" y="1062"/>
                  </a:lnTo>
                  <a:lnTo>
                    <a:pt x="1154" y="1071"/>
                  </a:lnTo>
                  <a:lnTo>
                    <a:pt x="1158" y="1080"/>
                  </a:lnTo>
                  <a:lnTo>
                    <a:pt x="1157" y="1082"/>
                  </a:lnTo>
                  <a:lnTo>
                    <a:pt x="1145" y="1101"/>
                  </a:lnTo>
                  <a:lnTo>
                    <a:pt x="1140" y="1112"/>
                  </a:lnTo>
                  <a:lnTo>
                    <a:pt x="1136" y="1120"/>
                  </a:lnTo>
                  <a:lnTo>
                    <a:pt x="1135" y="1130"/>
                  </a:lnTo>
                  <a:lnTo>
                    <a:pt x="1136" y="1147"/>
                  </a:lnTo>
                  <a:lnTo>
                    <a:pt x="1140" y="1160"/>
                  </a:lnTo>
                  <a:lnTo>
                    <a:pt x="1144" y="1168"/>
                  </a:lnTo>
                  <a:lnTo>
                    <a:pt x="1151" y="1175"/>
                  </a:lnTo>
                  <a:lnTo>
                    <a:pt x="1153" y="1179"/>
                  </a:lnTo>
                  <a:lnTo>
                    <a:pt x="1149" y="1185"/>
                  </a:lnTo>
                  <a:lnTo>
                    <a:pt x="1141" y="1192"/>
                  </a:lnTo>
                  <a:lnTo>
                    <a:pt x="1140" y="1195"/>
                  </a:lnTo>
                  <a:lnTo>
                    <a:pt x="1140" y="1200"/>
                  </a:lnTo>
                  <a:lnTo>
                    <a:pt x="1139" y="1203"/>
                  </a:lnTo>
                  <a:lnTo>
                    <a:pt x="1126" y="1209"/>
                  </a:lnTo>
                  <a:lnTo>
                    <a:pt x="1123" y="1213"/>
                  </a:lnTo>
                  <a:lnTo>
                    <a:pt x="1124" y="1218"/>
                  </a:lnTo>
                  <a:lnTo>
                    <a:pt x="1126" y="1220"/>
                  </a:lnTo>
                  <a:lnTo>
                    <a:pt x="1149" y="1218"/>
                  </a:lnTo>
                  <a:lnTo>
                    <a:pt x="1156" y="1221"/>
                  </a:lnTo>
                  <a:lnTo>
                    <a:pt x="1159" y="1224"/>
                  </a:lnTo>
                  <a:lnTo>
                    <a:pt x="1159" y="1228"/>
                  </a:lnTo>
                  <a:lnTo>
                    <a:pt x="1150" y="1235"/>
                  </a:lnTo>
                  <a:lnTo>
                    <a:pt x="1147" y="1239"/>
                  </a:lnTo>
                  <a:lnTo>
                    <a:pt x="1144" y="1258"/>
                  </a:lnTo>
                  <a:lnTo>
                    <a:pt x="1141" y="1268"/>
                  </a:lnTo>
                  <a:lnTo>
                    <a:pt x="1141" y="1268"/>
                  </a:lnTo>
                  <a:lnTo>
                    <a:pt x="1132" y="1271"/>
                  </a:lnTo>
                  <a:lnTo>
                    <a:pt x="1124" y="1274"/>
                  </a:lnTo>
                  <a:lnTo>
                    <a:pt x="1117" y="1278"/>
                  </a:lnTo>
                  <a:lnTo>
                    <a:pt x="1113" y="1283"/>
                  </a:lnTo>
                  <a:lnTo>
                    <a:pt x="1109" y="1295"/>
                  </a:lnTo>
                  <a:lnTo>
                    <a:pt x="1103" y="1325"/>
                  </a:lnTo>
                  <a:lnTo>
                    <a:pt x="1091" y="1344"/>
                  </a:lnTo>
                  <a:lnTo>
                    <a:pt x="1091" y="1349"/>
                  </a:lnTo>
                  <a:lnTo>
                    <a:pt x="1095" y="1359"/>
                  </a:lnTo>
                  <a:lnTo>
                    <a:pt x="1094" y="1364"/>
                  </a:lnTo>
                  <a:lnTo>
                    <a:pt x="1092" y="1365"/>
                  </a:lnTo>
                  <a:lnTo>
                    <a:pt x="1089" y="1365"/>
                  </a:lnTo>
                  <a:lnTo>
                    <a:pt x="1079" y="1359"/>
                  </a:lnTo>
                  <a:lnTo>
                    <a:pt x="1072" y="1359"/>
                  </a:lnTo>
                  <a:lnTo>
                    <a:pt x="1069" y="1362"/>
                  </a:lnTo>
                  <a:lnTo>
                    <a:pt x="1066" y="1371"/>
                  </a:lnTo>
                  <a:lnTo>
                    <a:pt x="1058" y="1372"/>
                  </a:lnTo>
                  <a:lnTo>
                    <a:pt x="1053" y="1371"/>
                  </a:lnTo>
                  <a:lnTo>
                    <a:pt x="1049" y="1369"/>
                  </a:lnTo>
                  <a:lnTo>
                    <a:pt x="1035" y="1353"/>
                  </a:lnTo>
                  <a:lnTo>
                    <a:pt x="1022" y="1354"/>
                  </a:lnTo>
                  <a:lnTo>
                    <a:pt x="1006" y="1344"/>
                  </a:lnTo>
                  <a:lnTo>
                    <a:pt x="1003" y="1346"/>
                  </a:lnTo>
                  <a:lnTo>
                    <a:pt x="996" y="1355"/>
                  </a:lnTo>
                  <a:lnTo>
                    <a:pt x="992" y="1356"/>
                  </a:lnTo>
                  <a:lnTo>
                    <a:pt x="990" y="1354"/>
                  </a:lnTo>
                  <a:lnTo>
                    <a:pt x="988" y="1348"/>
                  </a:lnTo>
                  <a:lnTo>
                    <a:pt x="986" y="1339"/>
                  </a:lnTo>
                  <a:lnTo>
                    <a:pt x="985" y="1328"/>
                  </a:lnTo>
                  <a:lnTo>
                    <a:pt x="987" y="1322"/>
                  </a:lnTo>
                  <a:lnTo>
                    <a:pt x="997" y="1309"/>
                  </a:lnTo>
                  <a:lnTo>
                    <a:pt x="1001" y="1299"/>
                  </a:lnTo>
                  <a:lnTo>
                    <a:pt x="996" y="1295"/>
                  </a:lnTo>
                  <a:lnTo>
                    <a:pt x="995" y="1291"/>
                  </a:lnTo>
                  <a:lnTo>
                    <a:pt x="997" y="1279"/>
                  </a:lnTo>
                  <a:lnTo>
                    <a:pt x="996" y="1274"/>
                  </a:lnTo>
                  <a:lnTo>
                    <a:pt x="987" y="1264"/>
                  </a:lnTo>
                  <a:lnTo>
                    <a:pt x="983" y="1260"/>
                  </a:lnTo>
                  <a:lnTo>
                    <a:pt x="981" y="1259"/>
                  </a:lnTo>
                  <a:lnTo>
                    <a:pt x="981" y="1259"/>
                  </a:lnTo>
                  <a:lnTo>
                    <a:pt x="976" y="1257"/>
                  </a:lnTo>
                  <a:lnTo>
                    <a:pt x="971" y="1257"/>
                  </a:lnTo>
                  <a:lnTo>
                    <a:pt x="965" y="1264"/>
                  </a:lnTo>
                  <a:lnTo>
                    <a:pt x="961" y="1272"/>
                  </a:lnTo>
                  <a:lnTo>
                    <a:pt x="961" y="1276"/>
                  </a:lnTo>
                  <a:lnTo>
                    <a:pt x="968" y="1292"/>
                  </a:lnTo>
                  <a:lnTo>
                    <a:pt x="964" y="1302"/>
                  </a:lnTo>
                  <a:lnTo>
                    <a:pt x="964" y="1305"/>
                  </a:lnTo>
                  <a:lnTo>
                    <a:pt x="965" y="1310"/>
                  </a:lnTo>
                  <a:lnTo>
                    <a:pt x="965" y="1311"/>
                  </a:lnTo>
                  <a:lnTo>
                    <a:pt x="959" y="1313"/>
                  </a:lnTo>
                  <a:lnTo>
                    <a:pt x="949" y="1313"/>
                  </a:lnTo>
                  <a:lnTo>
                    <a:pt x="946" y="1310"/>
                  </a:lnTo>
                  <a:lnTo>
                    <a:pt x="942" y="1304"/>
                  </a:lnTo>
                  <a:lnTo>
                    <a:pt x="938" y="1298"/>
                  </a:lnTo>
                  <a:lnTo>
                    <a:pt x="938" y="1294"/>
                  </a:lnTo>
                  <a:lnTo>
                    <a:pt x="941" y="1289"/>
                  </a:lnTo>
                  <a:lnTo>
                    <a:pt x="945" y="1284"/>
                  </a:lnTo>
                  <a:lnTo>
                    <a:pt x="947" y="1278"/>
                  </a:lnTo>
                  <a:lnTo>
                    <a:pt x="942" y="1263"/>
                  </a:lnTo>
                  <a:lnTo>
                    <a:pt x="942" y="1248"/>
                  </a:lnTo>
                  <a:lnTo>
                    <a:pt x="947" y="1230"/>
                  </a:lnTo>
                  <a:lnTo>
                    <a:pt x="953" y="1218"/>
                  </a:lnTo>
                  <a:lnTo>
                    <a:pt x="953" y="1213"/>
                  </a:lnTo>
                  <a:lnTo>
                    <a:pt x="949" y="1207"/>
                  </a:lnTo>
                  <a:lnTo>
                    <a:pt x="943" y="1203"/>
                  </a:lnTo>
                  <a:lnTo>
                    <a:pt x="917" y="1210"/>
                  </a:lnTo>
                  <a:lnTo>
                    <a:pt x="909" y="1209"/>
                  </a:lnTo>
                  <a:lnTo>
                    <a:pt x="892" y="1203"/>
                  </a:lnTo>
                  <a:lnTo>
                    <a:pt x="887" y="1197"/>
                  </a:lnTo>
                  <a:lnTo>
                    <a:pt x="883" y="1193"/>
                  </a:lnTo>
                  <a:lnTo>
                    <a:pt x="881" y="1188"/>
                  </a:lnTo>
                  <a:lnTo>
                    <a:pt x="881" y="1182"/>
                  </a:lnTo>
                  <a:lnTo>
                    <a:pt x="884" y="1163"/>
                  </a:lnTo>
                  <a:lnTo>
                    <a:pt x="884" y="1157"/>
                  </a:lnTo>
                  <a:lnTo>
                    <a:pt x="878" y="1139"/>
                  </a:lnTo>
                  <a:lnTo>
                    <a:pt x="876" y="1119"/>
                  </a:lnTo>
                  <a:lnTo>
                    <a:pt x="868" y="1091"/>
                  </a:lnTo>
                  <a:lnTo>
                    <a:pt x="866" y="1076"/>
                  </a:lnTo>
                  <a:lnTo>
                    <a:pt x="866" y="1063"/>
                  </a:lnTo>
                  <a:lnTo>
                    <a:pt x="865" y="1060"/>
                  </a:lnTo>
                  <a:lnTo>
                    <a:pt x="862" y="1059"/>
                  </a:lnTo>
                  <a:lnTo>
                    <a:pt x="859" y="1060"/>
                  </a:lnTo>
                  <a:lnTo>
                    <a:pt x="850" y="1071"/>
                  </a:lnTo>
                  <a:lnTo>
                    <a:pt x="845" y="1074"/>
                  </a:lnTo>
                  <a:lnTo>
                    <a:pt x="842" y="1073"/>
                  </a:lnTo>
                  <a:lnTo>
                    <a:pt x="837" y="1068"/>
                  </a:lnTo>
                  <a:lnTo>
                    <a:pt x="833" y="1065"/>
                  </a:lnTo>
                  <a:lnTo>
                    <a:pt x="806" y="1057"/>
                  </a:lnTo>
                  <a:lnTo>
                    <a:pt x="803" y="1057"/>
                  </a:lnTo>
                  <a:lnTo>
                    <a:pt x="794" y="1060"/>
                  </a:lnTo>
                  <a:lnTo>
                    <a:pt x="782" y="1069"/>
                  </a:lnTo>
                  <a:lnTo>
                    <a:pt x="765" y="1071"/>
                  </a:lnTo>
                  <a:lnTo>
                    <a:pt x="758" y="1073"/>
                  </a:lnTo>
                  <a:lnTo>
                    <a:pt x="754" y="1076"/>
                  </a:lnTo>
                  <a:lnTo>
                    <a:pt x="750" y="1084"/>
                  </a:lnTo>
                  <a:lnTo>
                    <a:pt x="746" y="1088"/>
                  </a:lnTo>
                  <a:lnTo>
                    <a:pt x="743" y="1089"/>
                  </a:lnTo>
                  <a:lnTo>
                    <a:pt x="736" y="1088"/>
                  </a:lnTo>
                  <a:lnTo>
                    <a:pt x="730" y="1086"/>
                  </a:lnTo>
                  <a:lnTo>
                    <a:pt x="728" y="1084"/>
                  </a:lnTo>
                  <a:lnTo>
                    <a:pt x="727" y="1079"/>
                  </a:lnTo>
                  <a:lnTo>
                    <a:pt x="728" y="1068"/>
                  </a:lnTo>
                  <a:lnTo>
                    <a:pt x="721" y="1058"/>
                  </a:lnTo>
                  <a:lnTo>
                    <a:pt x="719" y="1049"/>
                  </a:lnTo>
                  <a:lnTo>
                    <a:pt x="719" y="1040"/>
                  </a:lnTo>
                  <a:lnTo>
                    <a:pt x="717" y="1035"/>
                  </a:lnTo>
                  <a:lnTo>
                    <a:pt x="713" y="1027"/>
                  </a:lnTo>
                  <a:lnTo>
                    <a:pt x="708" y="1020"/>
                  </a:lnTo>
                  <a:lnTo>
                    <a:pt x="703" y="1017"/>
                  </a:lnTo>
                  <a:lnTo>
                    <a:pt x="701" y="1017"/>
                  </a:lnTo>
                  <a:lnTo>
                    <a:pt x="690" y="1032"/>
                  </a:lnTo>
                  <a:lnTo>
                    <a:pt x="688" y="1033"/>
                  </a:lnTo>
                  <a:lnTo>
                    <a:pt x="683" y="1033"/>
                  </a:lnTo>
                  <a:lnTo>
                    <a:pt x="681" y="1032"/>
                  </a:lnTo>
                  <a:lnTo>
                    <a:pt x="676" y="1027"/>
                  </a:lnTo>
                  <a:lnTo>
                    <a:pt x="670" y="1027"/>
                  </a:lnTo>
                  <a:lnTo>
                    <a:pt x="665" y="1025"/>
                  </a:lnTo>
                  <a:lnTo>
                    <a:pt x="661" y="1012"/>
                  </a:lnTo>
                  <a:lnTo>
                    <a:pt x="659" y="1010"/>
                  </a:lnTo>
                  <a:lnTo>
                    <a:pt x="629" y="1019"/>
                  </a:lnTo>
                  <a:lnTo>
                    <a:pt x="626" y="1019"/>
                  </a:lnTo>
                  <a:lnTo>
                    <a:pt x="620" y="1014"/>
                  </a:lnTo>
                  <a:lnTo>
                    <a:pt x="617" y="1014"/>
                  </a:lnTo>
                  <a:lnTo>
                    <a:pt x="608" y="1035"/>
                  </a:lnTo>
                  <a:lnTo>
                    <a:pt x="605" y="1041"/>
                  </a:lnTo>
                  <a:lnTo>
                    <a:pt x="596" y="1048"/>
                  </a:lnTo>
                  <a:lnTo>
                    <a:pt x="594" y="1052"/>
                  </a:lnTo>
                  <a:lnTo>
                    <a:pt x="595" y="1055"/>
                  </a:lnTo>
                  <a:lnTo>
                    <a:pt x="604" y="1063"/>
                  </a:lnTo>
                  <a:lnTo>
                    <a:pt x="606" y="1085"/>
                  </a:lnTo>
                  <a:lnTo>
                    <a:pt x="611" y="1098"/>
                  </a:lnTo>
                  <a:lnTo>
                    <a:pt x="612" y="1102"/>
                  </a:lnTo>
                  <a:lnTo>
                    <a:pt x="606" y="1111"/>
                  </a:lnTo>
                  <a:lnTo>
                    <a:pt x="599" y="1118"/>
                  </a:lnTo>
                  <a:lnTo>
                    <a:pt x="582" y="1125"/>
                  </a:lnTo>
                  <a:lnTo>
                    <a:pt x="581" y="1138"/>
                  </a:lnTo>
                  <a:lnTo>
                    <a:pt x="560" y="1151"/>
                  </a:lnTo>
                  <a:lnTo>
                    <a:pt x="555" y="1152"/>
                  </a:lnTo>
                  <a:lnTo>
                    <a:pt x="552" y="1151"/>
                  </a:lnTo>
                  <a:lnTo>
                    <a:pt x="551" y="1148"/>
                  </a:lnTo>
                  <a:lnTo>
                    <a:pt x="550" y="1136"/>
                  </a:lnTo>
                  <a:lnTo>
                    <a:pt x="547" y="1131"/>
                  </a:lnTo>
                  <a:lnTo>
                    <a:pt x="528" y="1130"/>
                  </a:lnTo>
                  <a:lnTo>
                    <a:pt x="501" y="1129"/>
                  </a:lnTo>
                  <a:lnTo>
                    <a:pt x="488" y="1130"/>
                  </a:lnTo>
                  <a:lnTo>
                    <a:pt x="485" y="1132"/>
                  </a:lnTo>
                  <a:lnTo>
                    <a:pt x="483" y="1138"/>
                  </a:lnTo>
                  <a:lnTo>
                    <a:pt x="480" y="1151"/>
                  </a:lnTo>
                  <a:lnTo>
                    <a:pt x="479" y="1152"/>
                  </a:lnTo>
                  <a:lnTo>
                    <a:pt x="474" y="1153"/>
                  </a:lnTo>
                  <a:lnTo>
                    <a:pt x="466" y="1150"/>
                  </a:lnTo>
                  <a:lnTo>
                    <a:pt x="459" y="1150"/>
                  </a:lnTo>
                  <a:lnTo>
                    <a:pt x="427" y="1155"/>
                  </a:lnTo>
                  <a:lnTo>
                    <a:pt x="426" y="1157"/>
                  </a:lnTo>
                  <a:lnTo>
                    <a:pt x="426" y="1159"/>
                  </a:lnTo>
                  <a:lnTo>
                    <a:pt x="438" y="1170"/>
                  </a:lnTo>
                  <a:lnTo>
                    <a:pt x="443" y="1177"/>
                  </a:lnTo>
                  <a:lnTo>
                    <a:pt x="444" y="1183"/>
                  </a:lnTo>
                  <a:lnTo>
                    <a:pt x="442" y="1191"/>
                  </a:lnTo>
                  <a:lnTo>
                    <a:pt x="437" y="1205"/>
                  </a:lnTo>
                  <a:lnTo>
                    <a:pt x="433" y="1209"/>
                  </a:lnTo>
                  <a:lnTo>
                    <a:pt x="431" y="1211"/>
                  </a:lnTo>
                  <a:lnTo>
                    <a:pt x="427" y="1211"/>
                  </a:lnTo>
                  <a:lnTo>
                    <a:pt x="415" y="1204"/>
                  </a:lnTo>
                  <a:lnTo>
                    <a:pt x="410" y="1206"/>
                  </a:lnTo>
                  <a:lnTo>
                    <a:pt x="406" y="1210"/>
                  </a:lnTo>
                  <a:lnTo>
                    <a:pt x="405" y="1211"/>
                  </a:lnTo>
                  <a:lnTo>
                    <a:pt x="410" y="1226"/>
                  </a:lnTo>
                  <a:lnTo>
                    <a:pt x="409" y="1228"/>
                  </a:lnTo>
                  <a:lnTo>
                    <a:pt x="402" y="1229"/>
                  </a:lnTo>
                  <a:lnTo>
                    <a:pt x="400" y="1232"/>
                  </a:lnTo>
                  <a:lnTo>
                    <a:pt x="400" y="1236"/>
                  </a:lnTo>
                  <a:lnTo>
                    <a:pt x="403" y="1249"/>
                  </a:lnTo>
                  <a:lnTo>
                    <a:pt x="401" y="1251"/>
                  </a:lnTo>
                  <a:lnTo>
                    <a:pt x="397" y="1254"/>
                  </a:lnTo>
                  <a:lnTo>
                    <a:pt x="392" y="1254"/>
                  </a:lnTo>
                  <a:lnTo>
                    <a:pt x="384" y="1247"/>
                  </a:lnTo>
                  <a:lnTo>
                    <a:pt x="367" y="1249"/>
                  </a:lnTo>
                  <a:lnTo>
                    <a:pt x="363" y="1246"/>
                  </a:lnTo>
                  <a:lnTo>
                    <a:pt x="359" y="1241"/>
                  </a:lnTo>
                  <a:lnTo>
                    <a:pt x="358" y="1239"/>
                  </a:lnTo>
                  <a:lnTo>
                    <a:pt x="359" y="1236"/>
                  </a:lnTo>
                  <a:lnTo>
                    <a:pt x="364" y="1227"/>
                  </a:lnTo>
                  <a:lnTo>
                    <a:pt x="366" y="1222"/>
                  </a:lnTo>
                  <a:lnTo>
                    <a:pt x="363" y="1209"/>
                  </a:lnTo>
                  <a:lnTo>
                    <a:pt x="366" y="1206"/>
                  </a:lnTo>
                  <a:lnTo>
                    <a:pt x="374" y="1201"/>
                  </a:lnTo>
                  <a:lnTo>
                    <a:pt x="378" y="1199"/>
                  </a:lnTo>
                  <a:lnTo>
                    <a:pt x="379" y="1194"/>
                  </a:lnTo>
                  <a:lnTo>
                    <a:pt x="378" y="1188"/>
                  </a:lnTo>
                  <a:lnTo>
                    <a:pt x="376" y="1186"/>
                  </a:lnTo>
                  <a:lnTo>
                    <a:pt x="359" y="1177"/>
                  </a:lnTo>
                  <a:lnTo>
                    <a:pt x="357" y="1175"/>
                  </a:lnTo>
                  <a:lnTo>
                    <a:pt x="356" y="1173"/>
                  </a:lnTo>
                  <a:lnTo>
                    <a:pt x="357" y="1165"/>
                  </a:lnTo>
                  <a:lnTo>
                    <a:pt x="356" y="1158"/>
                  </a:lnTo>
                  <a:lnTo>
                    <a:pt x="338" y="1125"/>
                  </a:lnTo>
                  <a:lnTo>
                    <a:pt x="335" y="1122"/>
                  </a:lnTo>
                  <a:lnTo>
                    <a:pt x="331" y="1120"/>
                  </a:lnTo>
                  <a:lnTo>
                    <a:pt x="336" y="1140"/>
                  </a:lnTo>
                  <a:lnTo>
                    <a:pt x="339" y="1166"/>
                  </a:lnTo>
                  <a:lnTo>
                    <a:pt x="348" y="1181"/>
                  </a:lnTo>
                  <a:lnTo>
                    <a:pt x="345" y="1199"/>
                  </a:lnTo>
                  <a:lnTo>
                    <a:pt x="352" y="1205"/>
                  </a:lnTo>
                  <a:lnTo>
                    <a:pt x="353" y="1207"/>
                  </a:lnTo>
                  <a:lnTo>
                    <a:pt x="350" y="1212"/>
                  </a:lnTo>
                  <a:lnTo>
                    <a:pt x="347" y="1214"/>
                  </a:lnTo>
                  <a:lnTo>
                    <a:pt x="335" y="1204"/>
                  </a:lnTo>
                  <a:lnTo>
                    <a:pt x="333" y="1204"/>
                  </a:lnTo>
                  <a:lnTo>
                    <a:pt x="331" y="1206"/>
                  </a:lnTo>
                  <a:lnTo>
                    <a:pt x="331" y="1210"/>
                  </a:lnTo>
                  <a:lnTo>
                    <a:pt x="336" y="1221"/>
                  </a:lnTo>
                  <a:lnTo>
                    <a:pt x="336" y="1226"/>
                  </a:lnTo>
                  <a:lnTo>
                    <a:pt x="333" y="1225"/>
                  </a:lnTo>
                  <a:lnTo>
                    <a:pt x="323" y="1220"/>
                  </a:lnTo>
                  <a:lnTo>
                    <a:pt x="319" y="1220"/>
                  </a:lnTo>
                  <a:lnTo>
                    <a:pt x="313" y="1223"/>
                  </a:lnTo>
                  <a:lnTo>
                    <a:pt x="310" y="1229"/>
                  </a:lnTo>
                  <a:lnTo>
                    <a:pt x="310" y="1229"/>
                  </a:lnTo>
                  <a:lnTo>
                    <a:pt x="298" y="1214"/>
                  </a:lnTo>
                  <a:lnTo>
                    <a:pt x="293" y="1203"/>
                  </a:lnTo>
                  <a:lnTo>
                    <a:pt x="283" y="1172"/>
                  </a:lnTo>
                  <a:lnTo>
                    <a:pt x="273" y="1127"/>
                  </a:lnTo>
                  <a:lnTo>
                    <a:pt x="268" y="1113"/>
                  </a:lnTo>
                  <a:lnTo>
                    <a:pt x="259" y="1103"/>
                  </a:lnTo>
                  <a:lnTo>
                    <a:pt x="253" y="1100"/>
                  </a:lnTo>
                  <a:lnTo>
                    <a:pt x="243" y="1099"/>
                  </a:lnTo>
                  <a:lnTo>
                    <a:pt x="221" y="1098"/>
                  </a:lnTo>
                  <a:lnTo>
                    <a:pt x="214" y="1097"/>
                  </a:lnTo>
                  <a:lnTo>
                    <a:pt x="210" y="1093"/>
                  </a:lnTo>
                  <a:lnTo>
                    <a:pt x="206" y="1085"/>
                  </a:lnTo>
                  <a:lnTo>
                    <a:pt x="202" y="1081"/>
                  </a:lnTo>
                  <a:lnTo>
                    <a:pt x="193" y="1076"/>
                  </a:lnTo>
                  <a:lnTo>
                    <a:pt x="183" y="1071"/>
                  </a:lnTo>
                  <a:lnTo>
                    <a:pt x="175" y="1070"/>
                  </a:lnTo>
                  <a:lnTo>
                    <a:pt x="149" y="1079"/>
                  </a:lnTo>
                  <a:lnTo>
                    <a:pt x="134" y="1074"/>
                  </a:lnTo>
                  <a:lnTo>
                    <a:pt x="120" y="1067"/>
                  </a:lnTo>
                  <a:lnTo>
                    <a:pt x="119" y="1065"/>
                  </a:lnTo>
                  <a:lnTo>
                    <a:pt x="119" y="1062"/>
                  </a:lnTo>
                  <a:lnTo>
                    <a:pt x="123" y="1041"/>
                  </a:lnTo>
                  <a:lnTo>
                    <a:pt x="123" y="1014"/>
                  </a:lnTo>
                  <a:lnTo>
                    <a:pt x="121" y="1006"/>
                  </a:lnTo>
                  <a:lnTo>
                    <a:pt x="114" y="987"/>
                  </a:lnTo>
                  <a:lnTo>
                    <a:pt x="109" y="975"/>
                  </a:lnTo>
                  <a:lnTo>
                    <a:pt x="115" y="954"/>
                  </a:lnTo>
                  <a:lnTo>
                    <a:pt x="112" y="953"/>
                  </a:lnTo>
                  <a:lnTo>
                    <a:pt x="106" y="953"/>
                  </a:lnTo>
                  <a:lnTo>
                    <a:pt x="90" y="958"/>
                  </a:lnTo>
                  <a:lnTo>
                    <a:pt x="79" y="959"/>
                  </a:lnTo>
                  <a:lnTo>
                    <a:pt x="55" y="958"/>
                  </a:lnTo>
                  <a:lnTo>
                    <a:pt x="48" y="957"/>
                  </a:lnTo>
                  <a:lnTo>
                    <a:pt x="44" y="955"/>
                  </a:lnTo>
                  <a:lnTo>
                    <a:pt x="40" y="951"/>
                  </a:lnTo>
                  <a:lnTo>
                    <a:pt x="39" y="947"/>
                  </a:lnTo>
                  <a:lnTo>
                    <a:pt x="42" y="931"/>
                  </a:lnTo>
                  <a:lnTo>
                    <a:pt x="42" y="924"/>
                  </a:lnTo>
                  <a:lnTo>
                    <a:pt x="40" y="919"/>
                  </a:lnTo>
                  <a:lnTo>
                    <a:pt x="36" y="915"/>
                  </a:lnTo>
                  <a:lnTo>
                    <a:pt x="16" y="902"/>
                  </a:lnTo>
                  <a:lnTo>
                    <a:pt x="12" y="899"/>
                  </a:lnTo>
                  <a:lnTo>
                    <a:pt x="8" y="889"/>
                  </a:lnTo>
                  <a:lnTo>
                    <a:pt x="5" y="878"/>
                  </a:lnTo>
                  <a:lnTo>
                    <a:pt x="0" y="863"/>
                  </a:lnTo>
                  <a:lnTo>
                    <a:pt x="1" y="858"/>
                  </a:lnTo>
                  <a:lnTo>
                    <a:pt x="8" y="854"/>
                  </a:lnTo>
                  <a:lnTo>
                    <a:pt x="13" y="851"/>
                  </a:lnTo>
                  <a:lnTo>
                    <a:pt x="17" y="846"/>
                  </a:lnTo>
                  <a:lnTo>
                    <a:pt x="19" y="842"/>
                  </a:lnTo>
                  <a:lnTo>
                    <a:pt x="22" y="840"/>
                  </a:lnTo>
                  <a:lnTo>
                    <a:pt x="69" y="815"/>
                  </a:lnTo>
                  <a:lnTo>
                    <a:pt x="80" y="808"/>
                  </a:lnTo>
                  <a:lnTo>
                    <a:pt x="87" y="801"/>
                  </a:lnTo>
                  <a:lnTo>
                    <a:pt x="93" y="787"/>
                  </a:lnTo>
                  <a:lnTo>
                    <a:pt x="99" y="779"/>
                  </a:lnTo>
                  <a:lnTo>
                    <a:pt x="104" y="778"/>
                  </a:lnTo>
                  <a:lnTo>
                    <a:pt x="127" y="778"/>
                  </a:lnTo>
                  <a:lnTo>
                    <a:pt x="134" y="770"/>
                  </a:lnTo>
                  <a:lnTo>
                    <a:pt x="141" y="747"/>
                  </a:lnTo>
                  <a:lnTo>
                    <a:pt x="147" y="738"/>
                  </a:lnTo>
                  <a:lnTo>
                    <a:pt x="157" y="724"/>
                  </a:lnTo>
                  <a:lnTo>
                    <a:pt x="157" y="721"/>
                  </a:lnTo>
                  <a:lnTo>
                    <a:pt x="153" y="717"/>
                  </a:lnTo>
                  <a:lnTo>
                    <a:pt x="126" y="708"/>
                  </a:lnTo>
                  <a:lnTo>
                    <a:pt x="119" y="704"/>
                  </a:lnTo>
                  <a:lnTo>
                    <a:pt x="109" y="698"/>
                  </a:lnTo>
                  <a:lnTo>
                    <a:pt x="99" y="689"/>
                  </a:lnTo>
                  <a:lnTo>
                    <a:pt x="98" y="684"/>
                  </a:lnTo>
                  <a:lnTo>
                    <a:pt x="97" y="679"/>
                  </a:lnTo>
                  <a:lnTo>
                    <a:pt x="99" y="673"/>
                  </a:lnTo>
                  <a:lnTo>
                    <a:pt x="102" y="669"/>
                  </a:lnTo>
                  <a:lnTo>
                    <a:pt x="106" y="668"/>
                  </a:lnTo>
                  <a:lnTo>
                    <a:pt x="114" y="667"/>
                  </a:lnTo>
                  <a:lnTo>
                    <a:pt x="116" y="665"/>
                  </a:lnTo>
                  <a:lnTo>
                    <a:pt x="125" y="649"/>
                  </a:lnTo>
                  <a:lnTo>
                    <a:pt x="134" y="640"/>
                  </a:lnTo>
                  <a:lnTo>
                    <a:pt x="137" y="635"/>
                  </a:lnTo>
                  <a:lnTo>
                    <a:pt x="136" y="621"/>
                  </a:lnTo>
                  <a:lnTo>
                    <a:pt x="137" y="612"/>
                  </a:lnTo>
                  <a:lnTo>
                    <a:pt x="147" y="600"/>
                  </a:lnTo>
                  <a:lnTo>
                    <a:pt x="150" y="596"/>
                  </a:lnTo>
                  <a:lnTo>
                    <a:pt x="153" y="595"/>
                  </a:lnTo>
                  <a:lnTo>
                    <a:pt x="158" y="595"/>
                  </a:lnTo>
                  <a:lnTo>
                    <a:pt x="167" y="596"/>
                  </a:lnTo>
                  <a:lnTo>
                    <a:pt x="212" y="610"/>
                  </a:lnTo>
                  <a:lnTo>
                    <a:pt x="228" y="616"/>
                  </a:lnTo>
                  <a:lnTo>
                    <a:pt x="240" y="625"/>
                  </a:lnTo>
                  <a:lnTo>
                    <a:pt x="264" y="638"/>
                  </a:lnTo>
                  <a:lnTo>
                    <a:pt x="277" y="656"/>
                  </a:lnTo>
                  <a:lnTo>
                    <a:pt x="281" y="660"/>
                  </a:lnTo>
                  <a:lnTo>
                    <a:pt x="288" y="663"/>
                  </a:lnTo>
                  <a:lnTo>
                    <a:pt x="303" y="658"/>
                  </a:lnTo>
                  <a:lnTo>
                    <a:pt x="334" y="642"/>
                  </a:lnTo>
                  <a:lnTo>
                    <a:pt x="346" y="638"/>
                  </a:lnTo>
                  <a:lnTo>
                    <a:pt x="367" y="626"/>
                  </a:lnTo>
                  <a:lnTo>
                    <a:pt x="372" y="626"/>
                  </a:lnTo>
                  <a:lnTo>
                    <a:pt x="375" y="628"/>
                  </a:lnTo>
                  <a:lnTo>
                    <a:pt x="379" y="632"/>
                  </a:lnTo>
                  <a:lnTo>
                    <a:pt x="387" y="644"/>
                  </a:lnTo>
                  <a:lnTo>
                    <a:pt x="404" y="687"/>
                  </a:lnTo>
                  <a:lnTo>
                    <a:pt x="414" y="708"/>
                  </a:lnTo>
                  <a:lnTo>
                    <a:pt x="423" y="719"/>
                  </a:lnTo>
                  <a:lnTo>
                    <a:pt x="431" y="726"/>
                  </a:lnTo>
                  <a:lnTo>
                    <a:pt x="437" y="728"/>
                  </a:lnTo>
                  <a:lnTo>
                    <a:pt x="445" y="728"/>
                  </a:lnTo>
                  <a:lnTo>
                    <a:pt x="451" y="726"/>
                  </a:lnTo>
                  <a:lnTo>
                    <a:pt x="459" y="721"/>
                  </a:lnTo>
                  <a:lnTo>
                    <a:pt x="463" y="720"/>
                  </a:lnTo>
                  <a:lnTo>
                    <a:pt x="466" y="721"/>
                  </a:lnTo>
                  <a:lnTo>
                    <a:pt x="473" y="724"/>
                  </a:lnTo>
                  <a:lnTo>
                    <a:pt x="477" y="724"/>
                  </a:lnTo>
                  <a:lnTo>
                    <a:pt x="480" y="722"/>
                  </a:lnTo>
                  <a:lnTo>
                    <a:pt x="488" y="715"/>
                  </a:lnTo>
                  <a:lnTo>
                    <a:pt x="491" y="714"/>
                  </a:lnTo>
                  <a:lnTo>
                    <a:pt x="493" y="715"/>
                  </a:lnTo>
                  <a:lnTo>
                    <a:pt x="496" y="721"/>
                  </a:lnTo>
                  <a:lnTo>
                    <a:pt x="498" y="724"/>
                  </a:lnTo>
                  <a:lnTo>
                    <a:pt x="505" y="728"/>
                  </a:lnTo>
                  <a:lnTo>
                    <a:pt x="508" y="728"/>
                  </a:lnTo>
                  <a:lnTo>
                    <a:pt x="514" y="723"/>
                  </a:lnTo>
                  <a:lnTo>
                    <a:pt x="520" y="722"/>
                  </a:lnTo>
                  <a:lnTo>
                    <a:pt x="522" y="711"/>
                  </a:lnTo>
                  <a:lnTo>
                    <a:pt x="549" y="681"/>
                  </a:lnTo>
                  <a:lnTo>
                    <a:pt x="610" y="584"/>
                  </a:lnTo>
                  <a:lnTo>
                    <a:pt x="649" y="532"/>
                  </a:lnTo>
                  <a:lnTo>
                    <a:pt x="650" y="526"/>
                  </a:lnTo>
                  <a:lnTo>
                    <a:pt x="650" y="520"/>
                  </a:lnTo>
                  <a:lnTo>
                    <a:pt x="648" y="513"/>
                  </a:lnTo>
                  <a:lnTo>
                    <a:pt x="643" y="501"/>
                  </a:lnTo>
                  <a:lnTo>
                    <a:pt x="642" y="489"/>
                  </a:lnTo>
                  <a:lnTo>
                    <a:pt x="656" y="464"/>
                  </a:lnTo>
                  <a:lnTo>
                    <a:pt x="661" y="452"/>
                  </a:lnTo>
                  <a:lnTo>
                    <a:pt x="663" y="449"/>
                  </a:lnTo>
                  <a:lnTo>
                    <a:pt x="667" y="448"/>
                  </a:lnTo>
                  <a:lnTo>
                    <a:pt x="676" y="448"/>
                  </a:lnTo>
                  <a:lnTo>
                    <a:pt x="682" y="460"/>
                  </a:lnTo>
                  <a:lnTo>
                    <a:pt x="685" y="463"/>
                  </a:lnTo>
                  <a:lnTo>
                    <a:pt x="689" y="460"/>
                  </a:lnTo>
                  <a:lnTo>
                    <a:pt x="695" y="452"/>
                  </a:lnTo>
                  <a:lnTo>
                    <a:pt x="699" y="449"/>
                  </a:lnTo>
                  <a:lnTo>
                    <a:pt x="703" y="447"/>
                  </a:lnTo>
                  <a:lnTo>
                    <a:pt x="709" y="447"/>
                  </a:lnTo>
                  <a:lnTo>
                    <a:pt x="714" y="451"/>
                  </a:lnTo>
                  <a:lnTo>
                    <a:pt x="722" y="465"/>
                  </a:lnTo>
                  <a:lnTo>
                    <a:pt x="731" y="474"/>
                  </a:lnTo>
                  <a:lnTo>
                    <a:pt x="736" y="478"/>
                  </a:lnTo>
                  <a:lnTo>
                    <a:pt x="744" y="481"/>
                  </a:lnTo>
                  <a:lnTo>
                    <a:pt x="748" y="481"/>
                  </a:lnTo>
                  <a:lnTo>
                    <a:pt x="761" y="470"/>
                  </a:lnTo>
                  <a:lnTo>
                    <a:pt x="784" y="445"/>
                  </a:lnTo>
                  <a:lnTo>
                    <a:pt x="783" y="440"/>
                  </a:lnTo>
                  <a:lnTo>
                    <a:pt x="775" y="437"/>
                  </a:lnTo>
                  <a:lnTo>
                    <a:pt x="772" y="435"/>
                  </a:lnTo>
                  <a:lnTo>
                    <a:pt x="770" y="426"/>
                  </a:lnTo>
                  <a:lnTo>
                    <a:pt x="771" y="417"/>
                  </a:lnTo>
                  <a:lnTo>
                    <a:pt x="774" y="412"/>
                  </a:lnTo>
                  <a:lnTo>
                    <a:pt x="787" y="406"/>
                  </a:lnTo>
                  <a:lnTo>
                    <a:pt x="790" y="396"/>
                  </a:lnTo>
                  <a:lnTo>
                    <a:pt x="801" y="389"/>
                  </a:lnTo>
                  <a:lnTo>
                    <a:pt x="800" y="385"/>
                  </a:lnTo>
                  <a:lnTo>
                    <a:pt x="792" y="378"/>
                  </a:lnTo>
                  <a:lnTo>
                    <a:pt x="791" y="374"/>
                  </a:lnTo>
                  <a:lnTo>
                    <a:pt x="804" y="360"/>
                  </a:lnTo>
                  <a:lnTo>
                    <a:pt x="814" y="345"/>
                  </a:lnTo>
                  <a:lnTo>
                    <a:pt x="812" y="343"/>
                  </a:lnTo>
                  <a:lnTo>
                    <a:pt x="811" y="342"/>
                  </a:lnTo>
                  <a:lnTo>
                    <a:pt x="792" y="339"/>
                  </a:lnTo>
                  <a:lnTo>
                    <a:pt x="792" y="338"/>
                  </a:lnTo>
                  <a:lnTo>
                    <a:pt x="792" y="337"/>
                  </a:lnTo>
                  <a:lnTo>
                    <a:pt x="797" y="330"/>
                  </a:lnTo>
                  <a:lnTo>
                    <a:pt x="832" y="299"/>
                  </a:lnTo>
                  <a:lnTo>
                    <a:pt x="840" y="289"/>
                  </a:lnTo>
                  <a:lnTo>
                    <a:pt x="842" y="284"/>
                  </a:lnTo>
                  <a:lnTo>
                    <a:pt x="842" y="275"/>
                  </a:lnTo>
                  <a:lnTo>
                    <a:pt x="843" y="271"/>
                  </a:lnTo>
                  <a:lnTo>
                    <a:pt x="846" y="267"/>
                  </a:lnTo>
                  <a:lnTo>
                    <a:pt x="855" y="259"/>
                  </a:lnTo>
                  <a:lnTo>
                    <a:pt x="857" y="255"/>
                  </a:lnTo>
                  <a:lnTo>
                    <a:pt x="858" y="249"/>
                  </a:lnTo>
                  <a:lnTo>
                    <a:pt x="852" y="241"/>
                  </a:lnTo>
                  <a:lnTo>
                    <a:pt x="853" y="237"/>
                  </a:lnTo>
                  <a:lnTo>
                    <a:pt x="856" y="234"/>
                  </a:lnTo>
                  <a:lnTo>
                    <a:pt x="862" y="231"/>
                  </a:lnTo>
                  <a:lnTo>
                    <a:pt x="891" y="233"/>
                  </a:lnTo>
                  <a:lnTo>
                    <a:pt x="894" y="230"/>
                  </a:lnTo>
                  <a:lnTo>
                    <a:pt x="897" y="225"/>
                  </a:lnTo>
                  <a:lnTo>
                    <a:pt x="898" y="215"/>
                  </a:lnTo>
                  <a:lnTo>
                    <a:pt x="900" y="212"/>
                  </a:lnTo>
                  <a:lnTo>
                    <a:pt x="922" y="202"/>
                  </a:lnTo>
                  <a:lnTo>
                    <a:pt x="937" y="198"/>
                  </a:lnTo>
                  <a:lnTo>
                    <a:pt x="952" y="188"/>
                  </a:lnTo>
                  <a:lnTo>
                    <a:pt x="952" y="187"/>
                  </a:lnTo>
                  <a:lnTo>
                    <a:pt x="944" y="177"/>
                  </a:lnTo>
                  <a:lnTo>
                    <a:pt x="942" y="171"/>
                  </a:lnTo>
                  <a:lnTo>
                    <a:pt x="943" y="167"/>
                  </a:lnTo>
                  <a:lnTo>
                    <a:pt x="948" y="158"/>
                  </a:lnTo>
                  <a:lnTo>
                    <a:pt x="948" y="151"/>
                  </a:lnTo>
                  <a:lnTo>
                    <a:pt x="945" y="149"/>
                  </a:lnTo>
                  <a:lnTo>
                    <a:pt x="934" y="148"/>
                  </a:lnTo>
                  <a:lnTo>
                    <a:pt x="930" y="147"/>
                  </a:lnTo>
                  <a:lnTo>
                    <a:pt x="922" y="135"/>
                  </a:lnTo>
                  <a:lnTo>
                    <a:pt x="905" y="121"/>
                  </a:lnTo>
                  <a:lnTo>
                    <a:pt x="894" y="114"/>
                  </a:lnTo>
                  <a:lnTo>
                    <a:pt x="889" y="107"/>
                  </a:lnTo>
                  <a:lnTo>
                    <a:pt x="881" y="96"/>
                  </a:lnTo>
                  <a:lnTo>
                    <a:pt x="874" y="81"/>
                  </a:lnTo>
                  <a:lnTo>
                    <a:pt x="873" y="77"/>
                  </a:lnTo>
                  <a:lnTo>
                    <a:pt x="874" y="69"/>
                  </a:lnTo>
                  <a:lnTo>
                    <a:pt x="875" y="68"/>
                  </a:lnTo>
                  <a:lnTo>
                    <a:pt x="876" y="68"/>
                  </a:lnTo>
                  <a:lnTo>
                    <a:pt x="881" y="70"/>
                  </a:lnTo>
                  <a:lnTo>
                    <a:pt x="896" y="80"/>
                  </a:lnTo>
                  <a:lnTo>
                    <a:pt x="900" y="81"/>
                  </a:lnTo>
                  <a:lnTo>
                    <a:pt x="902" y="80"/>
                  </a:lnTo>
                  <a:lnTo>
                    <a:pt x="904" y="77"/>
                  </a:lnTo>
                  <a:lnTo>
                    <a:pt x="896" y="60"/>
                  </a:lnTo>
                  <a:lnTo>
                    <a:pt x="899" y="51"/>
                  </a:lnTo>
                  <a:lnTo>
                    <a:pt x="910" y="53"/>
                  </a:lnTo>
                  <a:lnTo>
                    <a:pt x="918" y="50"/>
                  </a:lnTo>
                  <a:lnTo>
                    <a:pt x="920" y="49"/>
                  </a:lnTo>
                  <a:lnTo>
                    <a:pt x="920" y="46"/>
                  </a:lnTo>
                  <a:lnTo>
                    <a:pt x="917" y="35"/>
                  </a:lnTo>
                  <a:lnTo>
                    <a:pt x="918" y="29"/>
                  </a:lnTo>
                  <a:lnTo>
                    <a:pt x="914" y="24"/>
                  </a:lnTo>
                  <a:lnTo>
                    <a:pt x="905" y="17"/>
                  </a:lnTo>
                  <a:lnTo>
                    <a:pt x="904" y="14"/>
                  </a:lnTo>
                  <a:lnTo>
                    <a:pt x="911" y="9"/>
                  </a:lnTo>
                  <a:lnTo>
                    <a:pt x="932" y="6"/>
                  </a:lnTo>
                  <a:lnTo>
                    <a:pt x="947" y="0"/>
                  </a:lnTo>
                  <a:lnTo>
                    <a:pt x="947" y="0"/>
                  </a:lnTo>
                  <a:lnTo>
                    <a:pt x="980" y="36"/>
                  </a:lnTo>
                  <a:lnTo>
                    <a:pt x="1004" y="40"/>
                  </a:lnTo>
                  <a:lnTo>
                    <a:pt x="1008" y="43"/>
                  </a:lnTo>
                  <a:lnTo>
                    <a:pt x="1015" y="57"/>
                  </a:lnTo>
                  <a:lnTo>
                    <a:pt x="1043" y="63"/>
                  </a:lnTo>
                  <a:lnTo>
                    <a:pt x="1051" y="67"/>
                  </a:lnTo>
                  <a:lnTo>
                    <a:pt x="1060" y="75"/>
                  </a:lnTo>
                  <a:lnTo>
                    <a:pt x="1073" y="79"/>
                  </a:lnTo>
                  <a:lnTo>
                    <a:pt x="1080" y="83"/>
                  </a:lnTo>
                  <a:lnTo>
                    <a:pt x="1133" y="124"/>
                  </a:lnTo>
                  <a:lnTo>
                    <a:pt x="1139" y="134"/>
                  </a:lnTo>
                  <a:lnTo>
                    <a:pt x="1159" y="142"/>
                  </a:lnTo>
                  <a:lnTo>
                    <a:pt x="1161" y="145"/>
                  </a:lnTo>
                  <a:lnTo>
                    <a:pt x="1154" y="157"/>
                  </a:lnTo>
                  <a:lnTo>
                    <a:pt x="1159" y="166"/>
                  </a:lnTo>
                  <a:lnTo>
                    <a:pt x="1163" y="173"/>
                  </a:lnTo>
                  <a:lnTo>
                    <a:pt x="1175" y="176"/>
                  </a:lnTo>
                  <a:lnTo>
                    <a:pt x="1210" y="169"/>
                  </a:lnTo>
                  <a:lnTo>
                    <a:pt x="1239" y="166"/>
                  </a:lnTo>
                  <a:lnTo>
                    <a:pt x="1239" y="166"/>
                  </a:lnTo>
                  <a:lnTo>
                    <a:pt x="1239" y="166"/>
                  </a:lnTo>
                  <a:lnTo>
                    <a:pt x="1239" y="166"/>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4" name="江西">
              <a:extLst>
                <a:ext uri="{FF2B5EF4-FFF2-40B4-BE49-F238E27FC236}">
                  <a16:creationId xmlns:a16="http://schemas.microsoft.com/office/drawing/2014/main" id="{403937FF-7677-688F-D4A8-DA8C7B43FF1F}"/>
                </a:ext>
              </a:extLst>
            </p:cNvPr>
            <p:cNvSpPr>
              <a:spLocks/>
            </p:cNvSpPr>
            <p:nvPr/>
          </p:nvSpPr>
          <p:spPr bwMode="auto">
            <a:xfrm>
              <a:off x="6923088" y="4492626"/>
              <a:ext cx="744538" cy="1004888"/>
            </a:xfrm>
            <a:custGeom>
              <a:avLst/>
              <a:gdLst>
                <a:gd name="T0" fmla="*/ 436 w 1408"/>
                <a:gd name="T1" fmla="*/ 189 h 1899"/>
                <a:gd name="T2" fmla="*/ 424 w 1408"/>
                <a:gd name="T3" fmla="*/ 157 h 1899"/>
                <a:gd name="T4" fmla="*/ 525 w 1408"/>
                <a:gd name="T5" fmla="*/ 99 h 1899"/>
                <a:gd name="T6" fmla="*/ 702 w 1408"/>
                <a:gd name="T7" fmla="*/ 90 h 1899"/>
                <a:gd name="T8" fmla="*/ 796 w 1408"/>
                <a:gd name="T9" fmla="*/ 62 h 1899"/>
                <a:gd name="T10" fmla="*/ 880 w 1408"/>
                <a:gd name="T11" fmla="*/ 10 h 1899"/>
                <a:gd name="T12" fmla="*/ 903 w 1408"/>
                <a:gd name="T13" fmla="*/ 57 h 1899"/>
                <a:gd name="T14" fmla="*/ 849 w 1408"/>
                <a:gd name="T15" fmla="*/ 144 h 1899"/>
                <a:gd name="T16" fmla="*/ 910 w 1408"/>
                <a:gd name="T17" fmla="*/ 159 h 1899"/>
                <a:gd name="T18" fmla="*/ 971 w 1408"/>
                <a:gd name="T19" fmla="*/ 75 h 1899"/>
                <a:gd name="T20" fmla="*/ 1023 w 1408"/>
                <a:gd name="T21" fmla="*/ 62 h 1899"/>
                <a:gd name="T22" fmla="*/ 1076 w 1408"/>
                <a:gd name="T23" fmla="*/ 86 h 1899"/>
                <a:gd name="T24" fmla="*/ 1153 w 1408"/>
                <a:gd name="T25" fmla="*/ 148 h 1899"/>
                <a:gd name="T26" fmla="*/ 1271 w 1408"/>
                <a:gd name="T27" fmla="*/ 148 h 1899"/>
                <a:gd name="T28" fmla="*/ 1271 w 1408"/>
                <a:gd name="T29" fmla="*/ 233 h 1899"/>
                <a:gd name="T30" fmla="*/ 1307 w 1408"/>
                <a:gd name="T31" fmla="*/ 332 h 1899"/>
                <a:gd name="T32" fmla="*/ 1378 w 1408"/>
                <a:gd name="T33" fmla="*/ 418 h 1899"/>
                <a:gd name="T34" fmla="*/ 1395 w 1408"/>
                <a:gd name="T35" fmla="*/ 561 h 1899"/>
                <a:gd name="T36" fmla="*/ 1341 w 1408"/>
                <a:gd name="T37" fmla="*/ 639 h 1899"/>
                <a:gd name="T38" fmla="*/ 1219 w 1408"/>
                <a:gd name="T39" fmla="*/ 719 h 1899"/>
                <a:gd name="T40" fmla="*/ 1108 w 1408"/>
                <a:gd name="T41" fmla="*/ 714 h 1899"/>
                <a:gd name="T42" fmla="*/ 1021 w 1408"/>
                <a:gd name="T43" fmla="*/ 815 h 1899"/>
                <a:gd name="T44" fmla="*/ 1017 w 1408"/>
                <a:gd name="T45" fmla="*/ 833 h 1899"/>
                <a:gd name="T46" fmla="*/ 1019 w 1408"/>
                <a:gd name="T47" fmla="*/ 990 h 1899"/>
                <a:gd name="T48" fmla="*/ 882 w 1408"/>
                <a:gd name="T49" fmla="*/ 1093 h 1899"/>
                <a:gd name="T50" fmla="*/ 914 w 1408"/>
                <a:gd name="T51" fmla="*/ 1226 h 1899"/>
                <a:gd name="T52" fmla="*/ 858 w 1408"/>
                <a:gd name="T53" fmla="*/ 1292 h 1899"/>
                <a:gd name="T54" fmla="*/ 832 w 1408"/>
                <a:gd name="T55" fmla="*/ 1387 h 1899"/>
                <a:gd name="T56" fmla="*/ 789 w 1408"/>
                <a:gd name="T57" fmla="*/ 1447 h 1899"/>
                <a:gd name="T58" fmla="*/ 751 w 1408"/>
                <a:gd name="T59" fmla="*/ 1603 h 1899"/>
                <a:gd name="T60" fmla="*/ 726 w 1408"/>
                <a:gd name="T61" fmla="*/ 1692 h 1899"/>
                <a:gd name="T62" fmla="*/ 730 w 1408"/>
                <a:gd name="T63" fmla="*/ 1747 h 1899"/>
                <a:gd name="T64" fmla="*/ 697 w 1408"/>
                <a:gd name="T65" fmla="*/ 1811 h 1899"/>
                <a:gd name="T66" fmla="*/ 675 w 1408"/>
                <a:gd name="T67" fmla="*/ 1858 h 1899"/>
                <a:gd name="T68" fmla="*/ 583 w 1408"/>
                <a:gd name="T69" fmla="*/ 1788 h 1899"/>
                <a:gd name="T70" fmla="*/ 447 w 1408"/>
                <a:gd name="T71" fmla="*/ 1839 h 1899"/>
                <a:gd name="T72" fmla="*/ 382 w 1408"/>
                <a:gd name="T73" fmla="*/ 1869 h 1899"/>
                <a:gd name="T74" fmla="*/ 287 w 1408"/>
                <a:gd name="T75" fmla="*/ 1899 h 1899"/>
                <a:gd name="T76" fmla="*/ 267 w 1408"/>
                <a:gd name="T77" fmla="*/ 1791 h 1899"/>
                <a:gd name="T78" fmla="*/ 364 w 1408"/>
                <a:gd name="T79" fmla="*/ 1683 h 1899"/>
                <a:gd name="T80" fmla="*/ 346 w 1408"/>
                <a:gd name="T81" fmla="*/ 1617 h 1899"/>
                <a:gd name="T82" fmla="*/ 199 w 1408"/>
                <a:gd name="T83" fmla="*/ 1632 h 1899"/>
                <a:gd name="T84" fmla="*/ 147 w 1408"/>
                <a:gd name="T85" fmla="*/ 1594 h 1899"/>
                <a:gd name="T86" fmla="*/ 125 w 1408"/>
                <a:gd name="T87" fmla="*/ 1501 h 1899"/>
                <a:gd name="T88" fmla="*/ 210 w 1408"/>
                <a:gd name="T89" fmla="*/ 1348 h 1899"/>
                <a:gd name="T90" fmla="*/ 152 w 1408"/>
                <a:gd name="T91" fmla="*/ 1303 h 1899"/>
                <a:gd name="T92" fmla="*/ 156 w 1408"/>
                <a:gd name="T93" fmla="*/ 1208 h 1899"/>
                <a:gd name="T94" fmla="*/ 104 w 1408"/>
                <a:gd name="T95" fmla="*/ 1083 h 1899"/>
                <a:gd name="T96" fmla="*/ 89 w 1408"/>
                <a:gd name="T97" fmla="*/ 958 h 1899"/>
                <a:gd name="T98" fmla="*/ 14 w 1408"/>
                <a:gd name="T99" fmla="*/ 940 h 1899"/>
                <a:gd name="T100" fmla="*/ 47 w 1408"/>
                <a:gd name="T101" fmla="*/ 758 h 1899"/>
                <a:gd name="T102" fmla="*/ 136 w 1408"/>
                <a:gd name="T103" fmla="*/ 670 h 1899"/>
                <a:gd name="T104" fmla="*/ 143 w 1408"/>
                <a:gd name="T105" fmla="*/ 551 h 1899"/>
                <a:gd name="T106" fmla="*/ 132 w 1408"/>
                <a:gd name="T107" fmla="*/ 453 h 1899"/>
                <a:gd name="T108" fmla="*/ 85 w 1408"/>
                <a:gd name="T109" fmla="*/ 420 h 1899"/>
                <a:gd name="T110" fmla="*/ 175 w 1408"/>
                <a:gd name="T111" fmla="*/ 286 h 1899"/>
                <a:gd name="T112" fmla="*/ 295 w 1408"/>
                <a:gd name="T113" fmla="*/ 257 h 1899"/>
                <a:gd name="T114" fmla="*/ 350 w 1408"/>
                <a:gd name="T115" fmla="*/ 238 h 1899"/>
                <a:gd name="T116" fmla="*/ 372 w 1408"/>
                <a:gd name="T117" fmla="*/ 199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8" h="1899">
                  <a:moveTo>
                    <a:pt x="379" y="196"/>
                  </a:moveTo>
                  <a:lnTo>
                    <a:pt x="391" y="199"/>
                  </a:lnTo>
                  <a:lnTo>
                    <a:pt x="407" y="199"/>
                  </a:lnTo>
                  <a:lnTo>
                    <a:pt x="408" y="201"/>
                  </a:lnTo>
                  <a:lnTo>
                    <a:pt x="406" y="206"/>
                  </a:lnTo>
                  <a:lnTo>
                    <a:pt x="408" y="208"/>
                  </a:lnTo>
                  <a:lnTo>
                    <a:pt x="417" y="213"/>
                  </a:lnTo>
                  <a:lnTo>
                    <a:pt x="425" y="213"/>
                  </a:lnTo>
                  <a:lnTo>
                    <a:pt x="427" y="204"/>
                  </a:lnTo>
                  <a:lnTo>
                    <a:pt x="434" y="195"/>
                  </a:lnTo>
                  <a:lnTo>
                    <a:pt x="436" y="189"/>
                  </a:lnTo>
                  <a:lnTo>
                    <a:pt x="435" y="188"/>
                  </a:lnTo>
                  <a:lnTo>
                    <a:pt x="432" y="187"/>
                  </a:lnTo>
                  <a:lnTo>
                    <a:pt x="421" y="186"/>
                  </a:lnTo>
                  <a:lnTo>
                    <a:pt x="418" y="185"/>
                  </a:lnTo>
                  <a:lnTo>
                    <a:pt x="417" y="181"/>
                  </a:lnTo>
                  <a:lnTo>
                    <a:pt x="418" y="170"/>
                  </a:lnTo>
                  <a:lnTo>
                    <a:pt x="414" y="166"/>
                  </a:lnTo>
                  <a:lnTo>
                    <a:pt x="413" y="161"/>
                  </a:lnTo>
                  <a:lnTo>
                    <a:pt x="414" y="158"/>
                  </a:lnTo>
                  <a:lnTo>
                    <a:pt x="421" y="154"/>
                  </a:lnTo>
                  <a:lnTo>
                    <a:pt x="424" y="157"/>
                  </a:lnTo>
                  <a:lnTo>
                    <a:pt x="430" y="164"/>
                  </a:lnTo>
                  <a:lnTo>
                    <a:pt x="452" y="162"/>
                  </a:lnTo>
                  <a:lnTo>
                    <a:pt x="458" y="171"/>
                  </a:lnTo>
                  <a:lnTo>
                    <a:pt x="460" y="172"/>
                  </a:lnTo>
                  <a:lnTo>
                    <a:pt x="465" y="171"/>
                  </a:lnTo>
                  <a:lnTo>
                    <a:pt x="481" y="161"/>
                  </a:lnTo>
                  <a:lnTo>
                    <a:pt x="504" y="144"/>
                  </a:lnTo>
                  <a:lnTo>
                    <a:pt x="506" y="128"/>
                  </a:lnTo>
                  <a:lnTo>
                    <a:pt x="514" y="118"/>
                  </a:lnTo>
                  <a:lnTo>
                    <a:pt x="517" y="108"/>
                  </a:lnTo>
                  <a:lnTo>
                    <a:pt x="525" y="99"/>
                  </a:lnTo>
                  <a:lnTo>
                    <a:pt x="551" y="93"/>
                  </a:lnTo>
                  <a:lnTo>
                    <a:pt x="571" y="91"/>
                  </a:lnTo>
                  <a:lnTo>
                    <a:pt x="597" y="110"/>
                  </a:lnTo>
                  <a:lnTo>
                    <a:pt x="608" y="115"/>
                  </a:lnTo>
                  <a:lnTo>
                    <a:pt x="632" y="125"/>
                  </a:lnTo>
                  <a:lnTo>
                    <a:pt x="647" y="128"/>
                  </a:lnTo>
                  <a:lnTo>
                    <a:pt x="662" y="121"/>
                  </a:lnTo>
                  <a:lnTo>
                    <a:pt x="681" y="109"/>
                  </a:lnTo>
                  <a:lnTo>
                    <a:pt x="696" y="97"/>
                  </a:lnTo>
                  <a:lnTo>
                    <a:pt x="702" y="90"/>
                  </a:lnTo>
                  <a:lnTo>
                    <a:pt x="702" y="90"/>
                  </a:lnTo>
                  <a:lnTo>
                    <a:pt x="703" y="91"/>
                  </a:lnTo>
                  <a:lnTo>
                    <a:pt x="713" y="90"/>
                  </a:lnTo>
                  <a:lnTo>
                    <a:pt x="722" y="91"/>
                  </a:lnTo>
                  <a:lnTo>
                    <a:pt x="724" y="91"/>
                  </a:lnTo>
                  <a:lnTo>
                    <a:pt x="734" y="98"/>
                  </a:lnTo>
                  <a:lnTo>
                    <a:pt x="738" y="99"/>
                  </a:lnTo>
                  <a:lnTo>
                    <a:pt x="741" y="98"/>
                  </a:lnTo>
                  <a:lnTo>
                    <a:pt x="751" y="93"/>
                  </a:lnTo>
                  <a:lnTo>
                    <a:pt x="766" y="81"/>
                  </a:lnTo>
                  <a:lnTo>
                    <a:pt x="783" y="72"/>
                  </a:lnTo>
                  <a:lnTo>
                    <a:pt x="796" y="62"/>
                  </a:lnTo>
                  <a:lnTo>
                    <a:pt x="813" y="60"/>
                  </a:lnTo>
                  <a:lnTo>
                    <a:pt x="817" y="57"/>
                  </a:lnTo>
                  <a:lnTo>
                    <a:pt x="820" y="51"/>
                  </a:lnTo>
                  <a:lnTo>
                    <a:pt x="824" y="18"/>
                  </a:lnTo>
                  <a:lnTo>
                    <a:pt x="825" y="13"/>
                  </a:lnTo>
                  <a:lnTo>
                    <a:pt x="828" y="7"/>
                  </a:lnTo>
                  <a:lnTo>
                    <a:pt x="836" y="0"/>
                  </a:lnTo>
                  <a:lnTo>
                    <a:pt x="858" y="2"/>
                  </a:lnTo>
                  <a:lnTo>
                    <a:pt x="867" y="4"/>
                  </a:lnTo>
                  <a:lnTo>
                    <a:pt x="874" y="7"/>
                  </a:lnTo>
                  <a:lnTo>
                    <a:pt x="880" y="10"/>
                  </a:lnTo>
                  <a:lnTo>
                    <a:pt x="884" y="16"/>
                  </a:lnTo>
                  <a:lnTo>
                    <a:pt x="894" y="19"/>
                  </a:lnTo>
                  <a:lnTo>
                    <a:pt x="896" y="26"/>
                  </a:lnTo>
                  <a:lnTo>
                    <a:pt x="898" y="28"/>
                  </a:lnTo>
                  <a:lnTo>
                    <a:pt x="912" y="27"/>
                  </a:lnTo>
                  <a:lnTo>
                    <a:pt x="915" y="32"/>
                  </a:lnTo>
                  <a:lnTo>
                    <a:pt x="916" y="38"/>
                  </a:lnTo>
                  <a:lnTo>
                    <a:pt x="915" y="43"/>
                  </a:lnTo>
                  <a:lnTo>
                    <a:pt x="908" y="49"/>
                  </a:lnTo>
                  <a:lnTo>
                    <a:pt x="904" y="52"/>
                  </a:lnTo>
                  <a:lnTo>
                    <a:pt x="903" y="57"/>
                  </a:lnTo>
                  <a:lnTo>
                    <a:pt x="904" y="66"/>
                  </a:lnTo>
                  <a:lnTo>
                    <a:pt x="900" y="74"/>
                  </a:lnTo>
                  <a:lnTo>
                    <a:pt x="892" y="81"/>
                  </a:lnTo>
                  <a:lnTo>
                    <a:pt x="878" y="82"/>
                  </a:lnTo>
                  <a:lnTo>
                    <a:pt x="868" y="88"/>
                  </a:lnTo>
                  <a:lnTo>
                    <a:pt x="861" y="97"/>
                  </a:lnTo>
                  <a:lnTo>
                    <a:pt x="849" y="118"/>
                  </a:lnTo>
                  <a:lnTo>
                    <a:pt x="849" y="122"/>
                  </a:lnTo>
                  <a:lnTo>
                    <a:pt x="856" y="130"/>
                  </a:lnTo>
                  <a:lnTo>
                    <a:pt x="849" y="141"/>
                  </a:lnTo>
                  <a:lnTo>
                    <a:pt x="849" y="144"/>
                  </a:lnTo>
                  <a:lnTo>
                    <a:pt x="858" y="157"/>
                  </a:lnTo>
                  <a:lnTo>
                    <a:pt x="862" y="161"/>
                  </a:lnTo>
                  <a:lnTo>
                    <a:pt x="864" y="161"/>
                  </a:lnTo>
                  <a:lnTo>
                    <a:pt x="867" y="160"/>
                  </a:lnTo>
                  <a:lnTo>
                    <a:pt x="877" y="149"/>
                  </a:lnTo>
                  <a:lnTo>
                    <a:pt x="882" y="146"/>
                  </a:lnTo>
                  <a:lnTo>
                    <a:pt x="886" y="148"/>
                  </a:lnTo>
                  <a:lnTo>
                    <a:pt x="893" y="158"/>
                  </a:lnTo>
                  <a:lnTo>
                    <a:pt x="896" y="160"/>
                  </a:lnTo>
                  <a:lnTo>
                    <a:pt x="902" y="161"/>
                  </a:lnTo>
                  <a:lnTo>
                    <a:pt x="910" y="159"/>
                  </a:lnTo>
                  <a:lnTo>
                    <a:pt x="914" y="156"/>
                  </a:lnTo>
                  <a:lnTo>
                    <a:pt x="922" y="143"/>
                  </a:lnTo>
                  <a:lnTo>
                    <a:pt x="932" y="133"/>
                  </a:lnTo>
                  <a:lnTo>
                    <a:pt x="938" y="129"/>
                  </a:lnTo>
                  <a:lnTo>
                    <a:pt x="959" y="120"/>
                  </a:lnTo>
                  <a:lnTo>
                    <a:pt x="968" y="114"/>
                  </a:lnTo>
                  <a:lnTo>
                    <a:pt x="972" y="109"/>
                  </a:lnTo>
                  <a:lnTo>
                    <a:pt x="974" y="99"/>
                  </a:lnTo>
                  <a:lnTo>
                    <a:pt x="979" y="86"/>
                  </a:lnTo>
                  <a:lnTo>
                    <a:pt x="977" y="82"/>
                  </a:lnTo>
                  <a:lnTo>
                    <a:pt x="971" y="75"/>
                  </a:lnTo>
                  <a:lnTo>
                    <a:pt x="969" y="69"/>
                  </a:lnTo>
                  <a:lnTo>
                    <a:pt x="983" y="60"/>
                  </a:lnTo>
                  <a:lnTo>
                    <a:pt x="984" y="56"/>
                  </a:lnTo>
                  <a:lnTo>
                    <a:pt x="982" y="48"/>
                  </a:lnTo>
                  <a:lnTo>
                    <a:pt x="984" y="45"/>
                  </a:lnTo>
                  <a:lnTo>
                    <a:pt x="998" y="38"/>
                  </a:lnTo>
                  <a:lnTo>
                    <a:pt x="1007" y="37"/>
                  </a:lnTo>
                  <a:lnTo>
                    <a:pt x="1013" y="38"/>
                  </a:lnTo>
                  <a:lnTo>
                    <a:pt x="1019" y="42"/>
                  </a:lnTo>
                  <a:lnTo>
                    <a:pt x="1020" y="57"/>
                  </a:lnTo>
                  <a:lnTo>
                    <a:pt x="1023" y="62"/>
                  </a:lnTo>
                  <a:lnTo>
                    <a:pt x="1028" y="67"/>
                  </a:lnTo>
                  <a:lnTo>
                    <a:pt x="1035" y="67"/>
                  </a:lnTo>
                  <a:lnTo>
                    <a:pt x="1041" y="63"/>
                  </a:lnTo>
                  <a:lnTo>
                    <a:pt x="1046" y="62"/>
                  </a:lnTo>
                  <a:lnTo>
                    <a:pt x="1053" y="70"/>
                  </a:lnTo>
                  <a:lnTo>
                    <a:pt x="1055" y="71"/>
                  </a:lnTo>
                  <a:lnTo>
                    <a:pt x="1060" y="70"/>
                  </a:lnTo>
                  <a:lnTo>
                    <a:pt x="1069" y="63"/>
                  </a:lnTo>
                  <a:lnTo>
                    <a:pt x="1072" y="63"/>
                  </a:lnTo>
                  <a:lnTo>
                    <a:pt x="1075" y="66"/>
                  </a:lnTo>
                  <a:lnTo>
                    <a:pt x="1076" y="86"/>
                  </a:lnTo>
                  <a:lnTo>
                    <a:pt x="1084" y="112"/>
                  </a:lnTo>
                  <a:lnTo>
                    <a:pt x="1091" y="120"/>
                  </a:lnTo>
                  <a:lnTo>
                    <a:pt x="1099" y="124"/>
                  </a:lnTo>
                  <a:lnTo>
                    <a:pt x="1102" y="126"/>
                  </a:lnTo>
                  <a:lnTo>
                    <a:pt x="1109" y="136"/>
                  </a:lnTo>
                  <a:lnTo>
                    <a:pt x="1114" y="142"/>
                  </a:lnTo>
                  <a:lnTo>
                    <a:pt x="1118" y="143"/>
                  </a:lnTo>
                  <a:lnTo>
                    <a:pt x="1125" y="142"/>
                  </a:lnTo>
                  <a:lnTo>
                    <a:pt x="1139" y="134"/>
                  </a:lnTo>
                  <a:lnTo>
                    <a:pt x="1146" y="138"/>
                  </a:lnTo>
                  <a:lnTo>
                    <a:pt x="1153" y="148"/>
                  </a:lnTo>
                  <a:lnTo>
                    <a:pt x="1160" y="150"/>
                  </a:lnTo>
                  <a:lnTo>
                    <a:pt x="1184" y="143"/>
                  </a:lnTo>
                  <a:lnTo>
                    <a:pt x="1190" y="143"/>
                  </a:lnTo>
                  <a:lnTo>
                    <a:pt x="1199" y="148"/>
                  </a:lnTo>
                  <a:lnTo>
                    <a:pt x="1204" y="148"/>
                  </a:lnTo>
                  <a:lnTo>
                    <a:pt x="1211" y="148"/>
                  </a:lnTo>
                  <a:lnTo>
                    <a:pt x="1226" y="144"/>
                  </a:lnTo>
                  <a:lnTo>
                    <a:pt x="1237" y="143"/>
                  </a:lnTo>
                  <a:lnTo>
                    <a:pt x="1250" y="143"/>
                  </a:lnTo>
                  <a:lnTo>
                    <a:pt x="1262" y="144"/>
                  </a:lnTo>
                  <a:lnTo>
                    <a:pt x="1271" y="148"/>
                  </a:lnTo>
                  <a:lnTo>
                    <a:pt x="1282" y="158"/>
                  </a:lnTo>
                  <a:lnTo>
                    <a:pt x="1285" y="161"/>
                  </a:lnTo>
                  <a:lnTo>
                    <a:pt x="1289" y="177"/>
                  </a:lnTo>
                  <a:lnTo>
                    <a:pt x="1296" y="182"/>
                  </a:lnTo>
                  <a:lnTo>
                    <a:pt x="1308" y="189"/>
                  </a:lnTo>
                  <a:lnTo>
                    <a:pt x="1308" y="189"/>
                  </a:lnTo>
                  <a:lnTo>
                    <a:pt x="1307" y="199"/>
                  </a:lnTo>
                  <a:lnTo>
                    <a:pt x="1303" y="208"/>
                  </a:lnTo>
                  <a:lnTo>
                    <a:pt x="1299" y="224"/>
                  </a:lnTo>
                  <a:lnTo>
                    <a:pt x="1292" y="231"/>
                  </a:lnTo>
                  <a:lnTo>
                    <a:pt x="1271" y="233"/>
                  </a:lnTo>
                  <a:lnTo>
                    <a:pt x="1272" y="251"/>
                  </a:lnTo>
                  <a:lnTo>
                    <a:pt x="1269" y="254"/>
                  </a:lnTo>
                  <a:lnTo>
                    <a:pt x="1262" y="255"/>
                  </a:lnTo>
                  <a:lnTo>
                    <a:pt x="1260" y="258"/>
                  </a:lnTo>
                  <a:lnTo>
                    <a:pt x="1263" y="285"/>
                  </a:lnTo>
                  <a:lnTo>
                    <a:pt x="1265" y="290"/>
                  </a:lnTo>
                  <a:lnTo>
                    <a:pt x="1272" y="299"/>
                  </a:lnTo>
                  <a:lnTo>
                    <a:pt x="1279" y="314"/>
                  </a:lnTo>
                  <a:lnTo>
                    <a:pt x="1283" y="321"/>
                  </a:lnTo>
                  <a:lnTo>
                    <a:pt x="1292" y="326"/>
                  </a:lnTo>
                  <a:lnTo>
                    <a:pt x="1307" y="332"/>
                  </a:lnTo>
                  <a:lnTo>
                    <a:pt x="1314" y="337"/>
                  </a:lnTo>
                  <a:lnTo>
                    <a:pt x="1315" y="342"/>
                  </a:lnTo>
                  <a:lnTo>
                    <a:pt x="1315" y="353"/>
                  </a:lnTo>
                  <a:lnTo>
                    <a:pt x="1317" y="358"/>
                  </a:lnTo>
                  <a:lnTo>
                    <a:pt x="1322" y="358"/>
                  </a:lnTo>
                  <a:lnTo>
                    <a:pt x="1330" y="354"/>
                  </a:lnTo>
                  <a:lnTo>
                    <a:pt x="1334" y="355"/>
                  </a:lnTo>
                  <a:lnTo>
                    <a:pt x="1347" y="377"/>
                  </a:lnTo>
                  <a:lnTo>
                    <a:pt x="1367" y="390"/>
                  </a:lnTo>
                  <a:lnTo>
                    <a:pt x="1371" y="395"/>
                  </a:lnTo>
                  <a:lnTo>
                    <a:pt x="1378" y="418"/>
                  </a:lnTo>
                  <a:lnTo>
                    <a:pt x="1380" y="423"/>
                  </a:lnTo>
                  <a:lnTo>
                    <a:pt x="1385" y="428"/>
                  </a:lnTo>
                  <a:lnTo>
                    <a:pt x="1386" y="430"/>
                  </a:lnTo>
                  <a:lnTo>
                    <a:pt x="1388" y="468"/>
                  </a:lnTo>
                  <a:lnTo>
                    <a:pt x="1398" y="493"/>
                  </a:lnTo>
                  <a:lnTo>
                    <a:pt x="1402" y="501"/>
                  </a:lnTo>
                  <a:lnTo>
                    <a:pt x="1401" y="519"/>
                  </a:lnTo>
                  <a:lnTo>
                    <a:pt x="1408" y="538"/>
                  </a:lnTo>
                  <a:lnTo>
                    <a:pt x="1404" y="548"/>
                  </a:lnTo>
                  <a:lnTo>
                    <a:pt x="1395" y="561"/>
                  </a:lnTo>
                  <a:lnTo>
                    <a:pt x="1395" y="561"/>
                  </a:lnTo>
                  <a:lnTo>
                    <a:pt x="1378" y="571"/>
                  </a:lnTo>
                  <a:lnTo>
                    <a:pt x="1372" y="575"/>
                  </a:lnTo>
                  <a:lnTo>
                    <a:pt x="1371" y="577"/>
                  </a:lnTo>
                  <a:lnTo>
                    <a:pt x="1371" y="587"/>
                  </a:lnTo>
                  <a:lnTo>
                    <a:pt x="1382" y="595"/>
                  </a:lnTo>
                  <a:lnTo>
                    <a:pt x="1383" y="599"/>
                  </a:lnTo>
                  <a:lnTo>
                    <a:pt x="1385" y="612"/>
                  </a:lnTo>
                  <a:lnTo>
                    <a:pt x="1384" y="617"/>
                  </a:lnTo>
                  <a:lnTo>
                    <a:pt x="1381" y="621"/>
                  </a:lnTo>
                  <a:lnTo>
                    <a:pt x="1373" y="626"/>
                  </a:lnTo>
                  <a:lnTo>
                    <a:pt x="1341" y="639"/>
                  </a:lnTo>
                  <a:lnTo>
                    <a:pt x="1327" y="647"/>
                  </a:lnTo>
                  <a:lnTo>
                    <a:pt x="1318" y="655"/>
                  </a:lnTo>
                  <a:lnTo>
                    <a:pt x="1311" y="672"/>
                  </a:lnTo>
                  <a:lnTo>
                    <a:pt x="1305" y="672"/>
                  </a:lnTo>
                  <a:lnTo>
                    <a:pt x="1289" y="670"/>
                  </a:lnTo>
                  <a:lnTo>
                    <a:pt x="1274" y="672"/>
                  </a:lnTo>
                  <a:lnTo>
                    <a:pt x="1263" y="678"/>
                  </a:lnTo>
                  <a:lnTo>
                    <a:pt x="1235" y="695"/>
                  </a:lnTo>
                  <a:lnTo>
                    <a:pt x="1227" y="704"/>
                  </a:lnTo>
                  <a:lnTo>
                    <a:pt x="1220" y="714"/>
                  </a:lnTo>
                  <a:lnTo>
                    <a:pt x="1219" y="719"/>
                  </a:lnTo>
                  <a:lnTo>
                    <a:pt x="1219" y="729"/>
                  </a:lnTo>
                  <a:lnTo>
                    <a:pt x="1217" y="734"/>
                  </a:lnTo>
                  <a:lnTo>
                    <a:pt x="1210" y="735"/>
                  </a:lnTo>
                  <a:lnTo>
                    <a:pt x="1203" y="734"/>
                  </a:lnTo>
                  <a:lnTo>
                    <a:pt x="1183" y="722"/>
                  </a:lnTo>
                  <a:lnTo>
                    <a:pt x="1172" y="713"/>
                  </a:lnTo>
                  <a:lnTo>
                    <a:pt x="1153" y="687"/>
                  </a:lnTo>
                  <a:lnTo>
                    <a:pt x="1149" y="685"/>
                  </a:lnTo>
                  <a:lnTo>
                    <a:pt x="1146" y="684"/>
                  </a:lnTo>
                  <a:lnTo>
                    <a:pt x="1117" y="707"/>
                  </a:lnTo>
                  <a:lnTo>
                    <a:pt x="1108" y="714"/>
                  </a:lnTo>
                  <a:lnTo>
                    <a:pt x="1093" y="721"/>
                  </a:lnTo>
                  <a:lnTo>
                    <a:pt x="1081" y="724"/>
                  </a:lnTo>
                  <a:lnTo>
                    <a:pt x="1078" y="733"/>
                  </a:lnTo>
                  <a:lnTo>
                    <a:pt x="1080" y="747"/>
                  </a:lnTo>
                  <a:lnTo>
                    <a:pt x="1078" y="759"/>
                  </a:lnTo>
                  <a:lnTo>
                    <a:pt x="1069" y="779"/>
                  </a:lnTo>
                  <a:lnTo>
                    <a:pt x="1056" y="798"/>
                  </a:lnTo>
                  <a:lnTo>
                    <a:pt x="1042" y="805"/>
                  </a:lnTo>
                  <a:lnTo>
                    <a:pt x="1026" y="808"/>
                  </a:lnTo>
                  <a:lnTo>
                    <a:pt x="1023" y="811"/>
                  </a:lnTo>
                  <a:lnTo>
                    <a:pt x="1021" y="815"/>
                  </a:lnTo>
                  <a:lnTo>
                    <a:pt x="1020" y="816"/>
                  </a:lnTo>
                  <a:lnTo>
                    <a:pt x="1017" y="816"/>
                  </a:lnTo>
                  <a:lnTo>
                    <a:pt x="1009" y="811"/>
                  </a:lnTo>
                  <a:lnTo>
                    <a:pt x="1007" y="811"/>
                  </a:lnTo>
                  <a:lnTo>
                    <a:pt x="1006" y="812"/>
                  </a:lnTo>
                  <a:lnTo>
                    <a:pt x="1005" y="825"/>
                  </a:lnTo>
                  <a:lnTo>
                    <a:pt x="1005" y="830"/>
                  </a:lnTo>
                  <a:lnTo>
                    <a:pt x="1006" y="832"/>
                  </a:lnTo>
                  <a:lnTo>
                    <a:pt x="1009" y="836"/>
                  </a:lnTo>
                  <a:lnTo>
                    <a:pt x="1011" y="838"/>
                  </a:lnTo>
                  <a:lnTo>
                    <a:pt x="1017" y="833"/>
                  </a:lnTo>
                  <a:lnTo>
                    <a:pt x="1026" y="840"/>
                  </a:lnTo>
                  <a:lnTo>
                    <a:pt x="1041" y="868"/>
                  </a:lnTo>
                  <a:lnTo>
                    <a:pt x="1042" y="872"/>
                  </a:lnTo>
                  <a:lnTo>
                    <a:pt x="1042" y="877"/>
                  </a:lnTo>
                  <a:lnTo>
                    <a:pt x="1039" y="895"/>
                  </a:lnTo>
                  <a:lnTo>
                    <a:pt x="1046" y="910"/>
                  </a:lnTo>
                  <a:lnTo>
                    <a:pt x="1056" y="920"/>
                  </a:lnTo>
                  <a:lnTo>
                    <a:pt x="1057" y="923"/>
                  </a:lnTo>
                  <a:lnTo>
                    <a:pt x="1057" y="928"/>
                  </a:lnTo>
                  <a:lnTo>
                    <a:pt x="1026" y="982"/>
                  </a:lnTo>
                  <a:lnTo>
                    <a:pt x="1019" y="990"/>
                  </a:lnTo>
                  <a:lnTo>
                    <a:pt x="1011" y="998"/>
                  </a:lnTo>
                  <a:lnTo>
                    <a:pt x="1001" y="1007"/>
                  </a:lnTo>
                  <a:lnTo>
                    <a:pt x="992" y="1013"/>
                  </a:lnTo>
                  <a:lnTo>
                    <a:pt x="974" y="1016"/>
                  </a:lnTo>
                  <a:lnTo>
                    <a:pt x="943" y="1029"/>
                  </a:lnTo>
                  <a:lnTo>
                    <a:pt x="919" y="1036"/>
                  </a:lnTo>
                  <a:lnTo>
                    <a:pt x="911" y="1043"/>
                  </a:lnTo>
                  <a:lnTo>
                    <a:pt x="898" y="1061"/>
                  </a:lnTo>
                  <a:lnTo>
                    <a:pt x="890" y="1073"/>
                  </a:lnTo>
                  <a:lnTo>
                    <a:pt x="885" y="1083"/>
                  </a:lnTo>
                  <a:lnTo>
                    <a:pt x="882" y="1093"/>
                  </a:lnTo>
                  <a:lnTo>
                    <a:pt x="884" y="1103"/>
                  </a:lnTo>
                  <a:lnTo>
                    <a:pt x="884" y="1110"/>
                  </a:lnTo>
                  <a:lnTo>
                    <a:pt x="883" y="1115"/>
                  </a:lnTo>
                  <a:lnTo>
                    <a:pt x="878" y="1126"/>
                  </a:lnTo>
                  <a:lnTo>
                    <a:pt x="878" y="1132"/>
                  </a:lnTo>
                  <a:lnTo>
                    <a:pt x="880" y="1138"/>
                  </a:lnTo>
                  <a:lnTo>
                    <a:pt x="886" y="1150"/>
                  </a:lnTo>
                  <a:lnTo>
                    <a:pt x="900" y="1183"/>
                  </a:lnTo>
                  <a:lnTo>
                    <a:pt x="914" y="1202"/>
                  </a:lnTo>
                  <a:lnTo>
                    <a:pt x="916" y="1213"/>
                  </a:lnTo>
                  <a:lnTo>
                    <a:pt x="914" y="1226"/>
                  </a:lnTo>
                  <a:lnTo>
                    <a:pt x="912" y="1234"/>
                  </a:lnTo>
                  <a:lnTo>
                    <a:pt x="909" y="1236"/>
                  </a:lnTo>
                  <a:lnTo>
                    <a:pt x="904" y="1236"/>
                  </a:lnTo>
                  <a:lnTo>
                    <a:pt x="893" y="1230"/>
                  </a:lnTo>
                  <a:lnTo>
                    <a:pt x="889" y="1231"/>
                  </a:lnTo>
                  <a:lnTo>
                    <a:pt x="885" y="1234"/>
                  </a:lnTo>
                  <a:lnTo>
                    <a:pt x="873" y="1250"/>
                  </a:lnTo>
                  <a:lnTo>
                    <a:pt x="865" y="1264"/>
                  </a:lnTo>
                  <a:lnTo>
                    <a:pt x="860" y="1275"/>
                  </a:lnTo>
                  <a:lnTo>
                    <a:pt x="858" y="1282"/>
                  </a:lnTo>
                  <a:lnTo>
                    <a:pt x="858" y="1292"/>
                  </a:lnTo>
                  <a:lnTo>
                    <a:pt x="858" y="1300"/>
                  </a:lnTo>
                  <a:lnTo>
                    <a:pt x="861" y="1306"/>
                  </a:lnTo>
                  <a:lnTo>
                    <a:pt x="864" y="1309"/>
                  </a:lnTo>
                  <a:lnTo>
                    <a:pt x="877" y="1309"/>
                  </a:lnTo>
                  <a:lnTo>
                    <a:pt x="880" y="1309"/>
                  </a:lnTo>
                  <a:lnTo>
                    <a:pt x="881" y="1311"/>
                  </a:lnTo>
                  <a:lnTo>
                    <a:pt x="881" y="1320"/>
                  </a:lnTo>
                  <a:lnTo>
                    <a:pt x="877" y="1331"/>
                  </a:lnTo>
                  <a:lnTo>
                    <a:pt x="865" y="1342"/>
                  </a:lnTo>
                  <a:lnTo>
                    <a:pt x="839" y="1381"/>
                  </a:lnTo>
                  <a:lnTo>
                    <a:pt x="832" y="1387"/>
                  </a:lnTo>
                  <a:lnTo>
                    <a:pt x="828" y="1390"/>
                  </a:lnTo>
                  <a:lnTo>
                    <a:pt x="821" y="1395"/>
                  </a:lnTo>
                  <a:lnTo>
                    <a:pt x="788" y="1404"/>
                  </a:lnTo>
                  <a:lnTo>
                    <a:pt x="784" y="1407"/>
                  </a:lnTo>
                  <a:lnTo>
                    <a:pt x="782" y="1410"/>
                  </a:lnTo>
                  <a:lnTo>
                    <a:pt x="782" y="1425"/>
                  </a:lnTo>
                  <a:lnTo>
                    <a:pt x="795" y="1441"/>
                  </a:lnTo>
                  <a:lnTo>
                    <a:pt x="798" y="1446"/>
                  </a:lnTo>
                  <a:lnTo>
                    <a:pt x="798" y="1451"/>
                  </a:lnTo>
                  <a:lnTo>
                    <a:pt x="795" y="1452"/>
                  </a:lnTo>
                  <a:lnTo>
                    <a:pt x="789" y="1447"/>
                  </a:lnTo>
                  <a:lnTo>
                    <a:pt x="784" y="1447"/>
                  </a:lnTo>
                  <a:lnTo>
                    <a:pt x="781" y="1450"/>
                  </a:lnTo>
                  <a:lnTo>
                    <a:pt x="775" y="1458"/>
                  </a:lnTo>
                  <a:lnTo>
                    <a:pt x="768" y="1474"/>
                  </a:lnTo>
                  <a:lnTo>
                    <a:pt x="765" y="1498"/>
                  </a:lnTo>
                  <a:lnTo>
                    <a:pt x="766" y="1517"/>
                  </a:lnTo>
                  <a:lnTo>
                    <a:pt x="755" y="1542"/>
                  </a:lnTo>
                  <a:lnTo>
                    <a:pt x="756" y="1565"/>
                  </a:lnTo>
                  <a:lnTo>
                    <a:pt x="752" y="1581"/>
                  </a:lnTo>
                  <a:lnTo>
                    <a:pt x="753" y="1596"/>
                  </a:lnTo>
                  <a:lnTo>
                    <a:pt x="751" y="1603"/>
                  </a:lnTo>
                  <a:lnTo>
                    <a:pt x="746" y="1611"/>
                  </a:lnTo>
                  <a:lnTo>
                    <a:pt x="718" y="1634"/>
                  </a:lnTo>
                  <a:lnTo>
                    <a:pt x="715" y="1637"/>
                  </a:lnTo>
                  <a:lnTo>
                    <a:pt x="714" y="1640"/>
                  </a:lnTo>
                  <a:lnTo>
                    <a:pt x="714" y="1652"/>
                  </a:lnTo>
                  <a:lnTo>
                    <a:pt x="717" y="1662"/>
                  </a:lnTo>
                  <a:lnTo>
                    <a:pt x="722" y="1672"/>
                  </a:lnTo>
                  <a:lnTo>
                    <a:pt x="731" y="1680"/>
                  </a:lnTo>
                  <a:lnTo>
                    <a:pt x="734" y="1685"/>
                  </a:lnTo>
                  <a:lnTo>
                    <a:pt x="732" y="1687"/>
                  </a:lnTo>
                  <a:lnTo>
                    <a:pt x="726" y="1692"/>
                  </a:lnTo>
                  <a:lnTo>
                    <a:pt x="720" y="1703"/>
                  </a:lnTo>
                  <a:lnTo>
                    <a:pt x="730" y="1713"/>
                  </a:lnTo>
                  <a:lnTo>
                    <a:pt x="731" y="1715"/>
                  </a:lnTo>
                  <a:lnTo>
                    <a:pt x="730" y="1717"/>
                  </a:lnTo>
                  <a:lnTo>
                    <a:pt x="722" y="1716"/>
                  </a:lnTo>
                  <a:lnTo>
                    <a:pt x="721" y="1717"/>
                  </a:lnTo>
                  <a:lnTo>
                    <a:pt x="721" y="1724"/>
                  </a:lnTo>
                  <a:lnTo>
                    <a:pt x="724" y="1734"/>
                  </a:lnTo>
                  <a:lnTo>
                    <a:pt x="724" y="1734"/>
                  </a:lnTo>
                  <a:lnTo>
                    <a:pt x="724" y="1738"/>
                  </a:lnTo>
                  <a:lnTo>
                    <a:pt x="730" y="1747"/>
                  </a:lnTo>
                  <a:lnTo>
                    <a:pt x="731" y="1749"/>
                  </a:lnTo>
                  <a:lnTo>
                    <a:pt x="729" y="1750"/>
                  </a:lnTo>
                  <a:lnTo>
                    <a:pt x="726" y="1751"/>
                  </a:lnTo>
                  <a:lnTo>
                    <a:pt x="722" y="1749"/>
                  </a:lnTo>
                  <a:lnTo>
                    <a:pt x="715" y="1742"/>
                  </a:lnTo>
                  <a:lnTo>
                    <a:pt x="712" y="1742"/>
                  </a:lnTo>
                  <a:lnTo>
                    <a:pt x="709" y="1743"/>
                  </a:lnTo>
                  <a:lnTo>
                    <a:pt x="699" y="1766"/>
                  </a:lnTo>
                  <a:lnTo>
                    <a:pt x="690" y="1798"/>
                  </a:lnTo>
                  <a:lnTo>
                    <a:pt x="695" y="1808"/>
                  </a:lnTo>
                  <a:lnTo>
                    <a:pt x="697" y="1811"/>
                  </a:lnTo>
                  <a:lnTo>
                    <a:pt x="696" y="1815"/>
                  </a:lnTo>
                  <a:lnTo>
                    <a:pt x="691" y="1820"/>
                  </a:lnTo>
                  <a:lnTo>
                    <a:pt x="690" y="1823"/>
                  </a:lnTo>
                  <a:lnTo>
                    <a:pt x="694" y="1829"/>
                  </a:lnTo>
                  <a:lnTo>
                    <a:pt x="718" y="1849"/>
                  </a:lnTo>
                  <a:lnTo>
                    <a:pt x="718" y="1853"/>
                  </a:lnTo>
                  <a:lnTo>
                    <a:pt x="714" y="1855"/>
                  </a:lnTo>
                  <a:lnTo>
                    <a:pt x="692" y="1862"/>
                  </a:lnTo>
                  <a:lnTo>
                    <a:pt x="683" y="1863"/>
                  </a:lnTo>
                  <a:lnTo>
                    <a:pt x="679" y="1862"/>
                  </a:lnTo>
                  <a:lnTo>
                    <a:pt x="675" y="1858"/>
                  </a:lnTo>
                  <a:lnTo>
                    <a:pt x="669" y="1851"/>
                  </a:lnTo>
                  <a:lnTo>
                    <a:pt x="661" y="1844"/>
                  </a:lnTo>
                  <a:lnTo>
                    <a:pt x="654" y="1840"/>
                  </a:lnTo>
                  <a:lnTo>
                    <a:pt x="642" y="1838"/>
                  </a:lnTo>
                  <a:lnTo>
                    <a:pt x="636" y="1834"/>
                  </a:lnTo>
                  <a:lnTo>
                    <a:pt x="621" y="1813"/>
                  </a:lnTo>
                  <a:lnTo>
                    <a:pt x="613" y="1804"/>
                  </a:lnTo>
                  <a:lnTo>
                    <a:pt x="604" y="1796"/>
                  </a:lnTo>
                  <a:lnTo>
                    <a:pt x="595" y="1791"/>
                  </a:lnTo>
                  <a:lnTo>
                    <a:pt x="588" y="1788"/>
                  </a:lnTo>
                  <a:lnTo>
                    <a:pt x="583" y="1788"/>
                  </a:lnTo>
                  <a:lnTo>
                    <a:pt x="579" y="1790"/>
                  </a:lnTo>
                  <a:lnTo>
                    <a:pt x="575" y="1793"/>
                  </a:lnTo>
                  <a:lnTo>
                    <a:pt x="572" y="1797"/>
                  </a:lnTo>
                  <a:lnTo>
                    <a:pt x="569" y="1802"/>
                  </a:lnTo>
                  <a:lnTo>
                    <a:pt x="567" y="1804"/>
                  </a:lnTo>
                  <a:lnTo>
                    <a:pt x="554" y="1800"/>
                  </a:lnTo>
                  <a:lnTo>
                    <a:pt x="512" y="1818"/>
                  </a:lnTo>
                  <a:lnTo>
                    <a:pt x="499" y="1821"/>
                  </a:lnTo>
                  <a:lnTo>
                    <a:pt x="476" y="1822"/>
                  </a:lnTo>
                  <a:lnTo>
                    <a:pt x="464" y="1832"/>
                  </a:lnTo>
                  <a:lnTo>
                    <a:pt x="447" y="1839"/>
                  </a:lnTo>
                  <a:lnTo>
                    <a:pt x="441" y="1844"/>
                  </a:lnTo>
                  <a:lnTo>
                    <a:pt x="435" y="1850"/>
                  </a:lnTo>
                  <a:lnTo>
                    <a:pt x="429" y="1864"/>
                  </a:lnTo>
                  <a:lnTo>
                    <a:pt x="424" y="1868"/>
                  </a:lnTo>
                  <a:lnTo>
                    <a:pt x="421" y="1868"/>
                  </a:lnTo>
                  <a:lnTo>
                    <a:pt x="406" y="1858"/>
                  </a:lnTo>
                  <a:lnTo>
                    <a:pt x="399" y="1858"/>
                  </a:lnTo>
                  <a:lnTo>
                    <a:pt x="392" y="1858"/>
                  </a:lnTo>
                  <a:lnTo>
                    <a:pt x="388" y="1860"/>
                  </a:lnTo>
                  <a:lnTo>
                    <a:pt x="384" y="1865"/>
                  </a:lnTo>
                  <a:lnTo>
                    <a:pt x="382" y="1869"/>
                  </a:lnTo>
                  <a:lnTo>
                    <a:pt x="381" y="1877"/>
                  </a:lnTo>
                  <a:lnTo>
                    <a:pt x="378" y="1881"/>
                  </a:lnTo>
                  <a:lnTo>
                    <a:pt x="374" y="1881"/>
                  </a:lnTo>
                  <a:lnTo>
                    <a:pt x="362" y="1877"/>
                  </a:lnTo>
                  <a:lnTo>
                    <a:pt x="354" y="1877"/>
                  </a:lnTo>
                  <a:lnTo>
                    <a:pt x="340" y="1883"/>
                  </a:lnTo>
                  <a:lnTo>
                    <a:pt x="325" y="1883"/>
                  </a:lnTo>
                  <a:lnTo>
                    <a:pt x="316" y="1887"/>
                  </a:lnTo>
                  <a:lnTo>
                    <a:pt x="296" y="1898"/>
                  </a:lnTo>
                  <a:lnTo>
                    <a:pt x="291" y="1899"/>
                  </a:lnTo>
                  <a:lnTo>
                    <a:pt x="287" y="1899"/>
                  </a:lnTo>
                  <a:lnTo>
                    <a:pt x="281" y="1894"/>
                  </a:lnTo>
                  <a:lnTo>
                    <a:pt x="270" y="1878"/>
                  </a:lnTo>
                  <a:lnTo>
                    <a:pt x="250" y="1868"/>
                  </a:lnTo>
                  <a:lnTo>
                    <a:pt x="214" y="1848"/>
                  </a:lnTo>
                  <a:lnTo>
                    <a:pt x="213" y="1847"/>
                  </a:lnTo>
                  <a:lnTo>
                    <a:pt x="213" y="1845"/>
                  </a:lnTo>
                  <a:lnTo>
                    <a:pt x="214" y="1841"/>
                  </a:lnTo>
                  <a:lnTo>
                    <a:pt x="218" y="1838"/>
                  </a:lnTo>
                  <a:lnTo>
                    <a:pt x="250" y="1820"/>
                  </a:lnTo>
                  <a:lnTo>
                    <a:pt x="261" y="1810"/>
                  </a:lnTo>
                  <a:lnTo>
                    <a:pt x="267" y="1791"/>
                  </a:lnTo>
                  <a:lnTo>
                    <a:pt x="276" y="1773"/>
                  </a:lnTo>
                  <a:lnTo>
                    <a:pt x="277" y="1768"/>
                  </a:lnTo>
                  <a:lnTo>
                    <a:pt x="274" y="1762"/>
                  </a:lnTo>
                  <a:lnTo>
                    <a:pt x="273" y="1755"/>
                  </a:lnTo>
                  <a:lnTo>
                    <a:pt x="277" y="1749"/>
                  </a:lnTo>
                  <a:lnTo>
                    <a:pt x="281" y="1744"/>
                  </a:lnTo>
                  <a:lnTo>
                    <a:pt x="323" y="1707"/>
                  </a:lnTo>
                  <a:lnTo>
                    <a:pt x="328" y="1704"/>
                  </a:lnTo>
                  <a:lnTo>
                    <a:pt x="338" y="1702"/>
                  </a:lnTo>
                  <a:lnTo>
                    <a:pt x="343" y="1699"/>
                  </a:lnTo>
                  <a:lnTo>
                    <a:pt x="364" y="1683"/>
                  </a:lnTo>
                  <a:lnTo>
                    <a:pt x="369" y="1678"/>
                  </a:lnTo>
                  <a:lnTo>
                    <a:pt x="370" y="1676"/>
                  </a:lnTo>
                  <a:lnTo>
                    <a:pt x="369" y="1673"/>
                  </a:lnTo>
                  <a:lnTo>
                    <a:pt x="360" y="1667"/>
                  </a:lnTo>
                  <a:lnTo>
                    <a:pt x="359" y="1662"/>
                  </a:lnTo>
                  <a:lnTo>
                    <a:pt x="360" y="1658"/>
                  </a:lnTo>
                  <a:lnTo>
                    <a:pt x="369" y="1640"/>
                  </a:lnTo>
                  <a:lnTo>
                    <a:pt x="369" y="1635"/>
                  </a:lnTo>
                  <a:lnTo>
                    <a:pt x="367" y="1629"/>
                  </a:lnTo>
                  <a:lnTo>
                    <a:pt x="362" y="1624"/>
                  </a:lnTo>
                  <a:lnTo>
                    <a:pt x="346" y="1617"/>
                  </a:lnTo>
                  <a:lnTo>
                    <a:pt x="335" y="1611"/>
                  </a:lnTo>
                  <a:lnTo>
                    <a:pt x="316" y="1593"/>
                  </a:lnTo>
                  <a:lnTo>
                    <a:pt x="310" y="1590"/>
                  </a:lnTo>
                  <a:lnTo>
                    <a:pt x="306" y="1590"/>
                  </a:lnTo>
                  <a:lnTo>
                    <a:pt x="302" y="1591"/>
                  </a:lnTo>
                  <a:lnTo>
                    <a:pt x="292" y="1598"/>
                  </a:lnTo>
                  <a:lnTo>
                    <a:pt x="280" y="1608"/>
                  </a:lnTo>
                  <a:lnTo>
                    <a:pt x="270" y="1617"/>
                  </a:lnTo>
                  <a:lnTo>
                    <a:pt x="261" y="1623"/>
                  </a:lnTo>
                  <a:lnTo>
                    <a:pt x="233" y="1631"/>
                  </a:lnTo>
                  <a:lnTo>
                    <a:pt x="199" y="1632"/>
                  </a:lnTo>
                  <a:lnTo>
                    <a:pt x="188" y="1633"/>
                  </a:lnTo>
                  <a:lnTo>
                    <a:pt x="178" y="1636"/>
                  </a:lnTo>
                  <a:lnTo>
                    <a:pt x="166" y="1643"/>
                  </a:lnTo>
                  <a:lnTo>
                    <a:pt x="162" y="1643"/>
                  </a:lnTo>
                  <a:lnTo>
                    <a:pt x="159" y="1642"/>
                  </a:lnTo>
                  <a:lnTo>
                    <a:pt x="159" y="1639"/>
                  </a:lnTo>
                  <a:lnTo>
                    <a:pt x="162" y="1617"/>
                  </a:lnTo>
                  <a:lnTo>
                    <a:pt x="158" y="1612"/>
                  </a:lnTo>
                  <a:lnTo>
                    <a:pt x="146" y="1602"/>
                  </a:lnTo>
                  <a:lnTo>
                    <a:pt x="146" y="1599"/>
                  </a:lnTo>
                  <a:lnTo>
                    <a:pt x="147" y="1594"/>
                  </a:lnTo>
                  <a:lnTo>
                    <a:pt x="146" y="1590"/>
                  </a:lnTo>
                  <a:lnTo>
                    <a:pt x="144" y="1589"/>
                  </a:lnTo>
                  <a:lnTo>
                    <a:pt x="135" y="1588"/>
                  </a:lnTo>
                  <a:lnTo>
                    <a:pt x="135" y="1588"/>
                  </a:lnTo>
                  <a:lnTo>
                    <a:pt x="138" y="1571"/>
                  </a:lnTo>
                  <a:lnTo>
                    <a:pt x="142" y="1558"/>
                  </a:lnTo>
                  <a:lnTo>
                    <a:pt x="143" y="1550"/>
                  </a:lnTo>
                  <a:lnTo>
                    <a:pt x="142" y="1546"/>
                  </a:lnTo>
                  <a:lnTo>
                    <a:pt x="129" y="1523"/>
                  </a:lnTo>
                  <a:lnTo>
                    <a:pt x="126" y="1511"/>
                  </a:lnTo>
                  <a:lnTo>
                    <a:pt x="125" y="1501"/>
                  </a:lnTo>
                  <a:lnTo>
                    <a:pt x="133" y="1478"/>
                  </a:lnTo>
                  <a:lnTo>
                    <a:pt x="152" y="1437"/>
                  </a:lnTo>
                  <a:lnTo>
                    <a:pt x="152" y="1428"/>
                  </a:lnTo>
                  <a:lnTo>
                    <a:pt x="150" y="1411"/>
                  </a:lnTo>
                  <a:lnTo>
                    <a:pt x="151" y="1400"/>
                  </a:lnTo>
                  <a:lnTo>
                    <a:pt x="160" y="1380"/>
                  </a:lnTo>
                  <a:lnTo>
                    <a:pt x="170" y="1366"/>
                  </a:lnTo>
                  <a:lnTo>
                    <a:pt x="182" y="1361"/>
                  </a:lnTo>
                  <a:lnTo>
                    <a:pt x="192" y="1353"/>
                  </a:lnTo>
                  <a:lnTo>
                    <a:pt x="209" y="1350"/>
                  </a:lnTo>
                  <a:lnTo>
                    <a:pt x="210" y="1348"/>
                  </a:lnTo>
                  <a:lnTo>
                    <a:pt x="210" y="1344"/>
                  </a:lnTo>
                  <a:lnTo>
                    <a:pt x="208" y="1338"/>
                  </a:lnTo>
                  <a:lnTo>
                    <a:pt x="205" y="1334"/>
                  </a:lnTo>
                  <a:lnTo>
                    <a:pt x="196" y="1333"/>
                  </a:lnTo>
                  <a:lnTo>
                    <a:pt x="187" y="1334"/>
                  </a:lnTo>
                  <a:lnTo>
                    <a:pt x="150" y="1345"/>
                  </a:lnTo>
                  <a:lnTo>
                    <a:pt x="132" y="1347"/>
                  </a:lnTo>
                  <a:lnTo>
                    <a:pt x="124" y="1347"/>
                  </a:lnTo>
                  <a:lnTo>
                    <a:pt x="123" y="1334"/>
                  </a:lnTo>
                  <a:lnTo>
                    <a:pt x="143" y="1314"/>
                  </a:lnTo>
                  <a:lnTo>
                    <a:pt x="152" y="1303"/>
                  </a:lnTo>
                  <a:lnTo>
                    <a:pt x="154" y="1300"/>
                  </a:lnTo>
                  <a:lnTo>
                    <a:pt x="154" y="1295"/>
                  </a:lnTo>
                  <a:lnTo>
                    <a:pt x="150" y="1282"/>
                  </a:lnTo>
                  <a:lnTo>
                    <a:pt x="150" y="1276"/>
                  </a:lnTo>
                  <a:lnTo>
                    <a:pt x="160" y="1259"/>
                  </a:lnTo>
                  <a:lnTo>
                    <a:pt x="163" y="1252"/>
                  </a:lnTo>
                  <a:lnTo>
                    <a:pt x="163" y="1246"/>
                  </a:lnTo>
                  <a:lnTo>
                    <a:pt x="160" y="1237"/>
                  </a:lnTo>
                  <a:lnTo>
                    <a:pt x="161" y="1213"/>
                  </a:lnTo>
                  <a:lnTo>
                    <a:pt x="160" y="1211"/>
                  </a:lnTo>
                  <a:lnTo>
                    <a:pt x="156" y="1208"/>
                  </a:lnTo>
                  <a:lnTo>
                    <a:pt x="142" y="1202"/>
                  </a:lnTo>
                  <a:lnTo>
                    <a:pt x="96" y="1190"/>
                  </a:lnTo>
                  <a:lnTo>
                    <a:pt x="91" y="1176"/>
                  </a:lnTo>
                  <a:lnTo>
                    <a:pt x="89" y="1170"/>
                  </a:lnTo>
                  <a:lnTo>
                    <a:pt x="88" y="1158"/>
                  </a:lnTo>
                  <a:lnTo>
                    <a:pt x="89" y="1135"/>
                  </a:lnTo>
                  <a:lnTo>
                    <a:pt x="90" y="1131"/>
                  </a:lnTo>
                  <a:lnTo>
                    <a:pt x="101" y="1108"/>
                  </a:lnTo>
                  <a:lnTo>
                    <a:pt x="107" y="1096"/>
                  </a:lnTo>
                  <a:lnTo>
                    <a:pt x="107" y="1091"/>
                  </a:lnTo>
                  <a:lnTo>
                    <a:pt x="104" y="1083"/>
                  </a:lnTo>
                  <a:lnTo>
                    <a:pt x="93" y="1072"/>
                  </a:lnTo>
                  <a:lnTo>
                    <a:pt x="80" y="1043"/>
                  </a:lnTo>
                  <a:lnTo>
                    <a:pt x="75" y="1042"/>
                  </a:lnTo>
                  <a:lnTo>
                    <a:pt x="65" y="1042"/>
                  </a:lnTo>
                  <a:lnTo>
                    <a:pt x="63" y="1041"/>
                  </a:lnTo>
                  <a:lnTo>
                    <a:pt x="62" y="1038"/>
                  </a:lnTo>
                  <a:lnTo>
                    <a:pt x="64" y="1027"/>
                  </a:lnTo>
                  <a:lnTo>
                    <a:pt x="76" y="1000"/>
                  </a:lnTo>
                  <a:lnTo>
                    <a:pt x="83" y="987"/>
                  </a:lnTo>
                  <a:lnTo>
                    <a:pt x="85" y="969"/>
                  </a:lnTo>
                  <a:lnTo>
                    <a:pt x="89" y="958"/>
                  </a:lnTo>
                  <a:lnTo>
                    <a:pt x="90" y="954"/>
                  </a:lnTo>
                  <a:lnTo>
                    <a:pt x="89" y="953"/>
                  </a:lnTo>
                  <a:lnTo>
                    <a:pt x="86" y="952"/>
                  </a:lnTo>
                  <a:lnTo>
                    <a:pt x="73" y="952"/>
                  </a:lnTo>
                  <a:lnTo>
                    <a:pt x="64" y="955"/>
                  </a:lnTo>
                  <a:lnTo>
                    <a:pt x="44" y="962"/>
                  </a:lnTo>
                  <a:lnTo>
                    <a:pt x="25" y="961"/>
                  </a:lnTo>
                  <a:lnTo>
                    <a:pt x="19" y="959"/>
                  </a:lnTo>
                  <a:lnTo>
                    <a:pt x="16" y="957"/>
                  </a:lnTo>
                  <a:lnTo>
                    <a:pt x="15" y="955"/>
                  </a:lnTo>
                  <a:lnTo>
                    <a:pt x="14" y="940"/>
                  </a:lnTo>
                  <a:lnTo>
                    <a:pt x="6" y="925"/>
                  </a:lnTo>
                  <a:lnTo>
                    <a:pt x="11" y="906"/>
                  </a:lnTo>
                  <a:lnTo>
                    <a:pt x="0" y="898"/>
                  </a:lnTo>
                  <a:lnTo>
                    <a:pt x="4" y="865"/>
                  </a:lnTo>
                  <a:lnTo>
                    <a:pt x="34" y="820"/>
                  </a:lnTo>
                  <a:lnTo>
                    <a:pt x="42" y="806"/>
                  </a:lnTo>
                  <a:lnTo>
                    <a:pt x="44" y="795"/>
                  </a:lnTo>
                  <a:lnTo>
                    <a:pt x="40" y="781"/>
                  </a:lnTo>
                  <a:lnTo>
                    <a:pt x="42" y="776"/>
                  </a:lnTo>
                  <a:lnTo>
                    <a:pt x="43" y="768"/>
                  </a:lnTo>
                  <a:lnTo>
                    <a:pt x="47" y="758"/>
                  </a:lnTo>
                  <a:lnTo>
                    <a:pt x="53" y="751"/>
                  </a:lnTo>
                  <a:lnTo>
                    <a:pt x="61" y="746"/>
                  </a:lnTo>
                  <a:lnTo>
                    <a:pt x="104" y="727"/>
                  </a:lnTo>
                  <a:lnTo>
                    <a:pt x="122" y="717"/>
                  </a:lnTo>
                  <a:lnTo>
                    <a:pt x="124" y="714"/>
                  </a:lnTo>
                  <a:lnTo>
                    <a:pt x="121" y="704"/>
                  </a:lnTo>
                  <a:lnTo>
                    <a:pt x="118" y="699"/>
                  </a:lnTo>
                  <a:lnTo>
                    <a:pt x="106" y="687"/>
                  </a:lnTo>
                  <a:lnTo>
                    <a:pt x="107" y="682"/>
                  </a:lnTo>
                  <a:lnTo>
                    <a:pt x="114" y="678"/>
                  </a:lnTo>
                  <a:lnTo>
                    <a:pt x="136" y="670"/>
                  </a:lnTo>
                  <a:lnTo>
                    <a:pt x="154" y="657"/>
                  </a:lnTo>
                  <a:lnTo>
                    <a:pt x="159" y="653"/>
                  </a:lnTo>
                  <a:lnTo>
                    <a:pt x="168" y="643"/>
                  </a:lnTo>
                  <a:lnTo>
                    <a:pt x="188" y="614"/>
                  </a:lnTo>
                  <a:lnTo>
                    <a:pt x="188" y="607"/>
                  </a:lnTo>
                  <a:lnTo>
                    <a:pt x="186" y="600"/>
                  </a:lnTo>
                  <a:lnTo>
                    <a:pt x="170" y="589"/>
                  </a:lnTo>
                  <a:lnTo>
                    <a:pt x="171" y="584"/>
                  </a:lnTo>
                  <a:lnTo>
                    <a:pt x="176" y="577"/>
                  </a:lnTo>
                  <a:lnTo>
                    <a:pt x="176" y="573"/>
                  </a:lnTo>
                  <a:lnTo>
                    <a:pt x="143" y="551"/>
                  </a:lnTo>
                  <a:lnTo>
                    <a:pt x="140" y="547"/>
                  </a:lnTo>
                  <a:lnTo>
                    <a:pt x="139" y="544"/>
                  </a:lnTo>
                  <a:lnTo>
                    <a:pt x="139" y="540"/>
                  </a:lnTo>
                  <a:lnTo>
                    <a:pt x="141" y="527"/>
                  </a:lnTo>
                  <a:lnTo>
                    <a:pt x="139" y="517"/>
                  </a:lnTo>
                  <a:lnTo>
                    <a:pt x="139" y="511"/>
                  </a:lnTo>
                  <a:lnTo>
                    <a:pt x="152" y="481"/>
                  </a:lnTo>
                  <a:lnTo>
                    <a:pt x="152" y="455"/>
                  </a:lnTo>
                  <a:lnTo>
                    <a:pt x="151" y="450"/>
                  </a:lnTo>
                  <a:lnTo>
                    <a:pt x="146" y="446"/>
                  </a:lnTo>
                  <a:lnTo>
                    <a:pt x="132" y="453"/>
                  </a:lnTo>
                  <a:lnTo>
                    <a:pt x="126" y="452"/>
                  </a:lnTo>
                  <a:lnTo>
                    <a:pt x="121" y="450"/>
                  </a:lnTo>
                  <a:lnTo>
                    <a:pt x="120" y="446"/>
                  </a:lnTo>
                  <a:lnTo>
                    <a:pt x="115" y="427"/>
                  </a:lnTo>
                  <a:lnTo>
                    <a:pt x="112" y="422"/>
                  </a:lnTo>
                  <a:lnTo>
                    <a:pt x="109" y="420"/>
                  </a:lnTo>
                  <a:lnTo>
                    <a:pt x="103" y="420"/>
                  </a:lnTo>
                  <a:lnTo>
                    <a:pt x="93" y="426"/>
                  </a:lnTo>
                  <a:lnTo>
                    <a:pt x="90" y="427"/>
                  </a:lnTo>
                  <a:lnTo>
                    <a:pt x="88" y="425"/>
                  </a:lnTo>
                  <a:lnTo>
                    <a:pt x="85" y="420"/>
                  </a:lnTo>
                  <a:lnTo>
                    <a:pt x="86" y="386"/>
                  </a:lnTo>
                  <a:lnTo>
                    <a:pt x="86" y="386"/>
                  </a:lnTo>
                  <a:lnTo>
                    <a:pt x="87" y="377"/>
                  </a:lnTo>
                  <a:lnTo>
                    <a:pt x="90" y="368"/>
                  </a:lnTo>
                  <a:lnTo>
                    <a:pt x="110" y="345"/>
                  </a:lnTo>
                  <a:lnTo>
                    <a:pt x="119" y="332"/>
                  </a:lnTo>
                  <a:lnTo>
                    <a:pt x="125" y="330"/>
                  </a:lnTo>
                  <a:lnTo>
                    <a:pt x="159" y="324"/>
                  </a:lnTo>
                  <a:lnTo>
                    <a:pt x="168" y="318"/>
                  </a:lnTo>
                  <a:lnTo>
                    <a:pt x="171" y="311"/>
                  </a:lnTo>
                  <a:lnTo>
                    <a:pt x="175" y="286"/>
                  </a:lnTo>
                  <a:lnTo>
                    <a:pt x="177" y="283"/>
                  </a:lnTo>
                  <a:lnTo>
                    <a:pt x="180" y="279"/>
                  </a:lnTo>
                  <a:lnTo>
                    <a:pt x="187" y="277"/>
                  </a:lnTo>
                  <a:lnTo>
                    <a:pt x="196" y="284"/>
                  </a:lnTo>
                  <a:lnTo>
                    <a:pt x="199" y="284"/>
                  </a:lnTo>
                  <a:lnTo>
                    <a:pt x="229" y="284"/>
                  </a:lnTo>
                  <a:lnTo>
                    <a:pt x="243" y="282"/>
                  </a:lnTo>
                  <a:lnTo>
                    <a:pt x="254" y="277"/>
                  </a:lnTo>
                  <a:lnTo>
                    <a:pt x="274" y="264"/>
                  </a:lnTo>
                  <a:lnTo>
                    <a:pt x="289" y="257"/>
                  </a:lnTo>
                  <a:lnTo>
                    <a:pt x="295" y="257"/>
                  </a:lnTo>
                  <a:lnTo>
                    <a:pt x="302" y="259"/>
                  </a:lnTo>
                  <a:lnTo>
                    <a:pt x="314" y="266"/>
                  </a:lnTo>
                  <a:lnTo>
                    <a:pt x="318" y="265"/>
                  </a:lnTo>
                  <a:lnTo>
                    <a:pt x="327" y="258"/>
                  </a:lnTo>
                  <a:lnTo>
                    <a:pt x="333" y="255"/>
                  </a:lnTo>
                  <a:lnTo>
                    <a:pt x="355" y="253"/>
                  </a:lnTo>
                  <a:lnTo>
                    <a:pt x="361" y="244"/>
                  </a:lnTo>
                  <a:lnTo>
                    <a:pt x="364" y="234"/>
                  </a:lnTo>
                  <a:lnTo>
                    <a:pt x="362" y="232"/>
                  </a:lnTo>
                  <a:lnTo>
                    <a:pt x="358" y="231"/>
                  </a:lnTo>
                  <a:lnTo>
                    <a:pt x="350" y="238"/>
                  </a:lnTo>
                  <a:lnTo>
                    <a:pt x="348" y="238"/>
                  </a:lnTo>
                  <a:lnTo>
                    <a:pt x="345" y="231"/>
                  </a:lnTo>
                  <a:lnTo>
                    <a:pt x="350" y="219"/>
                  </a:lnTo>
                  <a:lnTo>
                    <a:pt x="353" y="214"/>
                  </a:lnTo>
                  <a:lnTo>
                    <a:pt x="354" y="213"/>
                  </a:lnTo>
                  <a:lnTo>
                    <a:pt x="366" y="220"/>
                  </a:lnTo>
                  <a:lnTo>
                    <a:pt x="369" y="220"/>
                  </a:lnTo>
                  <a:lnTo>
                    <a:pt x="370" y="220"/>
                  </a:lnTo>
                  <a:lnTo>
                    <a:pt x="372" y="217"/>
                  </a:lnTo>
                  <a:lnTo>
                    <a:pt x="371" y="204"/>
                  </a:lnTo>
                  <a:lnTo>
                    <a:pt x="372" y="199"/>
                  </a:lnTo>
                  <a:lnTo>
                    <a:pt x="379" y="196"/>
                  </a:lnTo>
                  <a:lnTo>
                    <a:pt x="379" y="196"/>
                  </a:lnTo>
                  <a:lnTo>
                    <a:pt x="379" y="196"/>
                  </a:lnTo>
                  <a:lnTo>
                    <a:pt x="379" y="196"/>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5" name="湖南">
              <a:extLst>
                <a:ext uri="{FF2B5EF4-FFF2-40B4-BE49-F238E27FC236}">
                  <a16:creationId xmlns:a16="http://schemas.microsoft.com/office/drawing/2014/main" id="{34F3B985-3B36-0582-1C83-8C25FF53210F}"/>
                </a:ext>
              </a:extLst>
            </p:cNvPr>
            <p:cNvSpPr>
              <a:spLocks/>
            </p:cNvSpPr>
            <p:nvPr/>
          </p:nvSpPr>
          <p:spPr bwMode="auto">
            <a:xfrm>
              <a:off x="6170613" y="4514852"/>
              <a:ext cx="863600" cy="969963"/>
            </a:xfrm>
            <a:custGeom>
              <a:avLst/>
              <a:gdLst>
                <a:gd name="T0" fmla="*/ 149 w 1631"/>
                <a:gd name="T1" fmla="*/ 493 h 1835"/>
                <a:gd name="T2" fmla="*/ 167 w 1631"/>
                <a:gd name="T3" fmla="*/ 373 h 1835"/>
                <a:gd name="T4" fmla="*/ 176 w 1631"/>
                <a:gd name="T5" fmla="*/ 276 h 1835"/>
                <a:gd name="T6" fmla="*/ 242 w 1631"/>
                <a:gd name="T7" fmla="*/ 167 h 1835"/>
                <a:gd name="T8" fmla="*/ 409 w 1631"/>
                <a:gd name="T9" fmla="*/ 116 h 1835"/>
                <a:gd name="T10" fmla="*/ 490 w 1631"/>
                <a:gd name="T11" fmla="*/ 158 h 1835"/>
                <a:gd name="T12" fmla="*/ 517 w 1631"/>
                <a:gd name="T13" fmla="*/ 88 h 1835"/>
                <a:gd name="T14" fmla="*/ 566 w 1631"/>
                <a:gd name="T15" fmla="*/ 28 h 1835"/>
                <a:gd name="T16" fmla="*/ 739 w 1631"/>
                <a:gd name="T17" fmla="*/ 51 h 1835"/>
                <a:gd name="T18" fmla="*/ 925 w 1631"/>
                <a:gd name="T19" fmla="*/ 101 h 1835"/>
                <a:gd name="T20" fmla="*/ 1025 w 1631"/>
                <a:gd name="T21" fmla="*/ 180 h 1835"/>
                <a:gd name="T22" fmla="*/ 1092 w 1631"/>
                <a:gd name="T23" fmla="*/ 166 h 1835"/>
                <a:gd name="T24" fmla="*/ 1205 w 1631"/>
                <a:gd name="T25" fmla="*/ 130 h 1835"/>
                <a:gd name="T26" fmla="*/ 1211 w 1631"/>
                <a:gd name="T27" fmla="*/ 206 h 1835"/>
                <a:gd name="T28" fmla="*/ 1257 w 1631"/>
                <a:gd name="T29" fmla="*/ 203 h 1835"/>
                <a:gd name="T30" fmla="*/ 1382 w 1631"/>
                <a:gd name="T31" fmla="*/ 128 h 1835"/>
                <a:gd name="T32" fmla="*/ 1448 w 1631"/>
                <a:gd name="T33" fmla="*/ 191 h 1835"/>
                <a:gd name="T34" fmla="*/ 1407 w 1631"/>
                <a:gd name="T35" fmla="*/ 285 h 1835"/>
                <a:gd name="T36" fmla="*/ 1450 w 1631"/>
                <a:gd name="T37" fmla="*/ 335 h 1835"/>
                <a:gd name="T38" fmla="*/ 1530 w 1631"/>
                <a:gd name="T39" fmla="*/ 379 h 1835"/>
                <a:gd name="T40" fmla="*/ 1560 w 1631"/>
                <a:gd name="T41" fmla="*/ 499 h 1835"/>
                <a:gd name="T42" fmla="*/ 1557 w 1631"/>
                <a:gd name="T43" fmla="*/ 629 h 1835"/>
                <a:gd name="T44" fmla="*/ 1461 w 1631"/>
                <a:gd name="T45" fmla="*/ 740 h 1835"/>
                <a:gd name="T46" fmla="*/ 1485 w 1631"/>
                <a:gd name="T47" fmla="*/ 914 h 1835"/>
                <a:gd name="T48" fmla="*/ 1501 w 1631"/>
                <a:gd name="T49" fmla="*/ 1002 h 1835"/>
                <a:gd name="T50" fmla="*/ 1581 w 1631"/>
                <a:gd name="T51" fmla="*/ 1170 h 1835"/>
                <a:gd name="T52" fmla="*/ 1553 w 1631"/>
                <a:gd name="T53" fmla="*/ 1306 h 1835"/>
                <a:gd name="T54" fmla="*/ 1571 w 1631"/>
                <a:gd name="T55" fmla="*/ 1370 h 1835"/>
                <a:gd name="T56" fmla="*/ 1541 w 1631"/>
                <a:gd name="T57" fmla="*/ 1553 h 1835"/>
                <a:gd name="T58" fmla="*/ 1406 w 1631"/>
                <a:gd name="T59" fmla="*/ 1577 h 1835"/>
                <a:gd name="T60" fmla="*/ 1254 w 1631"/>
                <a:gd name="T61" fmla="*/ 1597 h 1835"/>
                <a:gd name="T62" fmla="*/ 1270 w 1631"/>
                <a:gd name="T63" fmla="*/ 1653 h 1835"/>
                <a:gd name="T64" fmla="*/ 1196 w 1631"/>
                <a:gd name="T65" fmla="*/ 1709 h 1835"/>
                <a:gd name="T66" fmla="*/ 1089 w 1631"/>
                <a:gd name="T67" fmla="*/ 1660 h 1835"/>
                <a:gd name="T68" fmla="*/ 1023 w 1631"/>
                <a:gd name="T69" fmla="*/ 1744 h 1835"/>
                <a:gd name="T70" fmla="*/ 878 w 1631"/>
                <a:gd name="T71" fmla="*/ 1793 h 1835"/>
                <a:gd name="T72" fmla="*/ 804 w 1631"/>
                <a:gd name="T73" fmla="*/ 1764 h 1835"/>
                <a:gd name="T74" fmla="*/ 788 w 1631"/>
                <a:gd name="T75" fmla="*/ 1672 h 1835"/>
                <a:gd name="T76" fmla="*/ 691 w 1631"/>
                <a:gd name="T77" fmla="*/ 1740 h 1835"/>
                <a:gd name="T78" fmla="*/ 708 w 1631"/>
                <a:gd name="T79" fmla="*/ 1618 h 1835"/>
                <a:gd name="T80" fmla="*/ 810 w 1631"/>
                <a:gd name="T81" fmla="*/ 1430 h 1835"/>
                <a:gd name="T82" fmla="*/ 744 w 1631"/>
                <a:gd name="T83" fmla="*/ 1355 h 1835"/>
                <a:gd name="T84" fmla="*/ 648 w 1631"/>
                <a:gd name="T85" fmla="*/ 1258 h 1835"/>
                <a:gd name="T86" fmla="*/ 576 w 1631"/>
                <a:gd name="T87" fmla="*/ 1287 h 1835"/>
                <a:gd name="T88" fmla="*/ 461 w 1631"/>
                <a:gd name="T89" fmla="*/ 1394 h 1835"/>
                <a:gd name="T90" fmla="*/ 385 w 1631"/>
                <a:gd name="T91" fmla="*/ 1370 h 1835"/>
                <a:gd name="T92" fmla="*/ 307 w 1631"/>
                <a:gd name="T93" fmla="*/ 1375 h 1835"/>
                <a:gd name="T94" fmla="*/ 273 w 1631"/>
                <a:gd name="T95" fmla="*/ 1395 h 1835"/>
                <a:gd name="T96" fmla="*/ 213 w 1631"/>
                <a:gd name="T97" fmla="*/ 1341 h 1835"/>
                <a:gd name="T98" fmla="*/ 149 w 1631"/>
                <a:gd name="T99" fmla="*/ 1283 h 1835"/>
                <a:gd name="T100" fmla="*/ 154 w 1631"/>
                <a:gd name="T101" fmla="*/ 1145 h 1835"/>
                <a:gd name="T102" fmla="*/ 214 w 1631"/>
                <a:gd name="T103" fmla="*/ 1089 h 1835"/>
                <a:gd name="T104" fmla="*/ 222 w 1631"/>
                <a:gd name="T105" fmla="*/ 1037 h 1835"/>
                <a:gd name="T106" fmla="*/ 102 w 1631"/>
                <a:gd name="T107" fmla="*/ 1026 h 1835"/>
                <a:gd name="T108" fmla="*/ 5 w 1631"/>
                <a:gd name="T109" fmla="*/ 1022 h 1835"/>
                <a:gd name="T110" fmla="*/ 116 w 1631"/>
                <a:gd name="T111" fmla="*/ 916 h 1835"/>
                <a:gd name="T112" fmla="*/ 198 w 1631"/>
                <a:gd name="T113" fmla="*/ 824 h 1835"/>
                <a:gd name="T114" fmla="*/ 158 w 1631"/>
                <a:gd name="T115" fmla="*/ 710 h 1835"/>
                <a:gd name="T116" fmla="*/ 156 w 1631"/>
                <a:gd name="T117" fmla="*/ 593 h 1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1" h="1835">
                  <a:moveTo>
                    <a:pt x="150" y="561"/>
                  </a:moveTo>
                  <a:lnTo>
                    <a:pt x="153" y="551"/>
                  </a:lnTo>
                  <a:lnTo>
                    <a:pt x="156" y="532"/>
                  </a:lnTo>
                  <a:lnTo>
                    <a:pt x="159" y="528"/>
                  </a:lnTo>
                  <a:lnTo>
                    <a:pt x="168" y="521"/>
                  </a:lnTo>
                  <a:lnTo>
                    <a:pt x="168" y="517"/>
                  </a:lnTo>
                  <a:lnTo>
                    <a:pt x="165" y="514"/>
                  </a:lnTo>
                  <a:lnTo>
                    <a:pt x="158" y="511"/>
                  </a:lnTo>
                  <a:lnTo>
                    <a:pt x="135" y="513"/>
                  </a:lnTo>
                  <a:lnTo>
                    <a:pt x="133" y="511"/>
                  </a:lnTo>
                  <a:lnTo>
                    <a:pt x="132" y="506"/>
                  </a:lnTo>
                  <a:lnTo>
                    <a:pt x="135" y="502"/>
                  </a:lnTo>
                  <a:lnTo>
                    <a:pt x="148" y="496"/>
                  </a:lnTo>
                  <a:lnTo>
                    <a:pt x="149" y="493"/>
                  </a:lnTo>
                  <a:lnTo>
                    <a:pt x="149" y="488"/>
                  </a:lnTo>
                  <a:lnTo>
                    <a:pt x="150" y="485"/>
                  </a:lnTo>
                  <a:lnTo>
                    <a:pt x="158" y="478"/>
                  </a:lnTo>
                  <a:lnTo>
                    <a:pt x="162" y="472"/>
                  </a:lnTo>
                  <a:lnTo>
                    <a:pt x="160" y="468"/>
                  </a:lnTo>
                  <a:lnTo>
                    <a:pt x="153" y="461"/>
                  </a:lnTo>
                  <a:lnTo>
                    <a:pt x="149" y="453"/>
                  </a:lnTo>
                  <a:lnTo>
                    <a:pt x="145" y="440"/>
                  </a:lnTo>
                  <a:lnTo>
                    <a:pt x="144" y="423"/>
                  </a:lnTo>
                  <a:lnTo>
                    <a:pt x="145" y="413"/>
                  </a:lnTo>
                  <a:lnTo>
                    <a:pt x="149" y="405"/>
                  </a:lnTo>
                  <a:lnTo>
                    <a:pt x="154" y="394"/>
                  </a:lnTo>
                  <a:lnTo>
                    <a:pt x="166" y="375"/>
                  </a:lnTo>
                  <a:lnTo>
                    <a:pt x="167" y="373"/>
                  </a:lnTo>
                  <a:lnTo>
                    <a:pt x="163" y="364"/>
                  </a:lnTo>
                  <a:lnTo>
                    <a:pt x="153" y="355"/>
                  </a:lnTo>
                  <a:lnTo>
                    <a:pt x="145" y="345"/>
                  </a:lnTo>
                  <a:lnTo>
                    <a:pt x="143" y="340"/>
                  </a:lnTo>
                  <a:lnTo>
                    <a:pt x="141" y="332"/>
                  </a:lnTo>
                  <a:lnTo>
                    <a:pt x="141" y="332"/>
                  </a:lnTo>
                  <a:lnTo>
                    <a:pt x="147" y="327"/>
                  </a:lnTo>
                  <a:lnTo>
                    <a:pt x="151" y="323"/>
                  </a:lnTo>
                  <a:lnTo>
                    <a:pt x="159" y="302"/>
                  </a:lnTo>
                  <a:lnTo>
                    <a:pt x="161" y="291"/>
                  </a:lnTo>
                  <a:lnTo>
                    <a:pt x="160" y="281"/>
                  </a:lnTo>
                  <a:lnTo>
                    <a:pt x="160" y="279"/>
                  </a:lnTo>
                  <a:lnTo>
                    <a:pt x="163" y="278"/>
                  </a:lnTo>
                  <a:lnTo>
                    <a:pt x="176" y="276"/>
                  </a:lnTo>
                  <a:lnTo>
                    <a:pt x="180" y="272"/>
                  </a:lnTo>
                  <a:lnTo>
                    <a:pt x="184" y="268"/>
                  </a:lnTo>
                  <a:lnTo>
                    <a:pt x="185" y="258"/>
                  </a:lnTo>
                  <a:lnTo>
                    <a:pt x="183" y="242"/>
                  </a:lnTo>
                  <a:lnTo>
                    <a:pt x="184" y="240"/>
                  </a:lnTo>
                  <a:lnTo>
                    <a:pt x="191" y="231"/>
                  </a:lnTo>
                  <a:lnTo>
                    <a:pt x="193" y="218"/>
                  </a:lnTo>
                  <a:lnTo>
                    <a:pt x="195" y="214"/>
                  </a:lnTo>
                  <a:lnTo>
                    <a:pt x="210" y="200"/>
                  </a:lnTo>
                  <a:lnTo>
                    <a:pt x="214" y="197"/>
                  </a:lnTo>
                  <a:lnTo>
                    <a:pt x="223" y="179"/>
                  </a:lnTo>
                  <a:lnTo>
                    <a:pt x="231" y="171"/>
                  </a:lnTo>
                  <a:lnTo>
                    <a:pt x="237" y="167"/>
                  </a:lnTo>
                  <a:lnTo>
                    <a:pt x="242" y="167"/>
                  </a:lnTo>
                  <a:lnTo>
                    <a:pt x="255" y="171"/>
                  </a:lnTo>
                  <a:lnTo>
                    <a:pt x="262" y="176"/>
                  </a:lnTo>
                  <a:lnTo>
                    <a:pt x="264" y="177"/>
                  </a:lnTo>
                  <a:lnTo>
                    <a:pt x="269" y="177"/>
                  </a:lnTo>
                  <a:lnTo>
                    <a:pt x="276" y="176"/>
                  </a:lnTo>
                  <a:lnTo>
                    <a:pt x="280" y="171"/>
                  </a:lnTo>
                  <a:lnTo>
                    <a:pt x="280" y="161"/>
                  </a:lnTo>
                  <a:lnTo>
                    <a:pt x="282" y="158"/>
                  </a:lnTo>
                  <a:lnTo>
                    <a:pt x="295" y="148"/>
                  </a:lnTo>
                  <a:lnTo>
                    <a:pt x="304" y="133"/>
                  </a:lnTo>
                  <a:lnTo>
                    <a:pt x="307" y="128"/>
                  </a:lnTo>
                  <a:lnTo>
                    <a:pt x="311" y="127"/>
                  </a:lnTo>
                  <a:lnTo>
                    <a:pt x="324" y="125"/>
                  </a:lnTo>
                  <a:lnTo>
                    <a:pt x="409" y="116"/>
                  </a:lnTo>
                  <a:lnTo>
                    <a:pt x="414" y="117"/>
                  </a:lnTo>
                  <a:lnTo>
                    <a:pt x="416" y="118"/>
                  </a:lnTo>
                  <a:lnTo>
                    <a:pt x="420" y="125"/>
                  </a:lnTo>
                  <a:lnTo>
                    <a:pt x="422" y="128"/>
                  </a:lnTo>
                  <a:lnTo>
                    <a:pt x="431" y="131"/>
                  </a:lnTo>
                  <a:lnTo>
                    <a:pt x="436" y="134"/>
                  </a:lnTo>
                  <a:lnTo>
                    <a:pt x="439" y="138"/>
                  </a:lnTo>
                  <a:lnTo>
                    <a:pt x="444" y="152"/>
                  </a:lnTo>
                  <a:lnTo>
                    <a:pt x="449" y="159"/>
                  </a:lnTo>
                  <a:lnTo>
                    <a:pt x="462" y="162"/>
                  </a:lnTo>
                  <a:lnTo>
                    <a:pt x="470" y="167"/>
                  </a:lnTo>
                  <a:lnTo>
                    <a:pt x="479" y="164"/>
                  </a:lnTo>
                  <a:lnTo>
                    <a:pt x="485" y="161"/>
                  </a:lnTo>
                  <a:lnTo>
                    <a:pt x="490" y="158"/>
                  </a:lnTo>
                  <a:lnTo>
                    <a:pt x="497" y="144"/>
                  </a:lnTo>
                  <a:lnTo>
                    <a:pt x="500" y="144"/>
                  </a:lnTo>
                  <a:lnTo>
                    <a:pt x="504" y="145"/>
                  </a:lnTo>
                  <a:lnTo>
                    <a:pt x="509" y="145"/>
                  </a:lnTo>
                  <a:lnTo>
                    <a:pt x="520" y="141"/>
                  </a:lnTo>
                  <a:lnTo>
                    <a:pt x="531" y="137"/>
                  </a:lnTo>
                  <a:lnTo>
                    <a:pt x="536" y="134"/>
                  </a:lnTo>
                  <a:lnTo>
                    <a:pt x="539" y="130"/>
                  </a:lnTo>
                  <a:lnTo>
                    <a:pt x="544" y="125"/>
                  </a:lnTo>
                  <a:lnTo>
                    <a:pt x="545" y="121"/>
                  </a:lnTo>
                  <a:lnTo>
                    <a:pt x="545" y="115"/>
                  </a:lnTo>
                  <a:lnTo>
                    <a:pt x="539" y="104"/>
                  </a:lnTo>
                  <a:lnTo>
                    <a:pt x="524" y="94"/>
                  </a:lnTo>
                  <a:lnTo>
                    <a:pt x="517" y="88"/>
                  </a:lnTo>
                  <a:lnTo>
                    <a:pt x="512" y="81"/>
                  </a:lnTo>
                  <a:lnTo>
                    <a:pt x="508" y="73"/>
                  </a:lnTo>
                  <a:lnTo>
                    <a:pt x="506" y="66"/>
                  </a:lnTo>
                  <a:lnTo>
                    <a:pt x="509" y="57"/>
                  </a:lnTo>
                  <a:lnTo>
                    <a:pt x="512" y="52"/>
                  </a:lnTo>
                  <a:lnTo>
                    <a:pt x="519" y="46"/>
                  </a:lnTo>
                  <a:lnTo>
                    <a:pt x="521" y="40"/>
                  </a:lnTo>
                  <a:lnTo>
                    <a:pt x="510" y="26"/>
                  </a:lnTo>
                  <a:lnTo>
                    <a:pt x="509" y="23"/>
                  </a:lnTo>
                  <a:lnTo>
                    <a:pt x="510" y="20"/>
                  </a:lnTo>
                  <a:lnTo>
                    <a:pt x="513" y="18"/>
                  </a:lnTo>
                  <a:lnTo>
                    <a:pt x="518" y="16"/>
                  </a:lnTo>
                  <a:lnTo>
                    <a:pt x="549" y="16"/>
                  </a:lnTo>
                  <a:lnTo>
                    <a:pt x="566" y="28"/>
                  </a:lnTo>
                  <a:lnTo>
                    <a:pt x="568" y="29"/>
                  </a:lnTo>
                  <a:lnTo>
                    <a:pt x="574" y="27"/>
                  </a:lnTo>
                  <a:lnTo>
                    <a:pt x="580" y="23"/>
                  </a:lnTo>
                  <a:lnTo>
                    <a:pt x="582" y="2"/>
                  </a:lnTo>
                  <a:lnTo>
                    <a:pt x="585" y="0"/>
                  </a:lnTo>
                  <a:lnTo>
                    <a:pt x="593" y="0"/>
                  </a:lnTo>
                  <a:lnTo>
                    <a:pt x="614" y="1"/>
                  </a:lnTo>
                  <a:lnTo>
                    <a:pt x="624" y="3"/>
                  </a:lnTo>
                  <a:lnTo>
                    <a:pt x="631" y="18"/>
                  </a:lnTo>
                  <a:lnTo>
                    <a:pt x="639" y="20"/>
                  </a:lnTo>
                  <a:lnTo>
                    <a:pt x="668" y="27"/>
                  </a:lnTo>
                  <a:lnTo>
                    <a:pt x="726" y="33"/>
                  </a:lnTo>
                  <a:lnTo>
                    <a:pt x="732" y="39"/>
                  </a:lnTo>
                  <a:lnTo>
                    <a:pt x="739" y="51"/>
                  </a:lnTo>
                  <a:lnTo>
                    <a:pt x="756" y="66"/>
                  </a:lnTo>
                  <a:lnTo>
                    <a:pt x="765" y="71"/>
                  </a:lnTo>
                  <a:lnTo>
                    <a:pt x="770" y="70"/>
                  </a:lnTo>
                  <a:lnTo>
                    <a:pt x="775" y="66"/>
                  </a:lnTo>
                  <a:lnTo>
                    <a:pt x="779" y="66"/>
                  </a:lnTo>
                  <a:lnTo>
                    <a:pt x="798" y="68"/>
                  </a:lnTo>
                  <a:lnTo>
                    <a:pt x="802" y="70"/>
                  </a:lnTo>
                  <a:lnTo>
                    <a:pt x="808" y="76"/>
                  </a:lnTo>
                  <a:lnTo>
                    <a:pt x="816" y="79"/>
                  </a:lnTo>
                  <a:lnTo>
                    <a:pt x="845" y="80"/>
                  </a:lnTo>
                  <a:lnTo>
                    <a:pt x="866" y="71"/>
                  </a:lnTo>
                  <a:lnTo>
                    <a:pt x="875" y="73"/>
                  </a:lnTo>
                  <a:lnTo>
                    <a:pt x="884" y="76"/>
                  </a:lnTo>
                  <a:lnTo>
                    <a:pt x="925" y="101"/>
                  </a:lnTo>
                  <a:lnTo>
                    <a:pt x="946" y="117"/>
                  </a:lnTo>
                  <a:lnTo>
                    <a:pt x="953" y="126"/>
                  </a:lnTo>
                  <a:lnTo>
                    <a:pt x="955" y="140"/>
                  </a:lnTo>
                  <a:lnTo>
                    <a:pt x="959" y="144"/>
                  </a:lnTo>
                  <a:lnTo>
                    <a:pt x="961" y="146"/>
                  </a:lnTo>
                  <a:lnTo>
                    <a:pt x="967" y="147"/>
                  </a:lnTo>
                  <a:lnTo>
                    <a:pt x="980" y="146"/>
                  </a:lnTo>
                  <a:lnTo>
                    <a:pt x="988" y="146"/>
                  </a:lnTo>
                  <a:lnTo>
                    <a:pt x="991" y="151"/>
                  </a:lnTo>
                  <a:lnTo>
                    <a:pt x="996" y="162"/>
                  </a:lnTo>
                  <a:lnTo>
                    <a:pt x="1007" y="157"/>
                  </a:lnTo>
                  <a:lnTo>
                    <a:pt x="1013" y="159"/>
                  </a:lnTo>
                  <a:lnTo>
                    <a:pt x="1021" y="170"/>
                  </a:lnTo>
                  <a:lnTo>
                    <a:pt x="1025" y="180"/>
                  </a:lnTo>
                  <a:lnTo>
                    <a:pt x="1025" y="184"/>
                  </a:lnTo>
                  <a:lnTo>
                    <a:pt x="1021" y="198"/>
                  </a:lnTo>
                  <a:lnTo>
                    <a:pt x="1021" y="203"/>
                  </a:lnTo>
                  <a:lnTo>
                    <a:pt x="1023" y="206"/>
                  </a:lnTo>
                  <a:lnTo>
                    <a:pt x="1026" y="205"/>
                  </a:lnTo>
                  <a:lnTo>
                    <a:pt x="1037" y="194"/>
                  </a:lnTo>
                  <a:lnTo>
                    <a:pt x="1056" y="180"/>
                  </a:lnTo>
                  <a:lnTo>
                    <a:pt x="1061" y="174"/>
                  </a:lnTo>
                  <a:lnTo>
                    <a:pt x="1068" y="163"/>
                  </a:lnTo>
                  <a:lnTo>
                    <a:pt x="1069" y="162"/>
                  </a:lnTo>
                  <a:lnTo>
                    <a:pt x="1076" y="161"/>
                  </a:lnTo>
                  <a:lnTo>
                    <a:pt x="1082" y="161"/>
                  </a:lnTo>
                  <a:lnTo>
                    <a:pt x="1087" y="163"/>
                  </a:lnTo>
                  <a:lnTo>
                    <a:pt x="1092" y="166"/>
                  </a:lnTo>
                  <a:lnTo>
                    <a:pt x="1095" y="167"/>
                  </a:lnTo>
                  <a:lnTo>
                    <a:pt x="1110" y="164"/>
                  </a:lnTo>
                  <a:lnTo>
                    <a:pt x="1118" y="163"/>
                  </a:lnTo>
                  <a:lnTo>
                    <a:pt x="1129" y="170"/>
                  </a:lnTo>
                  <a:lnTo>
                    <a:pt x="1133" y="170"/>
                  </a:lnTo>
                  <a:lnTo>
                    <a:pt x="1145" y="157"/>
                  </a:lnTo>
                  <a:lnTo>
                    <a:pt x="1162" y="141"/>
                  </a:lnTo>
                  <a:lnTo>
                    <a:pt x="1184" y="109"/>
                  </a:lnTo>
                  <a:lnTo>
                    <a:pt x="1189" y="105"/>
                  </a:lnTo>
                  <a:lnTo>
                    <a:pt x="1194" y="104"/>
                  </a:lnTo>
                  <a:lnTo>
                    <a:pt x="1196" y="104"/>
                  </a:lnTo>
                  <a:lnTo>
                    <a:pt x="1197" y="107"/>
                  </a:lnTo>
                  <a:lnTo>
                    <a:pt x="1204" y="129"/>
                  </a:lnTo>
                  <a:lnTo>
                    <a:pt x="1205" y="130"/>
                  </a:lnTo>
                  <a:lnTo>
                    <a:pt x="1208" y="129"/>
                  </a:lnTo>
                  <a:lnTo>
                    <a:pt x="1213" y="126"/>
                  </a:lnTo>
                  <a:lnTo>
                    <a:pt x="1229" y="109"/>
                  </a:lnTo>
                  <a:lnTo>
                    <a:pt x="1230" y="109"/>
                  </a:lnTo>
                  <a:lnTo>
                    <a:pt x="1231" y="112"/>
                  </a:lnTo>
                  <a:lnTo>
                    <a:pt x="1230" y="123"/>
                  </a:lnTo>
                  <a:lnTo>
                    <a:pt x="1228" y="136"/>
                  </a:lnTo>
                  <a:lnTo>
                    <a:pt x="1222" y="141"/>
                  </a:lnTo>
                  <a:lnTo>
                    <a:pt x="1205" y="155"/>
                  </a:lnTo>
                  <a:lnTo>
                    <a:pt x="1203" y="160"/>
                  </a:lnTo>
                  <a:lnTo>
                    <a:pt x="1202" y="169"/>
                  </a:lnTo>
                  <a:lnTo>
                    <a:pt x="1203" y="176"/>
                  </a:lnTo>
                  <a:lnTo>
                    <a:pt x="1208" y="192"/>
                  </a:lnTo>
                  <a:lnTo>
                    <a:pt x="1211" y="206"/>
                  </a:lnTo>
                  <a:lnTo>
                    <a:pt x="1212" y="211"/>
                  </a:lnTo>
                  <a:lnTo>
                    <a:pt x="1214" y="212"/>
                  </a:lnTo>
                  <a:lnTo>
                    <a:pt x="1215" y="212"/>
                  </a:lnTo>
                  <a:lnTo>
                    <a:pt x="1229" y="202"/>
                  </a:lnTo>
                  <a:lnTo>
                    <a:pt x="1240" y="199"/>
                  </a:lnTo>
                  <a:lnTo>
                    <a:pt x="1243" y="200"/>
                  </a:lnTo>
                  <a:lnTo>
                    <a:pt x="1246" y="205"/>
                  </a:lnTo>
                  <a:lnTo>
                    <a:pt x="1247" y="218"/>
                  </a:lnTo>
                  <a:lnTo>
                    <a:pt x="1249" y="224"/>
                  </a:lnTo>
                  <a:lnTo>
                    <a:pt x="1251" y="224"/>
                  </a:lnTo>
                  <a:lnTo>
                    <a:pt x="1253" y="223"/>
                  </a:lnTo>
                  <a:lnTo>
                    <a:pt x="1254" y="211"/>
                  </a:lnTo>
                  <a:lnTo>
                    <a:pt x="1256" y="206"/>
                  </a:lnTo>
                  <a:lnTo>
                    <a:pt x="1257" y="203"/>
                  </a:lnTo>
                  <a:lnTo>
                    <a:pt x="1260" y="207"/>
                  </a:lnTo>
                  <a:lnTo>
                    <a:pt x="1265" y="217"/>
                  </a:lnTo>
                  <a:lnTo>
                    <a:pt x="1269" y="219"/>
                  </a:lnTo>
                  <a:lnTo>
                    <a:pt x="1273" y="214"/>
                  </a:lnTo>
                  <a:lnTo>
                    <a:pt x="1290" y="187"/>
                  </a:lnTo>
                  <a:lnTo>
                    <a:pt x="1308" y="165"/>
                  </a:lnTo>
                  <a:lnTo>
                    <a:pt x="1339" y="125"/>
                  </a:lnTo>
                  <a:lnTo>
                    <a:pt x="1366" y="97"/>
                  </a:lnTo>
                  <a:lnTo>
                    <a:pt x="1375" y="89"/>
                  </a:lnTo>
                  <a:lnTo>
                    <a:pt x="1381" y="86"/>
                  </a:lnTo>
                  <a:lnTo>
                    <a:pt x="1382" y="88"/>
                  </a:lnTo>
                  <a:lnTo>
                    <a:pt x="1380" y="95"/>
                  </a:lnTo>
                  <a:lnTo>
                    <a:pt x="1381" y="121"/>
                  </a:lnTo>
                  <a:lnTo>
                    <a:pt x="1382" y="128"/>
                  </a:lnTo>
                  <a:lnTo>
                    <a:pt x="1385" y="134"/>
                  </a:lnTo>
                  <a:lnTo>
                    <a:pt x="1386" y="136"/>
                  </a:lnTo>
                  <a:lnTo>
                    <a:pt x="1388" y="136"/>
                  </a:lnTo>
                  <a:lnTo>
                    <a:pt x="1413" y="137"/>
                  </a:lnTo>
                  <a:lnTo>
                    <a:pt x="1424" y="146"/>
                  </a:lnTo>
                  <a:lnTo>
                    <a:pt x="1435" y="157"/>
                  </a:lnTo>
                  <a:lnTo>
                    <a:pt x="1438" y="163"/>
                  </a:lnTo>
                  <a:lnTo>
                    <a:pt x="1436" y="169"/>
                  </a:lnTo>
                  <a:lnTo>
                    <a:pt x="1430" y="177"/>
                  </a:lnTo>
                  <a:lnTo>
                    <a:pt x="1429" y="183"/>
                  </a:lnTo>
                  <a:lnTo>
                    <a:pt x="1431" y="185"/>
                  </a:lnTo>
                  <a:lnTo>
                    <a:pt x="1440" y="187"/>
                  </a:lnTo>
                  <a:lnTo>
                    <a:pt x="1445" y="189"/>
                  </a:lnTo>
                  <a:lnTo>
                    <a:pt x="1448" y="191"/>
                  </a:lnTo>
                  <a:lnTo>
                    <a:pt x="1449" y="194"/>
                  </a:lnTo>
                  <a:lnTo>
                    <a:pt x="1449" y="200"/>
                  </a:lnTo>
                  <a:lnTo>
                    <a:pt x="1447" y="211"/>
                  </a:lnTo>
                  <a:lnTo>
                    <a:pt x="1445" y="218"/>
                  </a:lnTo>
                  <a:lnTo>
                    <a:pt x="1441" y="223"/>
                  </a:lnTo>
                  <a:lnTo>
                    <a:pt x="1439" y="225"/>
                  </a:lnTo>
                  <a:lnTo>
                    <a:pt x="1423" y="228"/>
                  </a:lnTo>
                  <a:lnTo>
                    <a:pt x="1421" y="231"/>
                  </a:lnTo>
                  <a:lnTo>
                    <a:pt x="1419" y="243"/>
                  </a:lnTo>
                  <a:lnTo>
                    <a:pt x="1409" y="260"/>
                  </a:lnTo>
                  <a:lnTo>
                    <a:pt x="1406" y="264"/>
                  </a:lnTo>
                  <a:lnTo>
                    <a:pt x="1404" y="277"/>
                  </a:lnTo>
                  <a:lnTo>
                    <a:pt x="1405" y="282"/>
                  </a:lnTo>
                  <a:lnTo>
                    <a:pt x="1407" y="285"/>
                  </a:lnTo>
                  <a:lnTo>
                    <a:pt x="1410" y="285"/>
                  </a:lnTo>
                  <a:lnTo>
                    <a:pt x="1419" y="283"/>
                  </a:lnTo>
                  <a:lnTo>
                    <a:pt x="1422" y="283"/>
                  </a:lnTo>
                  <a:lnTo>
                    <a:pt x="1424" y="284"/>
                  </a:lnTo>
                  <a:lnTo>
                    <a:pt x="1428" y="287"/>
                  </a:lnTo>
                  <a:lnTo>
                    <a:pt x="1429" y="290"/>
                  </a:lnTo>
                  <a:lnTo>
                    <a:pt x="1428" y="294"/>
                  </a:lnTo>
                  <a:lnTo>
                    <a:pt x="1419" y="303"/>
                  </a:lnTo>
                  <a:lnTo>
                    <a:pt x="1418" y="307"/>
                  </a:lnTo>
                  <a:lnTo>
                    <a:pt x="1432" y="323"/>
                  </a:lnTo>
                  <a:lnTo>
                    <a:pt x="1433" y="332"/>
                  </a:lnTo>
                  <a:lnTo>
                    <a:pt x="1437" y="332"/>
                  </a:lnTo>
                  <a:lnTo>
                    <a:pt x="1442" y="330"/>
                  </a:lnTo>
                  <a:lnTo>
                    <a:pt x="1450" y="335"/>
                  </a:lnTo>
                  <a:lnTo>
                    <a:pt x="1461" y="325"/>
                  </a:lnTo>
                  <a:lnTo>
                    <a:pt x="1465" y="324"/>
                  </a:lnTo>
                  <a:lnTo>
                    <a:pt x="1469" y="326"/>
                  </a:lnTo>
                  <a:lnTo>
                    <a:pt x="1476" y="336"/>
                  </a:lnTo>
                  <a:lnTo>
                    <a:pt x="1484" y="341"/>
                  </a:lnTo>
                  <a:lnTo>
                    <a:pt x="1495" y="345"/>
                  </a:lnTo>
                  <a:lnTo>
                    <a:pt x="1507" y="345"/>
                  </a:lnTo>
                  <a:lnTo>
                    <a:pt x="1507" y="345"/>
                  </a:lnTo>
                  <a:lnTo>
                    <a:pt x="1506" y="379"/>
                  </a:lnTo>
                  <a:lnTo>
                    <a:pt x="1509" y="384"/>
                  </a:lnTo>
                  <a:lnTo>
                    <a:pt x="1511" y="386"/>
                  </a:lnTo>
                  <a:lnTo>
                    <a:pt x="1514" y="385"/>
                  </a:lnTo>
                  <a:lnTo>
                    <a:pt x="1524" y="379"/>
                  </a:lnTo>
                  <a:lnTo>
                    <a:pt x="1530" y="379"/>
                  </a:lnTo>
                  <a:lnTo>
                    <a:pt x="1533" y="381"/>
                  </a:lnTo>
                  <a:lnTo>
                    <a:pt x="1536" y="386"/>
                  </a:lnTo>
                  <a:lnTo>
                    <a:pt x="1541" y="405"/>
                  </a:lnTo>
                  <a:lnTo>
                    <a:pt x="1542" y="409"/>
                  </a:lnTo>
                  <a:lnTo>
                    <a:pt x="1547" y="411"/>
                  </a:lnTo>
                  <a:lnTo>
                    <a:pt x="1553" y="412"/>
                  </a:lnTo>
                  <a:lnTo>
                    <a:pt x="1567" y="405"/>
                  </a:lnTo>
                  <a:lnTo>
                    <a:pt x="1572" y="409"/>
                  </a:lnTo>
                  <a:lnTo>
                    <a:pt x="1573" y="414"/>
                  </a:lnTo>
                  <a:lnTo>
                    <a:pt x="1573" y="440"/>
                  </a:lnTo>
                  <a:lnTo>
                    <a:pt x="1560" y="470"/>
                  </a:lnTo>
                  <a:lnTo>
                    <a:pt x="1560" y="476"/>
                  </a:lnTo>
                  <a:lnTo>
                    <a:pt x="1562" y="486"/>
                  </a:lnTo>
                  <a:lnTo>
                    <a:pt x="1560" y="499"/>
                  </a:lnTo>
                  <a:lnTo>
                    <a:pt x="1560" y="503"/>
                  </a:lnTo>
                  <a:lnTo>
                    <a:pt x="1561" y="506"/>
                  </a:lnTo>
                  <a:lnTo>
                    <a:pt x="1564" y="510"/>
                  </a:lnTo>
                  <a:lnTo>
                    <a:pt x="1597" y="532"/>
                  </a:lnTo>
                  <a:lnTo>
                    <a:pt x="1597" y="536"/>
                  </a:lnTo>
                  <a:lnTo>
                    <a:pt x="1592" y="543"/>
                  </a:lnTo>
                  <a:lnTo>
                    <a:pt x="1591" y="548"/>
                  </a:lnTo>
                  <a:lnTo>
                    <a:pt x="1607" y="559"/>
                  </a:lnTo>
                  <a:lnTo>
                    <a:pt x="1609" y="566"/>
                  </a:lnTo>
                  <a:lnTo>
                    <a:pt x="1609" y="573"/>
                  </a:lnTo>
                  <a:lnTo>
                    <a:pt x="1589" y="602"/>
                  </a:lnTo>
                  <a:lnTo>
                    <a:pt x="1580" y="612"/>
                  </a:lnTo>
                  <a:lnTo>
                    <a:pt x="1575" y="616"/>
                  </a:lnTo>
                  <a:lnTo>
                    <a:pt x="1557" y="629"/>
                  </a:lnTo>
                  <a:lnTo>
                    <a:pt x="1535" y="637"/>
                  </a:lnTo>
                  <a:lnTo>
                    <a:pt x="1528" y="641"/>
                  </a:lnTo>
                  <a:lnTo>
                    <a:pt x="1527" y="646"/>
                  </a:lnTo>
                  <a:lnTo>
                    <a:pt x="1539" y="658"/>
                  </a:lnTo>
                  <a:lnTo>
                    <a:pt x="1542" y="663"/>
                  </a:lnTo>
                  <a:lnTo>
                    <a:pt x="1545" y="673"/>
                  </a:lnTo>
                  <a:lnTo>
                    <a:pt x="1543" y="676"/>
                  </a:lnTo>
                  <a:lnTo>
                    <a:pt x="1525" y="686"/>
                  </a:lnTo>
                  <a:lnTo>
                    <a:pt x="1482" y="705"/>
                  </a:lnTo>
                  <a:lnTo>
                    <a:pt x="1474" y="710"/>
                  </a:lnTo>
                  <a:lnTo>
                    <a:pt x="1468" y="717"/>
                  </a:lnTo>
                  <a:lnTo>
                    <a:pt x="1464" y="727"/>
                  </a:lnTo>
                  <a:lnTo>
                    <a:pt x="1463" y="735"/>
                  </a:lnTo>
                  <a:lnTo>
                    <a:pt x="1461" y="740"/>
                  </a:lnTo>
                  <a:lnTo>
                    <a:pt x="1465" y="754"/>
                  </a:lnTo>
                  <a:lnTo>
                    <a:pt x="1463" y="765"/>
                  </a:lnTo>
                  <a:lnTo>
                    <a:pt x="1455" y="779"/>
                  </a:lnTo>
                  <a:lnTo>
                    <a:pt x="1425" y="824"/>
                  </a:lnTo>
                  <a:lnTo>
                    <a:pt x="1421" y="857"/>
                  </a:lnTo>
                  <a:lnTo>
                    <a:pt x="1432" y="865"/>
                  </a:lnTo>
                  <a:lnTo>
                    <a:pt x="1427" y="884"/>
                  </a:lnTo>
                  <a:lnTo>
                    <a:pt x="1435" y="899"/>
                  </a:lnTo>
                  <a:lnTo>
                    <a:pt x="1436" y="914"/>
                  </a:lnTo>
                  <a:lnTo>
                    <a:pt x="1437" y="916"/>
                  </a:lnTo>
                  <a:lnTo>
                    <a:pt x="1440" y="918"/>
                  </a:lnTo>
                  <a:lnTo>
                    <a:pt x="1446" y="920"/>
                  </a:lnTo>
                  <a:lnTo>
                    <a:pt x="1465" y="921"/>
                  </a:lnTo>
                  <a:lnTo>
                    <a:pt x="1485" y="914"/>
                  </a:lnTo>
                  <a:lnTo>
                    <a:pt x="1494" y="911"/>
                  </a:lnTo>
                  <a:lnTo>
                    <a:pt x="1507" y="911"/>
                  </a:lnTo>
                  <a:lnTo>
                    <a:pt x="1510" y="912"/>
                  </a:lnTo>
                  <a:lnTo>
                    <a:pt x="1511" y="913"/>
                  </a:lnTo>
                  <a:lnTo>
                    <a:pt x="1510" y="917"/>
                  </a:lnTo>
                  <a:lnTo>
                    <a:pt x="1506" y="928"/>
                  </a:lnTo>
                  <a:lnTo>
                    <a:pt x="1504" y="946"/>
                  </a:lnTo>
                  <a:lnTo>
                    <a:pt x="1497" y="959"/>
                  </a:lnTo>
                  <a:lnTo>
                    <a:pt x="1485" y="986"/>
                  </a:lnTo>
                  <a:lnTo>
                    <a:pt x="1483" y="997"/>
                  </a:lnTo>
                  <a:lnTo>
                    <a:pt x="1484" y="1000"/>
                  </a:lnTo>
                  <a:lnTo>
                    <a:pt x="1486" y="1001"/>
                  </a:lnTo>
                  <a:lnTo>
                    <a:pt x="1496" y="1001"/>
                  </a:lnTo>
                  <a:lnTo>
                    <a:pt x="1501" y="1002"/>
                  </a:lnTo>
                  <a:lnTo>
                    <a:pt x="1514" y="1031"/>
                  </a:lnTo>
                  <a:lnTo>
                    <a:pt x="1525" y="1042"/>
                  </a:lnTo>
                  <a:lnTo>
                    <a:pt x="1528" y="1050"/>
                  </a:lnTo>
                  <a:lnTo>
                    <a:pt x="1528" y="1055"/>
                  </a:lnTo>
                  <a:lnTo>
                    <a:pt x="1522" y="1067"/>
                  </a:lnTo>
                  <a:lnTo>
                    <a:pt x="1511" y="1090"/>
                  </a:lnTo>
                  <a:lnTo>
                    <a:pt x="1510" y="1094"/>
                  </a:lnTo>
                  <a:lnTo>
                    <a:pt x="1509" y="1117"/>
                  </a:lnTo>
                  <a:lnTo>
                    <a:pt x="1510" y="1129"/>
                  </a:lnTo>
                  <a:lnTo>
                    <a:pt x="1512" y="1135"/>
                  </a:lnTo>
                  <a:lnTo>
                    <a:pt x="1517" y="1149"/>
                  </a:lnTo>
                  <a:lnTo>
                    <a:pt x="1563" y="1161"/>
                  </a:lnTo>
                  <a:lnTo>
                    <a:pt x="1577" y="1167"/>
                  </a:lnTo>
                  <a:lnTo>
                    <a:pt x="1581" y="1170"/>
                  </a:lnTo>
                  <a:lnTo>
                    <a:pt x="1582" y="1172"/>
                  </a:lnTo>
                  <a:lnTo>
                    <a:pt x="1581" y="1196"/>
                  </a:lnTo>
                  <a:lnTo>
                    <a:pt x="1584" y="1205"/>
                  </a:lnTo>
                  <a:lnTo>
                    <a:pt x="1584" y="1211"/>
                  </a:lnTo>
                  <a:lnTo>
                    <a:pt x="1581" y="1218"/>
                  </a:lnTo>
                  <a:lnTo>
                    <a:pt x="1571" y="1235"/>
                  </a:lnTo>
                  <a:lnTo>
                    <a:pt x="1571" y="1241"/>
                  </a:lnTo>
                  <a:lnTo>
                    <a:pt x="1575" y="1254"/>
                  </a:lnTo>
                  <a:lnTo>
                    <a:pt x="1575" y="1259"/>
                  </a:lnTo>
                  <a:lnTo>
                    <a:pt x="1573" y="1262"/>
                  </a:lnTo>
                  <a:lnTo>
                    <a:pt x="1564" y="1273"/>
                  </a:lnTo>
                  <a:lnTo>
                    <a:pt x="1544" y="1293"/>
                  </a:lnTo>
                  <a:lnTo>
                    <a:pt x="1545" y="1306"/>
                  </a:lnTo>
                  <a:lnTo>
                    <a:pt x="1553" y="1306"/>
                  </a:lnTo>
                  <a:lnTo>
                    <a:pt x="1571" y="1304"/>
                  </a:lnTo>
                  <a:lnTo>
                    <a:pt x="1608" y="1293"/>
                  </a:lnTo>
                  <a:lnTo>
                    <a:pt x="1617" y="1292"/>
                  </a:lnTo>
                  <a:lnTo>
                    <a:pt x="1626" y="1293"/>
                  </a:lnTo>
                  <a:lnTo>
                    <a:pt x="1629" y="1297"/>
                  </a:lnTo>
                  <a:lnTo>
                    <a:pt x="1631" y="1303"/>
                  </a:lnTo>
                  <a:lnTo>
                    <a:pt x="1631" y="1307"/>
                  </a:lnTo>
                  <a:lnTo>
                    <a:pt x="1630" y="1309"/>
                  </a:lnTo>
                  <a:lnTo>
                    <a:pt x="1613" y="1312"/>
                  </a:lnTo>
                  <a:lnTo>
                    <a:pt x="1603" y="1320"/>
                  </a:lnTo>
                  <a:lnTo>
                    <a:pt x="1591" y="1325"/>
                  </a:lnTo>
                  <a:lnTo>
                    <a:pt x="1581" y="1339"/>
                  </a:lnTo>
                  <a:lnTo>
                    <a:pt x="1572" y="1359"/>
                  </a:lnTo>
                  <a:lnTo>
                    <a:pt x="1571" y="1370"/>
                  </a:lnTo>
                  <a:lnTo>
                    <a:pt x="1573" y="1387"/>
                  </a:lnTo>
                  <a:lnTo>
                    <a:pt x="1573" y="1396"/>
                  </a:lnTo>
                  <a:lnTo>
                    <a:pt x="1554" y="1437"/>
                  </a:lnTo>
                  <a:lnTo>
                    <a:pt x="1546" y="1460"/>
                  </a:lnTo>
                  <a:lnTo>
                    <a:pt x="1547" y="1470"/>
                  </a:lnTo>
                  <a:lnTo>
                    <a:pt x="1550" y="1482"/>
                  </a:lnTo>
                  <a:lnTo>
                    <a:pt x="1563" y="1505"/>
                  </a:lnTo>
                  <a:lnTo>
                    <a:pt x="1564" y="1509"/>
                  </a:lnTo>
                  <a:lnTo>
                    <a:pt x="1563" y="1517"/>
                  </a:lnTo>
                  <a:lnTo>
                    <a:pt x="1559" y="1530"/>
                  </a:lnTo>
                  <a:lnTo>
                    <a:pt x="1556" y="1547"/>
                  </a:lnTo>
                  <a:lnTo>
                    <a:pt x="1556" y="1547"/>
                  </a:lnTo>
                  <a:lnTo>
                    <a:pt x="1545" y="1550"/>
                  </a:lnTo>
                  <a:lnTo>
                    <a:pt x="1541" y="1553"/>
                  </a:lnTo>
                  <a:lnTo>
                    <a:pt x="1538" y="1557"/>
                  </a:lnTo>
                  <a:lnTo>
                    <a:pt x="1536" y="1564"/>
                  </a:lnTo>
                  <a:lnTo>
                    <a:pt x="1531" y="1572"/>
                  </a:lnTo>
                  <a:lnTo>
                    <a:pt x="1524" y="1582"/>
                  </a:lnTo>
                  <a:lnTo>
                    <a:pt x="1519" y="1588"/>
                  </a:lnTo>
                  <a:lnTo>
                    <a:pt x="1505" y="1590"/>
                  </a:lnTo>
                  <a:lnTo>
                    <a:pt x="1495" y="1584"/>
                  </a:lnTo>
                  <a:lnTo>
                    <a:pt x="1486" y="1584"/>
                  </a:lnTo>
                  <a:lnTo>
                    <a:pt x="1475" y="1585"/>
                  </a:lnTo>
                  <a:lnTo>
                    <a:pt x="1458" y="1592"/>
                  </a:lnTo>
                  <a:lnTo>
                    <a:pt x="1453" y="1593"/>
                  </a:lnTo>
                  <a:lnTo>
                    <a:pt x="1450" y="1592"/>
                  </a:lnTo>
                  <a:lnTo>
                    <a:pt x="1442" y="1585"/>
                  </a:lnTo>
                  <a:lnTo>
                    <a:pt x="1406" y="1577"/>
                  </a:lnTo>
                  <a:lnTo>
                    <a:pt x="1398" y="1574"/>
                  </a:lnTo>
                  <a:lnTo>
                    <a:pt x="1389" y="1570"/>
                  </a:lnTo>
                  <a:lnTo>
                    <a:pt x="1382" y="1564"/>
                  </a:lnTo>
                  <a:lnTo>
                    <a:pt x="1377" y="1559"/>
                  </a:lnTo>
                  <a:lnTo>
                    <a:pt x="1361" y="1535"/>
                  </a:lnTo>
                  <a:lnTo>
                    <a:pt x="1358" y="1532"/>
                  </a:lnTo>
                  <a:lnTo>
                    <a:pt x="1353" y="1532"/>
                  </a:lnTo>
                  <a:lnTo>
                    <a:pt x="1334" y="1539"/>
                  </a:lnTo>
                  <a:lnTo>
                    <a:pt x="1319" y="1544"/>
                  </a:lnTo>
                  <a:lnTo>
                    <a:pt x="1313" y="1546"/>
                  </a:lnTo>
                  <a:lnTo>
                    <a:pt x="1297" y="1574"/>
                  </a:lnTo>
                  <a:lnTo>
                    <a:pt x="1291" y="1581"/>
                  </a:lnTo>
                  <a:lnTo>
                    <a:pt x="1288" y="1583"/>
                  </a:lnTo>
                  <a:lnTo>
                    <a:pt x="1254" y="1597"/>
                  </a:lnTo>
                  <a:lnTo>
                    <a:pt x="1247" y="1596"/>
                  </a:lnTo>
                  <a:lnTo>
                    <a:pt x="1235" y="1591"/>
                  </a:lnTo>
                  <a:lnTo>
                    <a:pt x="1231" y="1590"/>
                  </a:lnTo>
                  <a:lnTo>
                    <a:pt x="1230" y="1593"/>
                  </a:lnTo>
                  <a:lnTo>
                    <a:pt x="1234" y="1618"/>
                  </a:lnTo>
                  <a:lnTo>
                    <a:pt x="1235" y="1622"/>
                  </a:lnTo>
                  <a:lnTo>
                    <a:pt x="1237" y="1626"/>
                  </a:lnTo>
                  <a:lnTo>
                    <a:pt x="1241" y="1628"/>
                  </a:lnTo>
                  <a:lnTo>
                    <a:pt x="1255" y="1626"/>
                  </a:lnTo>
                  <a:lnTo>
                    <a:pt x="1262" y="1627"/>
                  </a:lnTo>
                  <a:lnTo>
                    <a:pt x="1274" y="1633"/>
                  </a:lnTo>
                  <a:lnTo>
                    <a:pt x="1279" y="1639"/>
                  </a:lnTo>
                  <a:lnTo>
                    <a:pt x="1278" y="1645"/>
                  </a:lnTo>
                  <a:lnTo>
                    <a:pt x="1270" y="1653"/>
                  </a:lnTo>
                  <a:lnTo>
                    <a:pt x="1268" y="1661"/>
                  </a:lnTo>
                  <a:lnTo>
                    <a:pt x="1273" y="1679"/>
                  </a:lnTo>
                  <a:lnTo>
                    <a:pt x="1275" y="1698"/>
                  </a:lnTo>
                  <a:lnTo>
                    <a:pt x="1277" y="1717"/>
                  </a:lnTo>
                  <a:lnTo>
                    <a:pt x="1276" y="1727"/>
                  </a:lnTo>
                  <a:lnTo>
                    <a:pt x="1274" y="1732"/>
                  </a:lnTo>
                  <a:lnTo>
                    <a:pt x="1272" y="1735"/>
                  </a:lnTo>
                  <a:lnTo>
                    <a:pt x="1246" y="1735"/>
                  </a:lnTo>
                  <a:lnTo>
                    <a:pt x="1220" y="1743"/>
                  </a:lnTo>
                  <a:lnTo>
                    <a:pt x="1213" y="1743"/>
                  </a:lnTo>
                  <a:lnTo>
                    <a:pt x="1207" y="1742"/>
                  </a:lnTo>
                  <a:lnTo>
                    <a:pt x="1206" y="1732"/>
                  </a:lnTo>
                  <a:lnTo>
                    <a:pt x="1200" y="1727"/>
                  </a:lnTo>
                  <a:lnTo>
                    <a:pt x="1196" y="1709"/>
                  </a:lnTo>
                  <a:lnTo>
                    <a:pt x="1189" y="1697"/>
                  </a:lnTo>
                  <a:lnTo>
                    <a:pt x="1176" y="1672"/>
                  </a:lnTo>
                  <a:lnTo>
                    <a:pt x="1174" y="1669"/>
                  </a:lnTo>
                  <a:lnTo>
                    <a:pt x="1169" y="1667"/>
                  </a:lnTo>
                  <a:lnTo>
                    <a:pt x="1161" y="1665"/>
                  </a:lnTo>
                  <a:lnTo>
                    <a:pt x="1142" y="1663"/>
                  </a:lnTo>
                  <a:lnTo>
                    <a:pt x="1132" y="1661"/>
                  </a:lnTo>
                  <a:lnTo>
                    <a:pt x="1124" y="1657"/>
                  </a:lnTo>
                  <a:lnTo>
                    <a:pt x="1107" y="1648"/>
                  </a:lnTo>
                  <a:lnTo>
                    <a:pt x="1105" y="1648"/>
                  </a:lnTo>
                  <a:lnTo>
                    <a:pt x="1102" y="1649"/>
                  </a:lnTo>
                  <a:lnTo>
                    <a:pt x="1094" y="1658"/>
                  </a:lnTo>
                  <a:lnTo>
                    <a:pt x="1091" y="1661"/>
                  </a:lnTo>
                  <a:lnTo>
                    <a:pt x="1089" y="1660"/>
                  </a:lnTo>
                  <a:lnTo>
                    <a:pt x="1078" y="1647"/>
                  </a:lnTo>
                  <a:lnTo>
                    <a:pt x="1075" y="1645"/>
                  </a:lnTo>
                  <a:lnTo>
                    <a:pt x="1070" y="1645"/>
                  </a:lnTo>
                  <a:lnTo>
                    <a:pt x="1060" y="1649"/>
                  </a:lnTo>
                  <a:lnTo>
                    <a:pt x="1055" y="1650"/>
                  </a:lnTo>
                  <a:lnTo>
                    <a:pt x="1048" y="1649"/>
                  </a:lnTo>
                  <a:lnTo>
                    <a:pt x="1037" y="1646"/>
                  </a:lnTo>
                  <a:lnTo>
                    <a:pt x="1031" y="1646"/>
                  </a:lnTo>
                  <a:lnTo>
                    <a:pt x="1025" y="1647"/>
                  </a:lnTo>
                  <a:lnTo>
                    <a:pt x="1022" y="1650"/>
                  </a:lnTo>
                  <a:lnTo>
                    <a:pt x="1022" y="1665"/>
                  </a:lnTo>
                  <a:lnTo>
                    <a:pt x="1012" y="1724"/>
                  </a:lnTo>
                  <a:lnTo>
                    <a:pt x="1013" y="1728"/>
                  </a:lnTo>
                  <a:lnTo>
                    <a:pt x="1023" y="1744"/>
                  </a:lnTo>
                  <a:lnTo>
                    <a:pt x="1022" y="1756"/>
                  </a:lnTo>
                  <a:lnTo>
                    <a:pt x="1021" y="1772"/>
                  </a:lnTo>
                  <a:lnTo>
                    <a:pt x="1019" y="1775"/>
                  </a:lnTo>
                  <a:lnTo>
                    <a:pt x="1016" y="1776"/>
                  </a:lnTo>
                  <a:lnTo>
                    <a:pt x="1004" y="1776"/>
                  </a:lnTo>
                  <a:lnTo>
                    <a:pt x="997" y="1779"/>
                  </a:lnTo>
                  <a:lnTo>
                    <a:pt x="989" y="1785"/>
                  </a:lnTo>
                  <a:lnTo>
                    <a:pt x="976" y="1800"/>
                  </a:lnTo>
                  <a:lnTo>
                    <a:pt x="976" y="1800"/>
                  </a:lnTo>
                  <a:lnTo>
                    <a:pt x="965" y="1795"/>
                  </a:lnTo>
                  <a:lnTo>
                    <a:pt x="952" y="1793"/>
                  </a:lnTo>
                  <a:lnTo>
                    <a:pt x="906" y="1790"/>
                  </a:lnTo>
                  <a:lnTo>
                    <a:pt x="883" y="1791"/>
                  </a:lnTo>
                  <a:lnTo>
                    <a:pt x="878" y="1793"/>
                  </a:lnTo>
                  <a:lnTo>
                    <a:pt x="863" y="1809"/>
                  </a:lnTo>
                  <a:lnTo>
                    <a:pt x="861" y="1819"/>
                  </a:lnTo>
                  <a:lnTo>
                    <a:pt x="858" y="1821"/>
                  </a:lnTo>
                  <a:lnTo>
                    <a:pt x="851" y="1819"/>
                  </a:lnTo>
                  <a:lnTo>
                    <a:pt x="847" y="1821"/>
                  </a:lnTo>
                  <a:lnTo>
                    <a:pt x="841" y="1832"/>
                  </a:lnTo>
                  <a:lnTo>
                    <a:pt x="838" y="1834"/>
                  </a:lnTo>
                  <a:lnTo>
                    <a:pt x="832" y="1835"/>
                  </a:lnTo>
                  <a:lnTo>
                    <a:pt x="820" y="1827"/>
                  </a:lnTo>
                  <a:lnTo>
                    <a:pt x="802" y="1827"/>
                  </a:lnTo>
                  <a:lnTo>
                    <a:pt x="801" y="1825"/>
                  </a:lnTo>
                  <a:lnTo>
                    <a:pt x="800" y="1821"/>
                  </a:lnTo>
                  <a:lnTo>
                    <a:pt x="811" y="1785"/>
                  </a:lnTo>
                  <a:lnTo>
                    <a:pt x="804" y="1764"/>
                  </a:lnTo>
                  <a:lnTo>
                    <a:pt x="808" y="1745"/>
                  </a:lnTo>
                  <a:lnTo>
                    <a:pt x="802" y="1731"/>
                  </a:lnTo>
                  <a:lnTo>
                    <a:pt x="803" y="1725"/>
                  </a:lnTo>
                  <a:lnTo>
                    <a:pt x="808" y="1717"/>
                  </a:lnTo>
                  <a:lnTo>
                    <a:pt x="809" y="1710"/>
                  </a:lnTo>
                  <a:lnTo>
                    <a:pt x="807" y="1709"/>
                  </a:lnTo>
                  <a:lnTo>
                    <a:pt x="799" y="1708"/>
                  </a:lnTo>
                  <a:lnTo>
                    <a:pt x="793" y="1704"/>
                  </a:lnTo>
                  <a:lnTo>
                    <a:pt x="793" y="1701"/>
                  </a:lnTo>
                  <a:lnTo>
                    <a:pt x="797" y="1691"/>
                  </a:lnTo>
                  <a:lnTo>
                    <a:pt x="798" y="1687"/>
                  </a:lnTo>
                  <a:lnTo>
                    <a:pt x="797" y="1685"/>
                  </a:lnTo>
                  <a:lnTo>
                    <a:pt x="792" y="1681"/>
                  </a:lnTo>
                  <a:lnTo>
                    <a:pt x="788" y="1672"/>
                  </a:lnTo>
                  <a:lnTo>
                    <a:pt x="785" y="1673"/>
                  </a:lnTo>
                  <a:lnTo>
                    <a:pt x="776" y="1679"/>
                  </a:lnTo>
                  <a:lnTo>
                    <a:pt x="767" y="1682"/>
                  </a:lnTo>
                  <a:lnTo>
                    <a:pt x="763" y="1681"/>
                  </a:lnTo>
                  <a:lnTo>
                    <a:pt x="751" y="1673"/>
                  </a:lnTo>
                  <a:lnTo>
                    <a:pt x="748" y="1673"/>
                  </a:lnTo>
                  <a:lnTo>
                    <a:pt x="729" y="1691"/>
                  </a:lnTo>
                  <a:lnTo>
                    <a:pt x="719" y="1698"/>
                  </a:lnTo>
                  <a:lnTo>
                    <a:pt x="708" y="1703"/>
                  </a:lnTo>
                  <a:lnTo>
                    <a:pt x="702" y="1707"/>
                  </a:lnTo>
                  <a:lnTo>
                    <a:pt x="700" y="1710"/>
                  </a:lnTo>
                  <a:lnTo>
                    <a:pt x="696" y="1734"/>
                  </a:lnTo>
                  <a:lnTo>
                    <a:pt x="694" y="1737"/>
                  </a:lnTo>
                  <a:lnTo>
                    <a:pt x="691" y="1740"/>
                  </a:lnTo>
                  <a:lnTo>
                    <a:pt x="682" y="1745"/>
                  </a:lnTo>
                  <a:lnTo>
                    <a:pt x="674" y="1747"/>
                  </a:lnTo>
                  <a:lnTo>
                    <a:pt x="665" y="1746"/>
                  </a:lnTo>
                  <a:lnTo>
                    <a:pt x="662" y="1742"/>
                  </a:lnTo>
                  <a:lnTo>
                    <a:pt x="658" y="1727"/>
                  </a:lnTo>
                  <a:lnTo>
                    <a:pt x="655" y="1707"/>
                  </a:lnTo>
                  <a:lnTo>
                    <a:pt x="655" y="1694"/>
                  </a:lnTo>
                  <a:lnTo>
                    <a:pt x="659" y="1683"/>
                  </a:lnTo>
                  <a:lnTo>
                    <a:pt x="665" y="1672"/>
                  </a:lnTo>
                  <a:lnTo>
                    <a:pt x="672" y="1665"/>
                  </a:lnTo>
                  <a:lnTo>
                    <a:pt x="695" y="1649"/>
                  </a:lnTo>
                  <a:lnTo>
                    <a:pt x="698" y="1643"/>
                  </a:lnTo>
                  <a:lnTo>
                    <a:pt x="703" y="1627"/>
                  </a:lnTo>
                  <a:lnTo>
                    <a:pt x="708" y="1618"/>
                  </a:lnTo>
                  <a:lnTo>
                    <a:pt x="714" y="1611"/>
                  </a:lnTo>
                  <a:lnTo>
                    <a:pt x="742" y="1584"/>
                  </a:lnTo>
                  <a:lnTo>
                    <a:pt x="746" y="1579"/>
                  </a:lnTo>
                  <a:lnTo>
                    <a:pt x="749" y="1571"/>
                  </a:lnTo>
                  <a:lnTo>
                    <a:pt x="762" y="1531"/>
                  </a:lnTo>
                  <a:lnTo>
                    <a:pt x="762" y="1516"/>
                  </a:lnTo>
                  <a:lnTo>
                    <a:pt x="758" y="1487"/>
                  </a:lnTo>
                  <a:lnTo>
                    <a:pt x="760" y="1478"/>
                  </a:lnTo>
                  <a:lnTo>
                    <a:pt x="763" y="1475"/>
                  </a:lnTo>
                  <a:lnTo>
                    <a:pt x="791" y="1458"/>
                  </a:lnTo>
                  <a:lnTo>
                    <a:pt x="792" y="1440"/>
                  </a:lnTo>
                  <a:lnTo>
                    <a:pt x="798" y="1437"/>
                  </a:lnTo>
                  <a:lnTo>
                    <a:pt x="808" y="1433"/>
                  </a:lnTo>
                  <a:lnTo>
                    <a:pt x="810" y="1430"/>
                  </a:lnTo>
                  <a:lnTo>
                    <a:pt x="810" y="1428"/>
                  </a:lnTo>
                  <a:lnTo>
                    <a:pt x="808" y="1424"/>
                  </a:lnTo>
                  <a:lnTo>
                    <a:pt x="801" y="1421"/>
                  </a:lnTo>
                  <a:lnTo>
                    <a:pt x="766" y="1421"/>
                  </a:lnTo>
                  <a:lnTo>
                    <a:pt x="761" y="1423"/>
                  </a:lnTo>
                  <a:lnTo>
                    <a:pt x="750" y="1433"/>
                  </a:lnTo>
                  <a:lnTo>
                    <a:pt x="746" y="1434"/>
                  </a:lnTo>
                  <a:lnTo>
                    <a:pt x="744" y="1433"/>
                  </a:lnTo>
                  <a:lnTo>
                    <a:pt x="737" y="1421"/>
                  </a:lnTo>
                  <a:lnTo>
                    <a:pt x="729" y="1401"/>
                  </a:lnTo>
                  <a:lnTo>
                    <a:pt x="727" y="1394"/>
                  </a:lnTo>
                  <a:lnTo>
                    <a:pt x="731" y="1382"/>
                  </a:lnTo>
                  <a:lnTo>
                    <a:pt x="740" y="1365"/>
                  </a:lnTo>
                  <a:lnTo>
                    <a:pt x="744" y="1355"/>
                  </a:lnTo>
                  <a:lnTo>
                    <a:pt x="749" y="1307"/>
                  </a:lnTo>
                  <a:lnTo>
                    <a:pt x="748" y="1302"/>
                  </a:lnTo>
                  <a:lnTo>
                    <a:pt x="745" y="1298"/>
                  </a:lnTo>
                  <a:lnTo>
                    <a:pt x="718" y="1295"/>
                  </a:lnTo>
                  <a:lnTo>
                    <a:pt x="714" y="1293"/>
                  </a:lnTo>
                  <a:lnTo>
                    <a:pt x="713" y="1287"/>
                  </a:lnTo>
                  <a:lnTo>
                    <a:pt x="709" y="1285"/>
                  </a:lnTo>
                  <a:lnTo>
                    <a:pt x="693" y="1283"/>
                  </a:lnTo>
                  <a:lnTo>
                    <a:pt x="664" y="1276"/>
                  </a:lnTo>
                  <a:lnTo>
                    <a:pt x="661" y="1274"/>
                  </a:lnTo>
                  <a:lnTo>
                    <a:pt x="661" y="1262"/>
                  </a:lnTo>
                  <a:lnTo>
                    <a:pt x="657" y="1259"/>
                  </a:lnTo>
                  <a:lnTo>
                    <a:pt x="653" y="1257"/>
                  </a:lnTo>
                  <a:lnTo>
                    <a:pt x="648" y="1258"/>
                  </a:lnTo>
                  <a:lnTo>
                    <a:pt x="646" y="1260"/>
                  </a:lnTo>
                  <a:lnTo>
                    <a:pt x="642" y="1282"/>
                  </a:lnTo>
                  <a:lnTo>
                    <a:pt x="643" y="1296"/>
                  </a:lnTo>
                  <a:lnTo>
                    <a:pt x="640" y="1300"/>
                  </a:lnTo>
                  <a:lnTo>
                    <a:pt x="630" y="1297"/>
                  </a:lnTo>
                  <a:lnTo>
                    <a:pt x="610" y="1297"/>
                  </a:lnTo>
                  <a:lnTo>
                    <a:pt x="603" y="1298"/>
                  </a:lnTo>
                  <a:lnTo>
                    <a:pt x="593" y="1302"/>
                  </a:lnTo>
                  <a:lnTo>
                    <a:pt x="590" y="1302"/>
                  </a:lnTo>
                  <a:lnTo>
                    <a:pt x="586" y="1300"/>
                  </a:lnTo>
                  <a:lnTo>
                    <a:pt x="583" y="1296"/>
                  </a:lnTo>
                  <a:lnTo>
                    <a:pt x="586" y="1286"/>
                  </a:lnTo>
                  <a:lnTo>
                    <a:pt x="582" y="1279"/>
                  </a:lnTo>
                  <a:lnTo>
                    <a:pt x="576" y="1287"/>
                  </a:lnTo>
                  <a:lnTo>
                    <a:pt x="567" y="1282"/>
                  </a:lnTo>
                  <a:lnTo>
                    <a:pt x="557" y="1282"/>
                  </a:lnTo>
                  <a:lnTo>
                    <a:pt x="551" y="1278"/>
                  </a:lnTo>
                  <a:lnTo>
                    <a:pt x="548" y="1278"/>
                  </a:lnTo>
                  <a:lnTo>
                    <a:pt x="530" y="1292"/>
                  </a:lnTo>
                  <a:lnTo>
                    <a:pt x="530" y="1306"/>
                  </a:lnTo>
                  <a:lnTo>
                    <a:pt x="519" y="1322"/>
                  </a:lnTo>
                  <a:lnTo>
                    <a:pt x="513" y="1327"/>
                  </a:lnTo>
                  <a:lnTo>
                    <a:pt x="504" y="1328"/>
                  </a:lnTo>
                  <a:lnTo>
                    <a:pt x="500" y="1330"/>
                  </a:lnTo>
                  <a:lnTo>
                    <a:pt x="492" y="1338"/>
                  </a:lnTo>
                  <a:lnTo>
                    <a:pt x="485" y="1344"/>
                  </a:lnTo>
                  <a:lnTo>
                    <a:pt x="473" y="1365"/>
                  </a:lnTo>
                  <a:lnTo>
                    <a:pt x="461" y="1394"/>
                  </a:lnTo>
                  <a:lnTo>
                    <a:pt x="458" y="1396"/>
                  </a:lnTo>
                  <a:lnTo>
                    <a:pt x="449" y="1398"/>
                  </a:lnTo>
                  <a:lnTo>
                    <a:pt x="444" y="1397"/>
                  </a:lnTo>
                  <a:lnTo>
                    <a:pt x="442" y="1396"/>
                  </a:lnTo>
                  <a:lnTo>
                    <a:pt x="441" y="1392"/>
                  </a:lnTo>
                  <a:lnTo>
                    <a:pt x="439" y="1382"/>
                  </a:lnTo>
                  <a:lnTo>
                    <a:pt x="424" y="1363"/>
                  </a:lnTo>
                  <a:lnTo>
                    <a:pt x="422" y="1365"/>
                  </a:lnTo>
                  <a:lnTo>
                    <a:pt x="416" y="1375"/>
                  </a:lnTo>
                  <a:lnTo>
                    <a:pt x="412" y="1380"/>
                  </a:lnTo>
                  <a:lnTo>
                    <a:pt x="398" y="1379"/>
                  </a:lnTo>
                  <a:lnTo>
                    <a:pt x="388" y="1376"/>
                  </a:lnTo>
                  <a:lnTo>
                    <a:pt x="386" y="1374"/>
                  </a:lnTo>
                  <a:lnTo>
                    <a:pt x="385" y="1370"/>
                  </a:lnTo>
                  <a:lnTo>
                    <a:pt x="389" y="1337"/>
                  </a:lnTo>
                  <a:lnTo>
                    <a:pt x="389" y="1334"/>
                  </a:lnTo>
                  <a:lnTo>
                    <a:pt x="387" y="1330"/>
                  </a:lnTo>
                  <a:lnTo>
                    <a:pt x="384" y="1327"/>
                  </a:lnTo>
                  <a:lnTo>
                    <a:pt x="367" y="1328"/>
                  </a:lnTo>
                  <a:lnTo>
                    <a:pt x="355" y="1324"/>
                  </a:lnTo>
                  <a:lnTo>
                    <a:pt x="348" y="1323"/>
                  </a:lnTo>
                  <a:lnTo>
                    <a:pt x="343" y="1326"/>
                  </a:lnTo>
                  <a:lnTo>
                    <a:pt x="339" y="1332"/>
                  </a:lnTo>
                  <a:lnTo>
                    <a:pt x="333" y="1355"/>
                  </a:lnTo>
                  <a:lnTo>
                    <a:pt x="325" y="1374"/>
                  </a:lnTo>
                  <a:lnTo>
                    <a:pt x="321" y="1376"/>
                  </a:lnTo>
                  <a:lnTo>
                    <a:pt x="311" y="1374"/>
                  </a:lnTo>
                  <a:lnTo>
                    <a:pt x="307" y="1375"/>
                  </a:lnTo>
                  <a:lnTo>
                    <a:pt x="304" y="1376"/>
                  </a:lnTo>
                  <a:lnTo>
                    <a:pt x="302" y="1380"/>
                  </a:lnTo>
                  <a:lnTo>
                    <a:pt x="300" y="1387"/>
                  </a:lnTo>
                  <a:lnTo>
                    <a:pt x="299" y="1394"/>
                  </a:lnTo>
                  <a:lnTo>
                    <a:pt x="300" y="1397"/>
                  </a:lnTo>
                  <a:lnTo>
                    <a:pt x="306" y="1405"/>
                  </a:lnTo>
                  <a:lnTo>
                    <a:pt x="307" y="1417"/>
                  </a:lnTo>
                  <a:lnTo>
                    <a:pt x="304" y="1422"/>
                  </a:lnTo>
                  <a:lnTo>
                    <a:pt x="301" y="1424"/>
                  </a:lnTo>
                  <a:lnTo>
                    <a:pt x="298" y="1427"/>
                  </a:lnTo>
                  <a:lnTo>
                    <a:pt x="273" y="1424"/>
                  </a:lnTo>
                  <a:lnTo>
                    <a:pt x="267" y="1422"/>
                  </a:lnTo>
                  <a:lnTo>
                    <a:pt x="267" y="1414"/>
                  </a:lnTo>
                  <a:lnTo>
                    <a:pt x="273" y="1395"/>
                  </a:lnTo>
                  <a:lnTo>
                    <a:pt x="274" y="1390"/>
                  </a:lnTo>
                  <a:lnTo>
                    <a:pt x="270" y="1385"/>
                  </a:lnTo>
                  <a:lnTo>
                    <a:pt x="261" y="1379"/>
                  </a:lnTo>
                  <a:lnTo>
                    <a:pt x="256" y="1372"/>
                  </a:lnTo>
                  <a:lnTo>
                    <a:pt x="249" y="1373"/>
                  </a:lnTo>
                  <a:lnTo>
                    <a:pt x="222" y="1386"/>
                  </a:lnTo>
                  <a:lnTo>
                    <a:pt x="219" y="1385"/>
                  </a:lnTo>
                  <a:lnTo>
                    <a:pt x="211" y="1378"/>
                  </a:lnTo>
                  <a:lnTo>
                    <a:pt x="208" y="1378"/>
                  </a:lnTo>
                  <a:lnTo>
                    <a:pt x="208" y="1378"/>
                  </a:lnTo>
                  <a:lnTo>
                    <a:pt x="209" y="1365"/>
                  </a:lnTo>
                  <a:lnTo>
                    <a:pt x="214" y="1348"/>
                  </a:lnTo>
                  <a:lnTo>
                    <a:pt x="214" y="1345"/>
                  </a:lnTo>
                  <a:lnTo>
                    <a:pt x="213" y="1341"/>
                  </a:lnTo>
                  <a:lnTo>
                    <a:pt x="207" y="1331"/>
                  </a:lnTo>
                  <a:lnTo>
                    <a:pt x="201" y="1314"/>
                  </a:lnTo>
                  <a:lnTo>
                    <a:pt x="199" y="1311"/>
                  </a:lnTo>
                  <a:lnTo>
                    <a:pt x="201" y="1306"/>
                  </a:lnTo>
                  <a:lnTo>
                    <a:pt x="211" y="1288"/>
                  </a:lnTo>
                  <a:lnTo>
                    <a:pt x="212" y="1282"/>
                  </a:lnTo>
                  <a:lnTo>
                    <a:pt x="211" y="1276"/>
                  </a:lnTo>
                  <a:lnTo>
                    <a:pt x="209" y="1275"/>
                  </a:lnTo>
                  <a:lnTo>
                    <a:pt x="195" y="1284"/>
                  </a:lnTo>
                  <a:lnTo>
                    <a:pt x="183" y="1289"/>
                  </a:lnTo>
                  <a:lnTo>
                    <a:pt x="165" y="1300"/>
                  </a:lnTo>
                  <a:lnTo>
                    <a:pt x="158" y="1295"/>
                  </a:lnTo>
                  <a:lnTo>
                    <a:pt x="153" y="1290"/>
                  </a:lnTo>
                  <a:lnTo>
                    <a:pt x="149" y="1283"/>
                  </a:lnTo>
                  <a:lnTo>
                    <a:pt x="147" y="1276"/>
                  </a:lnTo>
                  <a:lnTo>
                    <a:pt x="158" y="1257"/>
                  </a:lnTo>
                  <a:lnTo>
                    <a:pt x="167" y="1241"/>
                  </a:lnTo>
                  <a:lnTo>
                    <a:pt x="179" y="1221"/>
                  </a:lnTo>
                  <a:lnTo>
                    <a:pt x="185" y="1208"/>
                  </a:lnTo>
                  <a:lnTo>
                    <a:pt x="187" y="1198"/>
                  </a:lnTo>
                  <a:lnTo>
                    <a:pt x="185" y="1188"/>
                  </a:lnTo>
                  <a:lnTo>
                    <a:pt x="180" y="1177"/>
                  </a:lnTo>
                  <a:lnTo>
                    <a:pt x="173" y="1169"/>
                  </a:lnTo>
                  <a:lnTo>
                    <a:pt x="161" y="1163"/>
                  </a:lnTo>
                  <a:lnTo>
                    <a:pt x="156" y="1159"/>
                  </a:lnTo>
                  <a:lnTo>
                    <a:pt x="153" y="1153"/>
                  </a:lnTo>
                  <a:lnTo>
                    <a:pt x="153" y="1147"/>
                  </a:lnTo>
                  <a:lnTo>
                    <a:pt x="154" y="1145"/>
                  </a:lnTo>
                  <a:lnTo>
                    <a:pt x="156" y="1144"/>
                  </a:lnTo>
                  <a:lnTo>
                    <a:pt x="176" y="1144"/>
                  </a:lnTo>
                  <a:lnTo>
                    <a:pt x="194" y="1135"/>
                  </a:lnTo>
                  <a:lnTo>
                    <a:pt x="204" y="1134"/>
                  </a:lnTo>
                  <a:lnTo>
                    <a:pt x="219" y="1132"/>
                  </a:lnTo>
                  <a:lnTo>
                    <a:pt x="222" y="1130"/>
                  </a:lnTo>
                  <a:lnTo>
                    <a:pt x="223" y="1125"/>
                  </a:lnTo>
                  <a:lnTo>
                    <a:pt x="220" y="1115"/>
                  </a:lnTo>
                  <a:lnTo>
                    <a:pt x="220" y="1110"/>
                  </a:lnTo>
                  <a:lnTo>
                    <a:pt x="221" y="1105"/>
                  </a:lnTo>
                  <a:lnTo>
                    <a:pt x="225" y="1096"/>
                  </a:lnTo>
                  <a:lnTo>
                    <a:pt x="225" y="1093"/>
                  </a:lnTo>
                  <a:lnTo>
                    <a:pt x="222" y="1090"/>
                  </a:lnTo>
                  <a:lnTo>
                    <a:pt x="214" y="1089"/>
                  </a:lnTo>
                  <a:lnTo>
                    <a:pt x="212" y="1089"/>
                  </a:lnTo>
                  <a:lnTo>
                    <a:pt x="202" y="1095"/>
                  </a:lnTo>
                  <a:lnTo>
                    <a:pt x="199" y="1094"/>
                  </a:lnTo>
                  <a:lnTo>
                    <a:pt x="199" y="1092"/>
                  </a:lnTo>
                  <a:lnTo>
                    <a:pt x="202" y="1087"/>
                  </a:lnTo>
                  <a:lnTo>
                    <a:pt x="207" y="1082"/>
                  </a:lnTo>
                  <a:lnTo>
                    <a:pt x="213" y="1079"/>
                  </a:lnTo>
                  <a:lnTo>
                    <a:pt x="226" y="1076"/>
                  </a:lnTo>
                  <a:lnTo>
                    <a:pt x="230" y="1074"/>
                  </a:lnTo>
                  <a:lnTo>
                    <a:pt x="232" y="1071"/>
                  </a:lnTo>
                  <a:lnTo>
                    <a:pt x="231" y="1067"/>
                  </a:lnTo>
                  <a:lnTo>
                    <a:pt x="225" y="1056"/>
                  </a:lnTo>
                  <a:lnTo>
                    <a:pt x="226" y="1049"/>
                  </a:lnTo>
                  <a:lnTo>
                    <a:pt x="222" y="1037"/>
                  </a:lnTo>
                  <a:lnTo>
                    <a:pt x="217" y="1033"/>
                  </a:lnTo>
                  <a:lnTo>
                    <a:pt x="211" y="1033"/>
                  </a:lnTo>
                  <a:lnTo>
                    <a:pt x="208" y="1032"/>
                  </a:lnTo>
                  <a:lnTo>
                    <a:pt x="207" y="1016"/>
                  </a:lnTo>
                  <a:lnTo>
                    <a:pt x="203" y="1013"/>
                  </a:lnTo>
                  <a:lnTo>
                    <a:pt x="185" y="1006"/>
                  </a:lnTo>
                  <a:lnTo>
                    <a:pt x="171" y="1004"/>
                  </a:lnTo>
                  <a:lnTo>
                    <a:pt x="151" y="1004"/>
                  </a:lnTo>
                  <a:lnTo>
                    <a:pt x="140" y="1000"/>
                  </a:lnTo>
                  <a:lnTo>
                    <a:pt x="139" y="1001"/>
                  </a:lnTo>
                  <a:lnTo>
                    <a:pt x="125" y="1022"/>
                  </a:lnTo>
                  <a:lnTo>
                    <a:pt x="121" y="1024"/>
                  </a:lnTo>
                  <a:lnTo>
                    <a:pt x="111" y="1028"/>
                  </a:lnTo>
                  <a:lnTo>
                    <a:pt x="102" y="1026"/>
                  </a:lnTo>
                  <a:lnTo>
                    <a:pt x="101" y="1024"/>
                  </a:lnTo>
                  <a:lnTo>
                    <a:pt x="101" y="1022"/>
                  </a:lnTo>
                  <a:lnTo>
                    <a:pt x="107" y="1013"/>
                  </a:lnTo>
                  <a:lnTo>
                    <a:pt x="107" y="1008"/>
                  </a:lnTo>
                  <a:lnTo>
                    <a:pt x="103" y="1007"/>
                  </a:lnTo>
                  <a:lnTo>
                    <a:pt x="89" y="1008"/>
                  </a:lnTo>
                  <a:lnTo>
                    <a:pt x="73" y="1020"/>
                  </a:lnTo>
                  <a:lnTo>
                    <a:pt x="50" y="1040"/>
                  </a:lnTo>
                  <a:lnTo>
                    <a:pt x="41" y="1045"/>
                  </a:lnTo>
                  <a:lnTo>
                    <a:pt x="33" y="1047"/>
                  </a:lnTo>
                  <a:lnTo>
                    <a:pt x="30" y="1047"/>
                  </a:lnTo>
                  <a:lnTo>
                    <a:pt x="14" y="1032"/>
                  </a:lnTo>
                  <a:lnTo>
                    <a:pt x="0" y="1027"/>
                  </a:lnTo>
                  <a:lnTo>
                    <a:pt x="5" y="1022"/>
                  </a:lnTo>
                  <a:lnTo>
                    <a:pt x="23" y="1017"/>
                  </a:lnTo>
                  <a:lnTo>
                    <a:pt x="32" y="1010"/>
                  </a:lnTo>
                  <a:lnTo>
                    <a:pt x="42" y="1002"/>
                  </a:lnTo>
                  <a:lnTo>
                    <a:pt x="46" y="991"/>
                  </a:lnTo>
                  <a:lnTo>
                    <a:pt x="48" y="988"/>
                  </a:lnTo>
                  <a:lnTo>
                    <a:pt x="73" y="973"/>
                  </a:lnTo>
                  <a:lnTo>
                    <a:pt x="86" y="964"/>
                  </a:lnTo>
                  <a:lnTo>
                    <a:pt x="90" y="945"/>
                  </a:lnTo>
                  <a:lnTo>
                    <a:pt x="99" y="938"/>
                  </a:lnTo>
                  <a:lnTo>
                    <a:pt x="108" y="912"/>
                  </a:lnTo>
                  <a:lnTo>
                    <a:pt x="113" y="906"/>
                  </a:lnTo>
                  <a:lnTo>
                    <a:pt x="114" y="907"/>
                  </a:lnTo>
                  <a:lnTo>
                    <a:pt x="114" y="914"/>
                  </a:lnTo>
                  <a:lnTo>
                    <a:pt x="116" y="916"/>
                  </a:lnTo>
                  <a:lnTo>
                    <a:pt x="132" y="903"/>
                  </a:lnTo>
                  <a:lnTo>
                    <a:pt x="142" y="913"/>
                  </a:lnTo>
                  <a:lnTo>
                    <a:pt x="149" y="914"/>
                  </a:lnTo>
                  <a:lnTo>
                    <a:pt x="155" y="913"/>
                  </a:lnTo>
                  <a:lnTo>
                    <a:pt x="156" y="912"/>
                  </a:lnTo>
                  <a:lnTo>
                    <a:pt x="160" y="898"/>
                  </a:lnTo>
                  <a:lnTo>
                    <a:pt x="162" y="893"/>
                  </a:lnTo>
                  <a:lnTo>
                    <a:pt x="175" y="883"/>
                  </a:lnTo>
                  <a:lnTo>
                    <a:pt x="196" y="872"/>
                  </a:lnTo>
                  <a:lnTo>
                    <a:pt x="199" y="869"/>
                  </a:lnTo>
                  <a:lnTo>
                    <a:pt x="202" y="865"/>
                  </a:lnTo>
                  <a:lnTo>
                    <a:pt x="202" y="836"/>
                  </a:lnTo>
                  <a:lnTo>
                    <a:pt x="201" y="827"/>
                  </a:lnTo>
                  <a:lnTo>
                    <a:pt x="198" y="824"/>
                  </a:lnTo>
                  <a:lnTo>
                    <a:pt x="193" y="821"/>
                  </a:lnTo>
                  <a:lnTo>
                    <a:pt x="175" y="813"/>
                  </a:lnTo>
                  <a:lnTo>
                    <a:pt x="172" y="810"/>
                  </a:lnTo>
                  <a:lnTo>
                    <a:pt x="170" y="805"/>
                  </a:lnTo>
                  <a:lnTo>
                    <a:pt x="167" y="791"/>
                  </a:lnTo>
                  <a:lnTo>
                    <a:pt x="161" y="750"/>
                  </a:lnTo>
                  <a:lnTo>
                    <a:pt x="161" y="734"/>
                  </a:lnTo>
                  <a:lnTo>
                    <a:pt x="162" y="729"/>
                  </a:lnTo>
                  <a:lnTo>
                    <a:pt x="175" y="711"/>
                  </a:lnTo>
                  <a:lnTo>
                    <a:pt x="176" y="708"/>
                  </a:lnTo>
                  <a:lnTo>
                    <a:pt x="175" y="705"/>
                  </a:lnTo>
                  <a:lnTo>
                    <a:pt x="173" y="704"/>
                  </a:lnTo>
                  <a:lnTo>
                    <a:pt x="159" y="711"/>
                  </a:lnTo>
                  <a:lnTo>
                    <a:pt x="158" y="710"/>
                  </a:lnTo>
                  <a:lnTo>
                    <a:pt x="162" y="690"/>
                  </a:lnTo>
                  <a:lnTo>
                    <a:pt x="174" y="656"/>
                  </a:lnTo>
                  <a:lnTo>
                    <a:pt x="177" y="646"/>
                  </a:lnTo>
                  <a:lnTo>
                    <a:pt x="185" y="631"/>
                  </a:lnTo>
                  <a:lnTo>
                    <a:pt x="181" y="627"/>
                  </a:lnTo>
                  <a:lnTo>
                    <a:pt x="177" y="626"/>
                  </a:lnTo>
                  <a:lnTo>
                    <a:pt x="173" y="627"/>
                  </a:lnTo>
                  <a:lnTo>
                    <a:pt x="165" y="631"/>
                  </a:lnTo>
                  <a:lnTo>
                    <a:pt x="158" y="631"/>
                  </a:lnTo>
                  <a:lnTo>
                    <a:pt x="155" y="628"/>
                  </a:lnTo>
                  <a:lnTo>
                    <a:pt x="148" y="618"/>
                  </a:lnTo>
                  <a:lnTo>
                    <a:pt x="153" y="602"/>
                  </a:lnTo>
                  <a:lnTo>
                    <a:pt x="156" y="595"/>
                  </a:lnTo>
                  <a:lnTo>
                    <a:pt x="156" y="593"/>
                  </a:lnTo>
                  <a:lnTo>
                    <a:pt x="151" y="586"/>
                  </a:lnTo>
                  <a:lnTo>
                    <a:pt x="149" y="580"/>
                  </a:lnTo>
                  <a:lnTo>
                    <a:pt x="148" y="572"/>
                  </a:lnTo>
                  <a:lnTo>
                    <a:pt x="150" y="561"/>
                  </a:lnTo>
                  <a:lnTo>
                    <a:pt x="150" y="561"/>
                  </a:lnTo>
                  <a:lnTo>
                    <a:pt x="150" y="561"/>
                  </a:lnTo>
                  <a:lnTo>
                    <a:pt x="150" y="56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6" name="Freeform 11">
              <a:extLst>
                <a:ext uri="{FF2B5EF4-FFF2-40B4-BE49-F238E27FC236}">
                  <a16:creationId xmlns:a16="http://schemas.microsoft.com/office/drawing/2014/main" id="{959E01B5-D865-04CC-DA8F-F74BA10B0DE1}"/>
                </a:ext>
              </a:extLst>
            </p:cNvPr>
            <p:cNvSpPr>
              <a:spLocks/>
            </p:cNvSpPr>
            <p:nvPr/>
          </p:nvSpPr>
          <p:spPr bwMode="auto">
            <a:xfrm>
              <a:off x="6845300" y="2244727"/>
              <a:ext cx="838200" cy="1192213"/>
            </a:xfrm>
            <a:custGeom>
              <a:avLst/>
              <a:gdLst>
                <a:gd name="T0" fmla="*/ 468 w 1583"/>
                <a:gd name="T1" fmla="*/ 2203 h 2253"/>
                <a:gd name="T2" fmla="*/ 359 w 1583"/>
                <a:gd name="T3" fmla="*/ 2232 h 2253"/>
                <a:gd name="T4" fmla="*/ 160 w 1583"/>
                <a:gd name="T5" fmla="*/ 2189 h 2253"/>
                <a:gd name="T6" fmla="*/ 71 w 1583"/>
                <a:gd name="T7" fmla="*/ 2155 h 2253"/>
                <a:gd name="T8" fmla="*/ 0 w 1583"/>
                <a:gd name="T9" fmla="*/ 2041 h 2253"/>
                <a:gd name="T10" fmla="*/ 84 w 1583"/>
                <a:gd name="T11" fmla="*/ 1988 h 2253"/>
                <a:gd name="T12" fmla="*/ 162 w 1583"/>
                <a:gd name="T13" fmla="*/ 1740 h 2253"/>
                <a:gd name="T14" fmla="*/ 78 w 1583"/>
                <a:gd name="T15" fmla="*/ 1572 h 2253"/>
                <a:gd name="T16" fmla="*/ 8 w 1583"/>
                <a:gd name="T17" fmla="*/ 1420 h 2253"/>
                <a:gd name="T18" fmla="*/ 56 w 1583"/>
                <a:gd name="T19" fmla="*/ 1275 h 2253"/>
                <a:gd name="T20" fmla="*/ 216 w 1583"/>
                <a:gd name="T21" fmla="*/ 1204 h 2253"/>
                <a:gd name="T22" fmla="*/ 200 w 1583"/>
                <a:gd name="T23" fmla="*/ 987 h 2253"/>
                <a:gd name="T24" fmla="*/ 76 w 1583"/>
                <a:gd name="T25" fmla="*/ 924 h 2253"/>
                <a:gd name="T26" fmla="*/ 215 w 1583"/>
                <a:gd name="T27" fmla="*/ 831 h 2253"/>
                <a:gd name="T28" fmla="*/ 141 w 1583"/>
                <a:gd name="T29" fmla="*/ 717 h 2253"/>
                <a:gd name="T30" fmla="*/ 42 w 1583"/>
                <a:gd name="T31" fmla="*/ 550 h 2253"/>
                <a:gd name="T32" fmla="*/ 58 w 1583"/>
                <a:gd name="T33" fmla="*/ 432 h 2253"/>
                <a:gd name="T34" fmla="*/ 130 w 1583"/>
                <a:gd name="T35" fmla="*/ 311 h 2253"/>
                <a:gd name="T36" fmla="*/ 282 w 1583"/>
                <a:gd name="T37" fmla="*/ 192 h 2253"/>
                <a:gd name="T38" fmla="*/ 291 w 1583"/>
                <a:gd name="T39" fmla="*/ 378 h 2253"/>
                <a:gd name="T40" fmla="*/ 415 w 1583"/>
                <a:gd name="T41" fmla="*/ 378 h 2253"/>
                <a:gd name="T42" fmla="*/ 540 w 1583"/>
                <a:gd name="T43" fmla="*/ 250 h 2253"/>
                <a:gd name="T44" fmla="*/ 624 w 1583"/>
                <a:gd name="T45" fmla="*/ 243 h 2253"/>
                <a:gd name="T46" fmla="*/ 762 w 1583"/>
                <a:gd name="T47" fmla="*/ 224 h 2253"/>
                <a:gd name="T48" fmla="*/ 773 w 1583"/>
                <a:gd name="T49" fmla="*/ 88 h 2253"/>
                <a:gd name="T50" fmla="*/ 1030 w 1583"/>
                <a:gd name="T51" fmla="*/ 45 h 2253"/>
                <a:gd name="T52" fmla="*/ 1083 w 1583"/>
                <a:gd name="T53" fmla="*/ 180 h 2253"/>
                <a:gd name="T54" fmla="*/ 1137 w 1583"/>
                <a:gd name="T55" fmla="*/ 225 h 2253"/>
                <a:gd name="T56" fmla="*/ 1136 w 1583"/>
                <a:gd name="T57" fmla="*/ 340 h 2253"/>
                <a:gd name="T58" fmla="*/ 1248 w 1583"/>
                <a:gd name="T59" fmla="*/ 404 h 2253"/>
                <a:gd name="T60" fmla="*/ 1353 w 1583"/>
                <a:gd name="T61" fmla="*/ 431 h 2253"/>
                <a:gd name="T62" fmla="*/ 1329 w 1583"/>
                <a:gd name="T63" fmla="*/ 511 h 2253"/>
                <a:gd name="T64" fmla="*/ 1355 w 1583"/>
                <a:gd name="T65" fmla="*/ 618 h 2253"/>
                <a:gd name="T66" fmla="*/ 1480 w 1583"/>
                <a:gd name="T67" fmla="*/ 661 h 2253"/>
                <a:gd name="T68" fmla="*/ 1572 w 1583"/>
                <a:gd name="T69" fmla="*/ 806 h 2253"/>
                <a:gd name="T70" fmla="*/ 1490 w 1583"/>
                <a:gd name="T71" fmla="*/ 889 h 2253"/>
                <a:gd name="T72" fmla="*/ 1443 w 1583"/>
                <a:gd name="T73" fmla="*/ 979 h 2253"/>
                <a:gd name="T74" fmla="*/ 1450 w 1583"/>
                <a:gd name="T75" fmla="*/ 1031 h 2253"/>
                <a:gd name="T76" fmla="*/ 1386 w 1583"/>
                <a:gd name="T77" fmla="*/ 1114 h 2253"/>
                <a:gd name="T78" fmla="*/ 1331 w 1583"/>
                <a:gd name="T79" fmla="*/ 1138 h 2253"/>
                <a:gd name="T80" fmla="*/ 1189 w 1583"/>
                <a:gd name="T81" fmla="*/ 1167 h 2253"/>
                <a:gd name="T82" fmla="*/ 1084 w 1583"/>
                <a:gd name="T83" fmla="*/ 1073 h 2253"/>
                <a:gd name="T84" fmla="*/ 1015 w 1583"/>
                <a:gd name="T85" fmla="*/ 976 h 2253"/>
                <a:gd name="T86" fmla="*/ 1050 w 1583"/>
                <a:gd name="T87" fmla="*/ 863 h 2253"/>
                <a:gd name="T88" fmla="*/ 887 w 1583"/>
                <a:gd name="T89" fmla="*/ 723 h 2253"/>
                <a:gd name="T90" fmla="*/ 942 w 1583"/>
                <a:gd name="T91" fmla="*/ 645 h 2253"/>
                <a:gd name="T92" fmla="*/ 739 w 1583"/>
                <a:gd name="T93" fmla="*/ 535 h 2253"/>
                <a:gd name="T94" fmla="*/ 663 w 1583"/>
                <a:gd name="T95" fmla="*/ 593 h 2253"/>
                <a:gd name="T96" fmla="*/ 554 w 1583"/>
                <a:gd name="T97" fmla="*/ 703 h 2253"/>
                <a:gd name="T98" fmla="*/ 558 w 1583"/>
                <a:gd name="T99" fmla="*/ 843 h 2253"/>
                <a:gd name="T100" fmla="*/ 468 w 1583"/>
                <a:gd name="T101" fmla="*/ 990 h 2253"/>
                <a:gd name="T102" fmla="*/ 582 w 1583"/>
                <a:gd name="T103" fmla="*/ 1048 h 2253"/>
                <a:gd name="T104" fmla="*/ 720 w 1583"/>
                <a:gd name="T105" fmla="*/ 1059 h 2253"/>
                <a:gd name="T106" fmla="*/ 835 w 1583"/>
                <a:gd name="T107" fmla="*/ 1112 h 2253"/>
                <a:gd name="T108" fmla="*/ 816 w 1583"/>
                <a:gd name="T109" fmla="*/ 1296 h 2253"/>
                <a:gd name="T110" fmla="*/ 939 w 1583"/>
                <a:gd name="T111" fmla="*/ 1336 h 2253"/>
                <a:gd name="T112" fmla="*/ 1098 w 1583"/>
                <a:gd name="T113" fmla="*/ 1452 h 2253"/>
                <a:gd name="T114" fmla="*/ 1086 w 1583"/>
                <a:gd name="T115" fmla="*/ 1474 h 2253"/>
                <a:gd name="T116" fmla="*/ 956 w 1583"/>
                <a:gd name="T117" fmla="*/ 1611 h 2253"/>
                <a:gd name="T118" fmla="*/ 712 w 1583"/>
                <a:gd name="T119" fmla="*/ 1767 h 2253"/>
                <a:gd name="T120" fmla="*/ 498 w 1583"/>
                <a:gd name="T121" fmla="*/ 2081 h 2253"/>
                <a:gd name="T122" fmla="*/ 540 w 1583"/>
                <a:gd name="T123" fmla="*/ 2187 h 2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3" h="2253">
                  <a:moveTo>
                    <a:pt x="543" y="2214"/>
                  </a:moveTo>
                  <a:lnTo>
                    <a:pt x="539" y="2210"/>
                  </a:lnTo>
                  <a:lnTo>
                    <a:pt x="535" y="2210"/>
                  </a:lnTo>
                  <a:lnTo>
                    <a:pt x="533" y="2213"/>
                  </a:lnTo>
                  <a:lnTo>
                    <a:pt x="528" y="2220"/>
                  </a:lnTo>
                  <a:lnTo>
                    <a:pt x="526" y="2222"/>
                  </a:lnTo>
                  <a:lnTo>
                    <a:pt x="525" y="2220"/>
                  </a:lnTo>
                  <a:lnTo>
                    <a:pt x="524" y="2214"/>
                  </a:lnTo>
                  <a:lnTo>
                    <a:pt x="521" y="2215"/>
                  </a:lnTo>
                  <a:lnTo>
                    <a:pt x="519" y="2218"/>
                  </a:lnTo>
                  <a:lnTo>
                    <a:pt x="513" y="2234"/>
                  </a:lnTo>
                  <a:lnTo>
                    <a:pt x="508" y="2237"/>
                  </a:lnTo>
                  <a:lnTo>
                    <a:pt x="505" y="2238"/>
                  </a:lnTo>
                  <a:lnTo>
                    <a:pt x="501" y="2236"/>
                  </a:lnTo>
                  <a:lnTo>
                    <a:pt x="497" y="2233"/>
                  </a:lnTo>
                  <a:lnTo>
                    <a:pt x="482" y="2212"/>
                  </a:lnTo>
                  <a:lnTo>
                    <a:pt x="477" y="2206"/>
                  </a:lnTo>
                  <a:lnTo>
                    <a:pt x="468" y="2203"/>
                  </a:lnTo>
                  <a:lnTo>
                    <a:pt x="459" y="2206"/>
                  </a:lnTo>
                  <a:lnTo>
                    <a:pt x="451" y="2202"/>
                  </a:lnTo>
                  <a:lnTo>
                    <a:pt x="448" y="2201"/>
                  </a:lnTo>
                  <a:lnTo>
                    <a:pt x="446" y="2202"/>
                  </a:lnTo>
                  <a:lnTo>
                    <a:pt x="442" y="2213"/>
                  </a:lnTo>
                  <a:lnTo>
                    <a:pt x="433" y="2215"/>
                  </a:lnTo>
                  <a:lnTo>
                    <a:pt x="430" y="2218"/>
                  </a:lnTo>
                  <a:lnTo>
                    <a:pt x="427" y="2225"/>
                  </a:lnTo>
                  <a:lnTo>
                    <a:pt x="425" y="2239"/>
                  </a:lnTo>
                  <a:lnTo>
                    <a:pt x="414" y="2248"/>
                  </a:lnTo>
                  <a:lnTo>
                    <a:pt x="397" y="2253"/>
                  </a:lnTo>
                  <a:lnTo>
                    <a:pt x="396" y="2253"/>
                  </a:lnTo>
                  <a:lnTo>
                    <a:pt x="395" y="2244"/>
                  </a:lnTo>
                  <a:lnTo>
                    <a:pt x="394" y="2237"/>
                  </a:lnTo>
                  <a:lnTo>
                    <a:pt x="391" y="2232"/>
                  </a:lnTo>
                  <a:lnTo>
                    <a:pt x="388" y="2231"/>
                  </a:lnTo>
                  <a:lnTo>
                    <a:pt x="376" y="2230"/>
                  </a:lnTo>
                  <a:lnTo>
                    <a:pt x="359" y="2232"/>
                  </a:lnTo>
                  <a:lnTo>
                    <a:pt x="342" y="2228"/>
                  </a:lnTo>
                  <a:lnTo>
                    <a:pt x="334" y="2230"/>
                  </a:lnTo>
                  <a:lnTo>
                    <a:pt x="318" y="2235"/>
                  </a:lnTo>
                  <a:lnTo>
                    <a:pt x="309" y="2236"/>
                  </a:lnTo>
                  <a:lnTo>
                    <a:pt x="303" y="2235"/>
                  </a:lnTo>
                  <a:lnTo>
                    <a:pt x="287" y="2219"/>
                  </a:lnTo>
                  <a:lnTo>
                    <a:pt x="282" y="2216"/>
                  </a:lnTo>
                  <a:lnTo>
                    <a:pt x="272" y="2213"/>
                  </a:lnTo>
                  <a:lnTo>
                    <a:pt x="267" y="2210"/>
                  </a:lnTo>
                  <a:lnTo>
                    <a:pt x="245" y="2190"/>
                  </a:lnTo>
                  <a:lnTo>
                    <a:pt x="222" y="2194"/>
                  </a:lnTo>
                  <a:lnTo>
                    <a:pt x="201" y="2189"/>
                  </a:lnTo>
                  <a:lnTo>
                    <a:pt x="198" y="2194"/>
                  </a:lnTo>
                  <a:lnTo>
                    <a:pt x="192" y="2199"/>
                  </a:lnTo>
                  <a:lnTo>
                    <a:pt x="180" y="2196"/>
                  </a:lnTo>
                  <a:lnTo>
                    <a:pt x="171" y="2201"/>
                  </a:lnTo>
                  <a:lnTo>
                    <a:pt x="159" y="2194"/>
                  </a:lnTo>
                  <a:lnTo>
                    <a:pt x="160" y="2189"/>
                  </a:lnTo>
                  <a:lnTo>
                    <a:pt x="164" y="2183"/>
                  </a:lnTo>
                  <a:lnTo>
                    <a:pt x="166" y="2176"/>
                  </a:lnTo>
                  <a:lnTo>
                    <a:pt x="164" y="2168"/>
                  </a:lnTo>
                  <a:lnTo>
                    <a:pt x="157" y="2167"/>
                  </a:lnTo>
                  <a:lnTo>
                    <a:pt x="153" y="2168"/>
                  </a:lnTo>
                  <a:lnTo>
                    <a:pt x="146" y="2173"/>
                  </a:lnTo>
                  <a:lnTo>
                    <a:pt x="142" y="2171"/>
                  </a:lnTo>
                  <a:lnTo>
                    <a:pt x="138" y="2168"/>
                  </a:lnTo>
                  <a:lnTo>
                    <a:pt x="132" y="2167"/>
                  </a:lnTo>
                  <a:lnTo>
                    <a:pt x="129" y="2169"/>
                  </a:lnTo>
                  <a:lnTo>
                    <a:pt x="124" y="2176"/>
                  </a:lnTo>
                  <a:lnTo>
                    <a:pt x="121" y="2178"/>
                  </a:lnTo>
                  <a:lnTo>
                    <a:pt x="118" y="2176"/>
                  </a:lnTo>
                  <a:lnTo>
                    <a:pt x="112" y="2168"/>
                  </a:lnTo>
                  <a:lnTo>
                    <a:pt x="92" y="2176"/>
                  </a:lnTo>
                  <a:lnTo>
                    <a:pt x="75" y="2163"/>
                  </a:lnTo>
                  <a:lnTo>
                    <a:pt x="75" y="2163"/>
                  </a:lnTo>
                  <a:lnTo>
                    <a:pt x="71" y="2155"/>
                  </a:lnTo>
                  <a:lnTo>
                    <a:pt x="63" y="2147"/>
                  </a:lnTo>
                  <a:lnTo>
                    <a:pt x="54" y="2141"/>
                  </a:lnTo>
                  <a:lnTo>
                    <a:pt x="39" y="2133"/>
                  </a:lnTo>
                  <a:lnTo>
                    <a:pt x="30" y="2125"/>
                  </a:lnTo>
                  <a:lnTo>
                    <a:pt x="29" y="2120"/>
                  </a:lnTo>
                  <a:lnTo>
                    <a:pt x="29" y="2115"/>
                  </a:lnTo>
                  <a:lnTo>
                    <a:pt x="33" y="2104"/>
                  </a:lnTo>
                  <a:lnTo>
                    <a:pt x="31" y="2093"/>
                  </a:lnTo>
                  <a:lnTo>
                    <a:pt x="30" y="2090"/>
                  </a:lnTo>
                  <a:lnTo>
                    <a:pt x="23" y="2086"/>
                  </a:lnTo>
                  <a:lnTo>
                    <a:pt x="22" y="2080"/>
                  </a:lnTo>
                  <a:lnTo>
                    <a:pt x="20" y="2078"/>
                  </a:lnTo>
                  <a:lnTo>
                    <a:pt x="5" y="2075"/>
                  </a:lnTo>
                  <a:lnTo>
                    <a:pt x="2" y="2074"/>
                  </a:lnTo>
                  <a:lnTo>
                    <a:pt x="3" y="2065"/>
                  </a:lnTo>
                  <a:lnTo>
                    <a:pt x="8" y="2056"/>
                  </a:lnTo>
                  <a:lnTo>
                    <a:pt x="1" y="2050"/>
                  </a:lnTo>
                  <a:lnTo>
                    <a:pt x="0" y="2041"/>
                  </a:lnTo>
                  <a:lnTo>
                    <a:pt x="1" y="2039"/>
                  </a:lnTo>
                  <a:lnTo>
                    <a:pt x="4" y="2038"/>
                  </a:lnTo>
                  <a:lnTo>
                    <a:pt x="19" y="2041"/>
                  </a:lnTo>
                  <a:lnTo>
                    <a:pt x="25" y="2041"/>
                  </a:lnTo>
                  <a:lnTo>
                    <a:pt x="38" y="2024"/>
                  </a:lnTo>
                  <a:lnTo>
                    <a:pt x="41" y="2024"/>
                  </a:lnTo>
                  <a:lnTo>
                    <a:pt x="49" y="2025"/>
                  </a:lnTo>
                  <a:lnTo>
                    <a:pt x="52" y="2025"/>
                  </a:lnTo>
                  <a:lnTo>
                    <a:pt x="56" y="2017"/>
                  </a:lnTo>
                  <a:lnTo>
                    <a:pt x="59" y="1998"/>
                  </a:lnTo>
                  <a:lnTo>
                    <a:pt x="63" y="1992"/>
                  </a:lnTo>
                  <a:lnTo>
                    <a:pt x="66" y="1991"/>
                  </a:lnTo>
                  <a:lnTo>
                    <a:pt x="68" y="1991"/>
                  </a:lnTo>
                  <a:lnTo>
                    <a:pt x="72" y="1998"/>
                  </a:lnTo>
                  <a:lnTo>
                    <a:pt x="75" y="1999"/>
                  </a:lnTo>
                  <a:lnTo>
                    <a:pt x="79" y="1996"/>
                  </a:lnTo>
                  <a:lnTo>
                    <a:pt x="84" y="1990"/>
                  </a:lnTo>
                  <a:lnTo>
                    <a:pt x="84" y="1988"/>
                  </a:lnTo>
                  <a:lnTo>
                    <a:pt x="84" y="1984"/>
                  </a:lnTo>
                  <a:lnTo>
                    <a:pt x="76" y="1968"/>
                  </a:lnTo>
                  <a:lnTo>
                    <a:pt x="75" y="1962"/>
                  </a:lnTo>
                  <a:lnTo>
                    <a:pt x="75" y="1955"/>
                  </a:lnTo>
                  <a:lnTo>
                    <a:pt x="82" y="1936"/>
                  </a:lnTo>
                  <a:lnTo>
                    <a:pt x="82" y="1932"/>
                  </a:lnTo>
                  <a:lnTo>
                    <a:pt x="78" y="1926"/>
                  </a:lnTo>
                  <a:lnTo>
                    <a:pt x="77" y="1920"/>
                  </a:lnTo>
                  <a:lnTo>
                    <a:pt x="81" y="1898"/>
                  </a:lnTo>
                  <a:lnTo>
                    <a:pt x="93" y="1887"/>
                  </a:lnTo>
                  <a:lnTo>
                    <a:pt x="102" y="1873"/>
                  </a:lnTo>
                  <a:lnTo>
                    <a:pt x="105" y="1863"/>
                  </a:lnTo>
                  <a:lnTo>
                    <a:pt x="109" y="1848"/>
                  </a:lnTo>
                  <a:lnTo>
                    <a:pt x="113" y="1836"/>
                  </a:lnTo>
                  <a:lnTo>
                    <a:pt x="125" y="1823"/>
                  </a:lnTo>
                  <a:lnTo>
                    <a:pt x="130" y="1804"/>
                  </a:lnTo>
                  <a:lnTo>
                    <a:pt x="147" y="1773"/>
                  </a:lnTo>
                  <a:lnTo>
                    <a:pt x="162" y="1740"/>
                  </a:lnTo>
                  <a:lnTo>
                    <a:pt x="168" y="1725"/>
                  </a:lnTo>
                  <a:lnTo>
                    <a:pt x="169" y="1719"/>
                  </a:lnTo>
                  <a:lnTo>
                    <a:pt x="166" y="1711"/>
                  </a:lnTo>
                  <a:lnTo>
                    <a:pt x="161" y="1706"/>
                  </a:lnTo>
                  <a:lnTo>
                    <a:pt x="151" y="1704"/>
                  </a:lnTo>
                  <a:lnTo>
                    <a:pt x="133" y="1705"/>
                  </a:lnTo>
                  <a:lnTo>
                    <a:pt x="133" y="1704"/>
                  </a:lnTo>
                  <a:lnTo>
                    <a:pt x="132" y="1698"/>
                  </a:lnTo>
                  <a:lnTo>
                    <a:pt x="139" y="1685"/>
                  </a:lnTo>
                  <a:lnTo>
                    <a:pt x="139" y="1682"/>
                  </a:lnTo>
                  <a:lnTo>
                    <a:pt x="136" y="1678"/>
                  </a:lnTo>
                  <a:lnTo>
                    <a:pt x="126" y="1669"/>
                  </a:lnTo>
                  <a:lnTo>
                    <a:pt x="121" y="1663"/>
                  </a:lnTo>
                  <a:lnTo>
                    <a:pt x="113" y="1639"/>
                  </a:lnTo>
                  <a:lnTo>
                    <a:pt x="96" y="1608"/>
                  </a:lnTo>
                  <a:lnTo>
                    <a:pt x="92" y="1589"/>
                  </a:lnTo>
                  <a:lnTo>
                    <a:pt x="89" y="1585"/>
                  </a:lnTo>
                  <a:lnTo>
                    <a:pt x="78" y="1572"/>
                  </a:lnTo>
                  <a:lnTo>
                    <a:pt x="79" y="1557"/>
                  </a:lnTo>
                  <a:lnTo>
                    <a:pt x="75" y="1555"/>
                  </a:lnTo>
                  <a:lnTo>
                    <a:pt x="66" y="1558"/>
                  </a:lnTo>
                  <a:lnTo>
                    <a:pt x="61" y="1557"/>
                  </a:lnTo>
                  <a:lnTo>
                    <a:pt x="59" y="1555"/>
                  </a:lnTo>
                  <a:lnTo>
                    <a:pt x="56" y="1547"/>
                  </a:lnTo>
                  <a:lnTo>
                    <a:pt x="33" y="1538"/>
                  </a:lnTo>
                  <a:lnTo>
                    <a:pt x="13" y="1519"/>
                  </a:lnTo>
                  <a:lnTo>
                    <a:pt x="10" y="1516"/>
                  </a:lnTo>
                  <a:lnTo>
                    <a:pt x="5" y="1502"/>
                  </a:lnTo>
                  <a:lnTo>
                    <a:pt x="3" y="1483"/>
                  </a:lnTo>
                  <a:lnTo>
                    <a:pt x="5" y="1471"/>
                  </a:lnTo>
                  <a:lnTo>
                    <a:pt x="11" y="1459"/>
                  </a:lnTo>
                  <a:lnTo>
                    <a:pt x="12" y="1452"/>
                  </a:lnTo>
                  <a:lnTo>
                    <a:pt x="5" y="1438"/>
                  </a:lnTo>
                  <a:lnTo>
                    <a:pt x="5" y="1434"/>
                  </a:lnTo>
                  <a:lnTo>
                    <a:pt x="5" y="1429"/>
                  </a:lnTo>
                  <a:lnTo>
                    <a:pt x="8" y="1420"/>
                  </a:lnTo>
                  <a:lnTo>
                    <a:pt x="14" y="1413"/>
                  </a:lnTo>
                  <a:lnTo>
                    <a:pt x="19" y="1400"/>
                  </a:lnTo>
                  <a:lnTo>
                    <a:pt x="23" y="1393"/>
                  </a:lnTo>
                  <a:lnTo>
                    <a:pt x="39" y="1388"/>
                  </a:lnTo>
                  <a:lnTo>
                    <a:pt x="41" y="1383"/>
                  </a:lnTo>
                  <a:lnTo>
                    <a:pt x="45" y="1371"/>
                  </a:lnTo>
                  <a:lnTo>
                    <a:pt x="58" y="1368"/>
                  </a:lnTo>
                  <a:lnTo>
                    <a:pt x="63" y="1359"/>
                  </a:lnTo>
                  <a:lnTo>
                    <a:pt x="73" y="1355"/>
                  </a:lnTo>
                  <a:lnTo>
                    <a:pt x="75" y="1353"/>
                  </a:lnTo>
                  <a:lnTo>
                    <a:pt x="76" y="1342"/>
                  </a:lnTo>
                  <a:lnTo>
                    <a:pt x="73" y="1330"/>
                  </a:lnTo>
                  <a:lnTo>
                    <a:pt x="70" y="1324"/>
                  </a:lnTo>
                  <a:lnTo>
                    <a:pt x="60" y="1312"/>
                  </a:lnTo>
                  <a:lnTo>
                    <a:pt x="55" y="1302"/>
                  </a:lnTo>
                  <a:lnTo>
                    <a:pt x="54" y="1284"/>
                  </a:lnTo>
                  <a:lnTo>
                    <a:pt x="54" y="1279"/>
                  </a:lnTo>
                  <a:lnTo>
                    <a:pt x="56" y="1275"/>
                  </a:lnTo>
                  <a:lnTo>
                    <a:pt x="66" y="1270"/>
                  </a:lnTo>
                  <a:lnTo>
                    <a:pt x="79" y="1257"/>
                  </a:lnTo>
                  <a:lnTo>
                    <a:pt x="96" y="1251"/>
                  </a:lnTo>
                  <a:lnTo>
                    <a:pt x="107" y="1239"/>
                  </a:lnTo>
                  <a:lnTo>
                    <a:pt x="114" y="1239"/>
                  </a:lnTo>
                  <a:lnTo>
                    <a:pt x="125" y="1231"/>
                  </a:lnTo>
                  <a:lnTo>
                    <a:pt x="128" y="1231"/>
                  </a:lnTo>
                  <a:lnTo>
                    <a:pt x="130" y="1233"/>
                  </a:lnTo>
                  <a:lnTo>
                    <a:pt x="142" y="1250"/>
                  </a:lnTo>
                  <a:lnTo>
                    <a:pt x="146" y="1253"/>
                  </a:lnTo>
                  <a:lnTo>
                    <a:pt x="150" y="1254"/>
                  </a:lnTo>
                  <a:lnTo>
                    <a:pt x="165" y="1251"/>
                  </a:lnTo>
                  <a:lnTo>
                    <a:pt x="174" y="1246"/>
                  </a:lnTo>
                  <a:lnTo>
                    <a:pt x="198" y="1228"/>
                  </a:lnTo>
                  <a:lnTo>
                    <a:pt x="201" y="1222"/>
                  </a:lnTo>
                  <a:lnTo>
                    <a:pt x="203" y="1214"/>
                  </a:lnTo>
                  <a:lnTo>
                    <a:pt x="207" y="1209"/>
                  </a:lnTo>
                  <a:lnTo>
                    <a:pt x="216" y="1204"/>
                  </a:lnTo>
                  <a:lnTo>
                    <a:pt x="222" y="1198"/>
                  </a:lnTo>
                  <a:lnTo>
                    <a:pt x="225" y="1194"/>
                  </a:lnTo>
                  <a:lnTo>
                    <a:pt x="225" y="1191"/>
                  </a:lnTo>
                  <a:lnTo>
                    <a:pt x="216" y="1184"/>
                  </a:lnTo>
                  <a:lnTo>
                    <a:pt x="214" y="1182"/>
                  </a:lnTo>
                  <a:lnTo>
                    <a:pt x="214" y="1164"/>
                  </a:lnTo>
                  <a:lnTo>
                    <a:pt x="216" y="1160"/>
                  </a:lnTo>
                  <a:lnTo>
                    <a:pt x="222" y="1150"/>
                  </a:lnTo>
                  <a:lnTo>
                    <a:pt x="225" y="1146"/>
                  </a:lnTo>
                  <a:lnTo>
                    <a:pt x="229" y="1122"/>
                  </a:lnTo>
                  <a:lnTo>
                    <a:pt x="237" y="1098"/>
                  </a:lnTo>
                  <a:lnTo>
                    <a:pt x="240" y="1073"/>
                  </a:lnTo>
                  <a:lnTo>
                    <a:pt x="239" y="1069"/>
                  </a:lnTo>
                  <a:lnTo>
                    <a:pt x="231" y="1065"/>
                  </a:lnTo>
                  <a:lnTo>
                    <a:pt x="213" y="1048"/>
                  </a:lnTo>
                  <a:lnTo>
                    <a:pt x="209" y="1041"/>
                  </a:lnTo>
                  <a:lnTo>
                    <a:pt x="204" y="1027"/>
                  </a:lnTo>
                  <a:lnTo>
                    <a:pt x="200" y="987"/>
                  </a:lnTo>
                  <a:lnTo>
                    <a:pt x="196" y="978"/>
                  </a:lnTo>
                  <a:lnTo>
                    <a:pt x="192" y="976"/>
                  </a:lnTo>
                  <a:lnTo>
                    <a:pt x="184" y="976"/>
                  </a:lnTo>
                  <a:lnTo>
                    <a:pt x="174" y="977"/>
                  </a:lnTo>
                  <a:lnTo>
                    <a:pt x="162" y="981"/>
                  </a:lnTo>
                  <a:lnTo>
                    <a:pt x="154" y="980"/>
                  </a:lnTo>
                  <a:lnTo>
                    <a:pt x="149" y="976"/>
                  </a:lnTo>
                  <a:lnTo>
                    <a:pt x="146" y="965"/>
                  </a:lnTo>
                  <a:lnTo>
                    <a:pt x="144" y="962"/>
                  </a:lnTo>
                  <a:lnTo>
                    <a:pt x="141" y="961"/>
                  </a:lnTo>
                  <a:lnTo>
                    <a:pt x="128" y="963"/>
                  </a:lnTo>
                  <a:lnTo>
                    <a:pt x="120" y="960"/>
                  </a:lnTo>
                  <a:lnTo>
                    <a:pt x="112" y="956"/>
                  </a:lnTo>
                  <a:lnTo>
                    <a:pt x="97" y="938"/>
                  </a:lnTo>
                  <a:lnTo>
                    <a:pt x="91" y="934"/>
                  </a:lnTo>
                  <a:lnTo>
                    <a:pt x="78" y="929"/>
                  </a:lnTo>
                  <a:lnTo>
                    <a:pt x="76" y="927"/>
                  </a:lnTo>
                  <a:lnTo>
                    <a:pt x="76" y="924"/>
                  </a:lnTo>
                  <a:lnTo>
                    <a:pt x="85" y="915"/>
                  </a:lnTo>
                  <a:lnTo>
                    <a:pt x="89" y="909"/>
                  </a:lnTo>
                  <a:lnTo>
                    <a:pt x="91" y="896"/>
                  </a:lnTo>
                  <a:lnTo>
                    <a:pt x="95" y="888"/>
                  </a:lnTo>
                  <a:lnTo>
                    <a:pt x="100" y="901"/>
                  </a:lnTo>
                  <a:lnTo>
                    <a:pt x="102" y="903"/>
                  </a:lnTo>
                  <a:lnTo>
                    <a:pt x="105" y="904"/>
                  </a:lnTo>
                  <a:lnTo>
                    <a:pt x="108" y="904"/>
                  </a:lnTo>
                  <a:lnTo>
                    <a:pt x="112" y="903"/>
                  </a:lnTo>
                  <a:lnTo>
                    <a:pt x="113" y="901"/>
                  </a:lnTo>
                  <a:lnTo>
                    <a:pt x="115" y="893"/>
                  </a:lnTo>
                  <a:lnTo>
                    <a:pt x="115" y="873"/>
                  </a:lnTo>
                  <a:lnTo>
                    <a:pt x="117" y="870"/>
                  </a:lnTo>
                  <a:lnTo>
                    <a:pt x="119" y="868"/>
                  </a:lnTo>
                  <a:lnTo>
                    <a:pt x="136" y="863"/>
                  </a:lnTo>
                  <a:lnTo>
                    <a:pt x="169" y="848"/>
                  </a:lnTo>
                  <a:lnTo>
                    <a:pt x="201" y="840"/>
                  </a:lnTo>
                  <a:lnTo>
                    <a:pt x="215" y="831"/>
                  </a:lnTo>
                  <a:lnTo>
                    <a:pt x="221" y="822"/>
                  </a:lnTo>
                  <a:lnTo>
                    <a:pt x="225" y="814"/>
                  </a:lnTo>
                  <a:lnTo>
                    <a:pt x="225" y="807"/>
                  </a:lnTo>
                  <a:lnTo>
                    <a:pt x="221" y="804"/>
                  </a:lnTo>
                  <a:lnTo>
                    <a:pt x="211" y="805"/>
                  </a:lnTo>
                  <a:lnTo>
                    <a:pt x="203" y="801"/>
                  </a:lnTo>
                  <a:lnTo>
                    <a:pt x="185" y="806"/>
                  </a:lnTo>
                  <a:lnTo>
                    <a:pt x="179" y="807"/>
                  </a:lnTo>
                  <a:lnTo>
                    <a:pt x="171" y="805"/>
                  </a:lnTo>
                  <a:lnTo>
                    <a:pt x="166" y="802"/>
                  </a:lnTo>
                  <a:lnTo>
                    <a:pt x="164" y="796"/>
                  </a:lnTo>
                  <a:lnTo>
                    <a:pt x="163" y="783"/>
                  </a:lnTo>
                  <a:lnTo>
                    <a:pt x="163" y="751"/>
                  </a:lnTo>
                  <a:lnTo>
                    <a:pt x="162" y="748"/>
                  </a:lnTo>
                  <a:lnTo>
                    <a:pt x="157" y="737"/>
                  </a:lnTo>
                  <a:lnTo>
                    <a:pt x="151" y="725"/>
                  </a:lnTo>
                  <a:lnTo>
                    <a:pt x="145" y="722"/>
                  </a:lnTo>
                  <a:lnTo>
                    <a:pt x="141" y="717"/>
                  </a:lnTo>
                  <a:lnTo>
                    <a:pt x="121" y="686"/>
                  </a:lnTo>
                  <a:lnTo>
                    <a:pt x="118" y="680"/>
                  </a:lnTo>
                  <a:lnTo>
                    <a:pt x="118" y="680"/>
                  </a:lnTo>
                  <a:lnTo>
                    <a:pt x="110" y="665"/>
                  </a:lnTo>
                  <a:lnTo>
                    <a:pt x="99" y="650"/>
                  </a:lnTo>
                  <a:lnTo>
                    <a:pt x="97" y="647"/>
                  </a:lnTo>
                  <a:lnTo>
                    <a:pt x="100" y="642"/>
                  </a:lnTo>
                  <a:lnTo>
                    <a:pt x="100" y="635"/>
                  </a:lnTo>
                  <a:lnTo>
                    <a:pt x="97" y="623"/>
                  </a:lnTo>
                  <a:lnTo>
                    <a:pt x="95" y="617"/>
                  </a:lnTo>
                  <a:lnTo>
                    <a:pt x="94" y="615"/>
                  </a:lnTo>
                  <a:lnTo>
                    <a:pt x="87" y="613"/>
                  </a:lnTo>
                  <a:lnTo>
                    <a:pt x="84" y="610"/>
                  </a:lnTo>
                  <a:lnTo>
                    <a:pt x="76" y="587"/>
                  </a:lnTo>
                  <a:lnTo>
                    <a:pt x="61" y="577"/>
                  </a:lnTo>
                  <a:lnTo>
                    <a:pt x="46" y="559"/>
                  </a:lnTo>
                  <a:lnTo>
                    <a:pt x="40" y="551"/>
                  </a:lnTo>
                  <a:lnTo>
                    <a:pt x="42" y="550"/>
                  </a:lnTo>
                  <a:lnTo>
                    <a:pt x="57" y="546"/>
                  </a:lnTo>
                  <a:lnTo>
                    <a:pt x="64" y="538"/>
                  </a:lnTo>
                  <a:lnTo>
                    <a:pt x="82" y="529"/>
                  </a:lnTo>
                  <a:lnTo>
                    <a:pt x="84" y="525"/>
                  </a:lnTo>
                  <a:lnTo>
                    <a:pt x="85" y="517"/>
                  </a:lnTo>
                  <a:lnTo>
                    <a:pt x="85" y="511"/>
                  </a:lnTo>
                  <a:lnTo>
                    <a:pt x="81" y="507"/>
                  </a:lnTo>
                  <a:lnTo>
                    <a:pt x="75" y="517"/>
                  </a:lnTo>
                  <a:lnTo>
                    <a:pt x="72" y="518"/>
                  </a:lnTo>
                  <a:lnTo>
                    <a:pt x="70" y="516"/>
                  </a:lnTo>
                  <a:lnTo>
                    <a:pt x="66" y="499"/>
                  </a:lnTo>
                  <a:lnTo>
                    <a:pt x="61" y="488"/>
                  </a:lnTo>
                  <a:lnTo>
                    <a:pt x="64" y="463"/>
                  </a:lnTo>
                  <a:lnTo>
                    <a:pt x="56" y="453"/>
                  </a:lnTo>
                  <a:lnTo>
                    <a:pt x="53" y="445"/>
                  </a:lnTo>
                  <a:lnTo>
                    <a:pt x="53" y="440"/>
                  </a:lnTo>
                  <a:lnTo>
                    <a:pt x="55" y="436"/>
                  </a:lnTo>
                  <a:lnTo>
                    <a:pt x="58" y="432"/>
                  </a:lnTo>
                  <a:lnTo>
                    <a:pt x="76" y="422"/>
                  </a:lnTo>
                  <a:lnTo>
                    <a:pt x="87" y="417"/>
                  </a:lnTo>
                  <a:lnTo>
                    <a:pt x="97" y="416"/>
                  </a:lnTo>
                  <a:lnTo>
                    <a:pt x="107" y="414"/>
                  </a:lnTo>
                  <a:lnTo>
                    <a:pt x="114" y="416"/>
                  </a:lnTo>
                  <a:lnTo>
                    <a:pt x="132" y="419"/>
                  </a:lnTo>
                  <a:lnTo>
                    <a:pt x="135" y="419"/>
                  </a:lnTo>
                  <a:lnTo>
                    <a:pt x="137" y="418"/>
                  </a:lnTo>
                  <a:lnTo>
                    <a:pt x="139" y="410"/>
                  </a:lnTo>
                  <a:lnTo>
                    <a:pt x="131" y="391"/>
                  </a:lnTo>
                  <a:lnTo>
                    <a:pt x="129" y="384"/>
                  </a:lnTo>
                  <a:lnTo>
                    <a:pt x="131" y="381"/>
                  </a:lnTo>
                  <a:lnTo>
                    <a:pt x="138" y="378"/>
                  </a:lnTo>
                  <a:lnTo>
                    <a:pt x="140" y="376"/>
                  </a:lnTo>
                  <a:lnTo>
                    <a:pt x="132" y="367"/>
                  </a:lnTo>
                  <a:lnTo>
                    <a:pt x="130" y="364"/>
                  </a:lnTo>
                  <a:lnTo>
                    <a:pt x="129" y="329"/>
                  </a:lnTo>
                  <a:lnTo>
                    <a:pt x="130" y="311"/>
                  </a:lnTo>
                  <a:lnTo>
                    <a:pt x="141" y="295"/>
                  </a:lnTo>
                  <a:lnTo>
                    <a:pt x="144" y="275"/>
                  </a:lnTo>
                  <a:lnTo>
                    <a:pt x="145" y="272"/>
                  </a:lnTo>
                  <a:lnTo>
                    <a:pt x="154" y="268"/>
                  </a:lnTo>
                  <a:lnTo>
                    <a:pt x="180" y="265"/>
                  </a:lnTo>
                  <a:lnTo>
                    <a:pt x="189" y="263"/>
                  </a:lnTo>
                  <a:lnTo>
                    <a:pt x="194" y="222"/>
                  </a:lnTo>
                  <a:lnTo>
                    <a:pt x="197" y="212"/>
                  </a:lnTo>
                  <a:lnTo>
                    <a:pt x="203" y="206"/>
                  </a:lnTo>
                  <a:lnTo>
                    <a:pt x="211" y="202"/>
                  </a:lnTo>
                  <a:lnTo>
                    <a:pt x="219" y="201"/>
                  </a:lnTo>
                  <a:lnTo>
                    <a:pt x="240" y="210"/>
                  </a:lnTo>
                  <a:lnTo>
                    <a:pt x="257" y="204"/>
                  </a:lnTo>
                  <a:lnTo>
                    <a:pt x="261" y="201"/>
                  </a:lnTo>
                  <a:lnTo>
                    <a:pt x="265" y="193"/>
                  </a:lnTo>
                  <a:lnTo>
                    <a:pt x="269" y="190"/>
                  </a:lnTo>
                  <a:lnTo>
                    <a:pt x="277" y="190"/>
                  </a:lnTo>
                  <a:lnTo>
                    <a:pt x="282" y="192"/>
                  </a:lnTo>
                  <a:lnTo>
                    <a:pt x="281" y="200"/>
                  </a:lnTo>
                  <a:lnTo>
                    <a:pt x="287" y="211"/>
                  </a:lnTo>
                  <a:lnTo>
                    <a:pt x="288" y="233"/>
                  </a:lnTo>
                  <a:lnTo>
                    <a:pt x="293" y="257"/>
                  </a:lnTo>
                  <a:lnTo>
                    <a:pt x="297" y="287"/>
                  </a:lnTo>
                  <a:lnTo>
                    <a:pt x="303" y="295"/>
                  </a:lnTo>
                  <a:lnTo>
                    <a:pt x="304" y="297"/>
                  </a:lnTo>
                  <a:lnTo>
                    <a:pt x="303" y="301"/>
                  </a:lnTo>
                  <a:lnTo>
                    <a:pt x="301" y="303"/>
                  </a:lnTo>
                  <a:lnTo>
                    <a:pt x="295" y="306"/>
                  </a:lnTo>
                  <a:lnTo>
                    <a:pt x="288" y="310"/>
                  </a:lnTo>
                  <a:lnTo>
                    <a:pt x="286" y="313"/>
                  </a:lnTo>
                  <a:lnTo>
                    <a:pt x="287" y="320"/>
                  </a:lnTo>
                  <a:lnTo>
                    <a:pt x="293" y="333"/>
                  </a:lnTo>
                  <a:lnTo>
                    <a:pt x="294" y="341"/>
                  </a:lnTo>
                  <a:lnTo>
                    <a:pt x="294" y="356"/>
                  </a:lnTo>
                  <a:lnTo>
                    <a:pt x="291" y="374"/>
                  </a:lnTo>
                  <a:lnTo>
                    <a:pt x="291" y="378"/>
                  </a:lnTo>
                  <a:lnTo>
                    <a:pt x="298" y="378"/>
                  </a:lnTo>
                  <a:lnTo>
                    <a:pt x="315" y="374"/>
                  </a:lnTo>
                  <a:lnTo>
                    <a:pt x="339" y="372"/>
                  </a:lnTo>
                  <a:lnTo>
                    <a:pt x="347" y="369"/>
                  </a:lnTo>
                  <a:lnTo>
                    <a:pt x="352" y="368"/>
                  </a:lnTo>
                  <a:lnTo>
                    <a:pt x="359" y="369"/>
                  </a:lnTo>
                  <a:lnTo>
                    <a:pt x="366" y="372"/>
                  </a:lnTo>
                  <a:lnTo>
                    <a:pt x="369" y="374"/>
                  </a:lnTo>
                  <a:lnTo>
                    <a:pt x="371" y="380"/>
                  </a:lnTo>
                  <a:lnTo>
                    <a:pt x="372" y="381"/>
                  </a:lnTo>
                  <a:lnTo>
                    <a:pt x="378" y="381"/>
                  </a:lnTo>
                  <a:lnTo>
                    <a:pt x="383" y="380"/>
                  </a:lnTo>
                  <a:lnTo>
                    <a:pt x="385" y="377"/>
                  </a:lnTo>
                  <a:lnTo>
                    <a:pt x="389" y="372"/>
                  </a:lnTo>
                  <a:lnTo>
                    <a:pt x="394" y="370"/>
                  </a:lnTo>
                  <a:lnTo>
                    <a:pt x="396" y="371"/>
                  </a:lnTo>
                  <a:lnTo>
                    <a:pt x="406" y="380"/>
                  </a:lnTo>
                  <a:lnTo>
                    <a:pt x="415" y="378"/>
                  </a:lnTo>
                  <a:lnTo>
                    <a:pt x="419" y="376"/>
                  </a:lnTo>
                  <a:lnTo>
                    <a:pt x="419" y="373"/>
                  </a:lnTo>
                  <a:lnTo>
                    <a:pt x="409" y="355"/>
                  </a:lnTo>
                  <a:lnTo>
                    <a:pt x="409" y="349"/>
                  </a:lnTo>
                  <a:lnTo>
                    <a:pt x="403" y="340"/>
                  </a:lnTo>
                  <a:lnTo>
                    <a:pt x="403" y="336"/>
                  </a:lnTo>
                  <a:lnTo>
                    <a:pt x="410" y="332"/>
                  </a:lnTo>
                  <a:lnTo>
                    <a:pt x="428" y="323"/>
                  </a:lnTo>
                  <a:lnTo>
                    <a:pt x="435" y="319"/>
                  </a:lnTo>
                  <a:lnTo>
                    <a:pt x="473" y="290"/>
                  </a:lnTo>
                  <a:lnTo>
                    <a:pt x="483" y="283"/>
                  </a:lnTo>
                  <a:lnTo>
                    <a:pt x="488" y="278"/>
                  </a:lnTo>
                  <a:lnTo>
                    <a:pt x="490" y="268"/>
                  </a:lnTo>
                  <a:lnTo>
                    <a:pt x="493" y="265"/>
                  </a:lnTo>
                  <a:lnTo>
                    <a:pt x="503" y="263"/>
                  </a:lnTo>
                  <a:lnTo>
                    <a:pt x="520" y="255"/>
                  </a:lnTo>
                  <a:lnTo>
                    <a:pt x="535" y="250"/>
                  </a:lnTo>
                  <a:lnTo>
                    <a:pt x="540" y="250"/>
                  </a:lnTo>
                  <a:lnTo>
                    <a:pt x="544" y="251"/>
                  </a:lnTo>
                  <a:lnTo>
                    <a:pt x="547" y="254"/>
                  </a:lnTo>
                  <a:lnTo>
                    <a:pt x="552" y="268"/>
                  </a:lnTo>
                  <a:lnTo>
                    <a:pt x="555" y="274"/>
                  </a:lnTo>
                  <a:lnTo>
                    <a:pt x="571" y="298"/>
                  </a:lnTo>
                  <a:lnTo>
                    <a:pt x="574" y="301"/>
                  </a:lnTo>
                  <a:lnTo>
                    <a:pt x="578" y="302"/>
                  </a:lnTo>
                  <a:lnTo>
                    <a:pt x="588" y="299"/>
                  </a:lnTo>
                  <a:lnTo>
                    <a:pt x="593" y="297"/>
                  </a:lnTo>
                  <a:lnTo>
                    <a:pt x="596" y="290"/>
                  </a:lnTo>
                  <a:lnTo>
                    <a:pt x="597" y="278"/>
                  </a:lnTo>
                  <a:lnTo>
                    <a:pt x="599" y="269"/>
                  </a:lnTo>
                  <a:lnTo>
                    <a:pt x="603" y="269"/>
                  </a:lnTo>
                  <a:lnTo>
                    <a:pt x="609" y="273"/>
                  </a:lnTo>
                  <a:lnTo>
                    <a:pt x="615" y="269"/>
                  </a:lnTo>
                  <a:lnTo>
                    <a:pt x="618" y="263"/>
                  </a:lnTo>
                  <a:lnTo>
                    <a:pt x="619" y="250"/>
                  </a:lnTo>
                  <a:lnTo>
                    <a:pt x="624" y="243"/>
                  </a:lnTo>
                  <a:lnTo>
                    <a:pt x="629" y="237"/>
                  </a:lnTo>
                  <a:lnTo>
                    <a:pt x="651" y="219"/>
                  </a:lnTo>
                  <a:lnTo>
                    <a:pt x="655" y="219"/>
                  </a:lnTo>
                  <a:lnTo>
                    <a:pt x="663" y="225"/>
                  </a:lnTo>
                  <a:lnTo>
                    <a:pt x="662" y="233"/>
                  </a:lnTo>
                  <a:lnTo>
                    <a:pt x="663" y="239"/>
                  </a:lnTo>
                  <a:lnTo>
                    <a:pt x="669" y="239"/>
                  </a:lnTo>
                  <a:lnTo>
                    <a:pt x="682" y="233"/>
                  </a:lnTo>
                  <a:lnTo>
                    <a:pt x="689" y="231"/>
                  </a:lnTo>
                  <a:lnTo>
                    <a:pt x="704" y="245"/>
                  </a:lnTo>
                  <a:lnTo>
                    <a:pt x="723" y="240"/>
                  </a:lnTo>
                  <a:lnTo>
                    <a:pt x="733" y="239"/>
                  </a:lnTo>
                  <a:lnTo>
                    <a:pt x="737" y="237"/>
                  </a:lnTo>
                  <a:lnTo>
                    <a:pt x="741" y="233"/>
                  </a:lnTo>
                  <a:lnTo>
                    <a:pt x="745" y="226"/>
                  </a:lnTo>
                  <a:lnTo>
                    <a:pt x="749" y="222"/>
                  </a:lnTo>
                  <a:lnTo>
                    <a:pt x="760" y="224"/>
                  </a:lnTo>
                  <a:lnTo>
                    <a:pt x="762" y="224"/>
                  </a:lnTo>
                  <a:lnTo>
                    <a:pt x="771" y="215"/>
                  </a:lnTo>
                  <a:lnTo>
                    <a:pt x="777" y="204"/>
                  </a:lnTo>
                  <a:lnTo>
                    <a:pt x="779" y="198"/>
                  </a:lnTo>
                  <a:lnTo>
                    <a:pt x="779" y="189"/>
                  </a:lnTo>
                  <a:lnTo>
                    <a:pt x="777" y="183"/>
                  </a:lnTo>
                  <a:lnTo>
                    <a:pt x="774" y="177"/>
                  </a:lnTo>
                  <a:lnTo>
                    <a:pt x="752" y="158"/>
                  </a:lnTo>
                  <a:lnTo>
                    <a:pt x="750" y="151"/>
                  </a:lnTo>
                  <a:lnTo>
                    <a:pt x="751" y="149"/>
                  </a:lnTo>
                  <a:lnTo>
                    <a:pt x="754" y="149"/>
                  </a:lnTo>
                  <a:lnTo>
                    <a:pt x="765" y="152"/>
                  </a:lnTo>
                  <a:lnTo>
                    <a:pt x="771" y="153"/>
                  </a:lnTo>
                  <a:lnTo>
                    <a:pt x="777" y="151"/>
                  </a:lnTo>
                  <a:lnTo>
                    <a:pt x="780" y="147"/>
                  </a:lnTo>
                  <a:lnTo>
                    <a:pt x="781" y="141"/>
                  </a:lnTo>
                  <a:lnTo>
                    <a:pt x="780" y="134"/>
                  </a:lnTo>
                  <a:lnTo>
                    <a:pt x="774" y="99"/>
                  </a:lnTo>
                  <a:lnTo>
                    <a:pt x="773" y="88"/>
                  </a:lnTo>
                  <a:lnTo>
                    <a:pt x="774" y="82"/>
                  </a:lnTo>
                  <a:lnTo>
                    <a:pt x="794" y="63"/>
                  </a:lnTo>
                  <a:lnTo>
                    <a:pt x="808" y="57"/>
                  </a:lnTo>
                  <a:lnTo>
                    <a:pt x="821" y="53"/>
                  </a:lnTo>
                  <a:lnTo>
                    <a:pt x="846" y="49"/>
                  </a:lnTo>
                  <a:lnTo>
                    <a:pt x="884" y="45"/>
                  </a:lnTo>
                  <a:lnTo>
                    <a:pt x="895" y="43"/>
                  </a:lnTo>
                  <a:lnTo>
                    <a:pt x="899" y="39"/>
                  </a:lnTo>
                  <a:lnTo>
                    <a:pt x="901" y="34"/>
                  </a:lnTo>
                  <a:lnTo>
                    <a:pt x="902" y="26"/>
                  </a:lnTo>
                  <a:lnTo>
                    <a:pt x="902" y="18"/>
                  </a:lnTo>
                  <a:lnTo>
                    <a:pt x="913" y="12"/>
                  </a:lnTo>
                  <a:lnTo>
                    <a:pt x="922" y="9"/>
                  </a:lnTo>
                  <a:lnTo>
                    <a:pt x="954" y="7"/>
                  </a:lnTo>
                  <a:lnTo>
                    <a:pt x="982" y="0"/>
                  </a:lnTo>
                  <a:lnTo>
                    <a:pt x="988" y="0"/>
                  </a:lnTo>
                  <a:lnTo>
                    <a:pt x="996" y="17"/>
                  </a:lnTo>
                  <a:lnTo>
                    <a:pt x="1030" y="45"/>
                  </a:lnTo>
                  <a:lnTo>
                    <a:pt x="1038" y="56"/>
                  </a:lnTo>
                  <a:lnTo>
                    <a:pt x="1040" y="61"/>
                  </a:lnTo>
                  <a:lnTo>
                    <a:pt x="1043" y="77"/>
                  </a:lnTo>
                  <a:lnTo>
                    <a:pt x="1046" y="83"/>
                  </a:lnTo>
                  <a:lnTo>
                    <a:pt x="1051" y="90"/>
                  </a:lnTo>
                  <a:lnTo>
                    <a:pt x="1030" y="108"/>
                  </a:lnTo>
                  <a:lnTo>
                    <a:pt x="1029" y="112"/>
                  </a:lnTo>
                  <a:lnTo>
                    <a:pt x="1029" y="115"/>
                  </a:lnTo>
                  <a:lnTo>
                    <a:pt x="1032" y="118"/>
                  </a:lnTo>
                  <a:lnTo>
                    <a:pt x="1056" y="129"/>
                  </a:lnTo>
                  <a:lnTo>
                    <a:pt x="1067" y="137"/>
                  </a:lnTo>
                  <a:lnTo>
                    <a:pt x="1070" y="154"/>
                  </a:lnTo>
                  <a:lnTo>
                    <a:pt x="1081" y="164"/>
                  </a:lnTo>
                  <a:lnTo>
                    <a:pt x="1083" y="168"/>
                  </a:lnTo>
                  <a:lnTo>
                    <a:pt x="1082" y="172"/>
                  </a:lnTo>
                  <a:lnTo>
                    <a:pt x="1076" y="178"/>
                  </a:lnTo>
                  <a:lnTo>
                    <a:pt x="1076" y="179"/>
                  </a:lnTo>
                  <a:lnTo>
                    <a:pt x="1083" y="180"/>
                  </a:lnTo>
                  <a:lnTo>
                    <a:pt x="1091" y="179"/>
                  </a:lnTo>
                  <a:lnTo>
                    <a:pt x="1096" y="174"/>
                  </a:lnTo>
                  <a:lnTo>
                    <a:pt x="1100" y="165"/>
                  </a:lnTo>
                  <a:lnTo>
                    <a:pt x="1104" y="160"/>
                  </a:lnTo>
                  <a:lnTo>
                    <a:pt x="1112" y="157"/>
                  </a:lnTo>
                  <a:lnTo>
                    <a:pt x="1115" y="157"/>
                  </a:lnTo>
                  <a:lnTo>
                    <a:pt x="1117" y="158"/>
                  </a:lnTo>
                  <a:lnTo>
                    <a:pt x="1116" y="160"/>
                  </a:lnTo>
                  <a:lnTo>
                    <a:pt x="1109" y="176"/>
                  </a:lnTo>
                  <a:lnTo>
                    <a:pt x="1111" y="179"/>
                  </a:lnTo>
                  <a:lnTo>
                    <a:pt x="1123" y="186"/>
                  </a:lnTo>
                  <a:lnTo>
                    <a:pt x="1126" y="189"/>
                  </a:lnTo>
                  <a:lnTo>
                    <a:pt x="1126" y="193"/>
                  </a:lnTo>
                  <a:lnTo>
                    <a:pt x="1124" y="200"/>
                  </a:lnTo>
                  <a:lnTo>
                    <a:pt x="1119" y="206"/>
                  </a:lnTo>
                  <a:lnTo>
                    <a:pt x="1118" y="210"/>
                  </a:lnTo>
                  <a:lnTo>
                    <a:pt x="1121" y="213"/>
                  </a:lnTo>
                  <a:lnTo>
                    <a:pt x="1137" y="225"/>
                  </a:lnTo>
                  <a:lnTo>
                    <a:pt x="1139" y="227"/>
                  </a:lnTo>
                  <a:lnTo>
                    <a:pt x="1138" y="231"/>
                  </a:lnTo>
                  <a:lnTo>
                    <a:pt x="1124" y="268"/>
                  </a:lnTo>
                  <a:lnTo>
                    <a:pt x="1121" y="268"/>
                  </a:lnTo>
                  <a:lnTo>
                    <a:pt x="1117" y="265"/>
                  </a:lnTo>
                  <a:lnTo>
                    <a:pt x="1111" y="257"/>
                  </a:lnTo>
                  <a:lnTo>
                    <a:pt x="1108" y="254"/>
                  </a:lnTo>
                  <a:lnTo>
                    <a:pt x="1087" y="250"/>
                  </a:lnTo>
                  <a:lnTo>
                    <a:pt x="1085" y="255"/>
                  </a:lnTo>
                  <a:lnTo>
                    <a:pt x="1082" y="262"/>
                  </a:lnTo>
                  <a:lnTo>
                    <a:pt x="1081" y="275"/>
                  </a:lnTo>
                  <a:lnTo>
                    <a:pt x="1094" y="301"/>
                  </a:lnTo>
                  <a:lnTo>
                    <a:pt x="1103" y="316"/>
                  </a:lnTo>
                  <a:lnTo>
                    <a:pt x="1112" y="320"/>
                  </a:lnTo>
                  <a:lnTo>
                    <a:pt x="1122" y="334"/>
                  </a:lnTo>
                  <a:lnTo>
                    <a:pt x="1126" y="336"/>
                  </a:lnTo>
                  <a:lnTo>
                    <a:pt x="1134" y="338"/>
                  </a:lnTo>
                  <a:lnTo>
                    <a:pt x="1136" y="340"/>
                  </a:lnTo>
                  <a:lnTo>
                    <a:pt x="1138" y="349"/>
                  </a:lnTo>
                  <a:lnTo>
                    <a:pt x="1138" y="354"/>
                  </a:lnTo>
                  <a:lnTo>
                    <a:pt x="1136" y="356"/>
                  </a:lnTo>
                  <a:lnTo>
                    <a:pt x="1129" y="357"/>
                  </a:lnTo>
                  <a:lnTo>
                    <a:pt x="1127" y="359"/>
                  </a:lnTo>
                  <a:lnTo>
                    <a:pt x="1133" y="369"/>
                  </a:lnTo>
                  <a:lnTo>
                    <a:pt x="1149" y="380"/>
                  </a:lnTo>
                  <a:lnTo>
                    <a:pt x="1152" y="406"/>
                  </a:lnTo>
                  <a:lnTo>
                    <a:pt x="1158" y="416"/>
                  </a:lnTo>
                  <a:lnTo>
                    <a:pt x="1162" y="417"/>
                  </a:lnTo>
                  <a:lnTo>
                    <a:pt x="1166" y="416"/>
                  </a:lnTo>
                  <a:lnTo>
                    <a:pt x="1177" y="405"/>
                  </a:lnTo>
                  <a:lnTo>
                    <a:pt x="1194" y="401"/>
                  </a:lnTo>
                  <a:lnTo>
                    <a:pt x="1201" y="400"/>
                  </a:lnTo>
                  <a:lnTo>
                    <a:pt x="1216" y="402"/>
                  </a:lnTo>
                  <a:lnTo>
                    <a:pt x="1227" y="401"/>
                  </a:lnTo>
                  <a:lnTo>
                    <a:pt x="1240" y="405"/>
                  </a:lnTo>
                  <a:lnTo>
                    <a:pt x="1248" y="404"/>
                  </a:lnTo>
                  <a:lnTo>
                    <a:pt x="1255" y="393"/>
                  </a:lnTo>
                  <a:lnTo>
                    <a:pt x="1260" y="389"/>
                  </a:lnTo>
                  <a:lnTo>
                    <a:pt x="1266" y="380"/>
                  </a:lnTo>
                  <a:lnTo>
                    <a:pt x="1268" y="380"/>
                  </a:lnTo>
                  <a:lnTo>
                    <a:pt x="1271" y="380"/>
                  </a:lnTo>
                  <a:lnTo>
                    <a:pt x="1273" y="382"/>
                  </a:lnTo>
                  <a:lnTo>
                    <a:pt x="1278" y="406"/>
                  </a:lnTo>
                  <a:lnTo>
                    <a:pt x="1280" y="408"/>
                  </a:lnTo>
                  <a:lnTo>
                    <a:pt x="1283" y="409"/>
                  </a:lnTo>
                  <a:lnTo>
                    <a:pt x="1292" y="409"/>
                  </a:lnTo>
                  <a:lnTo>
                    <a:pt x="1307" y="404"/>
                  </a:lnTo>
                  <a:lnTo>
                    <a:pt x="1349" y="406"/>
                  </a:lnTo>
                  <a:lnTo>
                    <a:pt x="1369" y="403"/>
                  </a:lnTo>
                  <a:lnTo>
                    <a:pt x="1373" y="405"/>
                  </a:lnTo>
                  <a:lnTo>
                    <a:pt x="1373" y="405"/>
                  </a:lnTo>
                  <a:lnTo>
                    <a:pt x="1375" y="411"/>
                  </a:lnTo>
                  <a:lnTo>
                    <a:pt x="1370" y="423"/>
                  </a:lnTo>
                  <a:lnTo>
                    <a:pt x="1353" y="431"/>
                  </a:lnTo>
                  <a:lnTo>
                    <a:pt x="1352" y="434"/>
                  </a:lnTo>
                  <a:lnTo>
                    <a:pt x="1357" y="442"/>
                  </a:lnTo>
                  <a:lnTo>
                    <a:pt x="1358" y="446"/>
                  </a:lnTo>
                  <a:lnTo>
                    <a:pt x="1356" y="450"/>
                  </a:lnTo>
                  <a:lnTo>
                    <a:pt x="1352" y="455"/>
                  </a:lnTo>
                  <a:lnTo>
                    <a:pt x="1344" y="459"/>
                  </a:lnTo>
                  <a:lnTo>
                    <a:pt x="1340" y="461"/>
                  </a:lnTo>
                  <a:lnTo>
                    <a:pt x="1338" y="472"/>
                  </a:lnTo>
                  <a:lnTo>
                    <a:pt x="1335" y="479"/>
                  </a:lnTo>
                  <a:lnTo>
                    <a:pt x="1328" y="485"/>
                  </a:lnTo>
                  <a:lnTo>
                    <a:pt x="1312" y="489"/>
                  </a:lnTo>
                  <a:lnTo>
                    <a:pt x="1307" y="491"/>
                  </a:lnTo>
                  <a:lnTo>
                    <a:pt x="1306" y="498"/>
                  </a:lnTo>
                  <a:lnTo>
                    <a:pt x="1308" y="502"/>
                  </a:lnTo>
                  <a:lnTo>
                    <a:pt x="1312" y="505"/>
                  </a:lnTo>
                  <a:lnTo>
                    <a:pt x="1326" y="508"/>
                  </a:lnTo>
                  <a:lnTo>
                    <a:pt x="1328" y="509"/>
                  </a:lnTo>
                  <a:lnTo>
                    <a:pt x="1329" y="511"/>
                  </a:lnTo>
                  <a:lnTo>
                    <a:pt x="1326" y="519"/>
                  </a:lnTo>
                  <a:lnTo>
                    <a:pt x="1322" y="525"/>
                  </a:lnTo>
                  <a:lnTo>
                    <a:pt x="1316" y="527"/>
                  </a:lnTo>
                  <a:lnTo>
                    <a:pt x="1297" y="529"/>
                  </a:lnTo>
                  <a:lnTo>
                    <a:pt x="1293" y="531"/>
                  </a:lnTo>
                  <a:lnTo>
                    <a:pt x="1290" y="534"/>
                  </a:lnTo>
                  <a:lnTo>
                    <a:pt x="1289" y="538"/>
                  </a:lnTo>
                  <a:lnTo>
                    <a:pt x="1289" y="545"/>
                  </a:lnTo>
                  <a:lnTo>
                    <a:pt x="1292" y="578"/>
                  </a:lnTo>
                  <a:lnTo>
                    <a:pt x="1297" y="582"/>
                  </a:lnTo>
                  <a:lnTo>
                    <a:pt x="1308" y="586"/>
                  </a:lnTo>
                  <a:lnTo>
                    <a:pt x="1311" y="593"/>
                  </a:lnTo>
                  <a:lnTo>
                    <a:pt x="1316" y="597"/>
                  </a:lnTo>
                  <a:lnTo>
                    <a:pt x="1322" y="604"/>
                  </a:lnTo>
                  <a:lnTo>
                    <a:pt x="1328" y="608"/>
                  </a:lnTo>
                  <a:lnTo>
                    <a:pt x="1338" y="616"/>
                  </a:lnTo>
                  <a:lnTo>
                    <a:pt x="1347" y="618"/>
                  </a:lnTo>
                  <a:lnTo>
                    <a:pt x="1355" y="618"/>
                  </a:lnTo>
                  <a:lnTo>
                    <a:pt x="1378" y="609"/>
                  </a:lnTo>
                  <a:lnTo>
                    <a:pt x="1380" y="609"/>
                  </a:lnTo>
                  <a:lnTo>
                    <a:pt x="1381" y="613"/>
                  </a:lnTo>
                  <a:lnTo>
                    <a:pt x="1374" y="633"/>
                  </a:lnTo>
                  <a:lnTo>
                    <a:pt x="1374" y="637"/>
                  </a:lnTo>
                  <a:lnTo>
                    <a:pt x="1376" y="639"/>
                  </a:lnTo>
                  <a:lnTo>
                    <a:pt x="1388" y="638"/>
                  </a:lnTo>
                  <a:lnTo>
                    <a:pt x="1394" y="639"/>
                  </a:lnTo>
                  <a:lnTo>
                    <a:pt x="1397" y="642"/>
                  </a:lnTo>
                  <a:lnTo>
                    <a:pt x="1402" y="655"/>
                  </a:lnTo>
                  <a:lnTo>
                    <a:pt x="1405" y="659"/>
                  </a:lnTo>
                  <a:lnTo>
                    <a:pt x="1417" y="660"/>
                  </a:lnTo>
                  <a:lnTo>
                    <a:pt x="1441" y="653"/>
                  </a:lnTo>
                  <a:lnTo>
                    <a:pt x="1455" y="653"/>
                  </a:lnTo>
                  <a:lnTo>
                    <a:pt x="1473" y="649"/>
                  </a:lnTo>
                  <a:lnTo>
                    <a:pt x="1476" y="651"/>
                  </a:lnTo>
                  <a:lnTo>
                    <a:pt x="1479" y="655"/>
                  </a:lnTo>
                  <a:lnTo>
                    <a:pt x="1480" y="661"/>
                  </a:lnTo>
                  <a:lnTo>
                    <a:pt x="1481" y="665"/>
                  </a:lnTo>
                  <a:lnTo>
                    <a:pt x="1489" y="678"/>
                  </a:lnTo>
                  <a:lnTo>
                    <a:pt x="1492" y="687"/>
                  </a:lnTo>
                  <a:lnTo>
                    <a:pt x="1493" y="696"/>
                  </a:lnTo>
                  <a:lnTo>
                    <a:pt x="1492" y="722"/>
                  </a:lnTo>
                  <a:lnTo>
                    <a:pt x="1493" y="731"/>
                  </a:lnTo>
                  <a:lnTo>
                    <a:pt x="1495" y="731"/>
                  </a:lnTo>
                  <a:lnTo>
                    <a:pt x="1502" y="728"/>
                  </a:lnTo>
                  <a:lnTo>
                    <a:pt x="1507" y="731"/>
                  </a:lnTo>
                  <a:lnTo>
                    <a:pt x="1525" y="750"/>
                  </a:lnTo>
                  <a:lnTo>
                    <a:pt x="1527" y="763"/>
                  </a:lnTo>
                  <a:lnTo>
                    <a:pt x="1536" y="769"/>
                  </a:lnTo>
                  <a:lnTo>
                    <a:pt x="1543" y="781"/>
                  </a:lnTo>
                  <a:lnTo>
                    <a:pt x="1552" y="787"/>
                  </a:lnTo>
                  <a:lnTo>
                    <a:pt x="1554" y="794"/>
                  </a:lnTo>
                  <a:lnTo>
                    <a:pt x="1558" y="797"/>
                  </a:lnTo>
                  <a:lnTo>
                    <a:pt x="1567" y="802"/>
                  </a:lnTo>
                  <a:lnTo>
                    <a:pt x="1572" y="806"/>
                  </a:lnTo>
                  <a:lnTo>
                    <a:pt x="1583" y="823"/>
                  </a:lnTo>
                  <a:lnTo>
                    <a:pt x="1583" y="823"/>
                  </a:lnTo>
                  <a:lnTo>
                    <a:pt x="1577" y="827"/>
                  </a:lnTo>
                  <a:lnTo>
                    <a:pt x="1562" y="833"/>
                  </a:lnTo>
                  <a:lnTo>
                    <a:pt x="1559" y="836"/>
                  </a:lnTo>
                  <a:lnTo>
                    <a:pt x="1555" y="842"/>
                  </a:lnTo>
                  <a:lnTo>
                    <a:pt x="1552" y="844"/>
                  </a:lnTo>
                  <a:lnTo>
                    <a:pt x="1542" y="848"/>
                  </a:lnTo>
                  <a:lnTo>
                    <a:pt x="1526" y="853"/>
                  </a:lnTo>
                  <a:lnTo>
                    <a:pt x="1517" y="857"/>
                  </a:lnTo>
                  <a:lnTo>
                    <a:pt x="1513" y="862"/>
                  </a:lnTo>
                  <a:lnTo>
                    <a:pt x="1511" y="862"/>
                  </a:lnTo>
                  <a:lnTo>
                    <a:pt x="1510" y="861"/>
                  </a:lnTo>
                  <a:lnTo>
                    <a:pt x="1508" y="861"/>
                  </a:lnTo>
                  <a:lnTo>
                    <a:pt x="1498" y="867"/>
                  </a:lnTo>
                  <a:lnTo>
                    <a:pt x="1494" y="872"/>
                  </a:lnTo>
                  <a:lnTo>
                    <a:pt x="1493" y="881"/>
                  </a:lnTo>
                  <a:lnTo>
                    <a:pt x="1490" y="889"/>
                  </a:lnTo>
                  <a:lnTo>
                    <a:pt x="1491" y="890"/>
                  </a:lnTo>
                  <a:lnTo>
                    <a:pt x="1494" y="890"/>
                  </a:lnTo>
                  <a:lnTo>
                    <a:pt x="1496" y="896"/>
                  </a:lnTo>
                  <a:lnTo>
                    <a:pt x="1483" y="897"/>
                  </a:lnTo>
                  <a:lnTo>
                    <a:pt x="1479" y="899"/>
                  </a:lnTo>
                  <a:lnTo>
                    <a:pt x="1469" y="910"/>
                  </a:lnTo>
                  <a:lnTo>
                    <a:pt x="1466" y="910"/>
                  </a:lnTo>
                  <a:lnTo>
                    <a:pt x="1464" y="914"/>
                  </a:lnTo>
                  <a:lnTo>
                    <a:pt x="1457" y="922"/>
                  </a:lnTo>
                  <a:lnTo>
                    <a:pt x="1454" y="929"/>
                  </a:lnTo>
                  <a:lnTo>
                    <a:pt x="1451" y="941"/>
                  </a:lnTo>
                  <a:lnTo>
                    <a:pt x="1447" y="944"/>
                  </a:lnTo>
                  <a:lnTo>
                    <a:pt x="1446" y="947"/>
                  </a:lnTo>
                  <a:lnTo>
                    <a:pt x="1446" y="948"/>
                  </a:lnTo>
                  <a:lnTo>
                    <a:pt x="1448" y="950"/>
                  </a:lnTo>
                  <a:lnTo>
                    <a:pt x="1448" y="953"/>
                  </a:lnTo>
                  <a:lnTo>
                    <a:pt x="1445" y="966"/>
                  </a:lnTo>
                  <a:lnTo>
                    <a:pt x="1443" y="979"/>
                  </a:lnTo>
                  <a:lnTo>
                    <a:pt x="1441" y="980"/>
                  </a:lnTo>
                  <a:lnTo>
                    <a:pt x="1437" y="977"/>
                  </a:lnTo>
                  <a:lnTo>
                    <a:pt x="1435" y="977"/>
                  </a:lnTo>
                  <a:lnTo>
                    <a:pt x="1427" y="984"/>
                  </a:lnTo>
                  <a:lnTo>
                    <a:pt x="1424" y="988"/>
                  </a:lnTo>
                  <a:lnTo>
                    <a:pt x="1426" y="991"/>
                  </a:lnTo>
                  <a:lnTo>
                    <a:pt x="1430" y="992"/>
                  </a:lnTo>
                  <a:lnTo>
                    <a:pt x="1433" y="990"/>
                  </a:lnTo>
                  <a:lnTo>
                    <a:pt x="1437" y="981"/>
                  </a:lnTo>
                  <a:lnTo>
                    <a:pt x="1439" y="981"/>
                  </a:lnTo>
                  <a:lnTo>
                    <a:pt x="1440" y="983"/>
                  </a:lnTo>
                  <a:lnTo>
                    <a:pt x="1438" y="1010"/>
                  </a:lnTo>
                  <a:lnTo>
                    <a:pt x="1435" y="1019"/>
                  </a:lnTo>
                  <a:lnTo>
                    <a:pt x="1436" y="1019"/>
                  </a:lnTo>
                  <a:lnTo>
                    <a:pt x="1440" y="1020"/>
                  </a:lnTo>
                  <a:lnTo>
                    <a:pt x="1441" y="1030"/>
                  </a:lnTo>
                  <a:lnTo>
                    <a:pt x="1447" y="1030"/>
                  </a:lnTo>
                  <a:lnTo>
                    <a:pt x="1450" y="1031"/>
                  </a:lnTo>
                  <a:lnTo>
                    <a:pt x="1450" y="1038"/>
                  </a:lnTo>
                  <a:lnTo>
                    <a:pt x="1446" y="1039"/>
                  </a:lnTo>
                  <a:lnTo>
                    <a:pt x="1442" y="1045"/>
                  </a:lnTo>
                  <a:lnTo>
                    <a:pt x="1437" y="1046"/>
                  </a:lnTo>
                  <a:lnTo>
                    <a:pt x="1430" y="1050"/>
                  </a:lnTo>
                  <a:lnTo>
                    <a:pt x="1426" y="1050"/>
                  </a:lnTo>
                  <a:lnTo>
                    <a:pt x="1421" y="1059"/>
                  </a:lnTo>
                  <a:lnTo>
                    <a:pt x="1410" y="1071"/>
                  </a:lnTo>
                  <a:lnTo>
                    <a:pt x="1410" y="1075"/>
                  </a:lnTo>
                  <a:lnTo>
                    <a:pt x="1408" y="1080"/>
                  </a:lnTo>
                  <a:lnTo>
                    <a:pt x="1402" y="1082"/>
                  </a:lnTo>
                  <a:lnTo>
                    <a:pt x="1399" y="1084"/>
                  </a:lnTo>
                  <a:lnTo>
                    <a:pt x="1399" y="1087"/>
                  </a:lnTo>
                  <a:lnTo>
                    <a:pt x="1400" y="1090"/>
                  </a:lnTo>
                  <a:lnTo>
                    <a:pt x="1399" y="1094"/>
                  </a:lnTo>
                  <a:lnTo>
                    <a:pt x="1394" y="1102"/>
                  </a:lnTo>
                  <a:lnTo>
                    <a:pt x="1389" y="1107"/>
                  </a:lnTo>
                  <a:lnTo>
                    <a:pt x="1386" y="1114"/>
                  </a:lnTo>
                  <a:lnTo>
                    <a:pt x="1384" y="1114"/>
                  </a:lnTo>
                  <a:lnTo>
                    <a:pt x="1383" y="1112"/>
                  </a:lnTo>
                  <a:lnTo>
                    <a:pt x="1382" y="1112"/>
                  </a:lnTo>
                  <a:lnTo>
                    <a:pt x="1371" y="1118"/>
                  </a:lnTo>
                  <a:lnTo>
                    <a:pt x="1366" y="1120"/>
                  </a:lnTo>
                  <a:lnTo>
                    <a:pt x="1358" y="1126"/>
                  </a:lnTo>
                  <a:lnTo>
                    <a:pt x="1353" y="1126"/>
                  </a:lnTo>
                  <a:lnTo>
                    <a:pt x="1351" y="1125"/>
                  </a:lnTo>
                  <a:lnTo>
                    <a:pt x="1351" y="1122"/>
                  </a:lnTo>
                  <a:lnTo>
                    <a:pt x="1354" y="1116"/>
                  </a:lnTo>
                  <a:lnTo>
                    <a:pt x="1354" y="1113"/>
                  </a:lnTo>
                  <a:lnTo>
                    <a:pt x="1353" y="1113"/>
                  </a:lnTo>
                  <a:lnTo>
                    <a:pt x="1348" y="1118"/>
                  </a:lnTo>
                  <a:lnTo>
                    <a:pt x="1347" y="1126"/>
                  </a:lnTo>
                  <a:lnTo>
                    <a:pt x="1346" y="1129"/>
                  </a:lnTo>
                  <a:lnTo>
                    <a:pt x="1339" y="1130"/>
                  </a:lnTo>
                  <a:lnTo>
                    <a:pt x="1335" y="1135"/>
                  </a:lnTo>
                  <a:lnTo>
                    <a:pt x="1331" y="1138"/>
                  </a:lnTo>
                  <a:lnTo>
                    <a:pt x="1321" y="1140"/>
                  </a:lnTo>
                  <a:lnTo>
                    <a:pt x="1315" y="1140"/>
                  </a:lnTo>
                  <a:lnTo>
                    <a:pt x="1310" y="1139"/>
                  </a:lnTo>
                  <a:lnTo>
                    <a:pt x="1308" y="1137"/>
                  </a:lnTo>
                  <a:lnTo>
                    <a:pt x="1304" y="1131"/>
                  </a:lnTo>
                  <a:lnTo>
                    <a:pt x="1302" y="1129"/>
                  </a:lnTo>
                  <a:lnTo>
                    <a:pt x="1283" y="1128"/>
                  </a:lnTo>
                  <a:lnTo>
                    <a:pt x="1266" y="1139"/>
                  </a:lnTo>
                  <a:lnTo>
                    <a:pt x="1259" y="1147"/>
                  </a:lnTo>
                  <a:lnTo>
                    <a:pt x="1245" y="1161"/>
                  </a:lnTo>
                  <a:lnTo>
                    <a:pt x="1218" y="1183"/>
                  </a:lnTo>
                  <a:lnTo>
                    <a:pt x="1214" y="1184"/>
                  </a:lnTo>
                  <a:lnTo>
                    <a:pt x="1210" y="1183"/>
                  </a:lnTo>
                  <a:lnTo>
                    <a:pt x="1208" y="1179"/>
                  </a:lnTo>
                  <a:lnTo>
                    <a:pt x="1205" y="1177"/>
                  </a:lnTo>
                  <a:lnTo>
                    <a:pt x="1200" y="1181"/>
                  </a:lnTo>
                  <a:lnTo>
                    <a:pt x="1199" y="1178"/>
                  </a:lnTo>
                  <a:lnTo>
                    <a:pt x="1189" y="1167"/>
                  </a:lnTo>
                  <a:lnTo>
                    <a:pt x="1175" y="1144"/>
                  </a:lnTo>
                  <a:lnTo>
                    <a:pt x="1166" y="1136"/>
                  </a:lnTo>
                  <a:lnTo>
                    <a:pt x="1144" y="1126"/>
                  </a:lnTo>
                  <a:lnTo>
                    <a:pt x="1134" y="1126"/>
                  </a:lnTo>
                  <a:lnTo>
                    <a:pt x="1134" y="1126"/>
                  </a:lnTo>
                  <a:lnTo>
                    <a:pt x="1135" y="1117"/>
                  </a:lnTo>
                  <a:lnTo>
                    <a:pt x="1139" y="1109"/>
                  </a:lnTo>
                  <a:lnTo>
                    <a:pt x="1138" y="1106"/>
                  </a:lnTo>
                  <a:lnTo>
                    <a:pt x="1121" y="1093"/>
                  </a:lnTo>
                  <a:lnTo>
                    <a:pt x="1105" y="1093"/>
                  </a:lnTo>
                  <a:lnTo>
                    <a:pt x="1103" y="1084"/>
                  </a:lnTo>
                  <a:lnTo>
                    <a:pt x="1096" y="1076"/>
                  </a:lnTo>
                  <a:lnTo>
                    <a:pt x="1093" y="1077"/>
                  </a:lnTo>
                  <a:lnTo>
                    <a:pt x="1083" y="1082"/>
                  </a:lnTo>
                  <a:lnTo>
                    <a:pt x="1081" y="1082"/>
                  </a:lnTo>
                  <a:lnTo>
                    <a:pt x="1080" y="1078"/>
                  </a:lnTo>
                  <a:lnTo>
                    <a:pt x="1080" y="1075"/>
                  </a:lnTo>
                  <a:lnTo>
                    <a:pt x="1084" y="1073"/>
                  </a:lnTo>
                  <a:lnTo>
                    <a:pt x="1086" y="1069"/>
                  </a:lnTo>
                  <a:lnTo>
                    <a:pt x="1091" y="1040"/>
                  </a:lnTo>
                  <a:lnTo>
                    <a:pt x="1093" y="1031"/>
                  </a:lnTo>
                  <a:lnTo>
                    <a:pt x="1099" y="1018"/>
                  </a:lnTo>
                  <a:lnTo>
                    <a:pt x="1098" y="1014"/>
                  </a:lnTo>
                  <a:lnTo>
                    <a:pt x="1093" y="1011"/>
                  </a:lnTo>
                  <a:lnTo>
                    <a:pt x="1085" y="1010"/>
                  </a:lnTo>
                  <a:lnTo>
                    <a:pt x="1072" y="1009"/>
                  </a:lnTo>
                  <a:lnTo>
                    <a:pt x="1063" y="1010"/>
                  </a:lnTo>
                  <a:lnTo>
                    <a:pt x="1058" y="1013"/>
                  </a:lnTo>
                  <a:lnTo>
                    <a:pt x="1052" y="1023"/>
                  </a:lnTo>
                  <a:lnTo>
                    <a:pt x="1048" y="1028"/>
                  </a:lnTo>
                  <a:lnTo>
                    <a:pt x="1041" y="1017"/>
                  </a:lnTo>
                  <a:lnTo>
                    <a:pt x="1022" y="1008"/>
                  </a:lnTo>
                  <a:lnTo>
                    <a:pt x="1022" y="1001"/>
                  </a:lnTo>
                  <a:lnTo>
                    <a:pt x="1024" y="988"/>
                  </a:lnTo>
                  <a:lnTo>
                    <a:pt x="1024" y="980"/>
                  </a:lnTo>
                  <a:lnTo>
                    <a:pt x="1015" y="976"/>
                  </a:lnTo>
                  <a:lnTo>
                    <a:pt x="1010" y="973"/>
                  </a:lnTo>
                  <a:lnTo>
                    <a:pt x="1004" y="964"/>
                  </a:lnTo>
                  <a:lnTo>
                    <a:pt x="1000" y="955"/>
                  </a:lnTo>
                  <a:lnTo>
                    <a:pt x="1000" y="937"/>
                  </a:lnTo>
                  <a:lnTo>
                    <a:pt x="991" y="926"/>
                  </a:lnTo>
                  <a:lnTo>
                    <a:pt x="989" y="920"/>
                  </a:lnTo>
                  <a:lnTo>
                    <a:pt x="988" y="902"/>
                  </a:lnTo>
                  <a:lnTo>
                    <a:pt x="990" y="884"/>
                  </a:lnTo>
                  <a:lnTo>
                    <a:pt x="993" y="879"/>
                  </a:lnTo>
                  <a:lnTo>
                    <a:pt x="998" y="878"/>
                  </a:lnTo>
                  <a:lnTo>
                    <a:pt x="1016" y="886"/>
                  </a:lnTo>
                  <a:lnTo>
                    <a:pt x="1032" y="883"/>
                  </a:lnTo>
                  <a:lnTo>
                    <a:pt x="1044" y="886"/>
                  </a:lnTo>
                  <a:lnTo>
                    <a:pt x="1050" y="886"/>
                  </a:lnTo>
                  <a:lnTo>
                    <a:pt x="1054" y="883"/>
                  </a:lnTo>
                  <a:lnTo>
                    <a:pt x="1056" y="874"/>
                  </a:lnTo>
                  <a:lnTo>
                    <a:pt x="1056" y="872"/>
                  </a:lnTo>
                  <a:lnTo>
                    <a:pt x="1050" y="863"/>
                  </a:lnTo>
                  <a:lnTo>
                    <a:pt x="1044" y="855"/>
                  </a:lnTo>
                  <a:lnTo>
                    <a:pt x="1038" y="850"/>
                  </a:lnTo>
                  <a:lnTo>
                    <a:pt x="1029" y="844"/>
                  </a:lnTo>
                  <a:lnTo>
                    <a:pt x="1014" y="838"/>
                  </a:lnTo>
                  <a:lnTo>
                    <a:pt x="1009" y="835"/>
                  </a:lnTo>
                  <a:lnTo>
                    <a:pt x="996" y="816"/>
                  </a:lnTo>
                  <a:lnTo>
                    <a:pt x="984" y="801"/>
                  </a:lnTo>
                  <a:lnTo>
                    <a:pt x="960" y="798"/>
                  </a:lnTo>
                  <a:lnTo>
                    <a:pt x="934" y="804"/>
                  </a:lnTo>
                  <a:lnTo>
                    <a:pt x="934" y="804"/>
                  </a:lnTo>
                  <a:lnTo>
                    <a:pt x="932" y="789"/>
                  </a:lnTo>
                  <a:lnTo>
                    <a:pt x="930" y="780"/>
                  </a:lnTo>
                  <a:lnTo>
                    <a:pt x="928" y="779"/>
                  </a:lnTo>
                  <a:lnTo>
                    <a:pt x="916" y="780"/>
                  </a:lnTo>
                  <a:lnTo>
                    <a:pt x="913" y="779"/>
                  </a:lnTo>
                  <a:lnTo>
                    <a:pt x="900" y="757"/>
                  </a:lnTo>
                  <a:lnTo>
                    <a:pt x="898" y="739"/>
                  </a:lnTo>
                  <a:lnTo>
                    <a:pt x="887" y="723"/>
                  </a:lnTo>
                  <a:lnTo>
                    <a:pt x="886" y="718"/>
                  </a:lnTo>
                  <a:lnTo>
                    <a:pt x="898" y="710"/>
                  </a:lnTo>
                  <a:lnTo>
                    <a:pt x="898" y="698"/>
                  </a:lnTo>
                  <a:lnTo>
                    <a:pt x="903" y="693"/>
                  </a:lnTo>
                  <a:lnTo>
                    <a:pt x="910" y="689"/>
                  </a:lnTo>
                  <a:lnTo>
                    <a:pt x="918" y="686"/>
                  </a:lnTo>
                  <a:lnTo>
                    <a:pt x="937" y="690"/>
                  </a:lnTo>
                  <a:lnTo>
                    <a:pt x="940" y="690"/>
                  </a:lnTo>
                  <a:lnTo>
                    <a:pt x="942" y="688"/>
                  </a:lnTo>
                  <a:lnTo>
                    <a:pt x="946" y="682"/>
                  </a:lnTo>
                  <a:lnTo>
                    <a:pt x="947" y="673"/>
                  </a:lnTo>
                  <a:lnTo>
                    <a:pt x="948" y="669"/>
                  </a:lnTo>
                  <a:lnTo>
                    <a:pt x="964" y="661"/>
                  </a:lnTo>
                  <a:lnTo>
                    <a:pt x="965" y="655"/>
                  </a:lnTo>
                  <a:lnTo>
                    <a:pt x="965" y="651"/>
                  </a:lnTo>
                  <a:lnTo>
                    <a:pt x="958" y="646"/>
                  </a:lnTo>
                  <a:lnTo>
                    <a:pt x="951" y="644"/>
                  </a:lnTo>
                  <a:lnTo>
                    <a:pt x="942" y="645"/>
                  </a:lnTo>
                  <a:lnTo>
                    <a:pt x="925" y="653"/>
                  </a:lnTo>
                  <a:lnTo>
                    <a:pt x="914" y="655"/>
                  </a:lnTo>
                  <a:lnTo>
                    <a:pt x="903" y="655"/>
                  </a:lnTo>
                  <a:lnTo>
                    <a:pt x="874" y="651"/>
                  </a:lnTo>
                  <a:lnTo>
                    <a:pt x="842" y="652"/>
                  </a:lnTo>
                  <a:lnTo>
                    <a:pt x="832" y="651"/>
                  </a:lnTo>
                  <a:lnTo>
                    <a:pt x="825" y="643"/>
                  </a:lnTo>
                  <a:lnTo>
                    <a:pt x="814" y="633"/>
                  </a:lnTo>
                  <a:lnTo>
                    <a:pt x="794" y="605"/>
                  </a:lnTo>
                  <a:lnTo>
                    <a:pt x="784" y="601"/>
                  </a:lnTo>
                  <a:lnTo>
                    <a:pt x="777" y="598"/>
                  </a:lnTo>
                  <a:lnTo>
                    <a:pt x="765" y="585"/>
                  </a:lnTo>
                  <a:lnTo>
                    <a:pt x="759" y="579"/>
                  </a:lnTo>
                  <a:lnTo>
                    <a:pt x="748" y="567"/>
                  </a:lnTo>
                  <a:lnTo>
                    <a:pt x="747" y="564"/>
                  </a:lnTo>
                  <a:lnTo>
                    <a:pt x="745" y="542"/>
                  </a:lnTo>
                  <a:lnTo>
                    <a:pt x="742" y="537"/>
                  </a:lnTo>
                  <a:lnTo>
                    <a:pt x="739" y="535"/>
                  </a:lnTo>
                  <a:lnTo>
                    <a:pt x="735" y="535"/>
                  </a:lnTo>
                  <a:lnTo>
                    <a:pt x="731" y="538"/>
                  </a:lnTo>
                  <a:lnTo>
                    <a:pt x="730" y="557"/>
                  </a:lnTo>
                  <a:lnTo>
                    <a:pt x="722" y="564"/>
                  </a:lnTo>
                  <a:lnTo>
                    <a:pt x="719" y="566"/>
                  </a:lnTo>
                  <a:lnTo>
                    <a:pt x="697" y="565"/>
                  </a:lnTo>
                  <a:lnTo>
                    <a:pt x="694" y="567"/>
                  </a:lnTo>
                  <a:lnTo>
                    <a:pt x="693" y="571"/>
                  </a:lnTo>
                  <a:lnTo>
                    <a:pt x="693" y="580"/>
                  </a:lnTo>
                  <a:lnTo>
                    <a:pt x="701" y="588"/>
                  </a:lnTo>
                  <a:lnTo>
                    <a:pt x="699" y="591"/>
                  </a:lnTo>
                  <a:lnTo>
                    <a:pt x="697" y="592"/>
                  </a:lnTo>
                  <a:lnTo>
                    <a:pt x="693" y="592"/>
                  </a:lnTo>
                  <a:lnTo>
                    <a:pt x="668" y="585"/>
                  </a:lnTo>
                  <a:lnTo>
                    <a:pt x="664" y="585"/>
                  </a:lnTo>
                  <a:lnTo>
                    <a:pt x="662" y="587"/>
                  </a:lnTo>
                  <a:lnTo>
                    <a:pt x="662" y="590"/>
                  </a:lnTo>
                  <a:lnTo>
                    <a:pt x="663" y="593"/>
                  </a:lnTo>
                  <a:lnTo>
                    <a:pt x="697" y="632"/>
                  </a:lnTo>
                  <a:lnTo>
                    <a:pt x="697" y="635"/>
                  </a:lnTo>
                  <a:lnTo>
                    <a:pt x="694" y="640"/>
                  </a:lnTo>
                  <a:lnTo>
                    <a:pt x="691" y="641"/>
                  </a:lnTo>
                  <a:lnTo>
                    <a:pt x="685" y="641"/>
                  </a:lnTo>
                  <a:lnTo>
                    <a:pt x="654" y="638"/>
                  </a:lnTo>
                  <a:lnTo>
                    <a:pt x="646" y="639"/>
                  </a:lnTo>
                  <a:lnTo>
                    <a:pt x="643" y="643"/>
                  </a:lnTo>
                  <a:lnTo>
                    <a:pt x="639" y="657"/>
                  </a:lnTo>
                  <a:lnTo>
                    <a:pt x="635" y="664"/>
                  </a:lnTo>
                  <a:lnTo>
                    <a:pt x="619" y="676"/>
                  </a:lnTo>
                  <a:lnTo>
                    <a:pt x="613" y="690"/>
                  </a:lnTo>
                  <a:lnTo>
                    <a:pt x="608" y="695"/>
                  </a:lnTo>
                  <a:lnTo>
                    <a:pt x="596" y="701"/>
                  </a:lnTo>
                  <a:lnTo>
                    <a:pt x="587" y="706"/>
                  </a:lnTo>
                  <a:lnTo>
                    <a:pt x="577" y="700"/>
                  </a:lnTo>
                  <a:lnTo>
                    <a:pt x="561" y="701"/>
                  </a:lnTo>
                  <a:lnTo>
                    <a:pt x="554" y="703"/>
                  </a:lnTo>
                  <a:lnTo>
                    <a:pt x="550" y="705"/>
                  </a:lnTo>
                  <a:lnTo>
                    <a:pt x="545" y="710"/>
                  </a:lnTo>
                  <a:lnTo>
                    <a:pt x="536" y="717"/>
                  </a:lnTo>
                  <a:lnTo>
                    <a:pt x="526" y="731"/>
                  </a:lnTo>
                  <a:lnTo>
                    <a:pt x="525" y="733"/>
                  </a:lnTo>
                  <a:lnTo>
                    <a:pt x="526" y="735"/>
                  </a:lnTo>
                  <a:lnTo>
                    <a:pt x="532" y="740"/>
                  </a:lnTo>
                  <a:lnTo>
                    <a:pt x="534" y="742"/>
                  </a:lnTo>
                  <a:lnTo>
                    <a:pt x="534" y="751"/>
                  </a:lnTo>
                  <a:lnTo>
                    <a:pt x="536" y="755"/>
                  </a:lnTo>
                  <a:lnTo>
                    <a:pt x="558" y="777"/>
                  </a:lnTo>
                  <a:lnTo>
                    <a:pt x="576" y="790"/>
                  </a:lnTo>
                  <a:lnTo>
                    <a:pt x="581" y="799"/>
                  </a:lnTo>
                  <a:lnTo>
                    <a:pt x="583" y="807"/>
                  </a:lnTo>
                  <a:lnTo>
                    <a:pt x="576" y="830"/>
                  </a:lnTo>
                  <a:lnTo>
                    <a:pt x="570" y="836"/>
                  </a:lnTo>
                  <a:lnTo>
                    <a:pt x="560" y="839"/>
                  </a:lnTo>
                  <a:lnTo>
                    <a:pt x="558" y="843"/>
                  </a:lnTo>
                  <a:lnTo>
                    <a:pt x="556" y="853"/>
                  </a:lnTo>
                  <a:lnTo>
                    <a:pt x="554" y="856"/>
                  </a:lnTo>
                  <a:lnTo>
                    <a:pt x="541" y="857"/>
                  </a:lnTo>
                  <a:lnTo>
                    <a:pt x="535" y="861"/>
                  </a:lnTo>
                  <a:lnTo>
                    <a:pt x="515" y="868"/>
                  </a:lnTo>
                  <a:lnTo>
                    <a:pt x="502" y="874"/>
                  </a:lnTo>
                  <a:lnTo>
                    <a:pt x="471" y="895"/>
                  </a:lnTo>
                  <a:lnTo>
                    <a:pt x="466" y="901"/>
                  </a:lnTo>
                  <a:lnTo>
                    <a:pt x="465" y="904"/>
                  </a:lnTo>
                  <a:lnTo>
                    <a:pt x="465" y="913"/>
                  </a:lnTo>
                  <a:lnTo>
                    <a:pt x="469" y="927"/>
                  </a:lnTo>
                  <a:lnTo>
                    <a:pt x="479" y="941"/>
                  </a:lnTo>
                  <a:lnTo>
                    <a:pt x="484" y="959"/>
                  </a:lnTo>
                  <a:lnTo>
                    <a:pt x="492" y="973"/>
                  </a:lnTo>
                  <a:lnTo>
                    <a:pt x="491" y="976"/>
                  </a:lnTo>
                  <a:lnTo>
                    <a:pt x="488" y="978"/>
                  </a:lnTo>
                  <a:lnTo>
                    <a:pt x="471" y="983"/>
                  </a:lnTo>
                  <a:lnTo>
                    <a:pt x="468" y="990"/>
                  </a:lnTo>
                  <a:lnTo>
                    <a:pt x="468" y="994"/>
                  </a:lnTo>
                  <a:lnTo>
                    <a:pt x="474" y="999"/>
                  </a:lnTo>
                  <a:lnTo>
                    <a:pt x="478" y="1006"/>
                  </a:lnTo>
                  <a:lnTo>
                    <a:pt x="483" y="1013"/>
                  </a:lnTo>
                  <a:lnTo>
                    <a:pt x="489" y="1030"/>
                  </a:lnTo>
                  <a:lnTo>
                    <a:pt x="491" y="1044"/>
                  </a:lnTo>
                  <a:lnTo>
                    <a:pt x="493" y="1047"/>
                  </a:lnTo>
                  <a:lnTo>
                    <a:pt x="496" y="1048"/>
                  </a:lnTo>
                  <a:lnTo>
                    <a:pt x="514" y="1044"/>
                  </a:lnTo>
                  <a:lnTo>
                    <a:pt x="519" y="1045"/>
                  </a:lnTo>
                  <a:lnTo>
                    <a:pt x="529" y="1052"/>
                  </a:lnTo>
                  <a:lnTo>
                    <a:pt x="544" y="1068"/>
                  </a:lnTo>
                  <a:lnTo>
                    <a:pt x="552" y="1072"/>
                  </a:lnTo>
                  <a:lnTo>
                    <a:pt x="556" y="1074"/>
                  </a:lnTo>
                  <a:lnTo>
                    <a:pt x="563" y="1072"/>
                  </a:lnTo>
                  <a:lnTo>
                    <a:pt x="570" y="1069"/>
                  </a:lnTo>
                  <a:lnTo>
                    <a:pt x="576" y="1059"/>
                  </a:lnTo>
                  <a:lnTo>
                    <a:pt x="582" y="1048"/>
                  </a:lnTo>
                  <a:lnTo>
                    <a:pt x="586" y="1045"/>
                  </a:lnTo>
                  <a:lnTo>
                    <a:pt x="591" y="1045"/>
                  </a:lnTo>
                  <a:lnTo>
                    <a:pt x="598" y="1049"/>
                  </a:lnTo>
                  <a:lnTo>
                    <a:pt x="609" y="1044"/>
                  </a:lnTo>
                  <a:lnTo>
                    <a:pt x="635" y="1047"/>
                  </a:lnTo>
                  <a:lnTo>
                    <a:pt x="646" y="1041"/>
                  </a:lnTo>
                  <a:lnTo>
                    <a:pt x="651" y="1040"/>
                  </a:lnTo>
                  <a:lnTo>
                    <a:pt x="664" y="1045"/>
                  </a:lnTo>
                  <a:lnTo>
                    <a:pt x="675" y="1052"/>
                  </a:lnTo>
                  <a:lnTo>
                    <a:pt x="679" y="1057"/>
                  </a:lnTo>
                  <a:lnTo>
                    <a:pt x="685" y="1073"/>
                  </a:lnTo>
                  <a:lnTo>
                    <a:pt x="690" y="1078"/>
                  </a:lnTo>
                  <a:lnTo>
                    <a:pt x="702" y="1085"/>
                  </a:lnTo>
                  <a:lnTo>
                    <a:pt x="712" y="1087"/>
                  </a:lnTo>
                  <a:lnTo>
                    <a:pt x="725" y="1085"/>
                  </a:lnTo>
                  <a:lnTo>
                    <a:pt x="725" y="1082"/>
                  </a:lnTo>
                  <a:lnTo>
                    <a:pt x="720" y="1068"/>
                  </a:lnTo>
                  <a:lnTo>
                    <a:pt x="720" y="1059"/>
                  </a:lnTo>
                  <a:lnTo>
                    <a:pt x="737" y="1052"/>
                  </a:lnTo>
                  <a:lnTo>
                    <a:pt x="742" y="1038"/>
                  </a:lnTo>
                  <a:lnTo>
                    <a:pt x="755" y="1022"/>
                  </a:lnTo>
                  <a:lnTo>
                    <a:pt x="760" y="1022"/>
                  </a:lnTo>
                  <a:lnTo>
                    <a:pt x="776" y="1031"/>
                  </a:lnTo>
                  <a:lnTo>
                    <a:pt x="777" y="1030"/>
                  </a:lnTo>
                  <a:lnTo>
                    <a:pt x="779" y="1022"/>
                  </a:lnTo>
                  <a:lnTo>
                    <a:pt x="780" y="1021"/>
                  </a:lnTo>
                  <a:lnTo>
                    <a:pt x="792" y="1022"/>
                  </a:lnTo>
                  <a:lnTo>
                    <a:pt x="804" y="1027"/>
                  </a:lnTo>
                  <a:lnTo>
                    <a:pt x="811" y="1027"/>
                  </a:lnTo>
                  <a:lnTo>
                    <a:pt x="811" y="1027"/>
                  </a:lnTo>
                  <a:lnTo>
                    <a:pt x="813" y="1044"/>
                  </a:lnTo>
                  <a:lnTo>
                    <a:pt x="817" y="1054"/>
                  </a:lnTo>
                  <a:lnTo>
                    <a:pt x="819" y="1074"/>
                  </a:lnTo>
                  <a:lnTo>
                    <a:pt x="828" y="1084"/>
                  </a:lnTo>
                  <a:lnTo>
                    <a:pt x="827" y="1108"/>
                  </a:lnTo>
                  <a:lnTo>
                    <a:pt x="835" y="1112"/>
                  </a:lnTo>
                  <a:lnTo>
                    <a:pt x="837" y="1116"/>
                  </a:lnTo>
                  <a:lnTo>
                    <a:pt x="840" y="1143"/>
                  </a:lnTo>
                  <a:lnTo>
                    <a:pt x="839" y="1168"/>
                  </a:lnTo>
                  <a:lnTo>
                    <a:pt x="841" y="1172"/>
                  </a:lnTo>
                  <a:lnTo>
                    <a:pt x="847" y="1174"/>
                  </a:lnTo>
                  <a:lnTo>
                    <a:pt x="849" y="1175"/>
                  </a:lnTo>
                  <a:lnTo>
                    <a:pt x="852" y="1180"/>
                  </a:lnTo>
                  <a:lnTo>
                    <a:pt x="853" y="1186"/>
                  </a:lnTo>
                  <a:lnTo>
                    <a:pt x="851" y="1193"/>
                  </a:lnTo>
                  <a:lnTo>
                    <a:pt x="847" y="1199"/>
                  </a:lnTo>
                  <a:lnTo>
                    <a:pt x="817" y="1211"/>
                  </a:lnTo>
                  <a:lnTo>
                    <a:pt x="812" y="1216"/>
                  </a:lnTo>
                  <a:lnTo>
                    <a:pt x="809" y="1221"/>
                  </a:lnTo>
                  <a:lnTo>
                    <a:pt x="808" y="1249"/>
                  </a:lnTo>
                  <a:lnTo>
                    <a:pt x="810" y="1283"/>
                  </a:lnTo>
                  <a:lnTo>
                    <a:pt x="812" y="1290"/>
                  </a:lnTo>
                  <a:lnTo>
                    <a:pt x="815" y="1293"/>
                  </a:lnTo>
                  <a:lnTo>
                    <a:pt x="816" y="1296"/>
                  </a:lnTo>
                  <a:lnTo>
                    <a:pt x="817" y="1303"/>
                  </a:lnTo>
                  <a:lnTo>
                    <a:pt x="838" y="1310"/>
                  </a:lnTo>
                  <a:lnTo>
                    <a:pt x="846" y="1326"/>
                  </a:lnTo>
                  <a:lnTo>
                    <a:pt x="850" y="1330"/>
                  </a:lnTo>
                  <a:lnTo>
                    <a:pt x="855" y="1332"/>
                  </a:lnTo>
                  <a:lnTo>
                    <a:pt x="861" y="1332"/>
                  </a:lnTo>
                  <a:lnTo>
                    <a:pt x="867" y="1330"/>
                  </a:lnTo>
                  <a:lnTo>
                    <a:pt x="886" y="1320"/>
                  </a:lnTo>
                  <a:lnTo>
                    <a:pt x="894" y="1318"/>
                  </a:lnTo>
                  <a:lnTo>
                    <a:pt x="898" y="1317"/>
                  </a:lnTo>
                  <a:lnTo>
                    <a:pt x="900" y="1320"/>
                  </a:lnTo>
                  <a:lnTo>
                    <a:pt x="902" y="1334"/>
                  </a:lnTo>
                  <a:lnTo>
                    <a:pt x="906" y="1348"/>
                  </a:lnTo>
                  <a:lnTo>
                    <a:pt x="907" y="1352"/>
                  </a:lnTo>
                  <a:lnTo>
                    <a:pt x="911" y="1353"/>
                  </a:lnTo>
                  <a:lnTo>
                    <a:pt x="917" y="1353"/>
                  </a:lnTo>
                  <a:lnTo>
                    <a:pt x="936" y="1337"/>
                  </a:lnTo>
                  <a:lnTo>
                    <a:pt x="939" y="1336"/>
                  </a:lnTo>
                  <a:lnTo>
                    <a:pt x="943" y="1337"/>
                  </a:lnTo>
                  <a:lnTo>
                    <a:pt x="946" y="1338"/>
                  </a:lnTo>
                  <a:lnTo>
                    <a:pt x="947" y="1341"/>
                  </a:lnTo>
                  <a:lnTo>
                    <a:pt x="949" y="1363"/>
                  </a:lnTo>
                  <a:lnTo>
                    <a:pt x="950" y="1365"/>
                  </a:lnTo>
                  <a:lnTo>
                    <a:pt x="952" y="1366"/>
                  </a:lnTo>
                  <a:lnTo>
                    <a:pt x="959" y="1366"/>
                  </a:lnTo>
                  <a:lnTo>
                    <a:pt x="969" y="1364"/>
                  </a:lnTo>
                  <a:lnTo>
                    <a:pt x="1004" y="1353"/>
                  </a:lnTo>
                  <a:lnTo>
                    <a:pt x="1029" y="1345"/>
                  </a:lnTo>
                  <a:lnTo>
                    <a:pt x="1029" y="1345"/>
                  </a:lnTo>
                  <a:lnTo>
                    <a:pt x="1045" y="1374"/>
                  </a:lnTo>
                  <a:lnTo>
                    <a:pt x="1056" y="1389"/>
                  </a:lnTo>
                  <a:lnTo>
                    <a:pt x="1073" y="1422"/>
                  </a:lnTo>
                  <a:lnTo>
                    <a:pt x="1080" y="1429"/>
                  </a:lnTo>
                  <a:lnTo>
                    <a:pt x="1102" y="1447"/>
                  </a:lnTo>
                  <a:lnTo>
                    <a:pt x="1101" y="1449"/>
                  </a:lnTo>
                  <a:lnTo>
                    <a:pt x="1098" y="1452"/>
                  </a:lnTo>
                  <a:lnTo>
                    <a:pt x="1094" y="1461"/>
                  </a:lnTo>
                  <a:lnTo>
                    <a:pt x="1091" y="1460"/>
                  </a:lnTo>
                  <a:lnTo>
                    <a:pt x="1085" y="1456"/>
                  </a:lnTo>
                  <a:lnTo>
                    <a:pt x="1082" y="1458"/>
                  </a:lnTo>
                  <a:lnTo>
                    <a:pt x="1088" y="1462"/>
                  </a:lnTo>
                  <a:lnTo>
                    <a:pt x="1090" y="1464"/>
                  </a:lnTo>
                  <a:lnTo>
                    <a:pt x="1088" y="1466"/>
                  </a:lnTo>
                  <a:lnTo>
                    <a:pt x="1086" y="1467"/>
                  </a:lnTo>
                  <a:lnTo>
                    <a:pt x="1082" y="1468"/>
                  </a:lnTo>
                  <a:lnTo>
                    <a:pt x="1079" y="1469"/>
                  </a:lnTo>
                  <a:lnTo>
                    <a:pt x="1077" y="1470"/>
                  </a:lnTo>
                  <a:lnTo>
                    <a:pt x="1077" y="1472"/>
                  </a:lnTo>
                  <a:lnTo>
                    <a:pt x="1082" y="1477"/>
                  </a:lnTo>
                  <a:lnTo>
                    <a:pt x="1081" y="1485"/>
                  </a:lnTo>
                  <a:lnTo>
                    <a:pt x="1083" y="1485"/>
                  </a:lnTo>
                  <a:lnTo>
                    <a:pt x="1085" y="1483"/>
                  </a:lnTo>
                  <a:lnTo>
                    <a:pt x="1085" y="1476"/>
                  </a:lnTo>
                  <a:lnTo>
                    <a:pt x="1086" y="1474"/>
                  </a:lnTo>
                  <a:lnTo>
                    <a:pt x="1095" y="1469"/>
                  </a:lnTo>
                  <a:lnTo>
                    <a:pt x="1097" y="1470"/>
                  </a:lnTo>
                  <a:lnTo>
                    <a:pt x="1100" y="1481"/>
                  </a:lnTo>
                  <a:lnTo>
                    <a:pt x="1103" y="1480"/>
                  </a:lnTo>
                  <a:lnTo>
                    <a:pt x="1111" y="1476"/>
                  </a:lnTo>
                  <a:lnTo>
                    <a:pt x="1111" y="1476"/>
                  </a:lnTo>
                  <a:lnTo>
                    <a:pt x="1103" y="1485"/>
                  </a:lnTo>
                  <a:lnTo>
                    <a:pt x="1100" y="1493"/>
                  </a:lnTo>
                  <a:lnTo>
                    <a:pt x="1096" y="1497"/>
                  </a:lnTo>
                  <a:lnTo>
                    <a:pt x="1093" y="1502"/>
                  </a:lnTo>
                  <a:lnTo>
                    <a:pt x="1085" y="1512"/>
                  </a:lnTo>
                  <a:lnTo>
                    <a:pt x="1054" y="1534"/>
                  </a:lnTo>
                  <a:lnTo>
                    <a:pt x="1044" y="1541"/>
                  </a:lnTo>
                  <a:lnTo>
                    <a:pt x="1037" y="1554"/>
                  </a:lnTo>
                  <a:lnTo>
                    <a:pt x="1021" y="1585"/>
                  </a:lnTo>
                  <a:lnTo>
                    <a:pt x="1009" y="1597"/>
                  </a:lnTo>
                  <a:lnTo>
                    <a:pt x="970" y="1608"/>
                  </a:lnTo>
                  <a:lnTo>
                    <a:pt x="956" y="1611"/>
                  </a:lnTo>
                  <a:lnTo>
                    <a:pt x="904" y="1620"/>
                  </a:lnTo>
                  <a:lnTo>
                    <a:pt x="867" y="1623"/>
                  </a:lnTo>
                  <a:lnTo>
                    <a:pt x="862" y="1625"/>
                  </a:lnTo>
                  <a:lnTo>
                    <a:pt x="853" y="1629"/>
                  </a:lnTo>
                  <a:lnTo>
                    <a:pt x="846" y="1637"/>
                  </a:lnTo>
                  <a:lnTo>
                    <a:pt x="815" y="1683"/>
                  </a:lnTo>
                  <a:lnTo>
                    <a:pt x="793" y="1713"/>
                  </a:lnTo>
                  <a:lnTo>
                    <a:pt x="778" y="1730"/>
                  </a:lnTo>
                  <a:lnTo>
                    <a:pt x="760" y="1745"/>
                  </a:lnTo>
                  <a:lnTo>
                    <a:pt x="753" y="1749"/>
                  </a:lnTo>
                  <a:lnTo>
                    <a:pt x="750" y="1748"/>
                  </a:lnTo>
                  <a:lnTo>
                    <a:pt x="748" y="1731"/>
                  </a:lnTo>
                  <a:lnTo>
                    <a:pt x="737" y="1723"/>
                  </a:lnTo>
                  <a:lnTo>
                    <a:pt x="732" y="1722"/>
                  </a:lnTo>
                  <a:lnTo>
                    <a:pt x="732" y="1722"/>
                  </a:lnTo>
                  <a:lnTo>
                    <a:pt x="723" y="1747"/>
                  </a:lnTo>
                  <a:lnTo>
                    <a:pt x="715" y="1759"/>
                  </a:lnTo>
                  <a:lnTo>
                    <a:pt x="712" y="1767"/>
                  </a:lnTo>
                  <a:lnTo>
                    <a:pt x="713" y="1773"/>
                  </a:lnTo>
                  <a:lnTo>
                    <a:pt x="719" y="1790"/>
                  </a:lnTo>
                  <a:lnTo>
                    <a:pt x="698" y="1793"/>
                  </a:lnTo>
                  <a:lnTo>
                    <a:pt x="662" y="1796"/>
                  </a:lnTo>
                  <a:lnTo>
                    <a:pt x="657" y="1799"/>
                  </a:lnTo>
                  <a:lnTo>
                    <a:pt x="653" y="1801"/>
                  </a:lnTo>
                  <a:lnTo>
                    <a:pt x="648" y="1810"/>
                  </a:lnTo>
                  <a:lnTo>
                    <a:pt x="642" y="1837"/>
                  </a:lnTo>
                  <a:lnTo>
                    <a:pt x="619" y="1900"/>
                  </a:lnTo>
                  <a:lnTo>
                    <a:pt x="600" y="1936"/>
                  </a:lnTo>
                  <a:lnTo>
                    <a:pt x="587" y="1959"/>
                  </a:lnTo>
                  <a:lnTo>
                    <a:pt x="574" y="1986"/>
                  </a:lnTo>
                  <a:lnTo>
                    <a:pt x="567" y="1992"/>
                  </a:lnTo>
                  <a:lnTo>
                    <a:pt x="551" y="2002"/>
                  </a:lnTo>
                  <a:lnTo>
                    <a:pt x="541" y="2009"/>
                  </a:lnTo>
                  <a:lnTo>
                    <a:pt x="509" y="2046"/>
                  </a:lnTo>
                  <a:lnTo>
                    <a:pt x="502" y="2056"/>
                  </a:lnTo>
                  <a:lnTo>
                    <a:pt x="498" y="2081"/>
                  </a:lnTo>
                  <a:lnTo>
                    <a:pt x="496" y="2087"/>
                  </a:lnTo>
                  <a:lnTo>
                    <a:pt x="490" y="2090"/>
                  </a:lnTo>
                  <a:lnTo>
                    <a:pt x="488" y="2093"/>
                  </a:lnTo>
                  <a:lnTo>
                    <a:pt x="486" y="2101"/>
                  </a:lnTo>
                  <a:lnTo>
                    <a:pt x="486" y="2109"/>
                  </a:lnTo>
                  <a:lnTo>
                    <a:pt x="490" y="2114"/>
                  </a:lnTo>
                  <a:lnTo>
                    <a:pt x="491" y="2117"/>
                  </a:lnTo>
                  <a:lnTo>
                    <a:pt x="490" y="2127"/>
                  </a:lnTo>
                  <a:lnTo>
                    <a:pt x="507" y="2141"/>
                  </a:lnTo>
                  <a:lnTo>
                    <a:pt x="509" y="2146"/>
                  </a:lnTo>
                  <a:lnTo>
                    <a:pt x="514" y="2158"/>
                  </a:lnTo>
                  <a:lnTo>
                    <a:pt x="517" y="2160"/>
                  </a:lnTo>
                  <a:lnTo>
                    <a:pt x="523" y="2160"/>
                  </a:lnTo>
                  <a:lnTo>
                    <a:pt x="526" y="2161"/>
                  </a:lnTo>
                  <a:lnTo>
                    <a:pt x="529" y="2164"/>
                  </a:lnTo>
                  <a:lnTo>
                    <a:pt x="534" y="2171"/>
                  </a:lnTo>
                  <a:lnTo>
                    <a:pt x="538" y="2179"/>
                  </a:lnTo>
                  <a:lnTo>
                    <a:pt x="540" y="2187"/>
                  </a:lnTo>
                  <a:lnTo>
                    <a:pt x="543" y="2214"/>
                  </a:lnTo>
                  <a:lnTo>
                    <a:pt x="543" y="2214"/>
                  </a:lnTo>
                  <a:lnTo>
                    <a:pt x="543" y="2214"/>
                  </a:lnTo>
                  <a:lnTo>
                    <a:pt x="543" y="2214"/>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7" name="北京">
              <a:extLst>
                <a:ext uri="{FF2B5EF4-FFF2-40B4-BE49-F238E27FC236}">
                  <a16:creationId xmlns:a16="http://schemas.microsoft.com/office/drawing/2014/main" id="{5287CE8C-701B-BF25-CDFB-561988F1EB4C}"/>
                </a:ext>
              </a:extLst>
            </p:cNvPr>
            <p:cNvSpPr>
              <a:spLocks/>
            </p:cNvSpPr>
            <p:nvPr/>
          </p:nvSpPr>
          <p:spPr bwMode="auto">
            <a:xfrm>
              <a:off x="7091364" y="2527301"/>
              <a:ext cx="265113" cy="292100"/>
            </a:xfrm>
            <a:custGeom>
              <a:avLst/>
              <a:gdLst>
                <a:gd name="T0" fmla="*/ 346 w 500"/>
                <a:gd name="T1" fmla="*/ 492 h 552"/>
                <a:gd name="T2" fmla="*/ 315 w 500"/>
                <a:gd name="T3" fmla="*/ 486 h 552"/>
                <a:gd name="T4" fmla="*/ 295 w 500"/>
                <a:gd name="T5" fmla="*/ 487 h 552"/>
                <a:gd name="T6" fmla="*/ 255 w 500"/>
                <a:gd name="T7" fmla="*/ 524 h 552"/>
                <a:gd name="T8" fmla="*/ 247 w 500"/>
                <a:gd name="T9" fmla="*/ 552 h 552"/>
                <a:gd name="T10" fmla="*/ 214 w 500"/>
                <a:gd name="T11" fmla="*/ 522 h 552"/>
                <a:gd name="T12" fmla="*/ 181 w 500"/>
                <a:gd name="T13" fmla="*/ 506 h 552"/>
                <a:gd name="T14" fmla="*/ 126 w 500"/>
                <a:gd name="T15" fmla="*/ 510 h 552"/>
                <a:gd name="T16" fmla="*/ 105 w 500"/>
                <a:gd name="T17" fmla="*/ 534 h 552"/>
                <a:gd name="T18" fmla="*/ 79 w 500"/>
                <a:gd name="T19" fmla="*/ 533 h 552"/>
                <a:gd name="T20" fmla="*/ 31 w 500"/>
                <a:gd name="T21" fmla="*/ 513 h 552"/>
                <a:gd name="T22" fmla="*/ 18 w 500"/>
                <a:gd name="T23" fmla="*/ 478 h 552"/>
                <a:gd name="T24" fmla="*/ 3 w 500"/>
                <a:gd name="T25" fmla="*/ 455 h 552"/>
                <a:gd name="T26" fmla="*/ 27 w 500"/>
                <a:gd name="T27" fmla="*/ 438 h 552"/>
                <a:gd name="T28" fmla="*/ 0 w 500"/>
                <a:gd name="T29" fmla="*/ 378 h 552"/>
                <a:gd name="T30" fmla="*/ 37 w 500"/>
                <a:gd name="T31" fmla="*/ 339 h 552"/>
                <a:gd name="T32" fmla="*/ 89 w 500"/>
                <a:gd name="T33" fmla="*/ 321 h 552"/>
                <a:gd name="T34" fmla="*/ 105 w 500"/>
                <a:gd name="T35" fmla="*/ 301 h 552"/>
                <a:gd name="T36" fmla="*/ 111 w 500"/>
                <a:gd name="T37" fmla="*/ 255 h 552"/>
                <a:gd name="T38" fmla="*/ 69 w 500"/>
                <a:gd name="T39" fmla="*/ 207 h 552"/>
                <a:gd name="T40" fmla="*/ 61 w 500"/>
                <a:gd name="T41" fmla="*/ 196 h 552"/>
                <a:gd name="T42" fmla="*/ 89 w 500"/>
                <a:gd name="T43" fmla="*/ 168 h 552"/>
                <a:gd name="T44" fmla="*/ 131 w 500"/>
                <a:gd name="T45" fmla="*/ 166 h 552"/>
                <a:gd name="T46" fmla="*/ 170 w 500"/>
                <a:gd name="T47" fmla="*/ 129 h 552"/>
                <a:gd name="T48" fmla="*/ 189 w 500"/>
                <a:gd name="T49" fmla="*/ 103 h 552"/>
                <a:gd name="T50" fmla="*/ 232 w 500"/>
                <a:gd name="T51" fmla="*/ 100 h 552"/>
                <a:gd name="T52" fmla="*/ 197 w 500"/>
                <a:gd name="T53" fmla="*/ 52 h 552"/>
                <a:gd name="T54" fmla="*/ 232 w 500"/>
                <a:gd name="T55" fmla="*/ 57 h 552"/>
                <a:gd name="T56" fmla="*/ 228 w 500"/>
                <a:gd name="T57" fmla="*/ 36 h 552"/>
                <a:gd name="T58" fmla="*/ 257 w 500"/>
                <a:gd name="T59" fmla="*/ 29 h 552"/>
                <a:gd name="T60" fmla="*/ 274 w 500"/>
                <a:gd name="T61" fmla="*/ 0 h 552"/>
                <a:gd name="T62" fmla="*/ 283 w 500"/>
                <a:gd name="T63" fmla="*/ 32 h 552"/>
                <a:gd name="T64" fmla="*/ 319 w 500"/>
                <a:gd name="T65" fmla="*/ 66 h 552"/>
                <a:gd name="T66" fmla="*/ 367 w 500"/>
                <a:gd name="T67" fmla="*/ 116 h 552"/>
                <a:gd name="T68" fmla="*/ 449 w 500"/>
                <a:gd name="T69" fmla="*/ 120 h 552"/>
                <a:gd name="T70" fmla="*/ 493 w 500"/>
                <a:gd name="T71" fmla="*/ 111 h 552"/>
                <a:gd name="T72" fmla="*/ 483 w 500"/>
                <a:gd name="T73" fmla="*/ 134 h 552"/>
                <a:gd name="T74" fmla="*/ 475 w 500"/>
                <a:gd name="T75" fmla="*/ 155 h 552"/>
                <a:gd name="T76" fmla="*/ 438 w 500"/>
                <a:gd name="T77" fmla="*/ 158 h 552"/>
                <a:gd name="T78" fmla="*/ 422 w 500"/>
                <a:gd name="T79" fmla="*/ 188 h 552"/>
                <a:gd name="T80" fmla="*/ 451 w 500"/>
                <a:gd name="T81" fmla="*/ 245 h 552"/>
                <a:gd name="T82" fmla="*/ 469 w 500"/>
                <a:gd name="T83" fmla="*/ 269 h 552"/>
                <a:gd name="T84" fmla="*/ 452 w 500"/>
                <a:gd name="T85" fmla="*/ 307 h 552"/>
                <a:gd name="T86" fmla="*/ 414 w 500"/>
                <a:gd name="T87" fmla="*/ 326 h 552"/>
                <a:gd name="T88" fmla="*/ 328 w 500"/>
                <a:gd name="T89" fmla="*/ 354 h 552"/>
                <a:gd name="T90" fmla="*/ 342 w 500"/>
                <a:gd name="T91" fmla="*/ 390 h 552"/>
                <a:gd name="T92" fmla="*/ 376 w 500"/>
                <a:gd name="T93" fmla="*/ 425 h 552"/>
                <a:gd name="T94" fmla="*/ 375 w 500"/>
                <a:gd name="T95" fmla="*/ 467 h 552"/>
                <a:gd name="T96" fmla="*/ 379 w 500"/>
                <a:gd name="T97" fmla="*/ 47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0" h="552">
                  <a:moveTo>
                    <a:pt x="379" y="473"/>
                  </a:moveTo>
                  <a:lnTo>
                    <a:pt x="382" y="477"/>
                  </a:lnTo>
                  <a:lnTo>
                    <a:pt x="380" y="479"/>
                  </a:lnTo>
                  <a:lnTo>
                    <a:pt x="346" y="492"/>
                  </a:lnTo>
                  <a:lnTo>
                    <a:pt x="346" y="492"/>
                  </a:lnTo>
                  <a:lnTo>
                    <a:pt x="339" y="492"/>
                  </a:lnTo>
                  <a:lnTo>
                    <a:pt x="327" y="487"/>
                  </a:lnTo>
                  <a:lnTo>
                    <a:pt x="315" y="486"/>
                  </a:lnTo>
                  <a:lnTo>
                    <a:pt x="314" y="487"/>
                  </a:lnTo>
                  <a:lnTo>
                    <a:pt x="312" y="495"/>
                  </a:lnTo>
                  <a:lnTo>
                    <a:pt x="311" y="496"/>
                  </a:lnTo>
                  <a:lnTo>
                    <a:pt x="295" y="487"/>
                  </a:lnTo>
                  <a:lnTo>
                    <a:pt x="290" y="487"/>
                  </a:lnTo>
                  <a:lnTo>
                    <a:pt x="277" y="503"/>
                  </a:lnTo>
                  <a:lnTo>
                    <a:pt x="272" y="517"/>
                  </a:lnTo>
                  <a:lnTo>
                    <a:pt x="255" y="524"/>
                  </a:lnTo>
                  <a:lnTo>
                    <a:pt x="255" y="533"/>
                  </a:lnTo>
                  <a:lnTo>
                    <a:pt x="260" y="547"/>
                  </a:lnTo>
                  <a:lnTo>
                    <a:pt x="260" y="550"/>
                  </a:lnTo>
                  <a:lnTo>
                    <a:pt x="247" y="552"/>
                  </a:lnTo>
                  <a:lnTo>
                    <a:pt x="237" y="550"/>
                  </a:lnTo>
                  <a:lnTo>
                    <a:pt x="225" y="543"/>
                  </a:lnTo>
                  <a:lnTo>
                    <a:pt x="220" y="538"/>
                  </a:lnTo>
                  <a:lnTo>
                    <a:pt x="214" y="522"/>
                  </a:lnTo>
                  <a:lnTo>
                    <a:pt x="210" y="517"/>
                  </a:lnTo>
                  <a:lnTo>
                    <a:pt x="199" y="510"/>
                  </a:lnTo>
                  <a:lnTo>
                    <a:pt x="186" y="505"/>
                  </a:lnTo>
                  <a:lnTo>
                    <a:pt x="181" y="506"/>
                  </a:lnTo>
                  <a:lnTo>
                    <a:pt x="170" y="512"/>
                  </a:lnTo>
                  <a:lnTo>
                    <a:pt x="144" y="509"/>
                  </a:lnTo>
                  <a:lnTo>
                    <a:pt x="133" y="514"/>
                  </a:lnTo>
                  <a:lnTo>
                    <a:pt x="126" y="510"/>
                  </a:lnTo>
                  <a:lnTo>
                    <a:pt x="121" y="510"/>
                  </a:lnTo>
                  <a:lnTo>
                    <a:pt x="117" y="513"/>
                  </a:lnTo>
                  <a:lnTo>
                    <a:pt x="111" y="524"/>
                  </a:lnTo>
                  <a:lnTo>
                    <a:pt x="105" y="534"/>
                  </a:lnTo>
                  <a:lnTo>
                    <a:pt x="98" y="537"/>
                  </a:lnTo>
                  <a:lnTo>
                    <a:pt x="91" y="539"/>
                  </a:lnTo>
                  <a:lnTo>
                    <a:pt x="87" y="537"/>
                  </a:lnTo>
                  <a:lnTo>
                    <a:pt x="79" y="533"/>
                  </a:lnTo>
                  <a:lnTo>
                    <a:pt x="64" y="517"/>
                  </a:lnTo>
                  <a:lnTo>
                    <a:pt x="54" y="510"/>
                  </a:lnTo>
                  <a:lnTo>
                    <a:pt x="49" y="509"/>
                  </a:lnTo>
                  <a:lnTo>
                    <a:pt x="31" y="513"/>
                  </a:lnTo>
                  <a:lnTo>
                    <a:pt x="28" y="512"/>
                  </a:lnTo>
                  <a:lnTo>
                    <a:pt x="26" y="509"/>
                  </a:lnTo>
                  <a:lnTo>
                    <a:pt x="24" y="495"/>
                  </a:lnTo>
                  <a:lnTo>
                    <a:pt x="18" y="478"/>
                  </a:lnTo>
                  <a:lnTo>
                    <a:pt x="13" y="471"/>
                  </a:lnTo>
                  <a:lnTo>
                    <a:pt x="9" y="464"/>
                  </a:lnTo>
                  <a:lnTo>
                    <a:pt x="3" y="459"/>
                  </a:lnTo>
                  <a:lnTo>
                    <a:pt x="3" y="455"/>
                  </a:lnTo>
                  <a:lnTo>
                    <a:pt x="6" y="448"/>
                  </a:lnTo>
                  <a:lnTo>
                    <a:pt x="23" y="443"/>
                  </a:lnTo>
                  <a:lnTo>
                    <a:pt x="26" y="441"/>
                  </a:lnTo>
                  <a:lnTo>
                    <a:pt x="27" y="438"/>
                  </a:lnTo>
                  <a:lnTo>
                    <a:pt x="19" y="424"/>
                  </a:lnTo>
                  <a:lnTo>
                    <a:pt x="14" y="406"/>
                  </a:lnTo>
                  <a:lnTo>
                    <a:pt x="4" y="392"/>
                  </a:lnTo>
                  <a:lnTo>
                    <a:pt x="0" y="378"/>
                  </a:lnTo>
                  <a:lnTo>
                    <a:pt x="0" y="369"/>
                  </a:lnTo>
                  <a:lnTo>
                    <a:pt x="1" y="366"/>
                  </a:lnTo>
                  <a:lnTo>
                    <a:pt x="6" y="360"/>
                  </a:lnTo>
                  <a:lnTo>
                    <a:pt x="37" y="339"/>
                  </a:lnTo>
                  <a:lnTo>
                    <a:pt x="50" y="333"/>
                  </a:lnTo>
                  <a:lnTo>
                    <a:pt x="70" y="326"/>
                  </a:lnTo>
                  <a:lnTo>
                    <a:pt x="76" y="322"/>
                  </a:lnTo>
                  <a:lnTo>
                    <a:pt x="89" y="321"/>
                  </a:lnTo>
                  <a:lnTo>
                    <a:pt x="91" y="318"/>
                  </a:lnTo>
                  <a:lnTo>
                    <a:pt x="93" y="308"/>
                  </a:lnTo>
                  <a:lnTo>
                    <a:pt x="95" y="304"/>
                  </a:lnTo>
                  <a:lnTo>
                    <a:pt x="105" y="301"/>
                  </a:lnTo>
                  <a:lnTo>
                    <a:pt x="111" y="295"/>
                  </a:lnTo>
                  <a:lnTo>
                    <a:pt x="118" y="272"/>
                  </a:lnTo>
                  <a:lnTo>
                    <a:pt x="116" y="264"/>
                  </a:lnTo>
                  <a:lnTo>
                    <a:pt x="111" y="255"/>
                  </a:lnTo>
                  <a:lnTo>
                    <a:pt x="93" y="242"/>
                  </a:lnTo>
                  <a:lnTo>
                    <a:pt x="71" y="220"/>
                  </a:lnTo>
                  <a:lnTo>
                    <a:pt x="69" y="216"/>
                  </a:lnTo>
                  <a:lnTo>
                    <a:pt x="69" y="207"/>
                  </a:lnTo>
                  <a:lnTo>
                    <a:pt x="67" y="205"/>
                  </a:lnTo>
                  <a:lnTo>
                    <a:pt x="61" y="200"/>
                  </a:lnTo>
                  <a:lnTo>
                    <a:pt x="60" y="198"/>
                  </a:lnTo>
                  <a:lnTo>
                    <a:pt x="61" y="196"/>
                  </a:lnTo>
                  <a:lnTo>
                    <a:pt x="71" y="182"/>
                  </a:lnTo>
                  <a:lnTo>
                    <a:pt x="80" y="175"/>
                  </a:lnTo>
                  <a:lnTo>
                    <a:pt x="85" y="170"/>
                  </a:lnTo>
                  <a:lnTo>
                    <a:pt x="89" y="168"/>
                  </a:lnTo>
                  <a:lnTo>
                    <a:pt x="96" y="166"/>
                  </a:lnTo>
                  <a:lnTo>
                    <a:pt x="112" y="165"/>
                  </a:lnTo>
                  <a:lnTo>
                    <a:pt x="122" y="171"/>
                  </a:lnTo>
                  <a:lnTo>
                    <a:pt x="131" y="166"/>
                  </a:lnTo>
                  <a:lnTo>
                    <a:pt x="143" y="160"/>
                  </a:lnTo>
                  <a:lnTo>
                    <a:pt x="148" y="155"/>
                  </a:lnTo>
                  <a:lnTo>
                    <a:pt x="154" y="141"/>
                  </a:lnTo>
                  <a:lnTo>
                    <a:pt x="170" y="129"/>
                  </a:lnTo>
                  <a:lnTo>
                    <a:pt x="174" y="122"/>
                  </a:lnTo>
                  <a:lnTo>
                    <a:pt x="178" y="108"/>
                  </a:lnTo>
                  <a:lnTo>
                    <a:pt x="181" y="104"/>
                  </a:lnTo>
                  <a:lnTo>
                    <a:pt x="189" y="103"/>
                  </a:lnTo>
                  <a:lnTo>
                    <a:pt x="220" y="106"/>
                  </a:lnTo>
                  <a:lnTo>
                    <a:pt x="226" y="106"/>
                  </a:lnTo>
                  <a:lnTo>
                    <a:pt x="229" y="105"/>
                  </a:lnTo>
                  <a:lnTo>
                    <a:pt x="232" y="100"/>
                  </a:lnTo>
                  <a:lnTo>
                    <a:pt x="232" y="97"/>
                  </a:lnTo>
                  <a:lnTo>
                    <a:pt x="198" y="58"/>
                  </a:lnTo>
                  <a:lnTo>
                    <a:pt x="197" y="55"/>
                  </a:lnTo>
                  <a:lnTo>
                    <a:pt x="197" y="52"/>
                  </a:lnTo>
                  <a:lnTo>
                    <a:pt x="199" y="50"/>
                  </a:lnTo>
                  <a:lnTo>
                    <a:pt x="203" y="50"/>
                  </a:lnTo>
                  <a:lnTo>
                    <a:pt x="228" y="57"/>
                  </a:lnTo>
                  <a:lnTo>
                    <a:pt x="232" y="57"/>
                  </a:lnTo>
                  <a:lnTo>
                    <a:pt x="234" y="56"/>
                  </a:lnTo>
                  <a:lnTo>
                    <a:pt x="236" y="53"/>
                  </a:lnTo>
                  <a:lnTo>
                    <a:pt x="228" y="45"/>
                  </a:lnTo>
                  <a:lnTo>
                    <a:pt x="228" y="36"/>
                  </a:lnTo>
                  <a:lnTo>
                    <a:pt x="229" y="32"/>
                  </a:lnTo>
                  <a:lnTo>
                    <a:pt x="232" y="30"/>
                  </a:lnTo>
                  <a:lnTo>
                    <a:pt x="254" y="31"/>
                  </a:lnTo>
                  <a:lnTo>
                    <a:pt x="257" y="29"/>
                  </a:lnTo>
                  <a:lnTo>
                    <a:pt x="265" y="22"/>
                  </a:lnTo>
                  <a:lnTo>
                    <a:pt x="266" y="3"/>
                  </a:lnTo>
                  <a:lnTo>
                    <a:pt x="270" y="0"/>
                  </a:lnTo>
                  <a:lnTo>
                    <a:pt x="274" y="0"/>
                  </a:lnTo>
                  <a:lnTo>
                    <a:pt x="277" y="2"/>
                  </a:lnTo>
                  <a:lnTo>
                    <a:pt x="280" y="7"/>
                  </a:lnTo>
                  <a:lnTo>
                    <a:pt x="282" y="29"/>
                  </a:lnTo>
                  <a:lnTo>
                    <a:pt x="283" y="32"/>
                  </a:lnTo>
                  <a:lnTo>
                    <a:pt x="294" y="44"/>
                  </a:lnTo>
                  <a:lnTo>
                    <a:pt x="300" y="50"/>
                  </a:lnTo>
                  <a:lnTo>
                    <a:pt x="312" y="63"/>
                  </a:lnTo>
                  <a:lnTo>
                    <a:pt x="319" y="66"/>
                  </a:lnTo>
                  <a:lnTo>
                    <a:pt x="329" y="70"/>
                  </a:lnTo>
                  <a:lnTo>
                    <a:pt x="349" y="98"/>
                  </a:lnTo>
                  <a:lnTo>
                    <a:pt x="360" y="108"/>
                  </a:lnTo>
                  <a:lnTo>
                    <a:pt x="367" y="116"/>
                  </a:lnTo>
                  <a:lnTo>
                    <a:pt x="377" y="117"/>
                  </a:lnTo>
                  <a:lnTo>
                    <a:pt x="409" y="116"/>
                  </a:lnTo>
                  <a:lnTo>
                    <a:pt x="438" y="120"/>
                  </a:lnTo>
                  <a:lnTo>
                    <a:pt x="449" y="120"/>
                  </a:lnTo>
                  <a:lnTo>
                    <a:pt x="460" y="118"/>
                  </a:lnTo>
                  <a:lnTo>
                    <a:pt x="477" y="110"/>
                  </a:lnTo>
                  <a:lnTo>
                    <a:pt x="486" y="109"/>
                  </a:lnTo>
                  <a:lnTo>
                    <a:pt x="493" y="111"/>
                  </a:lnTo>
                  <a:lnTo>
                    <a:pt x="500" y="116"/>
                  </a:lnTo>
                  <a:lnTo>
                    <a:pt x="500" y="120"/>
                  </a:lnTo>
                  <a:lnTo>
                    <a:pt x="499" y="126"/>
                  </a:lnTo>
                  <a:lnTo>
                    <a:pt x="483" y="134"/>
                  </a:lnTo>
                  <a:lnTo>
                    <a:pt x="482" y="138"/>
                  </a:lnTo>
                  <a:lnTo>
                    <a:pt x="481" y="147"/>
                  </a:lnTo>
                  <a:lnTo>
                    <a:pt x="477" y="153"/>
                  </a:lnTo>
                  <a:lnTo>
                    <a:pt x="475" y="155"/>
                  </a:lnTo>
                  <a:lnTo>
                    <a:pt x="472" y="155"/>
                  </a:lnTo>
                  <a:lnTo>
                    <a:pt x="453" y="151"/>
                  </a:lnTo>
                  <a:lnTo>
                    <a:pt x="445" y="154"/>
                  </a:lnTo>
                  <a:lnTo>
                    <a:pt x="438" y="158"/>
                  </a:lnTo>
                  <a:lnTo>
                    <a:pt x="433" y="163"/>
                  </a:lnTo>
                  <a:lnTo>
                    <a:pt x="433" y="175"/>
                  </a:lnTo>
                  <a:lnTo>
                    <a:pt x="421" y="183"/>
                  </a:lnTo>
                  <a:lnTo>
                    <a:pt x="422" y="188"/>
                  </a:lnTo>
                  <a:lnTo>
                    <a:pt x="433" y="204"/>
                  </a:lnTo>
                  <a:lnTo>
                    <a:pt x="435" y="222"/>
                  </a:lnTo>
                  <a:lnTo>
                    <a:pt x="448" y="244"/>
                  </a:lnTo>
                  <a:lnTo>
                    <a:pt x="451" y="245"/>
                  </a:lnTo>
                  <a:lnTo>
                    <a:pt x="463" y="244"/>
                  </a:lnTo>
                  <a:lnTo>
                    <a:pt x="465" y="245"/>
                  </a:lnTo>
                  <a:lnTo>
                    <a:pt x="467" y="254"/>
                  </a:lnTo>
                  <a:lnTo>
                    <a:pt x="469" y="269"/>
                  </a:lnTo>
                  <a:lnTo>
                    <a:pt x="469" y="269"/>
                  </a:lnTo>
                  <a:lnTo>
                    <a:pt x="469" y="285"/>
                  </a:lnTo>
                  <a:lnTo>
                    <a:pt x="466" y="291"/>
                  </a:lnTo>
                  <a:lnTo>
                    <a:pt x="452" y="307"/>
                  </a:lnTo>
                  <a:lnTo>
                    <a:pt x="447" y="312"/>
                  </a:lnTo>
                  <a:lnTo>
                    <a:pt x="437" y="315"/>
                  </a:lnTo>
                  <a:lnTo>
                    <a:pt x="437" y="315"/>
                  </a:lnTo>
                  <a:lnTo>
                    <a:pt x="414" y="326"/>
                  </a:lnTo>
                  <a:lnTo>
                    <a:pt x="394" y="335"/>
                  </a:lnTo>
                  <a:lnTo>
                    <a:pt x="372" y="336"/>
                  </a:lnTo>
                  <a:lnTo>
                    <a:pt x="350" y="333"/>
                  </a:lnTo>
                  <a:lnTo>
                    <a:pt x="328" y="354"/>
                  </a:lnTo>
                  <a:lnTo>
                    <a:pt x="328" y="354"/>
                  </a:lnTo>
                  <a:lnTo>
                    <a:pt x="333" y="374"/>
                  </a:lnTo>
                  <a:lnTo>
                    <a:pt x="338" y="384"/>
                  </a:lnTo>
                  <a:lnTo>
                    <a:pt x="342" y="390"/>
                  </a:lnTo>
                  <a:lnTo>
                    <a:pt x="349" y="397"/>
                  </a:lnTo>
                  <a:lnTo>
                    <a:pt x="369" y="411"/>
                  </a:lnTo>
                  <a:lnTo>
                    <a:pt x="376" y="417"/>
                  </a:lnTo>
                  <a:lnTo>
                    <a:pt x="376" y="425"/>
                  </a:lnTo>
                  <a:lnTo>
                    <a:pt x="370" y="440"/>
                  </a:lnTo>
                  <a:lnTo>
                    <a:pt x="370" y="443"/>
                  </a:lnTo>
                  <a:lnTo>
                    <a:pt x="375" y="455"/>
                  </a:lnTo>
                  <a:lnTo>
                    <a:pt x="375" y="467"/>
                  </a:lnTo>
                  <a:lnTo>
                    <a:pt x="376" y="469"/>
                  </a:lnTo>
                  <a:lnTo>
                    <a:pt x="379" y="473"/>
                  </a:lnTo>
                  <a:lnTo>
                    <a:pt x="379" y="473"/>
                  </a:lnTo>
                  <a:lnTo>
                    <a:pt x="379" y="473"/>
                  </a:lnTo>
                  <a:lnTo>
                    <a:pt x="379" y="47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8" name="Freeform 31">
              <a:extLst>
                <a:ext uri="{FF2B5EF4-FFF2-40B4-BE49-F238E27FC236}">
                  <a16:creationId xmlns:a16="http://schemas.microsoft.com/office/drawing/2014/main" id="{782EBC8B-AC8D-90D9-1663-265CAD0B7D21}"/>
                </a:ext>
              </a:extLst>
            </p:cNvPr>
            <p:cNvSpPr>
              <a:spLocks/>
            </p:cNvSpPr>
            <p:nvPr/>
          </p:nvSpPr>
          <p:spPr bwMode="auto">
            <a:xfrm>
              <a:off x="7264400" y="2693989"/>
              <a:ext cx="66675" cy="88900"/>
            </a:xfrm>
            <a:custGeom>
              <a:avLst/>
              <a:gdLst>
                <a:gd name="T0" fmla="*/ 51 w 124"/>
                <a:gd name="T1" fmla="*/ 158 h 167"/>
                <a:gd name="T2" fmla="*/ 48 w 124"/>
                <a:gd name="T3" fmla="*/ 154 h 167"/>
                <a:gd name="T4" fmla="*/ 47 w 124"/>
                <a:gd name="T5" fmla="*/ 152 h 167"/>
                <a:gd name="T6" fmla="*/ 47 w 124"/>
                <a:gd name="T7" fmla="*/ 140 h 167"/>
                <a:gd name="T8" fmla="*/ 42 w 124"/>
                <a:gd name="T9" fmla="*/ 128 h 167"/>
                <a:gd name="T10" fmla="*/ 42 w 124"/>
                <a:gd name="T11" fmla="*/ 125 h 167"/>
                <a:gd name="T12" fmla="*/ 48 w 124"/>
                <a:gd name="T13" fmla="*/ 110 h 167"/>
                <a:gd name="T14" fmla="*/ 48 w 124"/>
                <a:gd name="T15" fmla="*/ 102 h 167"/>
                <a:gd name="T16" fmla="*/ 41 w 124"/>
                <a:gd name="T17" fmla="*/ 96 h 167"/>
                <a:gd name="T18" fmla="*/ 21 w 124"/>
                <a:gd name="T19" fmla="*/ 82 h 167"/>
                <a:gd name="T20" fmla="*/ 14 w 124"/>
                <a:gd name="T21" fmla="*/ 75 h 167"/>
                <a:gd name="T22" fmla="*/ 10 w 124"/>
                <a:gd name="T23" fmla="*/ 69 h 167"/>
                <a:gd name="T24" fmla="*/ 5 w 124"/>
                <a:gd name="T25" fmla="*/ 59 h 167"/>
                <a:gd name="T26" fmla="*/ 0 w 124"/>
                <a:gd name="T27" fmla="*/ 39 h 167"/>
                <a:gd name="T28" fmla="*/ 0 w 124"/>
                <a:gd name="T29" fmla="*/ 39 h 167"/>
                <a:gd name="T30" fmla="*/ 22 w 124"/>
                <a:gd name="T31" fmla="*/ 18 h 167"/>
                <a:gd name="T32" fmla="*/ 44 w 124"/>
                <a:gd name="T33" fmla="*/ 21 h 167"/>
                <a:gd name="T34" fmla="*/ 66 w 124"/>
                <a:gd name="T35" fmla="*/ 20 h 167"/>
                <a:gd name="T36" fmla="*/ 86 w 124"/>
                <a:gd name="T37" fmla="*/ 11 h 167"/>
                <a:gd name="T38" fmla="*/ 109 w 124"/>
                <a:gd name="T39" fmla="*/ 0 h 167"/>
                <a:gd name="T40" fmla="*/ 109 w 124"/>
                <a:gd name="T41" fmla="*/ 0 h 167"/>
                <a:gd name="T42" fmla="*/ 110 w 124"/>
                <a:gd name="T43" fmla="*/ 9 h 167"/>
                <a:gd name="T44" fmla="*/ 106 w 124"/>
                <a:gd name="T45" fmla="*/ 22 h 167"/>
                <a:gd name="T46" fmla="*/ 107 w 124"/>
                <a:gd name="T47" fmla="*/ 39 h 167"/>
                <a:gd name="T48" fmla="*/ 105 w 124"/>
                <a:gd name="T49" fmla="*/ 43 h 167"/>
                <a:gd name="T50" fmla="*/ 101 w 124"/>
                <a:gd name="T51" fmla="*/ 54 h 167"/>
                <a:gd name="T52" fmla="*/ 100 w 124"/>
                <a:gd name="T53" fmla="*/ 62 h 167"/>
                <a:gd name="T54" fmla="*/ 102 w 124"/>
                <a:gd name="T55" fmla="*/ 67 h 167"/>
                <a:gd name="T56" fmla="*/ 106 w 124"/>
                <a:gd name="T57" fmla="*/ 74 h 167"/>
                <a:gd name="T58" fmla="*/ 124 w 124"/>
                <a:gd name="T59" fmla="*/ 87 h 167"/>
                <a:gd name="T60" fmla="*/ 123 w 124"/>
                <a:gd name="T61" fmla="*/ 88 h 167"/>
                <a:gd name="T62" fmla="*/ 118 w 124"/>
                <a:gd name="T63" fmla="*/ 90 h 167"/>
                <a:gd name="T64" fmla="*/ 112 w 124"/>
                <a:gd name="T65" fmla="*/ 93 h 167"/>
                <a:gd name="T66" fmla="*/ 107 w 124"/>
                <a:gd name="T67" fmla="*/ 98 h 167"/>
                <a:gd name="T68" fmla="*/ 107 w 124"/>
                <a:gd name="T69" fmla="*/ 102 h 167"/>
                <a:gd name="T70" fmla="*/ 112 w 124"/>
                <a:gd name="T71" fmla="*/ 114 h 167"/>
                <a:gd name="T72" fmla="*/ 108 w 124"/>
                <a:gd name="T73" fmla="*/ 128 h 167"/>
                <a:gd name="T74" fmla="*/ 109 w 124"/>
                <a:gd name="T75" fmla="*/ 159 h 167"/>
                <a:gd name="T76" fmla="*/ 105 w 124"/>
                <a:gd name="T77" fmla="*/ 161 h 167"/>
                <a:gd name="T78" fmla="*/ 75 w 124"/>
                <a:gd name="T79" fmla="*/ 167 h 167"/>
                <a:gd name="T80" fmla="*/ 70 w 124"/>
                <a:gd name="T81" fmla="*/ 166 h 167"/>
                <a:gd name="T82" fmla="*/ 57 w 124"/>
                <a:gd name="T83" fmla="*/ 158 h 167"/>
                <a:gd name="T84" fmla="*/ 51 w 124"/>
                <a:gd name="T85" fmla="*/ 158 h 167"/>
                <a:gd name="T86" fmla="*/ 51 w 124"/>
                <a:gd name="T87" fmla="*/ 158 h 167"/>
                <a:gd name="T88" fmla="*/ 51 w 124"/>
                <a:gd name="T89" fmla="*/ 158 h 167"/>
                <a:gd name="T90" fmla="*/ 51 w 124"/>
                <a:gd name="T91" fmla="*/ 15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167">
                  <a:moveTo>
                    <a:pt x="51" y="158"/>
                  </a:moveTo>
                  <a:lnTo>
                    <a:pt x="48" y="154"/>
                  </a:lnTo>
                  <a:lnTo>
                    <a:pt x="47" y="152"/>
                  </a:lnTo>
                  <a:lnTo>
                    <a:pt x="47" y="140"/>
                  </a:lnTo>
                  <a:lnTo>
                    <a:pt x="42" y="128"/>
                  </a:lnTo>
                  <a:lnTo>
                    <a:pt x="42" y="125"/>
                  </a:lnTo>
                  <a:lnTo>
                    <a:pt x="48" y="110"/>
                  </a:lnTo>
                  <a:lnTo>
                    <a:pt x="48" y="102"/>
                  </a:lnTo>
                  <a:lnTo>
                    <a:pt x="41" y="96"/>
                  </a:lnTo>
                  <a:lnTo>
                    <a:pt x="21" y="82"/>
                  </a:lnTo>
                  <a:lnTo>
                    <a:pt x="14" y="75"/>
                  </a:lnTo>
                  <a:lnTo>
                    <a:pt x="10" y="69"/>
                  </a:lnTo>
                  <a:lnTo>
                    <a:pt x="5" y="59"/>
                  </a:lnTo>
                  <a:lnTo>
                    <a:pt x="0" y="39"/>
                  </a:lnTo>
                  <a:lnTo>
                    <a:pt x="0" y="39"/>
                  </a:lnTo>
                  <a:lnTo>
                    <a:pt x="22" y="18"/>
                  </a:lnTo>
                  <a:lnTo>
                    <a:pt x="44" y="21"/>
                  </a:lnTo>
                  <a:lnTo>
                    <a:pt x="66" y="20"/>
                  </a:lnTo>
                  <a:lnTo>
                    <a:pt x="86" y="11"/>
                  </a:lnTo>
                  <a:lnTo>
                    <a:pt x="109" y="0"/>
                  </a:lnTo>
                  <a:lnTo>
                    <a:pt x="109" y="0"/>
                  </a:lnTo>
                  <a:lnTo>
                    <a:pt x="110" y="9"/>
                  </a:lnTo>
                  <a:lnTo>
                    <a:pt x="106" y="22"/>
                  </a:lnTo>
                  <a:lnTo>
                    <a:pt x="107" y="39"/>
                  </a:lnTo>
                  <a:lnTo>
                    <a:pt x="105" y="43"/>
                  </a:lnTo>
                  <a:lnTo>
                    <a:pt x="101" y="54"/>
                  </a:lnTo>
                  <a:lnTo>
                    <a:pt x="100" y="62"/>
                  </a:lnTo>
                  <a:lnTo>
                    <a:pt x="102" y="67"/>
                  </a:lnTo>
                  <a:lnTo>
                    <a:pt x="106" y="74"/>
                  </a:lnTo>
                  <a:lnTo>
                    <a:pt x="124" y="87"/>
                  </a:lnTo>
                  <a:lnTo>
                    <a:pt x="123" y="88"/>
                  </a:lnTo>
                  <a:lnTo>
                    <a:pt x="118" y="90"/>
                  </a:lnTo>
                  <a:lnTo>
                    <a:pt x="112" y="93"/>
                  </a:lnTo>
                  <a:lnTo>
                    <a:pt x="107" y="98"/>
                  </a:lnTo>
                  <a:lnTo>
                    <a:pt x="107" y="102"/>
                  </a:lnTo>
                  <a:lnTo>
                    <a:pt x="112" y="114"/>
                  </a:lnTo>
                  <a:lnTo>
                    <a:pt x="108" y="128"/>
                  </a:lnTo>
                  <a:lnTo>
                    <a:pt x="109" y="159"/>
                  </a:lnTo>
                  <a:lnTo>
                    <a:pt x="105" y="161"/>
                  </a:lnTo>
                  <a:lnTo>
                    <a:pt x="75" y="167"/>
                  </a:lnTo>
                  <a:lnTo>
                    <a:pt x="70" y="166"/>
                  </a:lnTo>
                  <a:lnTo>
                    <a:pt x="57" y="158"/>
                  </a:lnTo>
                  <a:lnTo>
                    <a:pt x="51" y="158"/>
                  </a:lnTo>
                  <a:lnTo>
                    <a:pt x="51" y="158"/>
                  </a:lnTo>
                  <a:lnTo>
                    <a:pt x="51" y="158"/>
                  </a:lnTo>
                  <a:lnTo>
                    <a:pt x="51" y="158"/>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29" name="Freeform 128">
              <a:extLst>
                <a:ext uri="{FF2B5EF4-FFF2-40B4-BE49-F238E27FC236}">
                  <a16:creationId xmlns:a16="http://schemas.microsoft.com/office/drawing/2014/main" id="{910AC72E-2874-40FB-F7D7-F101BE5E14EA}"/>
                </a:ext>
              </a:extLst>
            </p:cNvPr>
            <p:cNvSpPr>
              <a:spLocks/>
            </p:cNvSpPr>
            <p:nvPr/>
          </p:nvSpPr>
          <p:spPr bwMode="auto">
            <a:xfrm>
              <a:off x="7270751" y="3560763"/>
              <a:ext cx="854075" cy="757238"/>
            </a:xfrm>
            <a:custGeom>
              <a:avLst/>
              <a:gdLst>
                <a:gd name="T0" fmla="*/ 769 w 1614"/>
                <a:gd name="T1" fmla="*/ 120 h 1432"/>
                <a:gd name="T2" fmla="*/ 816 w 1614"/>
                <a:gd name="T3" fmla="*/ 124 h 1432"/>
                <a:gd name="T4" fmla="*/ 873 w 1614"/>
                <a:gd name="T5" fmla="*/ 205 h 1432"/>
                <a:gd name="T6" fmla="*/ 947 w 1614"/>
                <a:gd name="T7" fmla="*/ 205 h 1432"/>
                <a:gd name="T8" fmla="*/ 1089 w 1614"/>
                <a:gd name="T9" fmla="*/ 294 h 1432"/>
                <a:gd name="T10" fmla="*/ 1144 w 1614"/>
                <a:gd name="T11" fmla="*/ 408 h 1432"/>
                <a:gd name="T12" fmla="*/ 1151 w 1614"/>
                <a:gd name="T13" fmla="*/ 434 h 1432"/>
                <a:gd name="T14" fmla="*/ 1177 w 1614"/>
                <a:gd name="T15" fmla="*/ 490 h 1432"/>
                <a:gd name="T16" fmla="*/ 1191 w 1614"/>
                <a:gd name="T17" fmla="*/ 549 h 1432"/>
                <a:gd name="T18" fmla="*/ 1225 w 1614"/>
                <a:gd name="T19" fmla="*/ 583 h 1432"/>
                <a:gd name="T20" fmla="*/ 1246 w 1614"/>
                <a:gd name="T21" fmla="*/ 641 h 1432"/>
                <a:gd name="T22" fmla="*/ 1270 w 1614"/>
                <a:gd name="T23" fmla="*/ 669 h 1432"/>
                <a:gd name="T24" fmla="*/ 1285 w 1614"/>
                <a:gd name="T25" fmla="*/ 688 h 1432"/>
                <a:gd name="T26" fmla="*/ 1277 w 1614"/>
                <a:gd name="T27" fmla="*/ 736 h 1432"/>
                <a:gd name="T28" fmla="*/ 1296 w 1614"/>
                <a:gd name="T29" fmla="*/ 773 h 1432"/>
                <a:gd name="T30" fmla="*/ 1289 w 1614"/>
                <a:gd name="T31" fmla="*/ 792 h 1432"/>
                <a:gd name="T32" fmla="*/ 1338 w 1614"/>
                <a:gd name="T33" fmla="*/ 823 h 1432"/>
                <a:gd name="T34" fmla="*/ 1390 w 1614"/>
                <a:gd name="T35" fmla="*/ 840 h 1432"/>
                <a:gd name="T36" fmla="*/ 1446 w 1614"/>
                <a:gd name="T37" fmla="*/ 901 h 1432"/>
                <a:gd name="T38" fmla="*/ 1462 w 1614"/>
                <a:gd name="T39" fmla="*/ 938 h 1432"/>
                <a:gd name="T40" fmla="*/ 1590 w 1614"/>
                <a:gd name="T41" fmla="*/ 1007 h 1432"/>
                <a:gd name="T42" fmla="*/ 1490 w 1614"/>
                <a:gd name="T43" fmla="*/ 1044 h 1432"/>
                <a:gd name="T44" fmla="*/ 1368 w 1614"/>
                <a:gd name="T45" fmla="*/ 1061 h 1432"/>
                <a:gd name="T46" fmla="*/ 1462 w 1614"/>
                <a:gd name="T47" fmla="*/ 1157 h 1432"/>
                <a:gd name="T48" fmla="*/ 1395 w 1614"/>
                <a:gd name="T49" fmla="*/ 1284 h 1432"/>
                <a:gd name="T50" fmla="*/ 1313 w 1614"/>
                <a:gd name="T51" fmla="*/ 1362 h 1432"/>
                <a:gd name="T52" fmla="*/ 1253 w 1614"/>
                <a:gd name="T53" fmla="*/ 1432 h 1432"/>
                <a:gd name="T54" fmla="*/ 1209 w 1614"/>
                <a:gd name="T55" fmla="*/ 1379 h 1432"/>
                <a:gd name="T56" fmla="*/ 1053 w 1614"/>
                <a:gd name="T57" fmla="*/ 1321 h 1432"/>
                <a:gd name="T58" fmla="*/ 936 w 1614"/>
                <a:gd name="T59" fmla="*/ 1318 h 1432"/>
                <a:gd name="T60" fmla="*/ 867 w 1614"/>
                <a:gd name="T61" fmla="*/ 1291 h 1432"/>
                <a:gd name="T62" fmla="*/ 743 w 1614"/>
                <a:gd name="T63" fmla="*/ 1299 h 1432"/>
                <a:gd name="T64" fmla="*/ 776 w 1614"/>
                <a:gd name="T65" fmla="*/ 1231 h 1432"/>
                <a:gd name="T66" fmla="*/ 725 w 1614"/>
                <a:gd name="T67" fmla="*/ 1194 h 1432"/>
                <a:gd name="T68" fmla="*/ 653 w 1614"/>
                <a:gd name="T69" fmla="*/ 1118 h 1432"/>
                <a:gd name="T70" fmla="*/ 675 w 1614"/>
                <a:gd name="T71" fmla="*/ 1002 h 1432"/>
                <a:gd name="T72" fmla="*/ 670 w 1614"/>
                <a:gd name="T73" fmla="*/ 891 h 1432"/>
                <a:gd name="T74" fmla="*/ 763 w 1614"/>
                <a:gd name="T75" fmla="*/ 872 h 1432"/>
                <a:gd name="T76" fmla="*/ 827 w 1614"/>
                <a:gd name="T77" fmla="*/ 858 h 1432"/>
                <a:gd name="T78" fmla="*/ 767 w 1614"/>
                <a:gd name="T79" fmla="*/ 737 h 1432"/>
                <a:gd name="T80" fmla="*/ 705 w 1614"/>
                <a:gd name="T81" fmla="*/ 811 h 1432"/>
                <a:gd name="T82" fmla="*/ 601 w 1614"/>
                <a:gd name="T83" fmla="*/ 831 h 1432"/>
                <a:gd name="T84" fmla="*/ 554 w 1614"/>
                <a:gd name="T85" fmla="*/ 772 h 1432"/>
                <a:gd name="T86" fmla="*/ 518 w 1614"/>
                <a:gd name="T87" fmla="*/ 688 h 1432"/>
                <a:gd name="T88" fmla="*/ 486 w 1614"/>
                <a:gd name="T89" fmla="*/ 613 h 1432"/>
                <a:gd name="T90" fmla="*/ 512 w 1614"/>
                <a:gd name="T91" fmla="*/ 494 h 1432"/>
                <a:gd name="T92" fmla="*/ 390 w 1614"/>
                <a:gd name="T93" fmla="*/ 494 h 1432"/>
                <a:gd name="T94" fmla="*/ 343 w 1614"/>
                <a:gd name="T95" fmla="*/ 422 h 1432"/>
                <a:gd name="T96" fmla="*/ 263 w 1614"/>
                <a:gd name="T97" fmla="*/ 393 h 1432"/>
                <a:gd name="T98" fmla="*/ 179 w 1614"/>
                <a:gd name="T99" fmla="*/ 330 h 1432"/>
                <a:gd name="T100" fmla="*/ 63 w 1614"/>
                <a:gd name="T101" fmla="*/ 274 h 1432"/>
                <a:gd name="T102" fmla="*/ 22 w 1614"/>
                <a:gd name="T103" fmla="*/ 144 h 1432"/>
                <a:gd name="T104" fmla="*/ 201 w 1614"/>
                <a:gd name="T105" fmla="*/ 200 h 1432"/>
                <a:gd name="T106" fmla="*/ 247 w 1614"/>
                <a:gd name="T107" fmla="*/ 270 h 1432"/>
                <a:gd name="T108" fmla="*/ 340 w 1614"/>
                <a:gd name="T109" fmla="*/ 253 h 1432"/>
                <a:gd name="T110" fmla="*/ 472 w 1614"/>
                <a:gd name="T111" fmla="*/ 188 h 1432"/>
                <a:gd name="T112" fmla="*/ 514 w 1614"/>
                <a:gd name="T113" fmla="*/ 270 h 1432"/>
                <a:gd name="T114" fmla="*/ 575 w 1614"/>
                <a:gd name="T115" fmla="*/ 164 h 1432"/>
                <a:gd name="T116" fmla="*/ 649 w 1614"/>
                <a:gd name="T117" fmla="*/ 147 h 1432"/>
                <a:gd name="T118" fmla="*/ 677 w 1614"/>
                <a:gd name="T119" fmla="*/ 38 h 1432"/>
                <a:gd name="T120" fmla="*/ 781 w 1614"/>
                <a:gd name="T121" fmla="*/ 1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4" h="1432">
                  <a:moveTo>
                    <a:pt x="781" y="10"/>
                  </a:moveTo>
                  <a:lnTo>
                    <a:pt x="780" y="13"/>
                  </a:lnTo>
                  <a:lnTo>
                    <a:pt x="773" y="16"/>
                  </a:lnTo>
                  <a:lnTo>
                    <a:pt x="768" y="19"/>
                  </a:lnTo>
                  <a:lnTo>
                    <a:pt x="764" y="20"/>
                  </a:lnTo>
                  <a:lnTo>
                    <a:pt x="761" y="36"/>
                  </a:lnTo>
                  <a:lnTo>
                    <a:pt x="761" y="72"/>
                  </a:lnTo>
                  <a:lnTo>
                    <a:pt x="758" y="81"/>
                  </a:lnTo>
                  <a:lnTo>
                    <a:pt x="759" y="91"/>
                  </a:lnTo>
                  <a:lnTo>
                    <a:pt x="756" y="94"/>
                  </a:lnTo>
                  <a:lnTo>
                    <a:pt x="763" y="100"/>
                  </a:lnTo>
                  <a:lnTo>
                    <a:pt x="768" y="112"/>
                  </a:lnTo>
                  <a:lnTo>
                    <a:pt x="769" y="120"/>
                  </a:lnTo>
                  <a:lnTo>
                    <a:pt x="766" y="127"/>
                  </a:lnTo>
                  <a:lnTo>
                    <a:pt x="766" y="130"/>
                  </a:lnTo>
                  <a:lnTo>
                    <a:pt x="774" y="120"/>
                  </a:lnTo>
                  <a:lnTo>
                    <a:pt x="779" y="122"/>
                  </a:lnTo>
                  <a:lnTo>
                    <a:pt x="787" y="126"/>
                  </a:lnTo>
                  <a:lnTo>
                    <a:pt x="801" y="126"/>
                  </a:lnTo>
                  <a:lnTo>
                    <a:pt x="802" y="124"/>
                  </a:lnTo>
                  <a:lnTo>
                    <a:pt x="802" y="117"/>
                  </a:lnTo>
                  <a:lnTo>
                    <a:pt x="804" y="116"/>
                  </a:lnTo>
                  <a:lnTo>
                    <a:pt x="806" y="115"/>
                  </a:lnTo>
                  <a:lnTo>
                    <a:pt x="811" y="116"/>
                  </a:lnTo>
                  <a:lnTo>
                    <a:pt x="812" y="122"/>
                  </a:lnTo>
                  <a:lnTo>
                    <a:pt x="816" y="124"/>
                  </a:lnTo>
                  <a:lnTo>
                    <a:pt x="834" y="123"/>
                  </a:lnTo>
                  <a:lnTo>
                    <a:pt x="838" y="124"/>
                  </a:lnTo>
                  <a:lnTo>
                    <a:pt x="841" y="127"/>
                  </a:lnTo>
                  <a:lnTo>
                    <a:pt x="844" y="134"/>
                  </a:lnTo>
                  <a:lnTo>
                    <a:pt x="837" y="143"/>
                  </a:lnTo>
                  <a:lnTo>
                    <a:pt x="838" y="145"/>
                  </a:lnTo>
                  <a:lnTo>
                    <a:pt x="866" y="167"/>
                  </a:lnTo>
                  <a:lnTo>
                    <a:pt x="877" y="170"/>
                  </a:lnTo>
                  <a:lnTo>
                    <a:pt x="895" y="181"/>
                  </a:lnTo>
                  <a:lnTo>
                    <a:pt x="895" y="183"/>
                  </a:lnTo>
                  <a:lnTo>
                    <a:pt x="885" y="201"/>
                  </a:lnTo>
                  <a:lnTo>
                    <a:pt x="882" y="204"/>
                  </a:lnTo>
                  <a:lnTo>
                    <a:pt x="873" y="205"/>
                  </a:lnTo>
                  <a:lnTo>
                    <a:pt x="874" y="207"/>
                  </a:lnTo>
                  <a:lnTo>
                    <a:pt x="884" y="212"/>
                  </a:lnTo>
                  <a:lnTo>
                    <a:pt x="886" y="213"/>
                  </a:lnTo>
                  <a:lnTo>
                    <a:pt x="888" y="212"/>
                  </a:lnTo>
                  <a:lnTo>
                    <a:pt x="891" y="202"/>
                  </a:lnTo>
                  <a:lnTo>
                    <a:pt x="901" y="196"/>
                  </a:lnTo>
                  <a:lnTo>
                    <a:pt x="906" y="188"/>
                  </a:lnTo>
                  <a:lnTo>
                    <a:pt x="909" y="187"/>
                  </a:lnTo>
                  <a:lnTo>
                    <a:pt x="914" y="188"/>
                  </a:lnTo>
                  <a:lnTo>
                    <a:pt x="927" y="192"/>
                  </a:lnTo>
                  <a:lnTo>
                    <a:pt x="931" y="195"/>
                  </a:lnTo>
                  <a:lnTo>
                    <a:pt x="938" y="201"/>
                  </a:lnTo>
                  <a:lnTo>
                    <a:pt x="947" y="205"/>
                  </a:lnTo>
                  <a:lnTo>
                    <a:pt x="953" y="206"/>
                  </a:lnTo>
                  <a:lnTo>
                    <a:pt x="960" y="205"/>
                  </a:lnTo>
                  <a:lnTo>
                    <a:pt x="978" y="207"/>
                  </a:lnTo>
                  <a:lnTo>
                    <a:pt x="1000" y="216"/>
                  </a:lnTo>
                  <a:lnTo>
                    <a:pt x="1027" y="231"/>
                  </a:lnTo>
                  <a:lnTo>
                    <a:pt x="1054" y="242"/>
                  </a:lnTo>
                  <a:lnTo>
                    <a:pt x="1068" y="246"/>
                  </a:lnTo>
                  <a:lnTo>
                    <a:pt x="1072" y="248"/>
                  </a:lnTo>
                  <a:lnTo>
                    <a:pt x="1074" y="250"/>
                  </a:lnTo>
                  <a:lnTo>
                    <a:pt x="1075" y="253"/>
                  </a:lnTo>
                  <a:lnTo>
                    <a:pt x="1074" y="259"/>
                  </a:lnTo>
                  <a:lnTo>
                    <a:pt x="1076" y="271"/>
                  </a:lnTo>
                  <a:lnTo>
                    <a:pt x="1089" y="294"/>
                  </a:lnTo>
                  <a:lnTo>
                    <a:pt x="1092" y="304"/>
                  </a:lnTo>
                  <a:lnTo>
                    <a:pt x="1092" y="310"/>
                  </a:lnTo>
                  <a:lnTo>
                    <a:pt x="1091" y="314"/>
                  </a:lnTo>
                  <a:lnTo>
                    <a:pt x="1094" y="314"/>
                  </a:lnTo>
                  <a:lnTo>
                    <a:pt x="1098" y="318"/>
                  </a:lnTo>
                  <a:lnTo>
                    <a:pt x="1112" y="345"/>
                  </a:lnTo>
                  <a:lnTo>
                    <a:pt x="1115" y="352"/>
                  </a:lnTo>
                  <a:lnTo>
                    <a:pt x="1119" y="357"/>
                  </a:lnTo>
                  <a:lnTo>
                    <a:pt x="1126" y="373"/>
                  </a:lnTo>
                  <a:lnTo>
                    <a:pt x="1138" y="392"/>
                  </a:lnTo>
                  <a:lnTo>
                    <a:pt x="1145" y="403"/>
                  </a:lnTo>
                  <a:lnTo>
                    <a:pt x="1146" y="405"/>
                  </a:lnTo>
                  <a:lnTo>
                    <a:pt x="1144" y="408"/>
                  </a:lnTo>
                  <a:lnTo>
                    <a:pt x="1138" y="411"/>
                  </a:lnTo>
                  <a:lnTo>
                    <a:pt x="1139" y="419"/>
                  </a:lnTo>
                  <a:lnTo>
                    <a:pt x="1135" y="429"/>
                  </a:lnTo>
                  <a:lnTo>
                    <a:pt x="1135" y="432"/>
                  </a:lnTo>
                  <a:lnTo>
                    <a:pt x="1136" y="432"/>
                  </a:lnTo>
                  <a:lnTo>
                    <a:pt x="1137" y="432"/>
                  </a:lnTo>
                  <a:lnTo>
                    <a:pt x="1141" y="421"/>
                  </a:lnTo>
                  <a:lnTo>
                    <a:pt x="1144" y="420"/>
                  </a:lnTo>
                  <a:lnTo>
                    <a:pt x="1146" y="422"/>
                  </a:lnTo>
                  <a:lnTo>
                    <a:pt x="1148" y="426"/>
                  </a:lnTo>
                  <a:lnTo>
                    <a:pt x="1149" y="429"/>
                  </a:lnTo>
                  <a:lnTo>
                    <a:pt x="1147" y="430"/>
                  </a:lnTo>
                  <a:lnTo>
                    <a:pt x="1151" y="434"/>
                  </a:lnTo>
                  <a:lnTo>
                    <a:pt x="1154" y="437"/>
                  </a:lnTo>
                  <a:lnTo>
                    <a:pt x="1160" y="439"/>
                  </a:lnTo>
                  <a:lnTo>
                    <a:pt x="1161" y="442"/>
                  </a:lnTo>
                  <a:lnTo>
                    <a:pt x="1160" y="449"/>
                  </a:lnTo>
                  <a:lnTo>
                    <a:pt x="1163" y="453"/>
                  </a:lnTo>
                  <a:lnTo>
                    <a:pt x="1166" y="457"/>
                  </a:lnTo>
                  <a:lnTo>
                    <a:pt x="1164" y="459"/>
                  </a:lnTo>
                  <a:lnTo>
                    <a:pt x="1159" y="460"/>
                  </a:lnTo>
                  <a:lnTo>
                    <a:pt x="1161" y="465"/>
                  </a:lnTo>
                  <a:lnTo>
                    <a:pt x="1162" y="469"/>
                  </a:lnTo>
                  <a:lnTo>
                    <a:pt x="1170" y="475"/>
                  </a:lnTo>
                  <a:lnTo>
                    <a:pt x="1176" y="486"/>
                  </a:lnTo>
                  <a:lnTo>
                    <a:pt x="1177" y="490"/>
                  </a:lnTo>
                  <a:lnTo>
                    <a:pt x="1174" y="492"/>
                  </a:lnTo>
                  <a:lnTo>
                    <a:pt x="1182" y="498"/>
                  </a:lnTo>
                  <a:lnTo>
                    <a:pt x="1188" y="506"/>
                  </a:lnTo>
                  <a:lnTo>
                    <a:pt x="1188" y="512"/>
                  </a:lnTo>
                  <a:lnTo>
                    <a:pt x="1192" y="519"/>
                  </a:lnTo>
                  <a:lnTo>
                    <a:pt x="1192" y="522"/>
                  </a:lnTo>
                  <a:lnTo>
                    <a:pt x="1191" y="528"/>
                  </a:lnTo>
                  <a:lnTo>
                    <a:pt x="1192" y="537"/>
                  </a:lnTo>
                  <a:lnTo>
                    <a:pt x="1188" y="554"/>
                  </a:lnTo>
                  <a:lnTo>
                    <a:pt x="1189" y="557"/>
                  </a:lnTo>
                  <a:lnTo>
                    <a:pt x="1191" y="559"/>
                  </a:lnTo>
                  <a:lnTo>
                    <a:pt x="1192" y="558"/>
                  </a:lnTo>
                  <a:lnTo>
                    <a:pt x="1191" y="549"/>
                  </a:lnTo>
                  <a:lnTo>
                    <a:pt x="1193" y="541"/>
                  </a:lnTo>
                  <a:lnTo>
                    <a:pt x="1194" y="540"/>
                  </a:lnTo>
                  <a:lnTo>
                    <a:pt x="1196" y="549"/>
                  </a:lnTo>
                  <a:lnTo>
                    <a:pt x="1207" y="558"/>
                  </a:lnTo>
                  <a:lnTo>
                    <a:pt x="1207" y="563"/>
                  </a:lnTo>
                  <a:lnTo>
                    <a:pt x="1208" y="569"/>
                  </a:lnTo>
                  <a:lnTo>
                    <a:pt x="1210" y="573"/>
                  </a:lnTo>
                  <a:lnTo>
                    <a:pt x="1214" y="575"/>
                  </a:lnTo>
                  <a:lnTo>
                    <a:pt x="1217" y="580"/>
                  </a:lnTo>
                  <a:lnTo>
                    <a:pt x="1218" y="583"/>
                  </a:lnTo>
                  <a:lnTo>
                    <a:pt x="1218" y="587"/>
                  </a:lnTo>
                  <a:lnTo>
                    <a:pt x="1221" y="588"/>
                  </a:lnTo>
                  <a:lnTo>
                    <a:pt x="1225" y="583"/>
                  </a:lnTo>
                  <a:lnTo>
                    <a:pt x="1226" y="582"/>
                  </a:lnTo>
                  <a:lnTo>
                    <a:pt x="1233" y="591"/>
                  </a:lnTo>
                  <a:lnTo>
                    <a:pt x="1235" y="599"/>
                  </a:lnTo>
                  <a:lnTo>
                    <a:pt x="1235" y="612"/>
                  </a:lnTo>
                  <a:lnTo>
                    <a:pt x="1234" y="614"/>
                  </a:lnTo>
                  <a:lnTo>
                    <a:pt x="1230" y="616"/>
                  </a:lnTo>
                  <a:lnTo>
                    <a:pt x="1230" y="617"/>
                  </a:lnTo>
                  <a:lnTo>
                    <a:pt x="1239" y="626"/>
                  </a:lnTo>
                  <a:lnTo>
                    <a:pt x="1253" y="634"/>
                  </a:lnTo>
                  <a:lnTo>
                    <a:pt x="1252" y="636"/>
                  </a:lnTo>
                  <a:lnTo>
                    <a:pt x="1247" y="637"/>
                  </a:lnTo>
                  <a:lnTo>
                    <a:pt x="1246" y="639"/>
                  </a:lnTo>
                  <a:lnTo>
                    <a:pt x="1246" y="641"/>
                  </a:lnTo>
                  <a:lnTo>
                    <a:pt x="1250" y="642"/>
                  </a:lnTo>
                  <a:lnTo>
                    <a:pt x="1255" y="648"/>
                  </a:lnTo>
                  <a:lnTo>
                    <a:pt x="1255" y="652"/>
                  </a:lnTo>
                  <a:lnTo>
                    <a:pt x="1254" y="659"/>
                  </a:lnTo>
                  <a:lnTo>
                    <a:pt x="1254" y="662"/>
                  </a:lnTo>
                  <a:lnTo>
                    <a:pt x="1262" y="662"/>
                  </a:lnTo>
                  <a:lnTo>
                    <a:pt x="1265" y="665"/>
                  </a:lnTo>
                  <a:lnTo>
                    <a:pt x="1264" y="667"/>
                  </a:lnTo>
                  <a:lnTo>
                    <a:pt x="1260" y="669"/>
                  </a:lnTo>
                  <a:lnTo>
                    <a:pt x="1262" y="673"/>
                  </a:lnTo>
                  <a:lnTo>
                    <a:pt x="1264" y="674"/>
                  </a:lnTo>
                  <a:lnTo>
                    <a:pt x="1269" y="673"/>
                  </a:lnTo>
                  <a:lnTo>
                    <a:pt x="1270" y="669"/>
                  </a:lnTo>
                  <a:lnTo>
                    <a:pt x="1274" y="665"/>
                  </a:lnTo>
                  <a:lnTo>
                    <a:pt x="1277" y="665"/>
                  </a:lnTo>
                  <a:lnTo>
                    <a:pt x="1278" y="667"/>
                  </a:lnTo>
                  <a:lnTo>
                    <a:pt x="1277" y="672"/>
                  </a:lnTo>
                  <a:lnTo>
                    <a:pt x="1277" y="674"/>
                  </a:lnTo>
                  <a:lnTo>
                    <a:pt x="1283" y="667"/>
                  </a:lnTo>
                  <a:lnTo>
                    <a:pt x="1283" y="668"/>
                  </a:lnTo>
                  <a:lnTo>
                    <a:pt x="1284" y="681"/>
                  </a:lnTo>
                  <a:lnTo>
                    <a:pt x="1283" y="685"/>
                  </a:lnTo>
                  <a:lnTo>
                    <a:pt x="1280" y="690"/>
                  </a:lnTo>
                  <a:lnTo>
                    <a:pt x="1279" y="693"/>
                  </a:lnTo>
                  <a:lnTo>
                    <a:pt x="1281" y="693"/>
                  </a:lnTo>
                  <a:lnTo>
                    <a:pt x="1285" y="688"/>
                  </a:lnTo>
                  <a:lnTo>
                    <a:pt x="1287" y="695"/>
                  </a:lnTo>
                  <a:lnTo>
                    <a:pt x="1287" y="702"/>
                  </a:lnTo>
                  <a:lnTo>
                    <a:pt x="1289" y="706"/>
                  </a:lnTo>
                  <a:lnTo>
                    <a:pt x="1296" y="711"/>
                  </a:lnTo>
                  <a:lnTo>
                    <a:pt x="1297" y="723"/>
                  </a:lnTo>
                  <a:lnTo>
                    <a:pt x="1295" y="729"/>
                  </a:lnTo>
                  <a:lnTo>
                    <a:pt x="1290" y="733"/>
                  </a:lnTo>
                  <a:lnTo>
                    <a:pt x="1292" y="738"/>
                  </a:lnTo>
                  <a:lnTo>
                    <a:pt x="1291" y="740"/>
                  </a:lnTo>
                  <a:lnTo>
                    <a:pt x="1288" y="741"/>
                  </a:lnTo>
                  <a:lnTo>
                    <a:pt x="1284" y="740"/>
                  </a:lnTo>
                  <a:lnTo>
                    <a:pt x="1279" y="736"/>
                  </a:lnTo>
                  <a:lnTo>
                    <a:pt x="1277" y="736"/>
                  </a:lnTo>
                  <a:lnTo>
                    <a:pt x="1285" y="747"/>
                  </a:lnTo>
                  <a:lnTo>
                    <a:pt x="1285" y="749"/>
                  </a:lnTo>
                  <a:lnTo>
                    <a:pt x="1281" y="749"/>
                  </a:lnTo>
                  <a:lnTo>
                    <a:pt x="1280" y="752"/>
                  </a:lnTo>
                  <a:lnTo>
                    <a:pt x="1281" y="754"/>
                  </a:lnTo>
                  <a:lnTo>
                    <a:pt x="1291" y="756"/>
                  </a:lnTo>
                  <a:lnTo>
                    <a:pt x="1299" y="759"/>
                  </a:lnTo>
                  <a:lnTo>
                    <a:pt x="1302" y="762"/>
                  </a:lnTo>
                  <a:lnTo>
                    <a:pt x="1303" y="765"/>
                  </a:lnTo>
                  <a:lnTo>
                    <a:pt x="1302" y="773"/>
                  </a:lnTo>
                  <a:lnTo>
                    <a:pt x="1300" y="774"/>
                  </a:lnTo>
                  <a:lnTo>
                    <a:pt x="1297" y="772"/>
                  </a:lnTo>
                  <a:lnTo>
                    <a:pt x="1296" y="773"/>
                  </a:lnTo>
                  <a:lnTo>
                    <a:pt x="1297" y="775"/>
                  </a:lnTo>
                  <a:lnTo>
                    <a:pt x="1300" y="776"/>
                  </a:lnTo>
                  <a:lnTo>
                    <a:pt x="1301" y="781"/>
                  </a:lnTo>
                  <a:lnTo>
                    <a:pt x="1299" y="781"/>
                  </a:lnTo>
                  <a:lnTo>
                    <a:pt x="1296" y="780"/>
                  </a:lnTo>
                  <a:lnTo>
                    <a:pt x="1295" y="782"/>
                  </a:lnTo>
                  <a:lnTo>
                    <a:pt x="1296" y="787"/>
                  </a:lnTo>
                  <a:lnTo>
                    <a:pt x="1302" y="790"/>
                  </a:lnTo>
                  <a:lnTo>
                    <a:pt x="1302" y="794"/>
                  </a:lnTo>
                  <a:lnTo>
                    <a:pt x="1295" y="796"/>
                  </a:lnTo>
                  <a:lnTo>
                    <a:pt x="1291" y="795"/>
                  </a:lnTo>
                  <a:lnTo>
                    <a:pt x="1290" y="791"/>
                  </a:lnTo>
                  <a:lnTo>
                    <a:pt x="1289" y="792"/>
                  </a:lnTo>
                  <a:lnTo>
                    <a:pt x="1289" y="796"/>
                  </a:lnTo>
                  <a:lnTo>
                    <a:pt x="1292" y="799"/>
                  </a:lnTo>
                  <a:lnTo>
                    <a:pt x="1298" y="797"/>
                  </a:lnTo>
                  <a:lnTo>
                    <a:pt x="1299" y="798"/>
                  </a:lnTo>
                  <a:lnTo>
                    <a:pt x="1298" y="800"/>
                  </a:lnTo>
                  <a:lnTo>
                    <a:pt x="1293" y="803"/>
                  </a:lnTo>
                  <a:lnTo>
                    <a:pt x="1293" y="804"/>
                  </a:lnTo>
                  <a:lnTo>
                    <a:pt x="1296" y="805"/>
                  </a:lnTo>
                  <a:lnTo>
                    <a:pt x="1303" y="805"/>
                  </a:lnTo>
                  <a:lnTo>
                    <a:pt x="1320" y="814"/>
                  </a:lnTo>
                  <a:lnTo>
                    <a:pt x="1325" y="818"/>
                  </a:lnTo>
                  <a:lnTo>
                    <a:pt x="1331" y="826"/>
                  </a:lnTo>
                  <a:lnTo>
                    <a:pt x="1338" y="823"/>
                  </a:lnTo>
                  <a:lnTo>
                    <a:pt x="1353" y="825"/>
                  </a:lnTo>
                  <a:lnTo>
                    <a:pt x="1360" y="827"/>
                  </a:lnTo>
                  <a:lnTo>
                    <a:pt x="1361" y="829"/>
                  </a:lnTo>
                  <a:lnTo>
                    <a:pt x="1360" y="831"/>
                  </a:lnTo>
                  <a:lnTo>
                    <a:pt x="1357" y="832"/>
                  </a:lnTo>
                  <a:lnTo>
                    <a:pt x="1353" y="835"/>
                  </a:lnTo>
                  <a:lnTo>
                    <a:pt x="1360" y="836"/>
                  </a:lnTo>
                  <a:lnTo>
                    <a:pt x="1363" y="833"/>
                  </a:lnTo>
                  <a:lnTo>
                    <a:pt x="1368" y="832"/>
                  </a:lnTo>
                  <a:lnTo>
                    <a:pt x="1377" y="834"/>
                  </a:lnTo>
                  <a:lnTo>
                    <a:pt x="1382" y="835"/>
                  </a:lnTo>
                  <a:lnTo>
                    <a:pt x="1386" y="840"/>
                  </a:lnTo>
                  <a:lnTo>
                    <a:pt x="1390" y="840"/>
                  </a:lnTo>
                  <a:lnTo>
                    <a:pt x="1394" y="840"/>
                  </a:lnTo>
                  <a:lnTo>
                    <a:pt x="1426" y="851"/>
                  </a:lnTo>
                  <a:lnTo>
                    <a:pt x="1435" y="857"/>
                  </a:lnTo>
                  <a:lnTo>
                    <a:pt x="1437" y="858"/>
                  </a:lnTo>
                  <a:lnTo>
                    <a:pt x="1439" y="861"/>
                  </a:lnTo>
                  <a:lnTo>
                    <a:pt x="1436" y="866"/>
                  </a:lnTo>
                  <a:lnTo>
                    <a:pt x="1439" y="867"/>
                  </a:lnTo>
                  <a:lnTo>
                    <a:pt x="1442" y="867"/>
                  </a:lnTo>
                  <a:lnTo>
                    <a:pt x="1444" y="871"/>
                  </a:lnTo>
                  <a:lnTo>
                    <a:pt x="1444" y="876"/>
                  </a:lnTo>
                  <a:lnTo>
                    <a:pt x="1441" y="883"/>
                  </a:lnTo>
                  <a:lnTo>
                    <a:pt x="1444" y="899"/>
                  </a:lnTo>
                  <a:lnTo>
                    <a:pt x="1446" y="901"/>
                  </a:lnTo>
                  <a:lnTo>
                    <a:pt x="1452" y="902"/>
                  </a:lnTo>
                  <a:lnTo>
                    <a:pt x="1454" y="904"/>
                  </a:lnTo>
                  <a:lnTo>
                    <a:pt x="1454" y="907"/>
                  </a:lnTo>
                  <a:lnTo>
                    <a:pt x="1450" y="911"/>
                  </a:lnTo>
                  <a:lnTo>
                    <a:pt x="1441" y="913"/>
                  </a:lnTo>
                  <a:lnTo>
                    <a:pt x="1437" y="916"/>
                  </a:lnTo>
                  <a:lnTo>
                    <a:pt x="1440" y="918"/>
                  </a:lnTo>
                  <a:lnTo>
                    <a:pt x="1440" y="924"/>
                  </a:lnTo>
                  <a:lnTo>
                    <a:pt x="1448" y="926"/>
                  </a:lnTo>
                  <a:lnTo>
                    <a:pt x="1451" y="937"/>
                  </a:lnTo>
                  <a:lnTo>
                    <a:pt x="1453" y="938"/>
                  </a:lnTo>
                  <a:lnTo>
                    <a:pt x="1461" y="937"/>
                  </a:lnTo>
                  <a:lnTo>
                    <a:pt x="1462" y="938"/>
                  </a:lnTo>
                  <a:lnTo>
                    <a:pt x="1466" y="947"/>
                  </a:lnTo>
                  <a:lnTo>
                    <a:pt x="1466" y="952"/>
                  </a:lnTo>
                  <a:lnTo>
                    <a:pt x="1468" y="953"/>
                  </a:lnTo>
                  <a:lnTo>
                    <a:pt x="1480" y="952"/>
                  </a:lnTo>
                  <a:lnTo>
                    <a:pt x="1483" y="956"/>
                  </a:lnTo>
                  <a:lnTo>
                    <a:pt x="1484" y="951"/>
                  </a:lnTo>
                  <a:lnTo>
                    <a:pt x="1486" y="950"/>
                  </a:lnTo>
                  <a:lnTo>
                    <a:pt x="1493" y="951"/>
                  </a:lnTo>
                  <a:lnTo>
                    <a:pt x="1553" y="970"/>
                  </a:lnTo>
                  <a:lnTo>
                    <a:pt x="1568" y="984"/>
                  </a:lnTo>
                  <a:lnTo>
                    <a:pt x="1577" y="997"/>
                  </a:lnTo>
                  <a:lnTo>
                    <a:pt x="1585" y="1002"/>
                  </a:lnTo>
                  <a:lnTo>
                    <a:pt x="1590" y="1007"/>
                  </a:lnTo>
                  <a:lnTo>
                    <a:pt x="1596" y="1027"/>
                  </a:lnTo>
                  <a:lnTo>
                    <a:pt x="1608" y="1046"/>
                  </a:lnTo>
                  <a:lnTo>
                    <a:pt x="1610" y="1051"/>
                  </a:lnTo>
                  <a:lnTo>
                    <a:pt x="1614" y="1073"/>
                  </a:lnTo>
                  <a:lnTo>
                    <a:pt x="1613" y="1078"/>
                  </a:lnTo>
                  <a:lnTo>
                    <a:pt x="1609" y="1080"/>
                  </a:lnTo>
                  <a:lnTo>
                    <a:pt x="1596" y="1080"/>
                  </a:lnTo>
                  <a:lnTo>
                    <a:pt x="1574" y="1076"/>
                  </a:lnTo>
                  <a:lnTo>
                    <a:pt x="1548" y="1074"/>
                  </a:lnTo>
                  <a:lnTo>
                    <a:pt x="1541" y="1073"/>
                  </a:lnTo>
                  <a:lnTo>
                    <a:pt x="1508" y="1059"/>
                  </a:lnTo>
                  <a:lnTo>
                    <a:pt x="1495" y="1047"/>
                  </a:lnTo>
                  <a:lnTo>
                    <a:pt x="1490" y="1044"/>
                  </a:lnTo>
                  <a:lnTo>
                    <a:pt x="1481" y="1042"/>
                  </a:lnTo>
                  <a:lnTo>
                    <a:pt x="1462" y="1040"/>
                  </a:lnTo>
                  <a:lnTo>
                    <a:pt x="1446" y="1032"/>
                  </a:lnTo>
                  <a:lnTo>
                    <a:pt x="1437" y="1034"/>
                  </a:lnTo>
                  <a:lnTo>
                    <a:pt x="1427" y="1042"/>
                  </a:lnTo>
                  <a:lnTo>
                    <a:pt x="1418" y="1044"/>
                  </a:lnTo>
                  <a:lnTo>
                    <a:pt x="1404" y="1052"/>
                  </a:lnTo>
                  <a:lnTo>
                    <a:pt x="1400" y="1052"/>
                  </a:lnTo>
                  <a:lnTo>
                    <a:pt x="1392" y="1048"/>
                  </a:lnTo>
                  <a:lnTo>
                    <a:pt x="1388" y="1048"/>
                  </a:lnTo>
                  <a:lnTo>
                    <a:pt x="1377" y="1056"/>
                  </a:lnTo>
                  <a:lnTo>
                    <a:pt x="1372" y="1056"/>
                  </a:lnTo>
                  <a:lnTo>
                    <a:pt x="1368" y="1061"/>
                  </a:lnTo>
                  <a:lnTo>
                    <a:pt x="1354" y="1068"/>
                  </a:lnTo>
                  <a:lnTo>
                    <a:pt x="1355" y="1084"/>
                  </a:lnTo>
                  <a:lnTo>
                    <a:pt x="1377" y="1092"/>
                  </a:lnTo>
                  <a:lnTo>
                    <a:pt x="1386" y="1094"/>
                  </a:lnTo>
                  <a:lnTo>
                    <a:pt x="1400" y="1103"/>
                  </a:lnTo>
                  <a:lnTo>
                    <a:pt x="1413" y="1109"/>
                  </a:lnTo>
                  <a:lnTo>
                    <a:pt x="1434" y="1127"/>
                  </a:lnTo>
                  <a:lnTo>
                    <a:pt x="1445" y="1137"/>
                  </a:lnTo>
                  <a:lnTo>
                    <a:pt x="1448" y="1145"/>
                  </a:lnTo>
                  <a:lnTo>
                    <a:pt x="1453" y="1150"/>
                  </a:lnTo>
                  <a:lnTo>
                    <a:pt x="1455" y="1154"/>
                  </a:lnTo>
                  <a:lnTo>
                    <a:pt x="1462" y="1157"/>
                  </a:lnTo>
                  <a:lnTo>
                    <a:pt x="1462" y="1157"/>
                  </a:lnTo>
                  <a:lnTo>
                    <a:pt x="1447" y="1166"/>
                  </a:lnTo>
                  <a:lnTo>
                    <a:pt x="1429" y="1171"/>
                  </a:lnTo>
                  <a:lnTo>
                    <a:pt x="1426" y="1174"/>
                  </a:lnTo>
                  <a:lnTo>
                    <a:pt x="1422" y="1180"/>
                  </a:lnTo>
                  <a:lnTo>
                    <a:pt x="1413" y="1201"/>
                  </a:lnTo>
                  <a:lnTo>
                    <a:pt x="1405" y="1213"/>
                  </a:lnTo>
                  <a:lnTo>
                    <a:pt x="1405" y="1218"/>
                  </a:lnTo>
                  <a:lnTo>
                    <a:pt x="1410" y="1226"/>
                  </a:lnTo>
                  <a:lnTo>
                    <a:pt x="1411" y="1232"/>
                  </a:lnTo>
                  <a:lnTo>
                    <a:pt x="1410" y="1236"/>
                  </a:lnTo>
                  <a:lnTo>
                    <a:pt x="1401" y="1244"/>
                  </a:lnTo>
                  <a:lnTo>
                    <a:pt x="1398" y="1274"/>
                  </a:lnTo>
                  <a:lnTo>
                    <a:pt x="1395" y="1284"/>
                  </a:lnTo>
                  <a:lnTo>
                    <a:pt x="1385" y="1294"/>
                  </a:lnTo>
                  <a:lnTo>
                    <a:pt x="1361" y="1299"/>
                  </a:lnTo>
                  <a:lnTo>
                    <a:pt x="1357" y="1307"/>
                  </a:lnTo>
                  <a:lnTo>
                    <a:pt x="1356" y="1311"/>
                  </a:lnTo>
                  <a:lnTo>
                    <a:pt x="1362" y="1325"/>
                  </a:lnTo>
                  <a:lnTo>
                    <a:pt x="1367" y="1337"/>
                  </a:lnTo>
                  <a:lnTo>
                    <a:pt x="1367" y="1337"/>
                  </a:lnTo>
                  <a:lnTo>
                    <a:pt x="1363" y="1340"/>
                  </a:lnTo>
                  <a:lnTo>
                    <a:pt x="1356" y="1345"/>
                  </a:lnTo>
                  <a:lnTo>
                    <a:pt x="1347" y="1347"/>
                  </a:lnTo>
                  <a:lnTo>
                    <a:pt x="1332" y="1354"/>
                  </a:lnTo>
                  <a:lnTo>
                    <a:pt x="1320" y="1357"/>
                  </a:lnTo>
                  <a:lnTo>
                    <a:pt x="1313" y="1362"/>
                  </a:lnTo>
                  <a:lnTo>
                    <a:pt x="1307" y="1366"/>
                  </a:lnTo>
                  <a:lnTo>
                    <a:pt x="1307" y="1368"/>
                  </a:lnTo>
                  <a:lnTo>
                    <a:pt x="1320" y="1390"/>
                  </a:lnTo>
                  <a:lnTo>
                    <a:pt x="1322" y="1396"/>
                  </a:lnTo>
                  <a:lnTo>
                    <a:pt x="1321" y="1397"/>
                  </a:lnTo>
                  <a:lnTo>
                    <a:pt x="1316" y="1398"/>
                  </a:lnTo>
                  <a:lnTo>
                    <a:pt x="1293" y="1399"/>
                  </a:lnTo>
                  <a:lnTo>
                    <a:pt x="1285" y="1401"/>
                  </a:lnTo>
                  <a:lnTo>
                    <a:pt x="1278" y="1406"/>
                  </a:lnTo>
                  <a:lnTo>
                    <a:pt x="1270" y="1418"/>
                  </a:lnTo>
                  <a:lnTo>
                    <a:pt x="1264" y="1424"/>
                  </a:lnTo>
                  <a:lnTo>
                    <a:pt x="1257" y="1429"/>
                  </a:lnTo>
                  <a:lnTo>
                    <a:pt x="1253" y="1432"/>
                  </a:lnTo>
                  <a:lnTo>
                    <a:pt x="1250" y="1430"/>
                  </a:lnTo>
                  <a:lnTo>
                    <a:pt x="1248" y="1429"/>
                  </a:lnTo>
                  <a:lnTo>
                    <a:pt x="1241" y="1414"/>
                  </a:lnTo>
                  <a:lnTo>
                    <a:pt x="1236" y="1403"/>
                  </a:lnTo>
                  <a:lnTo>
                    <a:pt x="1234" y="1385"/>
                  </a:lnTo>
                  <a:lnTo>
                    <a:pt x="1233" y="1383"/>
                  </a:lnTo>
                  <a:lnTo>
                    <a:pt x="1231" y="1383"/>
                  </a:lnTo>
                  <a:lnTo>
                    <a:pt x="1220" y="1392"/>
                  </a:lnTo>
                  <a:lnTo>
                    <a:pt x="1217" y="1393"/>
                  </a:lnTo>
                  <a:lnTo>
                    <a:pt x="1212" y="1393"/>
                  </a:lnTo>
                  <a:lnTo>
                    <a:pt x="1211" y="1391"/>
                  </a:lnTo>
                  <a:lnTo>
                    <a:pt x="1210" y="1387"/>
                  </a:lnTo>
                  <a:lnTo>
                    <a:pt x="1209" y="1379"/>
                  </a:lnTo>
                  <a:lnTo>
                    <a:pt x="1208" y="1378"/>
                  </a:lnTo>
                  <a:lnTo>
                    <a:pt x="1194" y="1382"/>
                  </a:lnTo>
                  <a:lnTo>
                    <a:pt x="1181" y="1385"/>
                  </a:lnTo>
                  <a:lnTo>
                    <a:pt x="1165" y="1386"/>
                  </a:lnTo>
                  <a:lnTo>
                    <a:pt x="1152" y="1385"/>
                  </a:lnTo>
                  <a:lnTo>
                    <a:pt x="1106" y="1357"/>
                  </a:lnTo>
                  <a:lnTo>
                    <a:pt x="1097" y="1345"/>
                  </a:lnTo>
                  <a:lnTo>
                    <a:pt x="1086" y="1325"/>
                  </a:lnTo>
                  <a:lnTo>
                    <a:pt x="1079" y="1319"/>
                  </a:lnTo>
                  <a:lnTo>
                    <a:pt x="1073" y="1319"/>
                  </a:lnTo>
                  <a:lnTo>
                    <a:pt x="1065" y="1322"/>
                  </a:lnTo>
                  <a:lnTo>
                    <a:pt x="1060" y="1324"/>
                  </a:lnTo>
                  <a:lnTo>
                    <a:pt x="1053" y="1321"/>
                  </a:lnTo>
                  <a:lnTo>
                    <a:pt x="1043" y="1316"/>
                  </a:lnTo>
                  <a:lnTo>
                    <a:pt x="1036" y="1316"/>
                  </a:lnTo>
                  <a:lnTo>
                    <a:pt x="1032" y="1318"/>
                  </a:lnTo>
                  <a:lnTo>
                    <a:pt x="1021" y="1326"/>
                  </a:lnTo>
                  <a:lnTo>
                    <a:pt x="1009" y="1325"/>
                  </a:lnTo>
                  <a:lnTo>
                    <a:pt x="1004" y="1333"/>
                  </a:lnTo>
                  <a:lnTo>
                    <a:pt x="1004" y="1333"/>
                  </a:lnTo>
                  <a:lnTo>
                    <a:pt x="995" y="1335"/>
                  </a:lnTo>
                  <a:lnTo>
                    <a:pt x="989" y="1335"/>
                  </a:lnTo>
                  <a:lnTo>
                    <a:pt x="974" y="1327"/>
                  </a:lnTo>
                  <a:lnTo>
                    <a:pt x="955" y="1328"/>
                  </a:lnTo>
                  <a:lnTo>
                    <a:pt x="934" y="1325"/>
                  </a:lnTo>
                  <a:lnTo>
                    <a:pt x="936" y="1318"/>
                  </a:lnTo>
                  <a:lnTo>
                    <a:pt x="934" y="1318"/>
                  </a:lnTo>
                  <a:lnTo>
                    <a:pt x="928" y="1319"/>
                  </a:lnTo>
                  <a:lnTo>
                    <a:pt x="924" y="1316"/>
                  </a:lnTo>
                  <a:lnTo>
                    <a:pt x="924" y="1312"/>
                  </a:lnTo>
                  <a:lnTo>
                    <a:pt x="925" y="1295"/>
                  </a:lnTo>
                  <a:lnTo>
                    <a:pt x="923" y="1291"/>
                  </a:lnTo>
                  <a:lnTo>
                    <a:pt x="919" y="1288"/>
                  </a:lnTo>
                  <a:lnTo>
                    <a:pt x="908" y="1297"/>
                  </a:lnTo>
                  <a:lnTo>
                    <a:pt x="901" y="1299"/>
                  </a:lnTo>
                  <a:lnTo>
                    <a:pt x="891" y="1301"/>
                  </a:lnTo>
                  <a:lnTo>
                    <a:pt x="885" y="1300"/>
                  </a:lnTo>
                  <a:lnTo>
                    <a:pt x="872" y="1292"/>
                  </a:lnTo>
                  <a:lnTo>
                    <a:pt x="867" y="1291"/>
                  </a:lnTo>
                  <a:lnTo>
                    <a:pt x="863" y="1293"/>
                  </a:lnTo>
                  <a:lnTo>
                    <a:pt x="852" y="1306"/>
                  </a:lnTo>
                  <a:lnTo>
                    <a:pt x="846" y="1310"/>
                  </a:lnTo>
                  <a:lnTo>
                    <a:pt x="838" y="1313"/>
                  </a:lnTo>
                  <a:lnTo>
                    <a:pt x="826" y="1316"/>
                  </a:lnTo>
                  <a:lnTo>
                    <a:pt x="816" y="1321"/>
                  </a:lnTo>
                  <a:lnTo>
                    <a:pt x="811" y="1320"/>
                  </a:lnTo>
                  <a:lnTo>
                    <a:pt x="804" y="1315"/>
                  </a:lnTo>
                  <a:lnTo>
                    <a:pt x="801" y="1315"/>
                  </a:lnTo>
                  <a:lnTo>
                    <a:pt x="778" y="1320"/>
                  </a:lnTo>
                  <a:lnTo>
                    <a:pt x="761" y="1324"/>
                  </a:lnTo>
                  <a:lnTo>
                    <a:pt x="746" y="1302"/>
                  </a:lnTo>
                  <a:lnTo>
                    <a:pt x="743" y="1299"/>
                  </a:lnTo>
                  <a:lnTo>
                    <a:pt x="739" y="1297"/>
                  </a:lnTo>
                  <a:lnTo>
                    <a:pt x="738" y="1293"/>
                  </a:lnTo>
                  <a:lnTo>
                    <a:pt x="740" y="1283"/>
                  </a:lnTo>
                  <a:lnTo>
                    <a:pt x="744" y="1277"/>
                  </a:lnTo>
                  <a:lnTo>
                    <a:pt x="744" y="1276"/>
                  </a:lnTo>
                  <a:lnTo>
                    <a:pt x="745" y="1278"/>
                  </a:lnTo>
                  <a:lnTo>
                    <a:pt x="747" y="1285"/>
                  </a:lnTo>
                  <a:lnTo>
                    <a:pt x="749" y="1286"/>
                  </a:lnTo>
                  <a:lnTo>
                    <a:pt x="751" y="1285"/>
                  </a:lnTo>
                  <a:lnTo>
                    <a:pt x="766" y="1274"/>
                  </a:lnTo>
                  <a:lnTo>
                    <a:pt x="772" y="1264"/>
                  </a:lnTo>
                  <a:lnTo>
                    <a:pt x="775" y="1249"/>
                  </a:lnTo>
                  <a:lnTo>
                    <a:pt x="776" y="1231"/>
                  </a:lnTo>
                  <a:lnTo>
                    <a:pt x="776" y="1203"/>
                  </a:lnTo>
                  <a:lnTo>
                    <a:pt x="775" y="1194"/>
                  </a:lnTo>
                  <a:lnTo>
                    <a:pt x="773" y="1190"/>
                  </a:lnTo>
                  <a:lnTo>
                    <a:pt x="770" y="1188"/>
                  </a:lnTo>
                  <a:lnTo>
                    <a:pt x="761" y="1189"/>
                  </a:lnTo>
                  <a:lnTo>
                    <a:pt x="754" y="1187"/>
                  </a:lnTo>
                  <a:lnTo>
                    <a:pt x="750" y="1184"/>
                  </a:lnTo>
                  <a:lnTo>
                    <a:pt x="748" y="1174"/>
                  </a:lnTo>
                  <a:lnTo>
                    <a:pt x="746" y="1170"/>
                  </a:lnTo>
                  <a:lnTo>
                    <a:pt x="744" y="1173"/>
                  </a:lnTo>
                  <a:lnTo>
                    <a:pt x="740" y="1187"/>
                  </a:lnTo>
                  <a:lnTo>
                    <a:pt x="734" y="1195"/>
                  </a:lnTo>
                  <a:lnTo>
                    <a:pt x="725" y="1194"/>
                  </a:lnTo>
                  <a:lnTo>
                    <a:pt x="715" y="1195"/>
                  </a:lnTo>
                  <a:lnTo>
                    <a:pt x="710" y="1194"/>
                  </a:lnTo>
                  <a:lnTo>
                    <a:pt x="710" y="1191"/>
                  </a:lnTo>
                  <a:lnTo>
                    <a:pt x="710" y="1183"/>
                  </a:lnTo>
                  <a:lnTo>
                    <a:pt x="716" y="1164"/>
                  </a:lnTo>
                  <a:lnTo>
                    <a:pt x="714" y="1159"/>
                  </a:lnTo>
                  <a:lnTo>
                    <a:pt x="706" y="1153"/>
                  </a:lnTo>
                  <a:lnTo>
                    <a:pt x="700" y="1151"/>
                  </a:lnTo>
                  <a:lnTo>
                    <a:pt x="693" y="1152"/>
                  </a:lnTo>
                  <a:lnTo>
                    <a:pt x="680" y="1158"/>
                  </a:lnTo>
                  <a:lnTo>
                    <a:pt x="676" y="1159"/>
                  </a:lnTo>
                  <a:lnTo>
                    <a:pt x="661" y="1142"/>
                  </a:lnTo>
                  <a:lnTo>
                    <a:pt x="653" y="1118"/>
                  </a:lnTo>
                  <a:lnTo>
                    <a:pt x="649" y="1108"/>
                  </a:lnTo>
                  <a:lnTo>
                    <a:pt x="637" y="1106"/>
                  </a:lnTo>
                  <a:lnTo>
                    <a:pt x="634" y="1105"/>
                  </a:lnTo>
                  <a:lnTo>
                    <a:pt x="625" y="1099"/>
                  </a:lnTo>
                  <a:lnTo>
                    <a:pt x="622" y="1095"/>
                  </a:lnTo>
                  <a:lnTo>
                    <a:pt x="621" y="1090"/>
                  </a:lnTo>
                  <a:lnTo>
                    <a:pt x="628" y="1068"/>
                  </a:lnTo>
                  <a:lnTo>
                    <a:pt x="626" y="1055"/>
                  </a:lnTo>
                  <a:lnTo>
                    <a:pt x="628" y="1049"/>
                  </a:lnTo>
                  <a:lnTo>
                    <a:pt x="651" y="1030"/>
                  </a:lnTo>
                  <a:lnTo>
                    <a:pt x="652" y="1027"/>
                  </a:lnTo>
                  <a:lnTo>
                    <a:pt x="653" y="1006"/>
                  </a:lnTo>
                  <a:lnTo>
                    <a:pt x="675" y="1002"/>
                  </a:lnTo>
                  <a:lnTo>
                    <a:pt x="686" y="998"/>
                  </a:lnTo>
                  <a:lnTo>
                    <a:pt x="692" y="995"/>
                  </a:lnTo>
                  <a:lnTo>
                    <a:pt x="694" y="991"/>
                  </a:lnTo>
                  <a:lnTo>
                    <a:pt x="693" y="970"/>
                  </a:lnTo>
                  <a:lnTo>
                    <a:pt x="697" y="958"/>
                  </a:lnTo>
                  <a:lnTo>
                    <a:pt x="696" y="931"/>
                  </a:lnTo>
                  <a:lnTo>
                    <a:pt x="694" y="913"/>
                  </a:lnTo>
                  <a:lnTo>
                    <a:pt x="690" y="911"/>
                  </a:lnTo>
                  <a:lnTo>
                    <a:pt x="677" y="908"/>
                  </a:lnTo>
                  <a:lnTo>
                    <a:pt x="674" y="907"/>
                  </a:lnTo>
                  <a:lnTo>
                    <a:pt x="673" y="904"/>
                  </a:lnTo>
                  <a:lnTo>
                    <a:pt x="672" y="896"/>
                  </a:lnTo>
                  <a:lnTo>
                    <a:pt x="670" y="891"/>
                  </a:lnTo>
                  <a:lnTo>
                    <a:pt x="660" y="881"/>
                  </a:lnTo>
                  <a:lnTo>
                    <a:pt x="659" y="878"/>
                  </a:lnTo>
                  <a:lnTo>
                    <a:pt x="660" y="873"/>
                  </a:lnTo>
                  <a:lnTo>
                    <a:pt x="664" y="870"/>
                  </a:lnTo>
                  <a:lnTo>
                    <a:pt x="666" y="869"/>
                  </a:lnTo>
                  <a:lnTo>
                    <a:pt x="683" y="867"/>
                  </a:lnTo>
                  <a:lnTo>
                    <a:pt x="693" y="864"/>
                  </a:lnTo>
                  <a:lnTo>
                    <a:pt x="728" y="860"/>
                  </a:lnTo>
                  <a:lnTo>
                    <a:pt x="736" y="860"/>
                  </a:lnTo>
                  <a:lnTo>
                    <a:pt x="741" y="862"/>
                  </a:lnTo>
                  <a:lnTo>
                    <a:pt x="749" y="867"/>
                  </a:lnTo>
                  <a:lnTo>
                    <a:pt x="760" y="869"/>
                  </a:lnTo>
                  <a:lnTo>
                    <a:pt x="763" y="872"/>
                  </a:lnTo>
                  <a:lnTo>
                    <a:pt x="772" y="883"/>
                  </a:lnTo>
                  <a:lnTo>
                    <a:pt x="777" y="887"/>
                  </a:lnTo>
                  <a:lnTo>
                    <a:pt x="787" y="884"/>
                  </a:lnTo>
                  <a:lnTo>
                    <a:pt x="790" y="885"/>
                  </a:lnTo>
                  <a:lnTo>
                    <a:pt x="809" y="904"/>
                  </a:lnTo>
                  <a:lnTo>
                    <a:pt x="815" y="902"/>
                  </a:lnTo>
                  <a:lnTo>
                    <a:pt x="818" y="900"/>
                  </a:lnTo>
                  <a:lnTo>
                    <a:pt x="820" y="897"/>
                  </a:lnTo>
                  <a:lnTo>
                    <a:pt x="830" y="878"/>
                  </a:lnTo>
                  <a:lnTo>
                    <a:pt x="829" y="875"/>
                  </a:lnTo>
                  <a:lnTo>
                    <a:pt x="823" y="866"/>
                  </a:lnTo>
                  <a:lnTo>
                    <a:pt x="823" y="860"/>
                  </a:lnTo>
                  <a:lnTo>
                    <a:pt x="827" y="858"/>
                  </a:lnTo>
                  <a:lnTo>
                    <a:pt x="836" y="858"/>
                  </a:lnTo>
                  <a:lnTo>
                    <a:pt x="838" y="857"/>
                  </a:lnTo>
                  <a:lnTo>
                    <a:pt x="830" y="793"/>
                  </a:lnTo>
                  <a:lnTo>
                    <a:pt x="828" y="787"/>
                  </a:lnTo>
                  <a:lnTo>
                    <a:pt x="826" y="783"/>
                  </a:lnTo>
                  <a:lnTo>
                    <a:pt x="821" y="780"/>
                  </a:lnTo>
                  <a:lnTo>
                    <a:pt x="804" y="776"/>
                  </a:lnTo>
                  <a:lnTo>
                    <a:pt x="793" y="769"/>
                  </a:lnTo>
                  <a:lnTo>
                    <a:pt x="783" y="758"/>
                  </a:lnTo>
                  <a:lnTo>
                    <a:pt x="778" y="750"/>
                  </a:lnTo>
                  <a:lnTo>
                    <a:pt x="775" y="741"/>
                  </a:lnTo>
                  <a:lnTo>
                    <a:pt x="770" y="738"/>
                  </a:lnTo>
                  <a:lnTo>
                    <a:pt x="767" y="737"/>
                  </a:lnTo>
                  <a:lnTo>
                    <a:pt x="762" y="738"/>
                  </a:lnTo>
                  <a:lnTo>
                    <a:pt x="745" y="746"/>
                  </a:lnTo>
                  <a:lnTo>
                    <a:pt x="743" y="745"/>
                  </a:lnTo>
                  <a:lnTo>
                    <a:pt x="738" y="741"/>
                  </a:lnTo>
                  <a:lnTo>
                    <a:pt x="732" y="740"/>
                  </a:lnTo>
                  <a:lnTo>
                    <a:pt x="726" y="743"/>
                  </a:lnTo>
                  <a:lnTo>
                    <a:pt x="724" y="765"/>
                  </a:lnTo>
                  <a:lnTo>
                    <a:pt x="722" y="772"/>
                  </a:lnTo>
                  <a:lnTo>
                    <a:pt x="718" y="776"/>
                  </a:lnTo>
                  <a:lnTo>
                    <a:pt x="708" y="777"/>
                  </a:lnTo>
                  <a:lnTo>
                    <a:pt x="707" y="778"/>
                  </a:lnTo>
                  <a:lnTo>
                    <a:pt x="705" y="790"/>
                  </a:lnTo>
                  <a:lnTo>
                    <a:pt x="705" y="811"/>
                  </a:lnTo>
                  <a:lnTo>
                    <a:pt x="704" y="815"/>
                  </a:lnTo>
                  <a:lnTo>
                    <a:pt x="701" y="819"/>
                  </a:lnTo>
                  <a:lnTo>
                    <a:pt x="696" y="822"/>
                  </a:lnTo>
                  <a:lnTo>
                    <a:pt x="692" y="822"/>
                  </a:lnTo>
                  <a:lnTo>
                    <a:pt x="673" y="818"/>
                  </a:lnTo>
                  <a:lnTo>
                    <a:pt x="657" y="824"/>
                  </a:lnTo>
                  <a:lnTo>
                    <a:pt x="625" y="827"/>
                  </a:lnTo>
                  <a:lnTo>
                    <a:pt x="622" y="826"/>
                  </a:lnTo>
                  <a:lnTo>
                    <a:pt x="620" y="819"/>
                  </a:lnTo>
                  <a:lnTo>
                    <a:pt x="618" y="817"/>
                  </a:lnTo>
                  <a:lnTo>
                    <a:pt x="610" y="830"/>
                  </a:lnTo>
                  <a:lnTo>
                    <a:pt x="604" y="831"/>
                  </a:lnTo>
                  <a:lnTo>
                    <a:pt x="601" y="831"/>
                  </a:lnTo>
                  <a:lnTo>
                    <a:pt x="599" y="814"/>
                  </a:lnTo>
                  <a:lnTo>
                    <a:pt x="597" y="813"/>
                  </a:lnTo>
                  <a:lnTo>
                    <a:pt x="593" y="816"/>
                  </a:lnTo>
                  <a:lnTo>
                    <a:pt x="589" y="816"/>
                  </a:lnTo>
                  <a:lnTo>
                    <a:pt x="589" y="806"/>
                  </a:lnTo>
                  <a:lnTo>
                    <a:pt x="583" y="806"/>
                  </a:lnTo>
                  <a:lnTo>
                    <a:pt x="579" y="804"/>
                  </a:lnTo>
                  <a:lnTo>
                    <a:pt x="575" y="797"/>
                  </a:lnTo>
                  <a:lnTo>
                    <a:pt x="568" y="789"/>
                  </a:lnTo>
                  <a:lnTo>
                    <a:pt x="566" y="788"/>
                  </a:lnTo>
                  <a:lnTo>
                    <a:pt x="561" y="788"/>
                  </a:lnTo>
                  <a:lnTo>
                    <a:pt x="558" y="780"/>
                  </a:lnTo>
                  <a:lnTo>
                    <a:pt x="554" y="772"/>
                  </a:lnTo>
                  <a:lnTo>
                    <a:pt x="557" y="767"/>
                  </a:lnTo>
                  <a:lnTo>
                    <a:pt x="560" y="762"/>
                  </a:lnTo>
                  <a:lnTo>
                    <a:pt x="572" y="755"/>
                  </a:lnTo>
                  <a:lnTo>
                    <a:pt x="576" y="752"/>
                  </a:lnTo>
                  <a:lnTo>
                    <a:pt x="564" y="746"/>
                  </a:lnTo>
                  <a:lnTo>
                    <a:pt x="559" y="742"/>
                  </a:lnTo>
                  <a:lnTo>
                    <a:pt x="550" y="715"/>
                  </a:lnTo>
                  <a:lnTo>
                    <a:pt x="546" y="688"/>
                  </a:lnTo>
                  <a:lnTo>
                    <a:pt x="540" y="677"/>
                  </a:lnTo>
                  <a:lnTo>
                    <a:pt x="535" y="673"/>
                  </a:lnTo>
                  <a:lnTo>
                    <a:pt x="531" y="673"/>
                  </a:lnTo>
                  <a:lnTo>
                    <a:pt x="525" y="683"/>
                  </a:lnTo>
                  <a:lnTo>
                    <a:pt x="518" y="688"/>
                  </a:lnTo>
                  <a:lnTo>
                    <a:pt x="512" y="692"/>
                  </a:lnTo>
                  <a:lnTo>
                    <a:pt x="498" y="700"/>
                  </a:lnTo>
                  <a:lnTo>
                    <a:pt x="494" y="693"/>
                  </a:lnTo>
                  <a:lnTo>
                    <a:pt x="487" y="687"/>
                  </a:lnTo>
                  <a:lnTo>
                    <a:pt x="481" y="674"/>
                  </a:lnTo>
                  <a:lnTo>
                    <a:pt x="478" y="673"/>
                  </a:lnTo>
                  <a:lnTo>
                    <a:pt x="472" y="672"/>
                  </a:lnTo>
                  <a:lnTo>
                    <a:pt x="469" y="669"/>
                  </a:lnTo>
                  <a:lnTo>
                    <a:pt x="474" y="647"/>
                  </a:lnTo>
                  <a:lnTo>
                    <a:pt x="476" y="631"/>
                  </a:lnTo>
                  <a:lnTo>
                    <a:pt x="478" y="627"/>
                  </a:lnTo>
                  <a:lnTo>
                    <a:pt x="484" y="619"/>
                  </a:lnTo>
                  <a:lnTo>
                    <a:pt x="486" y="613"/>
                  </a:lnTo>
                  <a:lnTo>
                    <a:pt x="487" y="598"/>
                  </a:lnTo>
                  <a:lnTo>
                    <a:pt x="489" y="590"/>
                  </a:lnTo>
                  <a:lnTo>
                    <a:pt x="494" y="582"/>
                  </a:lnTo>
                  <a:lnTo>
                    <a:pt x="498" y="580"/>
                  </a:lnTo>
                  <a:lnTo>
                    <a:pt x="504" y="580"/>
                  </a:lnTo>
                  <a:lnTo>
                    <a:pt x="505" y="577"/>
                  </a:lnTo>
                  <a:lnTo>
                    <a:pt x="506" y="571"/>
                  </a:lnTo>
                  <a:lnTo>
                    <a:pt x="505" y="535"/>
                  </a:lnTo>
                  <a:lnTo>
                    <a:pt x="513" y="520"/>
                  </a:lnTo>
                  <a:lnTo>
                    <a:pt x="515" y="513"/>
                  </a:lnTo>
                  <a:lnTo>
                    <a:pt x="514" y="509"/>
                  </a:lnTo>
                  <a:lnTo>
                    <a:pt x="511" y="503"/>
                  </a:lnTo>
                  <a:lnTo>
                    <a:pt x="512" y="494"/>
                  </a:lnTo>
                  <a:lnTo>
                    <a:pt x="512" y="492"/>
                  </a:lnTo>
                  <a:lnTo>
                    <a:pt x="503" y="489"/>
                  </a:lnTo>
                  <a:lnTo>
                    <a:pt x="498" y="488"/>
                  </a:lnTo>
                  <a:lnTo>
                    <a:pt x="475" y="489"/>
                  </a:lnTo>
                  <a:lnTo>
                    <a:pt x="462" y="488"/>
                  </a:lnTo>
                  <a:lnTo>
                    <a:pt x="450" y="504"/>
                  </a:lnTo>
                  <a:lnTo>
                    <a:pt x="445" y="506"/>
                  </a:lnTo>
                  <a:lnTo>
                    <a:pt x="432" y="502"/>
                  </a:lnTo>
                  <a:lnTo>
                    <a:pt x="415" y="504"/>
                  </a:lnTo>
                  <a:lnTo>
                    <a:pt x="408" y="503"/>
                  </a:lnTo>
                  <a:lnTo>
                    <a:pt x="403" y="502"/>
                  </a:lnTo>
                  <a:lnTo>
                    <a:pt x="397" y="499"/>
                  </a:lnTo>
                  <a:lnTo>
                    <a:pt x="390" y="494"/>
                  </a:lnTo>
                  <a:lnTo>
                    <a:pt x="399" y="465"/>
                  </a:lnTo>
                  <a:lnTo>
                    <a:pt x="398" y="450"/>
                  </a:lnTo>
                  <a:lnTo>
                    <a:pt x="397" y="449"/>
                  </a:lnTo>
                  <a:lnTo>
                    <a:pt x="395" y="448"/>
                  </a:lnTo>
                  <a:lnTo>
                    <a:pt x="384" y="450"/>
                  </a:lnTo>
                  <a:lnTo>
                    <a:pt x="381" y="448"/>
                  </a:lnTo>
                  <a:lnTo>
                    <a:pt x="378" y="446"/>
                  </a:lnTo>
                  <a:lnTo>
                    <a:pt x="371" y="421"/>
                  </a:lnTo>
                  <a:lnTo>
                    <a:pt x="369" y="408"/>
                  </a:lnTo>
                  <a:lnTo>
                    <a:pt x="368" y="405"/>
                  </a:lnTo>
                  <a:lnTo>
                    <a:pt x="363" y="404"/>
                  </a:lnTo>
                  <a:lnTo>
                    <a:pt x="350" y="421"/>
                  </a:lnTo>
                  <a:lnTo>
                    <a:pt x="343" y="422"/>
                  </a:lnTo>
                  <a:lnTo>
                    <a:pt x="340" y="421"/>
                  </a:lnTo>
                  <a:lnTo>
                    <a:pt x="338" y="419"/>
                  </a:lnTo>
                  <a:lnTo>
                    <a:pt x="336" y="405"/>
                  </a:lnTo>
                  <a:lnTo>
                    <a:pt x="333" y="398"/>
                  </a:lnTo>
                  <a:lnTo>
                    <a:pt x="325" y="400"/>
                  </a:lnTo>
                  <a:lnTo>
                    <a:pt x="305" y="408"/>
                  </a:lnTo>
                  <a:lnTo>
                    <a:pt x="296" y="410"/>
                  </a:lnTo>
                  <a:lnTo>
                    <a:pt x="292" y="409"/>
                  </a:lnTo>
                  <a:lnTo>
                    <a:pt x="287" y="405"/>
                  </a:lnTo>
                  <a:lnTo>
                    <a:pt x="280" y="399"/>
                  </a:lnTo>
                  <a:lnTo>
                    <a:pt x="275" y="393"/>
                  </a:lnTo>
                  <a:lnTo>
                    <a:pt x="273" y="392"/>
                  </a:lnTo>
                  <a:lnTo>
                    <a:pt x="263" y="393"/>
                  </a:lnTo>
                  <a:lnTo>
                    <a:pt x="243" y="399"/>
                  </a:lnTo>
                  <a:lnTo>
                    <a:pt x="233" y="397"/>
                  </a:lnTo>
                  <a:lnTo>
                    <a:pt x="215" y="391"/>
                  </a:lnTo>
                  <a:lnTo>
                    <a:pt x="200" y="380"/>
                  </a:lnTo>
                  <a:lnTo>
                    <a:pt x="194" y="374"/>
                  </a:lnTo>
                  <a:lnTo>
                    <a:pt x="192" y="370"/>
                  </a:lnTo>
                  <a:lnTo>
                    <a:pt x="193" y="366"/>
                  </a:lnTo>
                  <a:lnTo>
                    <a:pt x="200" y="356"/>
                  </a:lnTo>
                  <a:lnTo>
                    <a:pt x="201" y="351"/>
                  </a:lnTo>
                  <a:lnTo>
                    <a:pt x="198" y="348"/>
                  </a:lnTo>
                  <a:lnTo>
                    <a:pt x="186" y="343"/>
                  </a:lnTo>
                  <a:lnTo>
                    <a:pt x="182" y="339"/>
                  </a:lnTo>
                  <a:lnTo>
                    <a:pt x="179" y="330"/>
                  </a:lnTo>
                  <a:lnTo>
                    <a:pt x="175" y="309"/>
                  </a:lnTo>
                  <a:lnTo>
                    <a:pt x="173" y="306"/>
                  </a:lnTo>
                  <a:lnTo>
                    <a:pt x="167" y="303"/>
                  </a:lnTo>
                  <a:lnTo>
                    <a:pt x="165" y="296"/>
                  </a:lnTo>
                  <a:lnTo>
                    <a:pt x="164" y="293"/>
                  </a:lnTo>
                  <a:lnTo>
                    <a:pt x="157" y="290"/>
                  </a:lnTo>
                  <a:lnTo>
                    <a:pt x="147" y="290"/>
                  </a:lnTo>
                  <a:lnTo>
                    <a:pt x="136" y="291"/>
                  </a:lnTo>
                  <a:lnTo>
                    <a:pt x="125" y="294"/>
                  </a:lnTo>
                  <a:lnTo>
                    <a:pt x="119" y="294"/>
                  </a:lnTo>
                  <a:lnTo>
                    <a:pt x="90" y="282"/>
                  </a:lnTo>
                  <a:lnTo>
                    <a:pt x="64" y="275"/>
                  </a:lnTo>
                  <a:lnTo>
                    <a:pt x="63" y="274"/>
                  </a:lnTo>
                  <a:lnTo>
                    <a:pt x="69" y="266"/>
                  </a:lnTo>
                  <a:lnTo>
                    <a:pt x="69" y="265"/>
                  </a:lnTo>
                  <a:lnTo>
                    <a:pt x="41" y="241"/>
                  </a:lnTo>
                  <a:lnTo>
                    <a:pt x="21" y="217"/>
                  </a:lnTo>
                  <a:lnTo>
                    <a:pt x="13" y="216"/>
                  </a:lnTo>
                  <a:lnTo>
                    <a:pt x="13" y="216"/>
                  </a:lnTo>
                  <a:lnTo>
                    <a:pt x="10" y="215"/>
                  </a:lnTo>
                  <a:lnTo>
                    <a:pt x="8" y="213"/>
                  </a:lnTo>
                  <a:lnTo>
                    <a:pt x="0" y="187"/>
                  </a:lnTo>
                  <a:lnTo>
                    <a:pt x="3" y="186"/>
                  </a:lnTo>
                  <a:lnTo>
                    <a:pt x="10" y="184"/>
                  </a:lnTo>
                  <a:lnTo>
                    <a:pt x="19" y="150"/>
                  </a:lnTo>
                  <a:lnTo>
                    <a:pt x="22" y="144"/>
                  </a:lnTo>
                  <a:lnTo>
                    <a:pt x="64" y="130"/>
                  </a:lnTo>
                  <a:lnTo>
                    <a:pt x="79" y="128"/>
                  </a:lnTo>
                  <a:lnTo>
                    <a:pt x="107" y="126"/>
                  </a:lnTo>
                  <a:lnTo>
                    <a:pt x="111" y="124"/>
                  </a:lnTo>
                  <a:lnTo>
                    <a:pt x="119" y="111"/>
                  </a:lnTo>
                  <a:lnTo>
                    <a:pt x="123" y="109"/>
                  </a:lnTo>
                  <a:lnTo>
                    <a:pt x="144" y="123"/>
                  </a:lnTo>
                  <a:lnTo>
                    <a:pt x="160" y="135"/>
                  </a:lnTo>
                  <a:lnTo>
                    <a:pt x="164" y="141"/>
                  </a:lnTo>
                  <a:lnTo>
                    <a:pt x="170" y="152"/>
                  </a:lnTo>
                  <a:lnTo>
                    <a:pt x="192" y="181"/>
                  </a:lnTo>
                  <a:lnTo>
                    <a:pt x="198" y="192"/>
                  </a:lnTo>
                  <a:lnTo>
                    <a:pt x="201" y="200"/>
                  </a:lnTo>
                  <a:lnTo>
                    <a:pt x="201" y="208"/>
                  </a:lnTo>
                  <a:lnTo>
                    <a:pt x="198" y="218"/>
                  </a:lnTo>
                  <a:lnTo>
                    <a:pt x="199" y="224"/>
                  </a:lnTo>
                  <a:lnTo>
                    <a:pt x="200" y="226"/>
                  </a:lnTo>
                  <a:lnTo>
                    <a:pt x="203" y="229"/>
                  </a:lnTo>
                  <a:lnTo>
                    <a:pt x="218" y="230"/>
                  </a:lnTo>
                  <a:lnTo>
                    <a:pt x="220" y="247"/>
                  </a:lnTo>
                  <a:lnTo>
                    <a:pt x="224" y="262"/>
                  </a:lnTo>
                  <a:lnTo>
                    <a:pt x="228" y="270"/>
                  </a:lnTo>
                  <a:lnTo>
                    <a:pt x="233" y="274"/>
                  </a:lnTo>
                  <a:lnTo>
                    <a:pt x="237" y="275"/>
                  </a:lnTo>
                  <a:lnTo>
                    <a:pt x="242" y="274"/>
                  </a:lnTo>
                  <a:lnTo>
                    <a:pt x="247" y="270"/>
                  </a:lnTo>
                  <a:lnTo>
                    <a:pt x="250" y="262"/>
                  </a:lnTo>
                  <a:lnTo>
                    <a:pt x="254" y="242"/>
                  </a:lnTo>
                  <a:lnTo>
                    <a:pt x="257" y="234"/>
                  </a:lnTo>
                  <a:lnTo>
                    <a:pt x="260" y="231"/>
                  </a:lnTo>
                  <a:lnTo>
                    <a:pt x="271" y="225"/>
                  </a:lnTo>
                  <a:lnTo>
                    <a:pt x="275" y="226"/>
                  </a:lnTo>
                  <a:lnTo>
                    <a:pt x="282" y="230"/>
                  </a:lnTo>
                  <a:lnTo>
                    <a:pt x="294" y="244"/>
                  </a:lnTo>
                  <a:lnTo>
                    <a:pt x="306" y="253"/>
                  </a:lnTo>
                  <a:lnTo>
                    <a:pt x="314" y="255"/>
                  </a:lnTo>
                  <a:lnTo>
                    <a:pt x="325" y="257"/>
                  </a:lnTo>
                  <a:lnTo>
                    <a:pt x="330" y="257"/>
                  </a:lnTo>
                  <a:lnTo>
                    <a:pt x="340" y="253"/>
                  </a:lnTo>
                  <a:lnTo>
                    <a:pt x="369" y="234"/>
                  </a:lnTo>
                  <a:lnTo>
                    <a:pt x="373" y="235"/>
                  </a:lnTo>
                  <a:lnTo>
                    <a:pt x="387" y="240"/>
                  </a:lnTo>
                  <a:lnTo>
                    <a:pt x="392" y="240"/>
                  </a:lnTo>
                  <a:lnTo>
                    <a:pt x="397" y="239"/>
                  </a:lnTo>
                  <a:lnTo>
                    <a:pt x="400" y="235"/>
                  </a:lnTo>
                  <a:lnTo>
                    <a:pt x="402" y="228"/>
                  </a:lnTo>
                  <a:lnTo>
                    <a:pt x="400" y="198"/>
                  </a:lnTo>
                  <a:lnTo>
                    <a:pt x="401" y="192"/>
                  </a:lnTo>
                  <a:lnTo>
                    <a:pt x="421" y="186"/>
                  </a:lnTo>
                  <a:lnTo>
                    <a:pt x="433" y="183"/>
                  </a:lnTo>
                  <a:lnTo>
                    <a:pt x="440" y="182"/>
                  </a:lnTo>
                  <a:lnTo>
                    <a:pt x="472" y="188"/>
                  </a:lnTo>
                  <a:lnTo>
                    <a:pt x="476" y="190"/>
                  </a:lnTo>
                  <a:lnTo>
                    <a:pt x="477" y="194"/>
                  </a:lnTo>
                  <a:lnTo>
                    <a:pt x="476" y="208"/>
                  </a:lnTo>
                  <a:lnTo>
                    <a:pt x="477" y="215"/>
                  </a:lnTo>
                  <a:lnTo>
                    <a:pt x="480" y="217"/>
                  </a:lnTo>
                  <a:lnTo>
                    <a:pt x="495" y="224"/>
                  </a:lnTo>
                  <a:lnTo>
                    <a:pt x="495" y="228"/>
                  </a:lnTo>
                  <a:lnTo>
                    <a:pt x="494" y="238"/>
                  </a:lnTo>
                  <a:lnTo>
                    <a:pt x="500" y="251"/>
                  </a:lnTo>
                  <a:lnTo>
                    <a:pt x="502" y="267"/>
                  </a:lnTo>
                  <a:lnTo>
                    <a:pt x="505" y="271"/>
                  </a:lnTo>
                  <a:lnTo>
                    <a:pt x="509" y="271"/>
                  </a:lnTo>
                  <a:lnTo>
                    <a:pt x="514" y="270"/>
                  </a:lnTo>
                  <a:lnTo>
                    <a:pt x="526" y="261"/>
                  </a:lnTo>
                  <a:lnTo>
                    <a:pt x="541" y="258"/>
                  </a:lnTo>
                  <a:lnTo>
                    <a:pt x="554" y="258"/>
                  </a:lnTo>
                  <a:lnTo>
                    <a:pt x="558" y="257"/>
                  </a:lnTo>
                  <a:lnTo>
                    <a:pt x="561" y="254"/>
                  </a:lnTo>
                  <a:lnTo>
                    <a:pt x="564" y="239"/>
                  </a:lnTo>
                  <a:lnTo>
                    <a:pt x="569" y="223"/>
                  </a:lnTo>
                  <a:lnTo>
                    <a:pt x="569" y="196"/>
                  </a:lnTo>
                  <a:lnTo>
                    <a:pt x="571" y="193"/>
                  </a:lnTo>
                  <a:lnTo>
                    <a:pt x="579" y="186"/>
                  </a:lnTo>
                  <a:lnTo>
                    <a:pt x="580" y="181"/>
                  </a:lnTo>
                  <a:lnTo>
                    <a:pt x="580" y="177"/>
                  </a:lnTo>
                  <a:lnTo>
                    <a:pt x="575" y="164"/>
                  </a:lnTo>
                  <a:lnTo>
                    <a:pt x="575" y="162"/>
                  </a:lnTo>
                  <a:lnTo>
                    <a:pt x="576" y="160"/>
                  </a:lnTo>
                  <a:lnTo>
                    <a:pt x="579" y="159"/>
                  </a:lnTo>
                  <a:lnTo>
                    <a:pt x="589" y="163"/>
                  </a:lnTo>
                  <a:lnTo>
                    <a:pt x="593" y="163"/>
                  </a:lnTo>
                  <a:lnTo>
                    <a:pt x="595" y="161"/>
                  </a:lnTo>
                  <a:lnTo>
                    <a:pt x="598" y="153"/>
                  </a:lnTo>
                  <a:lnTo>
                    <a:pt x="600" y="151"/>
                  </a:lnTo>
                  <a:lnTo>
                    <a:pt x="608" y="159"/>
                  </a:lnTo>
                  <a:lnTo>
                    <a:pt x="622" y="159"/>
                  </a:lnTo>
                  <a:lnTo>
                    <a:pt x="641" y="152"/>
                  </a:lnTo>
                  <a:lnTo>
                    <a:pt x="647" y="149"/>
                  </a:lnTo>
                  <a:lnTo>
                    <a:pt x="649" y="147"/>
                  </a:lnTo>
                  <a:lnTo>
                    <a:pt x="649" y="144"/>
                  </a:lnTo>
                  <a:lnTo>
                    <a:pt x="634" y="142"/>
                  </a:lnTo>
                  <a:lnTo>
                    <a:pt x="633" y="140"/>
                  </a:lnTo>
                  <a:lnTo>
                    <a:pt x="633" y="138"/>
                  </a:lnTo>
                  <a:lnTo>
                    <a:pt x="636" y="129"/>
                  </a:lnTo>
                  <a:lnTo>
                    <a:pt x="644" y="122"/>
                  </a:lnTo>
                  <a:lnTo>
                    <a:pt x="647" y="117"/>
                  </a:lnTo>
                  <a:lnTo>
                    <a:pt x="650" y="107"/>
                  </a:lnTo>
                  <a:lnTo>
                    <a:pt x="659" y="85"/>
                  </a:lnTo>
                  <a:lnTo>
                    <a:pt x="662" y="73"/>
                  </a:lnTo>
                  <a:lnTo>
                    <a:pt x="662" y="52"/>
                  </a:lnTo>
                  <a:lnTo>
                    <a:pt x="664" y="46"/>
                  </a:lnTo>
                  <a:lnTo>
                    <a:pt x="677" y="38"/>
                  </a:lnTo>
                  <a:lnTo>
                    <a:pt x="721" y="35"/>
                  </a:lnTo>
                  <a:lnTo>
                    <a:pt x="728" y="33"/>
                  </a:lnTo>
                  <a:lnTo>
                    <a:pt x="733" y="28"/>
                  </a:lnTo>
                  <a:lnTo>
                    <a:pt x="739" y="19"/>
                  </a:lnTo>
                  <a:lnTo>
                    <a:pt x="742" y="18"/>
                  </a:lnTo>
                  <a:lnTo>
                    <a:pt x="752" y="16"/>
                  </a:lnTo>
                  <a:lnTo>
                    <a:pt x="758" y="13"/>
                  </a:lnTo>
                  <a:lnTo>
                    <a:pt x="769" y="0"/>
                  </a:lnTo>
                  <a:lnTo>
                    <a:pt x="773" y="1"/>
                  </a:lnTo>
                  <a:lnTo>
                    <a:pt x="776" y="3"/>
                  </a:lnTo>
                  <a:lnTo>
                    <a:pt x="781" y="10"/>
                  </a:lnTo>
                  <a:lnTo>
                    <a:pt x="781" y="10"/>
                  </a:lnTo>
                  <a:lnTo>
                    <a:pt x="781" y="10"/>
                  </a:lnTo>
                  <a:lnTo>
                    <a:pt x="781" y="1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0" name="安徽">
              <a:extLst>
                <a:ext uri="{FF2B5EF4-FFF2-40B4-BE49-F238E27FC236}">
                  <a16:creationId xmlns:a16="http://schemas.microsoft.com/office/drawing/2014/main" id="{5B63B113-DE2C-8FC0-B684-75FD988EAD6C}"/>
                </a:ext>
              </a:extLst>
            </p:cNvPr>
            <p:cNvSpPr>
              <a:spLocks/>
            </p:cNvSpPr>
            <p:nvPr/>
          </p:nvSpPr>
          <p:spPr bwMode="auto">
            <a:xfrm>
              <a:off x="7077075" y="3675064"/>
              <a:ext cx="725488" cy="917575"/>
            </a:xfrm>
            <a:custGeom>
              <a:avLst/>
              <a:gdLst>
                <a:gd name="T0" fmla="*/ 336 w 1372"/>
                <a:gd name="T1" fmla="*/ 1476 h 1734"/>
                <a:gd name="T2" fmla="*/ 314 w 1372"/>
                <a:gd name="T3" fmla="*/ 1379 h 1734"/>
                <a:gd name="T4" fmla="*/ 309 w 1372"/>
                <a:gd name="T5" fmla="*/ 1291 h 1734"/>
                <a:gd name="T6" fmla="*/ 335 w 1372"/>
                <a:gd name="T7" fmla="*/ 1228 h 1734"/>
                <a:gd name="T8" fmla="*/ 255 w 1372"/>
                <a:gd name="T9" fmla="*/ 1180 h 1734"/>
                <a:gd name="T10" fmla="*/ 161 w 1372"/>
                <a:gd name="T11" fmla="*/ 1128 h 1734"/>
                <a:gd name="T12" fmla="*/ 205 w 1372"/>
                <a:gd name="T13" fmla="*/ 1018 h 1734"/>
                <a:gd name="T14" fmla="*/ 301 w 1372"/>
                <a:gd name="T15" fmla="*/ 854 h 1734"/>
                <a:gd name="T16" fmla="*/ 266 w 1372"/>
                <a:gd name="T17" fmla="*/ 742 h 1734"/>
                <a:gd name="T18" fmla="*/ 203 w 1372"/>
                <a:gd name="T19" fmla="*/ 770 h 1734"/>
                <a:gd name="T20" fmla="*/ 118 w 1372"/>
                <a:gd name="T21" fmla="*/ 737 h 1734"/>
                <a:gd name="T22" fmla="*/ 34 w 1372"/>
                <a:gd name="T23" fmla="*/ 610 h 1734"/>
                <a:gd name="T24" fmla="*/ 17 w 1372"/>
                <a:gd name="T25" fmla="*/ 540 h 1734"/>
                <a:gd name="T26" fmla="*/ 112 w 1372"/>
                <a:gd name="T27" fmla="*/ 428 h 1734"/>
                <a:gd name="T28" fmla="*/ 174 w 1372"/>
                <a:gd name="T29" fmla="*/ 302 h 1734"/>
                <a:gd name="T30" fmla="*/ 170 w 1372"/>
                <a:gd name="T31" fmla="*/ 240 h 1734"/>
                <a:gd name="T32" fmla="*/ 244 w 1372"/>
                <a:gd name="T33" fmla="*/ 234 h 1734"/>
                <a:gd name="T34" fmla="*/ 338 w 1372"/>
                <a:gd name="T35" fmla="*/ 318 h 1734"/>
                <a:gd name="T36" fmla="*/ 420 w 1372"/>
                <a:gd name="T37" fmla="*/ 266 h 1734"/>
                <a:gd name="T38" fmla="*/ 436 w 1372"/>
                <a:gd name="T39" fmla="*/ 162 h 1734"/>
                <a:gd name="T40" fmla="*/ 378 w 1372"/>
                <a:gd name="T41" fmla="*/ 120 h 1734"/>
                <a:gd name="T42" fmla="*/ 341 w 1372"/>
                <a:gd name="T43" fmla="*/ 37 h 1734"/>
                <a:gd name="T44" fmla="*/ 435 w 1372"/>
                <a:gd name="T45" fmla="*/ 50 h 1734"/>
                <a:gd name="T46" fmla="*/ 539 w 1372"/>
                <a:gd name="T47" fmla="*/ 90 h 1734"/>
                <a:gd name="T48" fmla="*/ 581 w 1372"/>
                <a:gd name="T49" fmla="*/ 175 h 1734"/>
                <a:gd name="T50" fmla="*/ 699 w 1372"/>
                <a:gd name="T51" fmla="*/ 182 h 1734"/>
                <a:gd name="T52" fmla="*/ 750 w 1372"/>
                <a:gd name="T53" fmla="*/ 234 h 1734"/>
                <a:gd name="T54" fmla="*/ 816 w 1372"/>
                <a:gd name="T55" fmla="*/ 288 h 1734"/>
                <a:gd name="T56" fmla="*/ 872 w 1372"/>
                <a:gd name="T57" fmla="*/ 355 h 1734"/>
                <a:gd name="T58" fmla="*/ 835 w 1372"/>
                <a:gd name="T59" fmla="*/ 453 h 1734"/>
                <a:gd name="T60" fmla="*/ 906 w 1372"/>
                <a:gd name="T61" fmla="*/ 461 h 1734"/>
                <a:gd name="T62" fmla="*/ 932 w 1372"/>
                <a:gd name="T63" fmla="*/ 572 h 1734"/>
                <a:gd name="T64" fmla="*/ 976 w 1372"/>
                <a:gd name="T65" fmla="*/ 614 h 1734"/>
                <a:gd name="T66" fmla="*/ 1071 w 1372"/>
                <a:gd name="T67" fmla="*/ 574 h 1734"/>
                <a:gd name="T68" fmla="*/ 1133 w 1372"/>
                <a:gd name="T69" fmla="*/ 521 h 1734"/>
                <a:gd name="T70" fmla="*/ 1202 w 1372"/>
                <a:gd name="T71" fmla="*/ 642 h 1734"/>
                <a:gd name="T72" fmla="*/ 1143 w 1372"/>
                <a:gd name="T73" fmla="*/ 671 h 1734"/>
                <a:gd name="T74" fmla="*/ 1026 w 1372"/>
                <a:gd name="T75" fmla="*/ 657 h 1734"/>
                <a:gd name="T76" fmla="*/ 1059 w 1372"/>
                <a:gd name="T77" fmla="*/ 754 h 1734"/>
                <a:gd name="T78" fmla="*/ 988 w 1372"/>
                <a:gd name="T79" fmla="*/ 879 h 1734"/>
                <a:gd name="T80" fmla="*/ 1080 w 1372"/>
                <a:gd name="T81" fmla="*/ 943 h 1734"/>
                <a:gd name="T82" fmla="*/ 1116 w 1372"/>
                <a:gd name="T83" fmla="*/ 968 h 1734"/>
                <a:gd name="T84" fmla="*/ 1115 w 1372"/>
                <a:gd name="T85" fmla="*/ 1070 h 1734"/>
                <a:gd name="T86" fmla="*/ 1167 w 1372"/>
                <a:gd name="T87" fmla="*/ 1099 h 1734"/>
                <a:gd name="T88" fmla="*/ 1257 w 1372"/>
                <a:gd name="T89" fmla="*/ 1085 h 1734"/>
                <a:gd name="T90" fmla="*/ 1321 w 1372"/>
                <a:gd name="T91" fmla="*/ 1112 h 1734"/>
                <a:gd name="T92" fmla="*/ 1343 w 1372"/>
                <a:gd name="T93" fmla="*/ 1245 h 1734"/>
                <a:gd name="T94" fmla="*/ 1276 w 1372"/>
                <a:gd name="T95" fmla="*/ 1297 h 1734"/>
                <a:gd name="T96" fmla="*/ 1318 w 1372"/>
                <a:gd name="T97" fmla="*/ 1364 h 1734"/>
                <a:gd name="T98" fmla="*/ 1267 w 1372"/>
                <a:gd name="T99" fmla="*/ 1410 h 1734"/>
                <a:gd name="T100" fmla="*/ 1188 w 1372"/>
                <a:gd name="T101" fmla="*/ 1449 h 1734"/>
                <a:gd name="T102" fmla="*/ 1185 w 1372"/>
                <a:gd name="T103" fmla="*/ 1536 h 1734"/>
                <a:gd name="T104" fmla="*/ 1134 w 1372"/>
                <a:gd name="T105" fmla="*/ 1640 h 1734"/>
                <a:gd name="T106" fmla="*/ 1017 w 1372"/>
                <a:gd name="T107" fmla="*/ 1734 h 1734"/>
                <a:gd name="T108" fmla="*/ 913 w 1372"/>
                <a:gd name="T109" fmla="*/ 1693 h 1734"/>
                <a:gd name="T110" fmla="*/ 811 w 1372"/>
                <a:gd name="T111" fmla="*/ 1671 h 1734"/>
                <a:gd name="T112" fmla="*/ 750 w 1372"/>
                <a:gd name="T113" fmla="*/ 1608 h 1734"/>
                <a:gd name="T114" fmla="*/ 692 w 1372"/>
                <a:gd name="T115" fmla="*/ 1605 h 1734"/>
                <a:gd name="T116" fmla="*/ 623 w 1372"/>
                <a:gd name="T117" fmla="*/ 1701 h 1734"/>
                <a:gd name="T118" fmla="*/ 558 w 1372"/>
                <a:gd name="T119" fmla="*/ 1689 h 1734"/>
                <a:gd name="T120" fmla="*/ 613 w 1372"/>
                <a:gd name="T121" fmla="*/ 1597 h 1734"/>
                <a:gd name="T122" fmla="*/ 576 w 1372"/>
                <a:gd name="T123" fmla="*/ 1549 h 1734"/>
                <a:gd name="T124" fmla="*/ 460 w 1372"/>
                <a:gd name="T125" fmla="*/ 1638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2" h="1734">
                  <a:moveTo>
                    <a:pt x="411" y="1635"/>
                  </a:moveTo>
                  <a:lnTo>
                    <a:pt x="406" y="1625"/>
                  </a:lnTo>
                  <a:lnTo>
                    <a:pt x="393" y="1591"/>
                  </a:lnTo>
                  <a:lnTo>
                    <a:pt x="391" y="1579"/>
                  </a:lnTo>
                  <a:lnTo>
                    <a:pt x="387" y="1543"/>
                  </a:lnTo>
                  <a:lnTo>
                    <a:pt x="378" y="1524"/>
                  </a:lnTo>
                  <a:lnTo>
                    <a:pt x="371" y="1503"/>
                  </a:lnTo>
                  <a:lnTo>
                    <a:pt x="366" y="1494"/>
                  </a:lnTo>
                  <a:lnTo>
                    <a:pt x="361" y="1490"/>
                  </a:lnTo>
                  <a:lnTo>
                    <a:pt x="351" y="1485"/>
                  </a:lnTo>
                  <a:lnTo>
                    <a:pt x="338" y="1479"/>
                  </a:lnTo>
                  <a:lnTo>
                    <a:pt x="336" y="1476"/>
                  </a:lnTo>
                  <a:lnTo>
                    <a:pt x="335" y="1470"/>
                  </a:lnTo>
                  <a:lnTo>
                    <a:pt x="329" y="1455"/>
                  </a:lnTo>
                  <a:lnTo>
                    <a:pt x="332" y="1450"/>
                  </a:lnTo>
                  <a:lnTo>
                    <a:pt x="340" y="1439"/>
                  </a:lnTo>
                  <a:lnTo>
                    <a:pt x="341" y="1436"/>
                  </a:lnTo>
                  <a:lnTo>
                    <a:pt x="340" y="1433"/>
                  </a:lnTo>
                  <a:lnTo>
                    <a:pt x="332" y="1423"/>
                  </a:lnTo>
                  <a:lnTo>
                    <a:pt x="329" y="1418"/>
                  </a:lnTo>
                  <a:lnTo>
                    <a:pt x="328" y="1408"/>
                  </a:lnTo>
                  <a:lnTo>
                    <a:pt x="325" y="1386"/>
                  </a:lnTo>
                  <a:lnTo>
                    <a:pt x="322" y="1382"/>
                  </a:lnTo>
                  <a:lnTo>
                    <a:pt x="314" y="1379"/>
                  </a:lnTo>
                  <a:lnTo>
                    <a:pt x="310" y="1377"/>
                  </a:lnTo>
                  <a:lnTo>
                    <a:pt x="305" y="1367"/>
                  </a:lnTo>
                  <a:lnTo>
                    <a:pt x="296" y="1359"/>
                  </a:lnTo>
                  <a:lnTo>
                    <a:pt x="291" y="1350"/>
                  </a:lnTo>
                  <a:lnTo>
                    <a:pt x="288" y="1337"/>
                  </a:lnTo>
                  <a:lnTo>
                    <a:pt x="288" y="1330"/>
                  </a:lnTo>
                  <a:lnTo>
                    <a:pt x="294" y="1321"/>
                  </a:lnTo>
                  <a:lnTo>
                    <a:pt x="311" y="1315"/>
                  </a:lnTo>
                  <a:lnTo>
                    <a:pt x="311" y="1312"/>
                  </a:lnTo>
                  <a:lnTo>
                    <a:pt x="309" y="1305"/>
                  </a:lnTo>
                  <a:lnTo>
                    <a:pt x="307" y="1299"/>
                  </a:lnTo>
                  <a:lnTo>
                    <a:pt x="309" y="1291"/>
                  </a:lnTo>
                  <a:lnTo>
                    <a:pt x="311" y="1286"/>
                  </a:lnTo>
                  <a:lnTo>
                    <a:pt x="315" y="1283"/>
                  </a:lnTo>
                  <a:lnTo>
                    <a:pt x="324" y="1280"/>
                  </a:lnTo>
                  <a:lnTo>
                    <a:pt x="330" y="1278"/>
                  </a:lnTo>
                  <a:lnTo>
                    <a:pt x="349" y="1264"/>
                  </a:lnTo>
                  <a:lnTo>
                    <a:pt x="369" y="1258"/>
                  </a:lnTo>
                  <a:lnTo>
                    <a:pt x="372" y="1254"/>
                  </a:lnTo>
                  <a:lnTo>
                    <a:pt x="372" y="1248"/>
                  </a:lnTo>
                  <a:lnTo>
                    <a:pt x="369" y="1244"/>
                  </a:lnTo>
                  <a:lnTo>
                    <a:pt x="365" y="1241"/>
                  </a:lnTo>
                  <a:lnTo>
                    <a:pt x="342" y="1231"/>
                  </a:lnTo>
                  <a:lnTo>
                    <a:pt x="335" y="1228"/>
                  </a:lnTo>
                  <a:lnTo>
                    <a:pt x="328" y="1220"/>
                  </a:lnTo>
                  <a:lnTo>
                    <a:pt x="319" y="1212"/>
                  </a:lnTo>
                  <a:lnTo>
                    <a:pt x="315" y="1207"/>
                  </a:lnTo>
                  <a:lnTo>
                    <a:pt x="311" y="1200"/>
                  </a:lnTo>
                  <a:lnTo>
                    <a:pt x="307" y="1198"/>
                  </a:lnTo>
                  <a:lnTo>
                    <a:pt x="300" y="1196"/>
                  </a:lnTo>
                  <a:lnTo>
                    <a:pt x="286" y="1205"/>
                  </a:lnTo>
                  <a:lnTo>
                    <a:pt x="283" y="1206"/>
                  </a:lnTo>
                  <a:lnTo>
                    <a:pt x="279" y="1205"/>
                  </a:lnTo>
                  <a:lnTo>
                    <a:pt x="275" y="1203"/>
                  </a:lnTo>
                  <a:lnTo>
                    <a:pt x="260" y="1184"/>
                  </a:lnTo>
                  <a:lnTo>
                    <a:pt x="255" y="1180"/>
                  </a:lnTo>
                  <a:lnTo>
                    <a:pt x="249" y="1177"/>
                  </a:lnTo>
                  <a:lnTo>
                    <a:pt x="242" y="1181"/>
                  </a:lnTo>
                  <a:lnTo>
                    <a:pt x="226" y="1193"/>
                  </a:lnTo>
                  <a:lnTo>
                    <a:pt x="222" y="1195"/>
                  </a:lnTo>
                  <a:lnTo>
                    <a:pt x="219" y="1195"/>
                  </a:lnTo>
                  <a:lnTo>
                    <a:pt x="214" y="1191"/>
                  </a:lnTo>
                  <a:lnTo>
                    <a:pt x="210" y="1186"/>
                  </a:lnTo>
                  <a:lnTo>
                    <a:pt x="190" y="1144"/>
                  </a:lnTo>
                  <a:lnTo>
                    <a:pt x="181" y="1137"/>
                  </a:lnTo>
                  <a:lnTo>
                    <a:pt x="169" y="1135"/>
                  </a:lnTo>
                  <a:lnTo>
                    <a:pt x="163" y="1133"/>
                  </a:lnTo>
                  <a:lnTo>
                    <a:pt x="161" y="1128"/>
                  </a:lnTo>
                  <a:lnTo>
                    <a:pt x="159" y="1117"/>
                  </a:lnTo>
                  <a:lnTo>
                    <a:pt x="159" y="1117"/>
                  </a:lnTo>
                  <a:lnTo>
                    <a:pt x="161" y="1114"/>
                  </a:lnTo>
                  <a:lnTo>
                    <a:pt x="162" y="1109"/>
                  </a:lnTo>
                  <a:lnTo>
                    <a:pt x="162" y="1094"/>
                  </a:lnTo>
                  <a:lnTo>
                    <a:pt x="165" y="1087"/>
                  </a:lnTo>
                  <a:lnTo>
                    <a:pt x="177" y="1068"/>
                  </a:lnTo>
                  <a:lnTo>
                    <a:pt x="181" y="1054"/>
                  </a:lnTo>
                  <a:lnTo>
                    <a:pt x="189" y="1047"/>
                  </a:lnTo>
                  <a:lnTo>
                    <a:pt x="191" y="1032"/>
                  </a:lnTo>
                  <a:lnTo>
                    <a:pt x="198" y="1023"/>
                  </a:lnTo>
                  <a:lnTo>
                    <a:pt x="205" y="1018"/>
                  </a:lnTo>
                  <a:lnTo>
                    <a:pt x="215" y="1011"/>
                  </a:lnTo>
                  <a:lnTo>
                    <a:pt x="264" y="983"/>
                  </a:lnTo>
                  <a:lnTo>
                    <a:pt x="297" y="976"/>
                  </a:lnTo>
                  <a:lnTo>
                    <a:pt x="304" y="974"/>
                  </a:lnTo>
                  <a:lnTo>
                    <a:pt x="305" y="973"/>
                  </a:lnTo>
                  <a:lnTo>
                    <a:pt x="301" y="961"/>
                  </a:lnTo>
                  <a:lnTo>
                    <a:pt x="299" y="955"/>
                  </a:lnTo>
                  <a:lnTo>
                    <a:pt x="301" y="949"/>
                  </a:lnTo>
                  <a:lnTo>
                    <a:pt x="304" y="939"/>
                  </a:lnTo>
                  <a:lnTo>
                    <a:pt x="305" y="934"/>
                  </a:lnTo>
                  <a:lnTo>
                    <a:pt x="305" y="889"/>
                  </a:lnTo>
                  <a:lnTo>
                    <a:pt x="301" y="854"/>
                  </a:lnTo>
                  <a:lnTo>
                    <a:pt x="298" y="835"/>
                  </a:lnTo>
                  <a:lnTo>
                    <a:pt x="284" y="773"/>
                  </a:lnTo>
                  <a:lnTo>
                    <a:pt x="274" y="759"/>
                  </a:lnTo>
                  <a:lnTo>
                    <a:pt x="277" y="749"/>
                  </a:lnTo>
                  <a:lnTo>
                    <a:pt x="289" y="725"/>
                  </a:lnTo>
                  <a:lnTo>
                    <a:pt x="292" y="718"/>
                  </a:lnTo>
                  <a:lnTo>
                    <a:pt x="292" y="713"/>
                  </a:lnTo>
                  <a:lnTo>
                    <a:pt x="291" y="710"/>
                  </a:lnTo>
                  <a:lnTo>
                    <a:pt x="286" y="710"/>
                  </a:lnTo>
                  <a:lnTo>
                    <a:pt x="281" y="714"/>
                  </a:lnTo>
                  <a:lnTo>
                    <a:pt x="271" y="735"/>
                  </a:lnTo>
                  <a:lnTo>
                    <a:pt x="266" y="742"/>
                  </a:lnTo>
                  <a:lnTo>
                    <a:pt x="263" y="746"/>
                  </a:lnTo>
                  <a:lnTo>
                    <a:pt x="257" y="747"/>
                  </a:lnTo>
                  <a:lnTo>
                    <a:pt x="250" y="749"/>
                  </a:lnTo>
                  <a:lnTo>
                    <a:pt x="232" y="745"/>
                  </a:lnTo>
                  <a:lnTo>
                    <a:pt x="231" y="746"/>
                  </a:lnTo>
                  <a:lnTo>
                    <a:pt x="227" y="753"/>
                  </a:lnTo>
                  <a:lnTo>
                    <a:pt x="225" y="771"/>
                  </a:lnTo>
                  <a:lnTo>
                    <a:pt x="223" y="773"/>
                  </a:lnTo>
                  <a:lnTo>
                    <a:pt x="220" y="774"/>
                  </a:lnTo>
                  <a:lnTo>
                    <a:pt x="213" y="774"/>
                  </a:lnTo>
                  <a:lnTo>
                    <a:pt x="204" y="770"/>
                  </a:lnTo>
                  <a:lnTo>
                    <a:pt x="203" y="770"/>
                  </a:lnTo>
                  <a:lnTo>
                    <a:pt x="197" y="773"/>
                  </a:lnTo>
                  <a:lnTo>
                    <a:pt x="189" y="769"/>
                  </a:lnTo>
                  <a:lnTo>
                    <a:pt x="184" y="762"/>
                  </a:lnTo>
                  <a:lnTo>
                    <a:pt x="175" y="746"/>
                  </a:lnTo>
                  <a:lnTo>
                    <a:pt x="169" y="741"/>
                  </a:lnTo>
                  <a:lnTo>
                    <a:pt x="154" y="733"/>
                  </a:lnTo>
                  <a:lnTo>
                    <a:pt x="149" y="722"/>
                  </a:lnTo>
                  <a:lnTo>
                    <a:pt x="132" y="727"/>
                  </a:lnTo>
                  <a:lnTo>
                    <a:pt x="124" y="738"/>
                  </a:lnTo>
                  <a:lnTo>
                    <a:pt x="122" y="740"/>
                  </a:lnTo>
                  <a:lnTo>
                    <a:pt x="120" y="740"/>
                  </a:lnTo>
                  <a:lnTo>
                    <a:pt x="118" y="737"/>
                  </a:lnTo>
                  <a:lnTo>
                    <a:pt x="117" y="721"/>
                  </a:lnTo>
                  <a:lnTo>
                    <a:pt x="97" y="720"/>
                  </a:lnTo>
                  <a:lnTo>
                    <a:pt x="93" y="718"/>
                  </a:lnTo>
                  <a:lnTo>
                    <a:pt x="90" y="715"/>
                  </a:lnTo>
                  <a:lnTo>
                    <a:pt x="85" y="683"/>
                  </a:lnTo>
                  <a:lnTo>
                    <a:pt x="86" y="669"/>
                  </a:lnTo>
                  <a:lnTo>
                    <a:pt x="88" y="641"/>
                  </a:lnTo>
                  <a:lnTo>
                    <a:pt x="87" y="636"/>
                  </a:lnTo>
                  <a:lnTo>
                    <a:pt x="85" y="633"/>
                  </a:lnTo>
                  <a:lnTo>
                    <a:pt x="68" y="617"/>
                  </a:lnTo>
                  <a:lnTo>
                    <a:pt x="47" y="615"/>
                  </a:lnTo>
                  <a:lnTo>
                    <a:pt x="34" y="610"/>
                  </a:lnTo>
                  <a:lnTo>
                    <a:pt x="14" y="607"/>
                  </a:lnTo>
                  <a:lnTo>
                    <a:pt x="1" y="598"/>
                  </a:lnTo>
                  <a:lnTo>
                    <a:pt x="0" y="593"/>
                  </a:lnTo>
                  <a:lnTo>
                    <a:pt x="0" y="589"/>
                  </a:lnTo>
                  <a:lnTo>
                    <a:pt x="10" y="579"/>
                  </a:lnTo>
                  <a:lnTo>
                    <a:pt x="10" y="577"/>
                  </a:lnTo>
                  <a:lnTo>
                    <a:pt x="9" y="570"/>
                  </a:lnTo>
                  <a:lnTo>
                    <a:pt x="5" y="558"/>
                  </a:lnTo>
                  <a:lnTo>
                    <a:pt x="5" y="551"/>
                  </a:lnTo>
                  <a:lnTo>
                    <a:pt x="7" y="542"/>
                  </a:lnTo>
                  <a:lnTo>
                    <a:pt x="10" y="537"/>
                  </a:lnTo>
                  <a:lnTo>
                    <a:pt x="17" y="540"/>
                  </a:lnTo>
                  <a:lnTo>
                    <a:pt x="28" y="552"/>
                  </a:lnTo>
                  <a:lnTo>
                    <a:pt x="32" y="553"/>
                  </a:lnTo>
                  <a:lnTo>
                    <a:pt x="45" y="556"/>
                  </a:lnTo>
                  <a:lnTo>
                    <a:pt x="61" y="554"/>
                  </a:lnTo>
                  <a:lnTo>
                    <a:pt x="70" y="551"/>
                  </a:lnTo>
                  <a:lnTo>
                    <a:pt x="99" y="533"/>
                  </a:lnTo>
                  <a:lnTo>
                    <a:pt x="104" y="526"/>
                  </a:lnTo>
                  <a:lnTo>
                    <a:pt x="108" y="518"/>
                  </a:lnTo>
                  <a:lnTo>
                    <a:pt x="112" y="507"/>
                  </a:lnTo>
                  <a:lnTo>
                    <a:pt x="114" y="492"/>
                  </a:lnTo>
                  <a:lnTo>
                    <a:pt x="115" y="469"/>
                  </a:lnTo>
                  <a:lnTo>
                    <a:pt x="112" y="428"/>
                  </a:lnTo>
                  <a:lnTo>
                    <a:pt x="112" y="413"/>
                  </a:lnTo>
                  <a:lnTo>
                    <a:pt x="114" y="402"/>
                  </a:lnTo>
                  <a:lnTo>
                    <a:pt x="127" y="405"/>
                  </a:lnTo>
                  <a:lnTo>
                    <a:pt x="140" y="392"/>
                  </a:lnTo>
                  <a:lnTo>
                    <a:pt x="174" y="386"/>
                  </a:lnTo>
                  <a:lnTo>
                    <a:pt x="181" y="384"/>
                  </a:lnTo>
                  <a:lnTo>
                    <a:pt x="190" y="378"/>
                  </a:lnTo>
                  <a:lnTo>
                    <a:pt x="189" y="373"/>
                  </a:lnTo>
                  <a:lnTo>
                    <a:pt x="183" y="355"/>
                  </a:lnTo>
                  <a:lnTo>
                    <a:pt x="179" y="343"/>
                  </a:lnTo>
                  <a:lnTo>
                    <a:pt x="179" y="312"/>
                  </a:lnTo>
                  <a:lnTo>
                    <a:pt x="174" y="302"/>
                  </a:lnTo>
                  <a:lnTo>
                    <a:pt x="173" y="295"/>
                  </a:lnTo>
                  <a:lnTo>
                    <a:pt x="173" y="293"/>
                  </a:lnTo>
                  <a:lnTo>
                    <a:pt x="174" y="292"/>
                  </a:lnTo>
                  <a:lnTo>
                    <a:pt x="183" y="293"/>
                  </a:lnTo>
                  <a:lnTo>
                    <a:pt x="187" y="292"/>
                  </a:lnTo>
                  <a:lnTo>
                    <a:pt x="188" y="291"/>
                  </a:lnTo>
                  <a:lnTo>
                    <a:pt x="188" y="289"/>
                  </a:lnTo>
                  <a:lnTo>
                    <a:pt x="186" y="283"/>
                  </a:lnTo>
                  <a:lnTo>
                    <a:pt x="183" y="277"/>
                  </a:lnTo>
                  <a:lnTo>
                    <a:pt x="171" y="269"/>
                  </a:lnTo>
                  <a:lnTo>
                    <a:pt x="170" y="246"/>
                  </a:lnTo>
                  <a:lnTo>
                    <a:pt x="170" y="240"/>
                  </a:lnTo>
                  <a:lnTo>
                    <a:pt x="173" y="235"/>
                  </a:lnTo>
                  <a:lnTo>
                    <a:pt x="179" y="225"/>
                  </a:lnTo>
                  <a:lnTo>
                    <a:pt x="187" y="220"/>
                  </a:lnTo>
                  <a:lnTo>
                    <a:pt x="193" y="217"/>
                  </a:lnTo>
                  <a:lnTo>
                    <a:pt x="203" y="214"/>
                  </a:lnTo>
                  <a:lnTo>
                    <a:pt x="209" y="213"/>
                  </a:lnTo>
                  <a:lnTo>
                    <a:pt x="220" y="214"/>
                  </a:lnTo>
                  <a:lnTo>
                    <a:pt x="227" y="211"/>
                  </a:lnTo>
                  <a:lnTo>
                    <a:pt x="231" y="213"/>
                  </a:lnTo>
                  <a:lnTo>
                    <a:pt x="234" y="217"/>
                  </a:lnTo>
                  <a:lnTo>
                    <a:pt x="241" y="231"/>
                  </a:lnTo>
                  <a:lnTo>
                    <a:pt x="244" y="234"/>
                  </a:lnTo>
                  <a:lnTo>
                    <a:pt x="247" y="233"/>
                  </a:lnTo>
                  <a:lnTo>
                    <a:pt x="253" y="225"/>
                  </a:lnTo>
                  <a:lnTo>
                    <a:pt x="255" y="223"/>
                  </a:lnTo>
                  <a:lnTo>
                    <a:pt x="271" y="223"/>
                  </a:lnTo>
                  <a:lnTo>
                    <a:pt x="283" y="225"/>
                  </a:lnTo>
                  <a:lnTo>
                    <a:pt x="287" y="232"/>
                  </a:lnTo>
                  <a:lnTo>
                    <a:pt x="289" y="251"/>
                  </a:lnTo>
                  <a:lnTo>
                    <a:pt x="300" y="270"/>
                  </a:lnTo>
                  <a:lnTo>
                    <a:pt x="310" y="294"/>
                  </a:lnTo>
                  <a:lnTo>
                    <a:pt x="315" y="300"/>
                  </a:lnTo>
                  <a:lnTo>
                    <a:pt x="327" y="307"/>
                  </a:lnTo>
                  <a:lnTo>
                    <a:pt x="338" y="318"/>
                  </a:lnTo>
                  <a:lnTo>
                    <a:pt x="340" y="319"/>
                  </a:lnTo>
                  <a:lnTo>
                    <a:pt x="346" y="318"/>
                  </a:lnTo>
                  <a:lnTo>
                    <a:pt x="358" y="313"/>
                  </a:lnTo>
                  <a:lnTo>
                    <a:pt x="367" y="313"/>
                  </a:lnTo>
                  <a:lnTo>
                    <a:pt x="374" y="305"/>
                  </a:lnTo>
                  <a:lnTo>
                    <a:pt x="379" y="301"/>
                  </a:lnTo>
                  <a:lnTo>
                    <a:pt x="391" y="296"/>
                  </a:lnTo>
                  <a:lnTo>
                    <a:pt x="407" y="291"/>
                  </a:lnTo>
                  <a:lnTo>
                    <a:pt x="409" y="289"/>
                  </a:lnTo>
                  <a:lnTo>
                    <a:pt x="410" y="280"/>
                  </a:lnTo>
                  <a:lnTo>
                    <a:pt x="411" y="278"/>
                  </a:lnTo>
                  <a:lnTo>
                    <a:pt x="420" y="266"/>
                  </a:lnTo>
                  <a:lnTo>
                    <a:pt x="440" y="252"/>
                  </a:lnTo>
                  <a:lnTo>
                    <a:pt x="456" y="248"/>
                  </a:lnTo>
                  <a:lnTo>
                    <a:pt x="459" y="243"/>
                  </a:lnTo>
                  <a:lnTo>
                    <a:pt x="462" y="238"/>
                  </a:lnTo>
                  <a:lnTo>
                    <a:pt x="463" y="232"/>
                  </a:lnTo>
                  <a:lnTo>
                    <a:pt x="463" y="228"/>
                  </a:lnTo>
                  <a:lnTo>
                    <a:pt x="461" y="222"/>
                  </a:lnTo>
                  <a:lnTo>
                    <a:pt x="447" y="203"/>
                  </a:lnTo>
                  <a:lnTo>
                    <a:pt x="427" y="182"/>
                  </a:lnTo>
                  <a:lnTo>
                    <a:pt x="427" y="174"/>
                  </a:lnTo>
                  <a:lnTo>
                    <a:pt x="435" y="164"/>
                  </a:lnTo>
                  <a:lnTo>
                    <a:pt x="436" y="162"/>
                  </a:lnTo>
                  <a:lnTo>
                    <a:pt x="435" y="157"/>
                  </a:lnTo>
                  <a:lnTo>
                    <a:pt x="430" y="148"/>
                  </a:lnTo>
                  <a:lnTo>
                    <a:pt x="428" y="143"/>
                  </a:lnTo>
                  <a:lnTo>
                    <a:pt x="432" y="131"/>
                  </a:lnTo>
                  <a:lnTo>
                    <a:pt x="432" y="128"/>
                  </a:lnTo>
                  <a:lnTo>
                    <a:pt x="425" y="124"/>
                  </a:lnTo>
                  <a:lnTo>
                    <a:pt x="414" y="121"/>
                  </a:lnTo>
                  <a:lnTo>
                    <a:pt x="408" y="129"/>
                  </a:lnTo>
                  <a:lnTo>
                    <a:pt x="399" y="128"/>
                  </a:lnTo>
                  <a:lnTo>
                    <a:pt x="389" y="131"/>
                  </a:lnTo>
                  <a:lnTo>
                    <a:pt x="383" y="132"/>
                  </a:lnTo>
                  <a:lnTo>
                    <a:pt x="378" y="120"/>
                  </a:lnTo>
                  <a:lnTo>
                    <a:pt x="374" y="115"/>
                  </a:lnTo>
                  <a:lnTo>
                    <a:pt x="357" y="105"/>
                  </a:lnTo>
                  <a:lnTo>
                    <a:pt x="339" y="99"/>
                  </a:lnTo>
                  <a:lnTo>
                    <a:pt x="336" y="94"/>
                  </a:lnTo>
                  <a:lnTo>
                    <a:pt x="335" y="85"/>
                  </a:lnTo>
                  <a:lnTo>
                    <a:pt x="332" y="77"/>
                  </a:lnTo>
                  <a:lnTo>
                    <a:pt x="325" y="69"/>
                  </a:lnTo>
                  <a:lnTo>
                    <a:pt x="323" y="64"/>
                  </a:lnTo>
                  <a:lnTo>
                    <a:pt x="323" y="41"/>
                  </a:lnTo>
                  <a:lnTo>
                    <a:pt x="323" y="41"/>
                  </a:lnTo>
                  <a:lnTo>
                    <a:pt x="334" y="39"/>
                  </a:lnTo>
                  <a:lnTo>
                    <a:pt x="341" y="37"/>
                  </a:lnTo>
                  <a:lnTo>
                    <a:pt x="342" y="34"/>
                  </a:lnTo>
                  <a:lnTo>
                    <a:pt x="341" y="24"/>
                  </a:lnTo>
                  <a:lnTo>
                    <a:pt x="342" y="18"/>
                  </a:lnTo>
                  <a:lnTo>
                    <a:pt x="351" y="16"/>
                  </a:lnTo>
                  <a:lnTo>
                    <a:pt x="355" y="10"/>
                  </a:lnTo>
                  <a:lnTo>
                    <a:pt x="360" y="7"/>
                  </a:lnTo>
                  <a:lnTo>
                    <a:pt x="379" y="0"/>
                  </a:lnTo>
                  <a:lnTo>
                    <a:pt x="379" y="0"/>
                  </a:lnTo>
                  <a:lnTo>
                    <a:pt x="387" y="1"/>
                  </a:lnTo>
                  <a:lnTo>
                    <a:pt x="407" y="25"/>
                  </a:lnTo>
                  <a:lnTo>
                    <a:pt x="435" y="49"/>
                  </a:lnTo>
                  <a:lnTo>
                    <a:pt x="435" y="50"/>
                  </a:lnTo>
                  <a:lnTo>
                    <a:pt x="429" y="58"/>
                  </a:lnTo>
                  <a:lnTo>
                    <a:pt x="430" y="59"/>
                  </a:lnTo>
                  <a:lnTo>
                    <a:pt x="456" y="66"/>
                  </a:lnTo>
                  <a:lnTo>
                    <a:pt x="485" y="78"/>
                  </a:lnTo>
                  <a:lnTo>
                    <a:pt x="491" y="78"/>
                  </a:lnTo>
                  <a:lnTo>
                    <a:pt x="502" y="75"/>
                  </a:lnTo>
                  <a:lnTo>
                    <a:pt x="513" y="74"/>
                  </a:lnTo>
                  <a:lnTo>
                    <a:pt x="523" y="74"/>
                  </a:lnTo>
                  <a:lnTo>
                    <a:pt x="530" y="77"/>
                  </a:lnTo>
                  <a:lnTo>
                    <a:pt x="531" y="80"/>
                  </a:lnTo>
                  <a:lnTo>
                    <a:pt x="533" y="87"/>
                  </a:lnTo>
                  <a:lnTo>
                    <a:pt x="539" y="90"/>
                  </a:lnTo>
                  <a:lnTo>
                    <a:pt x="541" y="93"/>
                  </a:lnTo>
                  <a:lnTo>
                    <a:pt x="545" y="114"/>
                  </a:lnTo>
                  <a:lnTo>
                    <a:pt x="548" y="123"/>
                  </a:lnTo>
                  <a:lnTo>
                    <a:pt x="552" y="127"/>
                  </a:lnTo>
                  <a:lnTo>
                    <a:pt x="564" y="132"/>
                  </a:lnTo>
                  <a:lnTo>
                    <a:pt x="567" y="135"/>
                  </a:lnTo>
                  <a:lnTo>
                    <a:pt x="566" y="140"/>
                  </a:lnTo>
                  <a:lnTo>
                    <a:pt x="559" y="150"/>
                  </a:lnTo>
                  <a:lnTo>
                    <a:pt x="558" y="154"/>
                  </a:lnTo>
                  <a:lnTo>
                    <a:pt x="560" y="158"/>
                  </a:lnTo>
                  <a:lnTo>
                    <a:pt x="566" y="164"/>
                  </a:lnTo>
                  <a:lnTo>
                    <a:pt x="581" y="175"/>
                  </a:lnTo>
                  <a:lnTo>
                    <a:pt x="599" y="181"/>
                  </a:lnTo>
                  <a:lnTo>
                    <a:pt x="609" y="183"/>
                  </a:lnTo>
                  <a:lnTo>
                    <a:pt x="629" y="177"/>
                  </a:lnTo>
                  <a:lnTo>
                    <a:pt x="639" y="176"/>
                  </a:lnTo>
                  <a:lnTo>
                    <a:pt x="641" y="177"/>
                  </a:lnTo>
                  <a:lnTo>
                    <a:pt x="646" y="183"/>
                  </a:lnTo>
                  <a:lnTo>
                    <a:pt x="653" y="189"/>
                  </a:lnTo>
                  <a:lnTo>
                    <a:pt x="658" y="193"/>
                  </a:lnTo>
                  <a:lnTo>
                    <a:pt x="662" y="194"/>
                  </a:lnTo>
                  <a:lnTo>
                    <a:pt x="671" y="192"/>
                  </a:lnTo>
                  <a:lnTo>
                    <a:pt x="691" y="184"/>
                  </a:lnTo>
                  <a:lnTo>
                    <a:pt x="699" y="182"/>
                  </a:lnTo>
                  <a:lnTo>
                    <a:pt x="702" y="189"/>
                  </a:lnTo>
                  <a:lnTo>
                    <a:pt x="704" y="203"/>
                  </a:lnTo>
                  <a:lnTo>
                    <a:pt x="706" y="205"/>
                  </a:lnTo>
                  <a:lnTo>
                    <a:pt x="709" y="206"/>
                  </a:lnTo>
                  <a:lnTo>
                    <a:pt x="716" y="205"/>
                  </a:lnTo>
                  <a:lnTo>
                    <a:pt x="729" y="188"/>
                  </a:lnTo>
                  <a:lnTo>
                    <a:pt x="734" y="189"/>
                  </a:lnTo>
                  <a:lnTo>
                    <a:pt x="735" y="192"/>
                  </a:lnTo>
                  <a:lnTo>
                    <a:pt x="737" y="205"/>
                  </a:lnTo>
                  <a:lnTo>
                    <a:pt x="744" y="230"/>
                  </a:lnTo>
                  <a:lnTo>
                    <a:pt x="747" y="232"/>
                  </a:lnTo>
                  <a:lnTo>
                    <a:pt x="750" y="234"/>
                  </a:lnTo>
                  <a:lnTo>
                    <a:pt x="761" y="232"/>
                  </a:lnTo>
                  <a:lnTo>
                    <a:pt x="763" y="233"/>
                  </a:lnTo>
                  <a:lnTo>
                    <a:pt x="764" y="234"/>
                  </a:lnTo>
                  <a:lnTo>
                    <a:pt x="765" y="249"/>
                  </a:lnTo>
                  <a:lnTo>
                    <a:pt x="756" y="278"/>
                  </a:lnTo>
                  <a:lnTo>
                    <a:pt x="763" y="283"/>
                  </a:lnTo>
                  <a:lnTo>
                    <a:pt x="769" y="286"/>
                  </a:lnTo>
                  <a:lnTo>
                    <a:pt x="774" y="287"/>
                  </a:lnTo>
                  <a:lnTo>
                    <a:pt x="781" y="288"/>
                  </a:lnTo>
                  <a:lnTo>
                    <a:pt x="798" y="286"/>
                  </a:lnTo>
                  <a:lnTo>
                    <a:pt x="811" y="290"/>
                  </a:lnTo>
                  <a:lnTo>
                    <a:pt x="816" y="288"/>
                  </a:lnTo>
                  <a:lnTo>
                    <a:pt x="828" y="272"/>
                  </a:lnTo>
                  <a:lnTo>
                    <a:pt x="841" y="273"/>
                  </a:lnTo>
                  <a:lnTo>
                    <a:pt x="864" y="272"/>
                  </a:lnTo>
                  <a:lnTo>
                    <a:pt x="869" y="273"/>
                  </a:lnTo>
                  <a:lnTo>
                    <a:pt x="878" y="276"/>
                  </a:lnTo>
                  <a:lnTo>
                    <a:pt x="878" y="278"/>
                  </a:lnTo>
                  <a:lnTo>
                    <a:pt x="877" y="287"/>
                  </a:lnTo>
                  <a:lnTo>
                    <a:pt x="880" y="293"/>
                  </a:lnTo>
                  <a:lnTo>
                    <a:pt x="881" y="297"/>
                  </a:lnTo>
                  <a:lnTo>
                    <a:pt x="879" y="304"/>
                  </a:lnTo>
                  <a:lnTo>
                    <a:pt x="871" y="319"/>
                  </a:lnTo>
                  <a:lnTo>
                    <a:pt x="872" y="355"/>
                  </a:lnTo>
                  <a:lnTo>
                    <a:pt x="871" y="361"/>
                  </a:lnTo>
                  <a:lnTo>
                    <a:pt x="870" y="364"/>
                  </a:lnTo>
                  <a:lnTo>
                    <a:pt x="864" y="364"/>
                  </a:lnTo>
                  <a:lnTo>
                    <a:pt x="860" y="366"/>
                  </a:lnTo>
                  <a:lnTo>
                    <a:pt x="855" y="374"/>
                  </a:lnTo>
                  <a:lnTo>
                    <a:pt x="853" y="382"/>
                  </a:lnTo>
                  <a:lnTo>
                    <a:pt x="852" y="397"/>
                  </a:lnTo>
                  <a:lnTo>
                    <a:pt x="850" y="403"/>
                  </a:lnTo>
                  <a:lnTo>
                    <a:pt x="844" y="411"/>
                  </a:lnTo>
                  <a:lnTo>
                    <a:pt x="842" y="415"/>
                  </a:lnTo>
                  <a:lnTo>
                    <a:pt x="840" y="431"/>
                  </a:lnTo>
                  <a:lnTo>
                    <a:pt x="835" y="453"/>
                  </a:lnTo>
                  <a:lnTo>
                    <a:pt x="838" y="456"/>
                  </a:lnTo>
                  <a:lnTo>
                    <a:pt x="844" y="457"/>
                  </a:lnTo>
                  <a:lnTo>
                    <a:pt x="847" y="458"/>
                  </a:lnTo>
                  <a:lnTo>
                    <a:pt x="853" y="471"/>
                  </a:lnTo>
                  <a:lnTo>
                    <a:pt x="860" y="477"/>
                  </a:lnTo>
                  <a:lnTo>
                    <a:pt x="864" y="484"/>
                  </a:lnTo>
                  <a:lnTo>
                    <a:pt x="878" y="476"/>
                  </a:lnTo>
                  <a:lnTo>
                    <a:pt x="884" y="472"/>
                  </a:lnTo>
                  <a:lnTo>
                    <a:pt x="891" y="467"/>
                  </a:lnTo>
                  <a:lnTo>
                    <a:pt x="897" y="457"/>
                  </a:lnTo>
                  <a:lnTo>
                    <a:pt x="901" y="457"/>
                  </a:lnTo>
                  <a:lnTo>
                    <a:pt x="906" y="461"/>
                  </a:lnTo>
                  <a:lnTo>
                    <a:pt x="912" y="472"/>
                  </a:lnTo>
                  <a:lnTo>
                    <a:pt x="916" y="499"/>
                  </a:lnTo>
                  <a:lnTo>
                    <a:pt x="925" y="526"/>
                  </a:lnTo>
                  <a:lnTo>
                    <a:pt x="930" y="530"/>
                  </a:lnTo>
                  <a:lnTo>
                    <a:pt x="942" y="536"/>
                  </a:lnTo>
                  <a:lnTo>
                    <a:pt x="938" y="539"/>
                  </a:lnTo>
                  <a:lnTo>
                    <a:pt x="926" y="546"/>
                  </a:lnTo>
                  <a:lnTo>
                    <a:pt x="923" y="551"/>
                  </a:lnTo>
                  <a:lnTo>
                    <a:pt x="920" y="556"/>
                  </a:lnTo>
                  <a:lnTo>
                    <a:pt x="924" y="564"/>
                  </a:lnTo>
                  <a:lnTo>
                    <a:pt x="927" y="572"/>
                  </a:lnTo>
                  <a:lnTo>
                    <a:pt x="932" y="572"/>
                  </a:lnTo>
                  <a:lnTo>
                    <a:pt x="934" y="573"/>
                  </a:lnTo>
                  <a:lnTo>
                    <a:pt x="941" y="581"/>
                  </a:lnTo>
                  <a:lnTo>
                    <a:pt x="945" y="588"/>
                  </a:lnTo>
                  <a:lnTo>
                    <a:pt x="949" y="590"/>
                  </a:lnTo>
                  <a:lnTo>
                    <a:pt x="955" y="590"/>
                  </a:lnTo>
                  <a:lnTo>
                    <a:pt x="955" y="600"/>
                  </a:lnTo>
                  <a:lnTo>
                    <a:pt x="959" y="600"/>
                  </a:lnTo>
                  <a:lnTo>
                    <a:pt x="963" y="597"/>
                  </a:lnTo>
                  <a:lnTo>
                    <a:pt x="965" y="598"/>
                  </a:lnTo>
                  <a:lnTo>
                    <a:pt x="967" y="615"/>
                  </a:lnTo>
                  <a:lnTo>
                    <a:pt x="970" y="615"/>
                  </a:lnTo>
                  <a:lnTo>
                    <a:pt x="976" y="614"/>
                  </a:lnTo>
                  <a:lnTo>
                    <a:pt x="984" y="601"/>
                  </a:lnTo>
                  <a:lnTo>
                    <a:pt x="986" y="603"/>
                  </a:lnTo>
                  <a:lnTo>
                    <a:pt x="988" y="610"/>
                  </a:lnTo>
                  <a:lnTo>
                    <a:pt x="991" y="611"/>
                  </a:lnTo>
                  <a:lnTo>
                    <a:pt x="1023" y="608"/>
                  </a:lnTo>
                  <a:lnTo>
                    <a:pt x="1039" y="602"/>
                  </a:lnTo>
                  <a:lnTo>
                    <a:pt x="1058" y="606"/>
                  </a:lnTo>
                  <a:lnTo>
                    <a:pt x="1062" y="606"/>
                  </a:lnTo>
                  <a:lnTo>
                    <a:pt x="1067" y="603"/>
                  </a:lnTo>
                  <a:lnTo>
                    <a:pt x="1070" y="599"/>
                  </a:lnTo>
                  <a:lnTo>
                    <a:pt x="1071" y="595"/>
                  </a:lnTo>
                  <a:lnTo>
                    <a:pt x="1071" y="574"/>
                  </a:lnTo>
                  <a:lnTo>
                    <a:pt x="1073" y="562"/>
                  </a:lnTo>
                  <a:lnTo>
                    <a:pt x="1074" y="561"/>
                  </a:lnTo>
                  <a:lnTo>
                    <a:pt x="1084" y="560"/>
                  </a:lnTo>
                  <a:lnTo>
                    <a:pt x="1088" y="556"/>
                  </a:lnTo>
                  <a:lnTo>
                    <a:pt x="1090" y="549"/>
                  </a:lnTo>
                  <a:lnTo>
                    <a:pt x="1092" y="527"/>
                  </a:lnTo>
                  <a:lnTo>
                    <a:pt x="1098" y="524"/>
                  </a:lnTo>
                  <a:lnTo>
                    <a:pt x="1104" y="525"/>
                  </a:lnTo>
                  <a:lnTo>
                    <a:pt x="1109" y="529"/>
                  </a:lnTo>
                  <a:lnTo>
                    <a:pt x="1111" y="530"/>
                  </a:lnTo>
                  <a:lnTo>
                    <a:pt x="1128" y="522"/>
                  </a:lnTo>
                  <a:lnTo>
                    <a:pt x="1133" y="521"/>
                  </a:lnTo>
                  <a:lnTo>
                    <a:pt x="1136" y="522"/>
                  </a:lnTo>
                  <a:lnTo>
                    <a:pt x="1141" y="525"/>
                  </a:lnTo>
                  <a:lnTo>
                    <a:pt x="1144" y="534"/>
                  </a:lnTo>
                  <a:lnTo>
                    <a:pt x="1149" y="542"/>
                  </a:lnTo>
                  <a:lnTo>
                    <a:pt x="1159" y="553"/>
                  </a:lnTo>
                  <a:lnTo>
                    <a:pt x="1170" y="560"/>
                  </a:lnTo>
                  <a:lnTo>
                    <a:pt x="1187" y="564"/>
                  </a:lnTo>
                  <a:lnTo>
                    <a:pt x="1192" y="567"/>
                  </a:lnTo>
                  <a:lnTo>
                    <a:pt x="1194" y="571"/>
                  </a:lnTo>
                  <a:lnTo>
                    <a:pt x="1196" y="577"/>
                  </a:lnTo>
                  <a:lnTo>
                    <a:pt x="1204" y="641"/>
                  </a:lnTo>
                  <a:lnTo>
                    <a:pt x="1202" y="642"/>
                  </a:lnTo>
                  <a:lnTo>
                    <a:pt x="1193" y="642"/>
                  </a:lnTo>
                  <a:lnTo>
                    <a:pt x="1189" y="644"/>
                  </a:lnTo>
                  <a:lnTo>
                    <a:pt x="1189" y="650"/>
                  </a:lnTo>
                  <a:lnTo>
                    <a:pt x="1195" y="659"/>
                  </a:lnTo>
                  <a:lnTo>
                    <a:pt x="1196" y="662"/>
                  </a:lnTo>
                  <a:lnTo>
                    <a:pt x="1186" y="681"/>
                  </a:lnTo>
                  <a:lnTo>
                    <a:pt x="1184" y="684"/>
                  </a:lnTo>
                  <a:lnTo>
                    <a:pt x="1181" y="686"/>
                  </a:lnTo>
                  <a:lnTo>
                    <a:pt x="1175" y="688"/>
                  </a:lnTo>
                  <a:lnTo>
                    <a:pt x="1156" y="669"/>
                  </a:lnTo>
                  <a:lnTo>
                    <a:pt x="1153" y="668"/>
                  </a:lnTo>
                  <a:lnTo>
                    <a:pt x="1143" y="671"/>
                  </a:lnTo>
                  <a:lnTo>
                    <a:pt x="1138" y="667"/>
                  </a:lnTo>
                  <a:lnTo>
                    <a:pt x="1129" y="656"/>
                  </a:lnTo>
                  <a:lnTo>
                    <a:pt x="1126" y="653"/>
                  </a:lnTo>
                  <a:lnTo>
                    <a:pt x="1115" y="651"/>
                  </a:lnTo>
                  <a:lnTo>
                    <a:pt x="1107" y="646"/>
                  </a:lnTo>
                  <a:lnTo>
                    <a:pt x="1102" y="644"/>
                  </a:lnTo>
                  <a:lnTo>
                    <a:pt x="1094" y="644"/>
                  </a:lnTo>
                  <a:lnTo>
                    <a:pt x="1059" y="648"/>
                  </a:lnTo>
                  <a:lnTo>
                    <a:pt x="1049" y="651"/>
                  </a:lnTo>
                  <a:lnTo>
                    <a:pt x="1032" y="653"/>
                  </a:lnTo>
                  <a:lnTo>
                    <a:pt x="1030" y="654"/>
                  </a:lnTo>
                  <a:lnTo>
                    <a:pt x="1026" y="657"/>
                  </a:lnTo>
                  <a:lnTo>
                    <a:pt x="1025" y="662"/>
                  </a:lnTo>
                  <a:lnTo>
                    <a:pt x="1026" y="665"/>
                  </a:lnTo>
                  <a:lnTo>
                    <a:pt x="1036" y="675"/>
                  </a:lnTo>
                  <a:lnTo>
                    <a:pt x="1038" y="680"/>
                  </a:lnTo>
                  <a:lnTo>
                    <a:pt x="1039" y="688"/>
                  </a:lnTo>
                  <a:lnTo>
                    <a:pt x="1040" y="691"/>
                  </a:lnTo>
                  <a:lnTo>
                    <a:pt x="1043" y="692"/>
                  </a:lnTo>
                  <a:lnTo>
                    <a:pt x="1056" y="695"/>
                  </a:lnTo>
                  <a:lnTo>
                    <a:pt x="1060" y="697"/>
                  </a:lnTo>
                  <a:lnTo>
                    <a:pt x="1062" y="715"/>
                  </a:lnTo>
                  <a:lnTo>
                    <a:pt x="1063" y="742"/>
                  </a:lnTo>
                  <a:lnTo>
                    <a:pt x="1059" y="754"/>
                  </a:lnTo>
                  <a:lnTo>
                    <a:pt x="1060" y="775"/>
                  </a:lnTo>
                  <a:lnTo>
                    <a:pt x="1058" y="779"/>
                  </a:lnTo>
                  <a:lnTo>
                    <a:pt x="1052" y="782"/>
                  </a:lnTo>
                  <a:lnTo>
                    <a:pt x="1041" y="786"/>
                  </a:lnTo>
                  <a:lnTo>
                    <a:pt x="1019" y="790"/>
                  </a:lnTo>
                  <a:lnTo>
                    <a:pt x="1018" y="811"/>
                  </a:lnTo>
                  <a:lnTo>
                    <a:pt x="1017" y="814"/>
                  </a:lnTo>
                  <a:lnTo>
                    <a:pt x="994" y="833"/>
                  </a:lnTo>
                  <a:lnTo>
                    <a:pt x="992" y="839"/>
                  </a:lnTo>
                  <a:lnTo>
                    <a:pt x="994" y="852"/>
                  </a:lnTo>
                  <a:lnTo>
                    <a:pt x="987" y="874"/>
                  </a:lnTo>
                  <a:lnTo>
                    <a:pt x="988" y="879"/>
                  </a:lnTo>
                  <a:lnTo>
                    <a:pt x="991" y="883"/>
                  </a:lnTo>
                  <a:lnTo>
                    <a:pt x="1000" y="889"/>
                  </a:lnTo>
                  <a:lnTo>
                    <a:pt x="1003" y="890"/>
                  </a:lnTo>
                  <a:lnTo>
                    <a:pt x="1015" y="892"/>
                  </a:lnTo>
                  <a:lnTo>
                    <a:pt x="1019" y="902"/>
                  </a:lnTo>
                  <a:lnTo>
                    <a:pt x="1027" y="926"/>
                  </a:lnTo>
                  <a:lnTo>
                    <a:pt x="1042" y="943"/>
                  </a:lnTo>
                  <a:lnTo>
                    <a:pt x="1046" y="942"/>
                  </a:lnTo>
                  <a:lnTo>
                    <a:pt x="1059" y="936"/>
                  </a:lnTo>
                  <a:lnTo>
                    <a:pt x="1066" y="935"/>
                  </a:lnTo>
                  <a:lnTo>
                    <a:pt x="1072" y="937"/>
                  </a:lnTo>
                  <a:lnTo>
                    <a:pt x="1080" y="943"/>
                  </a:lnTo>
                  <a:lnTo>
                    <a:pt x="1082" y="948"/>
                  </a:lnTo>
                  <a:lnTo>
                    <a:pt x="1076" y="967"/>
                  </a:lnTo>
                  <a:lnTo>
                    <a:pt x="1076" y="975"/>
                  </a:lnTo>
                  <a:lnTo>
                    <a:pt x="1076" y="978"/>
                  </a:lnTo>
                  <a:lnTo>
                    <a:pt x="1081" y="979"/>
                  </a:lnTo>
                  <a:lnTo>
                    <a:pt x="1091" y="978"/>
                  </a:lnTo>
                  <a:lnTo>
                    <a:pt x="1100" y="979"/>
                  </a:lnTo>
                  <a:lnTo>
                    <a:pt x="1106" y="971"/>
                  </a:lnTo>
                  <a:lnTo>
                    <a:pt x="1110" y="957"/>
                  </a:lnTo>
                  <a:lnTo>
                    <a:pt x="1112" y="954"/>
                  </a:lnTo>
                  <a:lnTo>
                    <a:pt x="1114" y="958"/>
                  </a:lnTo>
                  <a:lnTo>
                    <a:pt x="1116" y="968"/>
                  </a:lnTo>
                  <a:lnTo>
                    <a:pt x="1120" y="971"/>
                  </a:lnTo>
                  <a:lnTo>
                    <a:pt x="1127" y="973"/>
                  </a:lnTo>
                  <a:lnTo>
                    <a:pt x="1136" y="972"/>
                  </a:lnTo>
                  <a:lnTo>
                    <a:pt x="1139" y="974"/>
                  </a:lnTo>
                  <a:lnTo>
                    <a:pt x="1141" y="978"/>
                  </a:lnTo>
                  <a:lnTo>
                    <a:pt x="1142" y="987"/>
                  </a:lnTo>
                  <a:lnTo>
                    <a:pt x="1142" y="1015"/>
                  </a:lnTo>
                  <a:lnTo>
                    <a:pt x="1141" y="1033"/>
                  </a:lnTo>
                  <a:lnTo>
                    <a:pt x="1138" y="1048"/>
                  </a:lnTo>
                  <a:lnTo>
                    <a:pt x="1132" y="1058"/>
                  </a:lnTo>
                  <a:lnTo>
                    <a:pt x="1117" y="1069"/>
                  </a:lnTo>
                  <a:lnTo>
                    <a:pt x="1115" y="1070"/>
                  </a:lnTo>
                  <a:lnTo>
                    <a:pt x="1113" y="1069"/>
                  </a:lnTo>
                  <a:lnTo>
                    <a:pt x="1111" y="1062"/>
                  </a:lnTo>
                  <a:lnTo>
                    <a:pt x="1110" y="1060"/>
                  </a:lnTo>
                  <a:lnTo>
                    <a:pt x="1110" y="1061"/>
                  </a:lnTo>
                  <a:lnTo>
                    <a:pt x="1106" y="1067"/>
                  </a:lnTo>
                  <a:lnTo>
                    <a:pt x="1104" y="1077"/>
                  </a:lnTo>
                  <a:lnTo>
                    <a:pt x="1105" y="1081"/>
                  </a:lnTo>
                  <a:lnTo>
                    <a:pt x="1109" y="1083"/>
                  </a:lnTo>
                  <a:lnTo>
                    <a:pt x="1112" y="1086"/>
                  </a:lnTo>
                  <a:lnTo>
                    <a:pt x="1127" y="1108"/>
                  </a:lnTo>
                  <a:lnTo>
                    <a:pt x="1144" y="1104"/>
                  </a:lnTo>
                  <a:lnTo>
                    <a:pt x="1167" y="1099"/>
                  </a:lnTo>
                  <a:lnTo>
                    <a:pt x="1170" y="1099"/>
                  </a:lnTo>
                  <a:lnTo>
                    <a:pt x="1177" y="1104"/>
                  </a:lnTo>
                  <a:lnTo>
                    <a:pt x="1182" y="1105"/>
                  </a:lnTo>
                  <a:lnTo>
                    <a:pt x="1192" y="1100"/>
                  </a:lnTo>
                  <a:lnTo>
                    <a:pt x="1204" y="1097"/>
                  </a:lnTo>
                  <a:lnTo>
                    <a:pt x="1212" y="1094"/>
                  </a:lnTo>
                  <a:lnTo>
                    <a:pt x="1218" y="1090"/>
                  </a:lnTo>
                  <a:lnTo>
                    <a:pt x="1229" y="1077"/>
                  </a:lnTo>
                  <a:lnTo>
                    <a:pt x="1233" y="1075"/>
                  </a:lnTo>
                  <a:lnTo>
                    <a:pt x="1238" y="1076"/>
                  </a:lnTo>
                  <a:lnTo>
                    <a:pt x="1251" y="1084"/>
                  </a:lnTo>
                  <a:lnTo>
                    <a:pt x="1257" y="1085"/>
                  </a:lnTo>
                  <a:lnTo>
                    <a:pt x="1267" y="1083"/>
                  </a:lnTo>
                  <a:lnTo>
                    <a:pt x="1274" y="1081"/>
                  </a:lnTo>
                  <a:lnTo>
                    <a:pt x="1285" y="1072"/>
                  </a:lnTo>
                  <a:lnTo>
                    <a:pt x="1289" y="1075"/>
                  </a:lnTo>
                  <a:lnTo>
                    <a:pt x="1291" y="1079"/>
                  </a:lnTo>
                  <a:lnTo>
                    <a:pt x="1290" y="1096"/>
                  </a:lnTo>
                  <a:lnTo>
                    <a:pt x="1290" y="1100"/>
                  </a:lnTo>
                  <a:lnTo>
                    <a:pt x="1294" y="1103"/>
                  </a:lnTo>
                  <a:lnTo>
                    <a:pt x="1300" y="1102"/>
                  </a:lnTo>
                  <a:lnTo>
                    <a:pt x="1302" y="1102"/>
                  </a:lnTo>
                  <a:lnTo>
                    <a:pt x="1300" y="1109"/>
                  </a:lnTo>
                  <a:lnTo>
                    <a:pt x="1321" y="1112"/>
                  </a:lnTo>
                  <a:lnTo>
                    <a:pt x="1340" y="1111"/>
                  </a:lnTo>
                  <a:lnTo>
                    <a:pt x="1355" y="1119"/>
                  </a:lnTo>
                  <a:lnTo>
                    <a:pt x="1361" y="1119"/>
                  </a:lnTo>
                  <a:lnTo>
                    <a:pt x="1370" y="1117"/>
                  </a:lnTo>
                  <a:lnTo>
                    <a:pt x="1370" y="1117"/>
                  </a:lnTo>
                  <a:lnTo>
                    <a:pt x="1372" y="1116"/>
                  </a:lnTo>
                  <a:lnTo>
                    <a:pt x="1369" y="1126"/>
                  </a:lnTo>
                  <a:lnTo>
                    <a:pt x="1367" y="1154"/>
                  </a:lnTo>
                  <a:lnTo>
                    <a:pt x="1364" y="1172"/>
                  </a:lnTo>
                  <a:lnTo>
                    <a:pt x="1357" y="1223"/>
                  </a:lnTo>
                  <a:lnTo>
                    <a:pt x="1356" y="1227"/>
                  </a:lnTo>
                  <a:lnTo>
                    <a:pt x="1343" y="1245"/>
                  </a:lnTo>
                  <a:lnTo>
                    <a:pt x="1341" y="1264"/>
                  </a:lnTo>
                  <a:lnTo>
                    <a:pt x="1339" y="1268"/>
                  </a:lnTo>
                  <a:lnTo>
                    <a:pt x="1330" y="1284"/>
                  </a:lnTo>
                  <a:lnTo>
                    <a:pt x="1326" y="1289"/>
                  </a:lnTo>
                  <a:lnTo>
                    <a:pt x="1323" y="1288"/>
                  </a:lnTo>
                  <a:lnTo>
                    <a:pt x="1316" y="1279"/>
                  </a:lnTo>
                  <a:lnTo>
                    <a:pt x="1313" y="1277"/>
                  </a:lnTo>
                  <a:lnTo>
                    <a:pt x="1311" y="1277"/>
                  </a:lnTo>
                  <a:lnTo>
                    <a:pt x="1306" y="1280"/>
                  </a:lnTo>
                  <a:lnTo>
                    <a:pt x="1294" y="1296"/>
                  </a:lnTo>
                  <a:lnTo>
                    <a:pt x="1278" y="1296"/>
                  </a:lnTo>
                  <a:lnTo>
                    <a:pt x="1276" y="1297"/>
                  </a:lnTo>
                  <a:lnTo>
                    <a:pt x="1276" y="1299"/>
                  </a:lnTo>
                  <a:lnTo>
                    <a:pt x="1276" y="1303"/>
                  </a:lnTo>
                  <a:lnTo>
                    <a:pt x="1283" y="1306"/>
                  </a:lnTo>
                  <a:lnTo>
                    <a:pt x="1279" y="1320"/>
                  </a:lnTo>
                  <a:lnTo>
                    <a:pt x="1279" y="1323"/>
                  </a:lnTo>
                  <a:lnTo>
                    <a:pt x="1288" y="1326"/>
                  </a:lnTo>
                  <a:lnTo>
                    <a:pt x="1303" y="1320"/>
                  </a:lnTo>
                  <a:lnTo>
                    <a:pt x="1305" y="1320"/>
                  </a:lnTo>
                  <a:lnTo>
                    <a:pt x="1307" y="1323"/>
                  </a:lnTo>
                  <a:lnTo>
                    <a:pt x="1312" y="1352"/>
                  </a:lnTo>
                  <a:lnTo>
                    <a:pt x="1314" y="1361"/>
                  </a:lnTo>
                  <a:lnTo>
                    <a:pt x="1318" y="1364"/>
                  </a:lnTo>
                  <a:lnTo>
                    <a:pt x="1331" y="1370"/>
                  </a:lnTo>
                  <a:lnTo>
                    <a:pt x="1330" y="1373"/>
                  </a:lnTo>
                  <a:lnTo>
                    <a:pt x="1327" y="1377"/>
                  </a:lnTo>
                  <a:lnTo>
                    <a:pt x="1322" y="1380"/>
                  </a:lnTo>
                  <a:lnTo>
                    <a:pt x="1306" y="1382"/>
                  </a:lnTo>
                  <a:lnTo>
                    <a:pt x="1297" y="1386"/>
                  </a:lnTo>
                  <a:lnTo>
                    <a:pt x="1289" y="1389"/>
                  </a:lnTo>
                  <a:lnTo>
                    <a:pt x="1285" y="1393"/>
                  </a:lnTo>
                  <a:lnTo>
                    <a:pt x="1278" y="1406"/>
                  </a:lnTo>
                  <a:lnTo>
                    <a:pt x="1274" y="1410"/>
                  </a:lnTo>
                  <a:lnTo>
                    <a:pt x="1272" y="1411"/>
                  </a:lnTo>
                  <a:lnTo>
                    <a:pt x="1267" y="1410"/>
                  </a:lnTo>
                  <a:lnTo>
                    <a:pt x="1250" y="1404"/>
                  </a:lnTo>
                  <a:lnTo>
                    <a:pt x="1244" y="1405"/>
                  </a:lnTo>
                  <a:lnTo>
                    <a:pt x="1238" y="1408"/>
                  </a:lnTo>
                  <a:lnTo>
                    <a:pt x="1235" y="1408"/>
                  </a:lnTo>
                  <a:lnTo>
                    <a:pt x="1226" y="1402"/>
                  </a:lnTo>
                  <a:lnTo>
                    <a:pt x="1213" y="1401"/>
                  </a:lnTo>
                  <a:lnTo>
                    <a:pt x="1203" y="1399"/>
                  </a:lnTo>
                  <a:lnTo>
                    <a:pt x="1193" y="1400"/>
                  </a:lnTo>
                  <a:lnTo>
                    <a:pt x="1184" y="1405"/>
                  </a:lnTo>
                  <a:lnTo>
                    <a:pt x="1183" y="1413"/>
                  </a:lnTo>
                  <a:lnTo>
                    <a:pt x="1183" y="1422"/>
                  </a:lnTo>
                  <a:lnTo>
                    <a:pt x="1188" y="1449"/>
                  </a:lnTo>
                  <a:lnTo>
                    <a:pt x="1187" y="1452"/>
                  </a:lnTo>
                  <a:lnTo>
                    <a:pt x="1175" y="1460"/>
                  </a:lnTo>
                  <a:lnTo>
                    <a:pt x="1174" y="1462"/>
                  </a:lnTo>
                  <a:lnTo>
                    <a:pt x="1174" y="1464"/>
                  </a:lnTo>
                  <a:lnTo>
                    <a:pt x="1175" y="1468"/>
                  </a:lnTo>
                  <a:lnTo>
                    <a:pt x="1178" y="1473"/>
                  </a:lnTo>
                  <a:lnTo>
                    <a:pt x="1189" y="1498"/>
                  </a:lnTo>
                  <a:lnTo>
                    <a:pt x="1195" y="1518"/>
                  </a:lnTo>
                  <a:lnTo>
                    <a:pt x="1196" y="1527"/>
                  </a:lnTo>
                  <a:lnTo>
                    <a:pt x="1194" y="1532"/>
                  </a:lnTo>
                  <a:lnTo>
                    <a:pt x="1187" y="1535"/>
                  </a:lnTo>
                  <a:lnTo>
                    <a:pt x="1185" y="1536"/>
                  </a:lnTo>
                  <a:lnTo>
                    <a:pt x="1181" y="1557"/>
                  </a:lnTo>
                  <a:lnTo>
                    <a:pt x="1178" y="1563"/>
                  </a:lnTo>
                  <a:lnTo>
                    <a:pt x="1174" y="1565"/>
                  </a:lnTo>
                  <a:lnTo>
                    <a:pt x="1164" y="1562"/>
                  </a:lnTo>
                  <a:lnTo>
                    <a:pt x="1160" y="1570"/>
                  </a:lnTo>
                  <a:lnTo>
                    <a:pt x="1156" y="1580"/>
                  </a:lnTo>
                  <a:lnTo>
                    <a:pt x="1154" y="1584"/>
                  </a:lnTo>
                  <a:lnTo>
                    <a:pt x="1157" y="1608"/>
                  </a:lnTo>
                  <a:lnTo>
                    <a:pt x="1154" y="1615"/>
                  </a:lnTo>
                  <a:lnTo>
                    <a:pt x="1146" y="1629"/>
                  </a:lnTo>
                  <a:lnTo>
                    <a:pt x="1136" y="1640"/>
                  </a:lnTo>
                  <a:lnTo>
                    <a:pt x="1134" y="1640"/>
                  </a:lnTo>
                  <a:lnTo>
                    <a:pt x="1129" y="1638"/>
                  </a:lnTo>
                  <a:lnTo>
                    <a:pt x="1125" y="1638"/>
                  </a:lnTo>
                  <a:lnTo>
                    <a:pt x="1118" y="1640"/>
                  </a:lnTo>
                  <a:lnTo>
                    <a:pt x="1110" y="1644"/>
                  </a:lnTo>
                  <a:lnTo>
                    <a:pt x="1100" y="1652"/>
                  </a:lnTo>
                  <a:lnTo>
                    <a:pt x="1077" y="1678"/>
                  </a:lnTo>
                  <a:lnTo>
                    <a:pt x="1061" y="1692"/>
                  </a:lnTo>
                  <a:lnTo>
                    <a:pt x="1053" y="1697"/>
                  </a:lnTo>
                  <a:lnTo>
                    <a:pt x="1039" y="1697"/>
                  </a:lnTo>
                  <a:lnTo>
                    <a:pt x="1031" y="1713"/>
                  </a:lnTo>
                  <a:lnTo>
                    <a:pt x="1018" y="1731"/>
                  </a:lnTo>
                  <a:lnTo>
                    <a:pt x="1017" y="1734"/>
                  </a:lnTo>
                  <a:lnTo>
                    <a:pt x="1017" y="1734"/>
                  </a:lnTo>
                  <a:lnTo>
                    <a:pt x="1005" y="1727"/>
                  </a:lnTo>
                  <a:lnTo>
                    <a:pt x="998" y="1722"/>
                  </a:lnTo>
                  <a:lnTo>
                    <a:pt x="994" y="1706"/>
                  </a:lnTo>
                  <a:lnTo>
                    <a:pt x="991" y="1703"/>
                  </a:lnTo>
                  <a:lnTo>
                    <a:pt x="980" y="1693"/>
                  </a:lnTo>
                  <a:lnTo>
                    <a:pt x="971" y="1689"/>
                  </a:lnTo>
                  <a:lnTo>
                    <a:pt x="959" y="1688"/>
                  </a:lnTo>
                  <a:lnTo>
                    <a:pt x="946" y="1688"/>
                  </a:lnTo>
                  <a:lnTo>
                    <a:pt x="935" y="1689"/>
                  </a:lnTo>
                  <a:lnTo>
                    <a:pt x="920" y="1693"/>
                  </a:lnTo>
                  <a:lnTo>
                    <a:pt x="913" y="1693"/>
                  </a:lnTo>
                  <a:lnTo>
                    <a:pt x="908" y="1693"/>
                  </a:lnTo>
                  <a:lnTo>
                    <a:pt x="899" y="1688"/>
                  </a:lnTo>
                  <a:lnTo>
                    <a:pt x="893" y="1688"/>
                  </a:lnTo>
                  <a:lnTo>
                    <a:pt x="869" y="1695"/>
                  </a:lnTo>
                  <a:lnTo>
                    <a:pt x="862" y="1693"/>
                  </a:lnTo>
                  <a:lnTo>
                    <a:pt x="855" y="1683"/>
                  </a:lnTo>
                  <a:lnTo>
                    <a:pt x="848" y="1679"/>
                  </a:lnTo>
                  <a:lnTo>
                    <a:pt x="834" y="1687"/>
                  </a:lnTo>
                  <a:lnTo>
                    <a:pt x="827" y="1688"/>
                  </a:lnTo>
                  <a:lnTo>
                    <a:pt x="823" y="1687"/>
                  </a:lnTo>
                  <a:lnTo>
                    <a:pt x="818" y="1681"/>
                  </a:lnTo>
                  <a:lnTo>
                    <a:pt x="811" y="1671"/>
                  </a:lnTo>
                  <a:lnTo>
                    <a:pt x="808" y="1669"/>
                  </a:lnTo>
                  <a:lnTo>
                    <a:pt x="800" y="1665"/>
                  </a:lnTo>
                  <a:lnTo>
                    <a:pt x="793" y="1657"/>
                  </a:lnTo>
                  <a:lnTo>
                    <a:pt x="785" y="1631"/>
                  </a:lnTo>
                  <a:lnTo>
                    <a:pt x="784" y="1611"/>
                  </a:lnTo>
                  <a:lnTo>
                    <a:pt x="781" y="1608"/>
                  </a:lnTo>
                  <a:lnTo>
                    <a:pt x="778" y="1608"/>
                  </a:lnTo>
                  <a:lnTo>
                    <a:pt x="769" y="1615"/>
                  </a:lnTo>
                  <a:lnTo>
                    <a:pt x="764" y="1616"/>
                  </a:lnTo>
                  <a:lnTo>
                    <a:pt x="762" y="1615"/>
                  </a:lnTo>
                  <a:lnTo>
                    <a:pt x="755" y="1607"/>
                  </a:lnTo>
                  <a:lnTo>
                    <a:pt x="750" y="1608"/>
                  </a:lnTo>
                  <a:lnTo>
                    <a:pt x="744" y="1612"/>
                  </a:lnTo>
                  <a:lnTo>
                    <a:pt x="737" y="1612"/>
                  </a:lnTo>
                  <a:lnTo>
                    <a:pt x="732" y="1607"/>
                  </a:lnTo>
                  <a:lnTo>
                    <a:pt x="729" y="1602"/>
                  </a:lnTo>
                  <a:lnTo>
                    <a:pt x="728" y="1587"/>
                  </a:lnTo>
                  <a:lnTo>
                    <a:pt x="722" y="1583"/>
                  </a:lnTo>
                  <a:lnTo>
                    <a:pt x="716" y="1582"/>
                  </a:lnTo>
                  <a:lnTo>
                    <a:pt x="707" y="1583"/>
                  </a:lnTo>
                  <a:lnTo>
                    <a:pt x="693" y="1590"/>
                  </a:lnTo>
                  <a:lnTo>
                    <a:pt x="691" y="1593"/>
                  </a:lnTo>
                  <a:lnTo>
                    <a:pt x="693" y="1601"/>
                  </a:lnTo>
                  <a:lnTo>
                    <a:pt x="692" y="1605"/>
                  </a:lnTo>
                  <a:lnTo>
                    <a:pt x="678" y="1614"/>
                  </a:lnTo>
                  <a:lnTo>
                    <a:pt x="680" y="1620"/>
                  </a:lnTo>
                  <a:lnTo>
                    <a:pt x="686" y="1627"/>
                  </a:lnTo>
                  <a:lnTo>
                    <a:pt x="688" y="1631"/>
                  </a:lnTo>
                  <a:lnTo>
                    <a:pt x="683" y="1644"/>
                  </a:lnTo>
                  <a:lnTo>
                    <a:pt x="681" y="1654"/>
                  </a:lnTo>
                  <a:lnTo>
                    <a:pt x="677" y="1659"/>
                  </a:lnTo>
                  <a:lnTo>
                    <a:pt x="668" y="1665"/>
                  </a:lnTo>
                  <a:lnTo>
                    <a:pt x="647" y="1674"/>
                  </a:lnTo>
                  <a:lnTo>
                    <a:pt x="641" y="1678"/>
                  </a:lnTo>
                  <a:lnTo>
                    <a:pt x="631" y="1688"/>
                  </a:lnTo>
                  <a:lnTo>
                    <a:pt x="623" y="1701"/>
                  </a:lnTo>
                  <a:lnTo>
                    <a:pt x="619" y="1704"/>
                  </a:lnTo>
                  <a:lnTo>
                    <a:pt x="611" y="1706"/>
                  </a:lnTo>
                  <a:lnTo>
                    <a:pt x="605" y="1705"/>
                  </a:lnTo>
                  <a:lnTo>
                    <a:pt x="602" y="1703"/>
                  </a:lnTo>
                  <a:lnTo>
                    <a:pt x="595" y="1693"/>
                  </a:lnTo>
                  <a:lnTo>
                    <a:pt x="591" y="1691"/>
                  </a:lnTo>
                  <a:lnTo>
                    <a:pt x="586" y="1694"/>
                  </a:lnTo>
                  <a:lnTo>
                    <a:pt x="576" y="1705"/>
                  </a:lnTo>
                  <a:lnTo>
                    <a:pt x="573" y="1706"/>
                  </a:lnTo>
                  <a:lnTo>
                    <a:pt x="571" y="1706"/>
                  </a:lnTo>
                  <a:lnTo>
                    <a:pt x="567" y="1702"/>
                  </a:lnTo>
                  <a:lnTo>
                    <a:pt x="558" y="1689"/>
                  </a:lnTo>
                  <a:lnTo>
                    <a:pt x="558" y="1686"/>
                  </a:lnTo>
                  <a:lnTo>
                    <a:pt x="565" y="1675"/>
                  </a:lnTo>
                  <a:lnTo>
                    <a:pt x="558" y="1667"/>
                  </a:lnTo>
                  <a:lnTo>
                    <a:pt x="558" y="1663"/>
                  </a:lnTo>
                  <a:lnTo>
                    <a:pt x="570" y="1642"/>
                  </a:lnTo>
                  <a:lnTo>
                    <a:pt x="577" y="1633"/>
                  </a:lnTo>
                  <a:lnTo>
                    <a:pt x="587" y="1627"/>
                  </a:lnTo>
                  <a:lnTo>
                    <a:pt x="601" y="1626"/>
                  </a:lnTo>
                  <a:lnTo>
                    <a:pt x="609" y="1619"/>
                  </a:lnTo>
                  <a:lnTo>
                    <a:pt x="613" y="1611"/>
                  </a:lnTo>
                  <a:lnTo>
                    <a:pt x="612" y="1602"/>
                  </a:lnTo>
                  <a:lnTo>
                    <a:pt x="613" y="1597"/>
                  </a:lnTo>
                  <a:lnTo>
                    <a:pt x="617" y="1594"/>
                  </a:lnTo>
                  <a:lnTo>
                    <a:pt x="624" y="1588"/>
                  </a:lnTo>
                  <a:lnTo>
                    <a:pt x="625" y="1583"/>
                  </a:lnTo>
                  <a:lnTo>
                    <a:pt x="624" y="1577"/>
                  </a:lnTo>
                  <a:lnTo>
                    <a:pt x="621" y="1572"/>
                  </a:lnTo>
                  <a:lnTo>
                    <a:pt x="607" y="1573"/>
                  </a:lnTo>
                  <a:lnTo>
                    <a:pt x="605" y="1571"/>
                  </a:lnTo>
                  <a:lnTo>
                    <a:pt x="603" y="1564"/>
                  </a:lnTo>
                  <a:lnTo>
                    <a:pt x="593" y="1561"/>
                  </a:lnTo>
                  <a:lnTo>
                    <a:pt x="589" y="1555"/>
                  </a:lnTo>
                  <a:lnTo>
                    <a:pt x="583" y="1552"/>
                  </a:lnTo>
                  <a:lnTo>
                    <a:pt x="576" y="1549"/>
                  </a:lnTo>
                  <a:lnTo>
                    <a:pt x="567" y="1547"/>
                  </a:lnTo>
                  <a:lnTo>
                    <a:pt x="545" y="1545"/>
                  </a:lnTo>
                  <a:lnTo>
                    <a:pt x="537" y="1552"/>
                  </a:lnTo>
                  <a:lnTo>
                    <a:pt x="534" y="1558"/>
                  </a:lnTo>
                  <a:lnTo>
                    <a:pt x="533" y="1563"/>
                  </a:lnTo>
                  <a:lnTo>
                    <a:pt x="529" y="1596"/>
                  </a:lnTo>
                  <a:lnTo>
                    <a:pt x="526" y="1602"/>
                  </a:lnTo>
                  <a:lnTo>
                    <a:pt x="522" y="1605"/>
                  </a:lnTo>
                  <a:lnTo>
                    <a:pt x="505" y="1607"/>
                  </a:lnTo>
                  <a:lnTo>
                    <a:pt x="492" y="1617"/>
                  </a:lnTo>
                  <a:lnTo>
                    <a:pt x="475" y="1626"/>
                  </a:lnTo>
                  <a:lnTo>
                    <a:pt x="460" y="1638"/>
                  </a:lnTo>
                  <a:lnTo>
                    <a:pt x="450" y="1643"/>
                  </a:lnTo>
                  <a:lnTo>
                    <a:pt x="447" y="1644"/>
                  </a:lnTo>
                  <a:lnTo>
                    <a:pt x="443" y="1643"/>
                  </a:lnTo>
                  <a:lnTo>
                    <a:pt x="433" y="1636"/>
                  </a:lnTo>
                  <a:lnTo>
                    <a:pt x="431" y="1636"/>
                  </a:lnTo>
                  <a:lnTo>
                    <a:pt x="422" y="1635"/>
                  </a:lnTo>
                  <a:lnTo>
                    <a:pt x="412" y="1636"/>
                  </a:lnTo>
                  <a:lnTo>
                    <a:pt x="411" y="1635"/>
                  </a:lnTo>
                  <a:lnTo>
                    <a:pt x="411" y="1635"/>
                  </a:lnTo>
                  <a:lnTo>
                    <a:pt x="411" y="1635"/>
                  </a:lnTo>
                  <a:lnTo>
                    <a:pt x="411" y="1635"/>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1" name="天津">
              <a:extLst>
                <a:ext uri="{FF2B5EF4-FFF2-40B4-BE49-F238E27FC236}">
                  <a16:creationId xmlns:a16="http://schemas.microsoft.com/office/drawing/2014/main" id="{A6F01559-276B-2BAA-E192-50C9A0C5A18F}"/>
                </a:ext>
              </a:extLst>
            </p:cNvPr>
            <p:cNvSpPr>
              <a:spLocks/>
            </p:cNvSpPr>
            <p:nvPr/>
          </p:nvSpPr>
          <p:spPr bwMode="auto">
            <a:xfrm>
              <a:off x="7272339" y="2667001"/>
              <a:ext cx="176213" cy="300038"/>
            </a:xfrm>
            <a:custGeom>
              <a:avLst/>
              <a:gdLst>
                <a:gd name="T0" fmla="*/ 55 w 331"/>
                <a:gd name="T1" fmla="*/ 218 h 568"/>
                <a:gd name="T2" fmla="*/ 94 w 331"/>
                <a:gd name="T3" fmla="*/ 211 h 568"/>
                <a:gd name="T4" fmla="*/ 92 w 331"/>
                <a:gd name="T5" fmla="*/ 154 h 568"/>
                <a:gd name="T6" fmla="*/ 103 w 331"/>
                <a:gd name="T7" fmla="*/ 142 h 568"/>
                <a:gd name="T8" fmla="*/ 91 w 331"/>
                <a:gd name="T9" fmla="*/ 126 h 568"/>
                <a:gd name="T10" fmla="*/ 86 w 331"/>
                <a:gd name="T11" fmla="*/ 106 h 568"/>
                <a:gd name="T12" fmla="*/ 91 w 331"/>
                <a:gd name="T13" fmla="*/ 74 h 568"/>
                <a:gd name="T14" fmla="*/ 94 w 331"/>
                <a:gd name="T15" fmla="*/ 52 h 568"/>
                <a:gd name="T16" fmla="*/ 123 w 331"/>
                <a:gd name="T17" fmla="*/ 28 h 568"/>
                <a:gd name="T18" fmla="*/ 126 w 331"/>
                <a:gd name="T19" fmla="*/ 6 h 568"/>
                <a:gd name="T20" fmla="*/ 188 w 331"/>
                <a:gd name="T21" fmla="*/ 18 h 568"/>
                <a:gd name="T22" fmla="*/ 221 w 331"/>
                <a:gd name="T23" fmla="*/ 46 h 568"/>
                <a:gd name="T24" fmla="*/ 242 w 331"/>
                <a:gd name="T25" fmla="*/ 65 h 568"/>
                <a:gd name="T26" fmla="*/ 246 w 331"/>
                <a:gd name="T27" fmla="*/ 85 h 568"/>
                <a:gd name="T28" fmla="*/ 224 w 331"/>
                <a:gd name="T29" fmla="*/ 85 h 568"/>
                <a:gd name="T30" fmla="*/ 185 w 331"/>
                <a:gd name="T31" fmla="*/ 81 h 568"/>
                <a:gd name="T32" fmla="*/ 181 w 331"/>
                <a:gd name="T33" fmla="*/ 122 h 568"/>
                <a:gd name="T34" fmla="*/ 192 w 331"/>
                <a:gd name="T35" fmla="*/ 157 h 568"/>
                <a:gd name="T36" fmla="*/ 207 w 331"/>
                <a:gd name="T37" fmla="*/ 178 h 568"/>
                <a:gd name="T38" fmla="*/ 214 w 331"/>
                <a:gd name="T39" fmla="*/ 203 h 568"/>
                <a:gd name="T40" fmla="*/ 240 w 331"/>
                <a:gd name="T41" fmla="*/ 230 h 568"/>
                <a:gd name="T42" fmla="*/ 255 w 331"/>
                <a:gd name="T43" fmla="*/ 212 h 568"/>
                <a:gd name="T44" fmla="*/ 285 w 331"/>
                <a:gd name="T45" fmla="*/ 213 h 568"/>
                <a:gd name="T46" fmla="*/ 285 w 331"/>
                <a:gd name="T47" fmla="*/ 233 h 568"/>
                <a:gd name="T48" fmla="*/ 276 w 331"/>
                <a:gd name="T49" fmla="*/ 275 h 568"/>
                <a:gd name="T50" fmla="*/ 273 w 331"/>
                <a:gd name="T51" fmla="*/ 284 h 568"/>
                <a:gd name="T52" fmla="*/ 288 w 331"/>
                <a:gd name="T53" fmla="*/ 278 h 568"/>
                <a:gd name="T54" fmla="*/ 313 w 331"/>
                <a:gd name="T55" fmla="*/ 295 h 568"/>
                <a:gd name="T56" fmla="*/ 327 w 331"/>
                <a:gd name="T57" fmla="*/ 319 h 568"/>
                <a:gd name="T58" fmla="*/ 316 w 331"/>
                <a:gd name="T59" fmla="*/ 330 h 568"/>
                <a:gd name="T60" fmla="*/ 270 w 331"/>
                <a:gd name="T61" fmla="*/ 359 h 568"/>
                <a:gd name="T62" fmla="*/ 253 w 331"/>
                <a:gd name="T63" fmla="*/ 381 h 568"/>
                <a:gd name="T64" fmla="*/ 258 w 331"/>
                <a:gd name="T65" fmla="*/ 396 h 568"/>
                <a:gd name="T66" fmla="*/ 257 w 331"/>
                <a:gd name="T67" fmla="*/ 408 h 568"/>
                <a:gd name="T68" fmla="*/ 267 w 331"/>
                <a:gd name="T69" fmla="*/ 414 h 568"/>
                <a:gd name="T70" fmla="*/ 264 w 331"/>
                <a:gd name="T71" fmla="*/ 418 h 568"/>
                <a:gd name="T72" fmla="*/ 247 w 331"/>
                <a:gd name="T73" fmla="*/ 413 h 568"/>
                <a:gd name="T74" fmla="*/ 252 w 331"/>
                <a:gd name="T75" fmla="*/ 420 h 568"/>
                <a:gd name="T76" fmla="*/ 244 w 331"/>
                <a:gd name="T77" fmla="*/ 439 h 568"/>
                <a:gd name="T78" fmla="*/ 232 w 331"/>
                <a:gd name="T79" fmla="*/ 469 h 568"/>
                <a:gd name="T80" fmla="*/ 221 w 331"/>
                <a:gd name="T81" fmla="*/ 499 h 568"/>
                <a:gd name="T82" fmla="*/ 213 w 331"/>
                <a:gd name="T83" fmla="*/ 522 h 568"/>
                <a:gd name="T84" fmla="*/ 219 w 331"/>
                <a:gd name="T85" fmla="*/ 543 h 568"/>
                <a:gd name="T86" fmla="*/ 196 w 331"/>
                <a:gd name="T87" fmla="*/ 555 h 568"/>
                <a:gd name="T88" fmla="*/ 144 w 331"/>
                <a:gd name="T89" fmla="*/ 568 h 568"/>
                <a:gd name="T90" fmla="*/ 139 w 331"/>
                <a:gd name="T91" fmla="*/ 543 h 568"/>
                <a:gd name="T92" fmla="*/ 131 w 331"/>
                <a:gd name="T93" fmla="*/ 538 h 568"/>
                <a:gd name="T94" fmla="*/ 103 w 331"/>
                <a:gd name="T95" fmla="*/ 555 h 568"/>
                <a:gd name="T96" fmla="*/ 94 w 331"/>
                <a:gd name="T97" fmla="*/ 536 h 568"/>
                <a:gd name="T98" fmla="*/ 86 w 331"/>
                <a:gd name="T99" fmla="*/ 520 h 568"/>
                <a:gd name="T100" fmla="*/ 53 w 331"/>
                <a:gd name="T101" fmla="*/ 534 h 568"/>
                <a:gd name="T102" fmla="*/ 38 w 331"/>
                <a:gd name="T103" fmla="*/ 528 h 568"/>
                <a:gd name="T104" fmla="*/ 8 w 331"/>
                <a:gd name="T105" fmla="*/ 498 h 568"/>
                <a:gd name="T106" fmla="*/ 2 w 331"/>
                <a:gd name="T107" fmla="*/ 485 h 568"/>
                <a:gd name="T108" fmla="*/ 4 w 331"/>
                <a:gd name="T109" fmla="*/ 418 h 568"/>
                <a:gd name="T110" fmla="*/ 43 w 331"/>
                <a:gd name="T111" fmla="*/ 395 h 568"/>
                <a:gd name="T112" fmla="*/ 41 w 331"/>
                <a:gd name="T113" fmla="*/ 377 h 568"/>
                <a:gd name="T114" fmla="*/ 31 w 331"/>
                <a:gd name="T115" fmla="*/ 370 h 568"/>
                <a:gd name="T116" fmla="*/ 27 w 331"/>
                <a:gd name="T117" fmla="*/ 314 h 568"/>
                <a:gd name="T118" fmla="*/ 11 w 331"/>
                <a:gd name="T119" fmla="*/ 276 h 568"/>
                <a:gd name="T120" fmla="*/ 3 w 331"/>
                <a:gd name="T121" fmla="*/ 229 h 568"/>
                <a:gd name="T122" fmla="*/ 39 w 331"/>
                <a:gd name="T123" fmla="*/ 214 h 568"/>
                <a:gd name="T124" fmla="*/ 36 w 331"/>
                <a:gd name="T125" fmla="*/ 21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 h="568">
                  <a:moveTo>
                    <a:pt x="36" y="210"/>
                  </a:moveTo>
                  <a:lnTo>
                    <a:pt x="42" y="210"/>
                  </a:lnTo>
                  <a:lnTo>
                    <a:pt x="55" y="218"/>
                  </a:lnTo>
                  <a:lnTo>
                    <a:pt x="60" y="219"/>
                  </a:lnTo>
                  <a:lnTo>
                    <a:pt x="90" y="213"/>
                  </a:lnTo>
                  <a:lnTo>
                    <a:pt x="94" y="211"/>
                  </a:lnTo>
                  <a:lnTo>
                    <a:pt x="93" y="180"/>
                  </a:lnTo>
                  <a:lnTo>
                    <a:pt x="97" y="166"/>
                  </a:lnTo>
                  <a:lnTo>
                    <a:pt x="92" y="154"/>
                  </a:lnTo>
                  <a:lnTo>
                    <a:pt x="92" y="150"/>
                  </a:lnTo>
                  <a:lnTo>
                    <a:pt x="97" y="145"/>
                  </a:lnTo>
                  <a:lnTo>
                    <a:pt x="103" y="142"/>
                  </a:lnTo>
                  <a:lnTo>
                    <a:pt x="108" y="140"/>
                  </a:lnTo>
                  <a:lnTo>
                    <a:pt x="109" y="139"/>
                  </a:lnTo>
                  <a:lnTo>
                    <a:pt x="91" y="126"/>
                  </a:lnTo>
                  <a:lnTo>
                    <a:pt x="87" y="119"/>
                  </a:lnTo>
                  <a:lnTo>
                    <a:pt x="85" y="114"/>
                  </a:lnTo>
                  <a:lnTo>
                    <a:pt x="86" y="106"/>
                  </a:lnTo>
                  <a:lnTo>
                    <a:pt x="90" y="95"/>
                  </a:lnTo>
                  <a:lnTo>
                    <a:pt x="92" y="91"/>
                  </a:lnTo>
                  <a:lnTo>
                    <a:pt x="91" y="74"/>
                  </a:lnTo>
                  <a:lnTo>
                    <a:pt x="95" y="61"/>
                  </a:lnTo>
                  <a:lnTo>
                    <a:pt x="94" y="52"/>
                  </a:lnTo>
                  <a:lnTo>
                    <a:pt x="94" y="52"/>
                  </a:lnTo>
                  <a:lnTo>
                    <a:pt x="104" y="49"/>
                  </a:lnTo>
                  <a:lnTo>
                    <a:pt x="109" y="44"/>
                  </a:lnTo>
                  <a:lnTo>
                    <a:pt x="123" y="28"/>
                  </a:lnTo>
                  <a:lnTo>
                    <a:pt x="126" y="22"/>
                  </a:lnTo>
                  <a:lnTo>
                    <a:pt x="126" y="6"/>
                  </a:lnTo>
                  <a:lnTo>
                    <a:pt x="126" y="6"/>
                  </a:lnTo>
                  <a:lnTo>
                    <a:pt x="152" y="0"/>
                  </a:lnTo>
                  <a:lnTo>
                    <a:pt x="176" y="3"/>
                  </a:lnTo>
                  <a:lnTo>
                    <a:pt x="188" y="18"/>
                  </a:lnTo>
                  <a:lnTo>
                    <a:pt x="201" y="37"/>
                  </a:lnTo>
                  <a:lnTo>
                    <a:pt x="206" y="40"/>
                  </a:lnTo>
                  <a:lnTo>
                    <a:pt x="221" y="46"/>
                  </a:lnTo>
                  <a:lnTo>
                    <a:pt x="230" y="52"/>
                  </a:lnTo>
                  <a:lnTo>
                    <a:pt x="236" y="57"/>
                  </a:lnTo>
                  <a:lnTo>
                    <a:pt x="242" y="65"/>
                  </a:lnTo>
                  <a:lnTo>
                    <a:pt x="248" y="74"/>
                  </a:lnTo>
                  <a:lnTo>
                    <a:pt x="248" y="76"/>
                  </a:lnTo>
                  <a:lnTo>
                    <a:pt x="246" y="85"/>
                  </a:lnTo>
                  <a:lnTo>
                    <a:pt x="242" y="88"/>
                  </a:lnTo>
                  <a:lnTo>
                    <a:pt x="236" y="88"/>
                  </a:lnTo>
                  <a:lnTo>
                    <a:pt x="224" y="85"/>
                  </a:lnTo>
                  <a:lnTo>
                    <a:pt x="208" y="88"/>
                  </a:lnTo>
                  <a:lnTo>
                    <a:pt x="190" y="80"/>
                  </a:lnTo>
                  <a:lnTo>
                    <a:pt x="185" y="81"/>
                  </a:lnTo>
                  <a:lnTo>
                    <a:pt x="182" y="86"/>
                  </a:lnTo>
                  <a:lnTo>
                    <a:pt x="180" y="104"/>
                  </a:lnTo>
                  <a:lnTo>
                    <a:pt x="181" y="122"/>
                  </a:lnTo>
                  <a:lnTo>
                    <a:pt x="183" y="128"/>
                  </a:lnTo>
                  <a:lnTo>
                    <a:pt x="192" y="139"/>
                  </a:lnTo>
                  <a:lnTo>
                    <a:pt x="192" y="157"/>
                  </a:lnTo>
                  <a:lnTo>
                    <a:pt x="196" y="166"/>
                  </a:lnTo>
                  <a:lnTo>
                    <a:pt x="202" y="175"/>
                  </a:lnTo>
                  <a:lnTo>
                    <a:pt x="207" y="178"/>
                  </a:lnTo>
                  <a:lnTo>
                    <a:pt x="216" y="182"/>
                  </a:lnTo>
                  <a:lnTo>
                    <a:pt x="216" y="190"/>
                  </a:lnTo>
                  <a:lnTo>
                    <a:pt x="214" y="203"/>
                  </a:lnTo>
                  <a:lnTo>
                    <a:pt x="214" y="210"/>
                  </a:lnTo>
                  <a:lnTo>
                    <a:pt x="233" y="219"/>
                  </a:lnTo>
                  <a:lnTo>
                    <a:pt x="240" y="230"/>
                  </a:lnTo>
                  <a:lnTo>
                    <a:pt x="244" y="225"/>
                  </a:lnTo>
                  <a:lnTo>
                    <a:pt x="250" y="215"/>
                  </a:lnTo>
                  <a:lnTo>
                    <a:pt x="255" y="212"/>
                  </a:lnTo>
                  <a:lnTo>
                    <a:pt x="264" y="211"/>
                  </a:lnTo>
                  <a:lnTo>
                    <a:pt x="277" y="212"/>
                  </a:lnTo>
                  <a:lnTo>
                    <a:pt x="285" y="213"/>
                  </a:lnTo>
                  <a:lnTo>
                    <a:pt x="290" y="216"/>
                  </a:lnTo>
                  <a:lnTo>
                    <a:pt x="291" y="220"/>
                  </a:lnTo>
                  <a:lnTo>
                    <a:pt x="285" y="233"/>
                  </a:lnTo>
                  <a:lnTo>
                    <a:pt x="283" y="242"/>
                  </a:lnTo>
                  <a:lnTo>
                    <a:pt x="278" y="271"/>
                  </a:lnTo>
                  <a:lnTo>
                    <a:pt x="276" y="275"/>
                  </a:lnTo>
                  <a:lnTo>
                    <a:pt x="272" y="277"/>
                  </a:lnTo>
                  <a:lnTo>
                    <a:pt x="272" y="280"/>
                  </a:lnTo>
                  <a:lnTo>
                    <a:pt x="273" y="284"/>
                  </a:lnTo>
                  <a:lnTo>
                    <a:pt x="275" y="284"/>
                  </a:lnTo>
                  <a:lnTo>
                    <a:pt x="285" y="279"/>
                  </a:lnTo>
                  <a:lnTo>
                    <a:pt x="288" y="278"/>
                  </a:lnTo>
                  <a:lnTo>
                    <a:pt x="295" y="286"/>
                  </a:lnTo>
                  <a:lnTo>
                    <a:pt x="297" y="295"/>
                  </a:lnTo>
                  <a:lnTo>
                    <a:pt x="313" y="295"/>
                  </a:lnTo>
                  <a:lnTo>
                    <a:pt x="330" y="308"/>
                  </a:lnTo>
                  <a:lnTo>
                    <a:pt x="331" y="311"/>
                  </a:lnTo>
                  <a:lnTo>
                    <a:pt x="327" y="319"/>
                  </a:lnTo>
                  <a:lnTo>
                    <a:pt x="326" y="328"/>
                  </a:lnTo>
                  <a:lnTo>
                    <a:pt x="326" y="328"/>
                  </a:lnTo>
                  <a:lnTo>
                    <a:pt x="316" y="330"/>
                  </a:lnTo>
                  <a:lnTo>
                    <a:pt x="301" y="338"/>
                  </a:lnTo>
                  <a:lnTo>
                    <a:pt x="279" y="349"/>
                  </a:lnTo>
                  <a:lnTo>
                    <a:pt x="270" y="359"/>
                  </a:lnTo>
                  <a:lnTo>
                    <a:pt x="259" y="375"/>
                  </a:lnTo>
                  <a:lnTo>
                    <a:pt x="252" y="378"/>
                  </a:lnTo>
                  <a:lnTo>
                    <a:pt x="253" y="381"/>
                  </a:lnTo>
                  <a:lnTo>
                    <a:pt x="256" y="386"/>
                  </a:lnTo>
                  <a:lnTo>
                    <a:pt x="258" y="392"/>
                  </a:lnTo>
                  <a:lnTo>
                    <a:pt x="258" y="396"/>
                  </a:lnTo>
                  <a:lnTo>
                    <a:pt x="256" y="402"/>
                  </a:lnTo>
                  <a:lnTo>
                    <a:pt x="256" y="406"/>
                  </a:lnTo>
                  <a:lnTo>
                    <a:pt x="257" y="408"/>
                  </a:lnTo>
                  <a:lnTo>
                    <a:pt x="260" y="408"/>
                  </a:lnTo>
                  <a:lnTo>
                    <a:pt x="262" y="409"/>
                  </a:lnTo>
                  <a:lnTo>
                    <a:pt x="267" y="414"/>
                  </a:lnTo>
                  <a:lnTo>
                    <a:pt x="267" y="416"/>
                  </a:lnTo>
                  <a:lnTo>
                    <a:pt x="266" y="418"/>
                  </a:lnTo>
                  <a:lnTo>
                    <a:pt x="264" y="418"/>
                  </a:lnTo>
                  <a:lnTo>
                    <a:pt x="250" y="412"/>
                  </a:lnTo>
                  <a:lnTo>
                    <a:pt x="248" y="412"/>
                  </a:lnTo>
                  <a:lnTo>
                    <a:pt x="247" y="413"/>
                  </a:lnTo>
                  <a:lnTo>
                    <a:pt x="246" y="418"/>
                  </a:lnTo>
                  <a:lnTo>
                    <a:pt x="250" y="418"/>
                  </a:lnTo>
                  <a:lnTo>
                    <a:pt x="252" y="420"/>
                  </a:lnTo>
                  <a:lnTo>
                    <a:pt x="254" y="429"/>
                  </a:lnTo>
                  <a:lnTo>
                    <a:pt x="251" y="434"/>
                  </a:lnTo>
                  <a:lnTo>
                    <a:pt x="244" y="439"/>
                  </a:lnTo>
                  <a:lnTo>
                    <a:pt x="242" y="447"/>
                  </a:lnTo>
                  <a:lnTo>
                    <a:pt x="233" y="464"/>
                  </a:lnTo>
                  <a:lnTo>
                    <a:pt x="232" y="469"/>
                  </a:lnTo>
                  <a:lnTo>
                    <a:pt x="228" y="471"/>
                  </a:lnTo>
                  <a:lnTo>
                    <a:pt x="225" y="483"/>
                  </a:lnTo>
                  <a:lnTo>
                    <a:pt x="221" y="499"/>
                  </a:lnTo>
                  <a:lnTo>
                    <a:pt x="219" y="516"/>
                  </a:lnTo>
                  <a:lnTo>
                    <a:pt x="218" y="519"/>
                  </a:lnTo>
                  <a:lnTo>
                    <a:pt x="213" y="522"/>
                  </a:lnTo>
                  <a:lnTo>
                    <a:pt x="219" y="524"/>
                  </a:lnTo>
                  <a:lnTo>
                    <a:pt x="220" y="537"/>
                  </a:lnTo>
                  <a:lnTo>
                    <a:pt x="219" y="543"/>
                  </a:lnTo>
                  <a:lnTo>
                    <a:pt x="221" y="547"/>
                  </a:lnTo>
                  <a:lnTo>
                    <a:pt x="221" y="547"/>
                  </a:lnTo>
                  <a:lnTo>
                    <a:pt x="196" y="555"/>
                  </a:lnTo>
                  <a:lnTo>
                    <a:pt x="161" y="566"/>
                  </a:lnTo>
                  <a:lnTo>
                    <a:pt x="151" y="568"/>
                  </a:lnTo>
                  <a:lnTo>
                    <a:pt x="144" y="568"/>
                  </a:lnTo>
                  <a:lnTo>
                    <a:pt x="142" y="567"/>
                  </a:lnTo>
                  <a:lnTo>
                    <a:pt x="141" y="565"/>
                  </a:lnTo>
                  <a:lnTo>
                    <a:pt x="139" y="543"/>
                  </a:lnTo>
                  <a:lnTo>
                    <a:pt x="138" y="540"/>
                  </a:lnTo>
                  <a:lnTo>
                    <a:pt x="135" y="539"/>
                  </a:lnTo>
                  <a:lnTo>
                    <a:pt x="131" y="538"/>
                  </a:lnTo>
                  <a:lnTo>
                    <a:pt x="128" y="539"/>
                  </a:lnTo>
                  <a:lnTo>
                    <a:pt x="109" y="555"/>
                  </a:lnTo>
                  <a:lnTo>
                    <a:pt x="103" y="555"/>
                  </a:lnTo>
                  <a:lnTo>
                    <a:pt x="99" y="554"/>
                  </a:lnTo>
                  <a:lnTo>
                    <a:pt x="98" y="550"/>
                  </a:lnTo>
                  <a:lnTo>
                    <a:pt x="94" y="536"/>
                  </a:lnTo>
                  <a:lnTo>
                    <a:pt x="92" y="522"/>
                  </a:lnTo>
                  <a:lnTo>
                    <a:pt x="90" y="519"/>
                  </a:lnTo>
                  <a:lnTo>
                    <a:pt x="86" y="520"/>
                  </a:lnTo>
                  <a:lnTo>
                    <a:pt x="78" y="522"/>
                  </a:lnTo>
                  <a:lnTo>
                    <a:pt x="59" y="532"/>
                  </a:lnTo>
                  <a:lnTo>
                    <a:pt x="53" y="534"/>
                  </a:lnTo>
                  <a:lnTo>
                    <a:pt x="47" y="534"/>
                  </a:lnTo>
                  <a:lnTo>
                    <a:pt x="42" y="532"/>
                  </a:lnTo>
                  <a:lnTo>
                    <a:pt x="38" y="528"/>
                  </a:lnTo>
                  <a:lnTo>
                    <a:pt x="30" y="512"/>
                  </a:lnTo>
                  <a:lnTo>
                    <a:pt x="9" y="505"/>
                  </a:lnTo>
                  <a:lnTo>
                    <a:pt x="8" y="498"/>
                  </a:lnTo>
                  <a:lnTo>
                    <a:pt x="7" y="495"/>
                  </a:lnTo>
                  <a:lnTo>
                    <a:pt x="4" y="492"/>
                  </a:lnTo>
                  <a:lnTo>
                    <a:pt x="2" y="485"/>
                  </a:lnTo>
                  <a:lnTo>
                    <a:pt x="0" y="451"/>
                  </a:lnTo>
                  <a:lnTo>
                    <a:pt x="1" y="423"/>
                  </a:lnTo>
                  <a:lnTo>
                    <a:pt x="4" y="418"/>
                  </a:lnTo>
                  <a:lnTo>
                    <a:pt x="9" y="413"/>
                  </a:lnTo>
                  <a:lnTo>
                    <a:pt x="39" y="401"/>
                  </a:lnTo>
                  <a:lnTo>
                    <a:pt x="43" y="395"/>
                  </a:lnTo>
                  <a:lnTo>
                    <a:pt x="45" y="388"/>
                  </a:lnTo>
                  <a:lnTo>
                    <a:pt x="44" y="382"/>
                  </a:lnTo>
                  <a:lnTo>
                    <a:pt x="41" y="377"/>
                  </a:lnTo>
                  <a:lnTo>
                    <a:pt x="39" y="376"/>
                  </a:lnTo>
                  <a:lnTo>
                    <a:pt x="33" y="374"/>
                  </a:lnTo>
                  <a:lnTo>
                    <a:pt x="31" y="370"/>
                  </a:lnTo>
                  <a:lnTo>
                    <a:pt x="32" y="345"/>
                  </a:lnTo>
                  <a:lnTo>
                    <a:pt x="29" y="318"/>
                  </a:lnTo>
                  <a:lnTo>
                    <a:pt x="27" y="314"/>
                  </a:lnTo>
                  <a:lnTo>
                    <a:pt x="19" y="310"/>
                  </a:lnTo>
                  <a:lnTo>
                    <a:pt x="20" y="286"/>
                  </a:lnTo>
                  <a:lnTo>
                    <a:pt x="11" y="276"/>
                  </a:lnTo>
                  <a:lnTo>
                    <a:pt x="9" y="256"/>
                  </a:lnTo>
                  <a:lnTo>
                    <a:pt x="5" y="246"/>
                  </a:lnTo>
                  <a:lnTo>
                    <a:pt x="3" y="229"/>
                  </a:lnTo>
                  <a:lnTo>
                    <a:pt x="3" y="229"/>
                  </a:lnTo>
                  <a:lnTo>
                    <a:pt x="37" y="216"/>
                  </a:lnTo>
                  <a:lnTo>
                    <a:pt x="39" y="214"/>
                  </a:lnTo>
                  <a:lnTo>
                    <a:pt x="36" y="210"/>
                  </a:lnTo>
                  <a:lnTo>
                    <a:pt x="36" y="210"/>
                  </a:lnTo>
                  <a:lnTo>
                    <a:pt x="36" y="210"/>
                  </a:lnTo>
                  <a:lnTo>
                    <a:pt x="36" y="21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2" name="Freeform 143">
              <a:extLst>
                <a:ext uri="{FF2B5EF4-FFF2-40B4-BE49-F238E27FC236}">
                  <a16:creationId xmlns:a16="http://schemas.microsoft.com/office/drawing/2014/main" id="{C14FEBBC-1A9E-0309-47E6-60AFC0D2029A}"/>
                </a:ext>
              </a:extLst>
            </p:cNvPr>
            <p:cNvSpPr>
              <a:spLocks/>
            </p:cNvSpPr>
            <p:nvPr/>
          </p:nvSpPr>
          <p:spPr bwMode="auto">
            <a:xfrm>
              <a:off x="7589839" y="4257677"/>
              <a:ext cx="609600" cy="703263"/>
            </a:xfrm>
            <a:custGeom>
              <a:avLst/>
              <a:gdLst>
                <a:gd name="T0" fmla="*/ 648 w 1152"/>
                <a:gd name="T1" fmla="*/ 1270 h 1329"/>
                <a:gd name="T2" fmla="*/ 548 w 1152"/>
                <a:gd name="T3" fmla="*/ 1261 h 1329"/>
                <a:gd name="T4" fmla="*/ 427 w 1152"/>
                <a:gd name="T5" fmla="*/ 1255 h 1329"/>
                <a:gd name="T6" fmla="*/ 292 w 1152"/>
                <a:gd name="T7" fmla="*/ 1241 h 1329"/>
                <a:gd name="T8" fmla="*/ 259 w 1152"/>
                <a:gd name="T9" fmla="*/ 1039 h 1329"/>
                <a:gd name="T10" fmla="*/ 203 w 1152"/>
                <a:gd name="T11" fmla="*/ 1010 h 1329"/>
                <a:gd name="T12" fmla="*/ 138 w 1152"/>
                <a:gd name="T13" fmla="*/ 938 h 1329"/>
                <a:gd name="T14" fmla="*/ 32 w 1152"/>
                <a:gd name="T15" fmla="*/ 771 h 1329"/>
                <a:gd name="T16" fmla="*/ 49 w 1152"/>
                <a:gd name="T17" fmla="*/ 631 h 1329"/>
                <a:gd name="T18" fmla="*/ 187 w 1152"/>
                <a:gd name="T19" fmla="*/ 480 h 1329"/>
                <a:gd name="T20" fmla="*/ 218 w 1152"/>
                <a:gd name="T21" fmla="*/ 352 h 1329"/>
                <a:gd name="T22" fmla="*/ 316 w 1152"/>
                <a:gd name="T23" fmla="*/ 293 h 1329"/>
                <a:gd name="T24" fmla="*/ 314 w 1152"/>
                <a:gd name="T25" fmla="*/ 206 h 1329"/>
                <a:gd name="T26" fmla="*/ 388 w 1152"/>
                <a:gd name="T27" fmla="*/ 123 h 1329"/>
                <a:gd name="T28" fmla="*/ 483 w 1152"/>
                <a:gd name="T29" fmla="*/ 9 h 1329"/>
                <a:gd name="T30" fmla="*/ 633 w 1152"/>
                <a:gd name="T31" fmla="*/ 87 h 1329"/>
                <a:gd name="T32" fmla="*/ 710 w 1152"/>
                <a:gd name="T33" fmla="*/ 46 h 1329"/>
                <a:gd name="T34" fmla="*/ 819 w 1152"/>
                <a:gd name="T35" fmla="*/ 78 h 1329"/>
                <a:gd name="T36" fmla="*/ 797 w 1152"/>
                <a:gd name="T37" fmla="*/ 178 h 1329"/>
                <a:gd name="T38" fmla="*/ 748 w 1152"/>
                <a:gd name="T39" fmla="*/ 249 h 1329"/>
                <a:gd name="T40" fmla="*/ 636 w 1152"/>
                <a:gd name="T41" fmla="*/ 256 h 1329"/>
                <a:gd name="T42" fmla="*/ 593 w 1152"/>
                <a:gd name="T43" fmla="*/ 299 h 1329"/>
                <a:gd name="T44" fmla="*/ 597 w 1152"/>
                <a:gd name="T45" fmla="*/ 300 h 1329"/>
                <a:gd name="T46" fmla="*/ 704 w 1152"/>
                <a:gd name="T47" fmla="*/ 259 h 1329"/>
                <a:gd name="T48" fmla="*/ 908 w 1152"/>
                <a:gd name="T49" fmla="*/ 246 h 1329"/>
                <a:gd name="T50" fmla="*/ 1064 w 1152"/>
                <a:gd name="T51" fmla="*/ 355 h 1329"/>
                <a:gd name="T52" fmla="*/ 1110 w 1152"/>
                <a:gd name="T53" fmla="*/ 389 h 1329"/>
                <a:gd name="T54" fmla="*/ 1042 w 1152"/>
                <a:gd name="T55" fmla="*/ 479 h 1329"/>
                <a:gd name="T56" fmla="*/ 988 w 1152"/>
                <a:gd name="T57" fmla="*/ 493 h 1329"/>
                <a:gd name="T58" fmla="*/ 987 w 1152"/>
                <a:gd name="T59" fmla="*/ 512 h 1329"/>
                <a:gd name="T60" fmla="*/ 1038 w 1152"/>
                <a:gd name="T61" fmla="*/ 495 h 1329"/>
                <a:gd name="T62" fmla="*/ 1082 w 1152"/>
                <a:gd name="T63" fmla="*/ 483 h 1329"/>
                <a:gd name="T64" fmla="*/ 1111 w 1152"/>
                <a:gd name="T65" fmla="*/ 455 h 1329"/>
                <a:gd name="T66" fmla="*/ 1116 w 1152"/>
                <a:gd name="T67" fmla="*/ 491 h 1329"/>
                <a:gd name="T68" fmla="*/ 1114 w 1152"/>
                <a:gd name="T69" fmla="*/ 539 h 1329"/>
                <a:gd name="T70" fmla="*/ 1136 w 1152"/>
                <a:gd name="T71" fmla="*/ 566 h 1329"/>
                <a:gd name="T72" fmla="*/ 1086 w 1152"/>
                <a:gd name="T73" fmla="*/ 574 h 1329"/>
                <a:gd name="T74" fmla="*/ 1070 w 1152"/>
                <a:gd name="T75" fmla="*/ 544 h 1329"/>
                <a:gd name="T76" fmla="*/ 1044 w 1152"/>
                <a:gd name="T77" fmla="*/ 610 h 1329"/>
                <a:gd name="T78" fmla="*/ 1032 w 1152"/>
                <a:gd name="T79" fmla="*/ 602 h 1329"/>
                <a:gd name="T80" fmla="*/ 994 w 1152"/>
                <a:gd name="T81" fmla="*/ 620 h 1329"/>
                <a:gd name="T82" fmla="*/ 993 w 1152"/>
                <a:gd name="T83" fmla="*/ 645 h 1329"/>
                <a:gd name="T84" fmla="*/ 1019 w 1152"/>
                <a:gd name="T85" fmla="*/ 663 h 1329"/>
                <a:gd name="T86" fmla="*/ 1058 w 1152"/>
                <a:gd name="T87" fmla="*/ 674 h 1329"/>
                <a:gd name="T88" fmla="*/ 1041 w 1152"/>
                <a:gd name="T89" fmla="*/ 699 h 1329"/>
                <a:gd name="T90" fmla="*/ 1052 w 1152"/>
                <a:gd name="T91" fmla="*/ 720 h 1329"/>
                <a:gd name="T92" fmla="*/ 1053 w 1152"/>
                <a:gd name="T93" fmla="*/ 751 h 1329"/>
                <a:gd name="T94" fmla="*/ 1006 w 1152"/>
                <a:gd name="T95" fmla="*/ 786 h 1329"/>
                <a:gd name="T96" fmla="*/ 1078 w 1152"/>
                <a:gd name="T97" fmla="*/ 885 h 1329"/>
                <a:gd name="T98" fmla="*/ 1020 w 1152"/>
                <a:gd name="T99" fmla="*/ 902 h 1329"/>
                <a:gd name="T100" fmla="*/ 1002 w 1152"/>
                <a:gd name="T101" fmla="*/ 945 h 1329"/>
                <a:gd name="T102" fmla="*/ 960 w 1152"/>
                <a:gd name="T103" fmla="*/ 917 h 1329"/>
                <a:gd name="T104" fmla="*/ 928 w 1152"/>
                <a:gd name="T105" fmla="*/ 909 h 1329"/>
                <a:gd name="T106" fmla="*/ 919 w 1152"/>
                <a:gd name="T107" fmla="*/ 958 h 1329"/>
                <a:gd name="T108" fmla="*/ 851 w 1152"/>
                <a:gd name="T109" fmla="*/ 1035 h 1329"/>
                <a:gd name="T110" fmla="*/ 863 w 1152"/>
                <a:gd name="T111" fmla="*/ 1069 h 1329"/>
                <a:gd name="T112" fmla="*/ 798 w 1152"/>
                <a:gd name="T113" fmla="*/ 1189 h 1329"/>
                <a:gd name="T114" fmla="*/ 804 w 1152"/>
                <a:gd name="T115" fmla="*/ 1244 h 1329"/>
                <a:gd name="T116" fmla="*/ 794 w 1152"/>
                <a:gd name="T117" fmla="*/ 1272 h 1329"/>
                <a:gd name="T118" fmla="*/ 774 w 1152"/>
                <a:gd name="T119" fmla="*/ 1324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2" h="1329">
                  <a:moveTo>
                    <a:pt x="764" y="1320"/>
                  </a:moveTo>
                  <a:lnTo>
                    <a:pt x="756" y="1309"/>
                  </a:lnTo>
                  <a:lnTo>
                    <a:pt x="755" y="1289"/>
                  </a:lnTo>
                  <a:lnTo>
                    <a:pt x="752" y="1284"/>
                  </a:lnTo>
                  <a:lnTo>
                    <a:pt x="741" y="1275"/>
                  </a:lnTo>
                  <a:lnTo>
                    <a:pt x="734" y="1268"/>
                  </a:lnTo>
                  <a:lnTo>
                    <a:pt x="726" y="1249"/>
                  </a:lnTo>
                  <a:lnTo>
                    <a:pt x="723" y="1248"/>
                  </a:lnTo>
                  <a:lnTo>
                    <a:pt x="721" y="1247"/>
                  </a:lnTo>
                  <a:lnTo>
                    <a:pt x="711" y="1252"/>
                  </a:lnTo>
                  <a:lnTo>
                    <a:pt x="707" y="1250"/>
                  </a:lnTo>
                  <a:lnTo>
                    <a:pt x="702" y="1244"/>
                  </a:lnTo>
                  <a:lnTo>
                    <a:pt x="697" y="1242"/>
                  </a:lnTo>
                  <a:lnTo>
                    <a:pt x="681" y="1243"/>
                  </a:lnTo>
                  <a:lnTo>
                    <a:pt x="670" y="1248"/>
                  </a:lnTo>
                  <a:lnTo>
                    <a:pt x="662" y="1254"/>
                  </a:lnTo>
                  <a:lnTo>
                    <a:pt x="648" y="1270"/>
                  </a:lnTo>
                  <a:lnTo>
                    <a:pt x="645" y="1272"/>
                  </a:lnTo>
                  <a:lnTo>
                    <a:pt x="639" y="1273"/>
                  </a:lnTo>
                  <a:lnTo>
                    <a:pt x="630" y="1267"/>
                  </a:lnTo>
                  <a:lnTo>
                    <a:pt x="625" y="1266"/>
                  </a:lnTo>
                  <a:lnTo>
                    <a:pt x="618" y="1271"/>
                  </a:lnTo>
                  <a:lnTo>
                    <a:pt x="610" y="1283"/>
                  </a:lnTo>
                  <a:lnTo>
                    <a:pt x="603" y="1289"/>
                  </a:lnTo>
                  <a:lnTo>
                    <a:pt x="597" y="1290"/>
                  </a:lnTo>
                  <a:lnTo>
                    <a:pt x="587" y="1289"/>
                  </a:lnTo>
                  <a:lnTo>
                    <a:pt x="585" y="1290"/>
                  </a:lnTo>
                  <a:lnTo>
                    <a:pt x="581" y="1294"/>
                  </a:lnTo>
                  <a:lnTo>
                    <a:pt x="579" y="1296"/>
                  </a:lnTo>
                  <a:lnTo>
                    <a:pt x="575" y="1297"/>
                  </a:lnTo>
                  <a:lnTo>
                    <a:pt x="568" y="1296"/>
                  </a:lnTo>
                  <a:lnTo>
                    <a:pt x="564" y="1286"/>
                  </a:lnTo>
                  <a:lnTo>
                    <a:pt x="553" y="1272"/>
                  </a:lnTo>
                  <a:lnTo>
                    <a:pt x="548" y="1261"/>
                  </a:lnTo>
                  <a:lnTo>
                    <a:pt x="535" y="1227"/>
                  </a:lnTo>
                  <a:lnTo>
                    <a:pt x="517" y="1202"/>
                  </a:lnTo>
                  <a:lnTo>
                    <a:pt x="514" y="1195"/>
                  </a:lnTo>
                  <a:lnTo>
                    <a:pt x="511" y="1185"/>
                  </a:lnTo>
                  <a:lnTo>
                    <a:pt x="507" y="1181"/>
                  </a:lnTo>
                  <a:lnTo>
                    <a:pt x="502" y="1180"/>
                  </a:lnTo>
                  <a:lnTo>
                    <a:pt x="495" y="1181"/>
                  </a:lnTo>
                  <a:lnTo>
                    <a:pt x="478" y="1186"/>
                  </a:lnTo>
                  <a:lnTo>
                    <a:pt x="473" y="1199"/>
                  </a:lnTo>
                  <a:lnTo>
                    <a:pt x="467" y="1224"/>
                  </a:lnTo>
                  <a:lnTo>
                    <a:pt x="463" y="1235"/>
                  </a:lnTo>
                  <a:lnTo>
                    <a:pt x="458" y="1234"/>
                  </a:lnTo>
                  <a:lnTo>
                    <a:pt x="451" y="1229"/>
                  </a:lnTo>
                  <a:lnTo>
                    <a:pt x="443" y="1229"/>
                  </a:lnTo>
                  <a:lnTo>
                    <a:pt x="439" y="1234"/>
                  </a:lnTo>
                  <a:lnTo>
                    <a:pt x="434" y="1245"/>
                  </a:lnTo>
                  <a:lnTo>
                    <a:pt x="427" y="1255"/>
                  </a:lnTo>
                  <a:lnTo>
                    <a:pt x="413" y="1265"/>
                  </a:lnTo>
                  <a:lnTo>
                    <a:pt x="399" y="1272"/>
                  </a:lnTo>
                  <a:lnTo>
                    <a:pt x="393" y="1273"/>
                  </a:lnTo>
                  <a:lnTo>
                    <a:pt x="375" y="1269"/>
                  </a:lnTo>
                  <a:lnTo>
                    <a:pt x="374" y="1268"/>
                  </a:lnTo>
                  <a:lnTo>
                    <a:pt x="370" y="1257"/>
                  </a:lnTo>
                  <a:lnTo>
                    <a:pt x="367" y="1256"/>
                  </a:lnTo>
                  <a:lnTo>
                    <a:pt x="361" y="1257"/>
                  </a:lnTo>
                  <a:lnTo>
                    <a:pt x="350" y="1259"/>
                  </a:lnTo>
                  <a:lnTo>
                    <a:pt x="343" y="1260"/>
                  </a:lnTo>
                  <a:lnTo>
                    <a:pt x="339" y="1259"/>
                  </a:lnTo>
                  <a:lnTo>
                    <a:pt x="326" y="1253"/>
                  </a:lnTo>
                  <a:lnTo>
                    <a:pt x="319" y="1259"/>
                  </a:lnTo>
                  <a:lnTo>
                    <a:pt x="307" y="1260"/>
                  </a:lnTo>
                  <a:lnTo>
                    <a:pt x="302" y="1259"/>
                  </a:lnTo>
                  <a:lnTo>
                    <a:pt x="298" y="1256"/>
                  </a:lnTo>
                  <a:lnTo>
                    <a:pt x="292" y="1241"/>
                  </a:lnTo>
                  <a:lnTo>
                    <a:pt x="300" y="1225"/>
                  </a:lnTo>
                  <a:lnTo>
                    <a:pt x="299" y="1215"/>
                  </a:lnTo>
                  <a:lnTo>
                    <a:pt x="286" y="1191"/>
                  </a:lnTo>
                  <a:lnTo>
                    <a:pt x="285" y="1187"/>
                  </a:lnTo>
                  <a:lnTo>
                    <a:pt x="285" y="1182"/>
                  </a:lnTo>
                  <a:lnTo>
                    <a:pt x="292" y="1176"/>
                  </a:lnTo>
                  <a:lnTo>
                    <a:pt x="292" y="1173"/>
                  </a:lnTo>
                  <a:lnTo>
                    <a:pt x="287" y="1163"/>
                  </a:lnTo>
                  <a:lnTo>
                    <a:pt x="278" y="1149"/>
                  </a:lnTo>
                  <a:lnTo>
                    <a:pt x="252" y="1118"/>
                  </a:lnTo>
                  <a:lnTo>
                    <a:pt x="242" y="1107"/>
                  </a:lnTo>
                  <a:lnTo>
                    <a:pt x="236" y="1096"/>
                  </a:lnTo>
                  <a:lnTo>
                    <a:pt x="235" y="1076"/>
                  </a:lnTo>
                  <a:lnTo>
                    <a:pt x="237" y="1068"/>
                  </a:lnTo>
                  <a:lnTo>
                    <a:pt x="239" y="1063"/>
                  </a:lnTo>
                  <a:lnTo>
                    <a:pt x="255" y="1045"/>
                  </a:lnTo>
                  <a:lnTo>
                    <a:pt x="259" y="1039"/>
                  </a:lnTo>
                  <a:lnTo>
                    <a:pt x="259" y="1036"/>
                  </a:lnTo>
                  <a:lnTo>
                    <a:pt x="257" y="1035"/>
                  </a:lnTo>
                  <a:lnTo>
                    <a:pt x="247" y="1030"/>
                  </a:lnTo>
                  <a:lnTo>
                    <a:pt x="245" y="1028"/>
                  </a:lnTo>
                  <a:lnTo>
                    <a:pt x="247" y="1020"/>
                  </a:lnTo>
                  <a:lnTo>
                    <a:pt x="254" y="1008"/>
                  </a:lnTo>
                  <a:lnTo>
                    <a:pt x="254" y="1004"/>
                  </a:lnTo>
                  <a:lnTo>
                    <a:pt x="250" y="1002"/>
                  </a:lnTo>
                  <a:lnTo>
                    <a:pt x="243" y="1001"/>
                  </a:lnTo>
                  <a:lnTo>
                    <a:pt x="232" y="1005"/>
                  </a:lnTo>
                  <a:lnTo>
                    <a:pt x="228" y="999"/>
                  </a:lnTo>
                  <a:lnTo>
                    <a:pt x="224" y="988"/>
                  </a:lnTo>
                  <a:lnTo>
                    <a:pt x="219" y="985"/>
                  </a:lnTo>
                  <a:lnTo>
                    <a:pt x="217" y="986"/>
                  </a:lnTo>
                  <a:lnTo>
                    <a:pt x="214" y="989"/>
                  </a:lnTo>
                  <a:lnTo>
                    <a:pt x="207" y="1005"/>
                  </a:lnTo>
                  <a:lnTo>
                    <a:pt x="203" y="1010"/>
                  </a:lnTo>
                  <a:lnTo>
                    <a:pt x="196" y="1010"/>
                  </a:lnTo>
                  <a:lnTo>
                    <a:pt x="182" y="1005"/>
                  </a:lnTo>
                  <a:lnTo>
                    <a:pt x="175" y="1006"/>
                  </a:lnTo>
                  <a:lnTo>
                    <a:pt x="166" y="1010"/>
                  </a:lnTo>
                  <a:lnTo>
                    <a:pt x="165" y="1012"/>
                  </a:lnTo>
                  <a:lnTo>
                    <a:pt x="164" y="1019"/>
                  </a:lnTo>
                  <a:lnTo>
                    <a:pt x="161" y="1022"/>
                  </a:lnTo>
                  <a:lnTo>
                    <a:pt x="154" y="1022"/>
                  </a:lnTo>
                  <a:lnTo>
                    <a:pt x="149" y="1021"/>
                  </a:lnTo>
                  <a:lnTo>
                    <a:pt x="142" y="1015"/>
                  </a:lnTo>
                  <a:lnTo>
                    <a:pt x="135" y="1006"/>
                  </a:lnTo>
                  <a:lnTo>
                    <a:pt x="135" y="1006"/>
                  </a:lnTo>
                  <a:lnTo>
                    <a:pt x="144" y="993"/>
                  </a:lnTo>
                  <a:lnTo>
                    <a:pt x="148" y="983"/>
                  </a:lnTo>
                  <a:lnTo>
                    <a:pt x="141" y="964"/>
                  </a:lnTo>
                  <a:lnTo>
                    <a:pt x="142" y="946"/>
                  </a:lnTo>
                  <a:lnTo>
                    <a:pt x="138" y="938"/>
                  </a:lnTo>
                  <a:lnTo>
                    <a:pt x="128" y="913"/>
                  </a:lnTo>
                  <a:lnTo>
                    <a:pt x="126" y="875"/>
                  </a:lnTo>
                  <a:lnTo>
                    <a:pt x="125" y="873"/>
                  </a:lnTo>
                  <a:lnTo>
                    <a:pt x="120" y="868"/>
                  </a:lnTo>
                  <a:lnTo>
                    <a:pt x="118" y="863"/>
                  </a:lnTo>
                  <a:lnTo>
                    <a:pt x="111" y="840"/>
                  </a:lnTo>
                  <a:lnTo>
                    <a:pt x="107" y="835"/>
                  </a:lnTo>
                  <a:lnTo>
                    <a:pt x="87" y="822"/>
                  </a:lnTo>
                  <a:lnTo>
                    <a:pt x="74" y="800"/>
                  </a:lnTo>
                  <a:lnTo>
                    <a:pt x="70" y="799"/>
                  </a:lnTo>
                  <a:lnTo>
                    <a:pt x="62" y="803"/>
                  </a:lnTo>
                  <a:lnTo>
                    <a:pt x="57" y="803"/>
                  </a:lnTo>
                  <a:lnTo>
                    <a:pt x="55" y="798"/>
                  </a:lnTo>
                  <a:lnTo>
                    <a:pt x="55" y="787"/>
                  </a:lnTo>
                  <a:lnTo>
                    <a:pt x="54" y="782"/>
                  </a:lnTo>
                  <a:lnTo>
                    <a:pt x="47" y="777"/>
                  </a:lnTo>
                  <a:lnTo>
                    <a:pt x="32" y="771"/>
                  </a:lnTo>
                  <a:lnTo>
                    <a:pt x="23" y="766"/>
                  </a:lnTo>
                  <a:lnTo>
                    <a:pt x="19" y="759"/>
                  </a:lnTo>
                  <a:lnTo>
                    <a:pt x="12" y="744"/>
                  </a:lnTo>
                  <a:lnTo>
                    <a:pt x="5" y="735"/>
                  </a:lnTo>
                  <a:lnTo>
                    <a:pt x="3" y="730"/>
                  </a:lnTo>
                  <a:lnTo>
                    <a:pt x="0" y="703"/>
                  </a:lnTo>
                  <a:lnTo>
                    <a:pt x="2" y="700"/>
                  </a:lnTo>
                  <a:lnTo>
                    <a:pt x="9" y="699"/>
                  </a:lnTo>
                  <a:lnTo>
                    <a:pt x="12" y="696"/>
                  </a:lnTo>
                  <a:lnTo>
                    <a:pt x="11" y="678"/>
                  </a:lnTo>
                  <a:lnTo>
                    <a:pt x="32" y="676"/>
                  </a:lnTo>
                  <a:lnTo>
                    <a:pt x="39" y="669"/>
                  </a:lnTo>
                  <a:lnTo>
                    <a:pt x="43" y="653"/>
                  </a:lnTo>
                  <a:lnTo>
                    <a:pt x="47" y="644"/>
                  </a:lnTo>
                  <a:lnTo>
                    <a:pt x="48" y="634"/>
                  </a:lnTo>
                  <a:lnTo>
                    <a:pt x="48" y="634"/>
                  </a:lnTo>
                  <a:lnTo>
                    <a:pt x="49" y="631"/>
                  </a:lnTo>
                  <a:lnTo>
                    <a:pt x="62" y="613"/>
                  </a:lnTo>
                  <a:lnTo>
                    <a:pt x="70" y="597"/>
                  </a:lnTo>
                  <a:lnTo>
                    <a:pt x="84" y="597"/>
                  </a:lnTo>
                  <a:lnTo>
                    <a:pt x="92" y="592"/>
                  </a:lnTo>
                  <a:lnTo>
                    <a:pt x="108" y="578"/>
                  </a:lnTo>
                  <a:lnTo>
                    <a:pt x="131" y="552"/>
                  </a:lnTo>
                  <a:lnTo>
                    <a:pt x="141" y="544"/>
                  </a:lnTo>
                  <a:lnTo>
                    <a:pt x="149" y="540"/>
                  </a:lnTo>
                  <a:lnTo>
                    <a:pt x="156" y="538"/>
                  </a:lnTo>
                  <a:lnTo>
                    <a:pt x="160" y="538"/>
                  </a:lnTo>
                  <a:lnTo>
                    <a:pt x="165" y="540"/>
                  </a:lnTo>
                  <a:lnTo>
                    <a:pt x="167" y="540"/>
                  </a:lnTo>
                  <a:lnTo>
                    <a:pt x="177" y="529"/>
                  </a:lnTo>
                  <a:lnTo>
                    <a:pt x="185" y="515"/>
                  </a:lnTo>
                  <a:lnTo>
                    <a:pt x="188" y="508"/>
                  </a:lnTo>
                  <a:lnTo>
                    <a:pt x="185" y="484"/>
                  </a:lnTo>
                  <a:lnTo>
                    <a:pt x="187" y="480"/>
                  </a:lnTo>
                  <a:lnTo>
                    <a:pt x="191" y="470"/>
                  </a:lnTo>
                  <a:lnTo>
                    <a:pt x="195" y="462"/>
                  </a:lnTo>
                  <a:lnTo>
                    <a:pt x="205" y="465"/>
                  </a:lnTo>
                  <a:lnTo>
                    <a:pt x="209" y="463"/>
                  </a:lnTo>
                  <a:lnTo>
                    <a:pt x="212" y="457"/>
                  </a:lnTo>
                  <a:lnTo>
                    <a:pt x="216" y="436"/>
                  </a:lnTo>
                  <a:lnTo>
                    <a:pt x="218" y="435"/>
                  </a:lnTo>
                  <a:lnTo>
                    <a:pt x="225" y="432"/>
                  </a:lnTo>
                  <a:lnTo>
                    <a:pt x="227" y="427"/>
                  </a:lnTo>
                  <a:lnTo>
                    <a:pt x="226" y="418"/>
                  </a:lnTo>
                  <a:lnTo>
                    <a:pt x="220" y="398"/>
                  </a:lnTo>
                  <a:lnTo>
                    <a:pt x="209" y="373"/>
                  </a:lnTo>
                  <a:lnTo>
                    <a:pt x="206" y="368"/>
                  </a:lnTo>
                  <a:lnTo>
                    <a:pt x="205" y="364"/>
                  </a:lnTo>
                  <a:lnTo>
                    <a:pt x="205" y="362"/>
                  </a:lnTo>
                  <a:lnTo>
                    <a:pt x="206" y="360"/>
                  </a:lnTo>
                  <a:lnTo>
                    <a:pt x="218" y="352"/>
                  </a:lnTo>
                  <a:lnTo>
                    <a:pt x="219" y="349"/>
                  </a:lnTo>
                  <a:lnTo>
                    <a:pt x="214" y="322"/>
                  </a:lnTo>
                  <a:lnTo>
                    <a:pt x="214" y="313"/>
                  </a:lnTo>
                  <a:lnTo>
                    <a:pt x="215" y="305"/>
                  </a:lnTo>
                  <a:lnTo>
                    <a:pt x="224" y="300"/>
                  </a:lnTo>
                  <a:lnTo>
                    <a:pt x="234" y="299"/>
                  </a:lnTo>
                  <a:lnTo>
                    <a:pt x="244" y="301"/>
                  </a:lnTo>
                  <a:lnTo>
                    <a:pt x="257" y="302"/>
                  </a:lnTo>
                  <a:lnTo>
                    <a:pt x="266" y="308"/>
                  </a:lnTo>
                  <a:lnTo>
                    <a:pt x="269" y="308"/>
                  </a:lnTo>
                  <a:lnTo>
                    <a:pt x="275" y="305"/>
                  </a:lnTo>
                  <a:lnTo>
                    <a:pt x="281" y="304"/>
                  </a:lnTo>
                  <a:lnTo>
                    <a:pt x="298" y="310"/>
                  </a:lnTo>
                  <a:lnTo>
                    <a:pt x="303" y="311"/>
                  </a:lnTo>
                  <a:lnTo>
                    <a:pt x="305" y="310"/>
                  </a:lnTo>
                  <a:lnTo>
                    <a:pt x="309" y="306"/>
                  </a:lnTo>
                  <a:lnTo>
                    <a:pt x="316" y="293"/>
                  </a:lnTo>
                  <a:lnTo>
                    <a:pt x="320" y="289"/>
                  </a:lnTo>
                  <a:lnTo>
                    <a:pt x="328" y="286"/>
                  </a:lnTo>
                  <a:lnTo>
                    <a:pt x="337" y="282"/>
                  </a:lnTo>
                  <a:lnTo>
                    <a:pt x="353" y="280"/>
                  </a:lnTo>
                  <a:lnTo>
                    <a:pt x="358" y="277"/>
                  </a:lnTo>
                  <a:lnTo>
                    <a:pt x="361" y="273"/>
                  </a:lnTo>
                  <a:lnTo>
                    <a:pt x="362" y="270"/>
                  </a:lnTo>
                  <a:lnTo>
                    <a:pt x="349" y="264"/>
                  </a:lnTo>
                  <a:lnTo>
                    <a:pt x="345" y="261"/>
                  </a:lnTo>
                  <a:lnTo>
                    <a:pt x="343" y="252"/>
                  </a:lnTo>
                  <a:lnTo>
                    <a:pt x="338" y="223"/>
                  </a:lnTo>
                  <a:lnTo>
                    <a:pt x="336" y="220"/>
                  </a:lnTo>
                  <a:lnTo>
                    <a:pt x="334" y="220"/>
                  </a:lnTo>
                  <a:lnTo>
                    <a:pt x="319" y="226"/>
                  </a:lnTo>
                  <a:lnTo>
                    <a:pt x="310" y="223"/>
                  </a:lnTo>
                  <a:lnTo>
                    <a:pt x="310" y="220"/>
                  </a:lnTo>
                  <a:lnTo>
                    <a:pt x="314" y="206"/>
                  </a:lnTo>
                  <a:lnTo>
                    <a:pt x="307" y="203"/>
                  </a:lnTo>
                  <a:lnTo>
                    <a:pt x="307" y="199"/>
                  </a:lnTo>
                  <a:lnTo>
                    <a:pt x="307" y="197"/>
                  </a:lnTo>
                  <a:lnTo>
                    <a:pt x="309" y="196"/>
                  </a:lnTo>
                  <a:lnTo>
                    <a:pt x="325" y="196"/>
                  </a:lnTo>
                  <a:lnTo>
                    <a:pt x="337" y="180"/>
                  </a:lnTo>
                  <a:lnTo>
                    <a:pt x="342" y="177"/>
                  </a:lnTo>
                  <a:lnTo>
                    <a:pt x="344" y="177"/>
                  </a:lnTo>
                  <a:lnTo>
                    <a:pt x="347" y="179"/>
                  </a:lnTo>
                  <a:lnTo>
                    <a:pt x="354" y="188"/>
                  </a:lnTo>
                  <a:lnTo>
                    <a:pt x="357" y="189"/>
                  </a:lnTo>
                  <a:lnTo>
                    <a:pt x="361" y="184"/>
                  </a:lnTo>
                  <a:lnTo>
                    <a:pt x="370" y="168"/>
                  </a:lnTo>
                  <a:lnTo>
                    <a:pt x="372" y="164"/>
                  </a:lnTo>
                  <a:lnTo>
                    <a:pt x="374" y="145"/>
                  </a:lnTo>
                  <a:lnTo>
                    <a:pt x="387" y="127"/>
                  </a:lnTo>
                  <a:lnTo>
                    <a:pt x="388" y="123"/>
                  </a:lnTo>
                  <a:lnTo>
                    <a:pt x="395" y="72"/>
                  </a:lnTo>
                  <a:lnTo>
                    <a:pt x="398" y="54"/>
                  </a:lnTo>
                  <a:lnTo>
                    <a:pt x="400" y="26"/>
                  </a:lnTo>
                  <a:lnTo>
                    <a:pt x="403" y="16"/>
                  </a:lnTo>
                  <a:lnTo>
                    <a:pt x="401" y="17"/>
                  </a:lnTo>
                  <a:lnTo>
                    <a:pt x="401" y="17"/>
                  </a:lnTo>
                  <a:lnTo>
                    <a:pt x="406" y="9"/>
                  </a:lnTo>
                  <a:lnTo>
                    <a:pt x="418" y="10"/>
                  </a:lnTo>
                  <a:lnTo>
                    <a:pt x="429" y="2"/>
                  </a:lnTo>
                  <a:lnTo>
                    <a:pt x="433" y="0"/>
                  </a:lnTo>
                  <a:lnTo>
                    <a:pt x="440" y="0"/>
                  </a:lnTo>
                  <a:lnTo>
                    <a:pt x="450" y="5"/>
                  </a:lnTo>
                  <a:lnTo>
                    <a:pt x="457" y="8"/>
                  </a:lnTo>
                  <a:lnTo>
                    <a:pt x="462" y="6"/>
                  </a:lnTo>
                  <a:lnTo>
                    <a:pt x="470" y="3"/>
                  </a:lnTo>
                  <a:lnTo>
                    <a:pt x="476" y="3"/>
                  </a:lnTo>
                  <a:lnTo>
                    <a:pt x="483" y="9"/>
                  </a:lnTo>
                  <a:lnTo>
                    <a:pt x="494" y="29"/>
                  </a:lnTo>
                  <a:lnTo>
                    <a:pt x="503" y="41"/>
                  </a:lnTo>
                  <a:lnTo>
                    <a:pt x="549" y="69"/>
                  </a:lnTo>
                  <a:lnTo>
                    <a:pt x="562" y="70"/>
                  </a:lnTo>
                  <a:lnTo>
                    <a:pt x="578" y="69"/>
                  </a:lnTo>
                  <a:lnTo>
                    <a:pt x="591" y="66"/>
                  </a:lnTo>
                  <a:lnTo>
                    <a:pt x="605" y="62"/>
                  </a:lnTo>
                  <a:lnTo>
                    <a:pt x="606" y="63"/>
                  </a:lnTo>
                  <a:lnTo>
                    <a:pt x="607" y="71"/>
                  </a:lnTo>
                  <a:lnTo>
                    <a:pt x="608" y="75"/>
                  </a:lnTo>
                  <a:lnTo>
                    <a:pt x="609" y="77"/>
                  </a:lnTo>
                  <a:lnTo>
                    <a:pt x="614" y="77"/>
                  </a:lnTo>
                  <a:lnTo>
                    <a:pt x="617" y="76"/>
                  </a:lnTo>
                  <a:lnTo>
                    <a:pt x="628" y="67"/>
                  </a:lnTo>
                  <a:lnTo>
                    <a:pt x="630" y="67"/>
                  </a:lnTo>
                  <a:lnTo>
                    <a:pt x="631" y="69"/>
                  </a:lnTo>
                  <a:lnTo>
                    <a:pt x="633" y="87"/>
                  </a:lnTo>
                  <a:lnTo>
                    <a:pt x="638" y="98"/>
                  </a:lnTo>
                  <a:lnTo>
                    <a:pt x="645" y="113"/>
                  </a:lnTo>
                  <a:lnTo>
                    <a:pt x="647" y="114"/>
                  </a:lnTo>
                  <a:lnTo>
                    <a:pt x="650" y="116"/>
                  </a:lnTo>
                  <a:lnTo>
                    <a:pt x="654" y="113"/>
                  </a:lnTo>
                  <a:lnTo>
                    <a:pt x="661" y="108"/>
                  </a:lnTo>
                  <a:lnTo>
                    <a:pt x="667" y="102"/>
                  </a:lnTo>
                  <a:lnTo>
                    <a:pt x="675" y="90"/>
                  </a:lnTo>
                  <a:lnTo>
                    <a:pt x="682" y="85"/>
                  </a:lnTo>
                  <a:lnTo>
                    <a:pt x="690" y="83"/>
                  </a:lnTo>
                  <a:lnTo>
                    <a:pt x="713" y="82"/>
                  </a:lnTo>
                  <a:lnTo>
                    <a:pt x="718" y="81"/>
                  </a:lnTo>
                  <a:lnTo>
                    <a:pt x="719" y="80"/>
                  </a:lnTo>
                  <a:lnTo>
                    <a:pt x="717" y="74"/>
                  </a:lnTo>
                  <a:lnTo>
                    <a:pt x="704" y="52"/>
                  </a:lnTo>
                  <a:lnTo>
                    <a:pt x="704" y="50"/>
                  </a:lnTo>
                  <a:lnTo>
                    <a:pt x="710" y="46"/>
                  </a:lnTo>
                  <a:lnTo>
                    <a:pt x="717" y="41"/>
                  </a:lnTo>
                  <a:lnTo>
                    <a:pt x="729" y="38"/>
                  </a:lnTo>
                  <a:lnTo>
                    <a:pt x="744" y="31"/>
                  </a:lnTo>
                  <a:lnTo>
                    <a:pt x="753" y="29"/>
                  </a:lnTo>
                  <a:lnTo>
                    <a:pt x="760" y="24"/>
                  </a:lnTo>
                  <a:lnTo>
                    <a:pt x="764" y="21"/>
                  </a:lnTo>
                  <a:lnTo>
                    <a:pt x="764" y="21"/>
                  </a:lnTo>
                  <a:lnTo>
                    <a:pt x="774" y="16"/>
                  </a:lnTo>
                  <a:lnTo>
                    <a:pt x="780" y="17"/>
                  </a:lnTo>
                  <a:lnTo>
                    <a:pt x="785" y="19"/>
                  </a:lnTo>
                  <a:lnTo>
                    <a:pt x="788" y="50"/>
                  </a:lnTo>
                  <a:lnTo>
                    <a:pt x="792" y="55"/>
                  </a:lnTo>
                  <a:lnTo>
                    <a:pt x="800" y="60"/>
                  </a:lnTo>
                  <a:lnTo>
                    <a:pt x="803" y="63"/>
                  </a:lnTo>
                  <a:lnTo>
                    <a:pt x="804" y="77"/>
                  </a:lnTo>
                  <a:lnTo>
                    <a:pt x="807" y="85"/>
                  </a:lnTo>
                  <a:lnTo>
                    <a:pt x="819" y="78"/>
                  </a:lnTo>
                  <a:lnTo>
                    <a:pt x="826" y="82"/>
                  </a:lnTo>
                  <a:lnTo>
                    <a:pt x="834" y="77"/>
                  </a:lnTo>
                  <a:lnTo>
                    <a:pt x="839" y="77"/>
                  </a:lnTo>
                  <a:lnTo>
                    <a:pt x="843" y="84"/>
                  </a:lnTo>
                  <a:lnTo>
                    <a:pt x="846" y="96"/>
                  </a:lnTo>
                  <a:lnTo>
                    <a:pt x="859" y="99"/>
                  </a:lnTo>
                  <a:lnTo>
                    <a:pt x="865" y="113"/>
                  </a:lnTo>
                  <a:lnTo>
                    <a:pt x="869" y="118"/>
                  </a:lnTo>
                  <a:lnTo>
                    <a:pt x="869" y="118"/>
                  </a:lnTo>
                  <a:lnTo>
                    <a:pt x="846" y="140"/>
                  </a:lnTo>
                  <a:lnTo>
                    <a:pt x="842" y="150"/>
                  </a:lnTo>
                  <a:lnTo>
                    <a:pt x="839" y="153"/>
                  </a:lnTo>
                  <a:lnTo>
                    <a:pt x="833" y="156"/>
                  </a:lnTo>
                  <a:lnTo>
                    <a:pt x="821" y="157"/>
                  </a:lnTo>
                  <a:lnTo>
                    <a:pt x="815" y="159"/>
                  </a:lnTo>
                  <a:lnTo>
                    <a:pt x="809" y="164"/>
                  </a:lnTo>
                  <a:lnTo>
                    <a:pt x="797" y="178"/>
                  </a:lnTo>
                  <a:lnTo>
                    <a:pt x="790" y="193"/>
                  </a:lnTo>
                  <a:lnTo>
                    <a:pt x="789" y="197"/>
                  </a:lnTo>
                  <a:lnTo>
                    <a:pt x="791" y="208"/>
                  </a:lnTo>
                  <a:lnTo>
                    <a:pt x="792" y="211"/>
                  </a:lnTo>
                  <a:lnTo>
                    <a:pt x="796" y="213"/>
                  </a:lnTo>
                  <a:lnTo>
                    <a:pt x="796" y="215"/>
                  </a:lnTo>
                  <a:lnTo>
                    <a:pt x="793" y="220"/>
                  </a:lnTo>
                  <a:lnTo>
                    <a:pt x="787" y="220"/>
                  </a:lnTo>
                  <a:lnTo>
                    <a:pt x="783" y="224"/>
                  </a:lnTo>
                  <a:lnTo>
                    <a:pt x="783" y="227"/>
                  </a:lnTo>
                  <a:lnTo>
                    <a:pt x="787" y="232"/>
                  </a:lnTo>
                  <a:lnTo>
                    <a:pt x="786" y="235"/>
                  </a:lnTo>
                  <a:lnTo>
                    <a:pt x="773" y="239"/>
                  </a:lnTo>
                  <a:lnTo>
                    <a:pt x="766" y="246"/>
                  </a:lnTo>
                  <a:lnTo>
                    <a:pt x="759" y="246"/>
                  </a:lnTo>
                  <a:lnTo>
                    <a:pt x="753" y="252"/>
                  </a:lnTo>
                  <a:lnTo>
                    <a:pt x="748" y="249"/>
                  </a:lnTo>
                  <a:lnTo>
                    <a:pt x="743" y="250"/>
                  </a:lnTo>
                  <a:lnTo>
                    <a:pt x="740" y="249"/>
                  </a:lnTo>
                  <a:lnTo>
                    <a:pt x="735" y="241"/>
                  </a:lnTo>
                  <a:lnTo>
                    <a:pt x="730" y="237"/>
                  </a:lnTo>
                  <a:lnTo>
                    <a:pt x="722" y="235"/>
                  </a:lnTo>
                  <a:lnTo>
                    <a:pt x="713" y="234"/>
                  </a:lnTo>
                  <a:lnTo>
                    <a:pt x="667" y="241"/>
                  </a:lnTo>
                  <a:lnTo>
                    <a:pt x="647" y="245"/>
                  </a:lnTo>
                  <a:lnTo>
                    <a:pt x="640" y="249"/>
                  </a:lnTo>
                  <a:lnTo>
                    <a:pt x="633" y="259"/>
                  </a:lnTo>
                  <a:lnTo>
                    <a:pt x="634" y="267"/>
                  </a:lnTo>
                  <a:lnTo>
                    <a:pt x="632" y="275"/>
                  </a:lnTo>
                  <a:lnTo>
                    <a:pt x="634" y="277"/>
                  </a:lnTo>
                  <a:lnTo>
                    <a:pt x="636" y="272"/>
                  </a:lnTo>
                  <a:lnTo>
                    <a:pt x="638" y="269"/>
                  </a:lnTo>
                  <a:lnTo>
                    <a:pt x="635" y="261"/>
                  </a:lnTo>
                  <a:lnTo>
                    <a:pt x="636" y="256"/>
                  </a:lnTo>
                  <a:lnTo>
                    <a:pt x="639" y="254"/>
                  </a:lnTo>
                  <a:lnTo>
                    <a:pt x="640" y="255"/>
                  </a:lnTo>
                  <a:lnTo>
                    <a:pt x="639" y="264"/>
                  </a:lnTo>
                  <a:lnTo>
                    <a:pt x="642" y="272"/>
                  </a:lnTo>
                  <a:lnTo>
                    <a:pt x="641" y="280"/>
                  </a:lnTo>
                  <a:lnTo>
                    <a:pt x="635" y="288"/>
                  </a:lnTo>
                  <a:lnTo>
                    <a:pt x="629" y="292"/>
                  </a:lnTo>
                  <a:lnTo>
                    <a:pt x="623" y="293"/>
                  </a:lnTo>
                  <a:lnTo>
                    <a:pt x="621" y="292"/>
                  </a:lnTo>
                  <a:lnTo>
                    <a:pt x="618" y="289"/>
                  </a:lnTo>
                  <a:lnTo>
                    <a:pt x="618" y="286"/>
                  </a:lnTo>
                  <a:lnTo>
                    <a:pt x="620" y="283"/>
                  </a:lnTo>
                  <a:lnTo>
                    <a:pt x="618" y="281"/>
                  </a:lnTo>
                  <a:lnTo>
                    <a:pt x="610" y="280"/>
                  </a:lnTo>
                  <a:lnTo>
                    <a:pt x="600" y="284"/>
                  </a:lnTo>
                  <a:lnTo>
                    <a:pt x="594" y="290"/>
                  </a:lnTo>
                  <a:lnTo>
                    <a:pt x="593" y="299"/>
                  </a:lnTo>
                  <a:lnTo>
                    <a:pt x="587" y="307"/>
                  </a:lnTo>
                  <a:lnTo>
                    <a:pt x="580" y="313"/>
                  </a:lnTo>
                  <a:lnTo>
                    <a:pt x="572" y="316"/>
                  </a:lnTo>
                  <a:lnTo>
                    <a:pt x="566" y="322"/>
                  </a:lnTo>
                  <a:lnTo>
                    <a:pt x="566" y="325"/>
                  </a:lnTo>
                  <a:lnTo>
                    <a:pt x="567" y="333"/>
                  </a:lnTo>
                  <a:lnTo>
                    <a:pt x="572" y="338"/>
                  </a:lnTo>
                  <a:lnTo>
                    <a:pt x="577" y="341"/>
                  </a:lnTo>
                  <a:lnTo>
                    <a:pt x="580" y="341"/>
                  </a:lnTo>
                  <a:lnTo>
                    <a:pt x="579" y="338"/>
                  </a:lnTo>
                  <a:lnTo>
                    <a:pt x="570" y="331"/>
                  </a:lnTo>
                  <a:lnTo>
                    <a:pt x="569" y="327"/>
                  </a:lnTo>
                  <a:lnTo>
                    <a:pt x="570" y="323"/>
                  </a:lnTo>
                  <a:lnTo>
                    <a:pt x="572" y="321"/>
                  </a:lnTo>
                  <a:lnTo>
                    <a:pt x="582" y="315"/>
                  </a:lnTo>
                  <a:lnTo>
                    <a:pt x="595" y="303"/>
                  </a:lnTo>
                  <a:lnTo>
                    <a:pt x="597" y="300"/>
                  </a:lnTo>
                  <a:lnTo>
                    <a:pt x="599" y="293"/>
                  </a:lnTo>
                  <a:lnTo>
                    <a:pt x="606" y="287"/>
                  </a:lnTo>
                  <a:lnTo>
                    <a:pt x="610" y="285"/>
                  </a:lnTo>
                  <a:lnTo>
                    <a:pt x="613" y="286"/>
                  </a:lnTo>
                  <a:lnTo>
                    <a:pt x="616" y="296"/>
                  </a:lnTo>
                  <a:lnTo>
                    <a:pt x="623" y="300"/>
                  </a:lnTo>
                  <a:lnTo>
                    <a:pt x="628" y="300"/>
                  </a:lnTo>
                  <a:lnTo>
                    <a:pt x="634" y="295"/>
                  </a:lnTo>
                  <a:lnTo>
                    <a:pt x="642" y="287"/>
                  </a:lnTo>
                  <a:lnTo>
                    <a:pt x="645" y="280"/>
                  </a:lnTo>
                  <a:lnTo>
                    <a:pt x="648" y="264"/>
                  </a:lnTo>
                  <a:lnTo>
                    <a:pt x="652" y="259"/>
                  </a:lnTo>
                  <a:lnTo>
                    <a:pt x="656" y="255"/>
                  </a:lnTo>
                  <a:lnTo>
                    <a:pt x="685" y="251"/>
                  </a:lnTo>
                  <a:lnTo>
                    <a:pt x="689" y="250"/>
                  </a:lnTo>
                  <a:lnTo>
                    <a:pt x="701" y="253"/>
                  </a:lnTo>
                  <a:lnTo>
                    <a:pt x="704" y="259"/>
                  </a:lnTo>
                  <a:lnTo>
                    <a:pt x="711" y="287"/>
                  </a:lnTo>
                  <a:lnTo>
                    <a:pt x="715" y="293"/>
                  </a:lnTo>
                  <a:lnTo>
                    <a:pt x="721" y="302"/>
                  </a:lnTo>
                  <a:lnTo>
                    <a:pt x="722" y="313"/>
                  </a:lnTo>
                  <a:lnTo>
                    <a:pt x="720" y="323"/>
                  </a:lnTo>
                  <a:lnTo>
                    <a:pt x="734" y="319"/>
                  </a:lnTo>
                  <a:lnTo>
                    <a:pt x="747" y="322"/>
                  </a:lnTo>
                  <a:lnTo>
                    <a:pt x="760" y="323"/>
                  </a:lnTo>
                  <a:lnTo>
                    <a:pt x="770" y="321"/>
                  </a:lnTo>
                  <a:lnTo>
                    <a:pt x="774" y="316"/>
                  </a:lnTo>
                  <a:lnTo>
                    <a:pt x="806" y="297"/>
                  </a:lnTo>
                  <a:lnTo>
                    <a:pt x="841" y="264"/>
                  </a:lnTo>
                  <a:lnTo>
                    <a:pt x="866" y="249"/>
                  </a:lnTo>
                  <a:lnTo>
                    <a:pt x="872" y="247"/>
                  </a:lnTo>
                  <a:lnTo>
                    <a:pt x="879" y="245"/>
                  </a:lnTo>
                  <a:lnTo>
                    <a:pt x="904" y="245"/>
                  </a:lnTo>
                  <a:lnTo>
                    <a:pt x="908" y="246"/>
                  </a:lnTo>
                  <a:lnTo>
                    <a:pt x="912" y="251"/>
                  </a:lnTo>
                  <a:lnTo>
                    <a:pt x="923" y="254"/>
                  </a:lnTo>
                  <a:lnTo>
                    <a:pt x="936" y="262"/>
                  </a:lnTo>
                  <a:lnTo>
                    <a:pt x="950" y="274"/>
                  </a:lnTo>
                  <a:lnTo>
                    <a:pt x="960" y="282"/>
                  </a:lnTo>
                  <a:lnTo>
                    <a:pt x="976" y="302"/>
                  </a:lnTo>
                  <a:lnTo>
                    <a:pt x="985" y="307"/>
                  </a:lnTo>
                  <a:lnTo>
                    <a:pt x="987" y="314"/>
                  </a:lnTo>
                  <a:lnTo>
                    <a:pt x="1000" y="329"/>
                  </a:lnTo>
                  <a:lnTo>
                    <a:pt x="1012" y="341"/>
                  </a:lnTo>
                  <a:lnTo>
                    <a:pt x="1023" y="349"/>
                  </a:lnTo>
                  <a:lnTo>
                    <a:pt x="1029" y="349"/>
                  </a:lnTo>
                  <a:lnTo>
                    <a:pt x="1039" y="343"/>
                  </a:lnTo>
                  <a:lnTo>
                    <a:pt x="1046" y="342"/>
                  </a:lnTo>
                  <a:lnTo>
                    <a:pt x="1056" y="347"/>
                  </a:lnTo>
                  <a:lnTo>
                    <a:pt x="1061" y="354"/>
                  </a:lnTo>
                  <a:lnTo>
                    <a:pt x="1064" y="355"/>
                  </a:lnTo>
                  <a:lnTo>
                    <a:pt x="1072" y="356"/>
                  </a:lnTo>
                  <a:lnTo>
                    <a:pt x="1086" y="357"/>
                  </a:lnTo>
                  <a:lnTo>
                    <a:pt x="1094" y="364"/>
                  </a:lnTo>
                  <a:lnTo>
                    <a:pt x="1096" y="364"/>
                  </a:lnTo>
                  <a:lnTo>
                    <a:pt x="1116" y="361"/>
                  </a:lnTo>
                  <a:lnTo>
                    <a:pt x="1134" y="360"/>
                  </a:lnTo>
                  <a:lnTo>
                    <a:pt x="1136" y="359"/>
                  </a:lnTo>
                  <a:lnTo>
                    <a:pt x="1142" y="354"/>
                  </a:lnTo>
                  <a:lnTo>
                    <a:pt x="1145" y="353"/>
                  </a:lnTo>
                  <a:lnTo>
                    <a:pt x="1148" y="354"/>
                  </a:lnTo>
                  <a:lnTo>
                    <a:pt x="1152" y="357"/>
                  </a:lnTo>
                  <a:lnTo>
                    <a:pt x="1152" y="359"/>
                  </a:lnTo>
                  <a:lnTo>
                    <a:pt x="1152" y="360"/>
                  </a:lnTo>
                  <a:lnTo>
                    <a:pt x="1133" y="374"/>
                  </a:lnTo>
                  <a:lnTo>
                    <a:pt x="1129" y="378"/>
                  </a:lnTo>
                  <a:lnTo>
                    <a:pt x="1121" y="380"/>
                  </a:lnTo>
                  <a:lnTo>
                    <a:pt x="1110" y="389"/>
                  </a:lnTo>
                  <a:lnTo>
                    <a:pt x="1098" y="401"/>
                  </a:lnTo>
                  <a:lnTo>
                    <a:pt x="1096" y="408"/>
                  </a:lnTo>
                  <a:lnTo>
                    <a:pt x="1093" y="411"/>
                  </a:lnTo>
                  <a:lnTo>
                    <a:pt x="1090" y="412"/>
                  </a:lnTo>
                  <a:lnTo>
                    <a:pt x="1083" y="407"/>
                  </a:lnTo>
                  <a:lnTo>
                    <a:pt x="1082" y="406"/>
                  </a:lnTo>
                  <a:lnTo>
                    <a:pt x="1080" y="412"/>
                  </a:lnTo>
                  <a:lnTo>
                    <a:pt x="1080" y="427"/>
                  </a:lnTo>
                  <a:lnTo>
                    <a:pt x="1078" y="433"/>
                  </a:lnTo>
                  <a:lnTo>
                    <a:pt x="1076" y="436"/>
                  </a:lnTo>
                  <a:lnTo>
                    <a:pt x="1067" y="440"/>
                  </a:lnTo>
                  <a:lnTo>
                    <a:pt x="1064" y="443"/>
                  </a:lnTo>
                  <a:lnTo>
                    <a:pt x="1048" y="469"/>
                  </a:lnTo>
                  <a:lnTo>
                    <a:pt x="1045" y="471"/>
                  </a:lnTo>
                  <a:lnTo>
                    <a:pt x="1041" y="471"/>
                  </a:lnTo>
                  <a:lnTo>
                    <a:pt x="1040" y="473"/>
                  </a:lnTo>
                  <a:lnTo>
                    <a:pt x="1042" y="479"/>
                  </a:lnTo>
                  <a:lnTo>
                    <a:pt x="1041" y="482"/>
                  </a:lnTo>
                  <a:lnTo>
                    <a:pt x="1028" y="487"/>
                  </a:lnTo>
                  <a:lnTo>
                    <a:pt x="1027" y="487"/>
                  </a:lnTo>
                  <a:lnTo>
                    <a:pt x="1024" y="482"/>
                  </a:lnTo>
                  <a:lnTo>
                    <a:pt x="1024" y="482"/>
                  </a:lnTo>
                  <a:lnTo>
                    <a:pt x="1024" y="488"/>
                  </a:lnTo>
                  <a:lnTo>
                    <a:pt x="1018" y="493"/>
                  </a:lnTo>
                  <a:lnTo>
                    <a:pt x="1012" y="494"/>
                  </a:lnTo>
                  <a:lnTo>
                    <a:pt x="1006" y="491"/>
                  </a:lnTo>
                  <a:lnTo>
                    <a:pt x="1004" y="491"/>
                  </a:lnTo>
                  <a:lnTo>
                    <a:pt x="999" y="499"/>
                  </a:lnTo>
                  <a:lnTo>
                    <a:pt x="995" y="506"/>
                  </a:lnTo>
                  <a:lnTo>
                    <a:pt x="994" y="507"/>
                  </a:lnTo>
                  <a:lnTo>
                    <a:pt x="992" y="507"/>
                  </a:lnTo>
                  <a:lnTo>
                    <a:pt x="992" y="502"/>
                  </a:lnTo>
                  <a:lnTo>
                    <a:pt x="989" y="493"/>
                  </a:lnTo>
                  <a:lnTo>
                    <a:pt x="988" y="493"/>
                  </a:lnTo>
                  <a:lnTo>
                    <a:pt x="986" y="493"/>
                  </a:lnTo>
                  <a:lnTo>
                    <a:pt x="975" y="501"/>
                  </a:lnTo>
                  <a:lnTo>
                    <a:pt x="972" y="504"/>
                  </a:lnTo>
                  <a:lnTo>
                    <a:pt x="972" y="506"/>
                  </a:lnTo>
                  <a:lnTo>
                    <a:pt x="974" y="511"/>
                  </a:lnTo>
                  <a:lnTo>
                    <a:pt x="973" y="513"/>
                  </a:lnTo>
                  <a:lnTo>
                    <a:pt x="967" y="521"/>
                  </a:lnTo>
                  <a:lnTo>
                    <a:pt x="968" y="525"/>
                  </a:lnTo>
                  <a:lnTo>
                    <a:pt x="972" y="531"/>
                  </a:lnTo>
                  <a:lnTo>
                    <a:pt x="972" y="538"/>
                  </a:lnTo>
                  <a:lnTo>
                    <a:pt x="974" y="539"/>
                  </a:lnTo>
                  <a:lnTo>
                    <a:pt x="977" y="538"/>
                  </a:lnTo>
                  <a:lnTo>
                    <a:pt x="978" y="537"/>
                  </a:lnTo>
                  <a:lnTo>
                    <a:pt x="980" y="535"/>
                  </a:lnTo>
                  <a:lnTo>
                    <a:pt x="981" y="523"/>
                  </a:lnTo>
                  <a:lnTo>
                    <a:pt x="982" y="519"/>
                  </a:lnTo>
                  <a:lnTo>
                    <a:pt x="987" y="512"/>
                  </a:lnTo>
                  <a:lnTo>
                    <a:pt x="991" y="513"/>
                  </a:lnTo>
                  <a:lnTo>
                    <a:pt x="990" y="523"/>
                  </a:lnTo>
                  <a:lnTo>
                    <a:pt x="991" y="524"/>
                  </a:lnTo>
                  <a:lnTo>
                    <a:pt x="995" y="523"/>
                  </a:lnTo>
                  <a:lnTo>
                    <a:pt x="993" y="535"/>
                  </a:lnTo>
                  <a:lnTo>
                    <a:pt x="988" y="538"/>
                  </a:lnTo>
                  <a:lnTo>
                    <a:pt x="985" y="542"/>
                  </a:lnTo>
                  <a:lnTo>
                    <a:pt x="986" y="544"/>
                  </a:lnTo>
                  <a:lnTo>
                    <a:pt x="989" y="545"/>
                  </a:lnTo>
                  <a:lnTo>
                    <a:pt x="993" y="543"/>
                  </a:lnTo>
                  <a:lnTo>
                    <a:pt x="996" y="539"/>
                  </a:lnTo>
                  <a:lnTo>
                    <a:pt x="1001" y="532"/>
                  </a:lnTo>
                  <a:lnTo>
                    <a:pt x="1005" y="520"/>
                  </a:lnTo>
                  <a:lnTo>
                    <a:pt x="1007" y="517"/>
                  </a:lnTo>
                  <a:lnTo>
                    <a:pt x="1012" y="514"/>
                  </a:lnTo>
                  <a:lnTo>
                    <a:pt x="1035" y="502"/>
                  </a:lnTo>
                  <a:lnTo>
                    <a:pt x="1038" y="495"/>
                  </a:lnTo>
                  <a:lnTo>
                    <a:pt x="1044" y="490"/>
                  </a:lnTo>
                  <a:lnTo>
                    <a:pt x="1052" y="488"/>
                  </a:lnTo>
                  <a:lnTo>
                    <a:pt x="1053" y="489"/>
                  </a:lnTo>
                  <a:lnTo>
                    <a:pt x="1053" y="493"/>
                  </a:lnTo>
                  <a:lnTo>
                    <a:pt x="1054" y="493"/>
                  </a:lnTo>
                  <a:lnTo>
                    <a:pt x="1063" y="489"/>
                  </a:lnTo>
                  <a:lnTo>
                    <a:pt x="1061" y="498"/>
                  </a:lnTo>
                  <a:lnTo>
                    <a:pt x="1062" y="504"/>
                  </a:lnTo>
                  <a:lnTo>
                    <a:pt x="1066" y="511"/>
                  </a:lnTo>
                  <a:lnTo>
                    <a:pt x="1070" y="509"/>
                  </a:lnTo>
                  <a:lnTo>
                    <a:pt x="1074" y="507"/>
                  </a:lnTo>
                  <a:lnTo>
                    <a:pt x="1076" y="503"/>
                  </a:lnTo>
                  <a:lnTo>
                    <a:pt x="1080" y="488"/>
                  </a:lnTo>
                  <a:lnTo>
                    <a:pt x="1086" y="488"/>
                  </a:lnTo>
                  <a:lnTo>
                    <a:pt x="1088" y="487"/>
                  </a:lnTo>
                  <a:lnTo>
                    <a:pt x="1088" y="485"/>
                  </a:lnTo>
                  <a:lnTo>
                    <a:pt x="1082" y="483"/>
                  </a:lnTo>
                  <a:lnTo>
                    <a:pt x="1076" y="483"/>
                  </a:lnTo>
                  <a:lnTo>
                    <a:pt x="1056" y="486"/>
                  </a:lnTo>
                  <a:lnTo>
                    <a:pt x="1054" y="485"/>
                  </a:lnTo>
                  <a:lnTo>
                    <a:pt x="1055" y="481"/>
                  </a:lnTo>
                  <a:lnTo>
                    <a:pt x="1060" y="478"/>
                  </a:lnTo>
                  <a:lnTo>
                    <a:pt x="1064" y="468"/>
                  </a:lnTo>
                  <a:lnTo>
                    <a:pt x="1067" y="464"/>
                  </a:lnTo>
                  <a:lnTo>
                    <a:pt x="1075" y="461"/>
                  </a:lnTo>
                  <a:lnTo>
                    <a:pt x="1078" y="462"/>
                  </a:lnTo>
                  <a:lnTo>
                    <a:pt x="1081" y="461"/>
                  </a:lnTo>
                  <a:lnTo>
                    <a:pt x="1086" y="455"/>
                  </a:lnTo>
                  <a:lnTo>
                    <a:pt x="1091" y="457"/>
                  </a:lnTo>
                  <a:lnTo>
                    <a:pt x="1095" y="454"/>
                  </a:lnTo>
                  <a:lnTo>
                    <a:pt x="1099" y="447"/>
                  </a:lnTo>
                  <a:lnTo>
                    <a:pt x="1102" y="447"/>
                  </a:lnTo>
                  <a:lnTo>
                    <a:pt x="1111" y="450"/>
                  </a:lnTo>
                  <a:lnTo>
                    <a:pt x="1111" y="455"/>
                  </a:lnTo>
                  <a:lnTo>
                    <a:pt x="1116" y="454"/>
                  </a:lnTo>
                  <a:lnTo>
                    <a:pt x="1124" y="462"/>
                  </a:lnTo>
                  <a:lnTo>
                    <a:pt x="1124" y="465"/>
                  </a:lnTo>
                  <a:lnTo>
                    <a:pt x="1121" y="467"/>
                  </a:lnTo>
                  <a:lnTo>
                    <a:pt x="1113" y="475"/>
                  </a:lnTo>
                  <a:lnTo>
                    <a:pt x="1112" y="477"/>
                  </a:lnTo>
                  <a:lnTo>
                    <a:pt x="1115" y="481"/>
                  </a:lnTo>
                  <a:lnTo>
                    <a:pt x="1115" y="482"/>
                  </a:lnTo>
                  <a:lnTo>
                    <a:pt x="1112" y="483"/>
                  </a:lnTo>
                  <a:lnTo>
                    <a:pt x="1110" y="480"/>
                  </a:lnTo>
                  <a:lnTo>
                    <a:pt x="1104" y="483"/>
                  </a:lnTo>
                  <a:lnTo>
                    <a:pt x="1104" y="484"/>
                  </a:lnTo>
                  <a:lnTo>
                    <a:pt x="1104" y="486"/>
                  </a:lnTo>
                  <a:lnTo>
                    <a:pt x="1107" y="489"/>
                  </a:lnTo>
                  <a:lnTo>
                    <a:pt x="1114" y="489"/>
                  </a:lnTo>
                  <a:lnTo>
                    <a:pt x="1116" y="490"/>
                  </a:lnTo>
                  <a:lnTo>
                    <a:pt x="1116" y="491"/>
                  </a:lnTo>
                  <a:lnTo>
                    <a:pt x="1114" y="495"/>
                  </a:lnTo>
                  <a:lnTo>
                    <a:pt x="1114" y="499"/>
                  </a:lnTo>
                  <a:lnTo>
                    <a:pt x="1116" y="501"/>
                  </a:lnTo>
                  <a:lnTo>
                    <a:pt x="1124" y="503"/>
                  </a:lnTo>
                  <a:lnTo>
                    <a:pt x="1127" y="506"/>
                  </a:lnTo>
                  <a:lnTo>
                    <a:pt x="1127" y="508"/>
                  </a:lnTo>
                  <a:lnTo>
                    <a:pt x="1122" y="513"/>
                  </a:lnTo>
                  <a:lnTo>
                    <a:pt x="1122" y="514"/>
                  </a:lnTo>
                  <a:lnTo>
                    <a:pt x="1125" y="517"/>
                  </a:lnTo>
                  <a:lnTo>
                    <a:pt x="1125" y="519"/>
                  </a:lnTo>
                  <a:lnTo>
                    <a:pt x="1120" y="521"/>
                  </a:lnTo>
                  <a:lnTo>
                    <a:pt x="1115" y="518"/>
                  </a:lnTo>
                  <a:lnTo>
                    <a:pt x="1113" y="518"/>
                  </a:lnTo>
                  <a:lnTo>
                    <a:pt x="1110" y="522"/>
                  </a:lnTo>
                  <a:lnTo>
                    <a:pt x="1106" y="533"/>
                  </a:lnTo>
                  <a:lnTo>
                    <a:pt x="1107" y="536"/>
                  </a:lnTo>
                  <a:lnTo>
                    <a:pt x="1114" y="539"/>
                  </a:lnTo>
                  <a:lnTo>
                    <a:pt x="1111" y="543"/>
                  </a:lnTo>
                  <a:lnTo>
                    <a:pt x="1112" y="547"/>
                  </a:lnTo>
                  <a:lnTo>
                    <a:pt x="1114" y="548"/>
                  </a:lnTo>
                  <a:lnTo>
                    <a:pt x="1120" y="548"/>
                  </a:lnTo>
                  <a:lnTo>
                    <a:pt x="1120" y="551"/>
                  </a:lnTo>
                  <a:lnTo>
                    <a:pt x="1119" y="553"/>
                  </a:lnTo>
                  <a:lnTo>
                    <a:pt x="1117" y="554"/>
                  </a:lnTo>
                  <a:lnTo>
                    <a:pt x="1114" y="553"/>
                  </a:lnTo>
                  <a:lnTo>
                    <a:pt x="1112" y="555"/>
                  </a:lnTo>
                  <a:lnTo>
                    <a:pt x="1113" y="556"/>
                  </a:lnTo>
                  <a:lnTo>
                    <a:pt x="1116" y="558"/>
                  </a:lnTo>
                  <a:lnTo>
                    <a:pt x="1112" y="562"/>
                  </a:lnTo>
                  <a:lnTo>
                    <a:pt x="1117" y="568"/>
                  </a:lnTo>
                  <a:lnTo>
                    <a:pt x="1125" y="570"/>
                  </a:lnTo>
                  <a:lnTo>
                    <a:pt x="1128" y="570"/>
                  </a:lnTo>
                  <a:lnTo>
                    <a:pt x="1133" y="566"/>
                  </a:lnTo>
                  <a:lnTo>
                    <a:pt x="1136" y="566"/>
                  </a:lnTo>
                  <a:lnTo>
                    <a:pt x="1137" y="567"/>
                  </a:lnTo>
                  <a:lnTo>
                    <a:pt x="1137" y="571"/>
                  </a:lnTo>
                  <a:lnTo>
                    <a:pt x="1128" y="576"/>
                  </a:lnTo>
                  <a:lnTo>
                    <a:pt x="1129" y="578"/>
                  </a:lnTo>
                  <a:lnTo>
                    <a:pt x="1133" y="584"/>
                  </a:lnTo>
                  <a:lnTo>
                    <a:pt x="1132" y="587"/>
                  </a:lnTo>
                  <a:lnTo>
                    <a:pt x="1127" y="590"/>
                  </a:lnTo>
                  <a:lnTo>
                    <a:pt x="1120" y="596"/>
                  </a:lnTo>
                  <a:lnTo>
                    <a:pt x="1115" y="599"/>
                  </a:lnTo>
                  <a:lnTo>
                    <a:pt x="1108" y="606"/>
                  </a:lnTo>
                  <a:lnTo>
                    <a:pt x="1099" y="610"/>
                  </a:lnTo>
                  <a:lnTo>
                    <a:pt x="1085" y="598"/>
                  </a:lnTo>
                  <a:lnTo>
                    <a:pt x="1085" y="596"/>
                  </a:lnTo>
                  <a:lnTo>
                    <a:pt x="1092" y="586"/>
                  </a:lnTo>
                  <a:lnTo>
                    <a:pt x="1092" y="583"/>
                  </a:lnTo>
                  <a:lnTo>
                    <a:pt x="1088" y="578"/>
                  </a:lnTo>
                  <a:lnTo>
                    <a:pt x="1086" y="574"/>
                  </a:lnTo>
                  <a:lnTo>
                    <a:pt x="1088" y="571"/>
                  </a:lnTo>
                  <a:lnTo>
                    <a:pt x="1092" y="566"/>
                  </a:lnTo>
                  <a:lnTo>
                    <a:pt x="1089" y="563"/>
                  </a:lnTo>
                  <a:lnTo>
                    <a:pt x="1083" y="566"/>
                  </a:lnTo>
                  <a:lnTo>
                    <a:pt x="1081" y="565"/>
                  </a:lnTo>
                  <a:lnTo>
                    <a:pt x="1081" y="565"/>
                  </a:lnTo>
                  <a:lnTo>
                    <a:pt x="1083" y="560"/>
                  </a:lnTo>
                  <a:lnTo>
                    <a:pt x="1091" y="555"/>
                  </a:lnTo>
                  <a:lnTo>
                    <a:pt x="1091" y="554"/>
                  </a:lnTo>
                  <a:lnTo>
                    <a:pt x="1086" y="553"/>
                  </a:lnTo>
                  <a:lnTo>
                    <a:pt x="1079" y="554"/>
                  </a:lnTo>
                  <a:lnTo>
                    <a:pt x="1077" y="554"/>
                  </a:lnTo>
                  <a:lnTo>
                    <a:pt x="1077" y="551"/>
                  </a:lnTo>
                  <a:lnTo>
                    <a:pt x="1079" y="544"/>
                  </a:lnTo>
                  <a:lnTo>
                    <a:pt x="1078" y="541"/>
                  </a:lnTo>
                  <a:lnTo>
                    <a:pt x="1071" y="543"/>
                  </a:lnTo>
                  <a:lnTo>
                    <a:pt x="1070" y="544"/>
                  </a:lnTo>
                  <a:lnTo>
                    <a:pt x="1070" y="548"/>
                  </a:lnTo>
                  <a:lnTo>
                    <a:pt x="1073" y="550"/>
                  </a:lnTo>
                  <a:lnTo>
                    <a:pt x="1074" y="552"/>
                  </a:lnTo>
                  <a:lnTo>
                    <a:pt x="1075" y="559"/>
                  </a:lnTo>
                  <a:lnTo>
                    <a:pt x="1073" y="567"/>
                  </a:lnTo>
                  <a:lnTo>
                    <a:pt x="1076" y="572"/>
                  </a:lnTo>
                  <a:lnTo>
                    <a:pt x="1076" y="576"/>
                  </a:lnTo>
                  <a:lnTo>
                    <a:pt x="1073" y="598"/>
                  </a:lnTo>
                  <a:lnTo>
                    <a:pt x="1071" y="603"/>
                  </a:lnTo>
                  <a:lnTo>
                    <a:pt x="1070" y="605"/>
                  </a:lnTo>
                  <a:lnTo>
                    <a:pt x="1065" y="605"/>
                  </a:lnTo>
                  <a:lnTo>
                    <a:pt x="1062" y="598"/>
                  </a:lnTo>
                  <a:lnTo>
                    <a:pt x="1061" y="602"/>
                  </a:lnTo>
                  <a:lnTo>
                    <a:pt x="1061" y="608"/>
                  </a:lnTo>
                  <a:lnTo>
                    <a:pt x="1059" y="609"/>
                  </a:lnTo>
                  <a:lnTo>
                    <a:pt x="1049" y="611"/>
                  </a:lnTo>
                  <a:lnTo>
                    <a:pt x="1044" y="610"/>
                  </a:lnTo>
                  <a:lnTo>
                    <a:pt x="1040" y="598"/>
                  </a:lnTo>
                  <a:lnTo>
                    <a:pt x="1038" y="580"/>
                  </a:lnTo>
                  <a:lnTo>
                    <a:pt x="1039" y="574"/>
                  </a:lnTo>
                  <a:lnTo>
                    <a:pt x="1043" y="569"/>
                  </a:lnTo>
                  <a:lnTo>
                    <a:pt x="1043" y="566"/>
                  </a:lnTo>
                  <a:lnTo>
                    <a:pt x="1041" y="566"/>
                  </a:lnTo>
                  <a:lnTo>
                    <a:pt x="1036" y="571"/>
                  </a:lnTo>
                  <a:lnTo>
                    <a:pt x="1032" y="571"/>
                  </a:lnTo>
                  <a:lnTo>
                    <a:pt x="1030" y="573"/>
                  </a:lnTo>
                  <a:lnTo>
                    <a:pt x="1031" y="574"/>
                  </a:lnTo>
                  <a:lnTo>
                    <a:pt x="1035" y="577"/>
                  </a:lnTo>
                  <a:lnTo>
                    <a:pt x="1036" y="579"/>
                  </a:lnTo>
                  <a:lnTo>
                    <a:pt x="1037" y="598"/>
                  </a:lnTo>
                  <a:lnTo>
                    <a:pt x="1040" y="611"/>
                  </a:lnTo>
                  <a:lnTo>
                    <a:pt x="1037" y="610"/>
                  </a:lnTo>
                  <a:lnTo>
                    <a:pt x="1035" y="609"/>
                  </a:lnTo>
                  <a:lnTo>
                    <a:pt x="1032" y="602"/>
                  </a:lnTo>
                  <a:lnTo>
                    <a:pt x="1027" y="595"/>
                  </a:lnTo>
                  <a:lnTo>
                    <a:pt x="1024" y="584"/>
                  </a:lnTo>
                  <a:lnTo>
                    <a:pt x="1017" y="585"/>
                  </a:lnTo>
                  <a:lnTo>
                    <a:pt x="1003" y="581"/>
                  </a:lnTo>
                  <a:lnTo>
                    <a:pt x="1004" y="584"/>
                  </a:lnTo>
                  <a:lnTo>
                    <a:pt x="1008" y="587"/>
                  </a:lnTo>
                  <a:lnTo>
                    <a:pt x="1011" y="592"/>
                  </a:lnTo>
                  <a:lnTo>
                    <a:pt x="1010" y="594"/>
                  </a:lnTo>
                  <a:lnTo>
                    <a:pt x="1004" y="605"/>
                  </a:lnTo>
                  <a:lnTo>
                    <a:pt x="1006" y="614"/>
                  </a:lnTo>
                  <a:lnTo>
                    <a:pt x="1003" y="615"/>
                  </a:lnTo>
                  <a:lnTo>
                    <a:pt x="1001" y="621"/>
                  </a:lnTo>
                  <a:lnTo>
                    <a:pt x="999" y="622"/>
                  </a:lnTo>
                  <a:lnTo>
                    <a:pt x="998" y="620"/>
                  </a:lnTo>
                  <a:lnTo>
                    <a:pt x="996" y="613"/>
                  </a:lnTo>
                  <a:lnTo>
                    <a:pt x="992" y="610"/>
                  </a:lnTo>
                  <a:lnTo>
                    <a:pt x="994" y="620"/>
                  </a:lnTo>
                  <a:lnTo>
                    <a:pt x="994" y="623"/>
                  </a:lnTo>
                  <a:lnTo>
                    <a:pt x="993" y="624"/>
                  </a:lnTo>
                  <a:lnTo>
                    <a:pt x="989" y="625"/>
                  </a:lnTo>
                  <a:lnTo>
                    <a:pt x="986" y="623"/>
                  </a:lnTo>
                  <a:lnTo>
                    <a:pt x="983" y="622"/>
                  </a:lnTo>
                  <a:lnTo>
                    <a:pt x="977" y="623"/>
                  </a:lnTo>
                  <a:lnTo>
                    <a:pt x="976" y="624"/>
                  </a:lnTo>
                  <a:lnTo>
                    <a:pt x="977" y="628"/>
                  </a:lnTo>
                  <a:lnTo>
                    <a:pt x="980" y="628"/>
                  </a:lnTo>
                  <a:lnTo>
                    <a:pt x="983" y="626"/>
                  </a:lnTo>
                  <a:lnTo>
                    <a:pt x="984" y="627"/>
                  </a:lnTo>
                  <a:lnTo>
                    <a:pt x="990" y="630"/>
                  </a:lnTo>
                  <a:lnTo>
                    <a:pt x="990" y="633"/>
                  </a:lnTo>
                  <a:lnTo>
                    <a:pt x="986" y="638"/>
                  </a:lnTo>
                  <a:lnTo>
                    <a:pt x="986" y="639"/>
                  </a:lnTo>
                  <a:lnTo>
                    <a:pt x="989" y="643"/>
                  </a:lnTo>
                  <a:lnTo>
                    <a:pt x="993" y="645"/>
                  </a:lnTo>
                  <a:lnTo>
                    <a:pt x="1004" y="643"/>
                  </a:lnTo>
                  <a:lnTo>
                    <a:pt x="1021" y="634"/>
                  </a:lnTo>
                  <a:lnTo>
                    <a:pt x="1037" y="635"/>
                  </a:lnTo>
                  <a:lnTo>
                    <a:pt x="1043" y="638"/>
                  </a:lnTo>
                  <a:lnTo>
                    <a:pt x="1042" y="640"/>
                  </a:lnTo>
                  <a:lnTo>
                    <a:pt x="1040" y="644"/>
                  </a:lnTo>
                  <a:lnTo>
                    <a:pt x="1042" y="655"/>
                  </a:lnTo>
                  <a:lnTo>
                    <a:pt x="1041" y="657"/>
                  </a:lnTo>
                  <a:lnTo>
                    <a:pt x="1030" y="658"/>
                  </a:lnTo>
                  <a:lnTo>
                    <a:pt x="1023" y="656"/>
                  </a:lnTo>
                  <a:lnTo>
                    <a:pt x="1016" y="657"/>
                  </a:lnTo>
                  <a:lnTo>
                    <a:pt x="1014" y="660"/>
                  </a:lnTo>
                  <a:lnTo>
                    <a:pt x="1014" y="669"/>
                  </a:lnTo>
                  <a:lnTo>
                    <a:pt x="1016" y="675"/>
                  </a:lnTo>
                  <a:lnTo>
                    <a:pt x="1019" y="674"/>
                  </a:lnTo>
                  <a:lnTo>
                    <a:pt x="1022" y="669"/>
                  </a:lnTo>
                  <a:lnTo>
                    <a:pt x="1019" y="663"/>
                  </a:lnTo>
                  <a:lnTo>
                    <a:pt x="1019" y="661"/>
                  </a:lnTo>
                  <a:lnTo>
                    <a:pt x="1020" y="660"/>
                  </a:lnTo>
                  <a:lnTo>
                    <a:pt x="1025" y="659"/>
                  </a:lnTo>
                  <a:lnTo>
                    <a:pt x="1030" y="662"/>
                  </a:lnTo>
                  <a:lnTo>
                    <a:pt x="1041" y="660"/>
                  </a:lnTo>
                  <a:lnTo>
                    <a:pt x="1049" y="653"/>
                  </a:lnTo>
                  <a:lnTo>
                    <a:pt x="1052" y="656"/>
                  </a:lnTo>
                  <a:lnTo>
                    <a:pt x="1049" y="661"/>
                  </a:lnTo>
                  <a:lnTo>
                    <a:pt x="1050" y="662"/>
                  </a:lnTo>
                  <a:lnTo>
                    <a:pt x="1053" y="662"/>
                  </a:lnTo>
                  <a:lnTo>
                    <a:pt x="1055" y="659"/>
                  </a:lnTo>
                  <a:lnTo>
                    <a:pt x="1057" y="659"/>
                  </a:lnTo>
                  <a:lnTo>
                    <a:pt x="1065" y="665"/>
                  </a:lnTo>
                  <a:lnTo>
                    <a:pt x="1065" y="666"/>
                  </a:lnTo>
                  <a:lnTo>
                    <a:pt x="1059" y="667"/>
                  </a:lnTo>
                  <a:lnTo>
                    <a:pt x="1058" y="668"/>
                  </a:lnTo>
                  <a:lnTo>
                    <a:pt x="1058" y="674"/>
                  </a:lnTo>
                  <a:lnTo>
                    <a:pt x="1055" y="674"/>
                  </a:lnTo>
                  <a:lnTo>
                    <a:pt x="1056" y="678"/>
                  </a:lnTo>
                  <a:lnTo>
                    <a:pt x="1058" y="681"/>
                  </a:lnTo>
                  <a:lnTo>
                    <a:pt x="1060" y="682"/>
                  </a:lnTo>
                  <a:lnTo>
                    <a:pt x="1063" y="678"/>
                  </a:lnTo>
                  <a:lnTo>
                    <a:pt x="1066" y="686"/>
                  </a:lnTo>
                  <a:lnTo>
                    <a:pt x="1068" y="687"/>
                  </a:lnTo>
                  <a:lnTo>
                    <a:pt x="1073" y="686"/>
                  </a:lnTo>
                  <a:lnTo>
                    <a:pt x="1074" y="687"/>
                  </a:lnTo>
                  <a:lnTo>
                    <a:pt x="1074" y="688"/>
                  </a:lnTo>
                  <a:lnTo>
                    <a:pt x="1073" y="692"/>
                  </a:lnTo>
                  <a:lnTo>
                    <a:pt x="1065" y="698"/>
                  </a:lnTo>
                  <a:lnTo>
                    <a:pt x="1059" y="700"/>
                  </a:lnTo>
                  <a:lnTo>
                    <a:pt x="1055" y="702"/>
                  </a:lnTo>
                  <a:lnTo>
                    <a:pt x="1050" y="701"/>
                  </a:lnTo>
                  <a:lnTo>
                    <a:pt x="1043" y="696"/>
                  </a:lnTo>
                  <a:lnTo>
                    <a:pt x="1041" y="699"/>
                  </a:lnTo>
                  <a:lnTo>
                    <a:pt x="1038" y="699"/>
                  </a:lnTo>
                  <a:lnTo>
                    <a:pt x="1028" y="696"/>
                  </a:lnTo>
                  <a:lnTo>
                    <a:pt x="1026" y="694"/>
                  </a:lnTo>
                  <a:lnTo>
                    <a:pt x="1026" y="689"/>
                  </a:lnTo>
                  <a:lnTo>
                    <a:pt x="1025" y="689"/>
                  </a:lnTo>
                  <a:lnTo>
                    <a:pt x="1018" y="692"/>
                  </a:lnTo>
                  <a:lnTo>
                    <a:pt x="1016" y="695"/>
                  </a:lnTo>
                  <a:lnTo>
                    <a:pt x="1016" y="697"/>
                  </a:lnTo>
                  <a:lnTo>
                    <a:pt x="1018" y="699"/>
                  </a:lnTo>
                  <a:lnTo>
                    <a:pt x="1017" y="704"/>
                  </a:lnTo>
                  <a:lnTo>
                    <a:pt x="1023" y="705"/>
                  </a:lnTo>
                  <a:lnTo>
                    <a:pt x="1035" y="709"/>
                  </a:lnTo>
                  <a:lnTo>
                    <a:pt x="1042" y="706"/>
                  </a:lnTo>
                  <a:lnTo>
                    <a:pt x="1045" y="711"/>
                  </a:lnTo>
                  <a:lnTo>
                    <a:pt x="1052" y="712"/>
                  </a:lnTo>
                  <a:lnTo>
                    <a:pt x="1049" y="717"/>
                  </a:lnTo>
                  <a:lnTo>
                    <a:pt x="1052" y="720"/>
                  </a:lnTo>
                  <a:lnTo>
                    <a:pt x="1056" y="720"/>
                  </a:lnTo>
                  <a:lnTo>
                    <a:pt x="1062" y="716"/>
                  </a:lnTo>
                  <a:lnTo>
                    <a:pt x="1064" y="715"/>
                  </a:lnTo>
                  <a:lnTo>
                    <a:pt x="1060" y="724"/>
                  </a:lnTo>
                  <a:lnTo>
                    <a:pt x="1061" y="724"/>
                  </a:lnTo>
                  <a:lnTo>
                    <a:pt x="1065" y="726"/>
                  </a:lnTo>
                  <a:lnTo>
                    <a:pt x="1065" y="729"/>
                  </a:lnTo>
                  <a:lnTo>
                    <a:pt x="1063" y="731"/>
                  </a:lnTo>
                  <a:lnTo>
                    <a:pt x="1060" y="732"/>
                  </a:lnTo>
                  <a:lnTo>
                    <a:pt x="1057" y="737"/>
                  </a:lnTo>
                  <a:lnTo>
                    <a:pt x="1059" y="738"/>
                  </a:lnTo>
                  <a:lnTo>
                    <a:pt x="1066" y="736"/>
                  </a:lnTo>
                  <a:lnTo>
                    <a:pt x="1066" y="738"/>
                  </a:lnTo>
                  <a:lnTo>
                    <a:pt x="1065" y="741"/>
                  </a:lnTo>
                  <a:lnTo>
                    <a:pt x="1060" y="741"/>
                  </a:lnTo>
                  <a:lnTo>
                    <a:pt x="1054" y="747"/>
                  </a:lnTo>
                  <a:lnTo>
                    <a:pt x="1053" y="751"/>
                  </a:lnTo>
                  <a:lnTo>
                    <a:pt x="1054" y="762"/>
                  </a:lnTo>
                  <a:lnTo>
                    <a:pt x="1053" y="765"/>
                  </a:lnTo>
                  <a:lnTo>
                    <a:pt x="1050" y="767"/>
                  </a:lnTo>
                  <a:lnTo>
                    <a:pt x="1041" y="769"/>
                  </a:lnTo>
                  <a:lnTo>
                    <a:pt x="1030" y="776"/>
                  </a:lnTo>
                  <a:lnTo>
                    <a:pt x="1006" y="780"/>
                  </a:lnTo>
                  <a:lnTo>
                    <a:pt x="995" y="777"/>
                  </a:lnTo>
                  <a:lnTo>
                    <a:pt x="987" y="781"/>
                  </a:lnTo>
                  <a:lnTo>
                    <a:pt x="973" y="780"/>
                  </a:lnTo>
                  <a:lnTo>
                    <a:pt x="967" y="777"/>
                  </a:lnTo>
                  <a:lnTo>
                    <a:pt x="964" y="771"/>
                  </a:lnTo>
                  <a:lnTo>
                    <a:pt x="963" y="771"/>
                  </a:lnTo>
                  <a:lnTo>
                    <a:pt x="962" y="772"/>
                  </a:lnTo>
                  <a:lnTo>
                    <a:pt x="964" y="783"/>
                  </a:lnTo>
                  <a:lnTo>
                    <a:pt x="966" y="785"/>
                  </a:lnTo>
                  <a:lnTo>
                    <a:pt x="984" y="784"/>
                  </a:lnTo>
                  <a:lnTo>
                    <a:pt x="1006" y="786"/>
                  </a:lnTo>
                  <a:lnTo>
                    <a:pt x="1019" y="789"/>
                  </a:lnTo>
                  <a:lnTo>
                    <a:pt x="1028" y="812"/>
                  </a:lnTo>
                  <a:lnTo>
                    <a:pt x="1031" y="820"/>
                  </a:lnTo>
                  <a:lnTo>
                    <a:pt x="1038" y="830"/>
                  </a:lnTo>
                  <a:lnTo>
                    <a:pt x="1045" y="836"/>
                  </a:lnTo>
                  <a:lnTo>
                    <a:pt x="1048" y="842"/>
                  </a:lnTo>
                  <a:lnTo>
                    <a:pt x="1049" y="848"/>
                  </a:lnTo>
                  <a:lnTo>
                    <a:pt x="1046" y="858"/>
                  </a:lnTo>
                  <a:lnTo>
                    <a:pt x="1048" y="862"/>
                  </a:lnTo>
                  <a:lnTo>
                    <a:pt x="1058" y="872"/>
                  </a:lnTo>
                  <a:lnTo>
                    <a:pt x="1059" y="879"/>
                  </a:lnTo>
                  <a:lnTo>
                    <a:pt x="1058" y="885"/>
                  </a:lnTo>
                  <a:lnTo>
                    <a:pt x="1064" y="885"/>
                  </a:lnTo>
                  <a:lnTo>
                    <a:pt x="1066" y="890"/>
                  </a:lnTo>
                  <a:lnTo>
                    <a:pt x="1067" y="891"/>
                  </a:lnTo>
                  <a:lnTo>
                    <a:pt x="1076" y="886"/>
                  </a:lnTo>
                  <a:lnTo>
                    <a:pt x="1078" y="885"/>
                  </a:lnTo>
                  <a:lnTo>
                    <a:pt x="1079" y="886"/>
                  </a:lnTo>
                  <a:lnTo>
                    <a:pt x="1077" y="897"/>
                  </a:lnTo>
                  <a:lnTo>
                    <a:pt x="1073" y="901"/>
                  </a:lnTo>
                  <a:lnTo>
                    <a:pt x="1075" y="910"/>
                  </a:lnTo>
                  <a:lnTo>
                    <a:pt x="1067" y="913"/>
                  </a:lnTo>
                  <a:lnTo>
                    <a:pt x="1071" y="917"/>
                  </a:lnTo>
                  <a:lnTo>
                    <a:pt x="1071" y="919"/>
                  </a:lnTo>
                  <a:lnTo>
                    <a:pt x="1064" y="924"/>
                  </a:lnTo>
                  <a:lnTo>
                    <a:pt x="1060" y="924"/>
                  </a:lnTo>
                  <a:lnTo>
                    <a:pt x="1059" y="921"/>
                  </a:lnTo>
                  <a:lnTo>
                    <a:pt x="1061" y="915"/>
                  </a:lnTo>
                  <a:lnTo>
                    <a:pt x="1057" y="906"/>
                  </a:lnTo>
                  <a:lnTo>
                    <a:pt x="1048" y="901"/>
                  </a:lnTo>
                  <a:lnTo>
                    <a:pt x="1036" y="898"/>
                  </a:lnTo>
                  <a:lnTo>
                    <a:pt x="1027" y="898"/>
                  </a:lnTo>
                  <a:lnTo>
                    <a:pt x="1023" y="900"/>
                  </a:lnTo>
                  <a:lnTo>
                    <a:pt x="1020" y="902"/>
                  </a:lnTo>
                  <a:lnTo>
                    <a:pt x="1019" y="904"/>
                  </a:lnTo>
                  <a:lnTo>
                    <a:pt x="1020" y="907"/>
                  </a:lnTo>
                  <a:lnTo>
                    <a:pt x="1023" y="910"/>
                  </a:lnTo>
                  <a:lnTo>
                    <a:pt x="1019" y="911"/>
                  </a:lnTo>
                  <a:lnTo>
                    <a:pt x="1017" y="913"/>
                  </a:lnTo>
                  <a:lnTo>
                    <a:pt x="1008" y="910"/>
                  </a:lnTo>
                  <a:lnTo>
                    <a:pt x="1006" y="911"/>
                  </a:lnTo>
                  <a:lnTo>
                    <a:pt x="1005" y="914"/>
                  </a:lnTo>
                  <a:lnTo>
                    <a:pt x="1007" y="918"/>
                  </a:lnTo>
                  <a:lnTo>
                    <a:pt x="1010" y="921"/>
                  </a:lnTo>
                  <a:lnTo>
                    <a:pt x="1016" y="924"/>
                  </a:lnTo>
                  <a:lnTo>
                    <a:pt x="1017" y="925"/>
                  </a:lnTo>
                  <a:lnTo>
                    <a:pt x="1008" y="936"/>
                  </a:lnTo>
                  <a:lnTo>
                    <a:pt x="1002" y="937"/>
                  </a:lnTo>
                  <a:lnTo>
                    <a:pt x="996" y="942"/>
                  </a:lnTo>
                  <a:lnTo>
                    <a:pt x="998" y="943"/>
                  </a:lnTo>
                  <a:lnTo>
                    <a:pt x="1002" y="945"/>
                  </a:lnTo>
                  <a:lnTo>
                    <a:pt x="1002" y="948"/>
                  </a:lnTo>
                  <a:lnTo>
                    <a:pt x="1001" y="949"/>
                  </a:lnTo>
                  <a:lnTo>
                    <a:pt x="996" y="951"/>
                  </a:lnTo>
                  <a:lnTo>
                    <a:pt x="998" y="952"/>
                  </a:lnTo>
                  <a:lnTo>
                    <a:pt x="1001" y="954"/>
                  </a:lnTo>
                  <a:lnTo>
                    <a:pt x="1006" y="950"/>
                  </a:lnTo>
                  <a:lnTo>
                    <a:pt x="1007" y="954"/>
                  </a:lnTo>
                  <a:lnTo>
                    <a:pt x="1003" y="963"/>
                  </a:lnTo>
                  <a:lnTo>
                    <a:pt x="998" y="968"/>
                  </a:lnTo>
                  <a:lnTo>
                    <a:pt x="994" y="969"/>
                  </a:lnTo>
                  <a:lnTo>
                    <a:pt x="991" y="968"/>
                  </a:lnTo>
                  <a:lnTo>
                    <a:pt x="990" y="962"/>
                  </a:lnTo>
                  <a:lnTo>
                    <a:pt x="989" y="960"/>
                  </a:lnTo>
                  <a:lnTo>
                    <a:pt x="973" y="953"/>
                  </a:lnTo>
                  <a:lnTo>
                    <a:pt x="966" y="934"/>
                  </a:lnTo>
                  <a:lnTo>
                    <a:pt x="963" y="919"/>
                  </a:lnTo>
                  <a:lnTo>
                    <a:pt x="960" y="917"/>
                  </a:lnTo>
                  <a:lnTo>
                    <a:pt x="953" y="916"/>
                  </a:lnTo>
                  <a:lnTo>
                    <a:pt x="949" y="911"/>
                  </a:lnTo>
                  <a:lnTo>
                    <a:pt x="949" y="909"/>
                  </a:lnTo>
                  <a:lnTo>
                    <a:pt x="952" y="907"/>
                  </a:lnTo>
                  <a:lnTo>
                    <a:pt x="964" y="901"/>
                  </a:lnTo>
                  <a:lnTo>
                    <a:pt x="966" y="898"/>
                  </a:lnTo>
                  <a:lnTo>
                    <a:pt x="965" y="896"/>
                  </a:lnTo>
                  <a:lnTo>
                    <a:pt x="957" y="900"/>
                  </a:lnTo>
                  <a:lnTo>
                    <a:pt x="950" y="902"/>
                  </a:lnTo>
                  <a:lnTo>
                    <a:pt x="948" y="901"/>
                  </a:lnTo>
                  <a:lnTo>
                    <a:pt x="942" y="893"/>
                  </a:lnTo>
                  <a:lnTo>
                    <a:pt x="940" y="891"/>
                  </a:lnTo>
                  <a:lnTo>
                    <a:pt x="938" y="891"/>
                  </a:lnTo>
                  <a:lnTo>
                    <a:pt x="936" y="894"/>
                  </a:lnTo>
                  <a:lnTo>
                    <a:pt x="937" y="900"/>
                  </a:lnTo>
                  <a:lnTo>
                    <a:pt x="935" y="904"/>
                  </a:lnTo>
                  <a:lnTo>
                    <a:pt x="928" y="909"/>
                  </a:lnTo>
                  <a:lnTo>
                    <a:pt x="929" y="917"/>
                  </a:lnTo>
                  <a:lnTo>
                    <a:pt x="928" y="922"/>
                  </a:lnTo>
                  <a:lnTo>
                    <a:pt x="924" y="926"/>
                  </a:lnTo>
                  <a:lnTo>
                    <a:pt x="921" y="928"/>
                  </a:lnTo>
                  <a:lnTo>
                    <a:pt x="915" y="928"/>
                  </a:lnTo>
                  <a:lnTo>
                    <a:pt x="909" y="926"/>
                  </a:lnTo>
                  <a:lnTo>
                    <a:pt x="904" y="921"/>
                  </a:lnTo>
                  <a:lnTo>
                    <a:pt x="901" y="922"/>
                  </a:lnTo>
                  <a:lnTo>
                    <a:pt x="899" y="927"/>
                  </a:lnTo>
                  <a:lnTo>
                    <a:pt x="901" y="930"/>
                  </a:lnTo>
                  <a:lnTo>
                    <a:pt x="905" y="932"/>
                  </a:lnTo>
                  <a:lnTo>
                    <a:pt x="921" y="932"/>
                  </a:lnTo>
                  <a:lnTo>
                    <a:pt x="927" y="937"/>
                  </a:lnTo>
                  <a:lnTo>
                    <a:pt x="928" y="943"/>
                  </a:lnTo>
                  <a:lnTo>
                    <a:pt x="927" y="952"/>
                  </a:lnTo>
                  <a:lnTo>
                    <a:pt x="920" y="956"/>
                  </a:lnTo>
                  <a:lnTo>
                    <a:pt x="919" y="958"/>
                  </a:lnTo>
                  <a:lnTo>
                    <a:pt x="919" y="962"/>
                  </a:lnTo>
                  <a:lnTo>
                    <a:pt x="921" y="964"/>
                  </a:lnTo>
                  <a:lnTo>
                    <a:pt x="921" y="966"/>
                  </a:lnTo>
                  <a:lnTo>
                    <a:pt x="911" y="974"/>
                  </a:lnTo>
                  <a:lnTo>
                    <a:pt x="905" y="976"/>
                  </a:lnTo>
                  <a:lnTo>
                    <a:pt x="901" y="978"/>
                  </a:lnTo>
                  <a:lnTo>
                    <a:pt x="896" y="986"/>
                  </a:lnTo>
                  <a:lnTo>
                    <a:pt x="894" y="992"/>
                  </a:lnTo>
                  <a:lnTo>
                    <a:pt x="894" y="1000"/>
                  </a:lnTo>
                  <a:lnTo>
                    <a:pt x="897" y="1011"/>
                  </a:lnTo>
                  <a:lnTo>
                    <a:pt x="895" y="1020"/>
                  </a:lnTo>
                  <a:lnTo>
                    <a:pt x="890" y="1027"/>
                  </a:lnTo>
                  <a:lnTo>
                    <a:pt x="891" y="1034"/>
                  </a:lnTo>
                  <a:lnTo>
                    <a:pt x="882" y="1035"/>
                  </a:lnTo>
                  <a:lnTo>
                    <a:pt x="873" y="1030"/>
                  </a:lnTo>
                  <a:lnTo>
                    <a:pt x="867" y="1030"/>
                  </a:lnTo>
                  <a:lnTo>
                    <a:pt x="851" y="1035"/>
                  </a:lnTo>
                  <a:lnTo>
                    <a:pt x="842" y="1035"/>
                  </a:lnTo>
                  <a:lnTo>
                    <a:pt x="836" y="1032"/>
                  </a:lnTo>
                  <a:lnTo>
                    <a:pt x="832" y="1026"/>
                  </a:lnTo>
                  <a:lnTo>
                    <a:pt x="819" y="1022"/>
                  </a:lnTo>
                  <a:lnTo>
                    <a:pt x="812" y="1023"/>
                  </a:lnTo>
                  <a:lnTo>
                    <a:pt x="807" y="1025"/>
                  </a:lnTo>
                  <a:lnTo>
                    <a:pt x="807" y="1028"/>
                  </a:lnTo>
                  <a:lnTo>
                    <a:pt x="809" y="1029"/>
                  </a:lnTo>
                  <a:lnTo>
                    <a:pt x="818" y="1030"/>
                  </a:lnTo>
                  <a:lnTo>
                    <a:pt x="822" y="1036"/>
                  </a:lnTo>
                  <a:lnTo>
                    <a:pt x="831" y="1042"/>
                  </a:lnTo>
                  <a:lnTo>
                    <a:pt x="837" y="1043"/>
                  </a:lnTo>
                  <a:lnTo>
                    <a:pt x="846" y="1043"/>
                  </a:lnTo>
                  <a:lnTo>
                    <a:pt x="856" y="1047"/>
                  </a:lnTo>
                  <a:lnTo>
                    <a:pt x="862" y="1052"/>
                  </a:lnTo>
                  <a:lnTo>
                    <a:pt x="864" y="1058"/>
                  </a:lnTo>
                  <a:lnTo>
                    <a:pt x="863" y="1069"/>
                  </a:lnTo>
                  <a:lnTo>
                    <a:pt x="861" y="1073"/>
                  </a:lnTo>
                  <a:lnTo>
                    <a:pt x="858" y="1077"/>
                  </a:lnTo>
                  <a:lnTo>
                    <a:pt x="852" y="1081"/>
                  </a:lnTo>
                  <a:lnTo>
                    <a:pt x="840" y="1099"/>
                  </a:lnTo>
                  <a:lnTo>
                    <a:pt x="837" y="1108"/>
                  </a:lnTo>
                  <a:lnTo>
                    <a:pt x="831" y="1125"/>
                  </a:lnTo>
                  <a:lnTo>
                    <a:pt x="828" y="1129"/>
                  </a:lnTo>
                  <a:lnTo>
                    <a:pt x="820" y="1134"/>
                  </a:lnTo>
                  <a:lnTo>
                    <a:pt x="813" y="1146"/>
                  </a:lnTo>
                  <a:lnTo>
                    <a:pt x="813" y="1150"/>
                  </a:lnTo>
                  <a:lnTo>
                    <a:pt x="819" y="1156"/>
                  </a:lnTo>
                  <a:lnTo>
                    <a:pt x="813" y="1167"/>
                  </a:lnTo>
                  <a:lnTo>
                    <a:pt x="808" y="1171"/>
                  </a:lnTo>
                  <a:lnTo>
                    <a:pt x="808" y="1171"/>
                  </a:lnTo>
                  <a:lnTo>
                    <a:pt x="797" y="1174"/>
                  </a:lnTo>
                  <a:lnTo>
                    <a:pt x="796" y="1178"/>
                  </a:lnTo>
                  <a:lnTo>
                    <a:pt x="798" y="1189"/>
                  </a:lnTo>
                  <a:lnTo>
                    <a:pt x="803" y="1200"/>
                  </a:lnTo>
                  <a:lnTo>
                    <a:pt x="805" y="1203"/>
                  </a:lnTo>
                  <a:lnTo>
                    <a:pt x="809" y="1205"/>
                  </a:lnTo>
                  <a:lnTo>
                    <a:pt x="819" y="1203"/>
                  </a:lnTo>
                  <a:lnTo>
                    <a:pt x="822" y="1208"/>
                  </a:lnTo>
                  <a:lnTo>
                    <a:pt x="827" y="1212"/>
                  </a:lnTo>
                  <a:lnTo>
                    <a:pt x="818" y="1226"/>
                  </a:lnTo>
                  <a:lnTo>
                    <a:pt x="818" y="1235"/>
                  </a:lnTo>
                  <a:lnTo>
                    <a:pt x="821" y="1240"/>
                  </a:lnTo>
                  <a:lnTo>
                    <a:pt x="821" y="1242"/>
                  </a:lnTo>
                  <a:lnTo>
                    <a:pt x="821" y="1247"/>
                  </a:lnTo>
                  <a:lnTo>
                    <a:pt x="818" y="1250"/>
                  </a:lnTo>
                  <a:lnTo>
                    <a:pt x="815" y="1251"/>
                  </a:lnTo>
                  <a:lnTo>
                    <a:pt x="811" y="1250"/>
                  </a:lnTo>
                  <a:lnTo>
                    <a:pt x="810" y="1243"/>
                  </a:lnTo>
                  <a:lnTo>
                    <a:pt x="808" y="1241"/>
                  </a:lnTo>
                  <a:lnTo>
                    <a:pt x="804" y="1244"/>
                  </a:lnTo>
                  <a:lnTo>
                    <a:pt x="801" y="1245"/>
                  </a:lnTo>
                  <a:lnTo>
                    <a:pt x="798" y="1244"/>
                  </a:lnTo>
                  <a:lnTo>
                    <a:pt x="794" y="1240"/>
                  </a:lnTo>
                  <a:lnTo>
                    <a:pt x="791" y="1239"/>
                  </a:lnTo>
                  <a:lnTo>
                    <a:pt x="789" y="1240"/>
                  </a:lnTo>
                  <a:lnTo>
                    <a:pt x="789" y="1242"/>
                  </a:lnTo>
                  <a:lnTo>
                    <a:pt x="793" y="1247"/>
                  </a:lnTo>
                  <a:lnTo>
                    <a:pt x="793" y="1249"/>
                  </a:lnTo>
                  <a:lnTo>
                    <a:pt x="787" y="1256"/>
                  </a:lnTo>
                  <a:lnTo>
                    <a:pt x="787" y="1258"/>
                  </a:lnTo>
                  <a:lnTo>
                    <a:pt x="788" y="1260"/>
                  </a:lnTo>
                  <a:lnTo>
                    <a:pt x="780" y="1263"/>
                  </a:lnTo>
                  <a:lnTo>
                    <a:pt x="784" y="1266"/>
                  </a:lnTo>
                  <a:lnTo>
                    <a:pt x="791" y="1266"/>
                  </a:lnTo>
                  <a:lnTo>
                    <a:pt x="792" y="1266"/>
                  </a:lnTo>
                  <a:lnTo>
                    <a:pt x="794" y="1268"/>
                  </a:lnTo>
                  <a:lnTo>
                    <a:pt x="794" y="1272"/>
                  </a:lnTo>
                  <a:lnTo>
                    <a:pt x="797" y="1275"/>
                  </a:lnTo>
                  <a:lnTo>
                    <a:pt x="793" y="1279"/>
                  </a:lnTo>
                  <a:lnTo>
                    <a:pt x="785" y="1284"/>
                  </a:lnTo>
                  <a:lnTo>
                    <a:pt x="786" y="1290"/>
                  </a:lnTo>
                  <a:lnTo>
                    <a:pt x="791" y="1293"/>
                  </a:lnTo>
                  <a:lnTo>
                    <a:pt x="791" y="1297"/>
                  </a:lnTo>
                  <a:lnTo>
                    <a:pt x="790" y="1299"/>
                  </a:lnTo>
                  <a:lnTo>
                    <a:pt x="785" y="1302"/>
                  </a:lnTo>
                  <a:lnTo>
                    <a:pt x="784" y="1303"/>
                  </a:lnTo>
                  <a:lnTo>
                    <a:pt x="785" y="1306"/>
                  </a:lnTo>
                  <a:lnTo>
                    <a:pt x="788" y="1310"/>
                  </a:lnTo>
                  <a:lnTo>
                    <a:pt x="776" y="1320"/>
                  </a:lnTo>
                  <a:lnTo>
                    <a:pt x="780" y="1327"/>
                  </a:lnTo>
                  <a:lnTo>
                    <a:pt x="780" y="1328"/>
                  </a:lnTo>
                  <a:lnTo>
                    <a:pt x="779" y="1329"/>
                  </a:lnTo>
                  <a:lnTo>
                    <a:pt x="777" y="1328"/>
                  </a:lnTo>
                  <a:lnTo>
                    <a:pt x="774" y="1324"/>
                  </a:lnTo>
                  <a:lnTo>
                    <a:pt x="772" y="1306"/>
                  </a:lnTo>
                  <a:lnTo>
                    <a:pt x="771" y="1304"/>
                  </a:lnTo>
                  <a:lnTo>
                    <a:pt x="768" y="1304"/>
                  </a:lnTo>
                  <a:lnTo>
                    <a:pt x="766" y="1306"/>
                  </a:lnTo>
                  <a:lnTo>
                    <a:pt x="762" y="1307"/>
                  </a:lnTo>
                  <a:lnTo>
                    <a:pt x="760" y="1308"/>
                  </a:lnTo>
                  <a:lnTo>
                    <a:pt x="760" y="1312"/>
                  </a:lnTo>
                  <a:lnTo>
                    <a:pt x="764" y="1319"/>
                  </a:lnTo>
                  <a:lnTo>
                    <a:pt x="764" y="1320"/>
                  </a:lnTo>
                  <a:lnTo>
                    <a:pt x="764" y="1320"/>
                  </a:lnTo>
                  <a:lnTo>
                    <a:pt x="764" y="1320"/>
                  </a:lnTo>
                  <a:lnTo>
                    <a:pt x="764" y="132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3" name="Freeform 282">
              <a:extLst>
                <a:ext uri="{FF2B5EF4-FFF2-40B4-BE49-F238E27FC236}">
                  <a16:creationId xmlns:a16="http://schemas.microsoft.com/office/drawing/2014/main" id="{11E31382-512F-A5EE-6E2E-F5D6FD94D1CE}"/>
                </a:ext>
              </a:extLst>
            </p:cNvPr>
            <p:cNvSpPr>
              <a:spLocks/>
            </p:cNvSpPr>
            <p:nvPr/>
          </p:nvSpPr>
          <p:spPr bwMode="auto">
            <a:xfrm>
              <a:off x="7300914" y="4778377"/>
              <a:ext cx="695325" cy="852488"/>
            </a:xfrm>
            <a:custGeom>
              <a:avLst/>
              <a:gdLst>
                <a:gd name="T0" fmla="*/ 1254 w 1313"/>
                <a:gd name="T1" fmla="*/ 303 h 1611"/>
                <a:gd name="T2" fmla="*/ 1272 w 1313"/>
                <a:gd name="T3" fmla="*/ 325 h 1611"/>
                <a:gd name="T4" fmla="*/ 1277 w 1313"/>
                <a:gd name="T5" fmla="*/ 363 h 1611"/>
                <a:gd name="T6" fmla="*/ 1240 w 1313"/>
                <a:gd name="T7" fmla="*/ 409 h 1611"/>
                <a:gd name="T8" fmla="*/ 1200 w 1313"/>
                <a:gd name="T9" fmla="*/ 455 h 1611"/>
                <a:gd name="T10" fmla="*/ 1227 w 1313"/>
                <a:gd name="T11" fmla="*/ 528 h 1611"/>
                <a:gd name="T12" fmla="*/ 1153 w 1313"/>
                <a:gd name="T13" fmla="*/ 556 h 1611"/>
                <a:gd name="T14" fmla="*/ 1193 w 1313"/>
                <a:gd name="T15" fmla="*/ 476 h 1611"/>
                <a:gd name="T16" fmla="*/ 1151 w 1313"/>
                <a:gd name="T17" fmla="*/ 502 h 1611"/>
                <a:gd name="T18" fmla="*/ 1148 w 1313"/>
                <a:gd name="T19" fmla="*/ 457 h 1611"/>
                <a:gd name="T20" fmla="*/ 1120 w 1313"/>
                <a:gd name="T21" fmla="*/ 505 h 1611"/>
                <a:gd name="T22" fmla="*/ 1073 w 1313"/>
                <a:gd name="T23" fmla="*/ 511 h 1611"/>
                <a:gd name="T24" fmla="*/ 1084 w 1313"/>
                <a:gd name="T25" fmla="*/ 559 h 1611"/>
                <a:gd name="T26" fmla="*/ 1139 w 1313"/>
                <a:gd name="T27" fmla="*/ 609 h 1611"/>
                <a:gd name="T28" fmla="*/ 1084 w 1313"/>
                <a:gd name="T29" fmla="*/ 604 h 1611"/>
                <a:gd name="T30" fmla="*/ 1156 w 1313"/>
                <a:gd name="T31" fmla="*/ 601 h 1611"/>
                <a:gd name="T32" fmla="*/ 1156 w 1313"/>
                <a:gd name="T33" fmla="*/ 646 h 1611"/>
                <a:gd name="T34" fmla="*/ 1109 w 1313"/>
                <a:gd name="T35" fmla="*/ 739 h 1611"/>
                <a:gd name="T36" fmla="*/ 1113 w 1313"/>
                <a:gd name="T37" fmla="*/ 839 h 1611"/>
                <a:gd name="T38" fmla="*/ 1083 w 1313"/>
                <a:gd name="T39" fmla="*/ 880 h 1611"/>
                <a:gd name="T40" fmla="*/ 1117 w 1313"/>
                <a:gd name="T41" fmla="*/ 913 h 1611"/>
                <a:gd name="T42" fmla="*/ 1119 w 1313"/>
                <a:gd name="T43" fmla="*/ 967 h 1611"/>
                <a:gd name="T44" fmla="*/ 1113 w 1313"/>
                <a:gd name="T45" fmla="*/ 948 h 1611"/>
                <a:gd name="T46" fmla="*/ 1070 w 1313"/>
                <a:gd name="T47" fmla="*/ 929 h 1611"/>
                <a:gd name="T48" fmla="*/ 1033 w 1313"/>
                <a:gd name="T49" fmla="*/ 889 h 1611"/>
                <a:gd name="T50" fmla="*/ 1019 w 1313"/>
                <a:gd name="T51" fmla="*/ 906 h 1611"/>
                <a:gd name="T52" fmla="*/ 1009 w 1313"/>
                <a:gd name="T53" fmla="*/ 990 h 1611"/>
                <a:gd name="T54" fmla="*/ 1033 w 1313"/>
                <a:gd name="T55" fmla="*/ 1014 h 1611"/>
                <a:gd name="T56" fmla="*/ 974 w 1313"/>
                <a:gd name="T57" fmla="*/ 1030 h 1611"/>
                <a:gd name="T58" fmla="*/ 967 w 1313"/>
                <a:gd name="T59" fmla="*/ 1055 h 1611"/>
                <a:gd name="T60" fmla="*/ 959 w 1313"/>
                <a:gd name="T61" fmla="*/ 1002 h 1611"/>
                <a:gd name="T62" fmla="*/ 932 w 1313"/>
                <a:gd name="T63" fmla="*/ 1057 h 1611"/>
                <a:gd name="T64" fmla="*/ 961 w 1313"/>
                <a:gd name="T65" fmla="*/ 1111 h 1611"/>
                <a:gd name="T66" fmla="*/ 902 w 1313"/>
                <a:gd name="T67" fmla="*/ 1135 h 1611"/>
                <a:gd name="T68" fmla="*/ 863 w 1313"/>
                <a:gd name="T69" fmla="*/ 1127 h 1611"/>
                <a:gd name="T70" fmla="*/ 874 w 1313"/>
                <a:gd name="T71" fmla="*/ 1173 h 1611"/>
                <a:gd name="T72" fmla="*/ 861 w 1313"/>
                <a:gd name="T73" fmla="*/ 1248 h 1611"/>
                <a:gd name="T74" fmla="*/ 799 w 1313"/>
                <a:gd name="T75" fmla="*/ 1208 h 1611"/>
                <a:gd name="T76" fmla="*/ 720 w 1313"/>
                <a:gd name="T77" fmla="*/ 1251 h 1611"/>
                <a:gd name="T78" fmla="*/ 695 w 1313"/>
                <a:gd name="T79" fmla="*/ 1265 h 1611"/>
                <a:gd name="T80" fmla="*/ 688 w 1313"/>
                <a:gd name="T81" fmla="*/ 1289 h 1611"/>
                <a:gd name="T82" fmla="*/ 608 w 1313"/>
                <a:gd name="T83" fmla="*/ 1301 h 1611"/>
                <a:gd name="T84" fmla="*/ 686 w 1313"/>
                <a:gd name="T85" fmla="*/ 1338 h 1611"/>
                <a:gd name="T86" fmla="*/ 668 w 1313"/>
                <a:gd name="T87" fmla="*/ 1403 h 1611"/>
                <a:gd name="T88" fmla="*/ 621 w 1313"/>
                <a:gd name="T89" fmla="*/ 1458 h 1611"/>
                <a:gd name="T90" fmla="*/ 590 w 1313"/>
                <a:gd name="T91" fmla="*/ 1449 h 1611"/>
                <a:gd name="T92" fmla="*/ 492 w 1313"/>
                <a:gd name="T93" fmla="*/ 1489 h 1611"/>
                <a:gd name="T94" fmla="*/ 540 w 1313"/>
                <a:gd name="T95" fmla="*/ 1560 h 1611"/>
                <a:gd name="T96" fmla="*/ 497 w 1313"/>
                <a:gd name="T97" fmla="*/ 1590 h 1611"/>
                <a:gd name="T98" fmla="*/ 468 w 1313"/>
                <a:gd name="T99" fmla="*/ 1547 h 1611"/>
                <a:gd name="T100" fmla="*/ 412 w 1313"/>
                <a:gd name="T101" fmla="*/ 1592 h 1611"/>
                <a:gd name="T102" fmla="*/ 310 w 1313"/>
                <a:gd name="T103" fmla="*/ 1264 h 1611"/>
                <a:gd name="T104" fmla="*/ 115 w 1313"/>
                <a:gd name="T105" fmla="*/ 1217 h 1611"/>
                <a:gd name="T106" fmla="*/ 3 w 1313"/>
                <a:gd name="T107" fmla="*/ 1122 h 1611"/>
                <a:gd name="T108" fmla="*/ 107 w 1313"/>
                <a:gd name="T109" fmla="*/ 855 h 1611"/>
                <a:gd name="T110" fmla="*/ 200 w 1313"/>
                <a:gd name="T111" fmla="*/ 662 h 1611"/>
                <a:gd name="T112" fmla="*/ 325 w 1313"/>
                <a:gd name="T113" fmla="*/ 355 h 1611"/>
                <a:gd name="T114" fmla="*/ 379 w 1313"/>
                <a:gd name="T115" fmla="*/ 181 h 1611"/>
                <a:gd name="T116" fmla="*/ 670 w 1313"/>
                <a:gd name="T117" fmla="*/ 77 h 1611"/>
                <a:gd name="T118" fmla="*/ 774 w 1313"/>
                <a:gd name="T119" fmla="*/ 14 h 1611"/>
                <a:gd name="T120" fmla="*/ 845 w 1313"/>
                <a:gd name="T121" fmla="*/ 230 h 1611"/>
                <a:gd name="T122" fmla="*/ 1013 w 1313"/>
                <a:gd name="T123" fmla="*/ 239 h 1611"/>
                <a:gd name="T124" fmla="*/ 1191 w 1313"/>
                <a:gd name="T125" fmla="*/ 28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3" h="1611">
                  <a:moveTo>
                    <a:pt x="1310" y="335"/>
                  </a:moveTo>
                  <a:lnTo>
                    <a:pt x="1310" y="336"/>
                  </a:lnTo>
                  <a:lnTo>
                    <a:pt x="1307" y="338"/>
                  </a:lnTo>
                  <a:lnTo>
                    <a:pt x="1305" y="339"/>
                  </a:lnTo>
                  <a:lnTo>
                    <a:pt x="1304" y="338"/>
                  </a:lnTo>
                  <a:lnTo>
                    <a:pt x="1296" y="324"/>
                  </a:lnTo>
                  <a:lnTo>
                    <a:pt x="1297" y="317"/>
                  </a:lnTo>
                  <a:lnTo>
                    <a:pt x="1289" y="312"/>
                  </a:lnTo>
                  <a:lnTo>
                    <a:pt x="1286" y="312"/>
                  </a:lnTo>
                  <a:lnTo>
                    <a:pt x="1269" y="319"/>
                  </a:lnTo>
                  <a:lnTo>
                    <a:pt x="1267" y="318"/>
                  </a:lnTo>
                  <a:lnTo>
                    <a:pt x="1265" y="313"/>
                  </a:lnTo>
                  <a:lnTo>
                    <a:pt x="1264" y="309"/>
                  </a:lnTo>
                  <a:lnTo>
                    <a:pt x="1275" y="302"/>
                  </a:lnTo>
                  <a:lnTo>
                    <a:pt x="1275" y="298"/>
                  </a:lnTo>
                  <a:lnTo>
                    <a:pt x="1271" y="294"/>
                  </a:lnTo>
                  <a:lnTo>
                    <a:pt x="1267" y="294"/>
                  </a:lnTo>
                  <a:lnTo>
                    <a:pt x="1264" y="299"/>
                  </a:lnTo>
                  <a:lnTo>
                    <a:pt x="1262" y="299"/>
                  </a:lnTo>
                  <a:lnTo>
                    <a:pt x="1260" y="298"/>
                  </a:lnTo>
                  <a:lnTo>
                    <a:pt x="1262" y="293"/>
                  </a:lnTo>
                  <a:lnTo>
                    <a:pt x="1262" y="291"/>
                  </a:lnTo>
                  <a:lnTo>
                    <a:pt x="1259" y="294"/>
                  </a:lnTo>
                  <a:lnTo>
                    <a:pt x="1259" y="299"/>
                  </a:lnTo>
                  <a:lnTo>
                    <a:pt x="1257" y="302"/>
                  </a:lnTo>
                  <a:lnTo>
                    <a:pt x="1254" y="303"/>
                  </a:lnTo>
                  <a:lnTo>
                    <a:pt x="1249" y="300"/>
                  </a:lnTo>
                  <a:lnTo>
                    <a:pt x="1251" y="310"/>
                  </a:lnTo>
                  <a:lnTo>
                    <a:pt x="1250" y="313"/>
                  </a:lnTo>
                  <a:lnTo>
                    <a:pt x="1248" y="313"/>
                  </a:lnTo>
                  <a:lnTo>
                    <a:pt x="1247" y="314"/>
                  </a:lnTo>
                  <a:lnTo>
                    <a:pt x="1246" y="309"/>
                  </a:lnTo>
                  <a:lnTo>
                    <a:pt x="1242" y="305"/>
                  </a:lnTo>
                  <a:lnTo>
                    <a:pt x="1238" y="302"/>
                  </a:lnTo>
                  <a:lnTo>
                    <a:pt x="1238" y="307"/>
                  </a:lnTo>
                  <a:lnTo>
                    <a:pt x="1233" y="309"/>
                  </a:lnTo>
                  <a:lnTo>
                    <a:pt x="1238" y="314"/>
                  </a:lnTo>
                  <a:lnTo>
                    <a:pt x="1239" y="317"/>
                  </a:lnTo>
                  <a:lnTo>
                    <a:pt x="1235" y="321"/>
                  </a:lnTo>
                  <a:lnTo>
                    <a:pt x="1232" y="321"/>
                  </a:lnTo>
                  <a:lnTo>
                    <a:pt x="1231" y="322"/>
                  </a:lnTo>
                  <a:lnTo>
                    <a:pt x="1236" y="331"/>
                  </a:lnTo>
                  <a:lnTo>
                    <a:pt x="1238" y="331"/>
                  </a:lnTo>
                  <a:lnTo>
                    <a:pt x="1240" y="329"/>
                  </a:lnTo>
                  <a:lnTo>
                    <a:pt x="1242" y="320"/>
                  </a:lnTo>
                  <a:lnTo>
                    <a:pt x="1244" y="318"/>
                  </a:lnTo>
                  <a:lnTo>
                    <a:pt x="1250" y="318"/>
                  </a:lnTo>
                  <a:lnTo>
                    <a:pt x="1258" y="313"/>
                  </a:lnTo>
                  <a:lnTo>
                    <a:pt x="1259" y="319"/>
                  </a:lnTo>
                  <a:lnTo>
                    <a:pt x="1261" y="321"/>
                  </a:lnTo>
                  <a:lnTo>
                    <a:pt x="1267" y="324"/>
                  </a:lnTo>
                  <a:lnTo>
                    <a:pt x="1272" y="325"/>
                  </a:lnTo>
                  <a:lnTo>
                    <a:pt x="1285" y="316"/>
                  </a:lnTo>
                  <a:lnTo>
                    <a:pt x="1290" y="320"/>
                  </a:lnTo>
                  <a:lnTo>
                    <a:pt x="1293" y="325"/>
                  </a:lnTo>
                  <a:lnTo>
                    <a:pt x="1292" y="329"/>
                  </a:lnTo>
                  <a:lnTo>
                    <a:pt x="1286" y="337"/>
                  </a:lnTo>
                  <a:lnTo>
                    <a:pt x="1289" y="337"/>
                  </a:lnTo>
                  <a:lnTo>
                    <a:pt x="1295" y="335"/>
                  </a:lnTo>
                  <a:lnTo>
                    <a:pt x="1299" y="337"/>
                  </a:lnTo>
                  <a:lnTo>
                    <a:pt x="1301" y="342"/>
                  </a:lnTo>
                  <a:lnTo>
                    <a:pt x="1313" y="341"/>
                  </a:lnTo>
                  <a:lnTo>
                    <a:pt x="1312" y="345"/>
                  </a:lnTo>
                  <a:lnTo>
                    <a:pt x="1310" y="347"/>
                  </a:lnTo>
                  <a:lnTo>
                    <a:pt x="1304" y="345"/>
                  </a:lnTo>
                  <a:lnTo>
                    <a:pt x="1297" y="348"/>
                  </a:lnTo>
                  <a:lnTo>
                    <a:pt x="1297" y="349"/>
                  </a:lnTo>
                  <a:lnTo>
                    <a:pt x="1299" y="350"/>
                  </a:lnTo>
                  <a:lnTo>
                    <a:pt x="1307" y="353"/>
                  </a:lnTo>
                  <a:lnTo>
                    <a:pt x="1305" y="354"/>
                  </a:lnTo>
                  <a:lnTo>
                    <a:pt x="1297" y="354"/>
                  </a:lnTo>
                  <a:lnTo>
                    <a:pt x="1295" y="356"/>
                  </a:lnTo>
                  <a:lnTo>
                    <a:pt x="1295" y="362"/>
                  </a:lnTo>
                  <a:lnTo>
                    <a:pt x="1296" y="363"/>
                  </a:lnTo>
                  <a:lnTo>
                    <a:pt x="1301" y="362"/>
                  </a:lnTo>
                  <a:lnTo>
                    <a:pt x="1300" y="365"/>
                  </a:lnTo>
                  <a:lnTo>
                    <a:pt x="1298" y="366"/>
                  </a:lnTo>
                  <a:lnTo>
                    <a:pt x="1277" y="363"/>
                  </a:lnTo>
                  <a:lnTo>
                    <a:pt x="1277" y="363"/>
                  </a:lnTo>
                  <a:lnTo>
                    <a:pt x="1266" y="364"/>
                  </a:lnTo>
                  <a:lnTo>
                    <a:pt x="1263" y="362"/>
                  </a:lnTo>
                  <a:lnTo>
                    <a:pt x="1259" y="357"/>
                  </a:lnTo>
                  <a:lnTo>
                    <a:pt x="1256" y="358"/>
                  </a:lnTo>
                  <a:lnTo>
                    <a:pt x="1259" y="364"/>
                  </a:lnTo>
                  <a:lnTo>
                    <a:pt x="1257" y="367"/>
                  </a:lnTo>
                  <a:lnTo>
                    <a:pt x="1260" y="368"/>
                  </a:lnTo>
                  <a:lnTo>
                    <a:pt x="1265" y="367"/>
                  </a:lnTo>
                  <a:lnTo>
                    <a:pt x="1267" y="368"/>
                  </a:lnTo>
                  <a:lnTo>
                    <a:pt x="1270" y="381"/>
                  </a:lnTo>
                  <a:lnTo>
                    <a:pt x="1270" y="381"/>
                  </a:lnTo>
                  <a:lnTo>
                    <a:pt x="1268" y="382"/>
                  </a:lnTo>
                  <a:lnTo>
                    <a:pt x="1262" y="378"/>
                  </a:lnTo>
                  <a:lnTo>
                    <a:pt x="1260" y="379"/>
                  </a:lnTo>
                  <a:lnTo>
                    <a:pt x="1257" y="380"/>
                  </a:lnTo>
                  <a:lnTo>
                    <a:pt x="1262" y="383"/>
                  </a:lnTo>
                  <a:lnTo>
                    <a:pt x="1258" y="389"/>
                  </a:lnTo>
                  <a:lnTo>
                    <a:pt x="1264" y="388"/>
                  </a:lnTo>
                  <a:lnTo>
                    <a:pt x="1265" y="390"/>
                  </a:lnTo>
                  <a:lnTo>
                    <a:pt x="1266" y="398"/>
                  </a:lnTo>
                  <a:lnTo>
                    <a:pt x="1264" y="402"/>
                  </a:lnTo>
                  <a:lnTo>
                    <a:pt x="1260" y="404"/>
                  </a:lnTo>
                  <a:lnTo>
                    <a:pt x="1256" y="407"/>
                  </a:lnTo>
                  <a:lnTo>
                    <a:pt x="1243" y="407"/>
                  </a:lnTo>
                  <a:lnTo>
                    <a:pt x="1240" y="409"/>
                  </a:lnTo>
                  <a:lnTo>
                    <a:pt x="1241" y="410"/>
                  </a:lnTo>
                  <a:lnTo>
                    <a:pt x="1250" y="412"/>
                  </a:lnTo>
                  <a:lnTo>
                    <a:pt x="1259" y="410"/>
                  </a:lnTo>
                  <a:lnTo>
                    <a:pt x="1261" y="411"/>
                  </a:lnTo>
                  <a:lnTo>
                    <a:pt x="1262" y="412"/>
                  </a:lnTo>
                  <a:lnTo>
                    <a:pt x="1261" y="421"/>
                  </a:lnTo>
                  <a:lnTo>
                    <a:pt x="1259" y="427"/>
                  </a:lnTo>
                  <a:lnTo>
                    <a:pt x="1258" y="428"/>
                  </a:lnTo>
                  <a:lnTo>
                    <a:pt x="1256" y="426"/>
                  </a:lnTo>
                  <a:lnTo>
                    <a:pt x="1248" y="427"/>
                  </a:lnTo>
                  <a:lnTo>
                    <a:pt x="1238" y="425"/>
                  </a:lnTo>
                  <a:lnTo>
                    <a:pt x="1227" y="427"/>
                  </a:lnTo>
                  <a:lnTo>
                    <a:pt x="1225" y="428"/>
                  </a:lnTo>
                  <a:lnTo>
                    <a:pt x="1224" y="430"/>
                  </a:lnTo>
                  <a:lnTo>
                    <a:pt x="1227" y="437"/>
                  </a:lnTo>
                  <a:lnTo>
                    <a:pt x="1223" y="443"/>
                  </a:lnTo>
                  <a:lnTo>
                    <a:pt x="1218" y="445"/>
                  </a:lnTo>
                  <a:lnTo>
                    <a:pt x="1216" y="443"/>
                  </a:lnTo>
                  <a:lnTo>
                    <a:pt x="1214" y="439"/>
                  </a:lnTo>
                  <a:lnTo>
                    <a:pt x="1208" y="440"/>
                  </a:lnTo>
                  <a:lnTo>
                    <a:pt x="1207" y="442"/>
                  </a:lnTo>
                  <a:lnTo>
                    <a:pt x="1211" y="445"/>
                  </a:lnTo>
                  <a:lnTo>
                    <a:pt x="1212" y="447"/>
                  </a:lnTo>
                  <a:lnTo>
                    <a:pt x="1203" y="446"/>
                  </a:lnTo>
                  <a:lnTo>
                    <a:pt x="1202" y="450"/>
                  </a:lnTo>
                  <a:lnTo>
                    <a:pt x="1200" y="455"/>
                  </a:lnTo>
                  <a:lnTo>
                    <a:pt x="1204" y="463"/>
                  </a:lnTo>
                  <a:lnTo>
                    <a:pt x="1207" y="464"/>
                  </a:lnTo>
                  <a:lnTo>
                    <a:pt x="1214" y="462"/>
                  </a:lnTo>
                  <a:lnTo>
                    <a:pt x="1217" y="463"/>
                  </a:lnTo>
                  <a:lnTo>
                    <a:pt x="1221" y="465"/>
                  </a:lnTo>
                  <a:lnTo>
                    <a:pt x="1222" y="470"/>
                  </a:lnTo>
                  <a:lnTo>
                    <a:pt x="1224" y="471"/>
                  </a:lnTo>
                  <a:lnTo>
                    <a:pt x="1226" y="471"/>
                  </a:lnTo>
                  <a:lnTo>
                    <a:pt x="1231" y="468"/>
                  </a:lnTo>
                  <a:lnTo>
                    <a:pt x="1234" y="469"/>
                  </a:lnTo>
                  <a:lnTo>
                    <a:pt x="1233" y="472"/>
                  </a:lnTo>
                  <a:lnTo>
                    <a:pt x="1224" y="484"/>
                  </a:lnTo>
                  <a:lnTo>
                    <a:pt x="1226" y="487"/>
                  </a:lnTo>
                  <a:lnTo>
                    <a:pt x="1229" y="491"/>
                  </a:lnTo>
                  <a:lnTo>
                    <a:pt x="1236" y="488"/>
                  </a:lnTo>
                  <a:lnTo>
                    <a:pt x="1244" y="491"/>
                  </a:lnTo>
                  <a:lnTo>
                    <a:pt x="1242" y="494"/>
                  </a:lnTo>
                  <a:lnTo>
                    <a:pt x="1233" y="497"/>
                  </a:lnTo>
                  <a:lnTo>
                    <a:pt x="1229" y="504"/>
                  </a:lnTo>
                  <a:lnTo>
                    <a:pt x="1229" y="506"/>
                  </a:lnTo>
                  <a:lnTo>
                    <a:pt x="1232" y="512"/>
                  </a:lnTo>
                  <a:lnTo>
                    <a:pt x="1239" y="517"/>
                  </a:lnTo>
                  <a:lnTo>
                    <a:pt x="1239" y="519"/>
                  </a:lnTo>
                  <a:lnTo>
                    <a:pt x="1238" y="522"/>
                  </a:lnTo>
                  <a:lnTo>
                    <a:pt x="1228" y="528"/>
                  </a:lnTo>
                  <a:lnTo>
                    <a:pt x="1227" y="528"/>
                  </a:lnTo>
                  <a:lnTo>
                    <a:pt x="1224" y="526"/>
                  </a:lnTo>
                  <a:lnTo>
                    <a:pt x="1227" y="523"/>
                  </a:lnTo>
                  <a:lnTo>
                    <a:pt x="1227" y="521"/>
                  </a:lnTo>
                  <a:lnTo>
                    <a:pt x="1226" y="519"/>
                  </a:lnTo>
                  <a:lnTo>
                    <a:pt x="1224" y="519"/>
                  </a:lnTo>
                  <a:lnTo>
                    <a:pt x="1221" y="523"/>
                  </a:lnTo>
                  <a:lnTo>
                    <a:pt x="1212" y="532"/>
                  </a:lnTo>
                  <a:lnTo>
                    <a:pt x="1200" y="539"/>
                  </a:lnTo>
                  <a:lnTo>
                    <a:pt x="1196" y="540"/>
                  </a:lnTo>
                  <a:lnTo>
                    <a:pt x="1190" y="538"/>
                  </a:lnTo>
                  <a:lnTo>
                    <a:pt x="1188" y="539"/>
                  </a:lnTo>
                  <a:lnTo>
                    <a:pt x="1184" y="542"/>
                  </a:lnTo>
                  <a:lnTo>
                    <a:pt x="1182" y="546"/>
                  </a:lnTo>
                  <a:lnTo>
                    <a:pt x="1182" y="550"/>
                  </a:lnTo>
                  <a:lnTo>
                    <a:pt x="1185" y="554"/>
                  </a:lnTo>
                  <a:lnTo>
                    <a:pt x="1184" y="556"/>
                  </a:lnTo>
                  <a:lnTo>
                    <a:pt x="1180" y="559"/>
                  </a:lnTo>
                  <a:lnTo>
                    <a:pt x="1174" y="561"/>
                  </a:lnTo>
                  <a:lnTo>
                    <a:pt x="1171" y="569"/>
                  </a:lnTo>
                  <a:lnTo>
                    <a:pt x="1168" y="571"/>
                  </a:lnTo>
                  <a:lnTo>
                    <a:pt x="1164" y="572"/>
                  </a:lnTo>
                  <a:lnTo>
                    <a:pt x="1156" y="570"/>
                  </a:lnTo>
                  <a:lnTo>
                    <a:pt x="1154" y="569"/>
                  </a:lnTo>
                  <a:lnTo>
                    <a:pt x="1153" y="566"/>
                  </a:lnTo>
                  <a:lnTo>
                    <a:pt x="1152" y="560"/>
                  </a:lnTo>
                  <a:lnTo>
                    <a:pt x="1153" y="556"/>
                  </a:lnTo>
                  <a:lnTo>
                    <a:pt x="1154" y="555"/>
                  </a:lnTo>
                  <a:lnTo>
                    <a:pt x="1158" y="558"/>
                  </a:lnTo>
                  <a:lnTo>
                    <a:pt x="1161" y="557"/>
                  </a:lnTo>
                  <a:lnTo>
                    <a:pt x="1156" y="552"/>
                  </a:lnTo>
                  <a:lnTo>
                    <a:pt x="1157" y="545"/>
                  </a:lnTo>
                  <a:lnTo>
                    <a:pt x="1168" y="537"/>
                  </a:lnTo>
                  <a:lnTo>
                    <a:pt x="1172" y="535"/>
                  </a:lnTo>
                  <a:lnTo>
                    <a:pt x="1176" y="535"/>
                  </a:lnTo>
                  <a:lnTo>
                    <a:pt x="1180" y="538"/>
                  </a:lnTo>
                  <a:lnTo>
                    <a:pt x="1185" y="536"/>
                  </a:lnTo>
                  <a:lnTo>
                    <a:pt x="1190" y="523"/>
                  </a:lnTo>
                  <a:lnTo>
                    <a:pt x="1190" y="518"/>
                  </a:lnTo>
                  <a:lnTo>
                    <a:pt x="1195" y="512"/>
                  </a:lnTo>
                  <a:lnTo>
                    <a:pt x="1195" y="512"/>
                  </a:lnTo>
                  <a:lnTo>
                    <a:pt x="1191" y="511"/>
                  </a:lnTo>
                  <a:lnTo>
                    <a:pt x="1191" y="509"/>
                  </a:lnTo>
                  <a:lnTo>
                    <a:pt x="1193" y="507"/>
                  </a:lnTo>
                  <a:lnTo>
                    <a:pt x="1203" y="502"/>
                  </a:lnTo>
                  <a:lnTo>
                    <a:pt x="1205" y="499"/>
                  </a:lnTo>
                  <a:lnTo>
                    <a:pt x="1215" y="481"/>
                  </a:lnTo>
                  <a:lnTo>
                    <a:pt x="1220" y="475"/>
                  </a:lnTo>
                  <a:lnTo>
                    <a:pt x="1220" y="471"/>
                  </a:lnTo>
                  <a:lnTo>
                    <a:pt x="1216" y="469"/>
                  </a:lnTo>
                  <a:lnTo>
                    <a:pt x="1215" y="468"/>
                  </a:lnTo>
                  <a:lnTo>
                    <a:pt x="1206" y="474"/>
                  </a:lnTo>
                  <a:lnTo>
                    <a:pt x="1193" y="476"/>
                  </a:lnTo>
                  <a:lnTo>
                    <a:pt x="1187" y="481"/>
                  </a:lnTo>
                  <a:lnTo>
                    <a:pt x="1185" y="481"/>
                  </a:lnTo>
                  <a:lnTo>
                    <a:pt x="1184" y="480"/>
                  </a:lnTo>
                  <a:lnTo>
                    <a:pt x="1188" y="475"/>
                  </a:lnTo>
                  <a:lnTo>
                    <a:pt x="1188" y="474"/>
                  </a:lnTo>
                  <a:lnTo>
                    <a:pt x="1186" y="473"/>
                  </a:lnTo>
                  <a:lnTo>
                    <a:pt x="1179" y="475"/>
                  </a:lnTo>
                  <a:lnTo>
                    <a:pt x="1172" y="479"/>
                  </a:lnTo>
                  <a:lnTo>
                    <a:pt x="1171" y="481"/>
                  </a:lnTo>
                  <a:lnTo>
                    <a:pt x="1171" y="484"/>
                  </a:lnTo>
                  <a:lnTo>
                    <a:pt x="1175" y="488"/>
                  </a:lnTo>
                  <a:lnTo>
                    <a:pt x="1176" y="492"/>
                  </a:lnTo>
                  <a:lnTo>
                    <a:pt x="1167" y="505"/>
                  </a:lnTo>
                  <a:lnTo>
                    <a:pt x="1167" y="510"/>
                  </a:lnTo>
                  <a:lnTo>
                    <a:pt x="1169" y="521"/>
                  </a:lnTo>
                  <a:lnTo>
                    <a:pt x="1163" y="525"/>
                  </a:lnTo>
                  <a:lnTo>
                    <a:pt x="1160" y="526"/>
                  </a:lnTo>
                  <a:lnTo>
                    <a:pt x="1158" y="525"/>
                  </a:lnTo>
                  <a:lnTo>
                    <a:pt x="1157" y="522"/>
                  </a:lnTo>
                  <a:lnTo>
                    <a:pt x="1160" y="518"/>
                  </a:lnTo>
                  <a:lnTo>
                    <a:pt x="1159" y="517"/>
                  </a:lnTo>
                  <a:lnTo>
                    <a:pt x="1151" y="511"/>
                  </a:lnTo>
                  <a:lnTo>
                    <a:pt x="1151" y="507"/>
                  </a:lnTo>
                  <a:lnTo>
                    <a:pt x="1154" y="503"/>
                  </a:lnTo>
                  <a:lnTo>
                    <a:pt x="1154" y="502"/>
                  </a:lnTo>
                  <a:lnTo>
                    <a:pt x="1151" y="502"/>
                  </a:lnTo>
                  <a:lnTo>
                    <a:pt x="1148" y="504"/>
                  </a:lnTo>
                  <a:lnTo>
                    <a:pt x="1145" y="510"/>
                  </a:lnTo>
                  <a:lnTo>
                    <a:pt x="1142" y="514"/>
                  </a:lnTo>
                  <a:lnTo>
                    <a:pt x="1138" y="515"/>
                  </a:lnTo>
                  <a:lnTo>
                    <a:pt x="1136" y="514"/>
                  </a:lnTo>
                  <a:lnTo>
                    <a:pt x="1136" y="514"/>
                  </a:lnTo>
                  <a:lnTo>
                    <a:pt x="1135" y="508"/>
                  </a:lnTo>
                  <a:lnTo>
                    <a:pt x="1140" y="503"/>
                  </a:lnTo>
                  <a:lnTo>
                    <a:pt x="1139" y="500"/>
                  </a:lnTo>
                  <a:lnTo>
                    <a:pt x="1135" y="494"/>
                  </a:lnTo>
                  <a:lnTo>
                    <a:pt x="1136" y="489"/>
                  </a:lnTo>
                  <a:lnTo>
                    <a:pt x="1141" y="484"/>
                  </a:lnTo>
                  <a:lnTo>
                    <a:pt x="1152" y="483"/>
                  </a:lnTo>
                  <a:lnTo>
                    <a:pt x="1150" y="480"/>
                  </a:lnTo>
                  <a:lnTo>
                    <a:pt x="1149" y="472"/>
                  </a:lnTo>
                  <a:lnTo>
                    <a:pt x="1148" y="472"/>
                  </a:lnTo>
                  <a:lnTo>
                    <a:pt x="1141" y="479"/>
                  </a:lnTo>
                  <a:lnTo>
                    <a:pt x="1135" y="482"/>
                  </a:lnTo>
                  <a:lnTo>
                    <a:pt x="1133" y="482"/>
                  </a:lnTo>
                  <a:lnTo>
                    <a:pt x="1132" y="481"/>
                  </a:lnTo>
                  <a:lnTo>
                    <a:pt x="1131" y="476"/>
                  </a:lnTo>
                  <a:lnTo>
                    <a:pt x="1134" y="470"/>
                  </a:lnTo>
                  <a:lnTo>
                    <a:pt x="1144" y="466"/>
                  </a:lnTo>
                  <a:lnTo>
                    <a:pt x="1146" y="464"/>
                  </a:lnTo>
                  <a:lnTo>
                    <a:pt x="1150" y="460"/>
                  </a:lnTo>
                  <a:lnTo>
                    <a:pt x="1148" y="457"/>
                  </a:lnTo>
                  <a:lnTo>
                    <a:pt x="1146" y="457"/>
                  </a:lnTo>
                  <a:lnTo>
                    <a:pt x="1138" y="466"/>
                  </a:lnTo>
                  <a:lnTo>
                    <a:pt x="1126" y="467"/>
                  </a:lnTo>
                  <a:lnTo>
                    <a:pt x="1127" y="472"/>
                  </a:lnTo>
                  <a:lnTo>
                    <a:pt x="1123" y="481"/>
                  </a:lnTo>
                  <a:lnTo>
                    <a:pt x="1125" y="486"/>
                  </a:lnTo>
                  <a:lnTo>
                    <a:pt x="1125" y="494"/>
                  </a:lnTo>
                  <a:lnTo>
                    <a:pt x="1124" y="499"/>
                  </a:lnTo>
                  <a:lnTo>
                    <a:pt x="1122" y="501"/>
                  </a:lnTo>
                  <a:lnTo>
                    <a:pt x="1118" y="499"/>
                  </a:lnTo>
                  <a:lnTo>
                    <a:pt x="1119" y="492"/>
                  </a:lnTo>
                  <a:lnTo>
                    <a:pt x="1118" y="489"/>
                  </a:lnTo>
                  <a:lnTo>
                    <a:pt x="1110" y="480"/>
                  </a:lnTo>
                  <a:lnTo>
                    <a:pt x="1101" y="473"/>
                  </a:lnTo>
                  <a:lnTo>
                    <a:pt x="1101" y="467"/>
                  </a:lnTo>
                  <a:lnTo>
                    <a:pt x="1097" y="457"/>
                  </a:lnTo>
                  <a:lnTo>
                    <a:pt x="1095" y="455"/>
                  </a:lnTo>
                  <a:lnTo>
                    <a:pt x="1094" y="455"/>
                  </a:lnTo>
                  <a:lnTo>
                    <a:pt x="1094" y="460"/>
                  </a:lnTo>
                  <a:lnTo>
                    <a:pt x="1096" y="468"/>
                  </a:lnTo>
                  <a:lnTo>
                    <a:pt x="1102" y="481"/>
                  </a:lnTo>
                  <a:lnTo>
                    <a:pt x="1101" y="491"/>
                  </a:lnTo>
                  <a:lnTo>
                    <a:pt x="1102" y="494"/>
                  </a:lnTo>
                  <a:lnTo>
                    <a:pt x="1107" y="500"/>
                  </a:lnTo>
                  <a:lnTo>
                    <a:pt x="1116" y="502"/>
                  </a:lnTo>
                  <a:lnTo>
                    <a:pt x="1120" y="505"/>
                  </a:lnTo>
                  <a:lnTo>
                    <a:pt x="1118" y="508"/>
                  </a:lnTo>
                  <a:lnTo>
                    <a:pt x="1114" y="511"/>
                  </a:lnTo>
                  <a:lnTo>
                    <a:pt x="1109" y="511"/>
                  </a:lnTo>
                  <a:lnTo>
                    <a:pt x="1098" y="505"/>
                  </a:lnTo>
                  <a:lnTo>
                    <a:pt x="1095" y="494"/>
                  </a:lnTo>
                  <a:lnTo>
                    <a:pt x="1092" y="497"/>
                  </a:lnTo>
                  <a:lnTo>
                    <a:pt x="1092" y="497"/>
                  </a:lnTo>
                  <a:lnTo>
                    <a:pt x="1086" y="498"/>
                  </a:lnTo>
                  <a:lnTo>
                    <a:pt x="1082" y="497"/>
                  </a:lnTo>
                  <a:lnTo>
                    <a:pt x="1084" y="493"/>
                  </a:lnTo>
                  <a:lnTo>
                    <a:pt x="1083" y="486"/>
                  </a:lnTo>
                  <a:lnTo>
                    <a:pt x="1082" y="485"/>
                  </a:lnTo>
                  <a:lnTo>
                    <a:pt x="1080" y="485"/>
                  </a:lnTo>
                  <a:lnTo>
                    <a:pt x="1076" y="489"/>
                  </a:lnTo>
                  <a:lnTo>
                    <a:pt x="1073" y="489"/>
                  </a:lnTo>
                  <a:lnTo>
                    <a:pt x="1073" y="489"/>
                  </a:lnTo>
                  <a:lnTo>
                    <a:pt x="1068" y="487"/>
                  </a:lnTo>
                  <a:lnTo>
                    <a:pt x="1070" y="493"/>
                  </a:lnTo>
                  <a:lnTo>
                    <a:pt x="1068" y="498"/>
                  </a:lnTo>
                  <a:lnTo>
                    <a:pt x="1065" y="506"/>
                  </a:lnTo>
                  <a:lnTo>
                    <a:pt x="1064" y="508"/>
                  </a:lnTo>
                  <a:lnTo>
                    <a:pt x="1064" y="515"/>
                  </a:lnTo>
                  <a:lnTo>
                    <a:pt x="1064" y="516"/>
                  </a:lnTo>
                  <a:lnTo>
                    <a:pt x="1066" y="517"/>
                  </a:lnTo>
                  <a:lnTo>
                    <a:pt x="1072" y="514"/>
                  </a:lnTo>
                  <a:lnTo>
                    <a:pt x="1073" y="511"/>
                  </a:lnTo>
                  <a:lnTo>
                    <a:pt x="1073" y="509"/>
                  </a:lnTo>
                  <a:lnTo>
                    <a:pt x="1068" y="506"/>
                  </a:lnTo>
                  <a:lnTo>
                    <a:pt x="1069" y="503"/>
                  </a:lnTo>
                  <a:lnTo>
                    <a:pt x="1076" y="502"/>
                  </a:lnTo>
                  <a:lnTo>
                    <a:pt x="1080" y="503"/>
                  </a:lnTo>
                  <a:lnTo>
                    <a:pt x="1086" y="500"/>
                  </a:lnTo>
                  <a:lnTo>
                    <a:pt x="1087" y="501"/>
                  </a:lnTo>
                  <a:lnTo>
                    <a:pt x="1087" y="503"/>
                  </a:lnTo>
                  <a:lnTo>
                    <a:pt x="1084" y="508"/>
                  </a:lnTo>
                  <a:lnTo>
                    <a:pt x="1077" y="512"/>
                  </a:lnTo>
                  <a:lnTo>
                    <a:pt x="1081" y="519"/>
                  </a:lnTo>
                  <a:lnTo>
                    <a:pt x="1084" y="533"/>
                  </a:lnTo>
                  <a:lnTo>
                    <a:pt x="1082" y="535"/>
                  </a:lnTo>
                  <a:lnTo>
                    <a:pt x="1079" y="535"/>
                  </a:lnTo>
                  <a:lnTo>
                    <a:pt x="1072" y="529"/>
                  </a:lnTo>
                  <a:lnTo>
                    <a:pt x="1064" y="526"/>
                  </a:lnTo>
                  <a:lnTo>
                    <a:pt x="1063" y="530"/>
                  </a:lnTo>
                  <a:lnTo>
                    <a:pt x="1059" y="533"/>
                  </a:lnTo>
                  <a:lnTo>
                    <a:pt x="1061" y="535"/>
                  </a:lnTo>
                  <a:lnTo>
                    <a:pt x="1065" y="538"/>
                  </a:lnTo>
                  <a:lnTo>
                    <a:pt x="1066" y="541"/>
                  </a:lnTo>
                  <a:lnTo>
                    <a:pt x="1066" y="541"/>
                  </a:lnTo>
                  <a:lnTo>
                    <a:pt x="1068" y="545"/>
                  </a:lnTo>
                  <a:lnTo>
                    <a:pt x="1081" y="555"/>
                  </a:lnTo>
                  <a:lnTo>
                    <a:pt x="1083" y="560"/>
                  </a:lnTo>
                  <a:lnTo>
                    <a:pt x="1084" y="559"/>
                  </a:lnTo>
                  <a:lnTo>
                    <a:pt x="1085" y="556"/>
                  </a:lnTo>
                  <a:lnTo>
                    <a:pt x="1087" y="553"/>
                  </a:lnTo>
                  <a:lnTo>
                    <a:pt x="1104" y="541"/>
                  </a:lnTo>
                  <a:lnTo>
                    <a:pt x="1108" y="544"/>
                  </a:lnTo>
                  <a:lnTo>
                    <a:pt x="1122" y="543"/>
                  </a:lnTo>
                  <a:lnTo>
                    <a:pt x="1127" y="547"/>
                  </a:lnTo>
                  <a:lnTo>
                    <a:pt x="1136" y="550"/>
                  </a:lnTo>
                  <a:lnTo>
                    <a:pt x="1138" y="551"/>
                  </a:lnTo>
                  <a:lnTo>
                    <a:pt x="1139" y="556"/>
                  </a:lnTo>
                  <a:lnTo>
                    <a:pt x="1142" y="562"/>
                  </a:lnTo>
                  <a:lnTo>
                    <a:pt x="1140" y="562"/>
                  </a:lnTo>
                  <a:lnTo>
                    <a:pt x="1137" y="558"/>
                  </a:lnTo>
                  <a:lnTo>
                    <a:pt x="1133" y="564"/>
                  </a:lnTo>
                  <a:lnTo>
                    <a:pt x="1139" y="566"/>
                  </a:lnTo>
                  <a:lnTo>
                    <a:pt x="1141" y="569"/>
                  </a:lnTo>
                  <a:lnTo>
                    <a:pt x="1142" y="573"/>
                  </a:lnTo>
                  <a:lnTo>
                    <a:pt x="1146" y="577"/>
                  </a:lnTo>
                  <a:lnTo>
                    <a:pt x="1148" y="587"/>
                  </a:lnTo>
                  <a:lnTo>
                    <a:pt x="1153" y="587"/>
                  </a:lnTo>
                  <a:lnTo>
                    <a:pt x="1155" y="594"/>
                  </a:lnTo>
                  <a:lnTo>
                    <a:pt x="1153" y="597"/>
                  </a:lnTo>
                  <a:lnTo>
                    <a:pt x="1145" y="598"/>
                  </a:lnTo>
                  <a:lnTo>
                    <a:pt x="1145" y="599"/>
                  </a:lnTo>
                  <a:lnTo>
                    <a:pt x="1148" y="601"/>
                  </a:lnTo>
                  <a:lnTo>
                    <a:pt x="1143" y="608"/>
                  </a:lnTo>
                  <a:lnTo>
                    <a:pt x="1139" y="609"/>
                  </a:lnTo>
                  <a:lnTo>
                    <a:pt x="1135" y="608"/>
                  </a:lnTo>
                  <a:lnTo>
                    <a:pt x="1140" y="604"/>
                  </a:lnTo>
                  <a:lnTo>
                    <a:pt x="1139" y="600"/>
                  </a:lnTo>
                  <a:lnTo>
                    <a:pt x="1137" y="598"/>
                  </a:lnTo>
                  <a:lnTo>
                    <a:pt x="1131" y="596"/>
                  </a:lnTo>
                  <a:lnTo>
                    <a:pt x="1124" y="597"/>
                  </a:lnTo>
                  <a:lnTo>
                    <a:pt x="1120" y="592"/>
                  </a:lnTo>
                  <a:lnTo>
                    <a:pt x="1116" y="593"/>
                  </a:lnTo>
                  <a:lnTo>
                    <a:pt x="1112" y="593"/>
                  </a:lnTo>
                  <a:lnTo>
                    <a:pt x="1108" y="590"/>
                  </a:lnTo>
                  <a:lnTo>
                    <a:pt x="1106" y="584"/>
                  </a:lnTo>
                  <a:lnTo>
                    <a:pt x="1103" y="581"/>
                  </a:lnTo>
                  <a:lnTo>
                    <a:pt x="1100" y="581"/>
                  </a:lnTo>
                  <a:lnTo>
                    <a:pt x="1099" y="583"/>
                  </a:lnTo>
                  <a:lnTo>
                    <a:pt x="1097" y="587"/>
                  </a:lnTo>
                  <a:lnTo>
                    <a:pt x="1097" y="591"/>
                  </a:lnTo>
                  <a:lnTo>
                    <a:pt x="1092" y="595"/>
                  </a:lnTo>
                  <a:lnTo>
                    <a:pt x="1089" y="595"/>
                  </a:lnTo>
                  <a:lnTo>
                    <a:pt x="1086" y="591"/>
                  </a:lnTo>
                  <a:lnTo>
                    <a:pt x="1084" y="590"/>
                  </a:lnTo>
                  <a:lnTo>
                    <a:pt x="1079" y="590"/>
                  </a:lnTo>
                  <a:lnTo>
                    <a:pt x="1077" y="592"/>
                  </a:lnTo>
                  <a:lnTo>
                    <a:pt x="1079" y="602"/>
                  </a:lnTo>
                  <a:lnTo>
                    <a:pt x="1082" y="608"/>
                  </a:lnTo>
                  <a:lnTo>
                    <a:pt x="1084" y="608"/>
                  </a:lnTo>
                  <a:lnTo>
                    <a:pt x="1084" y="604"/>
                  </a:lnTo>
                  <a:lnTo>
                    <a:pt x="1095" y="608"/>
                  </a:lnTo>
                  <a:lnTo>
                    <a:pt x="1099" y="600"/>
                  </a:lnTo>
                  <a:lnTo>
                    <a:pt x="1101" y="600"/>
                  </a:lnTo>
                  <a:lnTo>
                    <a:pt x="1103" y="601"/>
                  </a:lnTo>
                  <a:lnTo>
                    <a:pt x="1108" y="615"/>
                  </a:lnTo>
                  <a:lnTo>
                    <a:pt x="1105" y="629"/>
                  </a:lnTo>
                  <a:lnTo>
                    <a:pt x="1107" y="630"/>
                  </a:lnTo>
                  <a:lnTo>
                    <a:pt x="1110" y="634"/>
                  </a:lnTo>
                  <a:lnTo>
                    <a:pt x="1121" y="632"/>
                  </a:lnTo>
                  <a:lnTo>
                    <a:pt x="1120" y="634"/>
                  </a:lnTo>
                  <a:lnTo>
                    <a:pt x="1116" y="640"/>
                  </a:lnTo>
                  <a:lnTo>
                    <a:pt x="1116" y="642"/>
                  </a:lnTo>
                  <a:lnTo>
                    <a:pt x="1118" y="643"/>
                  </a:lnTo>
                  <a:lnTo>
                    <a:pt x="1122" y="644"/>
                  </a:lnTo>
                  <a:lnTo>
                    <a:pt x="1126" y="643"/>
                  </a:lnTo>
                  <a:lnTo>
                    <a:pt x="1140" y="634"/>
                  </a:lnTo>
                  <a:lnTo>
                    <a:pt x="1140" y="631"/>
                  </a:lnTo>
                  <a:lnTo>
                    <a:pt x="1136" y="626"/>
                  </a:lnTo>
                  <a:lnTo>
                    <a:pt x="1134" y="623"/>
                  </a:lnTo>
                  <a:lnTo>
                    <a:pt x="1137" y="622"/>
                  </a:lnTo>
                  <a:lnTo>
                    <a:pt x="1142" y="623"/>
                  </a:lnTo>
                  <a:lnTo>
                    <a:pt x="1145" y="622"/>
                  </a:lnTo>
                  <a:lnTo>
                    <a:pt x="1145" y="617"/>
                  </a:lnTo>
                  <a:lnTo>
                    <a:pt x="1143" y="614"/>
                  </a:lnTo>
                  <a:lnTo>
                    <a:pt x="1143" y="613"/>
                  </a:lnTo>
                  <a:lnTo>
                    <a:pt x="1156" y="601"/>
                  </a:lnTo>
                  <a:lnTo>
                    <a:pt x="1158" y="601"/>
                  </a:lnTo>
                  <a:lnTo>
                    <a:pt x="1160" y="602"/>
                  </a:lnTo>
                  <a:lnTo>
                    <a:pt x="1163" y="609"/>
                  </a:lnTo>
                  <a:lnTo>
                    <a:pt x="1164" y="612"/>
                  </a:lnTo>
                  <a:lnTo>
                    <a:pt x="1162" y="615"/>
                  </a:lnTo>
                  <a:lnTo>
                    <a:pt x="1170" y="615"/>
                  </a:lnTo>
                  <a:lnTo>
                    <a:pt x="1172" y="616"/>
                  </a:lnTo>
                  <a:lnTo>
                    <a:pt x="1171" y="619"/>
                  </a:lnTo>
                  <a:lnTo>
                    <a:pt x="1168" y="623"/>
                  </a:lnTo>
                  <a:lnTo>
                    <a:pt x="1169" y="625"/>
                  </a:lnTo>
                  <a:lnTo>
                    <a:pt x="1179" y="624"/>
                  </a:lnTo>
                  <a:lnTo>
                    <a:pt x="1193" y="615"/>
                  </a:lnTo>
                  <a:lnTo>
                    <a:pt x="1195" y="615"/>
                  </a:lnTo>
                  <a:lnTo>
                    <a:pt x="1192" y="623"/>
                  </a:lnTo>
                  <a:lnTo>
                    <a:pt x="1186" y="629"/>
                  </a:lnTo>
                  <a:lnTo>
                    <a:pt x="1179" y="637"/>
                  </a:lnTo>
                  <a:lnTo>
                    <a:pt x="1170" y="638"/>
                  </a:lnTo>
                  <a:lnTo>
                    <a:pt x="1169" y="634"/>
                  </a:lnTo>
                  <a:lnTo>
                    <a:pt x="1164" y="632"/>
                  </a:lnTo>
                  <a:lnTo>
                    <a:pt x="1155" y="635"/>
                  </a:lnTo>
                  <a:lnTo>
                    <a:pt x="1150" y="641"/>
                  </a:lnTo>
                  <a:lnTo>
                    <a:pt x="1149" y="642"/>
                  </a:lnTo>
                  <a:lnTo>
                    <a:pt x="1150" y="644"/>
                  </a:lnTo>
                  <a:lnTo>
                    <a:pt x="1152" y="645"/>
                  </a:lnTo>
                  <a:lnTo>
                    <a:pt x="1155" y="645"/>
                  </a:lnTo>
                  <a:lnTo>
                    <a:pt x="1156" y="646"/>
                  </a:lnTo>
                  <a:lnTo>
                    <a:pt x="1153" y="653"/>
                  </a:lnTo>
                  <a:lnTo>
                    <a:pt x="1149" y="652"/>
                  </a:lnTo>
                  <a:lnTo>
                    <a:pt x="1146" y="647"/>
                  </a:lnTo>
                  <a:lnTo>
                    <a:pt x="1144" y="647"/>
                  </a:lnTo>
                  <a:lnTo>
                    <a:pt x="1130" y="653"/>
                  </a:lnTo>
                  <a:lnTo>
                    <a:pt x="1109" y="658"/>
                  </a:lnTo>
                  <a:lnTo>
                    <a:pt x="1100" y="664"/>
                  </a:lnTo>
                  <a:lnTo>
                    <a:pt x="1098" y="666"/>
                  </a:lnTo>
                  <a:lnTo>
                    <a:pt x="1099" y="668"/>
                  </a:lnTo>
                  <a:lnTo>
                    <a:pt x="1101" y="668"/>
                  </a:lnTo>
                  <a:lnTo>
                    <a:pt x="1104" y="665"/>
                  </a:lnTo>
                  <a:lnTo>
                    <a:pt x="1106" y="664"/>
                  </a:lnTo>
                  <a:lnTo>
                    <a:pt x="1116" y="668"/>
                  </a:lnTo>
                  <a:lnTo>
                    <a:pt x="1113" y="672"/>
                  </a:lnTo>
                  <a:lnTo>
                    <a:pt x="1112" y="679"/>
                  </a:lnTo>
                  <a:lnTo>
                    <a:pt x="1097" y="691"/>
                  </a:lnTo>
                  <a:lnTo>
                    <a:pt x="1097" y="696"/>
                  </a:lnTo>
                  <a:lnTo>
                    <a:pt x="1099" y="701"/>
                  </a:lnTo>
                  <a:lnTo>
                    <a:pt x="1085" y="707"/>
                  </a:lnTo>
                  <a:lnTo>
                    <a:pt x="1080" y="714"/>
                  </a:lnTo>
                  <a:lnTo>
                    <a:pt x="1073" y="725"/>
                  </a:lnTo>
                  <a:lnTo>
                    <a:pt x="1075" y="727"/>
                  </a:lnTo>
                  <a:lnTo>
                    <a:pt x="1086" y="733"/>
                  </a:lnTo>
                  <a:lnTo>
                    <a:pt x="1090" y="734"/>
                  </a:lnTo>
                  <a:lnTo>
                    <a:pt x="1098" y="734"/>
                  </a:lnTo>
                  <a:lnTo>
                    <a:pt x="1109" y="739"/>
                  </a:lnTo>
                  <a:lnTo>
                    <a:pt x="1118" y="742"/>
                  </a:lnTo>
                  <a:lnTo>
                    <a:pt x="1122" y="742"/>
                  </a:lnTo>
                  <a:lnTo>
                    <a:pt x="1126" y="738"/>
                  </a:lnTo>
                  <a:lnTo>
                    <a:pt x="1132" y="737"/>
                  </a:lnTo>
                  <a:lnTo>
                    <a:pt x="1135" y="740"/>
                  </a:lnTo>
                  <a:lnTo>
                    <a:pt x="1136" y="745"/>
                  </a:lnTo>
                  <a:lnTo>
                    <a:pt x="1136" y="751"/>
                  </a:lnTo>
                  <a:lnTo>
                    <a:pt x="1135" y="757"/>
                  </a:lnTo>
                  <a:lnTo>
                    <a:pt x="1131" y="762"/>
                  </a:lnTo>
                  <a:lnTo>
                    <a:pt x="1132" y="774"/>
                  </a:lnTo>
                  <a:lnTo>
                    <a:pt x="1131" y="777"/>
                  </a:lnTo>
                  <a:lnTo>
                    <a:pt x="1127" y="779"/>
                  </a:lnTo>
                  <a:lnTo>
                    <a:pt x="1119" y="777"/>
                  </a:lnTo>
                  <a:lnTo>
                    <a:pt x="1115" y="777"/>
                  </a:lnTo>
                  <a:lnTo>
                    <a:pt x="1113" y="781"/>
                  </a:lnTo>
                  <a:lnTo>
                    <a:pt x="1107" y="798"/>
                  </a:lnTo>
                  <a:lnTo>
                    <a:pt x="1106" y="799"/>
                  </a:lnTo>
                  <a:lnTo>
                    <a:pt x="1104" y="797"/>
                  </a:lnTo>
                  <a:lnTo>
                    <a:pt x="1102" y="799"/>
                  </a:lnTo>
                  <a:lnTo>
                    <a:pt x="1103" y="807"/>
                  </a:lnTo>
                  <a:lnTo>
                    <a:pt x="1105" y="809"/>
                  </a:lnTo>
                  <a:lnTo>
                    <a:pt x="1109" y="810"/>
                  </a:lnTo>
                  <a:lnTo>
                    <a:pt x="1110" y="811"/>
                  </a:lnTo>
                  <a:lnTo>
                    <a:pt x="1114" y="825"/>
                  </a:lnTo>
                  <a:lnTo>
                    <a:pt x="1118" y="829"/>
                  </a:lnTo>
                  <a:lnTo>
                    <a:pt x="1113" y="839"/>
                  </a:lnTo>
                  <a:lnTo>
                    <a:pt x="1113" y="847"/>
                  </a:lnTo>
                  <a:lnTo>
                    <a:pt x="1112" y="850"/>
                  </a:lnTo>
                  <a:lnTo>
                    <a:pt x="1108" y="853"/>
                  </a:lnTo>
                  <a:lnTo>
                    <a:pt x="1105" y="855"/>
                  </a:lnTo>
                  <a:lnTo>
                    <a:pt x="1102" y="852"/>
                  </a:lnTo>
                  <a:lnTo>
                    <a:pt x="1097" y="849"/>
                  </a:lnTo>
                  <a:lnTo>
                    <a:pt x="1092" y="849"/>
                  </a:lnTo>
                  <a:lnTo>
                    <a:pt x="1089" y="851"/>
                  </a:lnTo>
                  <a:lnTo>
                    <a:pt x="1083" y="857"/>
                  </a:lnTo>
                  <a:lnTo>
                    <a:pt x="1080" y="855"/>
                  </a:lnTo>
                  <a:lnTo>
                    <a:pt x="1078" y="855"/>
                  </a:lnTo>
                  <a:lnTo>
                    <a:pt x="1075" y="857"/>
                  </a:lnTo>
                  <a:lnTo>
                    <a:pt x="1071" y="864"/>
                  </a:lnTo>
                  <a:lnTo>
                    <a:pt x="1066" y="868"/>
                  </a:lnTo>
                  <a:lnTo>
                    <a:pt x="1065" y="870"/>
                  </a:lnTo>
                  <a:lnTo>
                    <a:pt x="1065" y="873"/>
                  </a:lnTo>
                  <a:lnTo>
                    <a:pt x="1067" y="875"/>
                  </a:lnTo>
                  <a:lnTo>
                    <a:pt x="1072" y="870"/>
                  </a:lnTo>
                  <a:lnTo>
                    <a:pt x="1073" y="870"/>
                  </a:lnTo>
                  <a:lnTo>
                    <a:pt x="1073" y="875"/>
                  </a:lnTo>
                  <a:lnTo>
                    <a:pt x="1071" y="880"/>
                  </a:lnTo>
                  <a:lnTo>
                    <a:pt x="1072" y="882"/>
                  </a:lnTo>
                  <a:lnTo>
                    <a:pt x="1076" y="881"/>
                  </a:lnTo>
                  <a:lnTo>
                    <a:pt x="1079" y="876"/>
                  </a:lnTo>
                  <a:lnTo>
                    <a:pt x="1081" y="877"/>
                  </a:lnTo>
                  <a:lnTo>
                    <a:pt x="1083" y="880"/>
                  </a:lnTo>
                  <a:lnTo>
                    <a:pt x="1079" y="886"/>
                  </a:lnTo>
                  <a:lnTo>
                    <a:pt x="1079" y="892"/>
                  </a:lnTo>
                  <a:lnTo>
                    <a:pt x="1082" y="896"/>
                  </a:lnTo>
                  <a:lnTo>
                    <a:pt x="1089" y="899"/>
                  </a:lnTo>
                  <a:lnTo>
                    <a:pt x="1092" y="899"/>
                  </a:lnTo>
                  <a:lnTo>
                    <a:pt x="1094" y="892"/>
                  </a:lnTo>
                  <a:lnTo>
                    <a:pt x="1096" y="888"/>
                  </a:lnTo>
                  <a:lnTo>
                    <a:pt x="1099" y="888"/>
                  </a:lnTo>
                  <a:lnTo>
                    <a:pt x="1103" y="889"/>
                  </a:lnTo>
                  <a:lnTo>
                    <a:pt x="1100" y="894"/>
                  </a:lnTo>
                  <a:lnTo>
                    <a:pt x="1102" y="895"/>
                  </a:lnTo>
                  <a:lnTo>
                    <a:pt x="1105" y="893"/>
                  </a:lnTo>
                  <a:lnTo>
                    <a:pt x="1109" y="885"/>
                  </a:lnTo>
                  <a:lnTo>
                    <a:pt x="1112" y="884"/>
                  </a:lnTo>
                  <a:lnTo>
                    <a:pt x="1115" y="884"/>
                  </a:lnTo>
                  <a:lnTo>
                    <a:pt x="1114" y="888"/>
                  </a:lnTo>
                  <a:lnTo>
                    <a:pt x="1108" y="896"/>
                  </a:lnTo>
                  <a:lnTo>
                    <a:pt x="1107" y="902"/>
                  </a:lnTo>
                  <a:lnTo>
                    <a:pt x="1108" y="906"/>
                  </a:lnTo>
                  <a:lnTo>
                    <a:pt x="1115" y="907"/>
                  </a:lnTo>
                  <a:lnTo>
                    <a:pt x="1117" y="909"/>
                  </a:lnTo>
                  <a:lnTo>
                    <a:pt x="1104" y="915"/>
                  </a:lnTo>
                  <a:lnTo>
                    <a:pt x="1104" y="918"/>
                  </a:lnTo>
                  <a:lnTo>
                    <a:pt x="1105" y="918"/>
                  </a:lnTo>
                  <a:lnTo>
                    <a:pt x="1112" y="913"/>
                  </a:lnTo>
                  <a:lnTo>
                    <a:pt x="1117" y="913"/>
                  </a:lnTo>
                  <a:lnTo>
                    <a:pt x="1119" y="914"/>
                  </a:lnTo>
                  <a:lnTo>
                    <a:pt x="1114" y="918"/>
                  </a:lnTo>
                  <a:lnTo>
                    <a:pt x="1114" y="921"/>
                  </a:lnTo>
                  <a:lnTo>
                    <a:pt x="1120" y="919"/>
                  </a:lnTo>
                  <a:lnTo>
                    <a:pt x="1124" y="918"/>
                  </a:lnTo>
                  <a:lnTo>
                    <a:pt x="1120" y="922"/>
                  </a:lnTo>
                  <a:lnTo>
                    <a:pt x="1121" y="925"/>
                  </a:lnTo>
                  <a:lnTo>
                    <a:pt x="1124" y="927"/>
                  </a:lnTo>
                  <a:lnTo>
                    <a:pt x="1132" y="922"/>
                  </a:lnTo>
                  <a:lnTo>
                    <a:pt x="1130" y="930"/>
                  </a:lnTo>
                  <a:lnTo>
                    <a:pt x="1124" y="936"/>
                  </a:lnTo>
                  <a:lnTo>
                    <a:pt x="1127" y="938"/>
                  </a:lnTo>
                  <a:lnTo>
                    <a:pt x="1133" y="937"/>
                  </a:lnTo>
                  <a:lnTo>
                    <a:pt x="1135" y="937"/>
                  </a:lnTo>
                  <a:lnTo>
                    <a:pt x="1137" y="941"/>
                  </a:lnTo>
                  <a:lnTo>
                    <a:pt x="1137" y="947"/>
                  </a:lnTo>
                  <a:lnTo>
                    <a:pt x="1138" y="952"/>
                  </a:lnTo>
                  <a:lnTo>
                    <a:pt x="1134" y="957"/>
                  </a:lnTo>
                  <a:lnTo>
                    <a:pt x="1125" y="961"/>
                  </a:lnTo>
                  <a:lnTo>
                    <a:pt x="1128" y="963"/>
                  </a:lnTo>
                  <a:lnTo>
                    <a:pt x="1139" y="959"/>
                  </a:lnTo>
                  <a:lnTo>
                    <a:pt x="1137" y="964"/>
                  </a:lnTo>
                  <a:lnTo>
                    <a:pt x="1134" y="967"/>
                  </a:lnTo>
                  <a:lnTo>
                    <a:pt x="1123" y="969"/>
                  </a:lnTo>
                  <a:lnTo>
                    <a:pt x="1121" y="969"/>
                  </a:lnTo>
                  <a:lnTo>
                    <a:pt x="1119" y="967"/>
                  </a:lnTo>
                  <a:lnTo>
                    <a:pt x="1118" y="965"/>
                  </a:lnTo>
                  <a:lnTo>
                    <a:pt x="1123" y="964"/>
                  </a:lnTo>
                  <a:lnTo>
                    <a:pt x="1124" y="961"/>
                  </a:lnTo>
                  <a:lnTo>
                    <a:pt x="1122" y="954"/>
                  </a:lnTo>
                  <a:lnTo>
                    <a:pt x="1116" y="945"/>
                  </a:lnTo>
                  <a:lnTo>
                    <a:pt x="1115" y="941"/>
                  </a:lnTo>
                  <a:lnTo>
                    <a:pt x="1116" y="940"/>
                  </a:lnTo>
                  <a:lnTo>
                    <a:pt x="1120" y="939"/>
                  </a:lnTo>
                  <a:lnTo>
                    <a:pt x="1121" y="937"/>
                  </a:lnTo>
                  <a:lnTo>
                    <a:pt x="1119" y="936"/>
                  </a:lnTo>
                  <a:lnTo>
                    <a:pt x="1115" y="938"/>
                  </a:lnTo>
                  <a:lnTo>
                    <a:pt x="1114" y="938"/>
                  </a:lnTo>
                  <a:lnTo>
                    <a:pt x="1113" y="936"/>
                  </a:lnTo>
                  <a:lnTo>
                    <a:pt x="1116" y="931"/>
                  </a:lnTo>
                  <a:lnTo>
                    <a:pt x="1109" y="929"/>
                  </a:lnTo>
                  <a:lnTo>
                    <a:pt x="1107" y="930"/>
                  </a:lnTo>
                  <a:lnTo>
                    <a:pt x="1103" y="933"/>
                  </a:lnTo>
                  <a:lnTo>
                    <a:pt x="1102" y="933"/>
                  </a:lnTo>
                  <a:lnTo>
                    <a:pt x="1102" y="940"/>
                  </a:lnTo>
                  <a:lnTo>
                    <a:pt x="1098" y="948"/>
                  </a:lnTo>
                  <a:lnTo>
                    <a:pt x="1099" y="950"/>
                  </a:lnTo>
                  <a:lnTo>
                    <a:pt x="1103" y="950"/>
                  </a:lnTo>
                  <a:lnTo>
                    <a:pt x="1106" y="948"/>
                  </a:lnTo>
                  <a:lnTo>
                    <a:pt x="1110" y="945"/>
                  </a:lnTo>
                  <a:lnTo>
                    <a:pt x="1113" y="945"/>
                  </a:lnTo>
                  <a:lnTo>
                    <a:pt x="1113" y="948"/>
                  </a:lnTo>
                  <a:lnTo>
                    <a:pt x="1109" y="954"/>
                  </a:lnTo>
                  <a:lnTo>
                    <a:pt x="1107" y="956"/>
                  </a:lnTo>
                  <a:lnTo>
                    <a:pt x="1103" y="957"/>
                  </a:lnTo>
                  <a:lnTo>
                    <a:pt x="1103" y="957"/>
                  </a:lnTo>
                  <a:lnTo>
                    <a:pt x="1096" y="956"/>
                  </a:lnTo>
                  <a:lnTo>
                    <a:pt x="1089" y="964"/>
                  </a:lnTo>
                  <a:lnTo>
                    <a:pt x="1088" y="964"/>
                  </a:lnTo>
                  <a:lnTo>
                    <a:pt x="1087" y="960"/>
                  </a:lnTo>
                  <a:lnTo>
                    <a:pt x="1094" y="954"/>
                  </a:lnTo>
                  <a:lnTo>
                    <a:pt x="1092" y="951"/>
                  </a:lnTo>
                  <a:lnTo>
                    <a:pt x="1090" y="946"/>
                  </a:lnTo>
                  <a:lnTo>
                    <a:pt x="1094" y="945"/>
                  </a:lnTo>
                  <a:lnTo>
                    <a:pt x="1094" y="941"/>
                  </a:lnTo>
                  <a:lnTo>
                    <a:pt x="1086" y="938"/>
                  </a:lnTo>
                  <a:lnTo>
                    <a:pt x="1087" y="935"/>
                  </a:lnTo>
                  <a:lnTo>
                    <a:pt x="1091" y="931"/>
                  </a:lnTo>
                  <a:lnTo>
                    <a:pt x="1091" y="929"/>
                  </a:lnTo>
                  <a:lnTo>
                    <a:pt x="1087" y="930"/>
                  </a:lnTo>
                  <a:lnTo>
                    <a:pt x="1078" y="930"/>
                  </a:lnTo>
                  <a:lnTo>
                    <a:pt x="1077" y="932"/>
                  </a:lnTo>
                  <a:lnTo>
                    <a:pt x="1077" y="937"/>
                  </a:lnTo>
                  <a:lnTo>
                    <a:pt x="1073" y="940"/>
                  </a:lnTo>
                  <a:lnTo>
                    <a:pt x="1070" y="940"/>
                  </a:lnTo>
                  <a:lnTo>
                    <a:pt x="1070" y="938"/>
                  </a:lnTo>
                  <a:lnTo>
                    <a:pt x="1073" y="933"/>
                  </a:lnTo>
                  <a:lnTo>
                    <a:pt x="1070" y="929"/>
                  </a:lnTo>
                  <a:lnTo>
                    <a:pt x="1073" y="925"/>
                  </a:lnTo>
                  <a:lnTo>
                    <a:pt x="1076" y="923"/>
                  </a:lnTo>
                  <a:lnTo>
                    <a:pt x="1076" y="919"/>
                  </a:lnTo>
                  <a:lnTo>
                    <a:pt x="1075" y="915"/>
                  </a:lnTo>
                  <a:lnTo>
                    <a:pt x="1072" y="914"/>
                  </a:lnTo>
                  <a:lnTo>
                    <a:pt x="1067" y="917"/>
                  </a:lnTo>
                  <a:lnTo>
                    <a:pt x="1063" y="917"/>
                  </a:lnTo>
                  <a:lnTo>
                    <a:pt x="1055" y="914"/>
                  </a:lnTo>
                  <a:lnTo>
                    <a:pt x="1048" y="913"/>
                  </a:lnTo>
                  <a:lnTo>
                    <a:pt x="1045" y="911"/>
                  </a:lnTo>
                  <a:lnTo>
                    <a:pt x="1043" y="909"/>
                  </a:lnTo>
                  <a:lnTo>
                    <a:pt x="1043" y="907"/>
                  </a:lnTo>
                  <a:lnTo>
                    <a:pt x="1047" y="900"/>
                  </a:lnTo>
                  <a:lnTo>
                    <a:pt x="1048" y="892"/>
                  </a:lnTo>
                  <a:lnTo>
                    <a:pt x="1047" y="892"/>
                  </a:lnTo>
                  <a:lnTo>
                    <a:pt x="1045" y="895"/>
                  </a:lnTo>
                  <a:lnTo>
                    <a:pt x="1043" y="896"/>
                  </a:lnTo>
                  <a:lnTo>
                    <a:pt x="1042" y="894"/>
                  </a:lnTo>
                  <a:lnTo>
                    <a:pt x="1046" y="889"/>
                  </a:lnTo>
                  <a:lnTo>
                    <a:pt x="1040" y="888"/>
                  </a:lnTo>
                  <a:lnTo>
                    <a:pt x="1040" y="885"/>
                  </a:lnTo>
                  <a:lnTo>
                    <a:pt x="1037" y="884"/>
                  </a:lnTo>
                  <a:lnTo>
                    <a:pt x="1031" y="884"/>
                  </a:lnTo>
                  <a:lnTo>
                    <a:pt x="1030" y="885"/>
                  </a:lnTo>
                  <a:lnTo>
                    <a:pt x="1030" y="886"/>
                  </a:lnTo>
                  <a:lnTo>
                    <a:pt x="1033" y="889"/>
                  </a:lnTo>
                  <a:lnTo>
                    <a:pt x="1035" y="895"/>
                  </a:lnTo>
                  <a:lnTo>
                    <a:pt x="1040" y="898"/>
                  </a:lnTo>
                  <a:lnTo>
                    <a:pt x="1040" y="903"/>
                  </a:lnTo>
                  <a:lnTo>
                    <a:pt x="1041" y="906"/>
                  </a:lnTo>
                  <a:lnTo>
                    <a:pt x="1041" y="913"/>
                  </a:lnTo>
                  <a:lnTo>
                    <a:pt x="1035" y="935"/>
                  </a:lnTo>
                  <a:lnTo>
                    <a:pt x="1037" y="938"/>
                  </a:lnTo>
                  <a:lnTo>
                    <a:pt x="1043" y="943"/>
                  </a:lnTo>
                  <a:lnTo>
                    <a:pt x="1043" y="943"/>
                  </a:lnTo>
                  <a:lnTo>
                    <a:pt x="1040" y="945"/>
                  </a:lnTo>
                  <a:lnTo>
                    <a:pt x="1034" y="943"/>
                  </a:lnTo>
                  <a:lnTo>
                    <a:pt x="1032" y="949"/>
                  </a:lnTo>
                  <a:lnTo>
                    <a:pt x="1030" y="950"/>
                  </a:lnTo>
                  <a:lnTo>
                    <a:pt x="1028" y="947"/>
                  </a:lnTo>
                  <a:lnTo>
                    <a:pt x="1027" y="941"/>
                  </a:lnTo>
                  <a:lnTo>
                    <a:pt x="1024" y="939"/>
                  </a:lnTo>
                  <a:lnTo>
                    <a:pt x="1022" y="935"/>
                  </a:lnTo>
                  <a:lnTo>
                    <a:pt x="1025" y="925"/>
                  </a:lnTo>
                  <a:lnTo>
                    <a:pt x="1027" y="912"/>
                  </a:lnTo>
                  <a:lnTo>
                    <a:pt x="1029" y="906"/>
                  </a:lnTo>
                  <a:lnTo>
                    <a:pt x="1033" y="900"/>
                  </a:lnTo>
                  <a:lnTo>
                    <a:pt x="1030" y="898"/>
                  </a:lnTo>
                  <a:lnTo>
                    <a:pt x="1026" y="902"/>
                  </a:lnTo>
                  <a:lnTo>
                    <a:pt x="1022" y="900"/>
                  </a:lnTo>
                  <a:lnTo>
                    <a:pt x="1021" y="900"/>
                  </a:lnTo>
                  <a:lnTo>
                    <a:pt x="1019" y="906"/>
                  </a:lnTo>
                  <a:lnTo>
                    <a:pt x="1023" y="913"/>
                  </a:lnTo>
                  <a:lnTo>
                    <a:pt x="1019" y="917"/>
                  </a:lnTo>
                  <a:lnTo>
                    <a:pt x="1010" y="928"/>
                  </a:lnTo>
                  <a:lnTo>
                    <a:pt x="1006" y="934"/>
                  </a:lnTo>
                  <a:lnTo>
                    <a:pt x="1003" y="935"/>
                  </a:lnTo>
                  <a:lnTo>
                    <a:pt x="998" y="938"/>
                  </a:lnTo>
                  <a:lnTo>
                    <a:pt x="992" y="939"/>
                  </a:lnTo>
                  <a:lnTo>
                    <a:pt x="990" y="941"/>
                  </a:lnTo>
                  <a:lnTo>
                    <a:pt x="979" y="956"/>
                  </a:lnTo>
                  <a:lnTo>
                    <a:pt x="979" y="959"/>
                  </a:lnTo>
                  <a:lnTo>
                    <a:pt x="980" y="965"/>
                  </a:lnTo>
                  <a:lnTo>
                    <a:pt x="985" y="969"/>
                  </a:lnTo>
                  <a:lnTo>
                    <a:pt x="988" y="969"/>
                  </a:lnTo>
                  <a:lnTo>
                    <a:pt x="989" y="968"/>
                  </a:lnTo>
                  <a:lnTo>
                    <a:pt x="990" y="965"/>
                  </a:lnTo>
                  <a:lnTo>
                    <a:pt x="991" y="966"/>
                  </a:lnTo>
                  <a:lnTo>
                    <a:pt x="990" y="973"/>
                  </a:lnTo>
                  <a:lnTo>
                    <a:pt x="996" y="975"/>
                  </a:lnTo>
                  <a:lnTo>
                    <a:pt x="998" y="979"/>
                  </a:lnTo>
                  <a:lnTo>
                    <a:pt x="1000" y="979"/>
                  </a:lnTo>
                  <a:lnTo>
                    <a:pt x="1003" y="977"/>
                  </a:lnTo>
                  <a:lnTo>
                    <a:pt x="1004" y="971"/>
                  </a:lnTo>
                  <a:lnTo>
                    <a:pt x="1007" y="972"/>
                  </a:lnTo>
                  <a:lnTo>
                    <a:pt x="1008" y="979"/>
                  </a:lnTo>
                  <a:lnTo>
                    <a:pt x="1012" y="989"/>
                  </a:lnTo>
                  <a:lnTo>
                    <a:pt x="1009" y="990"/>
                  </a:lnTo>
                  <a:lnTo>
                    <a:pt x="1001" y="992"/>
                  </a:lnTo>
                  <a:lnTo>
                    <a:pt x="1000" y="993"/>
                  </a:lnTo>
                  <a:lnTo>
                    <a:pt x="1004" y="1001"/>
                  </a:lnTo>
                  <a:lnTo>
                    <a:pt x="1009" y="1005"/>
                  </a:lnTo>
                  <a:lnTo>
                    <a:pt x="1011" y="1006"/>
                  </a:lnTo>
                  <a:lnTo>
                    <a:pt x="1012" y="1005"/>
                  </a:lnTo>
                  <a:lnTo>
                    <a:pt x="1013" y="997"/>
                  </a:lnTo>
                  <a:lnTo>
                    <a:pt x="1019" y="993"/>
                  </a:lnTo>
                  <a:lnTo>
                    <a:pt x="1018" y="985"/>
                  </a:lnTo>
                  <a:lnTo>
                    <a:pt x="1019" y="983"/>
                  </a:lnTo>
                  <a:lnTo>
                    <a:pt x="1026" y="987"/>
                  </a:lnTo>
                  <a:lnTo>
                    <a:pt x="1028" y="985"/>
                  </a:lnTo>
                  <a:lnTo>
                    <a:pt x="1030" y="983"/>
                  </a:lnTo>
                  <a:lnTo>
                    <a:pt x="1031" y="982"/>
                  </a:lnTo>
                  <a:lnTo>
                    <a:pt x="1034" y="990"/>
                  </a:lnTo>
                  <a:lnTo>
                    <a:pt x="1041" y="992"/>
                  </a:lnTo>
                  <a:lnTo>
                    <a:pt x="1046" y="996"/>
                  </a:lnTo>
                  <a:lnTo>
                    <a:pt x="1055" y="999"/>
                  </a:lnTo>
                  <a:lnTo>
                    <a:pt x="1057" y="1000"/>
                  </a:lnTo>
                  <a:lnTo>
                    <a:pt x="1054" y="1003"/>
                  </a:lnTo>
                  <a:lnTo>
                    <a:pt x="1047" y="1009"/>
                  </a:lnTo>
                  <a:lnTo>
                    <a:pt x="1045" y="1010"/>
                  </a:lnTo>
                  <a:lnTo>
                    <a:pt x="1039" y="1008"/>
                  </a:lnTo>
                  <a:lnTo>
                    <a:pt x="1031" y="1010"/>
                  </a:lnTo>
                  <a:lnTo>
                    <a:pt x="1031" y="1012"/>
                  </a:lnTo>
                  <a:lnTo>
                    <a:pt x="1033" y="1014"/>
                  </a:lnTo>
                  <a:lnTo>
                    <a:pt x="1034" y="1020"/>
                  </a:lnTo>
                  <a:lnTo>
                    <a:pt x="1039" y="1024"/>
                  </a:lnTo>
                  <a:lnTo>
                    <a:pt x="1037" y="1026"/>
                  </a:lnTo>
                  <a:lnTo>
                    <a:pt x="1034" y="1027"/>
                  </a:lnTo>
                  <a:lnTo>
                    <a:pt x="1032" y="1032"/>
                  </a:lnTo>
                  <a:lnTo>
                    <a:pt x="1030" y="1033"/>
                  </a:lnTo>
                  <a:lnTo>
                    <a:pt x="1028" y="1032"/>
                  </a:lnTo>
                  <a:lnTo>
                    <a:pt x="1026" y="1030"/>
                  </a:lnTo>
                  <a:lnTo>
                    <a:pt x="1022" y="1029"/>
                  </a:lnTo>
                  <a:lnTo>
                    <a:pt x="1012" y="1030"/>
                  </a:lnTo>
                  <a:lnTo>
                    <a:pt x="1004" y="1032"/>
                  </a:lnTo>
                  <a:lnTo>
                    <a:pt x="1000" y="1032"/>
                  </a:lnTo>
                  <a:lnTo>
                    <a:pt x="996" y="1029"/>
                  </a:lnTo>
                  <a:lnTo>
                    <a:pt x="992" y="1023"/>
                  </a:lnTo>
                  <a:lnTo>
                    <a:pt x="993" y="1021"/>
                  </a:lnTo>
                  <a:lnTo>
                    <a:pt x="997" y="1015"/>
                  </a:lnTo>
                  <a:lnTo>
                    <a:pt x="993" y="1013"/>
                  </a:lnTo>
                  <a:lnTo>
                    <a:pt x="990" y="1008"/>
                  </a:lnTo>
                  <a:lnTo>
                    <a:pt x="987" y="1008"/>
                  </a:lnTo>
                  <a:lnTo>
                    <a:pt x="985" y="1009"/>
                  </a:lnTo>
                  <a:lnTo>
                    <a:pt x="983" y="1013"/>
                  </a:lnTo>
                  <a:lnTo>
                    <a:pt x="980" y="1014"/>
                  </a:lnTo>
                  <a:lnTo>
                    <a:pt x="983" y="1021"/>
                  </a:lnTo>
                  <a:lnTo>
                    <a:pt x="982" y="1024"/>
                  </a:lnTo>
                  <a:lnTo>
                    <a:pt x="978" y="1028"/>
                  </a:lnTo>
                  <a:lnTo>
                    <a:pt x="974" y="1030"/>
                  </a:lnTo>
                  <a:lnTo>
                    <a:pt x="973" y="1033"/>
                  </a:lnTo>
                  <a:lnTo>
                    <a:pt x="975" y="1037"/>
                  </a:lnTo>
                  <a:lnTo>
                    <a:pt x="977" y="1038"/>
                  </a:lnTo>
                  <a:lnTo>
                    <a:pt x="985" y="1037"/>
                  </a:lnTo>
                  <a:lnTo>
                    <a:pt x="989" y="1038"/>
                  </a:lnTo>
                  <a:lnTo>
                    <a:pt x="995" y="1045"/>
                  </a:lnTo>
                  <a:lnTo>
                    <a:pt x="996" y="1048"/>
                  </a:lnTo>
                  <a:lnTo>
                    <a:pt x="996" y="1050"/>
                  </a:lnTo>
                  <a:lnTo>
                    <a:pt x="994" y="1053"/>
                  </a:lnTo>
                  <a:lnTo>
                    <a:pt x="991" y="1049"/>
                  </a:lnTo>
                  <a:lnTo>
                    <a:pt x="983" y="1050"/>
                  </a:lnTo>
                  <a:lnTo>
                    <a:pt x="980" y="1048"/>
                  </a:lnTo>
                  <a:lnTo>
                    <a:pt x="978" y="1051"/>
                  </a:lnTo>
                  <a:lnTo>
                    <a:pt x="982" y="1053"/>
                  </a:lnTo>
                  <a:lnTo>
                    <a:pt x="983" y="1054"/>
                  </a:lnTo>
                  <a:lnTo>
                    <a:pt x="982" y="1057"/>
                  </a:lnTo>
                  <a:lnTo>
                    <a:pt x="981" y="1058"/>
                  </a:lnTo>
                  <a:lnTo>
                    <a:pt x="976" y="1054"/>
                  </a:lnTo>
                  <a:lnTo>
                    <a:pt x="972" y="1051"/>
                  </a:lnTo>
                  <a:lnTo>
                    <a:pt x="972" y="1050"/>
                  </a:lnTo>
                  <a:lnTo>
                    <a:pt x="974" y="1049"/>
                  </a:lnTo>
                  <a:lnTo>
                    <a:pt x="975" y="1048"/>
                  </a:lnTo>
                  <a:lnTo>
                    <a:pt x="974" y="1043"/>
                  </a:lnTo>
                  <a:lnTo>
                    <a:pt x="971" y="1042"/>
                  </a:lnTo>
                  <a:lnTo>
                    <a:pt x="963" y="1046"/>
                  </a:lnTo>
                  <a:lnTo>
                    <a:pt x="967" y="1055"/>
                  </a:lnTo>
                  <a:lnTo>
                    <a:pt x="967" y="1058"/>
                  </a:lnTo>
                  <a:lnTo>
                    <a:pt x="961" y="1056"/>
                  </a:lnTo>
                  <a:lnTo>
                    <a:pt x="957" y="1054"/>
                  </a:lnTo>
                  <a:lnTo>
                    <a:pt x="957" y="1051"/>
                  </a:lnTo>
                  <a:lnTo>
                    <a:pt x="960" y="1050"/>
                  </a:lnTo>
                  <a:lnTo>
                    <a:pt x="961" y="1049"/>
                  </a:lnTo>
                  <a:lnTo>
                    <a:pt x="957" y="1046"/>
                  </a:lnTo>
                  <a:lnTo>
                    <a:pt x="956" y="1044"/>
                  </a:lnTo>
                  <a:lnTo>
                    <a:pt x="958" y="1041"/>
                  </a:lnTo>
                  <a:lnTo>
                    <a:pt x="964" y="1042"/>
                  </a:lnTo>
                  <a:lnTo>
                    <a:pt x="965" y="1040"/>
                  </a:lnTo>
                  <a:lnTo>
                    <a:pt x="970" y="1023"/>
                  </a:lnTo>
                  <a:lnTo>
                    <a:pt x="969" y="1017"/>
                  </a:lnTo>
                  <a:lnTo>
                    <a:pt x="967" y="1015"/>
                  </a:lnTo>
                  <a:lnTo>
                    <a:pt x="952" y="1021"/>
                  </a:lnTo>
                  <a:lnTo>
                    <a:pt x="949" y="1024"/>
                  </a:lnTo>
                  <a:lnTo>
                    <a:pt x="944" y="1029"/>
                  </a:lnTo>
                  <a:lnTo>
                    <a:pt x="941" y="1028"/>
                  </a:lnTo>
                  <a:lnTo>
                    <a:pt x="940" y="1026"/>
                  </a:lnTo>
                  <a:lnTo>
                    <a:pt x="942" y="1010"/>
                  </a:lnTo>
                  <a:lnTo>
                    <a:pt x="945" y="1013"/>
                  </a:lnTo>
                  <a:lnTo>
                    <a:pt x="957" y="1011"/>
                  </a:lnTo>
                  <a:lnTo>
                    <a:pt x="961" y="1007"/>
                  </a:lnTo>
                  <a:lnTo>
                    <a:pt x="963" y="1003"/>
                  </a:lnTo>
                  <a:lnTo>
                    <a:pt x="963" y="1001"/>
                  </a:lnTo>
                  <a:lnTo>
                    <a:pt x="959" y="1002"/>
                  </a:lnTo>
                  <a:lnTo>
                    <a:pt x="957" y="1000"/>
                  </a:lnTo>
                  <a:lnTo>
                    <a:pt x="954" y="1004"/>
                  </a:lnTo>
                  <a:lnTo>
                    <a:pt x="946" y="1001"/>
                  </a:lnTo>
                  <a:lnTo>
                    <a:pt x="939" y="1002"/>
                  </a:lnTo>
                  <a:lnTo>
                    <a:pt x="933" y="1005"/>
                  </a:lnTo>
                  <a:lnTo>
                    <a:pt x="922" y="1012"/>
                  </a:lnTo>
                  <a:lnTo>
                    <a:pt x="915" y="1015"/>
                  </a:lnTo>
                  <a:lnTo>
                    <a:pt x="907" y="1020"/>
                  </a:lnTo>
                  <a:lnTo>
                    <a:pt x="907" y="1020"/>
                  </a:lnTo>
                  <a:lnTo>
                    <a:pt x="909" y="1021"/>
                  </a:lnTo>
                  <a:lnTo>
                    <a:pt x="921" y="1020"/>
                  </a:lnTo>
                  <a:lnTo>
                    <a:pt x="927" y="1025"/>
                  </a:lnTo>
                  <a:lnTo>
                    <a:pt x="927" y="1026"/>
                  </a:lnTo>
                  <a:lnTo>
                    <a:pt x="924" y="1028"/>
                  </a:lnTo>
                  <a:lnTo>
                    <a:pt x="921" y="1035"/>
                  </a:lnTo>
                  <a:lnTo>
                    <a:pt x="920" y="1037"/>
                  </a:lnTo>
                  <a:lnTo>
                    <a:pt x="924" y="1036"/>
                  </a:lnTo>
                  <a:lnTo>
                    <a:pt x="927" y="1030"/>
                  </a:lnTo>
                  <a:lnTo>
                    <a:pt x="929" y="1030"/>
                  </a:lnTo>
                  <a:lnTo>
                    <a:pt x="939" y="1033"/>
                  </a:lnTo>
                  <a:lnTo>
                    <a:pt x="941" y="1036"/>
                  </a:lnTo>
                  <a:lnTo>
                    <a:pt x="941" y="1040"/>
                  </a:lnTo>
                  <a:lnTo>
                    <a:pt x="940" y="1043"/>
                  </a:lnTo>
                  <a:lnTo>
                    <a:pt x="933" y="1046"/>
                  </a:lnTo>
                  <a:lnTo>
                    <a:pt x="931" y="1050"/>
                  </a:lnTo>
                  <a:lnTo>
                    <a:pt x="932" y="1057"/>
                  </a:lnTo>
                  <a:lnTo>
                    <a:pt x="939" y="1058"/>
                  </a:lnTo>
                  <a:lnTo>
                    <a:pt x="940" y="1058"/>
                  </a:lnTo>
                  <a:lnTo>
                    <a:pt x="939" y="1059"/>
                  </a:lnTo>
                  <a:lnTo>
                    <a:pt x="933" y="1063"/>
                  </a:lnTo>
                  <a:lnTo>
                    <a:pt x="920" y="1066"/>
                  </a:lnTo>
                  <a:lnTo>
                    <a:pt x="916" y="1067"/>
                  </a:lnTo>
                  <a:lnTo>
                    <a:pt x="911" y="1065"/>
                  </a:lnTo>
                  <a:lnTo>
                    <a:pt x="906" y="1071"/>
                  </a:lnTo>
                  <a:lnTo>
                    <a:pt x="905" y="1073"/>
                  </a:lnTo>
                  <a:lnTo>
                    <a:pt x="905" y="1074"/>
                  </a:lnTo>
                  <a:lnTo>
                    <a:pt x="911" y="1077"/>
                  </a:lnTo>
                  <a:lnTo>
                    <a:pt x="925" y="1093"/>
                  </a:lnTo>
                  <a:lnTo>
                    <a:pt x="936" y="1096"/>
                  </a:lnTo>
                  <a:lnTo>
                    <a:pt x="945" y="1095"/>
                  </a:lnTo>
                  <a:lnTo>
                    <a:pt x="947" y="1089"/>
                  </a:lnTo>
                  <a:lnTo>
                    <a:pt x="951" y="1082"/>
                  </a:lnTo>
                  <a:lnTo>
                    <a:pt x="953" y="1080"/>
                  </a:lnTo>
                  <a:lnTo>
                    <a:pt x="956" y="1079"/>
                  </a:lnTo>
                  <a:lnTo>
                    <a:pt x="956" y="1081"/>
                  </a:lnTo>
                  <a:lnTo>
                    <a:pt x="953" y="1086"/>
                  </a:lnTo>
                  <a:lnTo>
                    <a:pt x="952" y="1095"/>
                  </a:lnTo>
                  <a:lnTo>
                    <a:pt x="951" y="1097"/>
                  </a:lnTo>
                  <a:lnTo>
                    <a:pt x="947" y="1099"/>
                  </a:lnTo>
                  <a:lnTo>
                    <a:pt x="947" y="1101"/>
                  </a:lnTo>
                  <a:lnTo>
                    <a:pt x="951" y="1107"/>
                  </a:lnTo>
                  <a:lnTo>
                    <a:pt x="961" y="1111"/>
                  </a:lnTo>
                  <a:lnTo>
                    <a:pt x="957" y="1115"/>
                  </a:lnTo>
                  <a:lnTo>
                    <a:pt x="952" y="1117"/>
                  </a:lnTo>
                  <a:lnTo>
                    <a:pt x="950" y="1115"/>
                  </a:lnTo>
                  <a:lnTo>
                    <a:pt x="946" y="1110"/>
                  </a:lnTo>
                  <a:lnTo>
                    <a:pt x="942" y="1109"/>
                  </a:lnTo>
                  <a:lnTo>
                    <a:pt x="931" y="1112"/>
                  </a:lnTo>
                  <a:lnTo>
                    <a:pt x="925" y="1117"/>
                  </a:lnTo>
                  <a:lnTo>
                    <a:pt x="921" y="1119"/>
                  </a:lnTo>
                  <a:lnTo>
                    <a:pt x="922" y="1120"/>
                  </a:lnTo>
                  <a:lnTo>
                    <a:pt x="927" y="1121"/>
                  </a:lnTo>
                  <a:lnTo>
                    <a:pt x="929" y="1127"/>
                  </a:lnTo>
                  <a:lnTo>
                    <a:pt x="935" y="1131"/>
                  </a:lnTo>
                  <a:lnTo>
                    <a:pt x="941" y="1133"/>
                  </a:lnTo>
                  <a:lnTo>
                    <a:pt x="952" y="1132"/>
                  </a:lnTo>
                  <a:lnTo>
                    <a:pt x="952" y="1135"/>
                  </a:lnTo>
                  <a:lnTo>
                    <a:pt x="949" y="1138"/>
                  </a:lnTo>
                  <a:lnTo>
                    <a:pt x="942" y="1140"/>
                  </a:lnTo>
                  <a:lnTo>
                    <a:pt x="936" y="1140"/>
                  </a:lnTo>
                  <a:lnTo>
                    <a:pt x="922" y="1136"/>
                  </a:lnTo>
                  <a:lnTo>
                    <a:pt x="918" y="1135"/>
                  </a:lnTo>
                  <a:lnTo>
                    <a:pt x="916" y="1136"/>
                  </a:lnTo>
                  <a:lnTo>
                    <a:pt x="911" y="1141"/>
                  </a:lnTo>
                  <a:lnTo>
                    <a:pt x="908" y="1141"/>
                  </a:lnTo>
                  <a:lnTo>
                    <a:pt x="907" y="1140"/>
                  </a:lnTo>
                  <a:lnTo>
                    <a:pt x="905" y="1136"/>
                  </a:lnTo>
                  <a:lnTo>
                    <a:pt x="902" y="1135"/>
                  </a:lnTo>
                  <a:lnTo>
                    <a:pt x="899" y="1135"/>
                  </a:lnTo>
                  <a:lnTo>
                    <a:pt x="895" y="1137"/>
                  </a:lnTo>
                  <a:lnTo>
                    <a:pt x="893" y="1143"/>
                  </a:lnTo>
                  <a:lnTo>
                    <a:pt x="896" y="1144"/>
                  </a:lnTo>
                  <a:lnTo>
                    <a:pt x="901" y="1143"/>
                  </a:lnTo>
                  <a:lnTo>
                    <a:pt x="900" y="1145"/>
                  </a:lnTo>
                  <a:lnTo>
                    <a:pt x="890" y="1151"/>
                  </a:lnTo>
                  <a:lnTo>
                    <a:pt x="872" y="1156"/>
                  </a:lnTo>
                  <a:lnTo>
                    <a:pt x="869" y="1155"/>
                  </a:lnTo>
                  <a:lnTo>
                    <a:pt x="866" y="1153"/>
                  </a:lnTo>
                  <a:lnTo>
                    <a:pt x="865" y="1144"/>
                  </a:lnTo>
                  <a:lnTo>
                    <a:pt x="868" y="1141"/>
                  </a:lnTo>
                  <a:lnTo>
                    <a:pt x="878" y="1141"/>
                  </a:lnTo>
                  <a:lnTo>
                    <a:pt x="880" y="1139"/>
                  </a:lnTo>
                  <a:lnTo>
                    <a:pt x="880" y="1135"/>
                  </a:lnTo>
                  <a:lnTo>
                    <a:pt x="875" y="1131"/>
                  </a:lnTo>
                  <a:lnTo>
                    <a:pt x="873" y="1136"/>
                  </a:lnTo>
                  <a:lnTo>
                    <a:pt x="871" y="1136"/>
                  </a:lnTo>
                  <a:lnTo>
                    <a:pt x="872" y="1127"/>
                  </a:lnTo>
                  <a:lnTo>
                    <a:pt x="872" y="1125"/>
                  </a:lnTo>
                  <a:lnTo>
                    <a:pt x="870" y="1125"/>
                  </a:lnTo>
                  <a:lnTo>
                    <a:pt x="868" y="1137"/>
                  </a:lnTo>
                  <a:lnTo>
                    <a:pt x="867" y="1138"/>
                  </a:lnTo>
                  <a:lnTo>
                    <a:pt x="864" y="1139"/>
                  </a:lnTo>
                  <a:lnTo>
                    <a:pt x="863" y="1136"/>
                  </a:lnTo>
                  <a:lnTo>
                    <a:pt x="863" y="1127"/>
                  </a:lnTo>
                  <a:lnTo>
                    <a:pt x="862" y="1122"/>
                  </a:lnTo>
                  <a:lnTo>
                    <a:pt x="861" y="1119"/>
                  </a:lnTo>
                  <a:lnTo>
                    <a:pt x="851" y="1113"/>
                  </a:lnTo>
                  <a:lnTo>
                    <a:pt x="851" y="1117"/>
                  </a:lnTo>
                  <a:lnTo>
                    <a:pt x="855" y="1122"/>
                  </a:lnTo>
                  <a:lnTo>
                    <a:pt x="856" y="1125"/>
                  </a:lnTo>
                  <a:lnTo>
                    <a:pt x="853" y="1129"/>
                  </a:lnTo>
                  <a:lnTo>
                    <a:pt x="849" y="1130"/>
                  </a:lnTo>
                  <a:lnTo>
                    <a:pt x="848" y="1132"/>
                  </a:lnTo>
                  <a:lnTo>
                    <a:pt x="851" y="1138"/>
                  </a:lnTo>
                  <a:lnTo>
                    <a:pt x="857" y="1140"/>
                  </a:lnTo>
                  <a:lnTo>
                    <a:pt x="860" y="1143"/>
                  </a:lnTo>
                  <a:lnTo>
                    <a:pt x="860" y="1144"/>
                  </a:lnTo>
                  <a:lnTo>
                    <a:pt x="857" y="1150"/>
                  </a:lnTo>
                  <a:lnTo>
                    <a:pt x="846" y="1162"/>
                  </a:lnTo>
                  <a:lnTo>
                    <a:pt x="846" y="1165"/>
                  </a:lnTo>
                  <a:lnTo>
                    <a:pt x="849" y="1170"/>
                  </a:lnTo>
                  <a:lnTo>
                    <a:pt x="855" y="1176"/>
                  </a:lnTo>
                  <a:lnTo>
                    <a:pt x="859" y="1177"/>
                  </a:lnTo>
                  <a:lnTo>
                    <a:pt x="863" y="1177"/>
                  </a:lnTo>
                  <a:lnTo>
                    <a:pt x="868" y="1175"/>
                  </a:lnTo>
                  <a:lnTo>
                    <a:pt x="872" y="1168"/>
                  </a:lnTo>
                  <a:lnTo>
                    <a:pt x="875" y="1168"/>
                  </a:lnTo>
                  <a:lnTo>
                    <a:pt x="877" y="1169"/>
                  </a:lnTo>
                  <a:lnTo>
                    <a:pt x="874" y="1171"/>
                  </a:lnTo>
                  <a:lnTo>
                    <a:pt x="874" y="1173"/>
                  </a:lnTo>
                  <a:lnTo>
                    <a:pt x="880" y="1180"/>
                  </a:lnTo>
                  <a:lnTo>
                    <a:pt x="882" y="1181"/>
                  </a:lnTo>
                  <a:lnTo>
                    <a:pt x="885" y="1177"/>
                  </a:lnTo>
                  <a:lnTo>
                    <a:pt x="888" y="1177"/>
                  </a:lnTo>
                  <a:lnTo>
                    <a:pt x="893" y="1179"/>
                  </a:lnTo>
                  <a:lnTo>
                    <a:pt x="895" y="1180"/>
                  </a:lnTo>
                  <a:lnTo>
                    <a:pt x="889" y="1193"/>
                  </a:lnTo>
                  <a:lnTo>
                    <a:pt x="884" y="1194"/>
                  </a:lnTo>
                  <a:lnTo>
                    <a:pt x="882" y="1195"/>
                  </a:lnTo>
                  <a:lnTo>
                    <a:pt x="882" y="1206"/>
                  </a:lnTo>
                  <a:lnTo>
                    <a:pt x="878" y="1211"/>
                  </a:lnTo>
                  <a:lnTo>
                    <a:pt x="873" y="1215"/>
                  </a:lnTo>
                  <a:lnTo>
                    <a:pt x="869" y="1216"/>
                  </a:lnTo>
                  <a:lnTo>
                    <a:pt x="867" y="1215"/>
                  </a:lnTo>
                  <a:lnTo>
                    <a:pt x="864" y="1209"/>
                  </a:lnTo>
                  <a:lnTo>
                    <a:pt x="862" y="1208"/>
                  </a:lnTo>
                  <a:lnTo>
                    <a:pt x="860" y="1209"/>
                  </a:lnTo>
                  <a:lnTo>
                    <a:pt x="857" y="1213"/>
                  </a:lnTo>
                  <a:lnTo>
                    <a:pt x="855" y="1221"/>
                  </a:lnTo>
                  <a:lnTo>
                    <a:pt x="859" y="1229"/>
                  </a:lnTo>
                  <a:lnTo>
                    <a:pt x="862" y="1233"/>
                  </a:lnTo>
                  <a:lnTo>
                    <a:pt x="866" y="1228"/>
                  </a:lnTo>
                  <a:lnTo>
                    <a:pt x="868" y="1229"/>
                  </a:lnTo>
                  <a:lnTo>
                    <a:pt x="869" y="1233"/>
                  </a:lnTo>
                  <a:lnTo>
                    <a:pt x="866" y="1243"/>
                  </a:lnTo>
                  <a:lnTo>
                    <a:pt x="861" y="1248"/>
                  </a:lnTo>
                  <a:lnTo>
                    <a:pt x="861" y="1254"/>
                  </a:lnTo>
                  <a:lnTo>
                    <a:pt x="861" y="1255"/>
                  </a:lnTo>
                  <a:lnTo>
                    <a:pt x="859" y="1256"/>
                  </a:lnTo>
                  <a:lnTo>
                    <a:pt x="855" y="1254"/>
                  </a:lnTo>
                  <a:lnTo>
                    <a:pt x="848" y="1263"/>
                  </a:lnTo>
                  <a:lnTo>
                    <a:pt x="847" y="1264"/>
                  </a:lnTo>
                  <a:lnTo>
                    <a:pt x="842" y="1263"/>
                  </a:lnTo>
                  <a:lnTo>
                    <a:pt x="839" y="1266"/>
                  </a:lnTo>
                  <a:lnTo>
                    <a:pt x="838" y="1270"/>
                  </a:lnTo>
                  <a:lnTo>
                    <a:pt x="837" y="1270"/>
                  </a:lnTo>
                  <a:lnTo>
                    <a:pt x="836" y="1269"/>
                  </a:lnTo>
                  <a:lnTo>
                    <a:pt x="837" y="1261"/>
                  </a:lnTo>
                  <a:lnTo>
                    <a:pt x="831" y="1257"/>
                  </a:lnTo>
                  <a:lnTo>
                    <a:pt x="841" y="1254"/>
                  </a:lnTo>
                  <a:lnTo>
                    <a:pt x="841" y="1247"/>
                  </a:lnTo>
                  <a:lnTo>
                    <a:pt x="833" y="1246"/>
                  </a:lnTo>
                  <a:lnTo>
                    <a:pt x="824" y="1240"/>
                  </a:lnTo>
                  <a:lnTo>
                    <a:pt x="814" y="1237"/>
                  </a:lnTo>
                  <a:lnTo>
                    <a:pt x="810" y="1235"/>
                  </a:lnTo>
                  <a:lnTo>
                    <a:pt x="795" y="1236"/>
                  </a:lnTo>
                  <a:lnTo>
                    <a:pt x="795" y="1234"/>
                  </a:lnTo>
                  <a:lnTo>
                    <a:pt x="800" y="1230"/>
                  </a:lnTo>
                  <a:lnTo>
                    <a:pt x="797" y="1224"/>
                  </a:lnTo>
                  <a:lnTo>
                    <a:pt x="796" y="1218"/>
                  </a:lnTo>
                  <a:lnTo>
                    <a:pt x="796" y="1213"/>
                  </a:lnTo>
                  <a:lnTo>
                    <a:pt x="799" y="1208"/>
                  </a:lnTo>
                  <a:lnTo>
                    <a:pt x="798" y="1207"/>
                  </a:lnTo>
                  <a:lnTo>
                    <a:pt x="793" y="1210"/>
                  </a:lnTo>
                  <a:lnTo>
                    <a:pt x="792" y="1204"/>
                  </a:lnTo>
                  <a:lnTo>
                    <a:pt x="790" y="1202"/>
                  </a:lnTo>
                  <a:lnTo>
                    <a:pt x="788" y="1202"/>
                  </a:lnTo>
                  <a:lnTo>
                    <a:pt x="787" y="1203"/>
                  </a:lnTo>
                  <a:lnTo>
                    <a:pt x="790" y="1207"/>
                  </a:lnTo>
                  <a:lnTo>
                    <a:pt x="791" y="1210"/>
                  </a:lnTo>
                  <a:lnTo>
                    <a:pt x="790" y="1221"/>
                  </a:lnTo>
                  <a:lnTo>
                    <a:pt x="787" y="1226"/>
                  </a:lnTo>
                  <a:lnTo>
                    <a:pt x="792" y="1237"/>
                  </a:lnTo>
                  <a:lnTo>
                    <a:pt x="791" y="1241"/>
                  </a:lnTo>
                  <a:lnTo>
                    <a:pt x="787" y="1245"/>
                  </a:lnTo>
                  <a:lnTo>
                    <a:pt x="779" y="1246"/>
                  </a:lnTo>
                  <a:lnTo>
                    <a:pt x="776" y="1250"/>
                  </a:lnTo>
                  <a:lnTo>
                    <a:pt x="774" y="1251"/>
                  </a:lnTo>
                  <a:lnTo>
                    <a:pt x="761" y="1253"/>
                  </a:lnTo>
                  <a:lnTo>
                    <a:pt x="757" y="1253"/>
                  </a:lnTo>
                  <a:lnTo>
                    <a:pt x="753" y="1250"/>
                  </a:lnTo>
                  <a:lnTo>
                    <a:pt x="748" y="1251"/>
                  </a:lnTo>
                  <a:lnTo>
                    <a:pt x="747" y="1258"/>
                  </a:lnTo>
                  <a:lnTo>
                    <a:pt x="743" y="1260"/>
                  </a:lnTo>
                  <a:lnTo>
                    <a:pt x="738" y="1270"/>
                  </a:lnTo>
                  <a:lnTo>
                    <a:pt x="735" y="1271"/>
                  </a:lnTo>
                  <a:lnTo>
                    <a:pt x="720" y="1260"/>
                  </a:lnTo>
                  <a:lnTo>
                    <a:pt x="720" y="1251"/>
                  </a:lnTo>
                  <a:lnTo>
                    <a:pt x="726" y="1247"/>
                  </a:lnTo>
                  <a:lnTo>
                    <a:pt x="729" y="1250"/>
                  </a:lnTo>
                  <a:lnTo>
                    <a:pt x="730" y="1250"/>
                  </a:lnTo>
                  <a:lnTo>
                    <a:pt x="731" y="1247"/>
                  </a:lnTo>
                  <a:lnTo>
                    <a:pt x="731" y="1244"/>
                  </a:lnTo>
                  <a:lnTo>
                    <a:pt x="729" y="1242"/>
                  </a:lnTo>
                  <a:lnTo>
                    <a:pt x="719" y="1244"/>
                  </a:lnTo>
                  <a:lnTo>
                    <a:pt x="716" y="1243"/>
                  </a:lnTo>
                  <a:lnTo>
                    <a:pt x="723" y="1236"/>
                  </a:lnTo>
                  <a:lnTo>
                    <a:pt x="725" y="1233"/>
                  </a:lnTo>
                  <a:lnTo>
                    <a:pt x="718" y="1232"/>
                  </a:lnTo>
                  <a:lnTo>
                    <a:pt x="717" y="1228"/>
                  </a:lnTo>
                  <a:lnTo>
                    <a:pt x="718" y="1223"/>
                  </a:lnTo>
                  <a:lnTo>
                    <a:pt x="712" y="1222"/>
                  </a:lnTo>
                  <a:lnTo>
                    <a:pt x="707" y="1212"/>
                  </a:lnTo>
                  <a:lnTo>
                    <a:pt x="706" y="1215"/>
                  </a:lnTo>
                  <a:lnTo>
                    <a:pt x="706" y="1217"/>
                  </a:lnTo>
                  <a:lnTo>
                    <a:pt x="710" y="1230"/>
                  </a:lnTo>
                  <a:lnTo>
                    <a:pt x="708" y="1233"/>
                  </a:lnTo>
                  <a:lnTo>
                    <a:pt x="704" y="1234"/>
                  </a:lnTo>
                  <a:lnTo>
                    <a:pt x="704" y="1239"/>
                  </a:lnTo>
                  <a:lnTo>
                    <a:pt x="704" y="1243"/>
                  </a:lnTo>
                  <a:lnTo>
                    <a:pt x="699" y="1251"/>
                  </a:lnTo>
                  <a:lnTo>
                    <a:pt x="694" y="1257"/>
                  </a:lnTo>
                  <a:lnTo>
                    <a:pt x="693" y="1260"/>
                  </a:lnTo>
                  <a:lnTo>
                    <a:pt x="695" y="1265"/>
                  </a:lnTo>
                  <a:lnTo>
                    <a:pt x="703" y="1274"/>
                  </a:lnTo>
                  <a:lnTo>
                    <a:pt x="705" y="1274"/>
                  </a:lnTo>
                  <a:lnTo>
                    <a:pt x="711" y="1271"/>
                  </a:lnTo>
                  <a:lnTo>
                    <a:pt x="713" y="1276"/>
                  </a:lnTo>
                  <a:lnTo>
                    <a:pt x="715" y="1278"/>
                  </a:lnTo>
                  <a:lnTo>
                    <a:pt x="717" y="1277"/>
                  </a:lnTo>
                  <a:lnTo>
                    <a:pt x="721" y="1275"/>
                  </a:lnTo>
                  <a:lnTo>
                    <a:pt x="723" y="1276"/>
                  </a:lnTo>
                  <a:lnTo>
                    <a:pt x="724" y="1288"/>
                  </a:lnTo>
                  <a:lnTo>
                    <a:pt x="720" y="1292"/>
                  </a:lnTo>
                  <a:lnTo>
                    <a:pt x="718" y="1300"/>
                  </a:lnTo>
                  <a:lnTo>
                    <a:pt x="710" y="1310"/>
                  </a:lnTo>
                  <a:lnTo>
                    <a:pt x="708" y="1311"/>
                  </a:lnTo>
                  <a:lnTo>
                    <a:pt x="705" y="1311"/>
                  </a:lnTo>
                  <a:lnTo>
                    <a:pt x="694" y="1309"/>
                  </a:lnTo>
                  <a:lnTo>
                    <a:pt x="691" y="1307"/>
                  </a:lnTo>
                  <a:lnTo>
                    <a:pt x="688" y="1301"/>
                  </a:lnTo>
                  <a:lnTo>
                    <a:pt x="688" y="1298"/>
                  </a:lnTo>
                  <a:lnTo>
                    <a:pt x="699" y="1293"/>
                  </a:lnTo>
                  <a:lnTo>
                    <a:pt x="701" y="1291"/>
                  </a:lnTo>
                  <a:lnTo>
                    <a:pt x="702" y="1288"/>
                  </a:lnTo>
                  <a:lnTo>
                    <a:pt x="701" y="1288"/>
                  </a:lnTo>
                  <a:lnTo>
                    <a:pt x="698" y="1288"/>
                  </a:lnTo>
                  <a:lnTo>
                    <a:pt x="689" y="1294"/>
                  </a:lnTo>
                  <a:lnTo>
                    <a:pt x="688" y="1294"/>
                  </a:lnTo>
                  <a:lnTo>
                    <a:pt x="688" y="1289"/>
                  </a:lnTo>
                  <a:lnTo>
                    <a:pt x="692" y="1283"/>
                  </a:lnTo>
                  <a:lnTo>
                    <a:pt x="693" y="1276"/>
                  </a:lnTo>
                  <a:lnTo>
                    <a:pt x="697" y="1274"/>
                  </a:lnTo>
                  <a:lnTo>
                    <a:pt x="695" y="1272"/>
                  </a:lnTo>
                  <a:lnTo>
                    <a:pt x="690" y="1266"/>
                  </a:lnTo>
                  <a:lnTo>
                    <a:pt x="686" y="1265"/>
                  </a:lnTo>
                  <a:lnTo>
                    <a:pt x="679" y="1268"/>
                  </a:lnTo>
                  <a:lnTo>
                    <a:pt x="673" y="1266"/>
                  </a:lnTo>
                  <a:lnTo>
                    <a:pt x="672" y="1268"/>
                  </a:lnTo>
                  <a:lnTo>
                    <a:pt x="674" y="1276"/>
                  </a:lnTo>
                  <a:lnTo>
                    <a:pt x="682" y="1277"/>
                  </a:lnTo>
                  <a:lnTo>
                    <a:pt x="684" y="1279"/>
                  </a:lnTo>
                  <a:lnTo>
                    <a:pt x="685" y="1283"/>
                  </a:lnTo>
                  <a:lnTo>
                    <a:pt x="684" y="1289"/>
                  </a:lnTo>
                  <a:lnTo>
                    <a:pt x="679" y="1293"/>
                  </a:lnTo>
                  <a:lnTo>
                    <a:pt x="675" y="1294"/>
                  </a:lnTo>
                  <a:lnTo>
                    <a:pt x="669" y="1293"/>
                  </a:lnTo>
                  <a:lnTo>
                    <a:pt x="668" y="1294"/>
                  </a:lnTo>
                  <a:lnTo>
                    <a:pt x="668" y="1296"/>
                  </a:lnTo>
                  <a:lnTo>
                    <a:pt x="671" y="1299"/>
                  </a:lnTo>
                  <a:lnTo>
                    <a:pt x="679" y="1302"/>
                  </a:lnTo>
                  <a:lnTo>
                    <a:pt x="677" y="1306"/>
                  </a:lnTo>
                  <a:lnTo>
                    <a:pt x="665" y="1305"/>
                  </a:lnTo>
                  <a:lnTo>
                    <a:pt x="631" y="1297"/>
                  </a:lnTo>
                  <a:lnTo>
                    <a:pt x="619" y="1298"/>
                  </a:lnTo>
                  <a:lnTo>
                    <a:pt x="608" y="1301"/>
                  </a:lnTo>
                  <a:lnTo>
                    <a:pt x="604" y="1300"/>
                  </a:lnTo>
                  <a:lnTo>
                    <a:pt x="600" y="1296"/>
                  </a:lnTo>
                  <a:lnTo>
                    <a:pt x="598" y="1302"/>
                  </a:lnTo>
                  <a:lnTo>
                    <a:pt x="604" y="1306"/>
                  </a:lnTo>
                  <a:lnTo>
                    <a:pt x="603" y="1306"/>
                  </a:lnTo>
                  <a:lnTo>
                    <a:pt x="614" y="1315"/>
                  </a:lnTo>
                  <a:lnTo>
                    <a:pt x="634" y="1324"/>
                  </a:lnTo>
                  <a:lnTo>
                    <a:pt x="636" y="1330"/>
                  </a:lnTo>
                  <a:lnTo>
                    <a:pt x="639" y="1334"/>
                  </a:lnTo>
                  <a:lnTo>
                    <a:pt x="640" y="1332"/>
                  </a:lnTo>
                  <a:lnTo>
                    <a:pt x="640" y="1325"/>
                  </a:lnTo>
                  <a:lnTo>
                    <a:pt x="654" y="1318"/>
                  </a:lnTo>
                  <a:lnTo>
                    <a:pt x="658" y="1319"/>
                  </a:lnTo>
                  <a:lnTo>
                    <a:pt x="659" y="1323"/>
                  </a:lnTo>
                  <a:lnTo>
                    <a:pt x="664" y="1324"/>
                  </a:lnTo>
                  <a:lnTo>
                    <a:pt x="675" y="1317"/>
                  </a:lnTo>
                  <a:lnTo>
                    <a:pt x="682" y="1317"/>
                  </a:lnTo>
                  <a:lnTo>
                    <a:pt x="686" y="1318"/>
                  </a:lnTo>
                  <a:lnTo>
                    <a:pt x="687" y="1320"/>
                  </a:lnTo>
                  <a:lnTo>
                    <a:pt x="684" y="1327"/>
                  </a:lnTo>
                  <a:lnTo>
                    <a:pt x="684" y="1332"/>
                  </a:lnTo>
                  <a:lnTo>
                    <a:pt x="675" y="1341"/>
                  </a:lnTo>
                  <a:lnTo>
                    <a:pt x="675" y="1344"/>
                  </a:lnTo>
                  <a:lnTo>
                    <a:pt x="676" y="1345"/>
                  </a:lnTo>
                  <a:lnTo>
                    <a:pt x="679" y="1345"/>
                  </a:lnTo>
                  <a:lnTo>
                    <a:pt x="686" y="1338"/>
                  </a:lnTo>
                  <a:lnTo>
                    <a:pt x="700" y="1333"/>
                  </a:lnTo>
                  <a:lnTo>
                    <a:pt x="708" y="1347"/>
                  </a:lnTo>
                  <a:lnTo>
                    <a:pt x="711" y="1360"/>
                  </a:lnTo>
                  <a:lnTo>
                    <a:pt x="711" y="1364"/>
                  </a:lnTo>
                  <a:lnTo>
                    <a:pt x="707" y="1363"/>
                  </a:lnTo>
                  <a:lnTo>
                    <a:pt x="703" y="1365"/>
                  </a:lnTo>
                  <a:lnTo>
                    <a:pt x="702" y="1367"/>
                  </a:lnTo>
                  <a:lnTo>
                    <a:pt x="703" y="1370"/>
                  </a:lnTo>
                  <a:lnTo>
                    <a:pt x="702" y="1372"/>
                  </a:lnTo>
                  <a:lnTo>
                    <a:pt x="695" y="1367"/>
                  </a:lnTo>
                  <a:lnTo>
                    <a:pt x="694" y="1368"/>
                  </a:lnTo>
                  <a:lnTo>
                    <a:pt x="686" y="1376"/>
                  </a:lnTo>
                  <a:lnTo>
                    <a:pt x="684" y="1382"/>
                  </a:lnTo>
                  <a:lnTo>
                    <a:pt x="681" y="1385"/>
                  </a:lnTo>
                  <a:lnTo>
                    <a:pt x="677" y="1385"/>
                  </a:lnTo>
                  <a:lnTo>
                    <a:pt x="676" y="1384"/>
                  </a:lnTo>
                  <a:lnTo>
                    <a:pt x="677" y="1376"/>
                  </a:lnTo>
                  <a:lnTo>
                    <a:pt x="672" y="1379"/>
                  </a:lnTo>
                  <a:lnTo>
                    <a:pt x="671" y="1383"/>
                  </a:lnTo>
                  <a:lnTo>
                    <a:pt x="672" y="1384"/>
                  </a:lnTo>
                  <a:lnTo>
                    <a:pt x="674" y="1386"/>
                  </a:lnTo>
                  <a:lnTo>
                    <a:pt x="675" y="1388"/>
                  </a:lnTo>
                  <a:lnTo>
                    <a:pt x="673" y="1391"/>
                  </a:lnTo>
                  <a:lnTo>
                    <a:pt x="670" y="1395"/>
                  </a:lnTo>
                  <a:lnTo>
                    <a:pt x="669" y="1401"/>
                  </a:lnTo>
                  <a:lnTo>
                    <a:pt x="668" y="1403"/>
                  </a:lnTo>
                  <a:lnTo>
                    <a:pt x="665" y="1403"/>
                  </a:lnTo>
                  <a:lnTo>
                    <a:pt x="663" y="1400"/>
                  </a:lnTo>
                  <a:lnTo>
                    <a:pt x="667" y="1389"/>
                  </a:lnTo>
                  <a:lnTo>
                    <a:pt x="666" y="1386"/>
                  </a:lnTo>
                  <a:lnTo>
                    <a:pt x="659" y="1382"/>
                  </a:lnTo>
                  <a:lnTo>
                    <a:pt x="657" y="1382"/>
                  </a:lnTo>
                  <a:lnTo>
                    <a:pt x="655" y="1384"/>
                  </a:lnTo>
                  <a:lnTo>
                    <a:pt x="650" y="1392"/>
                  </a:lnTo>
                  <a:lnTo>
                    <a:pt x="649" y="1395"/>
                  </a:lnTo>
                  <a:lnTo>
                    <a:pt x="651" y="1397"/>
                  </a:lnTo>
                  <a:lnTo>
                    <a:pt x="657" y="1399"/>
                  </a:lnTo>
                  <a:lnTo>
                    <a:pt x="658" y="1402"/>
                  </a:lnTo>
                  <a:lnTo>
                    <a:pt x="655" y="1407"/>
                  </a:lnTo>
                  <a:lnTo>
                    <a:pt x="653" y="1415"/>
                  </a:lnTo>
                  <a:lnTo>
                    <a:pt x="649" y="1418"/>
                  </a:lnTo>
                  <a:lnTo>
                    <a:pt x="647" y="1422"/>
                  </a:lnTo>
                  <a:lnTo>
                    <a:pt x="646" y="1431"/>
                  </a:lnTo>
                  <a:lnTo>
                    <a:pt x="648" y="1445"/>
                  </a:lnTo>
                  <a:lnTo>
                    <a:pt x="645" y="1448"/>
                  </a:lnTo>
                  <a:lnTo>
                    <a:pt x="640" y="1445"/>
                  </a:lnTo>
                  <a:lnTo>
                    <a:pt x="638" y="1444"/>
                  </a:lnTo>
                  <a:lnTo>
                    <a:pt x="629" y="1449"/>
                  </a:lnTo>
                  <a:lnTo>
                    <a:pt x="628" y="1453"/>
                  </a:lnTo>
                  <a:lnTo>
                    <a:pt x="628" y="1460"/>
                  </a:lnTo>
                  <a:lnTo>
                    <a:pt x="626" y="1461"/>
                  </a:lnTo>
                  <a:lnTo>
                    <a:pt x="621" y="1458"/>
                  </a:lnTo>
                  <a:lnTo>
                    <a:pt x="620" y="1460"/>
                  </a:lnTo>
                  <a:lnTo>
                    <a:pt x="618" y="1471"/>
                  </a:lnTo>
                  <a:lnTo>
                    <a:pt x="616" y="1473"/>
                  </a:lnTo>
                  <a:lnTo>
                    <a:pt x="613" y="1473"/>
                  </a:lnTo>
                  <a:lnTo>
                    <a:pt x="611" y="1476"/>
                  </a:lnTo>
                  <a:lnTo>
                    <a:pt x="611" y="1488"/>
                  </a:lnTo>
                  <a:lnTo>
                    <a:pt x="607" y="1490"/>
                  </a:lnTo>
                  <a:lnTo>
                    <a:pt x="604" y="1493"/>
                  </a:lnTo>
                  <a:lnTo>
                    <a:pt x="602" y="1493"/>
                  </a:lnTo>
                  <a:lnTo>
                    <a:pt x="600" y="1491"/>
                  </a:lnTo>
                  <a:lnTo>
                    <a:pt x="601" y="1487"/>
                  </a:lnTo>
                  <a:lnTo>
                    <a:pt x="598" y="1482"/>
                  </a:lnTo>
                  <a:lnTo>
                    <a:pt x="604" y="1479"/>
                  </a:lnTo>
                  <a:lnTo>
                    <a:pt x="614" y="1460"/>
                  </a:lnTo>
                  <a:lnTo>
                    <a:pt x="614" y="1456"/>
                  </a:lnTo>
                  <a:lnTo>
                    <a:pt x="613" y="1454"/>
                  </a:lnTo>
                  <a:lnTo>
                    <a:pt x="611" y="1453"/>
                  </a:lnTo>
                  <a:lnTo>
                    <a:pt x="605" y="1454"/>
                  </a:lnTo>
                  <a:lnTo>
                    <a:pt x="604" y="1454"/>
                  </a:lnTo>
                  <a:lnTo>
                    <a:pt x="605" y="1451"/>
                  </a:lnTo>
                  <a:lnTo>
                    <a:pt x="610" y="1445"/>
                  </a:lnTo>
                  <a:lnTo>
                    <a:pt x="608" y="1443"/>
                  </a:lnTo>
                  <a:lnTo>
                    <a:pt x="607" y="1443"/>
                  </a:lnTo>
                  <a:lnTo>
                    <a:pt x="603" y="1450"/>
                  </a:lnTo>
                  <a:lnTo>
                    <a:pt x="601" y="1452"/>
                  </a:lnTo>
                  <a:lnTo>
                    <a:pt x="590" y="1449"/>
                  </a:lnTo>
                  <a:lnTo>
                    <a:pt x="589" y="1449"/>
                  </a:lnTo>
                  <a:lnTo>
                    <a:pt x="585" y="1456"/>
                  </a:lnTo>
                  <a:lnTo>
                    <a:pt x="583" y="1466"/>
                  </a:lnTo>
                  <a:lnTo>
                    <a:pt x="584" y="1469"/>
                  </a:lnTo>
                  <a:lnTo>
                    <a:pt x="587" y="1473"/>
                  </a:lnTo>
                  <a:lnTo>
                    <a:pt x="590" y="1477"/>
                  </a:lnTo>
                  <a:lnTo>
                    <a:pt x="576" y="1490"/>
                  </a:lnTo>
                  <a:lnTo>
                    <a:pt x="572" y="1496"/>
                  </a:lnTo>
                  <a:lnTo>
                    <a:pt x="568" y="1508"/>
                  </a:lnTo>
                  <a:lnTo>
                    <a:pt x="568" y="1522"/>
                  </a:lnTo>
                  <a:lnTo>
                    <a:pt x="569" y="1526"/>
                  </a:lnTo>
                  <a:lnTo>
                    <a:pt x="575" y="1531"/>
                  </a:lnTo>
                  <a:lnTo>
                    <a:pt x="575" y="1532"/>
                  </a:lnTo>
                  <a:lnTo>
                    <a:pt x="560" y="1557"/>
                  </a:lnTo>
                  <a:lnTo>
                    <a:pt x="558" y="1554"/>
                  </a:lnTo>
                  <a:lnTo>
                    <a:pt x="557" y="1549"/>
                  </a:lnTo>
                  <a:lnTo>
                    <a:pt x="564" y="1528"/>
                  </a:lnTo>
                  <a:lnTo>
                    <a:pt x="565" y="1525"/>
                  </a:lnTo>
                  <a:lnTo>
                    <a:pt x="559" y="1507"/>
                  </a:lnTo>
                  <a:lnTo>
                    <a:pt x="557" y="1502"/>
                  </a:lnTo>
                  <a:lnTo>
                    <a:pt x="555" y="1498"/>
                  </a:lnTo>
                  <a:lnTo>
                    <a:pt x="550" y="1496"/>
                  </a:lnTo>
                  <a:lnTo>
                    <a:pt x="544" y="1496"/>
                  </a:lnTo>
                  <a:lnTo>
                    <a:pt x="522" y="1494"/>
                  </a:lnTo>
                  <a:lnTo>
                    <a:pt x="505" y="1488"/>
                  </a:lnTo>
                  <a:lnTo>
                    <a:pt x="492" y="1489"/>
                  </a:lnTo>
                  <a:lnTo>
                    <a:pt x="492" y="1491"/>
                  </a:lnTo>
                  <a:lnTo>
                    <a:pt x="491" y="1493"/>
                  </a:lnTo>
                  <a:lnTo>
                    <a:pt x="495" y="1495"/>
                  </a:lnTo>
                  <a:lnTo>
                    <a:pt x="504" y="1496"/>
                  </a:lnTo>
                  <a:lnTo>
                    <a:pt x="519" y="1496"/>
                  </a:lnTo>
                  <a:lnTo>
                    <a:pt x="522" y="1498"/>
                  </a:lnTo>
                  <a:lnTo>
                    <a:pt x="527" y="1504"/>
                  </a:lnTo>
                  <a:lnTo>
                    <a:pt x="529" y="1513"/>
                  </a:lnTo>
                  <a:lnTo>
                    <a:pt x="528" y="1523"/>
                  </a:lnTo>
                  <a:lnTo>
                    <a:pt x="524" y="1527"/>
                  </a:lnTo>
                  <a:lnTo>
                    <a:pt x="522" y="1535"/>
                  </a:lnTo>
                  <a:lnTo>
                    <a:pt x="517" y="1540"/>
                  </a:lnTo>
                  <a:lnTo>
                    <a:pt x="514" y="1547"/>
                  </a:lnTo>
                  <a:lnTo>
                    <a:pt x="512" y="1548"/>
                  </a:lnTo>
                  <a:lnTo>
                    <a:pt x="505" y="1544"/>
                  </a:lnTo>
                  <a:lnTo>
                    <a:pt x="504" y="1545"/>
                  </a:lnTo>
                  <a:lnTo>
                    <a:pt x="504" y="1546"/>
                  </a:lnTo>
                  <a:lnTo>
                    <a:pt x="508" y="1548"/>
                  </a:lnTo>
                  <a:lnTo>
                    <a:pt x="513" y="1554"/>
                  </a:lnTo>
                  <a:lnTo>
                    <a:pt x="518" y="1553"/>
                  </a:lnTo>
                  <a:lnTo>
                    <a:pt x="525" y="1549"/>
                  </a:lnTo>
                  <a:lnTo>
                    <a:pt x="528" y="1548"/>
                  </a:lnTo>
                  <a:lnTo>
                    <a:pt x="539" y="1550"/>
                  </a:lnTo>
                  <a:lnTo>
                    <a:pt x="542" y="1553"/>
                  </a:lnTo>
                  <a:lnTo>
                    <a:pt x="542" y="1557"/>
                  </a:lnTo>
                  <a:lnTo>
                    <a:pt x="540" y="1560"/>
                  </a:lnTo>
                  <a:lnTo>
                    <a:pt x="538" y="1560"/>
                  </a:lnTo>
                  <a:lnTo>
                    <a:pt x="532" y="1558"/>
                  </a:lnTo>
                  <a:lnTo>
                    <a:pt x="531" y="1559"/>
                  </a:lnTo>
                  <a:lnTo>
                    <a:pt x="529" y="1561"/>
                  </a:lnTo>
                  <a:lnTo>
                    <a:pt x="526" y="1575"/>
                  </a:lnTo>
                  <a:lnTo>
                    <a:pt x="527" y="1577"/>
                  </a:lnTo>
                  <a:lnTo>
                    <a:pt x="531" y="1579"/>
                  </a:lnTo>
                  <a:lnTo>
                    <a:pt x="530" y="1580"/>
                  </a:lnTo>
                  <a:lnTo>
                    <a:pt x="526" y="1581"/>
                  </a:lnTo>
                  <a:lnTo>
                    <a:pt x="517" y="1579"/>
                  </a:lnTo>
                  <a:lnTo>
                    <a:pt x="513" y="1581"/>
                  </a:lnTo>
                  <a:lnTo>
                    <a:pt x="510" y="1585"/>
                  </a:lnTo>
                  <a:lnTo>
                    <a:pt x="509" y="1590"/>
                  </a:lnTo>
                  <a:lnTo>
                    <a:pt x="510" y="1597"/>
                  </a:lnTo>
                  <a:lnTo>
                    <a:pt x="513" y="1602"/>
                  </a:lnTo>
                  <a:lnTo>
                    <a:pt x="519" y="1603"/>
                  </a:lnTo>
                  <a:lnTo>
                    <a:pt x="519" y="1605"/>
                  </a:lnTo>
                  <a:lnTo>
                    <a:pt x="519" y="1606"/>
                  </a:lnTo>
                  <a:lnTo>
                    <a:pt x="512" y="1606"/>
                  </a:lnTo>
                  <a:lnTo>
                    <a:pt x="508" y="1608"/>
                  </a:lnTo>
                  <a:lnTo>
                    <a:pt x="500" y="1611"/>
                  </a:lnTo>
                  <a:lnTo>
                    <a:pt x="492" y="1608"/>
                  </a:lnTo>
                  <a:lnTo>
                    <a:pt x="479" y="1611"/>
                  </a:lnTo>
                  <a:lnTo>
                    <a:pt x="481" y="1607"/>
                  </a:lnTo>
                  <a:lnTo>
                    <a:pt x="482" y="1605"/>
                  </a:lnTo>
                  <a:lnTo>
                    <a:pt x="497" y="1590"/>
                  </a:lnTo>
                  <a:lnTo>
                    <a:pt x="504" y="1584"/>
                  </a:lnTo>
                  <a:lnTo>
                    <a:pt x="507" y="1579"/>
                  </a:lnTo>
                  <a:lnTo>
                    <a:pt x="507" y="1577"/>
                  </a:lnTo>
                  <a:lnTo>
                    <a:pt x="504" y="1575"/>
                  </a:lnTo>
                  <a:lnTo>
                    <a:pt x="496" y="1576"/>
                  </a:lnTo>
                  <a:lnTo>
                    <a:pt x="491" y="1578"/>
                  </a:lnTo>
                  <a:lnTo>
                    <a:pt x="486" y="1577"/>
                  </a:lnTo>
                  <a:lnTo>
                    <a:pt x="484" y="1576"/>
                  </a:lnTo>
                  <a:lnTo>
                    <a:pt x="485" y="1572"/>
                  </a:lnTo>
                  <a:lnTo>
                    <a:pt x="491" y="1565"/>
                  </a:lnTo>
                  <a:lnTo>
                    <a:pt x="490" y="1561"/>
                  </a:lnTo>
                  <a:lnTo>
                    <a:pt x="487" y="1557"/>
                  </a:lnTo>
                  <a:lnTo>
                    <a:pt x="487" y="1554"/>
                  </a:lnTo>
                  <a:lnTo>
                    <a:pt x="494" y="1546"/>
                  </a:lnTo>
                  <a:lnTo>
                    <a:pt x="500" y="1542"/>
                  </a:lnTo>
                  <a:lnTo>
                    <a:pt x="501" y="1540"/>
                  </a:lnTo>
                  <a:lnTo>
                    <a:pt x="499" y="1539"/>
                  </a:lnTo>
                  <a:lnTo>
                    <a:pt x="492" y="1542"/>
                  </a:lnTo>
                  <a:lnTo>
                    <a:pt x="486" y="1551"/>
                  </a:lnTo>
                  <a:lnTo>
                    <a:pt x="484" y="1552"/>
                  </a:lnTo>
                  <a:lnTo>
                    <a:pt x="479" y="1552"/>
                  </a:lnTo>
                  <a:lnTo>
                    <a:pt x="476" y="1551"/>
                  </a:lnTo>
                  <a:lnTo>
                    <a:pt x="473" y="1546"/>
                  </a:lnTo>
                  <a:lnTo>
                    <a:pt x="471" y="1542"/>
                  </a:lnTo>
                  <a:lnTo>
                    <a:pt x="467" y="1545"/>
                  </a:lnTo>
                  <a:lnTo>
                    <a:pt x="468" y="1547"/>
                  </a:lnTo>
                  <a:lnTo>
                    <a:pt x="473" y="1550"/>
                  </a:lnTo>
                  <a:lnTo>
                    <a:pt x="473" y="1552"/>
                  </a:lnTo>
                  <a:lnTo>
                    <a:pt x="472" y="1554"/>
                  </a:lnTo>
                  <a:lnTo>
                    <a:pt x="464" y="1557"/>
                  </a:lnTo>
                  <a:lnTo>
                    <a:pt x="461" y="1560"/>
                  </a:lnTo>
                  <a:lnTo>
                    <a:pt x="461" y="1565"/>
                  </a:lnTo>
                  <a:lnTo>
                    <a:pt x="465" y="1577"/>
                  </a:lnTo>
                  <a:lnTo>
                    <a:pt x="464" y="1585"/>
                  </a:lnTo>
                  <a:lnTo>
                    <a:pt x="465" y="1588"/>
                  </a:lnTo>
                  <a:lnTo>
                    <a:pt x="467" y="1590"/>
                  </a:lnTo>
                  <a:lnTo>
                    <a:pt x="468" y="1592"/>
                  </a:lnTo>
                  <a:lnTo>
                    <a:pt x="467" y="1594"/>
                  </a:lnTo>
                  <a:lnTo>
                    <a:pt x="458" y="1602"/>
                  </a:lnTo>
                  <a:lnTo>
                    <a:pt x="456" y="1603"/>
                  </a:lnTo>
                  <a:lnTo>
                    <a:pt x="454" y="1602"/>
                  </a:lnTo>
                  <a:lnTo>
                    <a:pt x="454" y="1588"/>
                  </a:lnTo>
                  <a:lnTo>
                    <a:pt x="456" y="1580"/>
                  </a:lnTo>
                  <a:lnTo>
                    <a:pt x="451" y="1576"/>
                  </a:lnTo>
                  <a:lnTo>
                    <a:pt x="449" y="1577"/>
                  </a:lnTo>
                  <a:lnTo>
                    <a:pt x="446" y="1584"/>
                  </a:lnTo>
                  <a:lnTo>
                    <a:pt x="449" y="1593"/>
                  </a:lnTo>
                  <a:lnTo>
                    <a:pt x="450" y="1598"/>
                  </a:lnTo>
                  <a:lnTo>
                    <a:pt x="436" y="1600"/>
                  </a:lnTo>
                  <a:lnTo>
                    <a:pt x="436" y="1600"/>
                  </a:lnTo>
                  <a:lnTo>
                    <a:pt x="424" y="1597"/>
                  </a:lnTo>
                  <a:lnTo>
                    <a:pt x="412" y="1592"/>
                  </a:lnTo>
                  <a:lnTo>
                    <a:pt x="404" y="1587"/>
                  </a:lnTo>
                  <a:lnTo>
                    <a:pt x="399" y="1583"/>
                  </a:lnTo>
                  <a:lnTo>
                    <a:pt x="392" y="1572"/>
                  </a:lnTo>
                  <a:lnTo>
                    <a:pt x="381" y="1545"/>
                  </a:lnTo>
                  <a:lnTo>
                    <a:pt x="369" y="1525"/>
                  </a:lnTo>
                  <a:lnTo>
                    <a:pt x="365" y="1507"/>
                  </a:lnTo>
                  <a:lnTo>
                    <a:pt x="368" y="1478"/>
                  </a:lnTo>
                  <a:lnTo>
                    <a:pt x="359" y="1460"/>
                  </a:lnTo>
                  <a:lnTo>
                    <a:pt x="363" y="1442"/>
                  </a:lnTo>
                  <a:lnTo>
                    <a:pt x="373" y="1422"/>
                  </a:lnTo>
                  <a:lnTo>
                    <a:pt x="373" y="1418"/>
                  </a:lnTo>
                  <a:lnTo>
                    <a:pt x="369" y="1412"/>
                  </a:lnTo>
                  <a:lnTo>
                    <a:pt x="363" y="1404"/>
                  </a:lnTo>
                  <a:lnTo>
                    <a:pt x="360" y="1400"/>
                  </a:lnTo>
                  <a:lnTo>
                    <a:pt x="358" y="1395"/>
                  </a:lnTo>
                  <a:lnTo>
                    <a:pt x="356" y="1382"/>
                  </a:lnTo>
                  <a:lnTo>
                    <a:pt x="348" y="1376"/>
                  </a:lnTo>
                  <a:lnTo>
                    <a:pt x="343" y="1352"/>
                  </a:lnTo>
                  <a:lnTo>
                    <a:pt x="328" y="1340"/>
                  </a:lnTo>
                  <a:lnTo>
                    <a:pt x="324" y="1320"/>
                  </a:lnTo>
                  <a:lnTo>
                    <a:pt x="319" y="1315"/>
                  </a:lnTo>
                  <a:lnTo>
                    <a:pt x="305" y="1305"/>
                  </a:lnTo>
                  <a:lnTo>
                    <a:pt x="301" y="1299"/>
                  </a:lnTo>
                  <a:lnTo>
                    <a:pt x="299" y="1293"/>
                  </a:lnTo>
                  <a:lnTo>
                    <a:pt x="301" y="1284"/>
                  </a:lnTo>
                  <a:lnTo>
                    <a:pt x="310" y="1264"/>
                  </a:lnTo>
                  <a:lnTo>
                    <a:pt x="307" y="1259"/>
                  </a:lnTo>
                  <a:lnTo>
                    <a:pt x="301" y="1256"/>
                  </a:lnTo>
                  <a:lnTo>
                    <a:pt x="293" y="1257"/>
                  </a:lnTo>
                  <a:lnTo>
                    <a:pt x="270" y="1264"/>
                  </a:lnTo>
                  <a:lnTo>
                    <a:pt x="251" y="1270"/>
                  </a:lnTo>
                  <a:lnTo>
                    <a:pt x="220" y="1281"/>
                  </a:lnTo>
                  <a:lnTo>
                    <a:pt x="215" y="1282"/>
                  </a:lnTo>
                  <a:lnTo>
                    <a:pt x="211" y="1280"/>
                  </a:lnTo>
                  <a:lnTo>
                    <a:pt x="208" y="1277"/>
                  </a:lnTo>
                  <a:lnTo>
                    <a:pt x="204" y="1261"/>
                  </a:lnTo>
                  <a:lnTo>
                    <a:pt x="201" y="1256"/>
                  </a:lnTo>
                  <a:lnTo>
                    <a:pt x="183" y="1240"/>
                  </a:lnTo>
                  <a:lnTo>
                    <a:pt x="164" y="1222"/>
                  </a:lnTo>
                  <a:lnTo>
                    <a:pt x="164" y="1220"/>
                  </a:lnTo>
                  <a:lnTo>
                    <a:pt x="170" y="1210"/>
                  </a:lnTo>
                  <a:lnTo>
                    <a:pt x="169" y="1205"/>
                  </a:lnTo>
                  <a:lnTo>
                    <a:pt x="167" y="1203"/>
                  </a:lnTo>
                  <a:lnTo>
                    <a:pt x="162" y="1202"/>
                  </a:lnTo>
                  <a:lnTo>
                    <a:pt x="159" y="1203"/>
                  </a:lnTo>
                  <a:lnTo>
                    <a:pt x="137" y="1228"/>
                  </a:lnTo>
                  <a:lnTo>
                    <a:pt x="134" y="1229"/>
                  </a:lnTo>
                  <a:lnTo>
                    <a:pt x="126" y="1230"/>
                  </a:lnTo>
                  <a:lnTo>
                    <a:pt x="123" y="1229"/>
                  </a:lnTo>
                  <a:lnTo>
                    <a:pt x="122" y="1228"/>
                  </a:lnTo>
                  <a:lnTo>
                    <a:pt x="122" y="1218"/>
                  </a:lnTo>
                  <a:lnTo>
                    <a:pt x="115" y="1217"/>
                  </a:lnTo>
                  <a:lnTo>
                    <a:pt x="112" y="1215"/>
                  </a:lnTo>
                  <a:lnTo>
                    <a:pt x="107" y="1203"/>
                  </a:lnTo>
                  <a:lnTo>
                    <a:pt x="105" y="1202"/>
                  </a:lnTo>
                  <a:lnTo>
                    <a:pt x="99" y="1203"/>
                  </a:lnTo>
                  <a:lnTo>
                    <a:pt x="89" y="1209"/>
                  </a:lnTo>
                  <a:lnTo>
                    <a:pt x="77" y="1213"/>
                  </a:lnTo>
                  <a:lnTo>
                    <a:pt x="62" y="1207"/>
                  </a:lnTo>
                  <a:lnTo>
                    <a:pt x="52" y="1201"/>
                  </a:lnTo>
                  <a:lnTo>
                    <a:pt x="40" y="1197"/>
                  </a:lnTo>
                  <a:lnTo>
                    <a:pt x="23" y="1193"/>
                  </a:lnTo>
                  <a:lnTo>
                    <a:pt x="15" y="1193"/>
                  </a:lnTo>
                  <a:lnTo>
                    <a:pt x="10" y="1194"/>
                  </a:lnTo>
                  <a:lnTo>
                    <a:pt x="10" y="1194"/>
                  </a:lnTo>
                  <a:lnTo>
                    <a:pt x="7" y="1184"/>
                  </a:lnTo>
                  <a:lnTo>
                    <a:pt x="7" y="1177"/>
                  </a:lnTo>
                  <a:lnTo>
                    <a:pt x="8" y="1176"/>
                  </a:lnTo>
                  <a:lnTo>
                    <a:pt x="16" y="1177"/>
                  </a:lnTo>
                  <a:lnTo>
                    <a:pt x="17" y="1175"/>
                  </a:lnTo>
                  <a:lnTo>
                    <a:pt x="16" y="1173"/>
                  </a:lnTo>
                  <a:lnTo>
                    <a:pt x="6" y="1163"/>
                  </a:lnTo>
                  <a:lnTo>
                    <a:pt x="12" y="1152"/>
                  </a:lnTo>
                  <a:lnTo>
                    <a:pt x="18" y="1147"/>
                  </a:lnTo>
                  <a:lnTo>
                    <a:pt x="20" y="1145"/>
                  </a:lnTo>
                  <a:lnTo>
                    <a:pt x="17" y="1140"/>
                  </a:lnTo>
                  <a:lnTo>
                    <a:pt x="8" y="1132"/>
                  </a:lnTo>
                  <a:lnTo>
                    <a:pt x="3" y="1122"/>
                  </a:lnTo>
                  <a:lnTo>
                    <a:pt x="0" y="1112"/>
                  </a:lnTo>
                  <a:lnTo>
                    <a:pt x="0" y="1100"/>
                  </a:lnTo>
                  <a:lnTo>
                    <a:pt x="1" y="1097"/>
                  </a:lnTo>
                  <a:lnTo>
                    <a:pt x="4" y="1094"/>
                  </a:lnTo>
                  <a:lnTo>
                    <a:pt x="32" y="1071"/>
                  </a:lnTo>
                  <a:lnTo>
                    <a:pt x="37" y="1063"/>
                  </a:lnTo>
                  <a:lnTo>
                    <a:pt x="39" y="1056"/>
                  </a:lnTo>
                  <a:lnTo>
                    <a:pt x="38" y="1041"/>
                  </a:lnTo>
                  <a:lnTo>
                    <a:pt x="42" y="1025"/>
                  </a:lnTo>
                  <a:lnTo>
                    <a:pt x="41" y="1002"/>
                  </a:lnTo>
                  <a:lnTo>
                    <a:pt x="52" y="977"/>
                  </a:lnTo>
                  <a:lnTo>
                    <a:pt x="51" y="958"/>
                  </a:lnTo>
                  <a:lnTo>
                    <a:pt x="54" y="934"/>
                  </a:lnTo>
                  <a:lnTo>
                    <a:pt x="61" y="918"/>
                  </a:lnTo>
                  <a:lnTo>
                    <a:pt x="67" y="910"/>
                  </a:lnTo>
                  <a:lnTo>
                    <a:pt x="70" y="907"/>
                  </a:lnTo>
                  <a:lnTo>
                    <a:pt x="75" y="907"/>
                  </a:lnTo>
                  <a:lnTo>
                    <a:pt x="81" y="912"/>
                  </a:lnTo>
                  <a:lnTo>
                    <a:pt x="84" y="911"/>
                  </a:lnTo>
                  <a:lnTo>
                    <a:pt x="84" y="906"/>
                  </a:lnTo>
                  <a:lnTo>
                    <a:pt x="81" y="901"/>
                  </a:lnTo>
                  <a:lnTo>
                    <a:pt x="68" y="885"/>
                  </a:lnTo>
                  <a:lnTo>
                    <a:pt x="68" y="870"/>
                  </a:lnTo>
                  <a:lnTo>
                    <a:pt x="70" y="867"/>
                  </a:lnTo>
                  <a:lnTo>
                    <a:pt x="74" y="864"/>
                  </a:lnTo>
                  <a:lnTo>
                    <a:pt x="107" y="855"/>
                  </a:lnTo>
                  <a:lnTo>
                    <a:pt x="114" y="850"/>
                  </a:lnTo>
                  <a:lnTo>
                    <a:pt x="118" y="847"/>
                  </a:lnTo>
                  <a:lnTo>
                    <a:pt x="125" y="841"/>
                  </a:lnTo>
                  <a:lnTo>
                    <a:pt x="151" y="802"/>
                  </a:lnTo>
                  <a:lnTo>
                    <a:pt x="163" y="791"/>
                  </a:lnTo>
                  <a:lnTo>
                    <a:pt x="167" y="780"/>
                  </a:lnTo>
                  <a:lnTo>
                    <a:pt x="167" y="771"/>
                  </a:lnTo>
                  <a:lnTo>
                    <a:pt x="166" y="769"/>
                  </a:lnTo>
                  <a:lnTo>
                    <a:pt x="163" y="769"/>
                  </a:lnTo>
                  <a:lnTo>
                    <a:pt x="150" y="769"/>
                  </a:lnTo>
                  <a:lnTo>
                    <a:pt x="147" y="766"/>
                  </a:lnTo>
                  <a:lnTo>
                    <a:pt x="144" y="760"/>
                  </a:lnTo>
                  <a:lnTo>
                    <a:pt x="144" y="752"/>
                  </a:lnTo>
                  <a:lnTo>
                    <a:pt x="144" y="742"/>
                  </a:lnTo>
                  <a:lnTo>
                    <a:pt x="146" y="735"/>
                  </a:lnTo>
                  <a:lnTo>
                    <a:pt x="151" y="724"/>
                  </a:lnTo>
                  <a:lnTo>
                    <a:pt x="159" y="710"/>
                  </a:lnTo>
                  <a:lnTo>
                    <a:pt x="171" y="694"/>
                  </a:lnTo>
                  <a:lnTo>
                    <a:pt x="175" y="691"/>
                  </a:lnTo>
                  <a:lnTo>
                    <a:pt x="179" y="690"/>
                  </a:lnTo>
                  <a:lnTo>
                    <a:pt x="190" y="696"/>
                  </a:lnTo>
                  <a:lnTo>
                    <a:pt x="195" y="696"/>
                  </a:lnTo>
                  <a:lnTo>
                    <a:pt x="198" y="694"/>
                  </a:lnTo>
                  <a:lnTo>
                    <a:pt x="200" y="686"/>
                  </a:lnTo>
                  <a:lnTo>
                    <a:pt x="202" y="673"/>
                  </a:lnTo>
                  <a:lnTo>
                    <a:pt x="200" y="662"/>
                  </a:lnTo>
                  <a:lnTo>
                    <a:pt x="186" y="643"/>
                  </a:lnTo>
                  <a:lnTo>
                    <a:pt x="172" y="610"/>
                  </a:lnTo>
                  <a:lnTo>
                    <a:pt x="166" y="598"/>
                  </a:lnTo>
                  <a:lnTo>
                    <a:pt x="164" y="592"/>
                  </a:lnTo>
                  <a:lnTo>
                    <a:pt x="164" y="586"/>
                  </a:lnTo>
                  <a:lnTo>
                    <a:pt x="169" y="575"/>
                  </a:lnTo>
                  <a:lnTo>
                    <a:pt x="170" y="570"/>
                  </a:lnTo>
                  <a:lnTo>
                    <a:pt x="170" y="563"/>
                  </a:lnTo>
                  <a:lnTo>
                    <a:pt x="168" y="553"/>
                  </a:lnTo>
                  <a:lnTo>
                    <a:pt x="171" y="543"/>
                  </a:lnTo>
                  <a:lnTo>
                    <a:pt x="176" y="533"/>
                  </a:lnTo>
                  <a:lnTo>
                    <a:pt x="184" y="521"/>
                  </a:lnTo>
                  <a:lnTo>
                    <a:pt x="197" y="503"/>
                  </a:lnTo>
                  <a:lnTo>
                    <a:pt x="205" y="496"/>
                  </a:lnTo>
                  <a:lnTo>
                    <a:pt x="229" y="489"/>
                  </a:lnTo>
                  <a:lnTo>
                    <a:pt x="260" y="476"/>
                  </a:lnTo>
                  <a:lnTo>
                    <a:pt x="278" y="473"/>
                  </a:lnTo>
                  <a:lnTo>
                    <a:pt x="287" y="467"/>
                  </a:lnTo>
                  <a:lnTo>
                    <a:pt x="297" y="458"/>
                  </a:lnTo>
                  <a:lnTo>
                    <a:pt x="305" y="450"/>
                  </a:lnTo>
                  <a:lnTo>
                    <a:pt x="312" y="442"/>
                  </a:lnTo>
                  <a:lnTo>
                    <a:pt x="343" y="388"/>
                  </a:lnTo>
                  <a:lnTo>
                    <a:pt x="343" y="383"/>
                  </a:lnTo>
                  <a:lnTo>
                    <a:pt x="342" y="380"/>
                  </a:lnTo>
                  <a:lnTo>
                    <a:pt x="332" y="370"/>
                  </a:lnTo>
                  <a:lnTo>
                    <a:pt x="325" y="355"/>
                  </a:lnTo>
                  <a:lnTo>
                    <a:pt x="328" y="337"/>
                  </a:lnTo>
                  <a:lnTo>
                    <a:pt x="328" y="332"/>
                  </a:lnTo>
                  <a:lnTo>
                    <a:pt x="327" y="328"/>
                  </a:lnTo>
                  <a:lnTo>
                    <a:pt x="312" y="300"/>
                  </a:lnTo>
                  <a:lnTo>
                    <a:pt x="303" y="293"/>
                  </a:lnTo>
                  <a:lnTo>
                    <a:pt x="297" y="298"/>
                  </a:lnTo>
                  <a:lnTo>
                    <a:pt x="295" y="296"/>
                  </a:lnTo>
                  <a:lnTo>
                    <a:pt x="292" y="292"/>
                  </a:lnTo>
                  <a:lnTo>
                    <a:pt x="291" y="290"/>
                  </a:lnTo>
                  <a:lnTo>
                    <a:pt x="291" y="285"/>
                  </a:lnTo>
                  <a:lnTo>
                    <a:pt x="292" y="272"/>
                  </a:lnTo>
                  <a:lnTo>
                    <a:pt x="293" y="271"/>
                  </a:lnTo>
                  <a:lnTo>
                    <a:pt x="295" y="271"/>
                  </a:lnTo>
                  <a:lnTo>
                    <a:pt x="303" y="276"/>
                  </a:lnTo>
                  <a:lnTo>
                    <a:pt x="306" y="276"/>
                  </a:lnTo>
                  <a:lnTo>
                    <a:pt x="307" y="275"/>
                  </a:lnTo>
                  <a:lnTo>
                    <a:pt x="309" y="271"/>
                  </a:lnTo>
                  <a:lnTo>
                    <a:pt x="312" y="268"/>
                  </a:lnTo>
                  <a:lnTo>
                    <a:pt x="328" y="265"/>
                  </a:lnTo>
                  <a:lnTo>
                    <a:pt x="342" y="258"/>
                  </a:lnTo>
                  <a:lnTo>
                    <a:pt x="355" y="239"/>
                  </a:lnTo>
                  <a:lnTo>
                    <a:pt x="364" y="219"/>
                  </a:lnTo>
                  <a:lnTo>
                    <a:pt x="366" y="207"/>
                  </a:lnTo>
                  <a:lnTo>
                    <a:pt x="364" y="193"/>
                  </a:lnTo>
                  <a:lnTo>
                    <a:pt x="367" y="184"/>
                  </a:lnTo>
                  <a:lnTo>
                    <a:pt x="379" y="181"/>
                  </a:lnTo>
                  <a:lnTo>
                    <a:pt x="394" y="174"/>
                  </a:lnTo>
                  <a:lnTo>
                    <a:pt x="403" y="167"/>
                  </a:lnTo>
                  <a:lnTo>
                    <a:pt x="432" y="144"/>
                  </a:lnTo>
                  <a:lnTo>
                    <a:pt x="435" y="145"/>
                  </a:lnTo>
                  <a:lnTo>
                    <a:pt x="439" y="147"/>
                  </a:lnTo>
                  <a:lnTo>
                    <a:pt x="458" y="173"/>
                  </a:lnTo>
                  <a:lnTo>
                    <a:pt x="469" y="182"/>
                  </a:lnTo>
                  <a:lnTo>
                    <a:pt x="489" y="194"/>
                  </a:lnTo>
                  <a:lnTo>
                    <a:pt x="496" y="195"/>
                  </a:lnTo>
                  <a:lnTo>
                    <a:pt x="503" y="194"/>
                  </a:lnTo>
                  <a:lnTo>
                    <a:pt x="505" y="189"/>
                  </a:lnTo>
                  <a:lnTo>
                    <a:pt x="505" y="179"/>
                  </a:lnTo>
                  <a:lnTo>
                    <a:pt x="506" y="174"/>
                  </a:lnTo>
                  <a:lnTo>
                    <a:pt x="513" y="164"/>
                  </a:lnTo>
                  <a:lnTo>
                    <a:pt x="521" y="155"/>
                  </a:lnTo>
                  <a:lnTo>
                    <a:pt x="549" y="138"/>
                  </a:lnTo>
                  <a:lnTo>
                    <a:pt x="560" y="132"/>
                  </a:lnTo>
                  <a:lnTo>
                    <a:pt x="575" y="130"/>
                  </a:lnTo>
                  <a:lnTo>
                    <a:pt x="591" y="132"/>
                  </a:lnTo>
                  <a:lnTo>
                    <a:pt x="597" y="132"/>
                  </a:lnTo>
                  <a:lnTo>
                    <a:pt x="604" y="115"/>
                  </a:lnTo>
                  <a:lnTo>
                    <a:pt x="613" y="107"/>
                  </a:lnTo>
                  <a:lnTo>
                    <a:pt x="627" y="99"/>
                  </a:lnTo>
                  <a:lnTo>
                    <a:pt x="659" y="86"/>
                  </a:lnTo>
                  <a:lnTo>
                    <a:pt x="667" y="81"/>
                  </a:lnTo>
                  <a:lnTo>
                    <a:pt x="670" y="77"/>
                  </a:lnTo>
                  <a:lnTo>
                    <a:pt x="671" y="72"/>
                  </a:lnTo>
                  <a:lnTo>
                    <a:pt x="669" y="59"/>
                  </a:lnTo>
                  <a:lnTo>
                    <a:pt x="668" y="55"/>
                  </a:lnTo>
                  <a:lnTo>
                    <a:pt x="657" y="47"/>
                  </a:lnTo>
                  <a:lnTo>
                    <a:pt x="657" y="37"/>
                  </a:lnTo>
                  <a:lnTo>
                    <a:pt x="658" y="35"/>
                  </a:lnTo>
                  <a:lnTo>
                    <a:pt x="664" y="31"/>
                  </a:lnTo>
                  <a:lnTo>
                    <a:pt x="681" y="21"/>
                  </a:lnTo>
                  <a:lnTo>
                    <a:pt x="681" y="21"/>
                  </a:lnTo>
                  <a:lnTo>
                    <a:pt x="688" y="30"/>
                  </a:lnTo>
                  <a:lnTo>
                    <a:pt x="695" y="36"/>
                  </a:lnTo>
                  <a:lnTo>
                    <a:pt x="700" y="37"/>
                  </a:lnTo>
                  <a:lnTo>
                    <a:pt x="707" y="37"/>
                  </a:lnTo>
                  <a:lnTo>
                    <a:pt x="710" y="34"/>
                  </a:lnTo>
                  <a:lnTo>
                    <a:pt x="711" y="27"/>
                  </a:lnTo>
                  <a:lnTo>
                    <a:pt x="712" y="25"/>
                  </a:lnTo>
                  <a:lnTo>
                    <a:pt x="721" y="21"/>
                  </a:lnTo>
                  <a:lnTo>
                    <a:pt x="728" y="20"/>
                  </a:lnTo>
                  <a:lnTo>
                    <a:pt x="742" y="25"/>
                  </a:lnTo>
                  <a:lnTo>
                    <a:pt x="749" y="25"/>
                  </a:lnTo>
                  <a:lnTo>
                    <a:pt x="753" y="20"/>
                  </a:lnTo>
                  <a:lnTo>
                    <a:pt x="760" y="4"/>
                  </a:lnTo>
                  <a:lnTo>
                    <a:pt x="763" y="1"/>
                  </a:lnTo>
                  <a:lnTo>
                    <a:pt x="765" y="0"/>
                  </a:lnTo>
                  <a:lnTo>
                    <a:pt x="770" y="3"/>
                  </a:lnTo>
                  <a:lnTo>
                    <a:pt x="774" y="14"/>
                  </a:lnTo>
                  <a:lnTo>
                    <a:pt x="778" y="20"/>
                  </a:lnTo>
                  <a:lnTo>
                    <a:pt x="789" y="16"/>
                  </a:lnTo>
                  <a:lnTo>
                    <a:pt x="796" y="17"/>
                  </a:lnTo>
                  <a:lnTo>
                    <a:pt x="800" y="19"/>
                  </a:lnTo>
                  <a:lnTo>
                    <a:pt x="800" y="23"/>
                  </a:lnTo>
                  <a:lnTo>
                    <a:pt x="793" y="35"/>
                  </a:lnTo>
                  <a:lnTo>
                    <a:pt x="791" y="43"/>
                  </a:lnTo>
                  <a:lnTo>
                    <a:pt x="793" y="45"/>
                  </a:lnTo>
                  <a:lnTo>
                    <a:pt x="803" y="50"/>
                  </a:lnTo>
                  <a:lnTo>
                    <a:pt x="805" y="51"/>
                  </a:lnTo>
                  <a:lnTo>
                    <a:pt x="805" y="54"/>
                  </a:lnTo>
                  <a:lnTo>
                    <a:pt x="801" y="60"/>
                  </a:lnTo>
                  <a:lnTo>
                    <a:pt x="785" y="78"/>
                  </a:lnTo>
                  <a:lnTo>
                    <a:pt x="783" y="83"/>
                  </a:lnTo>
                  <a:lnTo>
                    <a:pt x="781" y="91"/>
                  </a:lnTo>
                  <a:lnTo>
                    <a:pt x="782" y="111"/>
                  </a:lnTo>
                  <a:lnTo>
                    <a:pt x="788" y="122"/>
                  </a:lnTo>
                  <a:lnTo>
                    <a:pt x="798" y="133"/>
                  </a:lnTo>
                  <a:lnTo>
                    <a:pt x="824" y="164"/>
                  </a:lnTo>
                  <a:lnTo>
                    <a:pt x="833" y="178"/>
                  </a:lnTo>
                  <a:lnTo>
                    <a:pt x="838" y="188"/>
                  </a:lnTo>
                  <a:lnTo>
                    <a:pt x="838" y="191"/>
                  </a:lnTo>
                  <a:lnTo>
                    <a:pt x="831" y="197"/>
                  </a:lnTo>
                  <a:lnTo>
                    <a:pt x="831" y="202"/>
                  </a:lnTo>
                  <a:lnTo>
                    <a:pt x="832" y="206"/>
                  </a:lnTo>
                  <a:lnTo>
                    <a:pt x="845" y="230"/>
                  </a:lnTo>
                  <a:lnTo>
                    <a:pt x="846" y="240"/>
                  </a:lnTo>
                  <a:lnTo>
                    <a:pt x="838" y="256"/>
                  </a:lnTo>
                  <a:lnTo>
                    <a:pt x="844" y="271"/>
                  </a:lnTo>
                  <a:lnTo>
                    <a:pt x="848" y="274"/>
                  </a:lnTo>
                  <a:lnTo>
                    <a:pt x="853" y="275"/>
                  </a:lnTo>
                  <a:lnTo>
                    <a:pt x="865" y="274"/>
                  </a:lnTo>
                  <a:lnTo>
                    <a:pt x="872" y="268"/>
                  </a:lnTo>
                  <a:lnTo>
                    <a:pt x="885" y="274"/>
                  </a:lnTo>
                  <a:lnTo>
                    <a:pt x="889" y="275"/>
                  </a:lnTo>
                  <a:lnTo>
                    <a:pt x="896" y="274"/>
                  </a:lnTo>
                  <a:lnTo>
                    <a:pt x="907" y="272"/>
                  </a:lnTo>
                  <a:lnTo>
                    <a:pt x="913" y="271"/>
                  </a:lnTo>
                  <a:lnTo>
                    <a:pt x="916" y="272"/>
                  </a:lnTo>
                  <a:lnTo>
                    <a:pt x="920" y="283"/>
                  </a:lnTo>
                  <a:lnTo>
                    <a:pt x="921" y="284"/>
                  </a:lnTo>
                  <a:lnTo>
                    <a:pt x="939" y="288"/>
                  </a:lnTo>
                  <a:lnTo>
                    <a:pt x="945" y="287"/>
                  </a:lnTo>
                  <a:lnTo>
                    <a:pt x="959" y="280"/>
                  </a:lnTo>
                  <a:lnTo>
                    <a:pt x="973" y="270"/>
                  </a:lnTo>
                  <a:lnTo>
                    <a:pt x="980" y="260"/>
                  </a:lnTo>
                  <a:lnTo>
                    <a:pt x="985" y="249"/>
                  </a:lnTo>
                  <a:lnTo>
                    <a:pt x="989" y="244"/>
                  </a:lnTo>
                  <a:lnTo>
                    <a:pt x="997" y="244"/>
                  </a:lnTo>
                  <a:lnTo>
                    <a:pt x="1004" y="249"/>
                  </a:lnTo>
                  <a:lnTo>
                    <a:pt x="1009" y="250"/>
                  </a:lnTo>
                  <a:lnTo>
                    <a:pt x="1013" y="239"/>
                  </a:lnTo>
                  <a:lnTo>
                    <a:pt x="1019" y="214"/>
                  </a:lnTo>
                  <a:lnTo>
                    <a:pt x="1024" y="201"/>
                  </a:lnTo>
                  <a:lnTo>
                    <a:pt x="1041" y="196"/>
                  </a:lnTo>
                  <a:lnTo>
                    <a:pt x="1048" y="195"/>
                  </a:lnTo>
                  <a:lnTo>
                    <a:pt x="1053" y="196"/>
                  </a:lnTo>
                  <a:lnTo>
                    <a:pt x="1057" y="200"/>
                  </a:lnTo>
                  <a:lnTo>
                    <a:pt x="1060" y="210"/>
                  </a:lnTo>
                  <a:lnTo>
                    <a:pt x="1063" y="217"/>
                  </a:lnTo>
                  <a:lnTo>
                    <a:pt x="1081" y="242"/>
                  </a:lnTo>
                  <a:lnTo>
                    <a:pt x="1094" y="276"/>
                  </a:lnTo>
                  <a:lnTo>
                    <a:pt x="1099" y="287"/>
                  </a:lnTo>
                  <a:lnTo>
                    <a:pt x="1110" y="301"/>
                  </a:lnTo>
                  <a:lnTo>
                    <a:pt x="1114" y="311"/>
                  </a:lnTo>
                  <a:lnTo>
                    <a:pt x="1121" y="312"/>
                  </a:lnTo>
                  <a:lnTo>
                    <a:pt x="1125" y="311"/>
                  </a:lnTo>
                  <a:lnTo>
                    <a:pt x="1127" y="309"/>
                  </a:lnTo>
                  <a:lnTo>
                    <a:pt x="1131" y="305"/>
                  </a:lnTo>
                  <a:lnTo>
                    <a:pt x="1133" y="304"/>
                  </a:lnTo>
                  <a:lnTo>
                    <a:pt x="1143" y="305"/>
                  </a:lnTo>
                  <a:lnTo>
                    <a:pt x="1149" y="304"/>
                  </a:lnTo>
                  <a:lnTo>
                    <a:pt x="1156" y="298"/>
                  </a:lnTo>
                  <a:lnTo>
                    <a:pt x="1164" y="286"/>
                  </a:lnTo>
                  <a:lnTo>
                    <a:pt x="1171" y="281"/>
                  </a:lnTo>
                  <a:lnTo>
                    <a:pt x="1176" y="282"/>
                  </a:lnTo>
                  <a:lnTo>
                    <a:pt x="1185" y="288"/>
                  </a:lnTo>
                  <a:lnTo>
                    <a:pt x="1191" y="287"/>
                  </a:lnTo>
                  <a:lnTo>
                    <a:pt x="1194" y="285"/>
                  </a:lnTo>
                  <a:lnTo>
                    <a:pt x="1208" y="269"/>
                  </a:lnTo>
                  <a:lnTo>
                    <a:pt x="1216" y="263"/>
                  </a:lnTo>
                  <a:lnTo>
                    <a:pt x="1227" y="258"/>
                  </a:lnTo>
                  <a:lnTo>
                    <a:pt x="1243" y="257"/>
                  </a:lnTo>
                  <a:lnTo>
                    <a:pt x="1248" y="259"/>
                  </a:lnTo>
                  <a:lnTo>
                    <a:pt x="1253" y="265"/>
                  </a:lnTo>
                  <a:lnTo>
                    <a:pt x="1257" y="267"/>
                  </a:lnTo>
                  <a:lnTo>
                    <a:pt x="1267" y="262"/>
                  </a:lnTo>
                  <a:lnTo>
                    <a:pt x="1269" y="263"/>
                  </a:lnTo>
                  <a:lnTo>
                    <a:pt x="1272" y="264"/>
                  </a:lnTo>
                  <a:lnTo>
                    <a:pt x="1280" y="283"/>
                  </a:lnTo>
                  <a:lnTo>
                    <a:pt x="1287" y="290"/>
                  </a:lnTo>
                  <a:lnTo>
                    <a:pt x="1298" y="299"/>
                  </a:lnTo>
                  <a:lnTo>
                    <a:pt x="1301" y="304"/>
                  </a:lnTo>
                  <a:lnTo>
                    <a:pt x="1302" y="324"/>
                  </a:lnTo>
                  <a:lnTo>
                    <a:pt x="1310" y="335"/>
                  </a:lnTo>
                  <a:lnTo>
                    <a:pt x="1310" y="335"/>
                  </a:lnTo>
                  <a:lnTo>
                    <a:pt x="1310" y="335"/>
                  </a:lnTo>
                  <a:lnTo>
                    <a:pt x="1310" y="335"/>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4" name="Freeform 440">
              <a:extLst>
                <a:ext uri="{FF2B5EF4-FFF2-40B4-BE49-F238E27FC236}">
                  <a16:creationId xmlns:a16="http://schemas.microsoft.com/office/drawing/2014/main" id="{8ADC6B07-CBB8-AE92-2D36-F35350C99C39}"/>
                </a:ext>
              </a:extLst>
            </p:cNvPr>
            <p:cNvSpPr>
              <a:spLocks/>
            </p:cNvSpPr>
            <p:nvPr/>
          </p:nvSpPr>
          <p:spPr bwMode="auto">
            <a:xfrm>
              <a:off x="6307139" y="5324476"/>
              <a:ext cx="1223963" cy="933450"/>
            </a:xfrm>
            <a:custGeom>
              <a:avLst/>
              <a:gdLst>
                <a:gd name="T0" fmla="*/ 1278 w 2313"/>
                <a:gd name="T1" fmla="*/ 912 h 1762"/>
                <a:gd name="T2" fmla="*/ 1217 w 2313"/>
                <a:gd name="T3" fmla="*/ 986 h 1762"/>
                <a:gd name="T4" fmla="*/ 1213 w 2313"/>
                <a:gd name="T5" fmla="*/ 1094 h 1762"/>
                <a:gd name="T6" fmla="*/ 1122 w 2313"/>
                <a:gd name="T7" fmla="*/ 1150 h 1762"/>
                <a:gd name="T8" fmla="*/ 1077 w 2313"/>
                <a:gd name="T9" fmla="*/ 1102 h 1762"/>
                <a:gd name="T10" fmla="*/ 1008 w 2313"/>
                <a:gd name="T11" fmla="*/ 1200 h 1762"/>
                <a:gd name="T12" fmla="*/ 891 w 2313"/>
                <a:gd name="T13" fmla="*/ 1241 h 1762"/>
                <a:gd name="T14" fmla="*/ 884 w 2313"/>
                <a:gd name="T15" fmla="*/ 1191 h 1762"/>
                <a:gd name="T16" fmla="*/ 865 w 2313"/>
                <a:gd name="T17" fmla="*/ 1243 h 1762"/>
                <a:gd name="T18" fmla="*/ 796 w 2313"/>
                <a:gd name="T19" fmla="*/ 1237 h 1762"/>
                <a:gd name="T20" fmla="*/ 740 w 2313"/>
                <a:gd name="T21" fmla="*/ 1248 h 1762"/>
                <a:gd name="T22" fmla="*/ 689 w 2313"/>
                <a:gd name="T23" fmla="*/ 1299 h 1762"/>
                <a:gd name="T24" fmla="*/ 647 w 2313"/>
                <a:gd name="T25" fmla="*/ 1256 h 1762"/>
                <a:gd name="T26" fmla="*/ 607 w 2313"/>
                <a:gd name="T27" fmla="*/ 1325 h 1762"/>
                <a:gd name="T28" fmla="*/ 560 w 2313"/>
                <a:gd name="T29" fmla="*/ 1328 h 1762"/>
                <a:gd name="T30" fmla="*/ 493 w 2313"/>
                <a:gd name="T31" fmla="*/ 1336 h 1762"/>
                <a:gd name="T32" fmla="*/ 428 w 2313"/>
                <a:gd name="T33" fmla="*/ 1353 h 1762"/>
                <a:gd name="T34" fmla="*/ 347 w 2313"/>
                <a:gd name="T35" fmla="*/ 1363 h 1762"/>
                <a:gd name="T36" fmla="*/ 243 w 2313"/>
                <a:gd name="T37" fmla="*/ 1419 h 1762"/>
                <a:gd name="T38" fmla="*/ 251 w 2313"/>
                <a:gd name="T39" fmla="*/ 1375 h 1762"/>
                <a:gd name="T40" fmla="*/ 237 w 2313"/>
                <a:gd name="T41" fmla="*/ 1443 h 1762"/>
                <a:gd name="T42" fmla="*/ 254 w 2313"/>
                <a:gd name="T43" fmla="*/ 1514 h 1762"/>
                <a:gd name="T44" fmla="*/ 189 w 2313"/>
                <a:gd name="T45" fmla="*/ 1484 h 1762"/>
                <a:gd name="T46" fmla="*/ 169 w 2313"/>
                <a:gd name="T47" fmla="*/ 1509 h 1762"/>
                <a:gd name="T48" fmla="*/ 152 w 2313"/>
                <a:gd name="T49" fmla="*/ 1576 h 1762"/>
                <a:gd name="T50" fmla="*/ 202 w 2313"/>
                <a:gd name="T51" fmla="*/ 1594 h 1762"/>
                <a:gd name="T52" fmla="*/ 230 w 2313"/>
                <a:gd name="T53" fmla="*/ 1643 h 1762"/>
                <a:gd name="T54" fmla="*/ 178 w 2313"/>
                <a:gd name="T55" fmla="*/ 1752 h 1762"/>
                <a:gd name="T56" fmla="*/ 76 w 2313"/>
                <a:gd name="T57" fmla="*/ 1698 h 1762"/>
                <a:gd name="T58" fmla="*/ 86 w 2313"/>
                <a:gd name="T59" fmla="*/ 1669 h 1762"/>
                <a:gd name="T60" fmla="*/ 26 w 2313"/>
                <a:gd name="T61" fmla="*/ 1633 h 1762"/>
                <a:gd name="T62" fmla="*/ 22 w 2313"/>
                <a:gd name="T63" fmla="*/ 1575 h 1762"/>
                <a:gd name="T64" fmla="*/ 24 w 2313"/>
                <a:gd name="T65" fmla="*/ 1450 h 1762"/>
                <a:gd name="T66" fmla="*/ 89 w 2313"/>
                <a:gd name="T67" fmla="*/ 1364 h 1762"/>
                <a:gd name="T68" fmla="*/ 28 w 2313"/>
                <a:gd name="T69" fmla="*/ 1319 h 1762"/>
                <a:gd name="T70" fmla="*/ 214 w 2313"/>
                <a:gd name="T71" fmla="*/ 1126 h 1762"/>
                <a:gd name="T72" fmla="*/ 344 w 2313"/>
                <a:gd name="T73" fmla="*/ 992 h 1762"/>
                <a:gd name="T74" fmla="*/ 554 w 2313"/>
                <a:gd name="T75" fmla="*/ 679 h 1762"/>
                <a:gd name="T76" fmla="*/ 683 w 2313"/>
                <a:gd name="T77" fmla="*/ 442 h 1762"/>
                <a:gd name="T78" fmla="*/ 764 w 2313"/>
                <a:gd name="T79" fmla="*/ 133 h 1762"/>
                <a:gd name="T80" fmla="*/ 1014 w 2313"/>
                <a:gd name="T81" fmla="*/ 203 h 1762"/>
                <a:gd name="T82" fmla="*/ 1124 w 2313"/>
                <a:gd name="T83" fmla="*/ 32 h 1762"/>
                <a:gd name="T84" fmla="*/ 1341 w 2313"/>
                <a:gd name="T85" fmla="*/ 63 h 1762"/>
                <a:gd name="T86" fmla="*/ 1437 w 2313"/>
                <a:gd name="T87" fmla="*/ 189 h 1762"/>
                <a:gd name="T88" fmla="*/ 1587 w 2313"/>
                <a:gd name="T89" fmla="*/ 295 h 1762"/>
                <a:gd name="T90" fmla="*/ 1881 w 2313"/>
                <a:gd name="T91" fmla="*/ 276 h 1762"/>
                <a:gd name="T92" fmla="*/ 1999 w 2313"/>
                <a:gd name="T93" fmla="*/ 185 h 1762"/>
                <a:gd name="T94" fmla="*/ 2205 w 2313"/>
                <a:gd name="T95" fmla="*/ 307 h 1762"/>
                <a:gd name="T96" fmla="*/ 2276 w 2313"/>
                <a:gd name="T97" fmla="*/ 569 h 1762"/>
                <a:gd name="T98" fmla="*/ 2191 w 2313"/>
                <a:gd name="T99" fmla="*/ 664 h 1762"/>
                <a:gd name="T100" fmla="*/ 2189 w 2313"/>
                <a:gd name="T101" fmla="*/ 700 h 1762"/>
                <a:gd name="T102" fmla="*/ 2146 w 2313"/>
                <a:gd name="T103" fmla="*/ 711 h 1762"/>
                <a:gd name="T104" fmla="*/ 2018 w 2313"/>
                <a:gd name="T105" fmla="*/ 837 h 1762"/>
                <a:gd name="T106" fmla="*/ 1941 w 2313"/>
                <a:gd name="T107" fmla="*/ 865 h 1762"/>
                <a:gd name="T108" fmla="*/ 1821 w 2313"/>
                <a:gd name="T109" fmla="*/ 891 h 1762"/>
                <a:gd name="T110" fmla="*/ 1785 w 2313"/>
                <a:gd name="T111" fmla="*/ 887 h 1762"/>
                <a:gd name="T112" fmla="*/ 1715 w 2313"/>
                <a:gd name="T113" fmla="*/ 868 h 1762"/>
                <a:gd name="T114" fmla="*/ 1635 w 2313"/>
                <a:gd name="T115" fmla="*/ 895 h 1762"/>
                <a:gd name="T116" fmla="*/ 1585 w 2313"/>
                <a:gd name="T117" fmla="*/ 952 h 1762"/>
                <a:gd name="T118" fmla="*/ 1513 w 2313"/>
                <a:gd name="T119" fmla="*/ 906 h 1762"/>
                <a:gd name="T120" fmla="*/ 1508 w 2313"/>
                <a:gd name="T121" fmla="*/ 968 h 1762"/>
                <a:gd name="T122" fmla="*/ 1430 w 2313"/>
                <a:gd name="T123" fmla="*/ 966 h 1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3" h="1762">
                  <a:moveTo>
                    <a:pt x="1425" y="970"/>
                  </a:moveTo>
                  <a:lnTo>
                    <a:pt x="1404" y="976"/>
                  </a:lnTo>
                  <a:lnTo>
                    <a:pt x="1378" y="978"/>
                  </a:lnTo>
                  <a:lnTo>
                    <a:pt x="1378" y="978"/>
                  </a:lnTo>
                  <a:lnTo>
                    <a:pt x="1364" y="984"/>
                  </a:lnTo>
                  <a:lnTo>
                    <a:pt x="1364" y="984"/>
                  </a:lnTo>
                  <a:lnTo>
                    <a:pt x="1344" y="981"/>
                  </a:lnTo>
                  <a:lnTo>
                    <a:pt x="1338" y="982"/>
                  </a:lnTo>
                  <a:lnTo>
                    <a:pt x="1333" y="982"/>
                  </a:lnTo>
                  <a:lnTo>
                    <a:pt x="1332" y="983"/>
                  </a:lnTo>
                  <a:lnTo>
                    <a:pt x="1331" y="988"/>
                  </a:lnTo>
                  <a:lnTo>
                    <a:pt x="1333" y="998"/>
                  </a:lnTo>
                  <a:lnTo>
                    <a:pt x="1332" y="998"/>
                  </a:lnTo>
                  <a:lnTo>
                    <a:pt x="1327" y="997"/>
                  </a:lnTo>
                  <a:lnTo>
                    <a:pt x="1321" y="1002"/>
                  </a:lnTo>
                  <a:lnTo>
                    <a:pt x="1318" y="1003"/>
                  </a:lnTo>
                  <a:lnTo>
                    <a:pt x="1316" y="1002"/>
                  </a:lnTo>
                  <a:lnTo>
                    <a:pt x="1311" y="999"/>
                  </a:lnTo>
                  <a:lnTo>
                    <a:pt x="1311" y="995"/>
                  </a:lnTo>
                  <a:lnTo>
                    <a:pt x="1314" y="993"/>
                  </a:lnTo>
                  <a:lnTo>
                    <a:pt x="1318" y="992"/>
                  </a:lnTo>
                  <a:lnTo>
                    <a:pt x="1320" y="991"/>
                  </a:lnTo>
                  <a:lnTo>
                    <a:pt x="1324" y="985"/>
                  </a:lnTo>
                  <a:lnTo>
                    <a:pt x="1325" y="982"/>
                  </a:lnTo>
                  <a:lnTo>
                    <a:pt x="1317" y="975"/>
                  </a:lnTo>
                  <a:lnTo>
                    <a:pt x="1309" y="974"/>
                  </a:lnTo>
                  <a:lnTo>
                    <a:pt x="1307" y="972"/>
                  </a:lnTo>
                  <a:lnTo>
                    <a:pt x="1300" y="964"/>
                  </a:lnTo>
                  <a:lnTo>
                    <a:pt x="1296" y="954"/>
                  </a:lnTo>
                  <a:lnTo>
                    <a:pt x="1282" y="936"/>
                  </a:lnTo>
                  <a:lnTo>
                    <a:pt x="1279" y="923"/>
                  </a:lnTo>
                  <a:lnTo>
                    <a:pt x="1278" y="912"/>
                  </a:lnTo>
                  <a:lnTo>
                    <a:pt x="1263" y="907"/>
                  </a:lnTo>
                  <a:lnTo>
                    <a:pt x="1259" y="912"/>
                  </a:lnTo>
                  <a:lnTo>
                    <a:pt x="1246" y="915"/>
                  </a:lnTo>
                  <a:lnTo>
                    <a:pt x="1244" y="913"/>
                  </a:lnTo>
                  <a:lnTo>
                    <a:pt x="1243" y="910"/>
                  </a:lnTo>
                  <a:lnTo>
                    <a:pt x="1245" y="904"/>
                  </a:lnTo>
                  <a:lnTo>
                    <a:pt x="1245" y="901"/>
                  </a:lnTo>
                  <a:lnTo>
                    <a:pt x="1241" y="901"/>
                  </a:lnTo>
                  <a:lnTo>
                    <a:pt x="1235" y="900"/>
                  </a:lnTo>
                  <a:lnTo>
                    <a:pt x="1226" y="907"/>
                  </a:lnTo>
                  <a:lnTo>
                    <a:pt x="1230" y="908"/>
                  </a:lnTo>
                  <a:lnTo>
                    <a:pt x="1231" y="910"/>
                  </a:lnTo>
                  <a:lnTo>
                    <a:pt x="1230" y="914"/>
                  </a:lnTo>
                  <a:lnTo>
                    <a:pt x="1227" y="916"/>
                  </a:lnTo>
                  <a:lnTo>
                    <a:pt x="1219" y="918"/>
                  </a:lnTo>
                  <a:lnTo>
                    <a:pt x="1216" y="918"/>
                  </a:lnTo>
                  <a:lnTo>
                    <a:pt x="1201" y="906"/>
                  </a:lnTo>
                  <a:lnTo>
                    <a:pt x="1196" y="910"/>
                  </a:lnTo>
                  <a:lnTo>
                    <a:pt x="1185" y="911"/>
                  </a:lnTo>
                  <a:lnTo>
                    <a:pt x="1179" y="918"/>
                  </a:lnTo>
                  <a:lnTo>
                    <a:pt x="1175" y="920"/>
                  </a:lnTo>
                  <a:lnTo>
                    <a:pt x="1175" y="922"/>
                  </a:lnTo>
                  <a:lnTo>
                    <a:pt x="1189" y="931"/>
                  </a:lnTo>
                  <a:lnTo>
                    <a:pt x="1197" y="941"/>
                  </a:lnTo>
                  <a:lnTo>
                    <a:pt x="1203" y="946"/>
                  </a:lnTo>
                  <a:lnTo>
                    <a:pt x="1206" y="950"/>
                  </a:lnTo>
                  <a:lnTo>
                    <a:pt x="1206" y="950"/>
                  </a:lnTo>
                  <a:lnTo>
                    <a:pt x="1207" y="954"/>
                  </a:lnTo>
                  <a:lnTo>
                    <a:pt x="1215" y="964"/>
                  </a:lnTo>
                  <a:lnTo>
                    <a:pt x="1212" y="970"/>
                  </a:lnTo>
                  <a:lnTo>
                    <a:pt x="1218" y="975"/>
                  </a:lnTo>
                  <a:lnTo>
                    <a:pt x="1217" y="986"/>
                  </a:lnTo>
                  <a:lnTo>
                    <a:pt x="1220" y="993"/>
                  </a:lnTo>
                  <a:lnTo>
                    <a:pt x="1219" y="997"/>
                  </a:lnTo>
                  <a:lnTo>
                    <a:pt x="1216" y="1004"/>
                  </a:lnTo>
                  <a:lnTo>
                    <a:pt x="1214" y="1013"/>
                  </a:lnTo>
                  <a:lnTo>
                    <a:pt x="1208" y="1029"/>
                  </a:lnTo>
                  <a:lnTo>
                    <a:pt x="1213" y="1035"/>
                  </a:lnTo>
                  <a:lnTo>
                    <a:pt x="1216" y="1036"/>
                  </a:lnTo>
                  <a:lnTo>
                    <a:pt x="1220" y="1035"/>
                  </a:lnTo>
                  <a:lnTo>
                    <a:pt x="1224" y="1039"/>
                  </a:lnTo>
                  <a:lnTo>
                    <a:pt x="1229" y="1039"/>
                  </a:lnTo>
                  <a:lnTo>
                    <a:pt x="1236" y="1036"/>
                  </a:lnTo>
                  <a:lnTo>
                    <a:pt x="1237" y="1037"/>
                  </a:lnTo>
                  <a:lnTo>
                    <a:pt x="1234" y="1044"/>
                  </a:lnTo>
                  <a:lnTo>
                    <a:pt x="1232" y="1045"/>
                  </a:lnTo>
                  <a:lnTo>
                    <a:pt x="1230" y="1045"/>
                  </a:lnTo>
                  <a:lnTo>
                    <a:pt x="1228" y="1048"/>
                  </a:lnTo>
                  <a:lnTo>
                    <a:pt x="1231" y="1057"/>
                  </a:lnTo>
                  <a:lnTo>
                    <a:pt x="1225" y="1057"/>
                  </a:lnTo>
                  <a:lnTo>
                    <a:pt x="1221" y="1065"/>
                  </a:lnTo>
                  <a:lnTo>
                    <a:pt x="1224" y="1072"/>
                  </a:lnTo>
                  <a:lnTo>
                    <a:pt x="1228" y="1076"/>
                  </a:lnTo>
                  <a:lnTo>
                    <a:pt x="1228" y="1081"/>
                  </a:lnTo>
                  <a:lnTo>
                    <a:pt x="1225" y="1084"/>
                  </a:lnTo>
                  <a:lnTo>
                    <a:pt x="1217" y="1089"/>
                  </a:lnTo>
                  <a:lnTo>
                    <a:pt x="1217" y="1092"/>
                  </a:lnTo>
                  <a:lnTo>
                    <a:pt x="1220" y="1095"/>
                  </a:lnTo>
                  <a:lnTo>
                    <a:pt x="1220" y="1096"/>
                  </a:lnTo>
                  <a:lnTo>
                    <a:pt x="1212" y="1104"/>
                  </a:lnTo>
                  <a:lnTo>
                    <a:pt x="1212" y="1104"/>
                  </a:lnTo>
                  <a:lnTo>
                    <a:pt x="1211" y="1104"/>
                  </a:lnTo>
                  <a:lnTo>
                    <a:pt x="1211" y="1102"/>
                  </a:lnTo>
                  <a:lnTo>
                    <a:pt x="1213" y="1094"/>
                  </a:lnTo>
                  <a:lnTo>
                    <a:pt x="1209" y="1087"/>
                  </a:lnTo>
                  <a:lnTo>
                    <a:pt x="1206" y="1083"/>
                  </a:lnTo>
                  <a:lnTo>
                    <a:pt x="1194" y="1086"/>
                  </a:lnTo>
                  <a:lnTo>
                    <a:pt x="1193" y="1087"/>
                  </a:lnTo>
                  <a:lnTo>
                    <a:pt x="1195" y="1088"/>
                  </a:lnTo>
                  <a:lnTo>
                    <a:pt x="1203" y="1087"/>
                  </a:lnTo>
                  <a:lnTo>
                    <a:pt x="1206" y="1087"/>
                  </a:lnTo>
                  <a:lnTo>
                    <a:pt x="1209" y="1095"/>
                  </a:lnTo>
                  <a:lnTo>
                    <a:pt x="1208" y="1102"/>
                  </a:lnTo>
                  <a:lnTo>
                    <a:pt x="1206" y="1105"/>
                  </a:lnTo>
                  <a:lnTo>
                    <a:pt x="1188" y="1108"/>
                  </a:lnTo>
                  <a:lnTo>
                    <a:pt x="1187" y="1105"/>
                  </a:lnTo>
                  <a:lnTo>
                    <a:pt x="1179" y="1105"/>
                  </a:lnTo>
                  <a:lnTo>
                    <a:pt x="1176" y="1103"/>
                  </a:lnTo>
                  <a:lnTo>
                    <a:pt x="1176" y="1100"/>
                  </a:lnTo>
                  <a:lnTo>
                    <a:pt x="1178" y="1094"/>
                  </a:lnTo>
                  <a:lnTo>
                    <a:pt x="1177" y="1092"/>
                  </a:lnTo>
                  <a:lnTo>
                    <a:pt x="1171" y="1094"/>
                  </a:lnTo>
                  <a:lnTo>
                    <a:pt x="1169" y="1091"/>
                  </a:lnTo>
                  <a:lnTo>
                    <a:pt x="1163" y="1091"/>
                  </a:lnTo>
                  <a:lnTo>
                    <a:pt x="1163" y="1093"/>
                  </a:lnTo>
                  <a:lnTo>
                    <a:pt x="1166" y="1102"/>
                  </a:lnTo>
                  <a:lnTo>
                    <a:pt x="1165" y="1103"/>
                  </a:lnTo>
                  <a:lnTo>
                    <a:pt x="1162" y="1103"/>
                  </a:lnTo>
                  <a:lnTo>
                    <a:pt x="1161" y="1105"/>
                  </a:lnTo>
                  <a:lnTo>
                    <a:pt x="1158" y="1113"/>
                  </a:lnTo>
                  <a:lnTo>
                    <a:pt x="1153" y="1122"/>
                  </a:lnTo>
                  <a:lnTo>
                    <a:pt x="1143" y="1143"/>
                  </a:lnTo>
                  <a:lnTo>
                    <a:pt x="1136" y="1153"/>
                  </a:lnTo>
                  <a:lnTo>
                    <a:pt x="1133" y="1152"/>
                  </a:lnTo>
                  <a:lnTo>
                    <a:pt x="1128" y="1148"/>
                  </a:lnTo>
                  <a:lnTo>
                    <a:pt x="1122" y="1150"/>
                  </a:lnTo>
                  <a:lnTo>
                    <a:pt x="1127" y="1154"/>
                  </a:lnTo>
                  <a:lnTo>
                    <a:pt x="1126" y="1155"/>
                  </a:lnTo>
                  <a:lnTo>
                    <a:pt x="1121" y="1158"/>
                  </a:lnTo>
                  <a:lnTo>
                    <a:pt x="1122" y="1159"/>
                  </a:lnTo>
                  <a:lnTo>
                    <a:pt x="1126" y="1161"/>
                  </a:lnTo>
                  <a:lnTo>
                    <a:pt x="1125" y="1163"/>
                  </a:lnTo>
                  <a:lnTo>
                    <a:pt x="1123" y="1164"/>
                  </a:lnTo>
                  <a:lnTo>
                    <a:pt x="1116" y="1165"/>
                  </a:lnTo>
                  <a:lnTo>
                    <a:pt x="1109" y="1171"/>
                  </a:lnTo>
                  <a:lnTo>
                    <a:pt x="1109" y="1172"/>
                  </a:lnTo>
                  <a:lnTo>
                    <a:pt x="1111" y="1177"/>
                  </a:lnTo>
                  <a:lnTo>
                    <a:pt x="1109" y="1179"/>
                  </a:lnTo>
                  <a:lnTo>
                    <a:pt x="1107" y="1180"/>
                  </a:lnTo>
                  <a:lnTo>
                    <a:pt x="1105" y="1179"/>
                  </a:lnTo>
                  <a:lnTo>
                    <a:pt x="1103" y="1177"/>
                  </a:lnTo>
                  <a:lnTo>
                    <a:pt x="1105" y="1170"/>
                  </a:lnTo>
                  <a:lnTo>
                    <a:pt x="1105" y="1159"/>
                  </a:lnTo>
                  <a:lnTo>
                    <a:pt x="1106" y="1154"/>
                  </a:lnTo>
                  <a:lnTo>
                    <a:pt x="1110" y="1150"/>
                  </a:lnTo>
                  <a:lnTo>
                    <a:pt x="1110" y="1141"/>
                  </a:lnTo>
                  <a:lnTo>
                    <a:pt x="1108" y="1142"/>
                  </a:lnTo>
                  <a:lnTo>
                    <a:pt x="1107" y="1144"/>
                  </a:lnTo>
                  <a:lnTo>
                    <a:pt x="1106" y="1145"/>
                  </a:lnTo>
                  <a:lnTo>
                    <a:pt x="1099" y="1148"/>
                  </a:lnTo>
                  <a:lnTo>
                    <a:pt x="1095" y="1147"/>
                  </a:lnTo>
                  <a:lnTo>
                    <a:pt x="1090" y="1144"/>
                  </a:lnTo>
                  <a:lnTo>
                    <a:pt x="1081" y="1141"/>
                  </a:lnTo>
                  <a:lnTo>
                    <a:pt x="1086" y="1121"/>
                  </a:lnTo>
                  <a:lnTo>
                    <a:pt x="1086" y="1117"/>
                  </a:lnTo>
                  <a:lnTo>
                    <a:pt x="1083" y="1111"/>
                  </a:lnTo>
                  <a:lnTo>
                    <a:pt x="1081" y="1103"/>
                  </a:lnTo>
                  <a:lnTo>
                    <a:pt x="1077" y="1102"/>
                  </a:lnTo>
                  <a:lnTo>
                    <a:pt x="1069" y="1103"/>
                  </a:lnTo>
                  <a:lnTo>
                    <a:pt x="1065" y="1107"/>
                  </a:lnTo>
                  <a:lnTo>
                    <a:pt x="1056" y="1117"/>
                  </a:lnTo>
                  <a:lnTo>
                    <a:pt x="1050" y="1124"/>
                  </a:lnTo>
                  <a:lnTo>
                    <a:pt x="1048" y="1129"/>
                  </a:lnTo>
                  <a:lnTo>
                    <a:pt x="1044" y="1144"/>
                  </a:lnTo>
                  <a:lnTo>
                    <a:pt x="1046" y="1154"/>
                  </a:lnTo>
                  <a:lnTo>
                    <a:pt x="1050" y="1157"/>
                  </a:lnTo>
                  <a:lnTo>
                    <a:pt x="1051" y="1159"/>
                  </a:lnTo>
                  <a:lnTo>
                    <a:pt x="1050" y="1160"/>
                  </a:lnTo>
                  <a:lnTo>
                    <a:pt x="1046" y="1161"/>
                  </a:lnTo>
                  <a:lnTo>
                    <a:pt x="1046" y="1164"/>
                  </a:lnTo>
                  <a:lnTo>
                    <a:pt x="1048" y="1171"/>
                  </a:lnTo>
                  <a:lnTo>
                    <a:pt x="1054" y="1178"/>
                  </a:lnTo>
                  <a:lnTo>
                    <a:pt x="1057" y="1183"/>
                  </a:lnTo>
                  <a:lnTo>
                    <a:pt x="1054" y="1189"/>
                  </a:lnTo>
                  <a:lnTo>
                    <a:pt x="1048" y="1191"/>
                  </a:lnTo>
                  <a:lnTo>
                    <a:pt x="1041" y="1197"/>
                  </a:lnTo>
                  <a:lnTo>
                    <a:pt x="1041" y="1199"/>
                  </a:lnTo>
                  <a:lnTo>
                    <a:pt x="1044" y="1201"/>
                  </a:lnTo>
                  <a:lnTo>
                    <a:pt x="1039" y="1206"/>
                  </a:lnTo>
                  <a:lnTo>
                    <a:pt x="1033" y="1211"/>
                  </a:lnTo>
                  <a:lnTo>
                    <a:pt x="1025" y="1213"/>
                  </a:lnTo>
                  <a:lnTo>
                    <a:pt x="1024" y="1215"/>
                  </a:lnTo>
                  <a:lnTo>
                    <a:pt x="1024" y="1217"/>
                  </a:lnTo>
                  <a:lnTo>
                    <a:pt x="1022" y="1218"/>
                  </a:lnTo>
                  <a:lnTo>
                    <a:pt x="1019" y="1219"/>
                  </a:lnTo>
                  <a:lnTo>
                    <a:pt x="1016" y="1218"/>
                  </a:lnTo>
                  <a:lnTo>
                    <a:pt x="1013" y="1215"/>
                  </a:lnTo>
                  <a:lnTo>
                    <a:pt x="1012" y="1209"/>
                  </a:lnTo>
                  <a:lnTo>
                    <a:pt x="1006" y="1205"/>
                  </a:lnTo>
                  <a:lnTo>
                    <a:pt x="1008" y="1200"/>
                  </a:lnTo>
                  <a:lnTo>
                    <a:pt x="1003" y="1189"/>
                  </a:lnTo>
                  <a:lnTo>
                    <a:pt x="997" y="1180"/>
                  </a:lnTo>
                  <a:lnTo>
                    <a:pt x="994" y="1179"/>
                  </a:lnTo>
                  <a:lnTo>
                    <a:pt x="992" y="1181"/>
                  </a:lnTo>
                  <a:lnTo>
                    <a:pt x="992" y="1185"/>
                  </a:lnTo>
                  <a:lnTo>
                    <a:pt x="991" y="1186"/>
                  </a:lnTo>
                  <a:lnTo>
                    <a:pt x="986" y="1188"/>
                  </a:lnTo>
                  <a:lnTo>
                    <a:pt x="976" y="1188"/>
                  </a:lnTo>
                  <a:lnTo>
                    <a:pt x="972" y="1192"/>
                  </a:lnTo>
                  <a:lnTo>
                    <a:pt x="966" y="1193"/>
                  </a:lnTo>
                  <a:lnTo>
                    <a:pt x="966" y="1195"/>
                  </a:lnTo>
                  <a:lnTo>
                    <a:pt x="968" y="1199"/>
                  </a:lnTo>
                  <a:lnTo>
                    <a:pt x="967" y="1207"/>
                  </a:lnTo>
                  <a:lnTo>
                    <a:pt x="965" y="1208"/>
                  </a:lnTo>
                  <a:lnTo>
                    <a:pt x="961" y="1205"/>
                  </a:lnTo>
                  <a:lnTo>
                    <a:pt x="958" y="1206"/>
                  </a:lnTo>
                  <a:lnTo>
                    <a:pt x="950" y="1214"/>
                  </a:lnTo>
                  <a:lnTo>
                    <a:pt x="950" y="1220"/>
                  </a:lnTo>
                  <a:lnTo>
                    <a:pt x="938" y="1221"/>
                  </a:lnTo>
                  <a:lnTo>
                    <a:pt x="938" y="1224"/>
                  </a:lnTo>
                  <a:lnTo>
                    <a:pt x="941" y="1228"/>
                  </a:lnTo>
                  <a:lnTo>
                    <a:pt x="938" y="1232"/>
                  </a:lnTo>
                  <a:lnTo>
                    <a:pt x="939" y="1241"/>
                  </a:lnTo>
                  <a:lnTo>
                    <a:pt x="938" y="1243"/>
                  </a:lnTo>
                  <a:lnTo>
                    <a:pt x="936" y="1244"/>
                  </a:lnTo>
                  <a:lnTo>
                    <a:pt x="930" y="1242"/>
                  </a:lnTo>
                  <a:lnTo>
                    <a:pt x="931" y="1246"/>
                  </a:lnTo>
                  <a:lnTo>
                    <a:pt x="930" y="1249"/>
                  </a:lnTo>
                  <a:lnTo>
                    <a:pt x="917" y="1253"/>
                  </a:lnTo>
                  <a:lnTo>
                    <a:pt x="910" y="1252"/>
                  </a:lnTo>
                  <a:lnTo>
                    <a:pt x="904" y="1245"/>
                  </a:lnTo>
                  <a:lnTo>
                    <a:pt x="891" y="1241"/>
                  </a:lnTo>
                  <a:lnTo>
                    <a:pt x="890" y="1238"/>
                  </a:lnTo>
                  <a:lnTo>
                    <a:pt x="890" y="1232"/>
                  </a:lnTo>
                  <a:lnTo>
                    <a:pt x="882" y="1232"/>
                  </a:lnTo>
                  <a:lnTo>
                    <a:pt x="877" y="1228"/>
                  </a:lnTo>
                  <a:lnTo>
                    <a:pt x="873" y="1232"/>
                  </a:lnTo>
                  <a:lnTo>
                    <a:pt x="870" y="1231"/>
                  </a:lnTo>
                  <a:lnTo>
                    <a:pt x="868" y="1228"/>
                  </a:lnTo>
                  <a:lnTo>
                    <a:pt x="867" y="1223"/>
                  </a:lnTo>
                  <a:lnTo>
                    <a:pt x="869" y="1217"/>
                  </a:lnTo>
                  <a:lnTo>
                    <a:pt x="872" y="1217"/>
                  </a:lnTo>
                  <a:lnTo>
                    <a:pt x="877" y="1220"/>
                  </a:lnTo>
                  <a:lnTo>
                    <a:pt x="878" y="1220"/>
                  </a:lnTo>
                  <a:lnTo>
                    <a:pt x="874" y="1216"/>
                  </a:lnTo>
                  <a:lnTo>
                    <a:pt x="868" y="1214"/>
                  </a:lnTo>
                  <a:lnTo>
                    <a:pt x="867" y="1205"/>
                  </a:lnTo>
                  <a:lnTo>
                    <a:pt x="868" y="1200"/>
                  </a:lnTo>
                  <a:lnTo>
                    <a:pt x="871" y="1198"/>
                  </a:lnTo>
                  <a:lnTo>
                    <a:pt x="880" y="1198"/>
                  </a:lnTo>
                  <a:lnTo>
                    <a:pt x="887" y="1194"/>
                  </a:lnTo>
                  <a:lnTo>
                    <a:pt x="890" y="1195"/>
                  </a:lnTo>
                  <a:lnTo>
                    <a:pt x="891" y="1193"/>
                  </a:lnTo>
                  <a:lnTo>
                    <a:pt x="894" y="1190"/>
                  </a:lnTo>
                  <a:lnTo>
                    <a:pt x="895" y="1188"/>
                  </a:lnTo>
                  <a:lnTo>
                    <a:pt x="894" y="1186"/>
                  </a:lnTo>
                  <a:lnTo>
                    <a:pt x="891" y="1186"/>
                  </a:lnTo>
                  <a:lnTo>
                    <a:pt x="890" y="1181"/>
                  </a:lnTo>
                  <a:lnTo>
                    <a:pt x="887" y="1180"/>
                  </a:lnTo>
                  <a:lnTo>
                    <a:pt x="884" y="1181"/>
                  </a:lnTo>
                  <a:lnTo>
                    <a:pt x="883" y="1183"/>
                  </a:lnTo>
                  <a:lnTo>
                    <a:pt x="887" y="1188"/>
                  </a:lnTo>
                  <a:lnTo>
                    <a:pt x="887" y="1190"/>
                  </a:lnTo>
                  <a:lnTo>
                    <a:pt x="884" y="1191"/>
                  </a:lnTo>
                  <a:lnTo>
                    <a:pt x="878" y="1189"/>
                  </a:lnTo>
                  <a:lnTo>
                    <a:pt x="872" y="1194"/>
                  </a:lnTo>
                  <a:lnTo>
                    <a:pt x="863" y="1195"/>
                  </a:lnTo>
                  <a:lnTo>
                    <a:pt x="859" y="1194"/>
                  </a:lnTo>
                  <a:lnTo>
                    <a:pt x="857" y="1190"/>
                  </a:lnTo>
                  <a:lnTo>
                    <a:pt x="855" y="1181"/>
                  </a:lnTo>
                  <a:lnTo>
                    <a:pt x="851" y="1176"/>
                  </a:lnTo>
                  <a:lnTo>
                    <a:pt x="853" y="1173"/>
                  </a:lnTo>
                  <a:lnTo>
                    <a:pt x="859" y="1172"/>
                  </a:lnTo>
                  <a:lnTo>
                    <a:pt x="862" y="1170"/>
                  </a:lnTo>
                  <a:lnTo>
                    <a:pt x="862" y="1168"/>
                  </a:lnTo>
                  <a:lnTo>
                    <a:pt x="856" y="1168"/>
                  </a:lnTo>
                  <a:lnTo>
                    <a:pt x="855" y="1167"/>
                  </a:lnTo>
                  <a:lnTo>
                    <a:pt x="856" y="1165"/>
                  </a:lnTo>
                  <a:lnTo>
                    <a:pt x="859" y="1164"/>
                  </a:lnTo>
                  <a:lnTo>
                    <a:pt x="859" y="1159"/>
                  </a:lnTo>
                  <a:lnTo>
                    <a:pt x="863" y="1154"/>
                  </a:lnTo>
                  <a:lnTo>
                    <a:pt x="860" y="1149"/>
                  </a:lnTo>
                  <a:lnTo>
                    <a:pt x="858" y="1148"/>
                  </a:lnTo>
                  <a:lnTo>
                    <a:pt x="856" y="1152"/>
                  </a:lnTo>
                  <a:lnTo>
                    <a:pt x="856" y="1159"/>
                  </a:lnTo>
                  <a:lnTo>
                    <a:pt x="854" y="1160"/>
                  </a:lnTo>
                  <a:lnTo>
                    <a:pt x="851" y="1159"/>
                  </a:lnTo>
                  <a:lnTo>
                    <a:pt x="850" y="1160"/>
                  </a:lnTo>
                  <a:lnTo>
                    <a:pt x="849" y="1175"/>
                  </a:lnTo>
                  <a:lnTo>
                    <a:pt x="850" y="1183"/>
                  </a:lnTo>
                  <a:lnTo>
                    <a:pt x="854" y="1191"/>
                  </a:lnTo>
                  <a:lnTo>
                    <a:pt x="856" y="1199"/>
                  </a:lnTo>
                  <a:lnTo>
                    <a:pt x="860" y="1213"/>
                  </a:lnTo>
                  <a:lnTo>
                    <a:pt x="863" y="1230"/>
                  </a:lnTo>
                  <a:lnTo>
                    <a:pt x="863" y="1237"/>
                  </a:lnTo>
                  <a:lnTo>
                    <a:pt x="865" y="1243"/>
                  </a:lnTo>
                  <a:lnTo>
                    <a:pt x="863" y="1256"/>
                  </a:lnTo>
                  <a:lnTo>
                    <a:pt x="862" y="1260"/>
                  </a:lnTo>
                  <a:lnTo>
                    <a:pt x="858" y="1262"/>
                  </a:lnTo>
                  <a:lnTo>
                    <a:pt x="854" y="1264"/>
                  </a:lnTo>
                  <a:lnTo>
                    <a:pt x="849" y="1263"/>
                  </a:lnTo>
                  <a:lnTo>
                    <a:pt x="845" y="1268"/>
                  </a:lnTo>
                  <a:lnTo>
                    <a:pt x="836" y="1270"/>
                  </a:lnTo>
                  <a:lnTo>
                    <a:pt x="832" y="1272"/>
                  </a:lnTo>
                  <a:lnTo>
                    <a:pt x="824" y="1271"/>
                  </a:lnTo>
                  <a:lnTo>
                    <a:pt x="816" y="1272"/>
                  </a:lnTo>
                  <a:lnTo>
                    <a:pt x="811" y="1271"/>
                  </a:lnTo>
                  <a:lnTo>
                    <a:pt x="810" y="1270"/>
                  </a:lnTo>
                  <a:lnTo>
                    <a:pt x="811" y="1265"/>
                  </a:lnTo>
                  <a:lnTo>
                    <a:pt x="809" y="1263"/>
                  </a:lnTo>
                  <a:lnTo>
                    <a:pt x="806" y="1262"/>
                  </a:lnTo>
                  <a:lnTo>
                    <a:pt x="799" y="1262"/>
                  </a:lnTo>
                  <a:lnTo>
                    <a:pt x="797" y="1261"/>
                  </a:lnTo>
                  <a:lnTo>
                    <a:pt x="796" y="1260"/>
                  </a:lnTo>
                  <a:lnTo>
                    <a:pt x="797" y="1247"/>
                  </a:lnTo>
                  <a:lnTo>
                    <a:pt x="803" y="1238"/>
                  </a:lnTo>
                  <a:lnTo>
                    <a:pt x="800" y="1227"/>
                  </a:lnTo>
                  <a:lnTo>
                    <a:pt x="801" y="1226"/>
                  </a:lnTo>
                  <a:lnTo>
                    <a:pt x="804" y="1224"/>
                  </a:lnTo>
                  <a:lnTo>
                    <a:pt x="803" y="1224"/>
                  </a:lnTo>
                  <a:lnTo>
                    <a:pt x="797" y="1224"/>
                  </a:lnTo>
                  <a:lnTo>
                    <a:pt x="796" y="1226"/>
                  </a:lnTo>
                  <a:lnTo>
                    <a:pt x="799" y="1234"/>
                  </a:lnTo>
                  <a:lnTo>
                    <a:pt x="799" y="1237"/>
                  </a:lnTo>
                  <a:lnTo>
                    <a:pt x="795" y="1234"/>
                  </a:lnTo>
                  <a:lnTo>
                    <a:pt x="791" y="1234"/>
                  </a:lnTo>
                  <a:lnTo>
                    <a:pt x="787" y="1234"/>
                  </a:lnTo>
                  <a:lnTo>
                    <a:pt x="796" y="1237"/>
                  </a:lnTo>
                  <a:lnTo>
                    <a:pt x="798" y="1239"/>
                  </a:lnTo>
                  <a:lnTo>
                    <a:pt x="797" y="1242"/>
                  </a:lnTo>
                  <a:lnTo>
                    <a:pt x="795" y="1242"/>
                  </a:lnTo>
                  <a:lnTo>
                    <a:pt x="792" y="1239"/>
                  </a:lnTo>
                  <a:lnTo>
                    <a:pt x="788" y="1239"/>
                  </a:lnTo>
                  <a:lnTo>
                    <a:pt x="776" y="1239"/>
                  </a:lnTo>
                  <a:lnTo>
                    <a:pt x="764" y="1245"/>
                  </a:lnTo>
                  <a:lnTo>
                    <a:pt x="751" y="1248"/>
                  </a:lnTo>
                  <a:lnTo>
                    <a:pt x="742" y="1243"/>
                  </a:lnTo>
                  <a:lnTo>
                    <a:pt x="740" y="1233"/>
                  </a:lnTo>
                  <a:lnTo>
                    <a:pt x="741" y="1231"/>
                  </a:lnTo>
                  <a:lnTo>
                    <a:pt x="746" y="1228"/>
                  </a:lnTo>
                  <a:lnTo>
                    <a:pt x="751" y="1221"/>
                  </a:lnTo>
                  <a:lnTo>
                    <a:pt x="751" y="1218"/>
                  </a:lnTo>
                  <a:lnTo>
                    <a:pt x="749" y="1214"/>
                  </a:lnTo>
                  <a:lnTo>
                    <a:pt x="747" y="1221"/>
                  </a:lnTo>
                  <a:lnTo>
                    <a:pt x="741" y="1228"/>
                  </a:lnTo>
                  <a:lnTo>
                    <a:pt x="734" y="1231"/>
                  </a:lnTo>
                  <a:lnTo>
                    <a:pt x="736" y="1235"/>
                  </a:lnTo>
                  <a:lnTo>
                    <a:pt x="739" y="1241"/>
                  </a:lnTo>
                  <a:lnTo>
                    <a:pt x="738" y="1246"/>
                  </a:lnTo>
                  <a:lnTo>
                    <a:pt x="732" y="1247"/>
                  </a:lnTo>
                  <a:lnTo>
                    <a:pt x="731" y="1246"/>
                  </a:lnTo>
                  <a:lnTo>
                    <a:pt x="728" y="1243"/>
                  </a:lnTo>
                  <a:lnTo>
                    <a:pt x="722" y="1242"/>
                  </a:lnTo>
                  <a:lnTo>
                    <a:pt x="721" y="1243"/>
                  </a:lnTo>
                  <a:lnTo>
                    <a:pt x="721" y="1247"/>
                  </a:lnTo>
                  <a:lnTo>
                    <a:pt x="728" y="1248"/>
                  </a:lnTo>
                  <a:lnTo>
                    <a:pt x="733" y="1252"/>
                  </a:lnTo>
                  <a:lnTo>
                    <a:pt x="734" y="1252"/>
                  </a:lnTo>
                  <a:lnTo>
                    <a:pt x="739" y="1248"/>
                  </a:lnTo>
                  <a:lnTo>
                    <a:pt x="740" y="1248"/>
                  </a:lnTo>
                  <a:lnTo>
                    <a:pt x="740" y="1252"/>
                  </a:lnTo>
                  <a:lnTo>
                    <a:pt x="742" y="1254"/>
                  </a:lnTo>
                  <a:lnTo>
                    <a:pt x="727" y="1262"/>
                  </a:lnTo>
                  <a:lnTo>
                    <a:pt x="715" y="1267"/>
                  </a:lnTo>
                  <a:lnTo>
                    <a:pt x="711" y="1271"/>
                  </a:lnTo>
                  <a:lnTo>
                    <a:pt x="708" y="1275"/>
                  </a:lnTo>
                  <a:lnTo>
                    <a:pt x="714" y="1292"/>
                  </a:lnTo>
                  <a:lnTo>
                    <a:pt x="718" y="1292"/>
                  </a:lnTo>
                  <a:lnTo>
                    <a:pt x="725" y="1289"/>
                  </a:lnTo>
                  <a:lnTo>
                    <a:pt x="732" y="1288"/>
                  </a:lnTo>
                  <a:lnTo>
                    <a:pt x="741" y="1292"/>
                  </a:lnTo>
                  <a:lnTo>
                    <a:pt x="742" y="1295"/>
                  </a:lnTo>
                  <a:lnTo>
                    <a:pt x="741" y="1298"/>
                  </a:lnTo>
                  <a:lnTo>
                    <a:pt x="737" y="1302"/>
                  </a:lnTo>
                  <a:lnTo>
                    <a:pt x="731" y="1303"/>
                  </a:lnTo>
                  <a:lnTo>
                    <a:pt x="723" y="1307"/>
                  </a:lnTo>
                  <a:lnTo>
                    <a:pt x="720" y="1307"/>
                  </a:lnTo>
                  <a:lnTo>
                    <a:pt x="718" y="1304"/>
                  </a:lnTo>
                  <a:lnTo>
                    <a:pt x="713" y="1305"/>
                  </a:lnTo>
                  <a:lnTo>
                    <a:pt x="703" y="1311"/>
                  </a:lnTo>
                  <a:lnTo>
                    <a:pt x="693" y="1321"/>
                  </a:lnTo>
                  <a:lnTo>
                    <a:pt x="691" y="1321"/>
                  </a:lnTo>
                  <a:lnTo>
                    <a:pt x="686" y="1320"/>
                  </a:lnTo>
                  <a:lnTo>
                    <a:pt x="679" y="1323"/>
                  </a:lnTo>
                  <a:lnTo>
                    <a:pt x="675" y="1321"/>
                  </a:lnTo>
                  <a:lnTo>
                    <a:pt x="675" y="1318"/>
                  </a:lnTo>
                  <a:lnTo>
                    <a:pt x="679" y="1313"/>
                  </a:lnTo>
                  <a:lnTo>
                    <a:pt x="680" y="1309"/>
                  </a:lnTo>
                  <a:lnTo>
                    <a:pt x="683" y="1308"/>
                  </a:lnTo>
                  <a:lnTo>
                    <a:pt x="688" y="1307"/>
                  </a:lnTo>
                  <a:lnTo>
                    <a:pt x="690" y="1302"/>
                  </a:lnTo>
                  <a:lnTo>
                    <a:pt x="689" y="1299"/>
                  </a:lnTo>
                  <a:lnTo>
                    <a:pt x="685" y="1292"/>
                  </a:lnTo>
                  <a:lnTo>
                    <a:pt x="685" y="1290"/>
                  </a:lnTo>
                  <a:lnTo>
                    <a:pt x="687" y="1289"/>
                  </a:lnTo>
                  <a:lnTo>
                    <a:pt x="689" y="1289"/>
                  </a:lnTo>
                  <a:lnTo>
                    <a:pt x="695" y="1293"/>
                  </a:lnTo>
                  <a:lnTo>
                    <a:pt x="697" y="1293"/>
                  </a:lnTo>
                  <a:lnTo>
                    <a:pt x="707" y="1290"/>
                  </a:lnTo>
                  <a:lnTo>
                    <a:pt x="708" y="1288"/>
                  </a:lnTo>
                  <a:lnTo>
                    <a:pt x="707" y="1283"/>
                  </a:lnTo>
                  <a:lnTo>
                    <a:pt x="704" y="1277"/>
                  </a:lnTo>
                  <a:lnTo>
                    <a:pt x="700" y="1278"/>
                  </a:lnTo>
                  <a:lnTo>
                    <a:pt x="690" y="1284"/>
                  </a:lnTo>
                  <a:lnTo>
                    <a:pt x="683" y="1280"/>
                  </a:lnTo>
                  <a:lnTo>
                    <a:pt x="677" y="1273"/>
                  </a:lnTo>
                  <a:lnTo>
                    <a:pt x="676" y="1270"/>
                  </a:lnTo>
                  <a:lnTo>
                    <a:pt x="682" y="1270"/>
                  </a:lnTo>
                  <a:lnTo>
                    <a:pt x="686" y="1265"/>
                  </a:lnTo>
                  <a:lnTo>
                    <a:pt x="688" y="1254"/>
                  </a:lnTo>
                  <a:lnTo>
                    <a:pt x="687" y="1252"/>
                  </a:lnTo>
                  <a:lnTo>
                    <a:pt x="684" y="1250"/>
                  </a:lnTo>
                  <a:lnTo>
                    <a:pt x="683" y="1255"/>
                  </a:lnTo>
                  <a:lnTo>
                    <a:pt x="674" y="1259"/>
                  </a:lnTo>
                  <a:lnTo>
                    <a:pt x="672" y="1256"/>
                  </a:lnTo>
                  <a:lnTo>
                    <a:pt x="670" y="1250"/>
                  </a:lnTo>
                  <a:lnTo>
                    <a:pt x="667" y="1249"/>
                  </a:lnTo>
                  <a:lnTo>
                    <a:pt x="664" y="1248"/>
                  </a:lnTo>
                  <a:lnTo>
                    <a:pt x="662" y="1249"/>
                  </a:lnTo>
                  <a:lnTo>
                    <a:pt x="664" y="1255"/>
                  </a:lnTo>
                  <a:lnTo>
                    <a:pt x="662" y="1256"/>
                  </a:lnTo>
                  <a:lnTo>
                    <a:pt x="658" y="1255"/>
                  </a:lnTo>
                  <a:lnTo>
                    <a:pt x="653" y="1251"/>
                  </a:lnTo>
                  <a:lnTo>
                    <a:pt x="647" y="1256"/>
                  </a:lnTo>
                  <a:lnTo>
                    <a:pt x="644" y="1255"/>
                  </a:lnTo>
                  <a:lnTo>
                    <a:pt x="643" y="1251"/>
                  </a:lnTo>
                  <a:lnTo>
                    <a:pt x="641" y="1250"/>
                  </a:lnTo>
                  <a:lnTo>
                    <a:pt x="636" y="1250"/>
                  </a:lnTo>
                  <a:lnTo>
                    <a:pt x="630" y="1251"/>
                  </a:lnTo>
                  <a:lnTo>
                    <a:pt x="624" y="1254"/>
                  </a:lnTo>
                  <a:lnTo>
                    <a:pt x="622" y="1259"/>
                  </a:lnTo>
                  <a:lnTo>
                    <a:pt x="629" y="1257"/>
                  </a:lnTo>
                  <a:lnTo>
                    <a:pt x="635" y="1255"/>
                  </a:lnTo>
                  <a:lnTo>
                    <a:pt x="643" y="1262"/>
                  </a:lnTo>
                  <a:lnTo>
                    <a:pt x="647" y="1266"/>
                  </a:lnTo>
                  <a:lnTo>
                    <a:pt x="662" y="1270"/>
                  </a:lnTo>
                  <a:lnTo>
                    <a:pt x="667" y="1271"/>
                  </a:lnTo>
                  <a:lnTo>
                    <a:pt x="668" y="1274"/>
                  </a:lnTo>
                  <a:lnTo>
                    <a:pt x="668" y="1280"/>
                  </a:lnTo>
                  <a:lnTo>
                    <a:pt x="666" y="1292"/>
                  </a:lnTo>
                  <a:lnTo>
                    <a:pt x="664" y="1296"/>
                  </a:lnTo>
                  <a:lnTo>
                    <a:pt x="660" y="1293"/>
                  </a:lnTo>
                  <a:lnTo>
                    <a:pt x="656" y="1298"/>
                  </a:lnTo>
                  <a:lnTo>
                    <a:pt x="658" y="1299"/>
                  </a:lnTo>
                  <a:lnTo>
                    <a:pt x="665" y="1299"/>
                  </a:lnTo>
                  <a:lnTo>
                    <a:pt x="670" y="1303"/>
                  </a:lnTo>
                  <a:lnTo>
                    <a:pt x="654" y="1304"/>
                  </a:lnTo>
                  <a:lnTo>
                    <a:pt x="641" y="1310"/>
                  </a:lnTo>
                  <a:lnTo>
                    <a:pt x="636" y="1311"/>
                  </a:lnTo>
                  <a:lnTo>
                    <a:pt x="631" y="1322"/>
                  </a:lnTo>
                  <a:lnTo>
                    <a:pt x="633" y="1333"/>
                  </a:lnTo>
                  <a:lnTo>
                    <a:pt x="628" y="1338"/>
                  </a:lnTo>
                  <a:lnTo>
                    <a:pt x="623" y="1338"/>
                  </a:lnTo>
                  <a:lnTo>
                    <a:pt x="621" y="1332"/>
                  </a:lnTo>
                  <a:lnTo>
                    <a:pt x="610" y="1324"/>
                  </a:lnTo>
                  <a:lnTo>
                    <a:pt x="607" y="1325"/>
                  </a:lnTo>
                  <a:lnTo>
                    <a:pt x="607" y="1327"/>
                  </a:lnTo>
                  <a:lnTo>
                    <a:pt x="611" y="1329"/>
                  </a:lnTo>
                  <a:lnTo>
                    <a:pt x="617" y="1331"/>
                  </a:lnTo>
                  <a:lnTo>
                    <a:pt x="618" y="1332"/>
                  </a:lnTo>
                  <a:lnTo>
                    <a:pt x="618" y="1333"/>
                  </a:lnTo>
                  <a:lnTo>
                    <a:pt x="613" y="1332"/>
                  </a:lnTo>
                  <a:lnTo>
                    <a:pt x="610" y="1333"/>
                  </a:lnTo>
                  <a:lnTo>
                    <a:pt x="599" y="1336"/>
                  </a:lnTo>
                  <a:lnTo>
                    <a:pt x="593" y="1341"/>
                  </a:lnTo>
                  <a:lnTo>
                    <a:pt x="590" y="1340"/>
                  </a:lnTo>
                  <a:lnTo>
                    <a:pt x="593" y="1337"/>
                  </a:lnTo>
                  <a:lnTo>
                    <a:pt x="593" y="1336"/>
                  </a:lnTo>
                  <a:lnTo>
                    <a:pt x="590" y="1334"/>
                  </a:lnTo>
                  <a:lnTo>
                    <a:pt x="589" y="1334"/>
                  </a:lnTo>
                  <a:lnTo>
                    <a:pt x="584" y="1336"/>
                  </a:lnTo>
                  <a:lnTo>
                    <a:pt x="576" y="1341"/>
                  </a:lnTo>
                  <a:lnTo>
                    <a:pt x="572" y="1342"/>
                  </a:lnTo>
                  <a:lnTo>
                    <a:pt x="566" y="1338"/>
                  </a:lnTo>
                  <a:lnTo>
                    <a:pt x="565" y="1335"/>
                  </a:lnTo>
                  <a:lnTo>
                    <a:pt x="577" y="1335"/>
                  </a:lnTo>
                  <a:lnTo>
                    <a:pt x="577" y="1333"/>
                  </a:lnTo>
                  <a:lnTo>
                    <a:pt x="574" y="1329"/>
                  </a:lnTo>
                  <a:lnTo>
                    <a:pt x="572" y="1327"/>
                  </a:lnTo>
                  <a:lnTo>
                    <a:pt x="568" y="1331"/>
                  </a:lnTo>
                  <a:lnTo>
                    <a:pt x="565" y="1329"/>
                  </a:lnTo>
                  <a:lnTo>
                    <a:pt x="564" y="1325"/>
                  </a:lnTo>
                  <a:lnTo>
                    <a:pt x="565" y="1317"/>
                  </a:lnTo>
                  <a:lnTo>
                    <a:pt x="562" y="1314"/>
                  </a:lnTo>
                  <a:lnTo>
                    <a:pt x="559" y="1313"/>
                  </a:lnTo>
                  <a:lnTo>
                    <a:pt x="550" y="1321"/>
                  </a:lnTo>
                  <a:lnTo>
                    <a:pt x="553" y="1324"/>
                  </a:lnTo>
                  <a:lnTo>
                    <a:pt x="560" y="1328"/>
                  </a:lnTo>
                  <a:lnTo>
                    <a:pt x="561" y="1333"/>
                  </a:lnTo>
                  <a:lnTo>
                    <a:pt x="560" y="1335"/>
                  </a:lnTo>
                  <a:lnTo>
                    <a:pt x="548" y="1338"/>
                  </a:lnTo>
                  <a:lnTo>
                    <a:pt x="546" y="1341"/>
                  </a:lnTo>
                  <a:lnTo>
                    <a:pt x="535" y="1347"/>
                  </a:lnTo>
                  <a:lnTo>
                    <a:pt x="524" y="1360"/>
                  </a:lnTo>
                  <a:lnTo>
                    <a:pt x="514" y="1365"/>
                  </a:lnTo>
                  <a:lnTo>
                    <a:pt x="510" y="1371"/>
                  </a:lnTo>
                  <a:lnTo>
                    <a:pt x="508" y="1372"/>
                  </a:lnTo>
                  <a:lnTo>
                    <a:pt x="502" y="1373"/>
                  </a:lnTo>
                  <a:lnTo>
                    <a:pt x="500" y="1372"/>
                  </a:lnTo>
                  <a:lnTo>
                    <a:pt x="503" y="1367"/>
                  </a:lnTo>
                  <a:lnTo>
                    <a:pt x="500" y="1361"/>
                  </a:lnTo>
                  <a:lnTo>
                    <a:pt x="502" y="1360"/>
                  </a:lnTo>
                  <a:lnTo>
                    <a:pt x="507" y="1364"/>
                  </a:lnTo>
                  <a:lnTo>
                    <a:pt x="510" y="1364"/>
                  </a:lnTo>
                  <a:lnTo>
                    <a:pt x="511" y="1362"/>
                  </a:lnTo>
                  <a:lnTo>
                    <a:pt x="510" y="1358"/>
                  </a:lnTo>
                  <a:lnTo>
                    <a:pt x="511" y="1357"/>
                  </a:lnTo>
                  <a:lnTo>
                    <a:pt x="521" y="1351"/>
                  </a:lnTo>
                  <a:lnTo>
                    <a:pt x="520" y="1349"/>
                  </a:lnTo>
                  <a:lnTo>
                    <a:pt x="517" y="1347"/>
                  </a:lnTo>
                  <a:lnTo>
                    <a:pt x="515" y="1346"/>
                  </a:lnTo>
                  <a:lnTo>
                    <a:pt x="507" y="1349"/>
                  </a:lnTo>
                  <a:lnTo>
                    <a:pt x="502" y="1347"/>
                  </a:lnTo>
                  <a:lnTo>
                    <a:pt x="499" y="1345"/>
                  </a:lnTo>
                  <a:lnTo>
                    <a:pt x="504" y="1343"/>
                  </a:lnTo>
                  <a:lnTo>
                    <a:pt x="503" y="1341"/>
                  </a:lnTo>
                  <a:lnTo>
                    <a:pt x="494" y="1343"/>
                  </a:lnTo>
                  <a:lnTo>
                    <a:pt x="494" y="1342"/>
                  </a:lnTo>
                  <a:lnTo>
                    <a:pt x="495" y="1337"/>
                  </a:lnTo>
                  <a:lnTo>
                    <a:pt x="493" y="1336"/>
                  </a:lnTo>
                  <a:lnTo>
                    <a:pt x="489" y="1336"/>
                  </a:lnTo>
                  <a:lnTo>
                    <a:pt x="488" y="1337"/>
                  </a:lnTo>
                  <a:lnTo>
                    <a:pt x="488" y="1340"/>
                  </a:lnTo>
                  <a:lnTo>
                    <a:pt x="486" y="1340"/>
                  </a:lnTo>
                  <a:lnTo>
                    <a:pt x="477" y="1339"/>
                  </a:lnTo>
                  <a:lnTo>
                    <a:pt x="473" y="1340"/>
                  </a:lnTo>
                  <a:lnTo>
                    <a:pt x="480" y="1343"/>
                  </a:lnTo>
                  <a:lnTo>
                    <a:pt x="491" y="1344"/>
                  </a:lnTo>
                  <a:lnTo>
                    <a:pt x="494" y="1349"/>
                  </a:lnTo>
                  <a:lnTo>
                    <a:pt x="494" y="1351"/>
                  </a:lnTo>
                  <a:lnTo>
                    <a:pt x="494" y="1351"/>
                  </a:lnTo>
                  <a:lnTo>
                    <a:pt x="479" y="1354"/>
                  </a:lnTo>
                  <a:lnTo>
                    <a:pt x="468" y="1358"/>
                  </a:lnTo>
                  <a:lnTo>
                    <a:pt x="453" y="1357"/>
                  </a:lnTo>
                  <a:lnTo>
                    <a:pt x="450" y="1355"/>
                  </a:lnTo>
                  <a:lnTo>
                    <a:pt x="449" y="1353"/>
                  </a:lnTo>
                  <a:lnTo>
                    <a:pt x="464" y="1349"/>
                  </a:lnTo>
                  <a:lnTo>
                    <a:pt x="467" y="1347"/>
                  </a:lnTo>
                  <a:lnTo>
                    <a:pt x="467" y="1346"/>
                  </a:lnTo>
                  <a:lnTo>
                    <a:pt x="461" y="1344"/>
                  </a:lnTo>
                  <a:lnTo>
                    <a:pt x="459" y="1346"/>
                  </a:lnTo>
                  <a:lnTo>
                    <a:pt x="456" y="1349"/>
                  </a:lnTo>
                  <a:lnTo>
                    <a:pt x="452" y="1350"/>
                  </a:lnTo>
                  <a:lnTo>
                    <a:pt x="449" y="1350"/>
                  </a:lnTo>
                  <a:lnTo>
                    <a:pt x="446" y="1346"/>
                  </a:lnTo>
                  <a:lnTo>
                    <a:pt x="449" y="1343"/>
                  </a:lnTo>
                  <a:lnTo>
                    <a:pt x="433" y="1339"/>
                  </a:lnTo>
                  <a:lnTo>
                    <a:pt x="431" y="1335"/>
                  </a:lnTo>
                  <a:lnTo>
                    <a:pt x="427" y="1340"/>
                  </a:lnTo>
                  <a:lnTo>
                    <a:pt x="421" y="1347"/>
                  </a:lnTo>
                  <a:lnTo>
                    <a:pt x="420" y="1350"/>
                  </a:lnTo>
                  <a:lnTo>
                    <a:pt x="428" y="1353"/>
                  </a:lnTo>
                  <a:lnTo>
                    <a:pt x="434" y="1351"/>
                  </a:lnTo>
                  <a:lnTo>
                    <a:pt x="441" y="1351"/>
                  </a:lnTo>
                  <a:lnTo>
                    <a:pt x="445" y="1355"/>
                  </a:lnTo>
                  <a:lnTo>
                    <a:pt x="444" y="1357"/>
                  </a:lnTo>
                  <a:lnTo>
                    <a:pt x="434" y="1361"/>
                  </a:lnTo>
                  <a:lnTo>
                    <a:pt x="419" y="1371"/>
                  </a:lnTo>
                  <a:lnTo>
                    <a:pt x="399" y="1374"/>
                  </a:lnTo>
                  <a:lnTo>
                    <a:pt x="389" y="1382"/>
                  </a:lnTo>
                  <a:lnTo>
                    <a:pt x="385" y="1385"/>
                  </a:lnTo>
                  <a:lnTo>
                    <a:pt x="373" y="1385"/>
                  </a:lnTo>
                  <a:lnTo>
                    <a:pt x="368" y="1383"/>
                  </a:lnTo>
                  <a:lnTo>
                    <a:pt x="364" y="1380"/>
                  </a:lnTo>
                  <a:lnTo>
                    <a:pt x="361" y="1380"/>
                  </a:lnTo>
                  <a:lnTo>
                    <a:pt x="351" y="1381"/>
                  </a:lnTo>
                  <a:lnTo>
                    <a:pt x="343" y="1383"/>
                  </a:lnTo>
                  <a:lnTo>
                    <a:pt x="337" y="1389"/>
                  </a:lnTo>
                  <a:lnTo>
                    <a:pt x="322" y="1408"/>
                  </a:lnTo>
                  <a:lnTo>
                    <a:pt x="319" y="1412"/>
                  </a:lnTo>
                  <a:lnTo>
                    <a:pt x="316" y="1424"/>
                  </a:lnTo>
                  <a:lnTo>
                    <a:pt x="313" y="1427"/>
                  </a:lnTo>
                  <a:lnTo>
                    <a:pt x="311" y="1426"/>
                  </a:lnTo>
                  <a:lnTo>
                    <a:pt x="310" y="1418"/>
                  </a:lnTo>
                  <a:lnTo>
                    <a:pt x="314" y="1407"/>
                  </a:lnTo>
                  <a:lnTo>
                    <a:pt x="305" y="1400"/>
                  </a:lnTo>
                  <a:lnTo>
                    <a:pt x="305" y="1397"/>
                  </a:lnTo>
                  <a:lnTo>
                    <a:pt x="306" y="1393"/>
                  </a:lnTo>
                  <a:lnTo>
                    <a:pt x="309" y="1391"/>
                  </a:lnTo>
                  <a:lnTo>
                    <a:pt x="330" y="1378"/>
                  </a:lnTo>
                  <a:lnTo>
                    <a:pt x="346" y="1374"/>
                  </a:lnTo>
                  <a:lnTo>
                    <a:pt x="348" y="1372"/>
                  </a:lnTo>
                  <a:lnTo>
                    <a:pt x="348" y="1364"/>
                  </a:lnTo>
                  <a:lnTo>
                    <a:pt x="347" y="1363"/>
                  </a:lnTo>
                  <a:lnTo>
                    <a:pt x="344" y="1363"/>
                  </a:lnTo>
                  <a:lnTo>
                    <a:pt x="344" y="1370"/>
                  </a:lnTo>
                  <a:lnTo>
                    <a:pt x="342" y="1373"/>
                  </a:lnTo>
                  <a:lnTo>
                    <a:pt x="332" y="1373"/>
                  </a:lnTo>
                  <a:lnTo>
                    <a:pt x="322" y="1380"/>
                  </a:lnTo>
                  <a:lnTo>
                    <a:pt x="306" y="1389"/>
                  </a:lnTo>
                  <a:lnTo>
                    <a:pt x="302" y="1394"/>
                  </a:lnTo>
                  <a:lnTo>
                    <a:pt x="300" y="1403"/>
                  </a:lnTo>
                  <a:lnTo>
                    <a:pt x="305" y="1421"/>
                  </a:lnTo>
                  <a:lnTo>
                    <a:pt x="308" y="1426"/>
                  </a:lnTo>
                  <a:lnTo>
                    <a:pt x="307" y="1433"/>
                  </a:lnTo>
                  <a:lnTo>
                    <a:pt x="304" y="1437"/>
                  </a:lnTo>
                  <a:lnTo>
                    <a:pt x="299" y="1436"/>
                  </a:lnTo>
                  <a:lnTo>
                    <a:pt x="293" y="1440"/>
                  </a:lnTo>
                  <a:lnTo>
                    <a:pt x="287" y="1437"/>
                  </a:lnTo>
                  <a:lnTo>
                    <a:pt x="279" y="1442"/>
                  </a:lnTo>
                  <a:lnTo>
                    <a:pt x="277" y="1443"/>
                  </a:lnTo>
                  <a:lnTo>
                    <a:pt x="273" y="1442"/>
                  </a:lnTo>
                  <a:lnTo>
                    <a:pt x="268" y="1439"/>
                  </a:lnTo>
                  <a:lnTo>
                    <a:pt x="264" y="1439"/>
                  </a:lnTo>
                  <a:lnTo>
                    <a:pt x="258" y="1441"/>
                  </a:lnTo>
                  <a:lnTo>
                    <a:pt x="250" y="1448"/>
                  </a:lnTo>
                  <a:lnTo>
                    <a:pt x="246" y="1448"/>
                  </a:lnTo>
                  <a:lnTo>
                    <a:pt x="242" y="1447"/>
                  </a:lnTo>
                  <a:lnTo>
                    <a:pt x="242" y="1446"/>
                  </a:lnTo>
                  <a:lnTo>
                    <a:pt x="246" y="1442"/>
                  </a:lnTo>
                  <a:lnTo>
                    <a:pt x="250" y="1434"/>
                  </a:lnTo>
                  <a:lnTo>
                    <a:pt x="248" y="1433"/>
                  </a:lnTo>
                  <a:lnTo>
                    <a:pt x="244" y="1432"/>
                  </a:lnTo>
                  <a:lnTo>
                    <a:pt x="243" y="1430"/>
                  </a:lnTo>
                  <a:lnTo>
                    <a:pt x="242" y="1425"/>
                  </a:lnTo>
                  <a:lnTo>
                    <a:pt x="243" y="1419"/>
                  </a:lnTo>
                  <a:lnTo>
                    <a:pt x="246" y="1417"/>
                  </a:lnTo>
                  <a:lnTo>
                    <a:pt x="255" y="1418"/>
                  </a:lnTo>
                  <a:lnTo>
                    <a:pt x="257" y="1421"/>
                  </a:lnTo>
                  <a:lnTo>
                    <a:pt x="258" y="1425"/>
                  </a:lnTo>
                  <a:lnTo>
                    <a:pt x="260" y="1425"/>
                  </a:lnTo>
                  <a:lnTo>
                    <a:pt x="261" y="1423"/>
                  </a:lnTo>
                  <a:lnTo>
                    <a:pt x="261" y="1417"/>
                  </a:lnTo>
                  <a:lnTo>
                    <a:pt x="268" y="1413"/>
                  </a:lnTo>
                  <a:lnTo>
                    <a:pt x="265" y="1411"/>
                  </a:lnTo>
                  <a:lnTo>
                    <a:pt x="262" y="1410"/>
                  </a:lnTo>
                  <a:lnTo>
                    <a:pt x="253" y="1413"/>
                  </a:lnTo>
                  <a:lnTo>
                    <a:pt x="250" y="1413"/>
                  </a:lnTo>
                  <a:lnTo>
                    <a:pt x="248" y="1412"/>
                  </a:lnTo>
                  <a:lnTo>
                    <a:pt x="251" y="1410"/>
                  </a:lnTo>
                  <a:lnTo>
                    <a:pt x="258" y="1408"/>
                  </a:lnTo>
                  <a:lnTo>
                    <a:pt x="261" y="1404"/>
                  </a:lnTo>
                  <a:lnTo>
                    <a:pt x="261" y="1403"/>
                  </a:lnTo>
                  <a:lnTo>
                    <a:pt x="259" y="1401"/>
                  </a:lnTo>
                  <a:lnTo>
                    <a:pt x="256" y="1404"/>
                  </a:lnTo>
                  <a:lnTo>
                    <a:pt x="254" y="1405"/>
                  </a:lnTo>
                  <a:lnTo>
                    <a:pt x="254" y="1400"/>
                  </a:lnTo>
                  <a:lnTo>
                    <a:pt x="253" y="1399"/>
                  </a:lnTo>
                  <a:lnTo>
                    <a:pt x="251" y="1400"/>
                  </a:lnTo>
                  <a:lnTo>
                    <a:pt x="250" y="1408"/>
                  </a:lnTo>
                  <a:lnTo>
                    <a:pt x="245" y="1410"/>
                  </a:lnTo>
                  <a:lnTo>
                    <a:pt x="242" y="1410"/>
                  </a:lnTo>
                  <a:lnTo>
                    <a:pt x="241" y="1396"/>
                  </a:lnTo>
                  <a:lnTo>
                    <a:pt x="242" y="1389"/>
                  </a:lnTo>
                  <a:lnTo>
                    <a:pt x="245" y="1383"/>
                  </a:lnTo>
                  <a:lnTo>
                    <a:pt x="252" y="1379"/>
                  </a:lnTo>
                  <a:lnTo>
                    <a:pt x="252" y="1375"/>
                  </a:lnTo>
                  <a:lnTo>
                    <a:pt x="251" y="1375"/>
                  </a:lnTo>
                  <a:lnTo>
                    <a:pt x="247" y="1379"/>
                  </a:lnTo>
                  <a:lnTo>
                    <a:pt x="243" y="1380"/>
                  </a:lnTo>
                  <a:lnTo>
                    <a:pt x="241" y="1386"/>
                  </a:lnTo>
                  <a:lnTo>
                    <a:pt x="238" y="1388"/>
                  </a:lnTo>
                  <a:lnTo>
                    <a:pt x="225" y="1372"/>
                  </a:lnTo>
                  <a:lnTo>
                    <a:pt x="226" y="1367"/>
                  </a:lnTo>
                  <a:lnTo>
                    <a:pt x="233" y="1361"/>
                  </a:lnTo>
                  <a:lnTo>
                    <a:pt x="230" y="1358"/>
                  </a:lnTo>
                  <a:lnTo>
                    <a:pt x="227" y="1358"/>
                  </a:lnTo>
                  <a:lnTo>
                    <a:pt x="222" y="1365"/>
                  </a:lnTo>
                  <a:lnTo>
                    <a:pt x="215" y="1368"/>
                  </a:lnTo>
                  <a:lnTo>
                    <a:pt x="209" y="1371"/>
                  </a:lnTo>
                  <a:lnTo>
                    <a:pt x="209" y="1373"/>
                  </a:lnTo>
                  <a:lnTo>
                    <a:pt x="210" y="1373"/>
                  </a:lnTo>
                  <a:lnTo>
                    <a:pt x="220" y="1369"/>
                  </a:lnTo>
                  <a:lnTo>
                    <a:pt x="222" y="1370"/>
                  </a:lnTo>
                  <a:lnTo>
                    <a:pt x="227" y="1385"/>
                  </a:lnTo>
                  <a:lnTo>
                    <a:pt x="236" y="1401"/>
                  </a:lnTo>
                  <a:lnTo>
                    <a:pt x="235" y="1404"/>
                  </a:lnTo>
                  <a:lnTo>
                    <a:pt x="229" y="1401"/>
                  </a:lnTo>
                  <a:lnTo>
                    <a:pt x="228" y="1403"/>
                  </a:lnTo>
                  <a:lnTo>
                    <a:pt x="229" y="1406"/>
                  </a:lnTo>
                  <a:lnTo>
                    <a:pt x="236" y="1411"/>
                  </a:lnTo>
                  <a:lnTo>
                    <a:pt x="236" y="1413"/>
                  </a:lnTo>
                  <a:lnTo>
                    <a:pt x="235" y="1419"/>
                  </a:lnTo>
                  <a:lnTo>
                    <a:pt x="234" y="1421"/>
                  </a:lnTo>
                  <a:lnTo>
                    <a:pt x="232" y="1421"/>
                  </a:lnTo>
                  <a:lnTo>
                    <a:pt x="229" y="1425"/>
                  </a:lnTo>
                  <a:lnTo>
                    <a:pt x="236" y="1432"/>
                  </a:lnTo>
                  <a:lnTo>
                    <a:pt x="240" y="1434"/>
                  </a:lnTo>
                  <a:lnTo>
                    <a:pt x="240" y="1436"/>
                  </a:lnTo>
                  <a:lnTo>
                    <a:pt x="237" y="1443"/>
                  </a:lnTo>
                  <a:lnTo>
                    <a:pt x="235" y="1454"/>
                  </a:lnTo>
                  <a:lnTo>
                    <a:pt x="234" y="1460"/>
                  </a:lnTo>
                  <a:lnTo>
                    <a:pt x="232" y="1461"/>
                  </a:lnTo>
                  <a:lnTo>
                    <a:pt x="227" y="1462"/>
                  </a:lnTo>
                  <a:lnTo>
                    <a:pt x="220" y="1473"/>
                  </a:lnTo>
                  <a:lnTo>
                    <a:pt x="216" y="1476"/>
                  </a:lnTo>
                  <a:lnTo>
                    <a:pt x="208" y="1478"/>
                  </a:lnTo>
                  <a:lnTo>
                    <a:pt x="207" y="1481"/>
                  </a:lnTo>
                  <a:lnTo>
                    <a:pt x="209" y="1485"/>
                  </a:lnTo>
                  <a:lnTo>
                    <a:pt x="214" y="1486"/>
                  </a:lnTo>
                  <a:lnTo>
                    <a:pt x="221" y="1485"/>
                  </a:lnTo>
                  <a:lnTo>
                    <a:pt x="227" y="1482"/>
                  </a:lnTo>
                  <a:lnTo>
                    <a:pt x="232" y="1482"/>
                  </a:lnTo>
                  <a:lnTo>
                    <a:pt x="236" y="1485"/>
                  </a:lnTo>
                  <a:lnTo>
                    <a:pt x="238" y="1491"/>
                  </a:lnTo>
                  <a:lnTo>
                    <a:pt x="244" y="1494"/>
                  </a:lnTo>
                  <a:lnTo>
                    <a:pt x="255" y="1494"/>
                  </a:lnTo>
                  <a:lnTo>
                    <a:pt x="264" y="1487"/>
                  </a:lnTo>
                  <a:lnTo>
                    <a:pt x="269" y="1486"/>
                  </a:lnTo>
                  <a:lnTo>
                    <a:pt x="274" y="1487"/>
                  </a:lnTo>
                  <a:lnTo>
                    <a:pt x="281" y="1491"/>
                  </a:lnTo>
                  <a:lnTo>
                    <a:pt x="281" y="1494"/>
                  </a:lnTo>
                  <a:lnTo>
                    <a:pt x="281" y="1496"/>
                  </a:lnTo>
                  <a:lnTo>
                    <a:pt x="275" y="1512"/>
                  </a:lnTo>
                  <a:lnTo>
                    <a:pt x="274" y="1533"/>
                  </a:lnTo>
                  <a:lnTo>
                    <a:pt x="273" y="1536"/>
                  </a:lnTo>
                  <a:lnTo>
                    <a:pt x="271" y="1537"/>
                  </a:lnTo>
                  <a:lnTo>
                    <a:pt x="266" y="1536"/>
                  </a:lnTo>
                  <a:lnTo>
                    <a:pt x="265" y="1533"/>
                  </a:lnTo>
                  <a:lnTo>
                    <a:pt x="265" y="1527"/>
                  </a:lnTo>
                  <a:lnTo>
                    <a:pt x="265" y="1525"/>
                  </a:lnTo>
                  <a:lnTo>
                    <a:pt x="254" y="1514"/>
                  </a:lnTo>
                  <a:lnTo>
                    <a:pt x="252" y="1513"/>
                  </a:lnTo>
                  <a:lnTo>
                    <a:pt x="242" y="1515"/>
                  </a:lnTo>
                  <a:lnTo>
                    <a:pt x="234" y="1512"/>
                  </a:lnTo>
                  <a:lnTo>
                    <a:pt x="225" y="1514"/>
                  </a:lnTo>
                  <a:lnTo>
                    <a:pt x="218" y="1514"/>
                  </a:lnTo>
                  <a:lnTo>
                    <a:pt x="203" y="1521"/>
                  </a:lnTo>
                  <a:lnTo>
                    <a:pt x="192" y="1524"/>
                  </a:lnTo>
                  <a:lnTo>
                    <a:pt x="186" y="1524"/>
                  </a:lnTo>
                  <a:lnTo>
                    <a:pt x="186" y="1523"/>
                  </a:lnTo>
                  <a:lnTo>
                    <a:pt x="186" y="1520"/>
                  </a:lnTo>
                  <a:lnTo>
                    <a:pt x="191" y="1517"/>
                  </a:lnTo>
                  <a:lnTo>
                    <a:pt x="197" y="1507"/>
                  </a:lnTo>
                  <a:lnTo>
                    <a:pt x="201" y="1504"/>
                  </a:lnTo>
                  <a:lnTo>
                    <a:pt x="208" y="1503"/>
                  </a:lnTo>
                  <a:lnTo>
                    <a:pt x="207" y="1496"/>
                  </a:lnTo>
                  <a:lnTo>
                    <a:pt x="217" y="1491"/>
                  </a:lnTo>
                  <a:lnTo>
                    <a:pt x="218" y="1489"/>
                  </a:lnTo>
                  <a:lnTo>
                    <a:pt x="216" y="1489"/>
                  </a:lnTo>
                  <a:lnTo>
                    <a:pt x="207" y="1493"/>
                  </a:lnTo>
                  <a:lnTo>
                    <a:pt x="203" y="1491"/>
                  </a:lnTo>
                  <a:lnTo>
                    <a:pt x="201" y="1490"/>
                  </a:lnTo>
                  <a:lnTo>
                    <a:pt x="201" y="1489"/>
                  </a:lnTo>
                  <a:lnTo>
                    <a:pt x="206" y="1485"/>
                  </a:lnTo>
                  <a:lnTo>
                    <a:pt x="205" y="1481"/>
                  </a:lnTo>
                  <a:lnTo>
                    <a:pt x="203" y="1479"/>
                  </a:lnTo>
                  <a:lnTo>
                    <a:pt x="198" y="1475"/>
                  </a:lnTo>
                  <a:lnTo>
                    <a:pt x="194" y="1473"/>
                  </a:lnTo>
                  <a:lnTo>
                    <a:pt x="192" y="1473"/>
                  </a:lnTo>
                  <a:lnTo>
                    <a:pt x="190" y="1476"/>
                  </a:lnTo>
                  <a:lnTo>
                    <a:pt x="193" y="1481"/>
                  </a:lnTo>
                  <a:lnTo>
                    <a:pt x="191" y="1483"/>
                  </a:lnTo>
                  <a:lnTo>
                    <a:pt x="189" y="1484"/>
                  </a:lnTo>
                  <a:lnTo>
                    <a:pt x="187" y="1483"/>
                  </a:lnTo>
                  <a:lnTo>
                    <a:pt x="183" y="1477"/>
                  </a:lnTo>
                  <a:lnTo>
                    <a:pt x="181" y="1478"/>
                  </a:lnTo>
                  <a:lnTo>
                    <a:pt x="181" y="1480"/>
                  </a:lnTo>
                  <a:lnTo>
                    <a:pt x="183" y="1484"/>
                  </a:lnTo>
                  <a:lnTo>
                    <a:pt x="183" y="1487"/>
                  </a:lnTo>
                  <a:lnTo>
                    <a:pt x="181" y="1490"/>
                  </a:lnTo>
                  <a:lnTo>
                    <a:pt x="180" y="1498"/>
                  </a:lnTo>
                  <a:lnTo>
                    <a:pt x="178" y="1499"/>
                  </a:lnTo>
                  <a:lnTo>
                    <a:pt x="176" y="1497"/>
                  </a:lnTo>
                  <a:lnTo>
                    <a:pt x="174" y="1494"/>
                  </a:lnTo>
                  <a:lnTo>
                    <a:pt x="174" y="1489"/>
                  </a:lnTo>
                  <a:lnTo>
                    <a:pt x="176" y="1488"/>
                  </a:lnTo>
                  <a:lnTo>
                    <a:pt x="178" y="1487"/>
                  </a:lnTo>
                  <a:lnTo>
                    <a:pt x="173" y="1475"/>
                  </a:lnTo>
                  <a:lnTo>
                    <a:pt x="171" y="1473"/>
                  </a:lnTo>
                  <a:lnTo>
                    <a:pt x="165" y="1475"/>
                  </a:lnTo>
                  <a:lnTo>
                    <a:pt x="164" y="1472"/>
                  </a:lnTo>
                  <a:lnTo>
                    <a:pt x="162" y="1466"/>
                  </a:lnTo>
                  <a:lnTo>
                    <a:pt x="160" y="1469"/>
                  </a:lnTo>
                  <a:lnTo>
                    <a:pt x="158" y="1469"/>
                  </a:lnTo>
                  <a:lnTo>
                    <a:pt x="148" y="1462"/>
                  </a:lnTo>
                  <a:lnTo>
                    <a:pt x="145" y="1462"/>
                  </a:lnTo>
                  <a:lnTo>
                    <a:pt x="147" y="1465"/>
                  </a:lnTo>
                  <a:lnTo>
                    <a:pt x="164" y="1477"/>
                  </a:lnTo>
                  <a:lnTo>
                    <a:pt x="169" y="1478"/>
                  </a:lnTo>
                  <a:lnTo>
                    <a:pt x="171" y="1480"/>
                  </a:lnTo>
                  <a:lnTo>
                    <a:pt x="171" y="1485"/>
                  </a:lnTo>
                  <a:lnTo>
                    <a:pt x="170" y="1491"/>
                  </a:lnTo>
                  <a:lnTo>
                    <a:pt x="164" y="1503"/>
                  </a:lnTo>
                  <a:lnTo>
                    <a:pt x="165" y="1505"/>
                  </a:lnTo>
                  <a:lnTo>
                    <a:pt x="169" y="1509"/>
                  </a:lnTo>
                  <a:lnTo>
                    <a:pt x="164" y="1511"/>
                  </a:lnTo>
                  <a:lnTo>
                    <a:pt x="158" y="1515"/>
                  </a:lnTo>
                  <a:lnTo>
                    <a:pt x="156" y="1515"/>
                  </a:lnTo>
                  <a:lnTo>
                    <a:pt x="152" y="1509"/>
                  </a:lnTo>
                  <a:lnTo>
                    <a:pt x="145" y="1504"/>
                  </a:lnTo>
                  <a:lnTo>
                    <a:pt x="140" y="1500"/>
                  </a:lnTo>
                  <a:lnTo>
                    <a:pt x="139" y="1502"/>
                  </a:lnTo>
                  <a:lnTo>
                    <a:pt x="140" y="1504"/>
                  </a:lnTo>
                  <a:lnTo>
                    <a:pt x="142" y="1507"/>
                  </a:lnTo>
                  <a:lnTo>
                    <a:pt x="145" y="1509"/>
                  </a:lnTo>
                  <a:lnTo>
                    <a:pt x="151" y="1512"/>
                  </a:lnTo>
                  <a:lnTo>
                    <a:pt x="154" y="1516"/>
                  </a:lnTo>
                  <a:lnTo>
                    <a:pt x="158" y="1521"/>
                  </a:lnTo>
                  <a:lnTo>
                    <a:pt x="160" y="1526"/>
                  </a:lnTo>
                  <a:lnTo>
                    <a:pt x="157" y="1534"/>
                  </a:lnTo>
                  <a:lnTo>
                    <a:pt x="157" y="1537"/>
                  </a:lnTo>
                  <a:lnTo>
                    <a:pt x="166" y="1558"/>
                  </a:lnTo>
                  <a:lnTo>
                    <a:pt x="165" y="1560"/>
                  </a:lnTo>
                  <a:lnTo>
                    <a:pt x="164" y="1561"/>
                  </a:lnTo>
                  <a:lnTo>
                    <a:pt x="162" y="1555"/>
                  </a:lnTo>
                  <a:lnTo>
                    <a:pt x="161" y="1554"/>
                  </a:lnTo>
                  <a:lnTo>
                    <a:pt x="156" y="1557"/>
                  </a:lnTo>
                  <a:lnTo>
                    <a:pt x="147" y="1557"/>
                  </a:lnTo>
                  <a:lnTo>
                    <a:pt x="148" y="1559"/>
                  </a:lnTo>
                  <a:lnTo>
                    <a:pt x="150" y="1560"/>
                  </a:lnTo>
                  <a:lnTo>
                    <a:pt x="161" y="1560"/>
                  </a:lnTo>
                  <a:lnTo>
                    <a:pt x="153" y="1570"/>
                  </a:lnTo>
                  <a:lnTo>
                    <a:pt x="149" y="1574"/>
                  </a:lnTo>
                  <a:lnTo>
                    <a:pt x="148" y="1584"/>
                  </a:lnTo>
                  <a:lnTo>
                    <a:pt x="150" y="1585"/>
                  </a:lnTo>
                  <a:lnTo>
                    <a:pt x="151" y="1584"/>
                  </a:lnTo>
                  <a:lnTo>
                    <a:pt x="152" y="1576"/>
                  </a:lnTo>
                  <a:lnTo>
                    <a:pt x="155" y="1572"/>
                  </a:lnTo>
                  <a:lnTo>
                    <a:pt x="160" y="1570"/>
                  </a:lnTo>
                  <a:lnTo>
                    <a:pt x="162" y="1566"/>
                  </a:lnTo>
                  <a:lnTo>
                    <a:pt x="169" y="1563"/>
                  </a:lnTo>
                  <a:lnTo>
                    <a:pt x="172" y="1567"/>
                  </a:lnTo>
                  <a:lnTo>
                    <a:pt x="174" y="1567"/>
                  </a:lnTo>
                  <a:lnTo>
                    <a:pt x="174" y="1566"/>
                  </a:lnTo>
                  <a:lnTo>
                    <a:pt x="172" y="1561"/>
                  </a:lnTo>
                  <a:lnTo>
                    <a:pt x="175" y="1559"/>
                  </a:lnTo>
                  <a:lnTo>
                    <a:pt x="180" y="1559"/>
                  </a:lnTo>
                  <a:lnTo>
                    <a:pt x="183" y="1563"/>
                  </a:lnTo>
                  <a:lnTo>
                    <a:pt x="186" y="1565"/>
                  </a:lnTo>
                  <a:lnTo>
                    <a:pt x="207" y="1562"/>
                  </a:lnTo>
                  <a:lnTo>
                    <a:pt x="218" y="1569"/>
                  </a:lnTo>
                  <a:lnTo>
                    <a:pt x="223" y="1571"/>
                  </a:lnTo>
                  <a:lnTo>
                    <a:pt x="226" y="1577"/>
                  </a:lnTo>
                  <a:lnTo>
                    <a:pt x="230" y="1590"/>
                  </a:lnTo>
                  <a:lnTo>
                    <a:pt x="230" y="1595"/>
                  </a:lnTo>
                  <a:lnTo>
                    <a:pt x="228" y="1601"/>
                  </a:lnTo>
                  <a:lnTo>
                    <a:pt x="223" y="1607"/>
                  </a:lnTo>
                  <a:lnTo>
                    <a:pt x="221" y="1607"/>
                  </a:lnTo>
                  <a:lnTo>
                    <a:pt x="218" y="1605"/>
                  </a:lnTo>
                  <a:lnTo>
                    <a:pt x="216" y="1602"/>
                  </a:lnTo>
                  <a:lnTo>
                    <a:pt x="216" y="1594"/>
                  </a:lnTo>
                  <a:lnTo>
                    <a:pt x="212" y="1588"/>
                  </a:lnTo>
                  <a:lnTo>
                    <a:pt x="212" y="1584"/>
                  </a:lnTo>
                  <a:lnTo>
                    <a:pt x="211" y="1585"/>
                  </a:lnTo>
                  <a:lnTo>
                    <a:pt x="209" y="1587"/>
                  </a:lnTo>
                  <a:lnTo>
                    <a:pt x="210" y="1593"/>
                  </a:lnTo>
                  <a:lnTo>
                    <a:pt x="209" y="1596"/>
                  </a:lnTo>
                  <a:lnTo>
                    <a:pt x="207" y="1596"/>
                  </a:lnTo>
                  <a:lnTo>
                    <a:pt x="202" y="1594"/>
                  </a:lnTo>
                  <a:lnTo>
                    <a:pt x="201" y="1596"/>
                  </a:lnTo>
                  <a:lnTo>
                    <a:pt x="202" y="1599"/>
                  </a:lnTo>
                  <a:lnTo>
                    <a:pt x="204" y="1602"/>
                  </a:lnTo>
                  <a:lnTo>
                    <a:pt x="206" y="1602"/>
                  </a:lnTo>
                  <a:lnTo>
                    <a:pt x="209" y="1599"/>
                  </a:lnTo>
                  <a:lnTo>
                    <a:pt x="210" y="1599"/>
                  </a:lnTo>
                  <a:lnTo>
                    <a:pt x="211" y="1610"/>
                  </a:lnTo>
                  <a:lnTo>
                    <a:pt x="210" y="1612"/>
                  </a:lnTo>
                  <a:lnTo>
                    <a:pt x="205" y="1614"/>
                  </a:lnTo>
                  <a:lnTo>
                    <a:pt x="198" y="1619"/>
                  </a:lnTo>
                  <a:lnTo>
                    <a:pt x="196" y="1622"/>
                  </a:lnTo>
                  <a:lnTo>
                    <a:pt x="197" y="1625"/>
                  </a:lnTo>
                  <a:lnTo>
                    <a:pt x="202" y="1626"/>
                  </a:lnTo>
                  <a:lnTo>
                    <a:pt x="205" y="1620"/>
                  </a:lnTo>
                  <a:lnTo>
                    <a:pt x="209" y="1617"/>
                  </a:lnTo>
                  <a:lnTo>
                    <a:pt x="211" y="1626"/>
                  </a:lnTo>
                  <a:lnTo>
                    <a:pt x="210" y="1632"/>
                  </a:lnTo>
                  <a:lnTo>
                    <a:pt x="211" y="1634"/>
                  </a:lnTo>
                  <a:lnTo>
                    <a:pt x="226" y="1624"/>
                  </a:lnTo>
                  <a:lnTo>
                    <a:pt x="229" y="1623"/>
                  </a:lnTo>
                  <a:lnTo>
                    <a:pt x="232" y="1623"/>
                  </a:lnTo>
                  <a:lnTo>
                    <a:pt x="232" y="1625"/>
                  </a:lnTo>
                  <a:lnTo>
                    <a:pt x="230" y="1628"/>
                  </a:lnTo>
                  <a:lnTo>
                    <a:pt x="228" y="1628"/>
                  </a:lnTo>
                  <a:lnTo>
                    <a:pt x="227" y="1626"/>
                  </a:lnTo>
                  <a:lnTo>
                    <a:pt x="225" y="1629"/>
                  </a:lnTo>
                  <a:lnTo>
                    <a:pt x="226" y="1631"/>
                  </a:lnTo>
                  <a:lnTo>
                    <a:pt x="228" y="1631"/>
                  </a:lnTo>
                  <a:lnTo>
                    <a:pt x="233" y="1637"/>
                  </a:lnTo>
                  <a:lnTo>
                    <a:pt x="233" y="1639"/>
                  </a:lnTo>
                  <a:lnTo>
                    <a:pt x="230" y="1642"/>
                  </a:lnTo>
                  <a:lnTo>
                    <a:pt x="230" y="1643"/>
                  </a:lnTo>
                  <a:lnTo>
                    <a:pt x="232" y="1644"/>
                  </a:lnTo>
                  <a:lnTo>
                    <a:pt x="235" y="1644"/>
                  </a:lnTo>
                  <a:lnTo>
                    <a:pt x="238" y="1647"/>
                  </a:lnTo>
                  <a:lnTo>
                    <a:pt x="248" y="1656"/>
                  </a:lnTo>
                  <a:lnTo>
                    <a:pt x="252" y="1656"/>
                  </a:lnTo>
                  <a:lnTo>
                    <a:pt x="253" y="1652"/>
                  </a:lnTo>
                  <a:lnTo>
                    <a:pt x="255" y="1652"/>
                  </a:lnTo>
                  <a:lnTo>
                    <a:pt x="259" y="1653"/>
                  </a:lnTo>
                  <a:lnTo>
                    <a:pt x="268" y="1664"/>
                  </a:lnTo>
                  <a:lnTo>
                    <a:pt x="272" y="1676"/>
                  </a:lnTo>
                  <a:lnTo>
                    <a:pt x="276" y="1682"/>
                  </a:lnTo>
                  <a:lnTo>
                    <a:pt x="276" y="1686"/>
                  </a:lnTo>
                  <a:lnTo>
                    <a:pt x="273" y="1693"/>
                  </a:lnTo>
                  <a:lnTo>
                    <a:pt x="273" y="1701"/>
                  </a:lnTo>
                  <a:lnTo>
                    <a:pt x="270" y="1702"/>
                  </a:lnTo>
                  <a:lnTo>
                    <a:pt x="259" y="1711"/>
                  </a:lnTo>
                  <a:lnTo>
                    <a:pt x="255" y="1720"/>
                  </a:lnTo>
                  <a:lnTo>
                    <a:pt x="247" y="1731"/>
                  </a:lnTo>
                  <a:lnTo>
                    <a:pt x="235" y="1739"/>
                  </a:lnTo>
                  <a:lnTo>
                    <a:pt x="227" y="1739"/>
                  </a:lnTo>
                  <a:lnTo>
                    <a:pt x="224" y="1740"/>
                  </a:lnTo>
                  <a:lnTo>
                    <a:pt x="216" y="1748"/>
                  </a:lnTo>
                  <a:lnTo>
                    <a:pt x="210" y="1754"/>
                  </a:lnTo>
                  <a:lnTo>
                    <a:pt x="205" y="1755"/>
                  </a:lnTo>
                  <a:lnTo>
                    <a:pt x="200" y="1754"/>
                  </a:lnTo>
                  <a:lnTo>
                    <a:pt x="199" y="1755"/>
                  </a:lnTo>
                  <a:lnTo>
                    <a:pt x="199" y="1759"/>
                  </a:lnTo>
                  <a:lnTo>
                    <a:pt x="198" y="1759"/>
                  </a:lnTo>
                  <a:lnTo>
                    <a:pt x="196" y="1759"/>
                  </a:lnTo>
                  <a:lnTo>
                    <a:pt x="192" y="1753"/>
                  </a:lnTo>
                  <a:lnTo>
                    <a:pt x="184" y="1750"/>
                  </a:lnTo>
                  <a:lnTo>
                    <a:pt x="178" y="1752"/>
                  </a:lnTo>
                  <a:lnTo>
                    <a:pt x="169" y="1751"/>
                  </a:lnTo>
                  <a:lnTo>
                    <a:pt x="167" y="1757"/>
                  </a:lnTo>
                  <a:lnTo>
                    <a:pt x="164" y="1759"/>
                  </a:lnTo>
                  <a:lnTo>
                    <a:pt x="148" y="1760"/>
                  </a:lnTo>
                  <a:lnTo>
                    <a:pt x="145" y="1758"/>
                  </a:lnTo>
                  <a:lnTo>
                    <a:pt x="145" y="1753"/>
                  </a:lnTo>
                  <a:lnTo>
                    <a:pt x="137" y="1753"/>
                  </a:lnTo>
                  <a:lnTo>
                    <a:pt x="133" y="1752"/>
                  </a:lnTo>
                  <a:lnTo>
                    <a:pt x="129" y="1748"/>
                  </a:lnTo>
                  <a:lnTo>
                    <a:pt x="127" y="1744"/>
                  </a:lnTo>
                  <a:lnTo>
                    <a:pt x="126" y="1742"/>
                  </a:lnTo>
                  <a:lnTo>
                    <a:pt x="117" y="1744"/>
                  </a:lnTo>
                  <a:lnTo>
                    <a:pt x="109" y="1748"/>
                  </a:lnTo>
                  <a:lnTo>
                    <a:pt x="100" y="1745"/>
                  </a:lnTo>
                  <a:lnTo>
                    <a:pt x="97" y="1751"/>
                  </a:lnTo>
                  <a:lnTo>
                    <a:pt x="86" y="1762"/>
                  </a:lnTo>
                  <a:lnTo>
                    <a:pt x="83" y="1762"/>
                  </a:lnTo>
                  <a:lnTo>
                    <a:pt x="81" y="1762"/>
                  </a:lnTo>
                  <a:lnTo>
                    <a:pt x="80" y="1759"/>
                  </a:lnTo>
                  <a:lnTo>
                    <a:pt x="81" y="1757"/>
                  </a:lnTo>
                  <a:lnTo>
                    <a:pt x="86" y="1746"/>
                  </a:lnTo>
                  <a:lnTo>
                    <a:pt x="83" y="1731"/>
                  </a:lnTo>
                  <a:lnTo>
                    <a:pt x="78" y="1723"/>
                  </a:lnTo>
                  <a:lnTo>
                    <a:pt x="71" y="1722"/>
                  </a:lnTo>
                  <a:lnTo>
                    <a:pt x="70" y="1721"/>
                  </a:lnTo>
                  <a:lnTo>
                    <a:pt x="65" y="1711"/>
                  </a:lnTo>
                  <a:lnTo>
                    <a:pt x="65" y="1709"/>
                  </a:lnTo>
                  <a:lnTo>
                    <a:pt x="66" y="1708"/>
                  </a:lnTo>
                  <a:lnTo>
                    <a:pt x="70" y="1709"/>
                  </a:lnTo>
                  <a:lnTo>
                    <a:pt x="73" y="1708"/>
                  </a:lnTo>
                  <a:lnTo>
                    <a:pt x="75" y="1704"/>
                  </a:lnTo>
                  <a:lnTo>
                    <a:pt x="76" y="1698"/>
                  </a:lnTo>
                  <a:lnTo>
                    <a:pt x="77" y="1696"/>
                  </a:lnTo>
                  <a:lnTo>
                    <a:pt x="79" y="1704"/>
                  </a:lnTo>
                  <a:lnTo>
                    <a:pt x="84" y="1705"/>
                  </a:lnTo>
                  <a:lnTo>
                    <a:pt x="90" y="1710"/>
                  </a:lnTo>
                  <a:lnTo>
                    <a:pt x="95" y="1716"/>
                  </a:lnTo>
                  <a:lnTo>
                    <a:pt x="100" y="1723"/>
                  </a:lnTo>
                  <a:lnTo>
                    <a:pt x="101" y="1728"/>
                  </a:lnTo>
                  <a:lnTo>
                    <a:pt x="102" y="1729"/>
                  </a:lnTo>
                  <a:lnTo>
                    <a:pt x="109" y="1724"/>
                  </a:lnTo>
                  <a:lnTo>
                    <a:pt x="111" y="1719"/>
                  </a:lnTo>
                  <a:lnTo>
                    <a:pt x="122" y="1719"/>
                  </a:lnTo>
                  <a:lnTo>
                    <a:pt x="119" y="1716"/>
                  </a:lnTo>
                  <a:lnTo>
                    <a:pt x="115" y="1714"/>
                  </a:lnTo>
                  <a:lnTo>
                    <a:pt x="110" y="1715"/>
                  </a:lnTo>
                  <a:lnTo>
                    <a:pt x="107" y="1721"/>
                  </a:lnTo>
                  <a:lnTo>
                    <a:pt x="104" y="1723"/>
                  </a:lnTo>
                  <a:lnTo>
                    <a:pt x="103" y="1722"/>
                  </a:lnTo>
                  <a:lnTo>
                    <a:pt x="101" y="1719"/>
                  </a:lnTo>
                  <a:lnTo>
                    <a:pt x="102" y="1716"/>
                  </a:lnTo>
                  <a:lnTo>
                    <a:pt x="112" y="1706"/>
                  </a:lnTo>
                  <a:lnTo>
                    <a:pt x="113" y="1696"/>
                  </a:lnTo>
                  <a:lnTo>
                    <a:pt x="114" y="1692"/>
                  </a:lnTo>
                  <a:lnTo>
                    <a:pt x="99" y="1696"/>
                  </a:lnTo>
                  <a:lnTo>
                    <a:pt x="99" y="1687"/>
                  </a:lnTo>
                  <a:lnTo>
                    <a:pt x="97" y="1686"/>
                  </a:lnTo>
                  <a:lnTo>
                    <a:pt x="94" y="1688"/>
                  </a:lnTo>
                  <a:lnTo>
                    <a:pt x="91" y="1695"/>
                  </a:lnTo>
                  <a:lnTo>
                    <a:pt x="90" y="1696"/>
                  </a:lnTo>
                  <a:lnTo>
                    <a:pt x="89" y="1691"/>
                  </a:lnTo>
                  <a:lnTo>
                    <a:pt x="89" y="1681"/>
                  </a:lnTo>
                  <a:lnTo>
                    <a:pt x="85" y="1674"/>
                  </a:lnTo>
                  <a:lnTo>
                    <a:pt x="86" y="1669"/>
                  </a:lnTo>
                  <a:lnTo>
                    <a:pt x="85" y="1669"/>
                  </a:lnTo>
                  <a:lnTo>
                    <a:pt x="83" y="1670"/>
                  </a:lnTo>
                  <a:lnTo>
                    <a:pt x="82" y="1671"/>
                  </a:lnTo>
                  <a:lnTo>
                    <a:pt x="83" y="1677"/>
                  </a:lnTo>
                  <a:lnTo>
                    <a:pt x="85" y="1681"/>
                  </a:lnTo>
                  <a:lnTo>
                    <a:pt x="85" y="1683"/>
                  </a:lnTo>
                  <a:lnTo>
                    <a:pt x="84" y="1693"/>
                  </a:lnTo>
                  <a:lnTo>
                    <a:pt x="83" y="1696"/>
                  </a:lnTo>
                  <a:lnTo>
                    <a:pt x="82" y="1697"/>
                  </a:lnTo>
                  <a:lnTo>
                    <a:pt x="81" y="1695"/>
                  </a:lnTo>
                  <a:lnTo>
                    <a:pt x="80" y="1687"/>
                  </a:lnTo>
                  <a:lnTo>
                    <a:pt x="73" y="1679"/>
                  </a:lnTo>
                  <a:lnTo>
                    <a:pt x="63" y="1676"/>
                  </a:lnTo>
                  <a:lnTo>
                    <a:pt x="53" y="1677"/>
                  </a:lnTo>
                  <a:lnTo>
                    <a:pt x="49" y="1673"/>
                  </a:lnTo>
                  <a:lnTo>
                    <a:pt x="48" y="1666"/>
                  </a:lnTo>
                  <a:lnTo>
                    <a:pt x="48" y="1663"/>
                  </a:lnTo>
                  <a:lnTo>
                    <a:pt x="56" y="1661"/>
                  </a:lnTo>
                  <a:lnTo>
                    <a:pt x="64" y="1660"/>
                  </a:lnTo>
                  <a:lnTo>
                    <a:pt x="62" y="1658"/>
                  </a:lnTo>
                  <a:lnTo>
                    <a:pt x="56" y="1656"/>
                  </a:lnTo>
                  <a:lnTo>
                    <a:pt x="59" y="1649"/>
                  </a:lnTo>
                  <a:lnTo>
                    <a:pt x="58" y="1647"/>
                  </a:lnTo>
                  <a:lnTo>
                    <a:pt x="57" y="1647"/>
                  </a:lnTo>
                  <a:lnTo>
                    <a:pt x="55" y="1651"/>
                  </a:lnTo>
                  <a:lnTo>
                    <a:pt x="53" y="1652"/>
                  </a:lnTo>
                  <a:lnTo>
                    <a:pt x="46" y="1641"/>
                  </a:lnTo>
                  <a:lnTo>
                    <a:pt x="39" y="1632"/>
                  </a:lnTo>
                  <a:lnTo>
                    <a:pt x="34" y="1631"/>
                  </a:lnTo>
                  <a:lnTo>
                    <a:pt x="29" y="1634"/>
                  </a:lnTo>
                  <a:lnTo>
                    <a:pt x="27" y="1634"/>
                  </a:lnTo>
                  <a:lnTo>
                    <a:pt x="26" y="1633"/>
                  </a:lnTo>
                  <a:lnTo>
                    <a:pt x="26" y="1627"/>
                  </a:lnTo>
                  <a:lnTo>
                    <a:pt x="25" y="1622"/>
                  </a:lnTo>
                  <a:lnTo>
                    <a:pt x="31" y="1614"/>
                  </a:lnTo>
                  <a:lnTo>
                    <a:pt x="37" y="1613"/>
                  </a:lnTo>
                  <a:lnTo>
                    <a:pt x="41" y="1616"/>
                  </a:lnTo>
                  <a:lnTo>
                    <a:pt x="43" y="1616"/>
                  </a:lnTo>
                  <a:lnTo>
                    <a:pt x="49" y="1612"/>
                  </a:lnTo>
                  <a:lnTo>
                    <a:pt x="55" y="1612"/>
                  </a:lnTo>
                  <a:lnTo>
                    <a:pt x="58" y="1611"/>
                  </a:lnTo>
                  <a:lnTo>
                    <a:pt x="61" y="1608"/>
                  </a:lnTo>
                  <a:lnTo>
                    <a:pt x="62" y="1605"/>
                  </a:lnTo>
                  <a:lnTo>
                    <a:pt x="61" y="1604"/>
                  </a:lnTo>
                  <a:lnTo>
                    <a:pt x="44" y="1606"/>
                  </a:lnTo>
                  <a:lnTo>
                    <a:pt x="37" y="1610"/>
                  </a:lnTo>
                  <a:lnTo>
                    <a:pt x="34" y="1608"/>
                  </a:lnTo>
                  <a:lnTo>
                    <a:pt x="30" y="1604"/>
                  </a:lnTo>
                  <a:lnTo>
                    <a:pt x="28" y="1597"/>
                  </a:lnTo>
                  <a:lnTo>
                    <a:pt x="29" y="1594"/>
                  </a:lnTo>
                  <a:lnTo>
                    <a:pt x="33" y="1586"/>
                  </a:lnTo>
                  <a:lnTo>
                    <a:pt x="28" y="1572"/>
                  </a:lnTo>
                  <a:lnTo>
                    <a:pt x="28" y="1571"/>
                  </a:lnTo>
                  <a:lnTo>
                    <a:pt x="31" y="1570"/>
                  </a:lnTo>
                  <a:lnTo>
                    <a:pt x="29" y="1566"/>
                  </a:lnTo>
                  <a:lnTo>
                    <a:pt x="31" y="1558"/>
                  </a:lnTo>
                  <a:lnTo>
                    <a:pt x="30" y="1555"/>
                  </a:lnTo>
                  <a:lnTo>
                    <a:pt x="29" y="1554"/>
                  </a:lnTo>
                  <a:lnTo>
                    <a:pt x="27" y="1555"/>
                  </a:lnTo>
                  <a:lnTo>
                    <a:pt x="22" y="1558"/>
                  </a:lnTo>
                  <a:lnTo>
                    <a:pt x="22" y="1562"/>
                  </a:lnTo>
                  <a:lnTo>
                    <a:pt x="24" y="1572"/>
                  </a:lnTo>
                  <a:lnTo>
                    <a:pt x="24" y="1575"/>
                  </a:lnTo>
                  <a:lnTo>
                    <a:pt x="22" y="1575"/>
                  </a:lnTo>
                  <a:lnTo>
                    <a:pt x="19" y="1573"/>
                  </a:lnTo>
                  <a:lnTo>
                    <a:pt x="13" y="1561"/>
                  </a:lnTo>
                  <a:lnTo>
                    <a:pt x="12" y="1563"/>
                  </a:lnTo>
                  <a:lnTo>
                    <a:pt x="17" y="1574"/>
                  </a:lnTo>
                  <a:lnTo>
                    <a:pt x="17" y="1575"/>
                  </a:lnTo>
                  <a:lnTo>
                    <a:pt x="15" y="1573"/>
                  </a:lnTo>
                  <a:lnTo>
                    <a:pt x="2" y="1554"/>
                  </a:lnTo>
                  <a:lnTo>
                    <a:pt x="0" y="1544"/>
                  </a:lnTo>
                  <a:lnTo>
                    <a:pt x="1" y="1531"/>
                  </a:lnTo>
                  <a:lnTo>
                    <a:pt x="2" y="1529"/>
                  </a:lnTo>
                  <a:lnTo>
                    <a:pt x="6" y="1530"/>
                  </a:lnTo>
                  <a:lnTo>
                    <a:pt x="8" y="1529"/>
                  </a:lnTo>
                  <a:lnTo>
                    <a:pt x="3" y="1523"/>
                  </a:lnTo>
                  <a:lnTo>
                    <a:pt x="3" y="1518"/>
                  </a:lnTo>
                  <a:lnTo>
                    <a:pt x="5" y="1513"/>
                  </a:lnTo>
                  <a:lnTo>
                    <a:pt x="7" y="1508"/>
                  </a:lnTo>
                  <a:lnTo>
                    <a:pt x="8" y="1508"/>
                  </a:lnTo>
                  <a:lnTo>
                    <a:pt x="8" y="1512"/>
                  </a:lnTo>
                  <a:lnTo>
                    <a:pt x="9" y="1514"/>
                  </a:lnTo>
                  <a:lnTo>
                    <a:pt x="11" y="1514"/>
                  </a:lnTo>
                  <a:lnTo>
                    <a:pt x="13" y="1512"/>
                  </a:lnTo>
                  <a:lnTo>
                    <a:pt x="11" y="1506"/>
                  </a:lnTo>
                  <a:lnTo>
                    <a:pt x="15" y="1495"/>
                  </a:lnTo>
                  <a:lnTo>
                    <a:pt x="12" y="1487"/>
                  </a:lnTo>
                  <a:lnTo>
                    <a:pt x="4" y="1477"/>
                  </a:lnTo>
                  <a:lnTo>
                    <a:pt x="5" y="1470"/>
                  </a:lnTo>
                  <a:lnTo>
                    <a:pt x="6" y="1466"/>
                  </a:lnTo>
                  <a:lnTo>
                    <a:pt x="10" y="1461"/>
                  </a:lnTo>
                  <a:lnTo>
                    <a:pt x="17" y="1455"/>
                  </a:lnTo>
                  <a:lnTo>
                    <a:pt x="23" y="1448"/>
                  </a:lnTo>
                  <a:lnTo>
                    <a:pt x="24" y="1449"/>
                  </a:lnTo>
                  <a:lnTo>
                    <a:pt x="24" y="1450"/>
                  </a:lnTo>
                  <a:lnTo>
                    <a:pt x="23" y="1460"/>
                  </a:lnTo>
                  <a:lnTo>
                    <a:pt x="27" y="1462"/>
                  </a:lnTo>
                  <a:lnTo>
                    <a:pt x="31" y="1461"/>
                  </a:lnTo>
                  <a:lnTo>
                    <a:pt x="27" y="1455"/>
                  </a:lnTo>
                  <a:lnTo>
                    <a:pt x="26" y="1453"/>
                  </a:lnTo>
                  <a:lnTo>
                    <a:pt x="28" y="1449"/>
                  </a:lnTo>
                  <a:lnTo>
                    <a:pt x="35" y="1439"/>
                  </a:lnTo>
                  <a:lnTo>
                    <a:pt x="36" y="1434"/>
                  </a:lnTo>
                  <a:lnTo>
                    <a:pt x="34" y="1423"/>
                  </a:lnTo>
                  <a:lnTo>
                    <a:pt x="35" y="1410"/>
                  </a:lnTo>
                  <a:lnTo>
                    <a:pt x="33" y="1399"/>
                  </a:lnTo>
                  <a:lnTo>
                    <a:pt x="34" y="1397"/>
                  </a:lnTo>
                  <a:lnTo>
                    <a:pt x="36" y="1397"/>
                  </a:lnTo>
                  <a:lnTo>
                    <a:pt x="38" y="1399"/>
                  </a:lnTo>
                  <a:lnTo>
                    <a:pt x="40" y="1400"/>
                  </a:lnTo>
                  <a:lnTo>
                    <a:pt x="47" y="1395"/>
                  </a:lnTo>
                  <a:lnTo>
                    <a:pt x="67" y="1393"/>
                  </a:lnTo>
                  <a:lnTo>
                    <a:pt x="81" y="1395"/>
                  </a:lnTo>
                  <a:lnTo>
                    <a:pt x="95" y="1399"/>
                  </a:lnTo>
                  <a:lnTo>
                    <a:pt x="97" y="1399"/>
                  </a:lnTo>
                  <a:lnTo>
                    <a:pt x="93" y="1396"/>
                  </a:lnTo>
                  <a:lnTo>
                    <a:pt x="81" y="1391"/>
                  </a:lnTo>
                  <a:lnTo>
                    <a:pt x="79" y="1389"/>
                  </a:lnTo>
                  <a:lnTo>
                    <a:pt x="77" y="1385"/>
                  </a:lnTo>
                  <a:lnTo>
                    <a:pt x="78" y="1380"/>
                  </a:lnTo>
                  <a:lnTo>
                    <a:pt x="79" y="1377"/>
                  </a:lnTo>
                  <a:lnTo>
                    <a:pt x="90" y="1370"/>
                  </a:lnTo>
                  <a:lnTo>
                    <a:pt x="94" y="1364"/>
                  </a:lnTo>
                  <a:lnTo>
                    <a:pt x="96" y="1360"/>
                  </a:lnTo>
                  <a:lnTo>
                    <a:pt x="95" y="1358"/>
                  </a:lnTo>
                  <a:lnTo>
                    <a:pt x="93" y="1358"/>
                  </a:lnTo>
                  <a:lnTo>
                    <a:pt x="89" y="1364"/>
                  </a:lnTo>
                  <a:lnTo>
                    <a:pt x="86" y="1365"/>
                  </a:lnTo>
                  <a:lnTo>
                    <a:pt x="79" y="1364"/>
                  </a:lnTo>
                  <a:lnTo>
                    <a:pt x="78" y="1363"/>
                  </a:lnTo>
                  <a:lnTo>
                    <a:pt x="78" y="1362"/>
                  </a:lnTo>
                  <a:lnTo>
                    <a:pt x="81" y="1359"/>
                  </a:lnTo>
                  <a:lnTo>
                    <a:pt x="92" y="1353"/>
                  </a:lnTo>
                  <a:lnTo>
                    <a:pt x="92" y="1352"/>
                  </a:lnTo>
                  <a:lnTo>
                    <a:pt x="85" y="1351"/>
                  </a:lnTo>
                  <a:lnTo>
                    <a:pt x="71" y="1357"/>
                  </a:lnTo>
                  <a:lnTo>
                    <a:pt x="65" y="1357"/>
                  </a:lnTo>
                  <a:lnTo>
                    <a:pt x="60" y="1355"/>
                  </a:lnTo>
                  <a:lnTo>
                    <a:pt x="58" y="1352"/>
                  </a:lnTo>
                  <a:lnTo>
                    <a:pt x="60" y="1342"/>
                  </a:lnTo>
                  <a:lnTo>
                    <a:pt x="60" y="1342"/>
                  </a:lnTo>
                  <a:lnTo>
                    <a:pt x="57" y="1342"/>
                  </a:lnTo>
                  <a:lnTo>
                    <a:pt x="56" y="1344"/>
                  </a:lnTo>
                  <a:lnTo>
                    <a:pt x="52" y="1360"/>
                  </a:lnTo>
                  <a:lnTo>
                    <a:pt x="48" y="1362"/>
                  </a:lnTo>
                  <a:lnTo>
                    <a:pt x="46" y="1361"/>
                  </a:lnTo>
                  <a:lnTo>
                    <a:pt x="44" y="1358"/>
                  </a:lnTo>
                  <a:lnTo>
                    <a:pt x="43" y="1333"/>
                  </a:lnTo>
                  <a:lnTo>
                    <a:pt x="38" y="1335"/>
                  </a:lnTo>
                  <a:lnTo>
                    <a:pt x="36" y="1334"/>
                  </a:lnTo>
                  <a:lnTo>
                    <a:pt x="35" y="1332"/>
                  </a:lnTo>
                  <a:lnTo>
                    <a:pt x="35" y="1326"/>
                  </a:lnTo>
                  <a:lnTo>
                    <a:pt x="39" y="1322"/>
                  </a:lnTo>
                  <a:lnTo>
                    <a:pt x="39" y="1319"/>
                  </a:lnTo>
                  <a:lnTo>
                    <a:pt x="37" y="1319"/>
                  </a:lnTo>
                  <a:lnTo>
                    <a:pt x="31" y="1324"/>
                  </a:lnTo>
                  <a:lnTo>
                    <a:pt x="29" y="1323"/>
                  </a:lnTo>
                  <a:lnTo>
                    <a:pt x="28" y="1319"/>
                  </a:lnTo>
                  <a:lnTo>
                    <a:pt x="28" y="1319"/>
                  </a:lnTo>
                  <a:lnTo>
                    <a:pt x="27" y="1310"/>
                  </a:lnTo>
                  <a:lnTo>
                    <a:pt x="28" y="1305"/>
                  </a:lnTo>
                  <a:lnTo>
                    <a:pt x="30" y="1296"/>
                  </a:lnTo>
                  <a:lnTo>
                    <a:pt x="35" y="1288"/>
                  </a:lnTo>
                  <a:lnTo>
                    <a:pt x="38" y="1289"/>
                  </a:lnTo>
                  <a:lnTo>
                    <a:pt x="45" y="1295"/>
                  </a:lnTo>
                  <a:lnTo>
                    <a:pt x="53" y="1296"/>
                  </a:lnTo>
                  <a:lnTo>
                    <a:pt x="60" y="1295"/>
                  </a:lnTo>
                  <a:lnTo>
                    <a:pt x="69" y="1291"/>
                  </a:lnTo>
                  <a:lnTo>
                    <a:pt x="74" y="1288"/>
                  </a:lnTo>
                  <a:lnTo>
                    <a:pt x="77" y="1285"/>
                  </a:lnTo>
                  <a:lnTo>
                    <a:pt x="80" y="1280"/>
                  </a:lnTo>
                  <a:lnTo>
                    <a:pt x="82" y="1272"/>
                  </a:lnTo>
                  <a:lnTo>
                    <a:pt x="88" y="1239"/>
                  </a:lnTo>
                  <a:lnTo>
                    <a:pt x="93" y="1230"/>
                  </a:lnTo>
                  <a:lnTo>
                    <a:pt x="99" y="1225"/>
                  </a:lnTo>
                  <a:lnTo>
                    <a:pt x="108" y="1221"/>
                  </a:lnTo>
                  <a:lnTo>
                    <a:pt x="120" y="1223"/>
                  </a:lnTo>
                  <a:lnTo>
                    <a:pt x="130" y="1223"/>
                  </a:lnTo>
                  <a:lnTo>
                    <a:pt x="145" y="1214"/>
                  </a:lnTo>
                  <a:lnTo>
                    <a:pt x="149" y="1213"/>
                  </a:lnTo>
                  <a:lnTo>
                    <a:pt x="158" y="1213"/>
                  </a:lnTo>
                  <a:lnTo>
                    <a:pt x="172" y="1216"/>
                  </a:lnTo>
                  <a:lnTo>
                    <a:pt x="198" y="1211"/>
                  </a:lnTo>
                  <a:lnTo>
                    <a:pt x="220" y="1211"/>
                  </a:lnTo>
                  <a:lnTo>
                    <a:pt x="229" y="1205"/>
                  </a:lnTo>
                  <a:lnTo>
                    <a:pt x="232" y="1202"/>
                  </a:lnTo>
                  <a:lnTo>
                    <a:pt x="232" y="1199"/>
                  </a:lnTo>
                  <a:lnTo>
                    <a:pt x="224" y="1183"/>
                  </a:lnTo>
                  <a:lnTo>
                    <a:pt x="221" y="1171"/>
                  </a:lnTo>
                  <a:lnTo>
                    <a:pt x="219" y="1144"/>
                  </a:lnTo>
                  <a:lnTo>
                    <a:pt x="214" y="1126"/>
                  </a:lnTo>
                  <a:lnTo>
                    <a:pt x="215" y="1120"/>
                  </a:lnTo>
                  <a:lnTo>
                    <a:pt x="219" y="1119"/>
                  </a:lnTo>
                  <a:lnTo>
                    <a:pt x="228" y="1120"/>
                  </a:lnTo>
                  <a:lnTo>
                    <a:pt x="237" y="1117"/>
                  </a:lnTo>
                  <a:lnTo>
                    <a:pt x="240" y="1116"/>
                  </a:lnTo>
                  <a:lnTo>
                    <a:pt x="245" y="1119"/>
                  </a:lnTo>
                  <a:lnTo>
                    <a:pt x="260" y="1128"/>
                  </a:lnTo>
                  <a:lnTo>
                    <a:pt x="266" y="1130"/>
                  </a:lnTo>
                  <a:lnTo>
                    <a:pt x="270" y="1129"/>
                  </a:lnTo>
                  <a:lnTo>
                    <a:pt x="272" y="1126"/>
                  </a:lnTo>
                  <a:lnTo>
                    <a:pt x="278" y="1117"/>
                  </a:lnTo>
                  <a:lnTo>
                    <a:pt x="280" y="1113"/>
                  </a:lnTo>
                  <a:lnTo>
                    <a:pt x="289" y="1117"/>
                  </a:lnTo>
                  <a:lnTo>
                    <a:pt x="299" y="1124"/>
                  </a:lnTo>
                  <a:lnTo>
                    <a:pt x="306" y="1121"/>
                  </a:lnTo>
                  <a:lnTo>
                    <a:pt x="309" y="1117"/>
                  </a:lnTo>
                  <a:lnTo>
                    <a:pt x="313" y="1101"/>
                  </a:lnTo>
                  <a:lnTo>
                    <a:pt x="314" y="1099"/>
                  </a:lnTo>
                  <a:lnTo>
                    <a:pt x="325" y="1092"/>
                  </a:lnTo>
                  <a:lnTo>
                    <a:pt x="345" y="1086"/>
                  </a:lnTo>
                  <a:lnTo>
                    <a:pt x="350" y="1083"/>
                  </a:lnTo>
                  <a:lnTo>
                    <a:pt x="346" y="1075"/>
                  </a:lnTo>
                  <a:lnTo>
                    <a:pt x="332" y="1054"/>
                  </a:lnTo>
                  <a:lnTo>
                    <a:pt x="330" y="1047"/>
                  </a:lnTo>
                  <a:lnTo>
                    <a:pt x="329" y="1038"/>
                  </a:lnTo>
                  <a:lnTo>
                    <a:pt x="325" y="1024"/>
                  </a:lnTo>
                  <a:lnTo>
                    <a:pt x="326" y="1022"/>
                  </a:lnTo>
                  <a:lnTo>
                    <a:pt x="327" y="1021"/>
                  </a:lnTo>
                  <a:lnTo>
                    <a:pt x="335" y="1024"/>
                  </a:lnTo>
                  <a:lnTo>
                    <a:pt x="337" y="1023"/>
                  </a:lnTo>
                  <a:lnTo>
                    <a:pt x="342" y="998"/>
                  </a:lnTo>
                  <a:lnTo>
                    <a:pt x="344" y="992"/>
                  </a:lnTo>
                  <a:lnTo>
                    <a:pt x="349" y="991"/>
                  </a:lnTo>
                  <a:lnTo>
                    <a:pt x="355" y="993"/>
                  </a:lnTo>
                  <a:lnTo>
                    <a:pt x="363" y="987"/>
                  </a:lnTo>
                  <a:lnTo>
                    <a:pt x="384" y="982"/>
                  </a:lnTo>
                  <a:lnTo>
                    <a:pt x="396" y="976"/>
                  </a:lnTo>
                  <a:lnTo>
                    <a:pt x="421" y="968"/>
                  </a:lnTo>
                  <a:lnTo>
                    <a:pt x="436" y="962"/>
                  </a:lnTo>
                  <a:lnTo>
                    <a:pt x="438" y="959"/>
                  </a:lnTo>
                  <a:lnTo>
                    <a:pt x="439" y="956"/>
                  </a:lnTo>
                  <a:lnTo>
                    <a:pt x="437" y="939"/>
                  </a:lnTo>
                  <a:lnTo>
                    <a:pt x="441" y="937"/>
                  </a:lnTo>
                  <a:lnTo>
                    <a:pt x="461" y="932"/>
                  </a:lnTo>
                  <a:lnTo>
                    <a:pt x="482" y="924"/>
                  </a:lnTo>
                  <a:lnTo>
                    <a:pt x="520" y="887"/>
                  </a:lnTo>
                  <a:lnTo>
                    <a:pt x="530" y="873"/>
                  </a:lnTo>
                  <a:lnTo>
                    <a:pt x="531" y="871"/>
                  </a:lnTo>
                  <a:lnTo>
                    <a:pt x="528" y="862"/>
                  </a:lnTo>
                  <a:lnTo>
                    <a:pt x="538" y="852"/>
                  </a:lnTo>
                  <a:lnTo>
                    <a:pt x="541" y="844"/>
                  </a:lnTo>
                  <a:lnTo>
                    <a:pt x="548" y="833"/>
                  </a:lnTo>
                  <a:lnTo>
                    <a:pt x="546" y="829"/>
                  </a:lnTo>
                  <a:lnTo>
                    <a:pt x="536" y="822"/>
                  </a:lnTo>
                  <a:lnTo>
                    <a:pt x="533" y="816"/>
                  </a:lnTo>
                  <a:lnTo>
                    <a:pt x="532" y="808"/>
                  </a:lnTo>
                  <a:lnTo>
                    <a:pt x="533" y="778"/>
                  </a:lnTo>
                  <a:lnTo>
                    <a:pt x="531" y="770"/>
                  </a:lnTo>
                  <a:lnTo>
                    <a:pt x="527" y="763"/>
                  </a:lnTo>
                  <a:lnTo>
                    <a:pt x="527" y="761"/>
                  </a:lnTo>
                  <a:lnTo>
                    <a:pt x="528" y="743"/>
                  </a:lnTo>
                  <a:lnTo>
                    <a:pt x="532" y="728"/>
                  </a:lnTo>
                  <a:lnTo>
                    <a:pt x="539" y="696"/>
                  </a:lnTo>
                  <a:lnTo>
                    <a:pt x="554" y="679"/>
                  </a:lnTo>
                  <a:lnTo>
                    <a:pt x="560" y="672"/>
                  </a:lnTo>
                  <a:lnTo>
                    <a:pt x="566" y="658"/>
                  </a:lnTo>
                  <a:lnTo>
                    <a:pt x="570" y="640"/>
                  </a:lnTo>
                  <a:lnTo>
                    <a:pt x="575" y="638"/>
                  </a:lnTo>
                  <a:lnTo>
                    <a:pt x="595" y="635"/>
                  </a:lnTo>
                  <a:lnTo>
                    <a:pt x="604" y="631"/>
                  </a:lnTo>
                  <a:lnTo>
                    <a:pt x="607" y="628"/>
                  </a:lnTo>
                  <a:lnTo>
                    <a:pt x="612" y="619"/>
                  </a:lnTo>
                  <a:lnTo>
                    <a:pt x="618" y="611"/>
                  </a:lnTo>
                  <a:lnTo>
                    <a:pt x="620" y="605"/>
                  </a:lnTo>
                  <a:lnTo>
                    <a:pt x="618" y="603"/>
                  </a:lnTo>
                  <a:lnTo>
                    <a:pt x="612" y="602"/>
                  </a:lnTo>
                  <a:lnTo>
                    <a:pt x="611" y="598"/>
                  </a:lnTo>
                  <a:lnTo>
                    <a:pt x="613" y="586"/>
                  </a:lnTo>
                  <a:lnTo>
                    <a:pt x="617" y="573"/>
                  </a:lnTo>
                  <a:lnTo>
                    <a:pt x="619" y="572"/>
                  </a:lnTo>
                  <a:lnTo>
                    <a:pt x="633" y="574"/>
                  </a:lnTo>
                  <a:lnTo>
                    <a:pt x="642" y="573"/>
                  </a:lnTo>
                  <a:lnTo>
                    <a:pt x="659" y="573"/>
                  </a:lnTo>
                  <a:lnTo>
                    <a:pt x="662" y="570"/>
                  </a:lnTo>
                  <a:lnTo>
                    <a:pt x="666" y="566"/>
                  </a:lnTo>
                  <a:lnTo>
                    <a:pt x="673" y="539"/>
                  </a:lnTo>
                  <a:lnTo>
                    <a:pt x="674" y="535"/>
                  </a:lnTo>
                  <a:lnTo>
                    <a:pt x="677" y="534"/>
                  </a:lnTo>
                  <a:lnTo>
                    <a:pt x="689" y="532"/>
                  </a:lnTo>
                  <a:lnTo>
                    <a:pt x="700" y="528"/>
                  </a:lnTo>
                  <a:lnTo>
                    <a:pt x="701" y="527"/>
                  </a:lnTo>
                  <a:lnTo>
                    <a:pt x="703" y="523"/>
                  </a:lnTo>
                  <a:lnTo>
                    <a:pt x="703" y="518"/>
                  </a:lnTo>
                  <a:lnTo>
                    <a:pt x="689" y="483"/>
                  </a:lnTo>
                  <a:lnTo>
                    <a:pt x="685" y="459"/>
                  </a:lnTo>
                  <a:lnTo>
                    <a:pt x="683" y="442"/>
                  </a:lnTo>
                  <a:lnTo>
                    <a:pt x="684" y="439"/>
                  </a:lnTo>
                  <a:lnTo>
                    <a:pt x="686" y="437"/>
                  </a:lnTo>
                  <a:lnTo>
                    <a:pt x="704" y="428"/>
                  </a:lnTo>
                  <a:lnTo>
                    <a:pt x="724" y="413"/>
                  </a:lnTo>
                  <a:lnTo>
                    <a:pt x="730" y="407"/>
                  </a:lnTo>
                  <a:lnTo>
                    <a:pt x="734" y="397"/>
                  </a:lnTo>
                  <a:lnTo>
                    <a:pt x="734" y="391"/>
                  </a:lnTo>
                  <a:lnTo>
                    <a:pt x="728" y="380"/>
                  </a:lnTo>
                  <a:lnTo>
                    <a:pt x="722" y="370"/>
                  </a:lnTo>
                  <a:lnTo>
                    <a:pt x="715" y="365"/>
                  </a:lnTo>
                  <a:lnTo>
                    <a:pt x="711" y="359"/>
                  </a:lnTo>
                  <a:lnTo>
                    <a:pt x="715" y="347"/>
                  </a:lnTo>
                  <a:lnTo>
                    <a:pt x="714" y="337"/>
                  </a:lnTo>
                  <a:lnTo>
                    <a:pt x="712" y="331"/>
                  </a:lnTo>
                  <a:lnTo>
                    <a:pt x="693" y="307"/>
                  </a:lnTo>
                  <a:lnTo>
                    <a:pt x="700" y="285"/>
                  </a:lnTo>
                  <a:lnTo>
                    <a:pt x="702" y="280"/>
                  </a:lnTo>
                  <a:lnTo>
                    <a:pt x="706" y="276"/>
                  </a:lnTo>
                  <a:lnTo>
                    <a:pt x="714" y="272"/>
                  </a:lnTo>
                  <a:lnTo>
                    <a:pt x="718" y="268"/>
                  </a:lnTo>
                  <a:lnTo>
                    <a:pt x="718" y="268"/>
                  </a:lnTo>
                  <a:lnTo>
                    <a:pt x="731" y="253"/>
                  </a:lnTo>
                  <a:lnTo>
                    <a:pt x="739" y="247"/>
                  </a:lnTo>
                  <a:lnTo>
                    <a:pt x="746" y="244"/>
                  </a:lnTo>
                  <a:lnTo>
                    <a:pt x="758" y="244"/>
                  </a:lnTo>
                  <a:lnTo>
                    <a:pt x="761" y="243"/>
                  </a:lnTo>
                  <a:lnTo>
                    <a:pt x="763" y="240"/>
                  </a:lnTo>
                  <a:lnTo>
                    <a:pt x="764" y="224"/>
                  </a:lnTo>
                  <a:lnTo>
                    <a:pt x="765" y="212"/>
                  </a:lnTo>
                  <a:lnTo>
                    <a:pt x="755" y="196"/>
                  </a:lnTo>
                  <a:lnTo>
                    <a:pt x="754" y="192"/>
                  </a:lnTo>
                  <a:lnTo>
                    <a:pt x="764" y="133"/>
                  </a:lnTo>
                  <a:lnTo>
                    <a:pt x="764" y="118"/>
                  </a:lnTo>
                  <a:lnTo>
                    <a:pt x="767" y="115"/>
                  </a:lnTo>
                  <a:lnTo>
                    <a:pt x="773" y="114"/>
                  </a:lnTo>
                  <a:lnTo>
                    <a:pt x="779" y="114"/>
                  </a:lnTo>
                  <a:lnTo>
                    <a:pt x="790" y="117"/>
                  </a:lnTo>
                  <a:lnTo>
                    <a:pt x="797" y="118"/>
                  </a:lnTo>
                  <a:lnTo>
                    <a:pt x="802" y="117"/>
                  </a:lnTo>
                  <a:lnTo>
                    <a:pt x="812" y="113"/>
                  </a:lnTo>
                  <a:lnTo>
                    <a:pt x="817" y="113"/>
                  </a:lnTo>
                  <a:lnTo>
                    <a:pt x="820" y="115"/>
                  </a:lnTo>
                  <a:lnTo>
                    <a:pt x="831" y="128"/>
                  </a:lnTo>
                  <a:lnTo>
                    <a:pt x="833" y="129"/>
                  </a:lnTo>
                  <a:lnTo>
                    <a:pt x="836" y="126"/>
                  </a:lnTo>
                  <a:lnTo>
                    <a:pt x="844" y="117"/>
                  </a:lnTo>
                  <a:lnTo>
                    <a:pt x="847" y="116"/>
                  </a:lnTo>
                  <a:lnTo>
                    <a:pt x="849" y="116"/>
                  </a:lnTo>
                  <a:lnTo>
                    <a:pt x="866" y="125"/>
                  </a:lnTo>
                  <a:lnTo>
                    <a:pt x="874" y="129"/>
                  </a:lnTo>
                  <a:lnTo>
                    <a:pt x="884" y="131"/>
                  </a:lnTo>
                  <a:lnTo>
                    <a:pt x="903" y="133"/>
                  </a:lnTo>
                  <a:lnTo>
                    <a:pt x="911" y="135"/>
                  </a:lnTo>
                  <a:lnTo>
                    <a:pt x="916" y="137"/>
                  </a:lnTo>
                  <a:lnTo>
                    <a:pt x="918" y="140"/>
                  </a:lnTo>
                  <a:lnTo>
                    <a:pt x="931" y="165"/>
                  </a:lnTo>
                  <a:lnTo>
                    <a:pt x="938" y="177"/>
                  </a:lnTo>
                  <a:lnTo>
                    <a:pt x="942" y="195"/>
                  </a:lnTo>
                  <a:lnTo>
                    <a:pt x="948" y="200"/>
                  </a:lnTo>
                  <a:lnTo>
                    <a:pt x="949" y="210"/>
                  </a:lnTo>
                  <a:lnTo>
                    <a:pt x="955" y="211"/>
                  </a:lnTo>
                  <a:lnTo>
                    <a:pt x="962" y="211"/>
                  </a:lnTo>
                  <a:lnTo>
                    <a:pt x="988" y="203"/>
                  </a:lnTo>
                  <a:lnTo>
                    <a:pt x="1014" y="203"/>
                  </a:lnTo>
                  <a:lnTo>
                    <a:pt x="1016" y="200"/>
                  </a:lnTo>
                  <a:lnTo>
                    <a:pt x="1018" y="195"/>
                  </a:lnTo>
                  <a:lnTo>
                    <a:pt x="1019" y="185"/>
                  </a:lnTo>
                  <a:lnTo>
                    <a:pt x="1017" y="166"/>
                  </a:lnTo>
                  <a:lnTo>
                    <a:pt x="1015" y="147"/>
                  </a:lnTo>
                  <a:lnTo>
                    <a:pt x="1010" y="129"/>
                  </a:lnTo>
                  <a:lnTo>
                    <a:pt x="1012" y="121"/>
                  </a:lnTo>
                  <a:lnTo>
                    <a:pt x="1020" y="113"/>
                  </a:lnTo>
                  <a:lnTo>
                    <a:pt x="1021" y="107"/>
                  </a:lnTo>
                  <a:lnTo>
                    <a:pt x="1016" y="101"/>
                  </a:lnTo>
                  <a:lnTo>
                    <a:pt x="1004" y="95"/>
                  </a:lnTo>
                  <a:lnTo>
                    <a:pt x="997" y="94"/>
                  </a:lnTo>
                  <a:lnTo>
                    <a:pt x="983" y="96"/>
                  </a:lnTo>
                  <a:lnTo>
                    <a:pt x="979" y="94"/>
                  </a:lnTo>
                  <a:lnTo>
                    <a:pt x="977" y="90"/>
                  </a:lnTo>
                  <a:lnTo>
                    <a:pt x="976" y="86"/>
                  </a:lnTo>
                  <a:lnTo>
                    <a:pt x="972" y="61"/>
                  </a:lnTo>
                  <a:lnTo>
                    <a:pt x="973" y="58"/>
                  </a:lnTo>
                  <a:lnTo>
                    <a:pt x="977" y="59"/>
                  </a:lnTo>
                  <a:lnTo>
                    <a:pt x="989" y="64"/>
                  </a:lnTo>
                  <a:lnTo>
                    <a:pt x="996" y="65"/>
                  </a:lnTo>
                  <a:lnTo>
                    <a:pt x="1030" y="51"/>
                  </a:lnTo>
                  <a:lnTo>
                    <a:pt x="1033" y="49"/>
                  </a:lnTo>
                  <a:lnTo>
                    <a:pt x="1039" y="42"/>
                  </a:lnTo>
                  <a:lnTo>
                    <a:pt x="1055" y="14"/>
                  </a:lnTo>
                  <a:lnTo>
                    <a:pt x="1061" y="12"/>
                  </a:lnTo>
                  <a:lnTo>
                    <a:pt x="1076" y="7"/>
                  </a:lnTo>
                  <a:lnTo>
                    <a:pt x="1095" y="0"/>
                  </a:lnTo>
                  <a:lnTo>
                    <a:pt x="1100" y="0"/>
                  </a:lnTo>
                  <a:lnTo>
                    <a:pt x="1103" y="3"/>
                  </a:lnTo>
                  <a:lnTo>
                    <a:pt x="1119" y="27"/>
                  </a:lnTo>
                  <a:lnTo>
                    <a:pt x="1124" y="32"/>
                  </a:lnTo>
                  <a:lnTo>
                    <a:pt x="1131" y="38"/>
                  </a:lnTo>
                  <a:lnTo>
                    <a:pt x="1140" y="42"/>
                  </a:lnTo>
                  <a:lnTo>
                    <a:pt x="1148" y="45"/>
                  </a:lnTo>
                  <a:lnTo>
                    <a:pt x="1184" y="53"/>
                  </a:lnTo>
                  <a:lnTo>
                    <a:pt x="1192" y="60"/>
                  </a:lnTo>
                  <a:lnTo>
                    <a:pt x="1195" y="61"/>
                  </a:lnTo>
                  <a:lnTo>
                    <a:pt x="1200" y="60"/>
                  </a:lnTo>
                  <a:lnTo>
                    <a:pt x="1217" y="53"/>
                  </a:lnTo>
                  <a:lnTo>
                    <a:pt x="1228" y="52"/>
                  </a:lnTo>
                  <a:lnTo>
                    <a:pt x="1237" y="52"/>
                  </a:lnTo>
                  <a:lnTo>
                    <a:pt x="1247" y="58"/>
                  </a:lnTo>
                  <a:lnTo>
                    <a:pt x="1261" y="56"/>
                  </a:lnTo>
                  <a:lnTo>
                    <a:pt x="1266" y="50"/>
                  </a:lnTo>
                  <a:lnTo>
                    <a:pt x="1273" y="40"/>
                  </a:lnTo>
                  <a:lnTo>
                    <a:pt x="1278" y="32"/>
                  </a:lnTo>
                  <a:lnTo>
                    <a:pt x="1280" y="25"/>
                  </a:lnTo>
                  <a:lnTo>
                    <a:pt x="1283" y="21"/>
                  </a:lnTo>
                  <a:lnTo>
                    <a:pt x="1287" y="18"/>
                  </a:lnTo>
                  <a:lnTo>
                    <a:pt x="1298" y="15"/>
                  </a:lnTo>
                  <a:lnTo>
                    <a:pt x="1298" y="15"/>
                  </a:lnTo>
                  <a:lnTo>
                    <a:pt x="1307" y="16"/>
                  </a:lnTo>
                  <a:lnTo>
                    <a:pt x="1309" y="17"/>
                  </a:lnTo>
                  <a:lnTo>
                    <a:pt x="1310" y="21"/>
                  </a:lnTo>
                  <a:lnTo>
                    <a:pt x="1309" y="26"/>
                  </a:lnTo>
                  <a:lnTo>
                    <a:pt x="1309" y="29"/>
                  </a:lnTo>
                  <a:lnTo>
                    <a:pt x="1321" y="39"/>
                  </a:lnTo>
                  <a:lnTo>
                    <a:pt x="1325" y="44"/>
                  </a:lnTo>
                  <a:lnTo>
                    <a:pt x="1322" y="66"/>
                  </a:lnTo>
                  <a:lnTo>
                    <a:pt x="1322" y="69"/>
                  </a:lnTo>
                  <a:lnTo>
                    <a:pt x="1325" y="70"/>
                  </a:lnTo>
                  <a:lnTo>
                    <a:pt x="1329" y="70"/>
                  </a:lnTo>
                  <a:lnTo>
                    <a:pt x="1341" y="63"/>
                  </a:lnTo>
                  <a:lnTo>
                    <a:pt x="1351" y="60"/>
                  </a:lnTo>
                  <a:lnTo>
                    <a:pt x="1362" y="59"/>
                  </a:lnTo>
                  <a:lnTo>
                    <a:pt x="1396" y="58"/>
                  </a:lnTo>
                  <a:lnTo>
                    <a:pt x="1424" y="50"/>
                  </a:lnTo>
                  <a:lnTo>
                    <a:pt x="1433" y="44"/>
                  </a:lnTo>
                  <a:lnTo>
                    <a:pt x="1443" y="35"/>
                  </a:lnTo>
                  <a:lnTo>
                    <a:pt x="1455" y="25"/>
                  </a:lnTo>
                  <a:lnTo>
                    <a:pt x="1465" y="18"/>
                  </a:lnTo>
                  <a:lnTo>
                    <a:pt x="1469" y="17"/>
                  </a:lnTo>
                  <a:lnTo>
                    <a:pt x="1473" y="17"/>
                  </a:lnTo>
                  <a:lnTo>
                    <a:pt x="1479" y="20"/>
                  </a:lnTo>
                  <a:lnTo>
                    <a:pt x="1498" y="38"/>
                  </a:lnTo>
                  <a:lnTo>
                    <a:pt x="1509" y="44"/>
                  </a:lnTo>
                  <a:lnTo>
                    <a:pt x="1525" y="51"/>
                  </a:lnTo>
                  <a:lnTo>
                    <a:pt x="1530" y="56"/>
                  </a:lnTo>
                  <a:lnTo>
                    <a:pt x="1532" y="62"/>
                  </a:lnTo>
                  <a:lnTo>
                    <a:pt x="1532" y="67"/>
                  </a:lnTo>
                  <a:lnTo>
                    <a:pt x="1523" y="85"/>
                  </a:lnTo>
                  <a:lnTo>
                    <a:pt x="1522" y="89"/>
                  </a:lnTo>
                  <a:lnTo>
                    <a:pt x="1523" y="94"/>
                  </a:lnTo>
                  <a:lnTo>
                    <a:pt x="1532" y="100"/>
                  </a:lnTo>
                  <a:lnTo>
                    <a:pt x="1533" y="103"/>
                  </a:lnTo>
                  <a:lnTo>
                    <a:pt x="1532" y="105"/>
                  </a:lnTo>
                  <a:lnTo>
                    <a:pt x="1527" y="110"/>
                  </a:lnTo>
                  <a:lnTo>
                    <a:pt x="1506" y="126"/>
                  </a:lnTo>
                  <a:lnTo>
                    <a:pt x="1501" y="129"/>
                  </a:lnTo>
                  <a:lnTo>
                    <a:pt x="1491" y="131"/>
                  </a:lnTo>
                  <a:lnTo>
                    <a:pt x="1486" y="134"/>
                  </a:lnTo>
                  <a:lnTo>
                    <a:pt x="1444" y="171"/>
                  </a:lnTo>
                  <a:lnTo>
                    <a:pt x="1440" y="176"/>
                  </a:lnTo>
                  <a:lnTo>
                    <a:pt x="1436" y="182"/>
                  </a:lnTo>
                  <a:lnTo>
                    <a:pt x="1437" y="189"/>
                  </a:lnTo>
                  <a:lnTo>
                    <a:pt x="1440" y="195"/>
                  </a:lnTo>
                  <a:lnTo>
                    <a:pt x="1439" y="200"/>
                  </a:lnTo>
                  <a:lnTo>
                    <a:pt x="1430" y="218"/>
                  </a:lnTo>
                  <a:lnTo>
                    <a:pt x="1424" y="237"/>
                  </a:lnTo>
                  <a:lnTo>
                    <a:pt x="1413" y="247"/>
                  </a:lnTo>
                  <a:lnTo>
                    <a:pt x="1381" y="265"/>
                  </a:lnTo>
                  <a:lnTo>
                    <a:pt x="1377" y="268"/>
                  </a:lnTo>
                  <a:lnTo>
                    <a:pt x="1376" y="272"/>
                  </a:lnTo>
                  <a:lnTo>
                    <a:pt x="1376" y="274"/>
                  </a:lnTo>
                  <a:lnTo>
                    <a:pt x="1377" y="275"/>
                  </a:lnTo>
                  <a:lnTo>
                    <a:pt x="1413" y="295"/>
                  </a:lnTo>
                  <a:lnTo>
                    <a:pt x="1433" y="305"/>
                  </a:lnTo>
                  <a:lnTo>
                    <a:pt x="1444" y="321"/>
                  </a:lnTo>
                  <a:lnTo>
                    <a:pt x="1450" y="326"/>
                  </a:lnTo>
                  <a:lnTo>
                    <a:pt x="1454" y="326"/>
                  </a:lnTo>
                  <a:lnTo>
                    <a:pt x="1459" y="325"/>
                  </a:lnTo>
                  <a:lnTo>
                    <a:pt x="1479" y="314"/>
                  </a:lnTo>
                  <a:lnTo>
                    <a:pt x="1488" y="310"/>
                  </a:lnTo>
                  <a:lnTo>
                    <a:pt x="1503" y="310"/>
                  </a:lnTo>
                  <a:lnTo>
                    <a:pt x="1517" y="304"/>
                  </a:lnTo>
                  <a:lnTo>
                    <a:pt x="1525" y="304"/>
                  </a:lnTo>
                  <a:lnTo>
                    <a:pt x="1537" y="308"/>
                  </a:lnTo>
                  <a:lnTo>
                    <a:pt x="1541" y="308"/>
                  </a:lnTo>
                  <a:lnTo>
                    <a:pt x="1544" y="304"/>
                  </a:lnTo>
                  <a:lnTo>
                    <a:pt x="1545" y="296"/>
                  </a:lnTo>
                  <a:lnTo>
                    <a:pt x="1547" y="292"/>
                  </a:lnTo>
                  <a:lnTo>
                    <a:pt x="1551" y="287"/>
                  </a:lnTo>
                  <a:lnTo>
                    <a:pt x="1555" y="285"/>
                  </a:lnTo>
                  <a:lnTo>
                    <a:pt x="1562" y="285"/>
                  </a:lnTo>
                  <a:lnTo>
                    <a:pt x="1569" y="285"/>
                  </a:lnTo>
                  <a:lnTo>
                    <a:pt x="1584" y="295"/>
                  </a:lnTo>
                  <a:lnTo>
                    <a:pt x="1587" y="295"/>
                  </a:lnTo>
                  <a:lnTo>
                    <a:pt x="1592" y="291"/>
                  </a:lnTo>
                  <a:lnTo>
                    <a:pt x="1598" y="277"/>
                  </a:lnTo>
                  <a:lnTo>
                    <a:pt x="1604" y="271"/>
                  </a:lnTo>
                  <a:lnTo>
                    <a:pt x="1610" y="266"/>
                  </a:lnTo>
                  <a:lnTo>
                    <a:pt x="1627" y="259"/>
                  </a:lnTo>
                  <a:lnTo>
                    <a:pt x="1639" y="249"/>
                  </a:lnTo>
                  <a:lnTo>
                    <a:pt x="1662" y="248"/>
                  </a:lnTo>
                  <a:lnTo>
                    <a:pt x="1675" y="245"/>
                  </a:lnTo>
                  <a:lnTo>
                    <a:pt x="1717" y="227"/>
                  </a:lnTo>
                  <a:lnTo>
                    <a:pt x="1730" y="231"/>
                  </a:lnTo>
                  <a:lnTo>
                    <a:pt x="1732" y="229"/>
                  </a:lnTo>
                  <a:lnTo>
                    <a:pt x="1735" y="224"/>
                  </a:lnTo>
                  <a:lnTo>
                    <a:pt x="1738" y="220"/>
                  </a:lnTo>
                  <a:lnTo>
                    <a:pt x="1742" y="217"/>
                  </a:lnTo>
                  <a:lnTo>
                    <a:pt x="1746" y="215"/>
                  </a:lnTo>
                  <a:lnTo>
                    <a:pt x="1751" y="215"/>
                  </a:lnTo>
                  <a:lnTo>
                    <a:pt x="1758" y="218"/>
                  </a:lnTo>
                  <a:lnTo>
                    <a:pt x="1767" y="223"/>
                  </a:lnTo>
                  <a:lnTo>
                    <a:pt x="1776" y="231"/>
                  </a:lnTo>
                  <a:lnTo>
                    <a:pt x="1784" y="240"/>
                  </a:lnTo>
                  <a:lnTo>
                    <a:pt x="1799" y="261"/>
                  </a:lnTo>
                  <a:lnTo>
                    <a:pt x="1805" y="265"/>
                  </a:lnTo>
                  <a:lnTo>
                    <a:pt x="1817" y="267"/>
                  </a:lnTo>
                  <a:lnTo>
                    <a:pt x="1824" y="271"/>
                  </a:lnTo>
                  <a:lnTo>
                    <a:pt x="1832" y="278"/>
                  </a:lnTo>
                  <a:lnTo>
                    <a:pt x="1838" y="285"/>
                  </a:lnTo>
                  <a:lnTo>
                    <a:pt x="1842" y="289"/>
                  </a:lnTo>
                  <a:lnTo>
                    <a:pt x="1846" y="290"/>
                  </a:lnTo>
                  <a:lnTo>
                    <a:pt x="1855" y="289"/>
                  </a:lnTo>
                  <a:lnTo>
                    <a:pt x="1877" y="282"/>
                  </a:lnTo>
                  <a:lnTo>
                    <a:pt x="1881" y="280"/>
                  </a:lnTo>
                  <a:lnTo>
                    <a:pt x="1881" y="276"/>
                  </a:lnTo>
                  <a:lnTo>
                    <a:pt x="1857" y="256"/>
                  </a:lnTo>
                  <a:lnTo>
                    <a:pt x="1853" y="250"/>
                  </a:lnTo>
                  <a:lnTo>
                    <a:pt x="1854" y="247"/>
                  </a:lnTo>
                  <a:lnTo>
                    <a:pt x="1859" y="242"/>
                  </a:lnTo>
                  <a:lnTo>
                    <a:pt x="1860" y="238"/>
                  </a:lnTo>
                  <a:lnTo>
                    <a:pt x="1858" y="235"/>
                  </a:lnTo>
                  <a:lnTo>
                    <a:pt x="1853" y="225"/>
                  </a:lnTo>
                  <a:lnTo>
                    <a:pt x="1862" y="193"/>
                  </a:lnTo>
                  <a:lnTo>
                    <a:pt x="1872" y="170"/>
                  </a:lnTo>
                  <a:lnTo>
                    <a:pt x="1875" y="169"/>
                  </a:lnTo>
                  <a:lnTo>
                    <a:pt x="1878" y="169"/>
                  </a:lnTo>
                  <a:lnTo>
                    <a:pt x="1885" y="176"/>
                  </a:lnTo>
                  <a:lnTo>
                    <a:pt x="1889" y="178"/>
                  </a:lnTo>
                  <a:lnTo>
                    <a:pt x="1892" y="177"/>
                  </a:lnTo>
                  <a:lnTo>
                    <a:pt x="1894" y="176"/>
                  </a:lnTo>
                  <a:lnTo>
                    <a:pt x="1893" y="174"/>
                  </a:lnTo>
                  <a:lnTo>
                    <a:pt x="1887" y="165"/>
                  </a:lnTo>
                  <a:lnTo>
                    <a:pt x="1887" y="161"/>
                  </a:lnTo>
                  <a:lnTo>
                    <a:pt x="1887" y="161"/>
                  </a:lnTo>
                  <a:lnTo>
                    <a:pt x="1892" y="160"/>
                  </a:lnTo>
                  <a:lnTo>
                    <a:pt x="1900" y="160"/>
                  </a:lnTo>
                  <a:lnTo>
                    <a:pt x="1917" y="164"/>
                  </a:lnTo>
                  <a:lnTo>
                    <a:pt x="1929" y="168"/>
                  </a:lnTo>
                  <a:lnTo>
                    <a:pt x="1939" y="174"/>
                  </a:lnTo>
                  <a:lnTo>
                    <a:pt x="1954" y="180"/>
                  </a:lnTo>
                  <a:lnTo>
                    <a:pt x="1966" y="176"/>
                  </a:lnTo>
                  <a:lnTo>
                    <a:pt x="1976" y="170"/>
                  </a:lnTo>
                  <a:lnTo>
                    <a:pt x="1982" y="169"/>
                  </a:lnTo>
                  <a:lnTo>
                    <a:pt x="1984" y="170"/>
                  </a:lnTo>
                  <a:lnTo>
                    <a:pt x="1989" y="182"/>
                  </a:lnTo>
                  <a:lnTo>
                    <a:pt x="1992" y="184"/>
                  </a:lnTo>
                  <a:lnTo>
                    <a:pt x="1999" y="185"/>
                  </a:lnTo>
                  <a:lnTo>
                    <a:pt x="1999" y="195"/>
                  </a:lnTo>
                  <a:lnTo>
                    <a:pt x="2000" y="196"/>
                  </a:lnTo>
                  <a:lnTo>
                    <a:pt x="2003" y="197"/>
                  </a:lnTo>
                  <a:lnTo>
                    <a:pt x="2011" y="196"/>
                  </a:lnTo>
                  <a:lnTo>
                    <a:pt x="2014" y="195"/>
                  </a:lnTo>
                  <a:lnTo>
                    <a:pt x="2036" y="170"/>
                  </a:lnTo>
                  <a:lnTo>
                    <a:pt x="2039" y="169"/>
                  </a:lnTo>
                  <a:lnTo>
                    <a:pt x="2044" y="170"/>
                  </a:lnTo>
                  <a:lnTo>
                    <a:pt x="2046" y="172"/>
                  </a:lnTo>
                  <a:lnTo>
                    <a:pt x="2047" y="177"/>
                  </a:lnTo>
                  <a:lnTo>
                    <a:pt x="2041" y="187"/>
                  </a:lnTo>
                  <a:lnTo>
                    <a:pt x="2041" y="189"/>
                  </a:lnTo>
                  <a:lnTo>
                    <a:pt x="2060" y="207"/>
                  </a:lnTo>
                  <a:lnTo>
                    <a:pt x="2078" y="223"/>
                  </a:lnTo>
                  <a:lnTo>
                    <a:pt x="2081" y="228"/>
                  </a:lnTo>
                  <a:lnTo>
                    <a:pt x="2085" y="244"/>
                  </a:lnTo>
                  <a:lnTo>
                    <a:pt x="2088" y="247"/>
                  </a:lnTo>
                  <a:lnTo>
                    <a:pt x="2092" y="249"/>
                  </a:lnTo>
                  <a:lnTo>
                    <a:pt x="2097" y="248"/>
                  </a:lnTo>
                  <a:lnTo>
                    <a:pt x="2128" y="237"/>
                  </a:lnTo>
                  <a:lnTo>
                    <a:pt x="2147" y="231"/>
                  </a:lnTo>
                  <a:lnTo>
                    <a:pt x="2170" y="224"/>
                  </a:lnTo>
                  <a:lnTo>
                    <a:pt x="2178" y="223"/>
                  </a:lnTo>
                  <a:lnTo>
                    <a:pt x="2184" y="226"/>
                  </a:lnTo>
                  <a:lnTo>
                    <a:pt x="2187" y="231"/>
                  </a:lnTo>
                  <a:lnTo>
                    <a:pt x="2178" y="251"/>
                  </a:lnTo>
                  <a:lnTo>
                    <a:pt x="2176" y="260"/>
                  </a:lnTo>
                  <a:lnTo>
                    <a:pt x="2178" y="266"/>
                  </a:lnTo>
                  <a:lnTo>
                    <a:pt x="2182" y="272"/>
                  </a:lnTo>
                  <a:lnTo>
                    <a:pt x="2196" y="282"/>
                  </a:lnTo>
                  <a:lnTo>
                    <a:pt x="2201" y="287"/>
                  </a:lnTo>
                  <a:lnTo>
                    <a:pt x="2205" y="307"/>
                  </a:lnTo>
                  <a:lnTo>
                    <a:pt x="2220" y="319"/>
                  </a:lnTo>
                  <a:lnTo>
                    <a:pt x="2225" y="343"/>
                  </a:lnTo>
                  <a:lnTo>
                    <a:pt x="2233" y="349"/>
                  </a:lnTo>
                  <a:lnTo>
                    <a:pt x="2235" y="362"/>
                  </a:lnTo>
                  <a:lnTo>
                    <a:pt x="2237" y="367"/>
                  </a:lnTo>
                  <a:lnTo>
                    <a:pt x="2240" y="371"/>
                  </a:lnTo>
                  <a:lnTo>
                    <a:pt x="2246" y="379"/>
                  </a:lnTo>
                  <a:lnTo>
                    <a:pt x="2250" y="385"/>
                  </a:lnTo>
                  <a:lnTo>
                    <a:pt x="2250" y="389"/>
                  </a:lnTo>
                  <a:lnTo>
                    <a:pt x="2240" y="409"/>
                  </a:lnTo>
                  <a:lnTo>
                    <a:pt x="2236" y="427"/>
                  </a:lnTo>
                  <a:lnTo>
                    <a:pt x="2245" y="445"/>
                  </a:lnTo>
                  <a:lnTo>
                    <a:pt x="2242" y="474"/>
                  </a:lnTo>
                  <a:lnTo>
                    <a:pt x="2246" y="492"/>
                  </a:lnTo>
                  <a:lnTo>
                    <a:pt x="2258" y="512"/>
                  </a:lnTo>
                  <a:lnTo>
                    <a:pt x="2269" y="539"/>
                  </a:lnTo>
                  <a:lnTo>
                    <a:pt x="2276" y="550"/>
                  </a:lnTo>
                  <a:lnTo>
                    <a:pt x="2281" y="554"/>
                  </a:lnTo>
                  <a:lnTo>
                    <a:pt x="2289" y="559"/>
                  </a:lnTo>
                  <a:lnTo>
                    <a:pt x="2301" y="564"/>
                  </a:lnTo>
                  <a:lnTo>
                    <a:pt x="2313" y="567"/>
                  </a:lnTo>
                  <a:lnTo>
                    <a:pt x="2313" y="567"/>
                  </a:lnTo>
                  <a:lnTo>
                    <a:pt x="2306" y="572"/>
                  </a:lnTo>
                  <a:lnTo>
                    <a:pt x="2298" y="584"/>
                  </a:lnTo>
                  <a:lnTo>
                    <a:pt x="2290" y="587"/>
                  </a:lnTo>
                  <a:lnTo>
                    <a:pt x="2288" y="593"/>
                  </a:lnTo>
                  <a:lnTo>
                    <a:pt x="2286" y="589"/>
                  </a:lnTo>
                  <a:lnTo>
                    <a:pt x="2286" y="583"/>
                  </a:lnTo>
                  <a:lnTo>
                    <a:pt x="2284" y="579"/>
                  </a:lnTo>
                  <a:lnTo>
                    <a:pt x="2282" y="573"/>
                  </a:lnTo>
                  <a:lnTo>
                    <a:pt x="2280" y="570"/>
                  </a:lnTo>
                  <a:lnTo>
                    <a:pt x="2276" y="569"/>
                  </a:lnTo>
                  <a:lnTo>
                    <a:pt x="2272" y="568"/>
                  </a:lnTo>
                  <a:lnTo>
                    <a:pt x="2259" y="573"/>
                  </a:lnTo>
                  <a:lnTo>
                    <a:pt x="2257" y="572"/>
                  </a:lnTo>
                  <a:lnTo>
                    <a:pt x="2254" y="568"/>
                  </a:lnTo>
                  <a:lnTo>
                    <a:pt x="2247" y="575"/>
                  </a:lnTo>
                  <a:lnTo>
                    <a:pt x="2248" y="578"/>
                  </a:lnTo>
                  <a:lnTo>
                    <a:pt x="2253" y="581"/>
                  </a:lnTo>
                  <a:lnTo>
                    <a:pt x="2248" y="588"/>
                  </a:lnTo>
                  <a:lnTo>
                    <a:pt x="2248" y="592"/>
                  </a:lnTo>
                  <a:lnTo>
                    <a:pt x="2252" y="593"/>
                  </a:lnTo>
                  <a:lnTo>
                    <a:pt x="2263" y="586"/>
                  </a:lnTo>
                  <a:lnTo>
                    <a:pt x="2264" y="587"/>
                  </a:lnTo>
                  <a:lnTo>
                    <a:pt x="2264" y="593"/>
                  </a:lnTo>
                  <a:lnTo>
                    <a:pt x="2259" y="599"/>
                  </a:lnTo>
                  <a:lnTo>
                    <a:pt x="2258" y="605"/>
                  </a:lnTo>
                  <a:lnTo>
                    <a:pt x="2254" y="607"/>
                  </a:lnTo>
                  <a:lnTo>
                    <a:pt x="2245" y="605"/>
                  </a:lnTo>
                  <a:lnTo>
                    <a:pt x="2243" y="604"/>
                  </a:lnTo>
                  <a:lnTo>
                    <a:pt x="2241" y="599"/>
                  </a:lnTo>
                  <a:lnTo>
                    <a:pt x="2239" y="597"/>
                  </a:lnTo>
                  <a:lnTo>
                    <a:pt x="2233" y="595"/>
                  </a:lnTo>
                  <a:lnTo>
                    <a:pt x="2229" y="596"/>
                  </a:lnTo>
                  <a:lnTo>
                    <a:pt x="2222" y="617"/>
                  </a:lnTo>
                  <a:lnTo>
                    <a:pt x="2223" y="624"/>
                  </a:lnTo>
                  <a:lnTo>
                    <a:pt x="2219" y="628"/>
                  </a:lnTo>
                  <a:lnTo>
                    <a:pt x="2224" y="633"/>
                  </a:lnTo>
                  <a:lnTo>
                    <a:pt x="2223" y="638"/>
                  </a:lnTo>
                  <a:lnTo>
                    <a:pt x="2221" y="640"/>
                  </a:lnTo>
                  <a:lnTo>
                    <a:pt x="2216" y="639"/>
                  </a:lnTo>
                  <a:lnTo>
                    <a:pt x="2214" y="639"/>
                  </a:lnTo>
                  <a:lnTo>
                    <a:pt x="2207" y="654"/>
                  </a:lnTo>
                  <a:lnTo>
                    <a:pt x="2191" y="664"/>
                  </a:lnTo>
                  <a:lnTo>
                    <a:pt x="2165" y="667"/>
                  </a:lnTo>
                  <a:lnTo>
                    <a:pt x="2156" y="667"/>
                  </a:lnTo>
                  <a:lnTo>
                    <a:pt x="2150" y="664"/>
                  </a:lnTo>
                  <a:lnTo>
                    <a:pt x="2126" y="650"/>
                  </a:lnTo>
                  <a:lnTo>
                    <a:pt x="2125" y="650"/>
                  </a:lnTo>
                  <a:lnTo>
                    <a:pt x="2125" y="657"/>
                  </a:lnTo>
                  <a:lnTo>
                    <a:pt x="2128" y="665"/>
                  </a:lnTo>
                  <a:lnTo>
                    <a:pt x="2131" y="670"/>
                  </a:lnTo>
                  <a:lnTo>
                    <a:pt x="2142" y="678"/>
                  </a:lnTo>
                  <a:lnTo>
                    <a:pt x="2143" y="680"/>
                  </a:lnTo>
                  <a:lnTo>
                    <a:pt x="2147" y="680"/>
                  </a:lnTo>
                  <a:lnTo>
                    <a:pt x="2154" y="677"/>
                  </a:lnTo>
                  <a:lnTo>
                    <a:pt x="2163" y="671"/>
                  </a:lnTo>
                  <a:lnTo>
                    <a:pt x="2166" y="669"/>
                  </a:lnTo>
                  <a:lnTo>
                    <a:pt x="2169" y="669"/>
                  </a:lnTo>
                  <a:lnTo>
                    <a:pt x="2172" y="673"/>
                  </a:lnTo>
                  <a:lnTo>
                    <a:pt x="2178" y="675"/>
                  </a:lnTo>
                  <a:lnTo>
                    <a:pt x="2181" y="674"/>
                  </a:lnTo>
                  <a:lnTo>
                    <a:pt x="2183" y="671"/>
                  </a:lnTo>
                  <a:lnTo>
                    <a:pt x="2185" y="671"/>
                  </a:lnTo>
                  <a:lnTo>
                    <a:pt x="2190" y="675"/>
                  </a:lnTo>
                  <a:lnTo>
                    <a:pt x="2193" y="680"/>
                  </a:lnTo>
                  <a:lnTo>
                    <a:pt x="2196" y="685"/>
                  </a:lnTo>
                  <a:lnTo>
                    <a:pt x="2198" y="699"/>
                  </a:lnTo>
                  <a:lnTo>
                    <a:pt x="2200" y="700"/>
                  </a:lnTo>
                  <a:lnTo>
                    <a:pt x="2207" y="699"/>
                  </a:lnTo>
                  <a:lnTo>
                    <a:pt x="2209" y="700"/>
                  </a:lnTo>
                  <a:lnTo>
                    <a:pt x="2204" y="709"/>
                  </a:lnTo>
                  <a:lnTo>
                    <a:pt x="2201" y="709"/>
                  </a:lnTo>
                  <a:lnTo>
                    <a:pt x="2197" y="706"/>
                  </a:lnTo>
                  <a:lnTo>
                    <a:pt x="2190" y="704"/>
                  </a:lnTo>
                  <a:lnTo>
                    <a:pt x="2189" y="700"/>
                  </a:lnTo>
                  <a:lnTo>
                    <a:pt x="2193" y="699"/>
                  </a:lnTo>
                  <a:lnTo>
                    <a:pt x="2193" y="698"/>
                  </a:lnTo>
                  <a:lnTo>
                    <a:pt x="2186" y="694"/>
                  </a:lnTo>
                  <a:lnTo>
                    <a:pt x="2181" y="689"/>
                  </a:lnTo>
                  <a:lnTo>
                    <a:pt x="2178" y="688"/>
                  </a:lnTo>
                  <a:lnTo>
                    <a:pt x="2170" y="689"/>
                  </a:lnTo>
                  <a:lnTo>
                    <a:pt x="2169" y="691"/>
                  </a:lnTo>
                  <a:lnTo>
                    <a:pt x="2170" y="692"/>
                  </a:lnTo>
                  <a:lnTo>
                    <a:pt x="2179" y="692"/>
                  </a:lnTo>
                  <a:lnTo>
                    <a:pt x="2182" y="693"/>
                  </a:lnTo>
                  <a:lnTo>
                    <a:pt x="2184" y="695"/>
                  </a:lnTo>
                  <a:lnTo>
                    <a:pt x="2185" y="698"/>
                  </a:lnTo>
                  <a:lnTo>
                    <a:pt x="2175" y="704"/>
                  </a:lnTo>
                  <a:lnTo>
                    <a:pt x="2167" y="711"/>
                  </a:lnTo>
                  <a:lnTo>
                    <a:pt x="2165" y="715"/>
                  </a:lnTo>
                  <a:lnTo>
                    <a:pt x="2161" y="727"/>
                  </a:lnTo>
                  <a:lnTo>
                    <a:pt x="2158" y="727"/>
                  </a:lnTo>
                  <a:lnTo>
                    <a:pt x="2155" y="727"/>
                  </a:lnTo>
                  <a:lnTo>
                    <a:pt x="2148" y="722"/>
                  </a:lnTo>
                  <a:lnTo>
                    <a:pt x="2148" y="720"/>
                  </a:lnTo>
                  <a:lnTo>
                    <a:pt x="2150" y="715"/>
                  </a:lnTo>
                  <a:lnTo>
                    <a:pt x="2151" y="711"/>
                  </a:lnTo>
                  <a:lnTo>
                    <a:pt x="2149" y="709"/>
                  </a:lnTo>
                  <a:lnTo>
                    <a:pt x="2147" y="707"/>
                  </a:lnTo>
                  <a:lnTo>
                    <a:pt x="2143" y="706"/>
                  </a:lnTo>
                  <a:lnTo>
                    <a:pt x="2133" y="708"/>
                  </a:lnTo>
                  <a:lnTo>
                    <a:pt x="2125" y="709"/>
                  </a:lnTo>
                  <a:lnTo>
                    <a:pt x="2122" y="709"/>
                  </a:lnTo>
                  <a:lnTo>
                    <a:pt x="2122" y="711"/>
                  </a:lnTo>
                  <a:lnTo>
                    <a:pt x="2125" y="711"/>
                  </a:lnTo>
                  <a:lnTo>
                    <a:pt x="2144" y="709"/>
                  </a:lnTo>
                  <a:lnTo>
                    <a:pt x="2146" y="711"/>
                  </a:lnTo>
                  <a:lnTo>
                    <a:pt x="2147" y="713"/>
                  </a:lnTo>
                  <a:lnTo>
                    <a:pt x="2145" y="718"/>
                  </a:lnTo>
                  <a:lnTo>
                    <a:pt x="2136" y="725"/>
                  </a:lnTo>
                  <a:lnTo>
                    <a:pt x="2134" y="727"/>
                  </a:lnTo>
                  <a:lnTo>
                    <a:pt x="2130" y="738"/>
                  </a:lnTo>
                  <a:lnTo>
                    <a:pt x="2126" y="745"/>
                  </a:lnTo>
                  <a:lnTo>
                    <a:pt x="2127" y="748"/>
                  </a:lnTo>
                  <a:lnTo>
                    <a:pt x="2133" y="756"/>
                  </a:lnTo>
                  <a:lnTo>
                    <a:pt x="2132" y="762"/>
                  </a:lnTo>
                  <a:lnTo>
                    <a:pt x="2133" y="768"/>
                  </a:lnTo>
                  <a:lnTo>
                    <a:pt x="2138" y="779"/>
                  </a:lnTo>
                  <a:lnTo>
                    <a:pt x="2134" y="783"/>
                  </a:lnTo>
                  <a:lnTo>
                    <a:pt x="2132" y="784"/>
                  </a:lnTo>
                  <a:lnTo>
                    <a:pt x="2128" y="783"/>
                  </a:lnTo>
                  <a:lnTo>
                    <a:pt x="2127" y="785"/>
                  </a:lnTo>
                  <a:lnTo>
                    <a:pt x="2125" y="789"/>
                  </a:lnTo>
                  <a:lnTo>
                    <a:pt x="2121" y="803"/>
                  </a:lnTo>
                  <a:lnTo>
                    <a:pt x="2119" y="806"/>
                  </a:lnTo>
                  <a:lnTo>
                    <a:pt x="2114" y="806"/>
                  </a:lnTo>
                  <a:lnTo>
                    <a:pt x="2108" y="803"/>
                  </a:lnTo>
                  <a:lnTo>
                    <a:pt x="2096" y="807"/>
                  </a:lnTo>
                  <a:lnTo>
                    <a:pt x="2081" y="811"/>
                  </a:lnTo>
                  <a:lnTo>
                    <a:pt x="2068" y="806"/>
                  </a:lnTo>
                  <a:lnTo>
                    <a:pt x="2062" y="801"/>
                  </a:lnTo>
                  <a:lnTo>
                    <a:pt x="2055" y="798"/>
                  </a:lnTo>
                  <a:lnTo>
                    <a:pt x="2032" y="800"/>
                  </a:lnTo>
                  <a:lnTo>
                    <a:pt x="2034" y="801"/>
                  </a:lnTo>
                  <a:lnTo>
                    <a:pt x="2040" y="802"/>
                  </a:lnTo>
                  <a:lnTo>
                    <a:pt x="2053" y="801"/>
                  </a:lnTo>
                  <a:lnTo>
                    <a:pt x="2055" y="802"/>
                  </a:lnTo>
                  <a:lnTo>
                    <a:pt x="2037" y="814"/>
                  </a:lnTo>
                  <a:lnTo>
                    <a:pt x="2018" y="837"/>
                  </a:lnTo>
                  <a:lnTo>
                    <a:pt x="2009" y="846"/>
                  </a:lnTo>
                  <a:lnTo>
                    <a:pt x="1998" y="852"/>
                  </a:lnTo>
                  <a:lnTo>
                    <a:pt x="1994" y="851"/>
                  </a:lnTo>
                  <a:lnTo>
                    <a:pt x="1992" y="843"/>
                  </a:lnTo>
                  <a:lnTo>
                    <a:pt x="1991" y="839"/>
                  </a:lnTo>
                  <a:lnTo>
                    <a:pt x="1992" y="837"/>
                  </a:lnTo>
                  <a:lnTo>
                    <a:pt x="2001" y="830"/>
                  </a:lnTo>
                  <a:lnTo>
                    <a:pt x="2010" y="828"/>
                  </a:lnTo>
                  <a:lnTo>
                    <a:pt x="2010" y="825"/>
                  </a:lnTo>
                  <a:lnTo>
                    <a:pt x="2008" y="824"/>
                  </a:lnTo>
                  <a:lnTo>
                    <a:pt x="2001" y="826"/>
                  </a:lnTo>
                  <a:lnTo>
                    <a:pt x="1999" y="826"/>
                  </a:lnTo>
                  <a:lnTo>
                    <a:pt x="1995" y="824"/>
                  </a:lnTo>
                  <a:lnTo>
                    <a:pt x="1990" y="821"/>
                  </a:lnTo>
                  <a:lnTo>
                    <a:pt x="1989" y="820"/>
                  </a:lnTo>
                  <a:lnTo>
                    <a:pt x="1988" y="821"/>
                  </a:lnTo>
                  <a:lnTo>
                    <a:pt x="1988" y="822"/>
                  </a:lnTo>
                  <a:lnTo>
                    <a:pt x="1994" y="828"/>
                  </a:lnTo>
                  <a:lnTo>
                    <a:pt x="1994" y="830"/>
                  </a:lnTo>
                  <a:lnTo>
                    <a:pt x="1982" y="843"/>
                  </a:lnTo>
                  <a:lnTo>
                    <a:pt x="1971" y="849"/>
                  </a:lnTo>
                  <a:lnTo>
                    <a:pt x="1965" y="850"/>
                  </a:lnTo>
                  <a:lnTo>
                    <a:pt x="1954" y="861"/>
                  </a:lnTo>
                  <a:lnTo>
                    <a:pt x="1953" y="861"/>
                  </a:lnTo>
                  <a:lnTo>
                    <a:pt x="1952" y="860"/>
                  </a:lnTo>
                  <a:lnTo>
                    <a:pt x="1957" y="852"/>
                  </a:lnTo>
                  <a:lnTo>
                    <a:pt x="1957" y="851"/>
                  </a:lnTo>
                  <a:lnTo>
                    <a:pt x="1956" y="851"/>
                  </a:lnTo>
                  <a:lnTo>
                    <a:pt x="1954" y="851"/>
                  </a:lnTo>
                  <a:lnTo>
                    <a:pt x="1954" y="854"/>
                  </a:lnTo>
                  <a:lnTo>
                    <a:pt x="1951" y="858"/>
                  </a:lnTo>
                  <a:lnTo>
                    <a:pt x="1941" y="865"/>
                  </a:lnTo>
                  <a:lnTo>
                    <a:pt x="1937" y="866"/>
                  </a:lnTo>
                  <a:lnTo>
                    <a:pt x="1933" y="864"/>
                  </a:lnTo>
                  <a:lnTo>
                    <a:pt x="1930" y="865"/>
                  </a:lnTo>
                  <a:lnTo>
                    <a:pt x="1922" y="871"/>
                  </a:lnTo>
                  <a:lnTo>
                    <a:pt x="1914" y="884"/>
                  </a:lnTo>
                  <a:lnTo>
                    <a:pt x="1913" y="885"/>
                  </a:lnTo>
                  <a:lnTo>
                    <a:pt x="1910" y="883"/>
                  </a:lnTo>
                  <a:lnTo>
                    <a:pt x="1908" y="878"/>
                  </a:lnTo>
                  <a:lnTo>
                    <a:pt x="1905" y="870"/>
                  </a:lnTo>
                  <a:lnTo>
                    <a:pt x="1904" y="861"/>
                  </a:lnTo>
                  <a:lnTo>
                    <a:pt x="1905" y="859"/>
                  </a:lnTo>
                  <a:lnTo>
                    <a:pt x="1910" y="860"/>
                  </a:lnTo>
                  <a:lnTo>
                    <a:pt x="1911" y="858"/>
                  </a:lnTo>
                  <a:lnTo>
                    <a:pt x="1908" y="856"/>
                  </a:lnTo>
                  <a:lnTo>
                    <a:pt x="1900" y="856"/>
                  </a:lnTo>
                  <a:lnTo>
                    <a:pt x="1895" y="852"/>
                  </a:lnTo>
                  <a:lnTo>
                    <a:pt x="1892" y="850"/>
                  </a:lnTo>
                  <a:lnTo>
                    <a:pt x="1874" y="850"/>
                  </a:lnTo>
                  <a:lnTo>
                    <a:pt x="1874" y="849"/>
                  </a:lnTo>
                  <a:lnTo>
                    <a:pt x="1873" y="842"/>
                  </a:lnTo>
                  <a:lnTo>
                    <a:pt x="1863" y="840"/>
                  </a:lnTo>
                  <a:lnTo>
                    <a:pt x="1864" y="839"/>
                  </a:lnTo>
                  <a:lnTo>
                    <a:pt x="1871" y="835"/>
                  </a:lnTo>
                  <a:lnTo>
                    <a:pt x="1869" y="834"/>
                  </a:lnTo>
                  <a:lnTo>
                    <a:pt x="1866" y="834"/>
                  </a:lnTo>
                  <a:lnTo>
                    <a:pt x="1849" y="846"/>
                  </a:lnTo>
                  <a:lnTo>
                    <a:pt x="1833" y="859"/>
                  </a:lnTo>
                  <a:lnTo>
                    <a:pt x="1832" y="861"/>
                  </a:lnTo>
                  <a:lnTo>
                    <a:pt x="1832" y="867"/>
                  </a:lnTo>
                  <a:lnTo>
                    <a:pt x="1821" y="880"/>
                  </a:lnTo>
                  <a:lnTo>
                    <a:pt x="1820" y="887"/>
                  </a:lnTo>
                  <a:lnTo>
                    <a:pt x="1821" y="891"/>
                  </a:lnTo>
                  <a:lnTo>
                    <a:pt x="1825" y="894"/>
                  </a:lnTo>
                  <a:lnTo>
                    <a:pt x="1831" y="897"/>
                  </a:lnTo>
                  <a:lnTo>
                    <a:pt x="1835" y="896"/>
                  </a:lnTo>
                  <a:lnTo>
                    <a:pt x="1836" y="892"/>
                  </a:lnTo>
                  <a:lnTo>
                    <a:pt x="1831" y="885"/>
                  </a:lnTo>
                  <a:lnTo>
                    <a:pt x="1839" y="885"/>
                  </a:lnTo>
                  <a:lnTo>
                    <a:pt x="1844" y="884"/>
                  </a:lnTo>
                  <a:lnTo>
                    <a:pt x="1846" y="884"/>
                  </a:lnTo>
                  <a:lnTo>
                    <a:pt x="1845" y="889"/>
                  </a:lnTo>
                  <a:lnTo>
                    <a:pt x="1839" y="893"/>
                  </a:lnTo>
                  <a:lnTo>
                    <a:pt x="1833" y="903"/>
                  </a:lnTo>
                  <a:lnTo>
                    <a:pt x="1833" y="905"/>
                  </a:lnTo>
                  <a:lnTo>
                    <a:pt x="1839" y="910"/>
                  </a:lnTo>
                  <a:lnTo>
                    <a:pt x="1838" y="913"/>
                  </a:lnTo>
                  <a:lnTo>
                    <a:pt x="1836" y="914"/>
                  </a:lnTo>
                  <a:lnTo>
                    <a:pt x="1835" y="914"/>
                  </a:lnTo>
                  <a:lnTo>
                    <a:pt x="1831" y="911"/>
                  </a:lnTo>
                  <a:lnTo>
                    <a:pt x="1826" y="912"/>
                  </a:lnTo>
                  <a:lnTo>
                    <a:pt x="1823" y="911"/>
                  </a:lnTo>
                  <a:lnTo>
                    <a:pt x="1809" y="904"/>
                  </a:lnTo>
                  <a:lnTo>
                    <a:pt x="1803" y="902"/>
                  </a:lnTo>
                  <a:lnTo>
                    <a:pt x="1797" y="903"/>
                  </a:lnTo>
                  <a:lnTo>
                    <a:pt x="1792" y="907"/>
                  </a:lnTo>
                  <a:lnTo>
                    <a:pt x="1790" y="908"/>
                  </a:lnTo>
                  <a:lnTo>
                    <a:pt x="1779" y="909"/>
                  </a:lnTo>
                  <a:lnTo>
                    <a:pt x="1773" y="906"/>
                  </a:lnTo>
                  <a:lnTo>
                    <a:pt x="1768" y="901"/>
                  </a:lnTo>
                  <a:lnTo>
                    <a:pt x="1765" y="895"/>
                  </a:lnTo>
                  <a:lnTo>
                    <a:pt x="1766" y="885"/>
                  </a:lnTo>
                  <a:lnTo>
                    <a:pt x="1775" y="887"/>
                  </a:lnTo>
                  <a:lnTo>
                    <a:pt x="1783" y="888"/>
                  </a:lnTo>
                  <a:lnTo>
                    <a:pt x="1785" y="887"/>
                  </a:lnTo>
                  <a:lnTo>
                    <a:pt x="1787" y="885"/>
                  </a:lnTo>
                  <a:lnTo>
                    <a:pt x="1793" y="884"/>
                  </a:lnTo>
                  <a:lnTo>
                    <a:pt x="1791" y="879"/>
                  </a:lnTo>
                  <a:lnTo>
                    <a:pt x="1784" y="873"/>
                  </a:lnTo>
                  <a:lnTo>
                    <a:pt x="1782" y="874"/>
                  </a:lnTo>
                  <a:lnTo>
                    <a:pt x="1775" y="880"/>
                  </a:lnTo>
                  <a:lnTo>
                    <a:pt x="1771" y="885"/>
                  </a:lnTo>
                  <a:lnTo>
                    <a:pt x="1769" y="884"/>
                  </a:lnTo>
                  <a:lnTo>
                    <a:pt x="1767" y="879"/>
                  </a:lnTo>
                  <a:lnTo>
                    <a:pt x="1766" y="878"/>
                  </a:lnTo>
                  <a:lnTo>
                    <a:pt x="1753" y="875"/>
                  </a:lnTo>
                  <a:lnTo>
                    <a:pt x="1747" y="876"/>
                  </a:lnTo>
                  <a:lnTo>
                    <a:pt x="1731" y="880"/>
                  </a:lnTo>
                  <a:lnTo>
                    <a:pt x="1730" y="879"/>
                  </a:lnTo>
                  <a:lnTo>
                    <a:pt x="1730" y="876"/>
                  </a:lnTo>
                  <a:lnTo>
                    <a:pt x="1731" y="873"/>
                  </a:lnTo>
                  <a:lnTo>
                    <a:pt x="1741" y="870"/>
                  </a:lnTo>
                  <a:lnTo>
                    <a:pt x="1742" y="865"/>
                  </a:lnTo>
                  <a:lnTo>
                    <a:pt x="1746" y="859"/>
                  </a:lnTo>
                  <a:lnTo>
                    <a:pt x="1750" y="855"/>
                  </a:lnTo>
                  <a:lnTo>
                    <a:pt x="1758" y="850"/>
                  </a:lnTo>
                  <a:lnTo>
                    <a:pt x="1758" y="847"/>
                  </a:lnTo>
                  <a:lnTo>
                    <a:pt x="1754" y="839"/>
                  </a:lnTo>
                  <a:lnTo>
                    <a:pt x="1753" y="841"/>
                  </a:lnTo>
                  <a:lnTo>
                    <a:pt x="1752" y="849"/>
                  </a:lnTo>
                  <a:lnTo>
                    <a:pt x="1747" y="853"/>
                  </a:lnTo>
                  <a:lnTo>
                    <a:pt x="1740" y="862"/>
                  </a:lnTo>
                  <a:lnTo>
                    <a:pt x="1736" y="864"/>
                  </a:lnTo>
                  <a:lnTo>
                    <a:pt x="1729" y="862"/>
                  </a:lnTo>
                  <a:lnTo>
                    <a:pt x="1722" y="862"/>
                  </a:lnTo>
                  <a:lnTo>
                    <a:pt x="1719" y="865"/>
                  </a:lnTo>
                  <a:lnTo>
                    <a:pt x="1715" y="868"/>
                  </a:lnTo>
                  <a:lnTo>
                    <a:pt x="1713" y="870"/>
                  </a:lnTo>
                  <a:lnTo>
                    <a:pt x="1712" y="874"/>
                  </a:lnTo>
                  <a:lnTo>
                    <a:pt x="1713" y="876"/>
                  </a:lnTo>
                  <a:lnTo>
                    <a:pt x="1717" y="879"/>
                  </a:lnTo>
                  <a:lnTo>
                    <a:pt x="1717" y="880"/>
                  </a:lnTo>
                  <a:lnTo>
                    <a:pt x="1716" y="882"/>
                  </a:lnTo>
                  <a:lnTo>
                    <a:pt x="1712" y="882"/>
                  </a:lnTo>
                  <a:lnTo>
                    <a:pt x="1706" y="875"/>
                  </a:lnTo>
                  <a:lnTo>
                    <a:pt x="1704" y="872"/>
                  </a:lnTo>
                  <a:lnTo>
                    <a:pt x="1703" y="871"/>
                  </a:lnTo>
                  <a:lnTo>
                    <a:pt x="1697" y="873"/>
                  </a:lnTo>
                  <a:lnTo>
                    <a:pt x="1683" y="878"/>
                  </a:lnTo>
                  <a:lnTo>
                    <a:pt x="1677" y="879"/>
                  </a:lnTo>
                  <a:lnTo>
                    <a:pt x="1674" y="878"/>
                  </a:lnTo>
                  <a:lnTo>
                    <a:pt x="1668" y="872"/>
                  </a:lnTo>
                  <a:lnTo>
                    <a:pt x="1666" y="872"/>
                  </a:lnTo>
                  <a:lnTo>
                    <a:pt x="1666" y="874"/>
                  </a:lnTo>
                  <a:lnTo>
                    <a:pt x="1673" y="890"/>
                  </a:lnTo>
                  <a:lnTo>
                    <a:pt x="1670" y="893"/>
                  </a:lnTo>
                  <a:lnTo>
                    <a:pt x="1665" y="900"/>
                  </a:lnTo>
                  <a:lnTo>
                    <a:pt x="1666" y="902"/>
                  </a:lnTo>
                  <a:lnTo>
                    <a:pt x="1669" y="905"/>
                  </a:lnTo>
                  <a:lnTo>
                    <a:pt x="1666" y="908"/>
                  </a:lnTo>
                  <a:lnTo>
                    <a:pt x="1655" y="914"/>
                  </a:lnTo>
                  <a:lnTo>
                    <a:pt x="1651" y="914"/>
                  </a:lnTo>
                  <a:lnTo>
                    <a:pt x="1646" y="910"/>
                  </a:lnTo>
                  <a:lnTo>
                    <a:pt x="1648" y="905"/>
                  </a:lnTo>
                  <a:lnTo>
                    <a:pt x="1642" y="895"/>
                  </a:lnTo>
                  <a:lnTo>
                    <a:pt x="1640" y="888"/>
                  </a:lnTo>
                  <a:lnTo>
                    <a:pt x="1639" y="889"/>
                  </a:lnTo>
                  <a:lnTo>
                    <a:pt x="1639" y="893"/>
                  </a:lnTo>
                  <a:lnTo>
                    <a:pt x="1635" y="895"/>
                  </a:lnTo>
                  <a:lnTo>
                    <a:pt x="1630" y="895"/>
                  </a:lnTo>
                  <a:lnTo>
                    <a:pt x="1623" y="891"/>
                  </a:lnTo>
                  <a:lnTo>
                    <a:pt x="1619" y="892"/>
                  </a:lnTo>
                  <a:lnTo>
                    <a:pt x="1619" y="894"/>
                  </a:lnTo>
                  <a:lnTo>
                    <a:pt x="1623" y="901"/>
                  </a:lnTo>
                  <a:lnTo>
                    <a:pt x="1622" y="903"/>
                  </a:lnTo>
                  <a:lnTo>
                    <a:pt x="1623" y="905"/>
                  </a:lnTo>
                  <a:lnTo>
                    <a:pt x="1627" y="906"/>
                  </a:lnTo>
                  <a:lnTo>
                    <a:pt x="1633" y="905"/>
                  </a:lnTo>
                  <a:lnTo>
                    <a:pt x="1637" y="905"/>
                  </a:lnTo>
                  <a:lnTo>
                    <a:pt x="1640" y="908"/>
                  </a:lnTo>
                  <a:lnTo>
                    <a:pt x="1644" y="913"/>
                  </a:lnTo>
                  <a:lnTo>
                    <a:pt x="1648" y="914"/>
                  </a:lnTo>
                  <a:lnTo>
                    <a:pt x="1651" y="918"/>
                  </a:lnTo>
                  <a:lnTo>
                    <a:pt x="1650" y="920"/>
                  </a:lnTo>
                  <a:lnTo>
                    <a:pt x="1634" y="934"/>
                  </a:lnTo>
                  <a:lnTo>
                    <a:pt x="1632" y="947"/>
                  </a:lnTo>
                  <a:lnTo>
                    <a:pt x="1635" y="959"/>
                  </a:lnTo>
                  <a:lnTo>
                    <a:pt x="1634" y="960"/>
                  </a:lnTo>
                  <a:lnTo>
                    <a:pt x="1630" y="961"/>
                  </a:lnTo>
                  <a:lnTo>
                    <a:pt x="1629" y="963"/>
                  </a:lnTo>
                  <a:lnTo>
                    <a:pt x="1628" y="964"/>
                  </a:lnTo>
                  <a:lnTo>
                    <a:pt x="1626" y="963"/>
                  </a:lnTo>
                  <a:lnTo>
                    <a:pt x="1628" y="958"/>
                  </a:lnTo>
                  <a:lnTo>
                    <a:pt x="1627" y="955"/>
                  </a:lnTo>
                  <a:lnTo>
                    <a:pt x="1622" y="947"/>
                  </a:lnTo>
                  <a:lnTo>
                    <a:pt x="1619" y="945"/>
                  </a:lnTo>
                  <a:lnTo>
                    <a:pt x="1613" y="945"/>
                  </a:lnTo>
                  <a:lnTo>
                    <a:pt x="1602" y="949"/>
                  </a:lnTo>
                  <a:lnTo>
                    <a:pt x="1597" y="948"/>
                  </a:lnTo>
                  <a:lnTo>
                    <a:pt x="1588" y="949"/>
                  </a:lnTo>
                  <a:lnTo>
                    <a:pt x="1585" y="952"/>
                  </a:lnTo>
                  <a:lnTo>
                    <a:pt x="1581" y="950"/>
                  </a:lnTo>
                  <a:lnTo>
                    <a:pt x="1581" y="939"/>
                  </a:lnTo>
                  <a:lnTo>
                    <a:pt x="1576" y="929"/>
                  </a:lnTo>
                  <a:lnTo>
                    <a:pt x="1577" y="925"/>
                  </a:lnTo>
                  <a:lnTo>
                    <a:pt x="1581" y="918"/>
                  </a:lnTo>
                  <a:lnTo>
                    <a:pt x="1578" y="912"/>
                  </a:lnTo>
                  <a:lnTo>
                    <a:pt x="1579" y="904"/>
                  </a:lnTo>
                  <a:lnTo>
                    <a:pt x="1581" y="901"/>
                  </a:lnTo>
                  <a:lnTo>
                    <a:pt x="1585" y="896"/>
                  </a:lnTo>
                  <a:lnTo>
                    <a:pt x="1595" y="890"/>
                  </a:lnTo>
                  <a:lnTo>
                    <a:pt x="1602" y="888"/>
                  </a:lnTo>
                  <a:lnTo>
                    <a:pt x="1603" y="886"/>
                  </a:lnTo>
                  <a:lnTo>
                    <a:pt x="1603" y="882"/>
                  </a:lnTo>
                  <a:lnTo>
                    <a:pt x="1597" y="875"/>
                  </a:lnTo>
                  <a:lnTo>
                    <a:pt x="1589" y="869"/>
                  </a:lnTo>
                  <a:lnTo>
                    <a:pt x="1587" y="869"/>
                  </a:lnTo>
                  <a:lnTo>
                    <a:pt x="1587" y="872"/>
                  </a:lnTo>
                  <a:lnTo>
                    <a:pt x="1589" y="882"/>
                  </a:lnTo>
                  <a:lnTo>
                    <a:pt x="1588" y="885"/>
                  </a:lnTo>
                  <a:lnTo>
                    <a:pt x="1585" y="887"/>
                  </a:lnTo>
                  <a:lnTo>
                    <a:pt x="1577" y="889"/>
                  </a:lnTo>
                  <a:lnTo>
                    <a:pt x="1574" y="888"/>
                  </a:lnTo>
                  <a:lnTo>
                    <a:pt x="1573" y="886"/>
                  </a:lnTo>
                  <a:lnTo>
                    <a:pt x="1572" y="885"/>
                  </a:lnTo>
                  <a:lnTo>
                    <a:pt x="1562" y="885"/>
                  </a:lnTo>
                  <a:lnTo>
                    <a:pt x="1561" y="886"/>
                  </a:lnTo>
                  <a:lnTo>
                    <a:pt x="1562" y="889"/>
                  </a:lnTo>
                  <a:lnTo>
                    <a:pt x="1551" y="893"/>
                  </a:lnTo>
                  <a:lnTo>
                    <a:pt x="1544" y="898"/>
                  </a:lnTo>
                  <a:lnTo>
                    <a:pt x="1530" y="904"/>
                  </a:lnTo>
                  <a:lnTo>
                    <a:pt x="1521" y="908"/>
                  </a:lnTo>
                  <a:lnTo>
                    <a:pt x="1513" y="906"/>
                  </a:lnTo>
                  <a:lnTo>
                    <a:pt x="1513" y="908"/>
                  </a:lnTo>
                  <a:lnTo>
                    <a:pt x="1518" y="909"/>
                  </a:lnTo>
                  <a:lnTo>
                    <a:pt x="1525" y="914"/>
                  </a:lnTo>
                  <a:lnTo>
                    <a:pt x="1525" y="916"/>
                  </a:lnTo>
                  <a:lnTo>
                    <a:pt x="1524" y="918"/>
                  </a:lnTo>
                  <a:lnTo>
                    <a:pt x="1516" y="914"/>
                  </a:lnTo>
                  <a:lnTo>
                    <a:pt x="1513" y="915"/>
                  </a:lnTo>
                  <a:lnTo>
                    <a:pt x="1511" y="916"/>
                  </a:lnTo>
                  <a:lnTo>
                    <a:pt x="1512" y="918"/>
                  </a:lnTo>
                  <a:lnTo>
                    <a:pt x="1518" y="919"/>
                  </a:lnTo>
                  <a:lnTo>
                    <a:pt x="1518" y="920"/>
                  </a:lnTo>
                  <a:lnTo>
                    <a:pt x="1516" y="923"/>
                  </a:lnTo>
                  <a:lnTo>
                    <a:pt x="1512" y="924"/>
                  </a:lnTo>
                  <a:lnTo>
                    <a:pt x="1512" y="924"/>
                  </a:lnTo>
                  <a:lnTo>
                    <a:pt x="1508" y="925"/>
                  </a:lnTo>
                  <a:lnTo>
                    <a:pt x="1507" y="929"/>
                  </a:lnTo>
                  <a:lnTo>
                    <a:pt x="1504" y="934"/>
                  </a:lnTo>
                  <a:lnTo>
                    <a:pt x="1505" y="937"/>
                  </a:lnTo>
                  <a:lnTo>
                    <a:pt x="1507" y="936"/>
                  </a:lnTo>
                  <a:lnTo>
                    <a:pt x="1513" y="933"/>
                  </a:lnTo>
                  <a:lnTo>
                    <a:pt x="1520" y="933"/>
                  </a:lnTo>
                  <a:lnTo>
                    <a:pt x="1530" y="931"/>
                  </a:lnTo>
                  <a:lnTo>
                    <a:pt x="1533" y="931"/>
                  </a:lnTo>
                  <a:lnTo>
                    <a:pt x="1534" y="936"/>
                  </a:lnTo>
                  <a:lnTo>
                    <a:pt x="1531" y="943"/>
                  </a:lnTo>
                  <a:lnTo>
                    <a:pt x="1522" y="950"/>
                  </a:lnTo>
                  <a:lnTo>
                    <a:pt x="1517" y="952"/>
                  </a:lnTo>
                  <a:lnTo>
                    <a:pt x="1509" y="952"/>
                  </a:lnTo>
                  <a:lnTo>
                    <a:pt x="1508" y="954"/>
                  </a:lnTo>
                  <a:lnTo>
                    <a:pt x="1505" y="958"/>
                  </a:lnTo>
                  <a:lnTo>
                    <a:pt x="1504" y="963"/>
                  </a:lnTo>
                  <a:lnTo>
                    <a:pt x="1508" y="968"/>
                  </a:lnTo>
                  <a:lnTo>
                    <a:pt x="1512" y="968"/>
                  </a:lnTo>
                  <a:lnTo>
                    <a:pt x="1513" y="968"/>
                  </a:lnTo>
                  <a:lnTo>
                    <a:pt x="1514" y="964"/>
                  </a:lnTo>
                  <a:lnTo>
                    <a:pt x="1515" y="961"/>
                  </a:lnTo>
                  <a:lnTo>
                    <a:pt x="1517" y="960"/>
                  </a:lnTo>
                  <a:lnTo>
                    <a:pt x="1520" y="960"/>
                  </a:lnTo>
                  <a:lnTo>
                    <a:pt x="1530" y="968"/>
                  </a:lnTo>
                  <a:lnTo>
                    <a:pt x="1540" y="969"/>
                  </a:lnTo>
                  <a:lnTo>
                    <a:pt x="1540" y="973"/>
                  </a:lnTo>
                  <a:lnTo>
                    <a:pt x="1545" y="979"/>
                  </a:lnTo>
                  <a:lnTo>
                    <a:pt x="1541" y="983"/>
                  </a:lnTo>
                  <a:lnTo>
                    <a:pt x="1527" y="990"/>
                  </a:lnTo>
                  <a:lnTo>
                    <a:pt x="1524" y="991"/>
                  </a:lnTo>
                  <a:lnTo>
                    <a:pt x="1519" y="991"/>
                  </a:lnTo>
                  <a:lnTo>
                    <a:pt x="1514" y="1000"/>
                  </a:lnTo>
                  <a:lnTo>
                    <a:pt x="1511" y="1000"/>
                  </a:lnTo>
                  <a:lnTo>
                    <a:pt x="1507" y="999"/>
                  </a:lnTo>
                  <a:lnTo>
                    <a:pt x="1503" y="994"/>
                  </a:lnTo>
                  <a:lnTo>
                    <a:pt x="1502" y="987"/>
                  </a:lnTo>
                  <a:lnTo>
                    <a:pt x="1501" y="974"/>
                  </a:lnTo>
                  <a:lnTo>
                    <a:pt x="1499" y="969"/>
                  </a:lnTo>
                  <a:lnTo>
                    <a:pt x="1494" y="964"/>
                  </a:lnTo>
                  <a:lnTo>
                    <a:pt x="1487" y="962"/>
                  </a:lnTo>
                  <a:lnTo>
                    <a:pt x="1486" y="958"/>
                  </a:lnTo>
                  <a:lnTo>
                    <a:pt x="1483" y="952"/>
                  </a:lnTo>
                  <a:lnTo>
                    <a:pt x="1478" y="949"/>
                  </a:lnTo>
                  <a:lnTo>
                    <a:pt x="1470" y="949"/>
                  </a:lnTo>
                  <a:lnTo>
                    <a:pt x="1457" y="955"/>
                  </a:lnTo>
                  <a:lnTo>
                    <a:pt x="1450" y="952"/>
                  </a:lnTo>
                  <a:lnTo>
                    <a:pt x="1445" y="958"/>
                  </a:lnTo>
                  <a:lnTo>
                    <a:pt x="1434" y="959"/>
                  </a:lnTo>
                  <a:lnTo>
                    <a:pt x="1430" y="966"/>
                  </a:lnTo>
                  <a:lnTo>
                    <a:pt x="1425" y="970"/>
                  </a:lnTo>
                  <a:lnTo>
                    <a:pt x="1425" y="970"/>
                  </a:lnTo>
                  <a:lnTo>
                    <a:pt x="1425" y="970"/>
                  </a:lnTo>
                  <a:lnTo>
                    <a:pt x="1425" y="97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5" name="Freeform 669">
              <a:extLst>
                <a:ext uri="{FF2B5EF4-FFF2-40B4-BE49-F238E27FC236}">
                  <a16:creationId xmlns:a16="http://schemas.microsoft.com/office/drawing/2014/main" id="{108D9EE3-4FA6-DCE0-65E9-83BD33C86848}"/>
                </a:ext>
              </a:extLst>
            </p:cNvPr>
            <p:cNvSpPr>
              <a:spLocks/>
            </p:cNvSpPr>
            <p:nvPr/>
          </p:nvSpPr>
          <p:spPr bwMode="auto">
            <a:xfrm>
              <a:off x="6129339" y="6269038"/>
              <a:ext cx="411163" cy="344488"/>
            </a:xfrm>
            <a:custGeom>
              <a:avLst/>
              <a:gdLst>
                <a:gd name="T0" fmla="*/ 548 w 779"/>
                <a:gd name="T1" fmla="*/ 36 h 652"/>
                <a:gd name="T2" fmla="*/ 566 w 779"/>
                <a:gd name="T3" fmla="*/ 30 h 652"/>
                <a:gd name="T4" fmla="*/ 626 w 779"/>
                <a:gd name="T5" fmla="*/ 60 h 652"/>
                <a:gd name="T6" fmla="*/ 649 w 779"/>
                <a:gd name="T7" fmla="*/ 88 h 652"/>
                <a:gd name="T8" fmla="*/ 627 w 779"/>
                <a:gd name="T9" fmla="*/ 25 h 652"/>
                <a:gd name="T10" fmla="*/ 664 w 779"/>
                <a:gd name="T11" fmla="*/ 0 h 652"/>
                <a:gd name="T12" fmla="*/ 715 w 779"/>
                <a:gd name="T13" fmla="*/ 56 h 652"/>
                <a:gd name="T14" fmla="*/ 766 w 779"/>
                <a:gd name="T15" fmla="*/ 146 h 652"/>
                <a:gd name="T16" fmla="*/ 756 w 779"/>
                <a:gd name="T17" fmla="*/ 182 h 652"/>
                <a:gd name="T18" fmla="*/ 703 w 779"/>
                <a:gd name="T19" fmla="*/ 210 h 652"/>
                <a:gd name="T20" fmla="*/ 665 w 779"/>
                <a:gd name="T21" fmla="*/ 251 h 652"/>
                <a:gd name="T22" fmla="*/ 649 w 779"/>
                <a:gd name="T23" fmla="*/ 283 h 652"/>
                <a:gd name="T24" fmla="*/ 642 w 779"/>
                <a:gd name="T25" fmla="*/ 306 h 652"/>
                <a:gd name="T26" fmla="*/ 611 w 779"/>
                <a:gd name="T27" fmla="*/ 333 h 652"/>
                <a:gd name="T28" fmla="*/ 626 w 779"/>
                <a:gd name="T29" fmla="*/ 349 h 652"/>
                <a:gd name="T30" fmla="*/ 610 w 779"/>
                <a:gd name="T31" fmla="*/ 394 h 652"/>
                <a:gd name="T32" fmla="*/ 592 w 779"/>
                <a:gd name="T33" fmla="*/ 443 h 652"/>
                <a:gd name="T34" fmla="*/ 620 w 779"/>
                <a:gd name="T35" fmla="*/ 448 h 652"/>
                <a:gd name="T36" fmla="*/ 579 w 779"/>
                <a:gd name="T37" fmla="*/ 490 h 652"/>
                <a:gd name="T38" fmla="*/ 572 w 779"/>
                <a:gd name="T39" fmla="*/ 476 h 652"/>
                <a:gd name="T40" fmla="*/ 511 w 779"/>
                <a:gd name="T41" fmla="*/ 504 h 652"/>
                <a:gd name="T42" fmla="*/ 472 w 779"/>
                <a:gd name="T43" fmla="*/ 547 h 652"/>
                <a:gd name="T44" fmla="*/ 460 w 779"/>
                <a:gd name="T45" fmla="*/ 569 h 652"/>
                <a:gd name="T46" fmla="*/ 435 w 779"/>
                <a:gd name="T47" fmla="*/ 579 h 652"/>
                <a:gd name="T48" fmla="*/ 453 w 779"/>
                <a:gd name="T49" fmla="*/ 560 h 652"/>
                <a:gd name="T50" fmla="*/ 405 w 779"/>
                <a:gd name="T51" fmla="*/ 574 h 652"/>
                <a:gd name="T52" fmla="*/ 361 w 779"/>
                <a:gd name="T53" fmla="*/ 592 h 652"/>
                <a:gd name="T54" fmla="*/ 341 w 779"/>
                <a:gd name="T55" fmla="*/ 619 h 652"/>
                <a:gd name="T56" fmla="*/ 346 w 779"/>
                <a:gd name="T57" fmla="*/ 640 h 652"/>
                <a:gd name="T58" fmla="*/ 322 w 779"/>
                <a:gd name="T59" fmla="*/ 647 h 652"/>
                <a:gd name="T60" fmla="*/ 306 w 779"/>
                <a:gd name="T61" fmla="*/ 638 h 652"/>
                <a:gd name="T62" fmla="*/ 294 w 779"/>
                <a:gd name="T63" fmla="*/ 637 h 652"/>
                <a:gd name="T64" fmla="*/ 281 w 779"/>
                <a:gd name="T65" fmla="*/ 628 h 652"/>
                <a:gd name="T66" fmla="*/ 176 w 779"/>
                <a:gd name="T67" fmla="*/ 611 h 652"/>
                <a:gd name="T68" fmla="*/ 144 w 779"/>
                <a:gd name="T69" fmla="*/ 583 h 652"/>
                <a:gd name="T70" fmla="*/ 70 w 779"/>
                <a:gd name="T71" fmla="*/ 558 h 652"/>
                <a:gd name="T72" fmla="*/ 15 w 779"/>
                <a:gd name="T73" fmla="*/ 521 h 652"/>
                <a:gd name="T74" fmla="*/ 15 w 779"/>
                <a:gd name="T75" fmla="*/ 446 h 652"/>
                <a:gd name="T76" fmla="*/ 7 w 779"/>
                <a:gd name="T77" fmla="*/ 387 h 652"/>
                <a:gd name="T78" fmla="*/ 18 w 779"/>
                <a:gd name="T79" fmla="*/ 323 h 652"/>
                <a:gd name="T80" fmla="*/ 5 w 779"/>
                <a:gd name="T81" fmla="*/ 292 h 652"/>
                <a:gd name="T82" fmla="*/ 15 w 779"/>
                <a:gd name="T83" fmla="*/ 274 h 652"/>
                <a:gd name="T84" fmla="*/ 58 w 779"/>
                <a:gd name="T85" fmla="*/ 244 h 652"/>
                <a:gd name="T86" fmla="*/ 127 w 779"/>
                <a:gd name="T87" fmla="*/ 189 h 652"/>
                <a:gd name="T88" fmla="*/ 214 w 779"/>
                <a:gd name="T89" fmla="*/ 149 h 652"/>
                <a:gd name="T90" fmla="*/ 222 w 779"/>
                <a:gd name="T91" fmla="*/ 132 h 652"/>
                <a:gd name="T92" fmla="*/ 181 w 779"/>
                <a:gd name="T93" fmla="*/ 143 h 652"/>
                <a:gd name="T94" fmla="*/ 216 w 779"/>
                <a:gd name="T95" fmla="*/ 88 h 652"/>
                <a:gd name="T96" fmla="*/ 252 w 779"/>
                <a:gd name="T97" fmla="*/ 96 h 652"/>
                <a:gd name="T98" fmla="*/ 281 w 779"/>
                <a:gd name="T99" fmla="*/ 106 h 652"/>
                <a:gd name="T100" fmla="*/ 307 w 779"/>
                <a:gd name="T101" fmla="*/ 98 h 652"/>
                <a:gd name="T102" fmla="*/ 306 w 779"/>
                <a:gd name="T103" fmla="*/ 85 h 652"/>
                <a:gd name="T104" fmla="*/ 339 w 779"/>
                <a:gd name="T105" fmla="*/ 52 h 652"/>
                <a:gd name="T106" fmla="*/ 362 w 779"/>
                <a:gd name="T107" fmla="*/ 60 h 652"/>
                <a:gd name="T108" fmla="*/ 386 w 779"/>
                <a:gd name="T109" fmla="*/ 63 h 652"/>
                <a:gd name="T110" fmla="*/ 394 w 779"/>
                <a:gd name="T111" fmla="*/ 77 h 652"/>
                <a:gd name="T112" fmla="*/ 440 w 779"/>
                <a:gd name="T113" fmla="*/ 77 h 652"/>
                <a:gd name="T114" fmla="*/ 447 w 779"/>
                <a:gd name="T115" fmla="*/ 82 h 652"/>
                <a:gd name="T116" fmla="*/ 473 w 779"/>
                <a:gd name="T117" fmla="*/ 63 h 652"/>
                <a:gd name="T118" fmla="*/ 475 w 779"/>
                <a:gd name="T119" fmla="*/ 61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9" h="652">
                  <a:moveTo>
                    <a:pt x="487" y="51"/>
                  </a:moveTo>
                  <a:lnTo>
                    <a:pt x="492" y="37"/>
                  </a:lnTo>
                  <a:lnTo>
                    <a:pt x="495" y="34"/>
                  </a:lnTo>
                  <a:lnTo>
                    <a:pt x="508" y="35"/>
                  </a:lnTo>
                  <a:lnTo>
                    <a:pt x="524" y="44"/>
                  </a:lnTo>
                  <a:lnTo>
                    <a:pt x="535" y="46"/>
                  </a:lnTo>
                  <a:lnTo>
                    <a:pt x="539" y="45"/>
                  </a:lnTo>
                  <a:lnTo>
                    <a:pt x="545" y="43"/>
                  </a:lnTo>
                  <a:lnTo>
                    <a:pt x="547" y="40"/>
                  </a:lnTo>
                  <a:lnTo>
                    <a:pt x="548" y="36"/>
                  </a:lnTo>
                  <a:lnTo>
                    <a:pt x="553" y="36"/>
                  </a:lnTo>
                  <a:lnTo>
                    <a:pt x="558" y="37"/>
                  </a:lnTo>
                  <a:lnTo>
                    <a:pt x="561" y="40"/>
                  </a:lnTo>
                  <a:lnTo>
                    <a:pt x="564" y="45"/>
                  </a:lnTo>
                  <a:lnTo>
                    <a:pt x="566" y="54"/>
                  </a:lnTo>
                  <a:lnTo>
                    <a:pt x="568" y="56"/>
                  </a:lnTo>
                  <a:lnTo>
                    <a:pt x="570" y="53"/>
                  </a:lnTo>
                  <a:lnTo>
                    <a:pt x="571" y="45"/>
                  </a:lnTo>
                  <a:lnTo>
                    <a:pt x="565" y="35"/>
                  </a:lnTo>
                  <a:lnTo>
                    <a:pt x="566" y="30"/>
                  </a:lnTo>
                  <a:lnTo>
                    <a:pt x="571" y="29"/>
                  </a:lnTo>
                  <a:lnTo>
                    <a:pt x="584" y="38"/>
                  </a:lnTo>
                  <a:lnTo>
                    <a:pt x="604" y="47"/>
                  </a:lnTo>
                  <a:lnTo>
                    <a:pt x="609" y="48"/>
                  </a:lnTo>
                  <a:lnTo>
                    <a:pt x="619" y="47"/>
                  </a:lnTo>
                  <a:lnTo>
                    <a:pt x="618" y="59"/>
                  </a:lnTo>
                  <a:lnTo>
                    <a:pt x="618" y="63"/>
                  </a:lnTo>
                  <a:lnTo>
                    <a:pt x="619" y="65"/>
                  </a:lnTo>
                  <a:lnTo>
                    <a:pt x="621" y="64"/>
                  </a:lnTo>
                  <a:lnTo>
                    <a:pt x="626" y="60"/>
                  </a:lnTo>
                  <a:lnTo>
                    <a:pt x="630" y="60"/>
                  </a:lnTo>
                  <a:lnTo>
                    <a:pt x="630" y="58"/>
                  </a:lnTo>
                  <a:lnTo>
                    <a:pt x="628" y="55"/>
                  </a:lnTo>
                  <a:lnTo>
                    <a:pt x="633" y="57"/>
                  </a:lnTo>
                  <a:lnTo>
                    <a:pt x="634" y="58"/>
                  </a:lnTo>
                  <a:lnTo>
                    <a:pt x="633" y="65"/>
                  </a:lnTo>
                  <a:lnTo>
                    <a:pt x="635" y="78"/>
                  </a:lnTo>
                  <a:lnTo>
                    <a:pt x="638" y="84"/>
                  </a:lnTo>
                  <a:lnTo>
                    <a:pt x="642" y="88"/>
                  </a:lnTo>
                  <a:lnTo>
                    <a:pt x="649" y="88"/>
                  </a:lnTo>
                  <a:lnTo>
                    <a:pt x="651" y="85"/>
                  </a:lnTo>
                  <a:lnTo>
                    <a:pt x="651" y="82"/>
                  </a:lnTo>
                  <a:lnTo>
                    <a:pt x="643" y="67"/>
                  </a:lnTo>
                  <a:lnTo>
                    <a:pt x="642" y="58"/>
                  </a:lnTo>
                  <a:lnTo>
                    <a:pt x="643" y="46"/>
                  </a:lnTo>
                  <a:lnTo>
                    <a:pt x="629" y="47"/>
                  </a:lnTo>
                  <a:lnTo>
                    <a:pt x="626" y="46"/>
                  </a:lnTo>
                  <a:lnTo>
                    <a:pt x="630" y="30"/>
                  </a:lnTo>
                  <a:lnTo>
                    <a:pt x="630" y="28"/>
                  </a:lnTo>
                  <a:lnTo>
                    <a:pt x="627" y="25"/>
                  </a:lnTo>
                  <a:lnTo>
                    <a:pt x="628" y="23"/>
                  </a:lnTo>
                  <a:lnTo>
                    <a:pt x="632" y="22"/>
                  </a:lnTo>
                  <a:lnTo>
                    <a:pt x="636" y="19"/>
                  </a:lnTo>
                  <a:lnTo>
                    <a:pt x="640" y="19"/>
                  </a:lnTo>
                  <a:lnTo>
                    <a:pt x="646" y="20"/>
                  </a:lnTo>
                  <a:lnTo>
                    <a:pt x="654" y="17"/>
                  </a:lnTo>
                  <a:lnTo>
                    <a:pt x="660" y="10"/>
                  </a:lnTo>
                  <a:lnTo>
                    <a:pt x="661" y="3"/>
                  </a:lnTo>
                  <a:lnTo>
                    <a:pt x="663" y="0"/>
                  </a:lnTo>
                  <a:lnTo>
                    <a:pt x="664" y="0"/>
                  </a:lnTo>
                  <a:lnTo>
                    <a:pt x="667" y="5"/>
                  </a:lnTo>
                  <a:lnTo>
                    <a:pt x="676" y="35"/>
                  </a:lnTo>
                  <a:lnTo>
                    <a:pt x="679" y="37"/>
                  </a:lnTo>
                  <a:lnTo>
                    <a:pt x="681" y="38"/>
                  </a:lnTo>
                  <a:lnTo>
                    <a:pt x="690" y="38"/>
                  </a:lnTo>
                  <a:lnTo>
                    <a:pt x="692" y="44"/>
                  </a:lnTo>
                  <a:lnTo>
                    <a:pt x="696" y="49"/>
                  </a:lnTo>
                  <a:lnTo>
                    <a:pt x="700" y="52"/>
                  </a:lnTo>
                  <a:lnTo>
                    <a:pt x="708" y="52"/>
                  </a:lnTo>
                  <a:lnTo>
                    <a:pt x="715" y="56"/>
                  </a:lnTo>
                  <a:lnTo>
                    <a:pt x="720" y="57"/>
                  </a:lnTo>
                  <a:lnTo>
                    <a:pt x="732" y="56"/>
                  </a:lnTo>
                  <a:lnTo>
                    <a:pt x="737" y="54"/>
                  </a:lnTo>
                  <a:lnTo>
                    <a:pt x="742" y="51"/>
                  </a:lnTo>
                  <a:lnTo>
                    <a:pt x="744" y="51"/>
                  </a:lnTo>
                  <a:lnTo>
                    <a:pt x="746" y="54"/>
                  </a:lnTo>
                  <a:lnTo>
                    <a:pt x="751" y="62"/>
                  </a:lnTo>
                  <a:lnTo>
                    <a:pt x="764" y="113"/>
                  </a:lnTo>
                  <a:lnTo>
                    <a:pt x="766" y="121"/>
                  </a:lnTo>
                  <a:lnTo>
                    <a:pt x="766" y="146"/>
                  </a:lnTo>
                  <a:lnTo>
                    <a:pt x="770" y="154"/>
                  </a:lnTo>
                  <a:lnTo>
                    <a:pt x="774" y="157"/>
                  </a:lnTo>
                  <a:lnTo>
                    <a:pt x="779" y="172"/>
                  </a:lnTo>
                  <a:lnTo>
                    <a:pt x="778" y="172"/>
                  </a:lnTo>
                  <a:lnTo>
                    <a:pt x="774" y="170"/>
                  </a:lnTo>
                  <a:lnTo>
                    <a:pt x="771" y="170"/>
                  </a:lnTo>
                  <a:lnTo>
                    <a:pt x="765" y="170"/>
                  </a:lnTo>
                  <a:lnTo>
                    <a:pt x="762" y="171"/>
                  </a:lnTo>
                  <a:lnTo>
                    <a:pt x="759" y="174"/>
                  </a:lnTo>
                  <a:lnTo>
                    <a:pt x="756" y="182"/>
                  </a:lnTo>
                  <a:lnTo>
                    <a:pt x="740" y="190"/>
                  </a:lnTo>
                  <a:lnTo>
                    <a:pt x="724" y="209"/>
                  </a:lnTo>
                  <a:lnTo>
                    <a:pt x="721" y="209"/>
                  </a:lnTo>
                  <a:lnTo>
                    <a:pt x="718" y="207"/>
                  </a:lnTo>
                  <a:lnTo>
                    <a:pt x="717" y="205"/>
                  </a:lnTo>
                  <a:lnTo>
                    <a:pt x="717" y="200"/>
                  </a:lnTo>
                  <a:lnTo>
                    <a:pt x="717" y="200"/>
                  </a:lnTo>
                  <a:lnTo>
                    <a:pt x="712" y="201"/>
                  </a:lnTo>
                  <a:lnTo>
                    <a:pt x="705" y="207"/>
                  </a:lnTo>
                  <a:lnTo>
                    <a:pt x="703" y="210"/>
                  </a:lnTo>
                  <a:lnTo>
                    <a:pt x="704" y="219"/>
                  </a:lnTo>
                  <a:lnTo>
                    <a:pt x="703" y="222"/>
                  </a:lnTo>
                  <a:lnTo>
                    <a:pt x="696" y="229"/>
                  </a:lnTo>
                  <a:lnTo>
                    <a:pt x="688" y="231"/>
                  </a:lnTo>
                  <a:lnTo>
                    <a:pt x="686" y="232"/>
                  </a:lnTo>
                  <a:lnTo>
                    <a:pt x="683" y="239"/>
                  </a:lnTo>
                  <a:lnTo>
                    <a:pt x="684" y="242"/>
                  </a:lnTo>
                  <a:lnTo>
                    <a:pt x="683" y="244"/>
                  </a:lnTo>
                  <a:lnTo>
                    <a:pt x="670" y="247"/>
                  </a:lnTo>
                  <a:lnTo>
                    <a:pt x="665" y="251"/>
                  </a:lnTo>
                  <a:lnTo>
                    <a:pt x="663" y="253"/>
                  </a:lnTo>
                  <a:lnTo>
                    <a:pt x="661" y="258"/>
                  </a:lnTo>
                  <a:lnTo>
                    <a:pt x="661" y="264"/>
                  </a:lnTo>
                  <a:lnTo>
                    <a:pt x="664" y="271"/>
                  </a:lnTo>
                  <a:lnTo>
                    <a:pt x="664" y="275"/>
                  </a:lnTo>
                  <a:lnTo>
                    <a:pt x="658" y="280"/>
                  </a:lnTo>
                  <a:lnTo>
                    <a:pt x="656" y="281"/>
                  </a:lnTo>
                  <a:lnTo>
                    <a:pt x="652" y="279"/>
                  </a:lnTo>
                  <a:lnTo>
                    <a:pt x="649" y="281"/>
                  </a:lnTo>
                  <a:lnTo>
                    <a:pt x="649" y="283"/>
                  </a:lnTo>
                  <a:lnTo>
                    <a:pt x="650" y="290"/>
                  </a:lnTo>
                  <a:lnTo>
                    <a:pt x="650" y="298"/>
                  </a:lnTo>
                  <a:lnTo>
                    <a:pt x="648" y="300"/>
                  </a:lnTo>
                  <a:lnTo>
                    <a:pt x="639" y="303"/>
                  </a:lnTo>
                  <a:lnTo>
                    <a:pt x="637" y="307"/>
                  </a:lnTo>
                  <a:lnTo>
                    <a:pt x="635" y="308"/>
                  </a:lnTo>
                  <a:lnTo>
                    <a:pt x="636" y="311"/>
                  </a:lnTo>
                  <a:lnTo>
                    <a:pt x="639" y="311"/>
                  </a:lnTo>
                  <a:lnTo>
                    <a:pt x="640" y="310"/>
                  </a:lnTo>
                  <a:lnTo>
                    <a:pt x="642" y="306"/>
                  </a:lnTo>
                  <a:lnTo>
                    <a:pt x="644" y="305"/>
                  </a:lnTo>
                  <a:lnTo>
                    <a:pt x="645" y="307"/>
                  </a:lnTo>
                  <a:lnTo>
                    <a:pt x="640" y="316"/>
                  </a:lnTo>
                  <a:lnTo>
                    <a:pt x="636" y="319"/>
                  </a:lnTo>
                  <a:lnTo>
                    <a:pt x="633" y="328"/>
                  </a:lnTo>
                  <a:lnTo>
                    <a:pt x="632" y="329"/>
                  </a:lnTo>
                  <a:lnTo>
                    <a:pt x="626" y="328"/>
                  </a:lnTo>
                  <a:lnTo>
                    <a:pt x="619" y="331"/>
                  </a:lnTo>
                  <a:lnTo>
                    <a:pt x="613" y="332"/>
                  </a:lnTo>
                  <a:lnTo>
                    <a:pt x="611" y="333"/>
                  </a:lnTo>
                  <a:lnTo>
                    <a:pt x="611" y="336"/>
                  </a:lnTo>
                  <a:lnTo>
                    <a:pt x="613" y="337"/>
                  </a:lnTo>
                  <a:lnTo>
                    <a:pt x="619" y="333"/>
                  </a:lnTo>
                  <a:lnTo>
                    <a:pt x="622" y="333"/>
                  </a:lnTo>
                  <a:lnTo>
                    <a:pt x="625" y="334"/>
                  </a:lnTo>
                  <a:lnTo>
                    <a:pt x="626" y="336"/>
                  </a:lnTo>
                  <a:lnTo>
                    <a:pt x="622" y="344"/>
                  </a:lnTo>
                  <a:lnTo>
                    <a:pt x="624" y="349"/>
                  </a:lnTo>
                  <a:lnTo>
                    <a:pt x="625" y="350"/>
                  </a:lnTo>
                  <a:lnTo>
                    <a:pt x="626" y="349"/>
                  </a:lnTo>
                  <a:lnTo>
                    <a:pt x="628" y="335"/>
                  </a:lnTo>
                  <a:lnTo>
                    <a:pt x="629" y="333"/>
                  </a:lnTo>
                  <a:lnTo>
                    <a:pt x="631" y="334"/>
                  </a:lnTo>
                  <a:lnTo>
                    <a:pt x="628" y="352"/>
                  </a:lnTo>
                  <a:lnTo>
                    <a:pt x="628" y="363"/>
                  </a:lnTo>
                  <a:lnTo>
                    <a:pt x="627" y="365"/>
                  </a:lnTo>
                  <a:lnTo>
                    <a:pt x="621" y="366"/>
                  </a:lnTo>
                  <a:lnTo>
                    <a:pt x="617" y="369"/>
                  </a:lnTo>
                  <a:lnTo>
                    <a:pt x="613" y="381"/>
                  </a:lnTo>
                  <a:lnTo>
                    <a:pt x="610" y="394"/>
                  </a:lnTo>
                  <a:lnTo>
                    <a:pt x="612" y="415"/>
                  </a:lnTo>
                  <a:lnTo>
                    <a:pt x="608" y="415"/>
                  </a:lnTo>
                  <a:lnTo>
                    <a:pt x="596" y="420"/>
                  </a:lnTo>
                  <a:lnTo>
                    <a:pt x="595" y="421"/>
                  </a:lnTo>
                  <a:lnTo>
                    <a:pt x="595" y="430"/>
                  </a:lnTo>
                  <a:lnTo>
                    <a:pt x="593" y="431"/>
                  </a:lnTo>
                  <a:lnTo>
                    <a:pt x="588" y="433"/>
                  </a:lnTo>
                  <a:lnTo>
                    <a:pt x="585" y="437"/>
                  </a:lnTo>
                  <a:lnTo>
                    <a:pt x="588" y="441"/>
                  </a:lnTo>
                  <a:lnTo>
                    <a:pt x="592" y="443"/>
                  </a:lnTo>
                  <a:lnTo>
                    <a:pt x="606" y="444"/>
                  </a:lnTo>
                  <a:lnTo>
                    <a:pt x="610" y="443"/>
                  </a:lnTo>
                  <a:lnTo>
                    <a:pt x="611" y="440"/>
                  </a:lnTo>
                  <a:lnTo>
                    <a:pt x="607" y="431"/>
                  </a:lnTo>
                  <a:lnTo>
                    <a:pt x="606" y="426"/>
                  </a:lnTo>
                  <a:lnTo>
                    <a:pt x="607" y="421"/>
                  </a:lnTo>
                  <a:lnTo>
                    <a:pt x="609" y="419"/>
                  </a:lnTo>
                  <a:lnTo>
                    <a:pt x="614" y="441"/>
                  </a:lnTo>
                  <a:lnTo>
                    <a:pt x="616" y="446"/>
                  </a:lnTo>
                  <a:lnTo>
                    <a:pt x="620" y="448"/>
                  </a:lnTo>
                  <a:lnTo>
                    <a:pt x="620" y="450"/>
                  </a:lnTo>
                  <a:lnTo>
                    <a:pt x="618" y="450"/>
                  </a:lnTo>
                  <a:lnTo>
                    <a:pt x="615" y="449"/>
                  </a:lnTo>
                  <a:lnTo>
                    <a:pt x="607" y="454"/>
                  </a:lnTo>
                  <a:lnTo>
                    <a:pt x="596" y="454"/>
                  </a:lnTo>
                  <a:lnTo>
                    <a:pt x="594" y="455"/>
                  </a:lnTo>
                  <a:lnTo>
                    <a:pt x="591" y="466"/>
                  </a:lnTo>
                  <a:lnTo>
                    <a:pt x="585" y="471"/>
                  </a:lnTo>
                  <a:lnTo>
                    <a:pt x="582" y="485"/>
                  </a:lnTo>
                  <a:lnTo>
                    <a:pt x="579" y="490"/>
                  </a:lnTo>
                  <a:lnTo>
                    <a:pt x="573" y="486"/>
                  </a:lnTo>
                  <a:lnTo>
                    <a:pt x="565" y="488"/>
                  </a:lnTo>
                  <a:lnTo>
                    <a:pt x="561" y="490"/>
                  </a:lnTo>
                  <a:lnTo>
                    <a:pt x="554" y="487"/>
                  </a:lnTo>
                  <a:lnTo>
                    <a:pt x="561" y="483"/>
                  </a:lnTo>
                  <a:lnTo>
                    <a:pt x="578" y="482"/>
                  </a:lnTo>
                  <a:lnTo>
                    <a:pt x="580" y="475"/>
                  </a:lnTo>
                  <a:lnTo>
                    <a:pt x="580" y="474"/>
                  </a:lnTo>
                  <a:lnTo>
                    <a:pt x="579" y="473"/>
                  </a:lnTo>
                  <a:lnTo>
                    <a:pt x="572" y="476"/>
                  </a:lnTo>
                  <a:lnTo>
                    <a:pt x="572" y="479"/>
                  </a:lnTo>
                  <a:lnTo>
                    <a:pt x="562" y="479"/>
                  </a:lnTo>
                  <a:lnTo>
                    <a:pt x="557" y="480"/>
                  </a:lnTo>
                  <a:lnTo>
                    <a:pt x="548" y="489"/>
                  </a:lnTo>
                  <a:lnTo>
                    <a:pt x="538" y="490"/>
                  </a:lnTo>
                  <a:lnTo>
                    <a:pt x="530" y="492"/>
                  </a:lnTo>
                  <a:lnTo>
                    <a:pt x="525" y="494"/>
                  </a:lnTo>
                  <a:lnTo>
                    <a:pt x="522" y="497"/>
                  </a:lnTo>
                  <a:lnTo>
                    <a:pt x="516" y="501"/>
                  </a:lnTo>
                  <a:lnTo>
                    <a:pt x="511" y="504"/>
                  </a:lnTo>
                  <a:lnTo>
                    <a:pt x="506" y="509"/>
                  </a:lnTo>
                  <a:lnTo>
                    <a:pt x="502" y="516"/>
                  </a:lnTo>
                  <a:lnTo>
                    <a:pt x="494" y="520"/>
                  </a:lnTo>
                  <a:lnTo>
                    <a:pt x="489" y="527"/>
                  </a:lnTo>
                  <a:lnTo>
                    <a:pt x="481" y="533"/>
                  </a:lnTo>
                  <a:lnTo>
                    <a:pt x="477" y="537"/>
                  </a:lnTo>
                  <a:lnTo>
                    <a:pt x="474" y="543"/>
                  </a:lnTo>
                  <a:lnTo>
                    <a:pt x="469" y="546"/>
                  </a:lnTo>
                  <a:lnTo>
                    <a:pt x="469" y="547"/>
                  </a:lnTo>
                  <a:lnTo>
                    <a:pt x="472" y="547"/>
                  </a:lnTo>
                  <a:lnTo>
                    <a:pt x="470" y="556"/>
                  </a:lnTo>
                  <a:lnTo>
                    <a:pt x="469" y="570"/>
                  </a:lnTo>
                  <a:lnTo>
                    <a:pt x="467" y="573"/>
                  </a:lnTo>
                  <a:lnTo>
                    <a:pt x="466" y="573"/>
                  </a:lnTo>
                  <a:lnTo>
                    <a:pt x="467" y="565"/>
                  </a:lnTo>
                  <a:lnTo>
                    <a:pt x="465" y="562"/>
                  </a:lnTo>
                  <a:lnTo>
                    <a:pt x="464" y="561"/>
                  </a:lnTo>
                  <a:lnTo>
                    <a:pt x="457" y="566"/>
                  </a:lnTo>
                  <a:lnTo>
                    <a:pt x="457" y="567"/>
                  </a:lnTo>
                  <a:lnTo>
                    <a:pt x="460" y="569"/>
                  </a:lnTo>
                  <a:lnTo>
                    <a:pt x="455" y="573"/>
                  </a:lnTo>
                  <a:lnTo>
                    <a:pt x="456" y="574"/>
                  </a:lnTo>
                  <a:lnTo>
                    <a:pt x="460" y="573"/>
                  </a:lnTo>
                  <a:lnTo>
                    <a:pt x="464" y="574"/>
                  </a:lnTo>
                  <a:lnTo>
                    <a:pt x="464" y="579"/>
                  </a:lnTo>
                  <a:lnTo>
                    <a:pt x="462" y="581"/>
                  </a:lnTo>
                  <a:lnTo>
                    <a:pt x="448" y="584"/>
                  </a:lnTo>
                  <a:lnTo>
                    <a:pt x="444" y="582"/>
                  </a:lnTo>
                  <a:lnTo>
                    <a:pt x="436" y="580"/>
                  </a:lnTo>
                  <a:lnTo>
                    <a:pt x="435" y="579"/>
                  </a:lnTo>
                  <a:lnTo>
                    <a:pt x="433" y="574"/>
                  </a:lnTo>
                  <a:lnTo>
                    <a:pt x="433" y="573"/>
                  </a:lnTo>
                  <a:lnTo>
                    <a:pt x="435" y="573"/>
                  </a:lnTo>
                  <a:lnTo>
                    <a:pt x="439" y="577"/>
                  </a:lnTo>
                  <a:lnTo>
                    <a:pt x="445" y="577"/>
                  </a:lnTo>
                  <a:lnTo>
                    <a:pt x="449" y="577"/>
                  </a:lnTo>
                  <a:lnTo>
                    <a:pt x="451" y="574"/>
                  </a:lnTo>
                  <a:lnTo>
                    <a:pt x="454" y="568"/>
                  </a:lnTo>
                  <a:lnTo>
                    <a:pt x="455" y="565"/>
                  </a:lnTo>
                  <a:lnTo>
                    <a:pt x="453" y="560"/>
                  </a:lnTo>
                  <a:lnTo>
                    <a:pt x="450" y="558"/>
                  </a:lnTo>
                  <a:lnTo>
                    <a:pt x="449" y="559"/>
                  </a:lnTo>
                  <a:lnTo>
                    <a:pt x="450" y="564"/>
                  </a:lnTo>
                  <a:lnTo>
                    <a:pt x="449" y="565"/>
                  </a:lnTo>
                  <a:lnTo>
                    <a:pt x="440" y="564"/>
                  </a:lnTo>
                  <a:lnTo>
                    <a:pt x="435" y="569"/>
                  </a:lnTo>
                  <a:lnTo>
                    <a:pt x="432" y="570"/>
                  </a:lnTo>
                  <a:lnTo>
                    <a:pt x="417" y="570"/>
                  </a:lnTo>
                  <a:lnTo>
                    <a:pt x="410" y="572"/>
                  </a:lnTo>
                  <a:lnTo>
                    <a:pt x="405" y="574"/>
                  </a:lnTo>
                  <a:lnTo>
                    <a:pt x="398" y="580"/>
                  </a:lnTo>
                  <a:lnTo>
                    <a:pt x="394" y="581"/>
                  </a:lnTo>
                  <a:lnTo>
                    <a:pt x="387" y="581"/>
                  </a:lnTo>
                  <a:lnTo>
                    <a:pt x="382" y="577"/>
                  </a:lnTo>
                  <a:lnTo>
                    <a:pt x="379" y="575"/>
                  </a:lnTo>
                  <a:lnTo>
                    <a:pt x="377" y="576"/>
                  </a:lnTo>
                  <a:lnTo>
                    <a:pt x="371" y="578"/>
                  </a:lnTo>
                  <a:lnTo>
                    <a:pt x="365" y="577"/>
                  </a:lnTo>
                  <a:lnTo>
                    <a:pt x="367" y="581"/>
                  </a:lnTo>
                  <a:lnTo>
                    <a:pt x="361" y="592"/>
                  </a:lnTo>
                  <a:lnTo>
                    <a:pt x="354" y="615"/>
                  </a:lnTo>
                  <a:lnTo>
                    <a:pt x="354" y="615"/>
                  </a:lnTo>
                  <a:lnTo>
                    <a:pt x="359" y="616"/>
                  </a:lnTo>
                  <a:lnTo>
                    <a:pt x="360" y="618"/>
                  </a:lnTo>
                  <a:lnTo>
                    <a:pt x="358" y="619"/>
                  </a:lnTo>
                  <a:lnTo>
                    <a:pt x="355" y="618"/>
                  </a:lnTo>
                  <a:lnTo>
                    <a:pt x="349" y="614"/>
                  </a:lnTo>
                  <a:lnTo>
                    <a:pt x="342" y="615"/>
                  </a:lnTo>
                  <a:lnTo>
                    <a:pt x="340" y="616"/>
                  </a:lnTo>
                  <a:lnTo>
                    <a:pt x="341" y="619"/>
                  </a:lnTo>
                  <a:lnTo>
                    <a:pt x="342" y="620"/>
                  </a:lnTo>
                  <a:lnTo>
                    <a:pt x="358" y="621"/>
                  </a:lnTo>
                  <a:lnTo>
                    <a:pt x="361" y="623"/>
                  </a:lnTo>
                  <a:lnTo>
                    <a:pt x="360" y="629"/>
                  </a:lnTo>
                  <a:lnTo>
                    <a:pt x="355" y="636"/>
                  </a:lnTo>
                  <a:lnTo>
                    <a:pt x="349" y="635"/>
                  </a:lnTo>
                  <a:lnTo>
                    <a:pt x="349" y="637"/>
                  </a:lnTo>
                  <a:lnTo>
                    <a:pt x="351" y="639"/>
                  </a:lnTo>
                  <a:lnTo>
                    <a:pt x="350" y="640"/>
                  </a:lnTo>
                  <a:lnTo>
                    <a:pt x="346" y="640"/>
                  </a:lnTo>
                  <a:lnTo>
                    <a:pt x="344" y="639"/>
                  </a:lnTo>
                  <a:lnTo>
                    <a:pt x="343" y="638"/>
                  </a:lnTo>
                  <a:lnTo>
                    <a:pt x="345" y="633"/>
                  </a:lnTo>
                  <a:lnTo>
                    <a:pt x="344" y="630"/>
                  </a:lnTo>
                  <a:lnTo>
                    <a:pt x="343" y="629"/>
                  </a:lnTo>
                  <a:lnTo>
                    <a:pt x="327" y="630"/>
                  </a:lnTo>
                  <a:lnTo>
                    <a:pt x="321" y="634"/>
                  </a:lnTo>
                  <a:lnTo>
                    <a:pt x="319" y="637"/>
                  </a:lnTo>
                  <a:lnTo>
                    <a:pt x="319" y="640"/>
                  </a:lnTo>
                  <a:lnTo>
                    <a:pt x="322" y="647"/>
                  </a:lnTo>
                  <a:lnTo>
                    <a:pt x="322" y="649"/>
                  </a:lnTo>
                  <a:lnTo>
                    <a:pt x="321" y="649"/>
                  </a:lnTo>
                  <a:lnTo>
                    <a:pt x="317" y="647"/>
                  </a:lnTo>
                  <a:lnTo>
                    <a:pt x="311" y="648"/>
                  </a:lnTo>
                  <a:lnTo>
                    <a:pt x="309" y="649"/>
                  </a:lnTo>
                  <a:lnTo>
                    <a:pt x="306" y="652"/>
                  </a:lnTo>
                  <a:lnTo>
                    <a:pt x="304" y="652"/>
                  </a:lnTo>
                  <a:lnTo>
                    <a:pt x="302" y="651"/>
                  </a:lnTo>
                  <a:lnTo>
                    <a:pt x="301" y="649"/>
                  </a:lnTo>
                  <a:lnTo>
                    <a:pt x="306" y="638"/>
                  </a:lnTo>
                  <a:lnTo>
                    <a:pt x="300" y="636"/>
                  </a:lnTo>
                  <a:lnTo>
                    <a:pt x="297" y="632"/>
                  </a:lnTo>
                  <a:lnTo>
                    <a:pt x="305" y="627"/>
                  </a:lnTo>
                  <a:lnTo>
                    <a:pt x="306" y="624"/>
                  </a:lnTo>
                  <a:lnTo>
                    <a:pt x="306" y="622"/>
                  </a:lnTo>
                  <a:lnTo>
                    <a:pt x="301" y="628"/>
                  </a:lnTo>
                  <a:lnTo>
                    <a:pt x="294" y="630"/>
                  </a:lnTo>
                  <a:lnTo>
                    <a:pt x="294" y="632"/>
                  </a:lnTo>
                  <a:lnTo>
                    <a:pt x="295" y="634"/>
                  </a:lnTo>
                  <a:lnTo>
                    <a:pt x="294" y="637"/>
                  </a:lnTo>
                  <a:lnTo>
                    <a:pt x="293" y="636"/>
                  </a:lnTo>
                  <a:lnTo>
                    <a:pt x="290" y="632"/>
                  </a:lnTo>
                  <a:lnTo>
                    <a:pt x="289" y="632"/>
                  </a:lnTo>
                  <a:lnTo>
                    <a:pt x="278" y="642"/>
                  </a:lnTo>
                  <a:lnTo>
                    <a:pt x="274" y="644"/>
                  </a:lnTo>
                  <a:lnTo>
                    <a:pt x="272" y="641"/>
                  </a:lnTo>
                  <a:lnTo>
                    <a:pt x="271" y="638"/>
                  </a:lnTo>
                  <a:lnTo>
                    <a:pt x="277" y="634"/>
                  </a:lnTo>
                  <a:lnTo>
                    <a:pt x="276" y="630"/>
                  </a:lnTo>
                  <a:lnTo>
                    <a:pt x="281" y="628"/>
                  </a:lnTo>
                  <a:lnTo>
                    <a:pt x="282" y="623"/>
                  </a:lnTo>
                  <a:lnTo>
                    <a:pt x="266" y="611"/>
                  </a:lnTo>
                  <a:lnTo>
                    <a:pt x="255" y="610"/>
                  </a:lnTo>
                  <a:lnTo>
                    <a:pt x="235" y="612"/>
                  </a:lnTo>
                  <a:lnTo>
                    <a:pt x="223" y="605"/>
                  </a:lnTo>
                  <a:lnTo>
                    <a:pt x="218" y="604"/>
                  </a:lnTo>
                  <a:lnTo>
                    <a:pt x="203" y="608"/>
                  </a:lnTo>
                  <a:lnTo>
                    <a:pt x="192" y="608"/>
                  </a:lnTo>
                  <a:lnTo>
                    <a:pt x="182" y="611"/>
                  </a:lnTo>
                  <a:lnTo>
                    <a:pt x="176" y="611"/>
                  </a:lnTo>
                  <a:lnTo>
                    <a:pt x="170" y="608"/>
                  </a:lnTo>
                  <a:lnTo>
                    <a:pt x="167" y="604"/>
                  </a:lnTo>
                  <a:lnTo>
                    <a:pt x="167" y="602"/>
                  </a:lnTo>
                  <a:lnTo>
                    <a:pt x="168" y="597"/>
                  </a:lnTo>
                  <a:lnTo>
                    <a:pt x="166" y="594"/>
                  </a:lnTo>
                  <a:lnTo>
                    <a:pt x="162" y="592"/>
                  </a:lnTo>
                  <a:lnTo>
                    <a:pt x="163" y="590"/>
                  </a:lnTo>
                  <a:lnTo>
                    <a:pt x="162" y="588"/>
                  </a:lnTo>
                  <a:lnTo>
                    <a:pt x="153" y="584"/>
                  </a:lnTo>
                  <a:lnTo>
                    <a:pt x="144" y="583"/>
                  </a:lnTo>
                  <a:lnTo>
                    <a:pt x="137" y="583"/>
                  </a:lnTo>
                  <a:lnTo>
                    <a:pt x="124" y="586"/>
                  </a:lnTo>
                  <a:lnTo>
                    <a:pt x="117" y="587"/>
                  </a:lnTo>
                  <a:lnTo>
                    <a:pt x="114" y="582"/>
                  </a:lnTo>
                  <a:lnTo>
                    <a:pt x="110" y="579"/>
                  </a:lnTo>
                  <a:lnTo>
                    <a:pt x="108" y="575"/>
                  </a:lnTo>
                  <a:lnTo>
                    <a:pt x="103" y="568"/>
                  </a:lnTo>
                  <a:lnTo>
                    <a:pt x="80" y="565"/>
                  </a:lnTo>
                  <a:lnTo>
                    <a:pt x="74" y="562"/>
                  </a:lnTo>
                  <a:lnTo>
                    <a:pt x="70" y="558"/>
                  </a:lnTo>
                  <a:lnTo>
                    <a:pt x="62" y="547"/>
                  </a:lnTo>
                  <a:lnTo>
                    <a:pt x="43" y="543"/>
                  </a:lnTo>
                  <a:lnTo>
                    <a:pt x="26" y="542"/>
                  </a:lnTo>
                  <a:lnTo>
                    <a:pt x="22" y="540"/>
                  </a:lnTo>
                  <a:lnTo>
                    <a:pt x="19" y="537"/>
                  </a:lnTo>
                  <a:lnTo>
                    <a:pt x="17" y="534"/>
                  </a:lnTo>
                  <a:lnTo>
                    <a:pt x="17" y="530"/>
                  </a:lnTo>
                  <a:lnTo>
                    <a:pt x="15" y="527"/>
                  </a:lnTo>
                  <a:lnTo>
                    <a:pt x="15" y="524"/>
                  </a:lnTo>
                  <a:lnTo>
                    <a:pt x="15" y="521"/>
                  </a:lnTo>
                  <a:lnTo>
                    <a:pt x="20" y="511"/>
                  </a:lnTo>
                  <a:lnTo>
                    <a:pt x="24" y="503"/>
                  </a:lnTo>
                  <a:lnTo>
                    <a:pt x="24" y="485"/>
                  </a:lnTo>
                  <a:lnTo>
                    <a:pt x="22" y="478"/>
                  </a:lnTo>
                  <a:lnTo>
                    <a:pt x="23" y="473"/>
                  </a:lnTo>
                  <a:lnTo>
                    <a:pt x="23" y="468"/>
                  </a:lnTo>
                  <a:lnTo>
                    <a:pt x="21" y="459"/>
                  </a:lnTo>
                  <a:lnTo>
                    <a:pt x="22" y="456"/>
                  </a:lnTo>
                  <a:lnTo>
                    <a:pt x="17" y="453"/>
                  </a:lnTo>
                  <a:lnTo>
                    <a:pt x="15" y="446"/>
                  </a:lnTo>
                  <a:lnTo>
                    <a:pt x="13" y="441"/>
                  </a:lnTo>
                  <a:lnTo>
                    <a:pt x="2" y="434"/>
                  </a:lnTo>
                  <a:lnTo>
                    <a:pt x="0" y="429"/>
                  </a:lnTo>
                  <a:lnTo>
                    <a:pt x="1" y="423"/>
                  </a:lnTo>
                  <a:lnTo>
                    <a:pt x="4" y="421"/>
                  </a:lnTo>
                  <a:lnTo>
                    <a:pt x="4" y="418"/>
                  </a:lnTo>
                  <a:lnTo>
                    <a:pt x="8" y="413"/>
                  </a:lnTo>
                  <a:lnTo>
                    <a:pt x="12" y="402"/>
                  </a:lnTo>
                  <a:lnTo>
                    <a:pt x="7" y="389"/>
                  </a:lnTo>
                  <a:lnTo>
                    <a:pt x="7" y="387"/>
                  </a:lnTo>
                  <a:lnTo>
                    <a:pt x="9" y="385"/>
                  </a:lnTo>
                  <a:lnTo>
                    <a:pt x="9" y="381"/>
                  </a:lnTo>
                  <a:lnTo>
                    <a:pt x="0" y="354"/>
                  </a:lnTo>
                  <a:lnTo>
                    <a:pt x="0" y="351"/>
                  </a:lnTo>
                  <a:lnTo>
                    <a:pt x="3" y="350"/>
                  </a:lnTo>
                  <a:lnTo>
                    <a:pt x="0" y="345"/>
                  </a:lnTo>
                  <a:lnTo>
                    <a:pt x="5" y="343"/>
                  </a:lnTo>
                  <a:lnTo>
                    <a:pt x="11" y="337"/>
                  </a:lnTo>
                  <a:lnTo>
                    <a:pt x="18" y="325"/>
                  </a:lnTo>
                  <a:lnTo>
                    <a:pt x="18" y="323"/>
                  </a:lnTo>
                  <a:lnTo>
                    <a:pt x="17" y="315"/>
                  </a:lnTo>
                  <a:lnTo>
                    <a:pt x="15" y="312"/>
                  </a:lnTo>
                  <a:lnTo>
                    <a:pt x="8" y="308"/>
                  </a:lnTo>
                  <a:lnTo>
                    <a:pt x="6" y="308"/>
                  </a:lnTo>
                  <a:lnTo>
                    <a:pt x="3" y="309"/>
                  </a:lnTo>
                  <a:lnTo>
                    <a:pt x="1" y="308"/>
                  </a:lnTo>
                  <a:lnTo>
                    <a:pt x="2" y="305"/>
                  </a:lnTo>
                  <a:lnTo>
                    <a:pt x="5" y="299"/>
                  </a:lnTo>
                  <a:lnTo>
                    <a:pt x="6" y="296"/>
                  </a:lnTo>
                  <a:lnTo>
                    <a:pt x="5" y="292"/>
                  </a:lnTo>
                  <a:lnTo>
                    <a:pt x="4" y="293"/>
                  </a:lnTo>
                  <a:lnTo>
                    <a:pt x="3" y="293"/>
                  </a:lnTo>
                  <a:lnTo>
                    <a:pt x="3" y="289"/>
                  </a:lnTo>
                  <a:lnTo>
                    <a:pt x="4" y="285"/>
                  </a:lnTo>
                  <a:lnTo>
                    <a:pt x="7" y="282"/>
                  </a:lnTo>
                  <a:lnTo>
                    <a:pt x="16" y="287"/>
                  </a:lnTo>
                  <a:lnTo>
                    <a:pt x="19" y="287"/>
                  </a:lnTo>
                  <a:lnTo>
                    <a:pt x="20" y="286"/>
                  </a:lnTo>
                  <a:lnTo>
                    <a:pt x="20" y="283"/>
                  </a:lnTo>
                  <a:lnTo>
                    <a:pt x="15" y="274"/>
                  </a:lnTo>
                  <a:lnTo>
                    <a:pt x="16" y="274"/>
                  </a:lnTo>
                  <a:lnTo>
                    <a:pt x="20" y="276"/>
                  </a:lnTo>
                  <a:lnTo>
                    <a:pt x="21" y="274"/>
                  </a:lnTo>
                  <a:lnTo>
                    <a:pt x="14" y="265"/>
                  </a:lnTo>
                  <a:lnTo>
                    <a:pt x="18" y="263"/>
                  </a:lnTo>
                  <a:lnTo>
                    <a:pt x="21" y="257"/>
                  </a:lnTo>
                  <a:lnTo>
                    <a:pt x="23" y="256"/>
                  </a:lnTo>
                  <a:lnTo>
                    <a:pt x="34" y="257"/>
                  </a:lnTo>
                  <a:lnTo>
                    <a:pt x="41" y="256"/>
                  </a:lnTo>
                  <a:lnTo>
                    <a:pt x="58" y="244"/>
                  </a:lnTo>
                  <a:lnTo>
                    <a:pt x="68" y="234"/>
                  </a:lnTo>
                  <a:lnTo>
                    <a:pt x="83" y="228"/>
                  </a:lnTo>
                  <a:lnTo>
                    <a:pt x="99" y="215"/>
                  </a:lnTo>
                  <a:lnTo>
                    <a:pt x="102" y="215"/>
                  </a:lnTo>
                  <a:lnTo>
                    <a:pt x="103" y="219"/>
                  </a:lnTo>
                  <a:lnTo>
                    <a:pt x="105" y="220"/>
                  </a:lnTo>
                  <a:lnTo>
                    <a:pt x="108" y="218"/>
                  </a:lnTo>
                  <a:lnTo>
                    <a:pt x="105" y="214"/>
                  </a:lnTo>
                  <a:lnTo>
                    <a:pt x="105" y="211"/>
                  </a:lnTo>
                  <a:lnTo>
                    <a:pt x="127" y="189"/>
                  </a:lnTo>
                  <a:lnTo>
                    <a:pt x="131" y="186"/>
                  </a:lnTo>
                  <a:lnTo>
                    <a:pt x="149" y="182"/>
                  </a:lnTo>
                  <a:lnTo>
                    <a:pt x="186" y="164"/>
                  </a:lnTo>
                  <a:lnTo>
                    <a:pt x="191" y="160"/>
                  </a:lnTo>
                  <a:lnTo>
                    <a:pt x="192" y="149"/>
                  </a:lnTo>
                  <a:lnTo>
                    <a:pt x="195" y="146"/>
                  </a:lnTo>
                  <a:lnTo>
                    <a:pt x="205" y="143"/>
                  </a:lnTo>
                  <a:lnTo>
                    <a:pt x="213" y="143"/>
                  </a:lnTo>
                  <a:lnTo>
                    <a:pt x="214" y="144"/>
                  </a:lnTo>
                  <a:lnTo>
                    <a:pt x="214" y="149"/>
                  </a:lnTo>
                  <a:lnTo>
                    <a:pt x="218" y="149"/>
                  </a:lnTo>
                  <a:lnTo>
                    <a:pt x="221" y="155"/>
                  </a:lnTo>
                  <a:lnTo>
                    <a:pt x="222" y="156"/>
                  </a:lnTo>
                  <a:lnTo>
                    <a:pt x="224" y="155"/>
                  </a:lnTo>
                  <a:lnTo>
                    <a:pt x="225" y="152"/>
                  </a:lnTo>
                  <a:lnTo>
                    <a:pt x="225" y="148"/>
                  </a:lnTo>
                  <a:lnTo>
                    <a:pt x="219" y="143"/>
                  </a:lnTo>
                  <a:lnTo>
                    <a:pt x="213" y="138"/>
                  </a:lnTo>
                  <a:lnTo>
                    <a:pt x="214" y="136"/>
                  </a:lnTo>
                  <a:lnTo>
                    <a:pt x="222" y="132"/>
                  </a:lnTo>
                  <a:lnTo>
                    <a:pt x="224" y="131"/>
                  </a:lnTo>
                  <a:lnTo>
                    <a:pt x="221" y="125"/>
                  </a:lnTo>
                  <a:lnTo>
                    <a:pt x="216" y="120"/>
                  </a:lnTo>
                  <a:lnTo>
                    <a:pt x="214" y="121"/>
                  </a:lnTo>
                  <a:lnTo>
                    <a:pt x="206" y="129"/>
                  </a:lnTo>
                  <a:lnTo>
                    <a:pt x="198" y="131"/>
                  </a:lnTo>
                  <a:lnTo>
                    <a:pt x="196" y="137"/>
                  </a:lnTo>
                  <a:lnTo>
                    <a:pt x="193" y="141"/>
                  </a:lnTo>
                  <a:lnTo>
                    <a:pt x="185" y="141"/>
                  </a:lnTo>
                  <a:lnTo>
                    <a:pt x="181" y="143"/>
                  </a:lnTo>
                  <a:lnTo>
                    <a:pt x="179" y="143"/>
                  </a:lnTo>
                  <a:lnTo>
                    <a:pt x="181" y="136"/>
                  </a:lnTo>
                  <a:lnTo>
                    <a:pt x="177" y="130"/>
                  </a:lnTo>
                  <a:lnTo>
                    <a:pt x="178" y="120"/>
                  </a:lnTo>
                  <a:lnTo>
                    <a:pt x="191" y="112"/>
                  </a:lnTo>
                  <a:lnTo>
                    <a:pt x="197" y="101"/>
                  </a:lnTo>
                  <a:lnTo>
                    <a:pt x="207" y="98"/>
                  </a:lnTo>
                  <a:lnTo>
                    <a:pt x="209" y="90"/>
                  </a:lnTo>
                  <a:lnTo>
                    <a:pt x="211" y="87"/>
                  </a:lnTo>
                  <a:lnTo>
                    <a:pt x="216" y="88"/>
                  </a:lnTo>
                  <a:lnTo>
                    <a:pt x="221" y="81"/>
                  </a:lnTo>
                  <a:lnTo>
                    <a:pt x="225" y="81"/>
                  </a:lnTo>
                  <a:lnTo>
                    <a:pt x="229" y="83"/>
                  </a:lnTo>
                  <a:lnTo>
                    <a:pt x="225" y="89"/>
                  </a:lnTo>
                  <a:lnTo>
                    <a:pt x="229" y="92"/>
                  </a:lnTo>
                  <a:lnTo>
                    <a:pt x="232" y="92"/>
                  </a:lnTo>
                  <a:lnTo>
                    <a:pt x="240" y="89"/>
                  </a:lnTo>
                  <a:lnTo>
                    <a:pt x="245" y="89"/>
                  </a:lnTo>
                  <a:lnTo>
                    <a:pt x="247" y="90"/>
                  </a:lnTo>
                  <a:lnTo>
                    <a:pt x="252" y="96"/>
                  </a:lnTo>
                  <a:lnTo>
                    <a:pt x="255" y="99"/>
                  </a:lnTo>
                  <a:lnTo>
                    <a:pt x="263" y="99"/>
                  </a:lnTo>
                  <a:lnTo>
                    <a:pt x="268" y="96"/>
                  </a:lnTo>
                  <a:lnTo>
                    <a:pt x="272" y="97"/>
                  </a:lnTo>
                  <a:lnTo>
                    <a:pt x="275" y="106"/>
                  </a:lnTo>
                  <a:lnTo>
                    <a:pt x="275" y="110"/>
                  </a:lnTo>
                  <a:lnTo>
                    <a:pt x="276" y="111"/>
                  </a:lnTo>
                  <a:lnTo>
                    <a:pt x="277" y="111"/>
                  </a:lnTo>
                  <a:lnTo>
                    <a:pt x="278" y="109"/>
                  </a:lnTo>
                  <a:lnTo>
                    <a:pt x="281" y="106"/>
                  </a:lnTo>
                  <a:lnTo>
                    <a:pt x="288" y="105"/>
                  </a:lnTo>
                  <a:lnTo>
                    <a:pt x="295" y="99"/>
                  </a:lnTo>
                  <a:lnTo>
                    <a:pt x="297" y="100"/>
                  </a:lnTo>
                  <a:lnTo>
                    <a:pt x="293" y="107"/>
                  </a:lnTo>
                  <a:lnTo>
                    <a:pt x="294" y="109"/>
                  </a:lnTo>
                  <a:lnTo>
                    <a:pt x="296" y="109"/>
                  </a:lnTo>
                  <a:lnTo>
                    <a:pt x="299" y="107"/>
                  </a:lnTo>
                  <a:lnTo>
                    <a:pt x="302" y="102"/>
                  </a:lnTo>
                  <a:lnTo>
                    <a:pt x="306" y="102"/>
                  </a:lnTo>
                  <a:lnTo>
                    <a:pt x="307" y="98"/>
                  </a:lnTo>
                  <a:lnTo>
                    <a:pt x="306" y="97"/>
                  </a:lnTo>
                  <a:lnTo>
                    <a:pt x="303" y="97"/>
                  </a:lnTo>
                  <a:lnTo>
                    <a:pt x="297" y="96"/>
                  </a:lnTo>
                  <a:lnTo>
                    <a:pt x="292" y="95"/>
                  </a:lnTo>
                  <a:lnTo>
                    <a:pt x="291" y="93"/>
                  </a:lnTo>
                  <a:lnTo>
                    <a:pt x="291" y="84"/>
                  </a:lnTo>
                  <a:lnTo>
                    <a:pt x="294" y="82"/>
                  </a:lnTo>
                  <a:lnTo>
                    <a:pt x="297" y="82"/>
                  </a:lnTo>
                  <a:lnTo>
                    <a:pt x="301" y="83"/>
                  </a:lnTo>
                  <a:lnTo>
                    <a:pt x="306" y="85"/>
                  </a:lnTo>
                  <a:lnTo>
                    <a:pt x="307" y="85"/>
                  </a:lnTo>
                  <a:lnTo>
                    <a:pt x="305" y="81"/>
                  </a:lnTo>
                  <a:lnTo>
                    <a:pt x="295" y="78"/>
                  </a:lnTo>
                  <a:lnTo>
                    <a:pt x="294" y="76"/>
                  </a:lnTo>
                  <a:lnTo>
                    <a:pt x="295" y="74"/>
                  </a:lnTo>
                  <a:lnTo>
                    <a:pt x="305" y="70"/>
                  </a:lnTo>
                  <a:lnTo>
                    <a:pt x="310" y="61"/>
                  </a:lnTo>
                  <a:lnTo>
                    <a:pt x="314" y="58"/>
                  </a:lnTo>
                  <a:lnTo>
                    <a:pt x="333" y="55"/>
                  </a:lnTo>
                  <a:lnTo>
                    <a:pt x="339" y="52"/>
                  </a:lnTo>
                  <a:lnTo>
                    <a:pt x="345" y="53"/>
                  </a:lnTo>
                  <a:lnTo>
                    <a:pt x="351" y="49"/>
                  </a:lnTo>
                  <a:lnTo>
                    <a:pt x="355" y="51"/>
                  </a:lnTo>
                  <a:lnTo>
                    <a:pt x="357" y="56"/>
                  </a:lnTo>
                  <a:lnTo>
                    <a:pt x="359" y="60"/>
                  </a:lnTo>
                  <a:lnTo>
                    <a:pt x="359" y="64"/>
                  </a:lnTo>
                  <a:lnTo>
                    <a:pt x="359" y="65"/>
                  </a:lnTo>
                  <a:lnTo>
                    <a:pt x="361" y="65"/>
                  </a:lnTo>
                  <a:lnTo>
                    <a:pt x="361" y="60"/>
                  </a:lnTo>
                  <a:lnTo>
                    <a:pt x="362" y="60"/>
                  </a:lnTo>
                  <a:lnTo>
                    <a:pt x="363" y="60"/>
                  </a:lnTo>
                  <a:lnTo>
                    <a:pt x="364" y="63"/>
                  </a:lnTo>
                  <a:lnTo>
                    <a:pt x="365" y="64"/>
                  </a:lnTo>
                  <a:lnTo>
                    <a:pt x="381" y="66"/>
                  </a:lnTo>
                  <a:lnTo>
                    <a:pt x="383" y="67"/>
                  </a:lnTo>
                  <a:lnTo>
                    <a:pt x="381" y="72"/>
                  </a:lnTo>
                  <a:lnTo>
                    <a:pt x="384" y="75"/>
                  </a:lnTo>
                  <a:lnTo>
                    <a:pt x="386" y="75"/>
                  </a:lnTo>
                  <a:lnTo>
                    <a:pt x="390" y="72"/>
                  </a:lnTo>
                  <a:lnTo>
                    <a:pt x="386" y="63"/>
                  </a:lnTo>
                  <a:lnTo>
                    <a:pt x="386" y="61"/>
                  </a:lnTo>
                  <a:lnTo>
                    <a:pt x="389" y="61"/>
                  </a:lnTo>
                  <a:lnTo>
                    <a:pt x="392" y="61"/>
                  </a:lnTo>
                  <a:lnTo>
                    <a:pt x="396" y="70"/>
                  </a:lnTo>
                  <a:lnTo>
                    <a:pt x="391" y="83"/>
                  </a:lnTo>
                  <a:lnTo>
                    <a:pt x="391" y="85"/>
                  </a:lnTo>
                  <a:lnTo>
                    <a:pt x="393" y="87"/>
                  </a:lnTo>
                  <a:lnTo>
                    <a:pt x="394" y="85"/>
                  </a:lnTo>
                  <a:lnTo>
                    <a:pt x="396" y="82"/>
                  </a:lnTo>
                  <a:lnTo>
                    <a:pt x="394" y="77"/>
                  </a:lnTo>
                  <a:lnTo>
                    <a:pt x="395" y="76"/>
                  </a:lnTo>
                  <a:lnTo>
                    <a:pt x="398" y="75"/>
                  </a:lnTo>
                  <a:lnTo>
                    <a:pt x="402" y="76"/>
                  </a:lnTo>
                  <a:lnTo>
                    <a:pt x="404" y="74"/>
                  </a:lnTo>
                  <a:lnTo>
                    <a:pt x="405" y="71"/>
                  </a:lnTo>
                  <a:lnTo>
                    <a:pt x="407" y="65"/>
                  </a:lnTo>
                  <a:lnTo>
                    <a:pt x="410" y="60"/>
                  </a:lnTo>
                  <a:lnTo>
                    <a:pt x="428" y="59"/>
                  </a:lnTo>
                  <a:lnTo>
                    <a:pt x="433" y="69"/>
                  </a:lnTo>
                  <a:lnTo>
                    <a:pt x="440" y="77"/>
                  </a:lnTo>
                  <a:lnTo>
                    <a:pt x="440" y="78"/>
                  </a:lnTo>
                  <a:lnTo>
                    <a:pt x="433" y="81"/>
                  </a:lnTo>
                  <a:lnTo>
                    <a:pt x="432" y="83"/>
                  </a:lnTo>
                  <a:lnTo>
                    <a:pt x="436" y="84"/>
                  </a:lnTo>
                  <a:lnTo>
                    <a:pt x="440" y="85"/>
                  </a:lnTo>
                  <a:lnTo>
                    <a:pt x="445" y="89"/>
                  </a:lnTo>
                  <a:lnTo>
                    <a:pt x="445" y="88"/>
                  </a:lnTo>
                  <a:lnTo>
                    <a:pt x="444" y="82"/>
                  </a:lnTo>
                  <a:lnTo>
                    <a:pt x="446" y="81"/>
                  </a:lnTo>
                  <a:lnTo>
                    <a:pt x="447" y="82"/>
                  </a:lnTo>
                  <a:lnTo>
                    <a:pt x="448" y="88"/>
                  </a:lnTo>
                  <a:lnTo>
                    <a:pt x="450" y="89"/>
                  </a:lnTo>
                  <a:lnTo>
                    <a:pt x="451" y="88"/>
                  </a:lnTo>
                  <a:lnTo>
                    <a:pt x="451" y="85"/>
                  </a:lnTo>
                  <a:lnTo>
                    <a:pt x="447" y="79"/>
                  </a:lnTo>
                  <a:lnTo>
                    <a:pt x="452" y="76"/>
                  </a:lnTo>
                  <a:lnTo>
                    <a:pt x="453" y="70"/>
                  </a:lnTo>
                  <a:lnTo>
                    <a:pt x="454" y="67"/>
                  </a:lnTo>
                  <a:lnTo>
                    <a:pt x="465" y="59"/>
                  </a:lnTo>
                  <a:lnTo>
                    <a:pt x="473" y="63"/>
                  </a:lnTo>
                  <a:lnTo>
                    <a:pt x="481" y="62"/>
                  </a:lnTo>
                  <a:lnTo>
                    <a:pt x="482" y="65"/>
                  </a:lnTo>
                  <a:lnTo>
                    <a:pt x="484" y="65"/>
                  </a:lnTo>
                  <a:lnTo>
                    <a:pt x="487" y="61"/>
                  </a:lnTo>
                  <a:lnTo>
                    <a:pt x="489" y="59"/>
                  </a:lnTo>
                  <a:lnTo>
                    <a:pt x="492" y="54"/>
                  </a:lnTo>
                  <a:lnTo>
                    <a:pt x="494" y="52"/>
                  </a:lnTo>
                  <a:lnTo>
                    <a:pt x="494" y="49"/>
                  </a:lnTo>
                  <a:lnTo>
                    <a:pt x="482" y="59"/>
                  </a:lnTo>
                  <a:lnTo>
                    <a:pt x="475" y="61"/>
                  </a:lnTo>
                  <a:lnTo>
                    <a:pt x="472" y="60"/>
                  </a:lnTo>
                  <a:lnTo>
                    <a:pt x="475" y="58"/>
                  </a:lnTo>
                  <a:lnTo>
                    <a:pt x="482" y="56"/>
                  </a:lnTo>
                  <a:lnTo>
                    <a:pt x="487" y="51"/>
                  </a:lnTo>
                  <a:lnTo>
                    <a:pt x="487" y="51"/>
                  </a:lnTo>
                  <a:lnTo>
                    <a:pt x="487" y="51"/>
                  </a:lnTo>
                  <a:lnTo>
                    <a:pt x="487" y="51"/>
                  </a:lnTo>
                  <a:lnTo>
                    <a:pt x="487" y="5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36" name="Freeform 411">
              <a:extLst>
                <a:ext uri="{FF2B5EF4-FFF2-40B4-BE49-F238E27FC236}">
                  <a16:creationId xmlns:a16="http://schemas.microsoft.com/office/drawing/2014/main" id="{32BE95FD-BDF4-F122-C6B9-7C4FCF503EFF}"/>
                </a:ext>
              </a:extLst>
            </p:cNvPr>
            <p:cNvSpPr>
              <a:spLocks/>
            </p:cNvSpPr>
            <p:nvPr/>
          </p:nvSpPr>
          <p:spPr bwMode="auto">
            <a:xfrm>
              <a:off x="8007351" y="5264152"/>
              <a:ext cx="274638" cy="604838"/>
            </a:xfrm>
            <a:custGeom>
              <a:avLst/>
              <a:gdLst>
                <a:gd name="T0" fmla="*/ 6 w 519"/>
                <a:gd name="T1" fmla="*/ 593 h 1145"/>
                <a:gd name="T2" fmla="*/ 32 w 519"/>
                <a:gd name="T3" fmla="*/ 532 h 1145"/>
                <a:gd name="T4" fmla="*/ 38 w 519"/>
                <a:gd name="T5" fmla="*/ 527 h 1145"/>
                <a:gd name="T6" fmla="*/ 62 w 519"/>
                <a:gd name="T7" fmla="*/ 459 h 1145"/>
                <a:gd name="T8" fmla="*/ 87 w 519"/>
                <a:gd name="T9" fmla="*/ 409 h 1145"/>
                <a:gd name="T10" fmla="*/ 104 w 519"/>
                <a:gd name="T11" fmla="*/ 407 h 1145"/>
                <a:gd name="T12" fmla="*/ 106 w 519"/>
                <a:gd name="T13" fmla="*/ 369 h 1145"/>
                <a:gd name="T14" fmla="*/ 115 w 519"/>
                <a:gd name="T15" fmla="*/ 336 h 1145"/>
                <a:gd name="T16" fmla="*/ 143 w 519"/>
                <a:gd name="T17" fmla="*/ 278 h 1145"/>
                <a:gd name="T18" fmla="*/ 170 w 519"/>
                <a:gd name="T19" fmla="*/ 237 h 1145"/>
                <a:gd name="T20" fmla="*/ 198 w 519"/>
                <a:gd name="T21" fmla="*/ 202 h 1145"/>
                <a:gd name="T22" fmla="*/ 211 w 519"/>
                <a:gd name="T23" fmla="*/ 172 h 1145"/>
                <a:gd name="T24" fmla="*/ 211 w 519"/>
                <a:gd name="T25" fmla="*/ 147 h 1145"/>
                <a:gd name="T26" fmla="*/ 245 w 519"/>
                <a:gd name="T27" fmla="*/ 94 h 1145"/>
                <a:gd name="T28" fmla="*/ 291 w 519"/>
                <a:gd name="T29" fmla="*/ 71 h 1145"/>
                <a:gd name="T30" fmla="*/ 346 w 519"/>
                <a:gd name="T31" fmla="*/ 21 h 1145"/>
                <a:gd name="T32" fmla="*/ 397 w 519"/>
                <a:gd name="T33" fmla="*/ 11 h 1145"/>
                <a:gd name="T34" fmla="*/ 424 w 519"/>
                <a:gd name="T35" fmla="*/ 37 h 1145"/>
                <a:gd name="T36" fmla="*/ 492 w 519"/>
                <a:gd name="T37" fmla="*/ 50 h 1145"/>
                <a:gd name="T38" fmla="*/ 518 w 519"/>
                <a:gd name="T39" fmla="*/ 80 h 1145"/>
                <a:gd name="T40" fmla="*/ 473 w 519"/>
                <a:gd name="T41" fmla="*/ 143 h 1145"/>
                <a:gd name="T42" fmla="*/ 496 w 519"/>
                <a:gd name="T43" fmla="*/ 219 h 1145"/>
                <a:gd name="T44" fmla="*/ 491 w 519"/>
                <a:gd name="T45" fmla="*/ 254 h 1145"/>
                <a:gd name="T46" fmla="*/ 478 w 519"/>
                <a:gd name="T47" fmla="*/ 319 h 1145"/>
                <a:gd name="T48" fmla="*/ 439 w 519"/>
                <a:gd name="T49" fmla="*/ 399 h 1145"/>
                <a:gd name="T50" fmla="*/ 448 w 519"/>
                <a:gd name="T51" fmla="*/ 433 h 1145"/>
                <a:gd name="T52" fmla="*/ 438 w 519"/>
                <a:gd name="T53" fmla="*/ 501 h 1145"/>
                <a:gd name="T54" fmla="*/ 431 w 519"/>
                <a:gd name="T55" fmla="*/ 601 h 1145"/>
                <a:gd name="T56" fmla="*/ 407 w 519"/>
                <a:gd name="T57" fmla="*/ 698 h 1145"/>
                <a:gd name="T58" fmla="*/ 391 w 519"/>
                <a:gd name="T59" fmla="*/ 772 h 1145"/>
                <a:gd name="T60" fmla="*/ 356 w 519"/>
                <a:gd name="T61" fmla="*/ 820 h 1145"/>
                <a:gd name="T62" fmla="*/ 343 w 519"/>
                <a:gd name="T63" fmla="*/ 864 h 1145"/>
                <a:gd name="T64" fmla="*/ 298 w 519"/>
                <a:gd name="T65" fmla="*/ 939 h 1145"/>
                <a:gd name="T66" fmla="*/ 289 w 519"/>
                <a:gd name="T67" fmla="*/ 1057 h 1145"/>
                <a:gd name="T68" fmla="*/ 287 w 519"/>
                <a:gd name="T69" fmla="*/ 1111 h 1145"/>
                <a:gd name="T70" fmla="*/ 287 w 519"/>
                <a:gd name="T71" fmla="*/ 1145 h 1145"/>
                <a:gd name="T72" fmla="*/ 251 w 519"/>
                <a:gd name="T73" fmla="*/ 1131 h 1145"/>
                <a:gd name="T74" fmla="*/ 237 w 519"/>
                <a:gd name="T75" fmla="*/ 1121 h 1145"/>
                <a:gd name="T76" fmla="*/ 235 w 519"/>
                <a:gd name="T77" fmla="*/ 1081 h 1145"/>
                <a:gd name="T78" fmla="*/ 206 w 519"/>
                <a:gd name="T79" fmla="*/ 1021 h 1145"/>
                <a:gd name="T80" fmla="*/ 137 w 519"/>
                <a:gd name="T81" fmla="*/ 972 h 1145"/>
                <a:gd name="T82" fmla="*/ 129 w 519"/>
                <a:gd name="T83" fmla="*/ 971 h 1145"/>
                <a:gd name="T84" fmla="*/ 74 w 519"/>
                <a:gd name="T85" fmla="*/ 909 h 1145"/>
                <a:gd name="T86" fmla="*/ 75 w 519"/>
                <a:gd name="T87" fmla="*/ 897 h 1145"/>
                <a:gd name="T88" fmla="*/ 56 w 519"/>
                <a:gd name="T89" fmla="*/ 850 h 1145"/>
                <a:gd name="T90" fmla="*/ 38 w 519"/>
                <a:gd name="T91" fmla="*/ 823 h 1145"/>
                <a:gd name="T92" fmla="*/ 42 w 519"/>
                <a:gd name="T93" fmla="*/ 812 h 1145"/>
                <a:gd name="T94" fmla="*/ 28 w 519"/>
                <a:gd name="T95" fmla="*/ 806 h 1145"/>
                <a:gd name="T96" fmla="*/ 1 w 519"/>
                <a:gd name="T97" fmla="*/ 792 h 1145"/>
                <a:gd name="T98" fmla="*/ 0 w 519"/>
                <a:gd name="T99" fmla="*/ 778 h 1145"/>
                <a:gd name="T100" fmla="*/ 4 w 519"/>
                <a:gd name="T101" fmla="*/ 762 h 1145"/>
                <a:gd name="T102" fmla="*/ 6 w 519"/>
                <a:gd name="T103" fmla="*/ 736 h 1145"/>
                <a:gd name="T104" fmla="*/ 4 w 519"/>
                <a:gd name="T105" fmla="*/ 730 h 1145"/>
                <a:gd name="T106" fmla="*/ 15 w 519"/>
                <a:gd name="T107" fmla="*/ 680 h 1145"/>
                <a:gd name="T108" fmla="*/ 23 w 519"/>
                <a:gd name="T109" fmla="*/ 690 h 1145"/>
                <a:gd name="T110" fmla="*/ 23 w 519"/>
                <a:gd name="T111" fmla="*/ 655 h 1145"/>
                <a:gd name="T112" fmla="*/ 11 w 519"/>
                <a:gd name="T113" fmla="*/ 633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9" h="1145">
                  <a:moveTo>
                    <a:pt x="11" y="633"/>
                  </a:moveTo>
                  <a:lnTo>
                    <a:pt x="7" y="624"/>
                  </a:lnTo>
                  <a:lnTo>
                    <a:pt x="6" y="613"/>
                  </a:lnTo>
                  <a:lnTo>
                    <a:pt x="3" y="607"/>
                  </a:lnTo>
                  <a:lnTo>
                    <a:pt x="6" y="593"/>
                  </a:lnTo>
                  <a:lnTo>
                    <a:pt x="6" y="593"/>
                  </a:lnTo>
                  <a:lnTo>
                    <a:pt x="10" y="579"/>
                  </a:lnTo>
                  <a:lnTo>
                    <a:pt x="17" y="572"/>
                  </a:lnTo>
                  <a:lnTo>
                    <a:pt x="20" y="552"/>
                  </a:lnTo>
                  <a:lnTo>
                    <a:pt x="23" y="544"/>
                  </a:lnTo>
                  <a:lnTo>
                    <a:pt x="28" y="536"/>
                  </a:lnTo>
                  <a:lnTo>
                    <a:pt x="32" y="532"/>
                  </a:lnTo>
                  <a:lnTo>
                    <a:pt x="36" y="531"/>
                  </a:lnTo>
                  <a:lnTo>
                    <a:pt x="44" y="532"/>
                  </a:lnTo>
                  <a:lnTo>
                    <a:pt x="49" y="531"/>
                  </a:lnTo>
                  <a:lnTo>
                    <a:pt x="52" y="527"/>
                  </a:lnTo>
                  <a:lnTo>
                    <a:pt x="50" y="526"/>
                  </a:lnTo>
                  <a:lnTo>
                    <a:pt x="38" y="527"/>
                  </a:lnTo>
                  <a:lnTo>
                    <a:pt x="37" y="525"/>
                  </a:lnTo>
                  <a:lnTo>
                    <a:pt x="37" y="522"/>
                  </a:lnTo>
                  <a:lnTo>
                    <a:pt x="44" y="509"/>
                  </a:lnTo>
                  <a:lnTo>
                    <a:pt x="55" y="475"/>
                  </a:lnTo>
                  <a:lnTo>
                    <a:pt x="59" y="464"/>
                  </a:lnTo>
                  <a:lnTo>
                    <a:pt x="62" y="459"/>
                  </a:lnTo>
                  <a:lnTo>
                    <a:pt x="68" y="453"/>
                  </a:lnTo>
                  <a:lnTo>
                    <a:pt x="78" y="439"/>
                  </a:lnTo>
                  <a:lnTo>
                    <a:pt x="80" y="434"/>
                  </a:lnTo>
                  <a:lnTo>
                    <a:pt x="80" y="425"/>
                  </a:lnTo>
                  <a:lnTo>
                    <a:pt x="85" y="412"/>
                  </a:lnTo>
                  <a:lnTo>
                    <a:pt x="87" y="409"/>
                  </a:lnTo>
                  <a:lnTo>
                    <a:pt x="96" y="405"/>
                  </a:lnTo>
                  <a:lnTo>
                    <a:pt x="100" y="406"/>
                  </a:lnTo>
                  <a:lnTo>
                    <a:pt x="104" y="412"/>
                  </a:lnTo>
                  <a:lnTo>
                    <a:pt x="105" y="412"/>
                  </a:lnTo>
                  <a:lnTo>
                    <a:pt x="105" y="409"/>
                  </a:lnTo>
                  <a:lnTo>
                    <a:pt x="104" y="407"/>
                  </a:lnTo>
                  <a:lnTo>
                    <a:pt x="100" y="402"/>
                  </a:lnTo>
                  <a:lnTo>
                    <a:pt x="96" y="400"/>
                  </a:lnTo>
                  <a:lnTo>
                    <a:pt x="95" y="398"/>
                  </a:lnTo>
                  <a:lnTo>
                    <a:pt x="100" y="373"/>
                  </a:lnTo>
                  <a:lnTo>
                    <a:pt x="102" y="370"/>
                  </a:lnTo>
                  <a:lnTo>
                    <a:pt x="106" y="369"/>
                  </a:lnTo>
                  <a:lnTo>
                    <a:pt x="107" y="366"/>
                  </a:lnTo>
                  <a:lnTo>
                    <a:pt x="107" y="360"/>
                  </a:lnTo>
                  <a:lnTo>
                    <a:pt x="108" y="356"/>
                  </a:lnTo>
                  <a:lnTo>
                    <a:pt x="111" y="348"/>
                  </a:lnTo>
                  <a:lnTo>
                    <a:pt x="114" y="343"/>
                  </a:lnTo>
                  <a:lnTo>
                    <a:pt x="115" y="336"/>
                  </a:lnTo>
                  <a:lnTo>
                    <a:pt x="119" y="329"/>
                  </a:lnTo>
                  <a:lnTo>
                    <a:pt x="123" y="321"/>
                  </a:lnTo>
                  <a:lnTo>
                    <a:pt x="134" y="304"/>
                  </a:lnTo>
                  <a:lnTo>
                    <a:pt x="139" y="296"/>
                  </a:lnTo>
                  <a:lnTo>
                    <a:pt x="142" y="288"/>
                  </a:lnTo>
                  <a:lnTo>
                    <a:pt x="143" y="278"/>
                  </a:lnTo>
                  <a:lnTo>
                    <a:pt x="148" y="260"/>
                  </a:lnTo>
                  <a:lnTo>
                    <a:pt x="151" y="256"/>
                  </a:lnTo>
                  <a:lnTo>
                    <a:pt x="157" y="255"/>
                  </a:lnTo>
                  <a:lnTo>
                    <a:pt x="159" y="254"/>
                  </a:lnTo>
                  <a:lnTo>
                    <a:pt x="165" y="240"/>
                  </a:lnTo>
                  <a:lnTo>
                    <a:pt x="170" y="237"/>
                  </a:lnTo>
                  <a:lnTo>
                    <a:pt x="179" y="234"/>
                  </a:lnTo>
                  <a:lnTo>
                    <a:pt x="182" y="228"/>
                  </a:lnTo>
                  <a:lnTo>
                    <a:pt x="186" y="223"/>
                  </a:lnTo>
                  <a:lnTo>
                    <a:pt x="190" y="212"/>
                  </a:lnTo>
                  <a:lnTo>
                    <a:pt x="196" y="208"/>
                  </a:lnTo>
                  <a:lnTo>
                    <a:pt x="198" y="202"/>
                  </a:lnTo>
                  <a:lnTo>
                    <a:pt x="202" y="187"/>
                  </a:lnTo>
                  <a:lnTo>
                    <a:pt x="201" y="177"/>
                  </a:lnTo>
                  <a:lnTo>
                    <a:pt x="202" y="174"/>
                  </a:lnTo>
                  <a:lnTo>
                    <a:pt x="204" y="173"/>
                  </a:lnTo>
                  <a:lnTo>
                    <a:pt x="209" y="174"/>
                  </a:lnTo>
                  <a:lnTo>
                    <a:pt x="211" y="172"/>
                  </a:lnTo>
                  <a:lnTo>
                    <a:pt x="211" y="170"/>
                  </a:lnTo>
                  <a:lnTo>
                    <a:pt x="206" y="168"/>
                  </a:lnTo>
                  <a:lnTo>
                    <a:pt x="205" y="165"/>
                  </a:lnTo>
                  <a:lnTo>
                    <a:pt x="211" y="155"/>
                  </a:lnTo>
                  <a:lnTo>
                    <a:pt x="217" y="150"/>
                  </a:lnTo>
                  <a:lnTo>
                    <a:pt x="211" y="147"/>
                  </a:lnTo>
                  <a:lnTo>
                    <a:pt x="211" y="144"/>
                  </a:lnTo>
                  <a:lnTo>
                    <a:pt x="221" y="133"/>
                  </a:lnTo>
                  <a:lnTo>
                    <a:pt x="229" y="113"/>
                  </a:lnTo>
                  <a:lnTo>
                    <a:pt x="233" y="106"/>
                  </a:lnTo>
                  <a:lnTo>
                    <a:pt x="240" y="97"/>
                  </a:lnTo>
                  <a:lnTo>
                    <a:pt x="245" y="94"/>
                  </a:lnTo>
                  <a:lnTo>
                    <a:pt x="249" y="92"/>
                  </a:lnTo>
                  <a:lnTo>
                    <a:pt x="262" y="90"/>
                  </a:lnTo>
                  <a:lnTo>
                    <a:pt x="265" y="88"/>
                  </a:lnTo>
                  <a:lnTo>
                    <a:pt x="276" y="77"/>
                  </a:lnTo>
                  <a:lnTo>
                    <a:pt x="285" y="73"/>
                  </a:lnTo>
                  <a:lnTo>
                    <a:pt x="291" y="71"/>
                  </a:lnTo>
                  <a:lnTo>
                    <a:pt x="301" y="71"/>
                  </a:lnTo>
                  <a:lnTo>
                    <a:pt x="325" y="62"/>
                  </a:lnTo>
                  <a:lnTo>
                    <a:pt x="329" y="57"/>
                  </a:lnTo>
                  <a:lnTo>
                    <a:pt x="336" y="49"/>
                  </a:lnTo>
                  <a:lnTo>
                    <a:pt x="337" y="42"/>
                  </a:lnTo>
                  <a:lnTo>
                    <a:pt x="346" y="21"/>
                  </a:lnTo>
                  <a:lnTo>
                    <a:pt x="354" y="17"/>
                  </a:lnTo>
                  <a:lnTo>
                    <a:pt x="363" y="5"/>
                  </a:lnTo>
                  <a:lnTo>
                    <a:pt x="371" y="2"/>
                  </a:lnTo>
                  <a:lnTo>
                    <a:pt x="381" y="0"/>
                  </a:lnTo>
                  <a:lnTo>
                    <a:pt x="386" y="2"/>
                  </a:lnTo>
                  <a:lnTo>
                    <a:pt x="397" y="11"/>
                  </a:lnTo>
                  <a:lnTo>
                    <a:pt x="410" y="28"/>
                  </a:lnTo>
                  <a:lnTo>
                    <a:pt x="414" y="29"/>
                  </a:lnTo>
                  <a:lnTo>
                    <a:pt x="419" y="25"/>
                  </a:lnTo>
                  <a:lnTo>
                    <a:pt x="420" y="25"/>
                  </a:lnTo>
                  <a:lnTo>
                    <a:pt x="420" y="34"/>
                  </a:lnTo>
                  <a:lnTo>
                    <a:pt x="424" y="37"/>
                  </a:lnTo>
                  <a:lnTo>
                    <a:pt x="429" y="39"/>
                  </a:lnTo>
                  <a:lnTo>
                    <a:pt x="435" y="41"/>
                  </a:lnTo>
                  <a:lnTo>
                    <a:pt x="448" y="42"/>
                  </a:lnTo>
                  <a:lnTo>
                    <a:pt x="466" y="47"/>
                  </a:lnTo>
                  <a:lnTo>
                    <a:pt x="490" y="47"/>
                  </a:lnTo>
                  <a:lnTo>
                    <a:pt x="492" y="50"/>
                  </a:lnTo>
                  <a:lnTo>
                    <a:pt x="493" y="61"/>
                  </a:lnTo>
                  <a:lnTo>
                    <a:pt x="500" y="77"/>
                  </a:lnTo>
                  <a:lnTo>
                    <a:pt x="504" y="78"/>
                  </a:lnTo>
                  <a:lnTo>
                    <a:pt x="510" y="78"/>
                  </a:lnTo>
                  <a:lnTo>
                    <a:pt x="515" y="78"/>
                  </a:lnTo>
                  <a:lnTo>
                    <a:pt x="518" y="80"/>
                  </a:lnTo>
                  <a:lnTo>
                    <a:pt x="519" y="82"/>
                  </a:lnTo>
                  <a:lnTo>
                    <a:pt x="516" y="88"/>
                  </a:lnTo>
                  <a:lnTo>
                    <a:pt x="489" y="109"/>
                  </a:lnTo>
                  <a:lnTo>
                    <a:pt x="486" y="119"/>
                  </a:lnTo>
                  <a:lnTo>
                    <a:pt x="475" y="134"/>
                  </a:lnTo>
                  <a:lnTo>
                    <a:pt x="473" y="143"/>
                  </a:lnTo>
                  <a:lnTo>
                    <a:pt x="473" y="159"/>
                  </a:lnTo>
                  <a:lnTo>
                    <a:pt x="475" y="174"/>
                  </a:lnTo>
                  <a:lnTo>
                    <a:pt x="481" y="191"/>
                  </a:lnTo>
                  <a:lnTo>
                    <a:pt x="485" y="205"/>
                  </a:lnTo>
                  <a:lnTo>
                    <a:pt x="489" y="213"/>
                  </a:lnTo>
                  <a:lnTo>
                    <a:pt x="496" y="219"/>
                  </a:lnTo>
                  <a:lnTo>
                    <a:pt x="498" y="223"/>
                  </a:lnTo>
                  <a:lnTo>
                    <a:pt x="499" y="229"/>
                  </a:lnTo>
                  <a:lnTo>
                    <a:pt x="500" y="238"/>
                  </a:lnTo>
                  <a:lnTo>
                    <a:pt x="498" y="245"/>
                  </a:lnTo>
                  <a:lnTo>
                    <a:pt x="490" y="251"/>
                  </a:lnTo>
                  <a:lnTo>
                    <a:pt x="491" y="254"/>
                  </a:lnTo>
                  <a:lnTo>
                    <a:pt x="497" y="259"/>
                  </a:lnTo>
                  <a:lnTo>
                    <a:pt x="497" y="262"/>
                  </a:lnTo>
                  <a:lnTo>
                    <a:pt x="486" y="270"/>
                  </a:lnTo>
                  <a:lnTo>
                    <a:pt x="483" y="275"/>
                  </a:lnTo>
                  <a:lnTo>
                    <a:pt x="481" y="283"/>
                  </a:lnTo>
                  <a:lnTo>
                    <a:pt x="478" y="319"/>
                  </a:lnTo>
                  <a:lnTo>
                    <a:pt x="475" y="328"/>
                  </a:lnTo>
                  <a:lnTo>
                    <a:pt x="470" y="340"/>
                  </a:lnTo>
                  <a:lnTo>
                    <a:pt x="464" y="346"/>
                  </a:lnTo>
                  <a:lnTo>
                    <a:pt x="461" y="352"/>
                  </a:lnTo>
                  <a:lnTo>
                    <a:pt x="451" y="378"/>
                  </a:lnTo>
                  <a:lnTo>
                    <a:pt x="439" y="399"/>
                  </a:lnTo>
                  <a:lnTo>
                    <a:pt x="439" y="402"/>
                  </a:lnTo>
                  <a:lnTo>
                    <a:pt x="440" y="408"/>
                  </a:lnTo>
                  <a:lnTo>
                    <a:pt x="444" y="413"/>
                  </a:lnTo>
                  <a:lnTo>
                    <a:pt x="449" y="419"/>
                  </a:lnTo>
                  <a:lnTo>
                    <a:pt x="450" y="427"/>
                  </a:lnTo>
                  <a:lnTo>
                    <a:pt x="448" y="433"/>
                  </a:lnTo>
                  <a:lnTo>
                    <a:pt x="443" y="438"/>
                  </a:lnTo>
                  <a:lnTo>
                    <a:pt x="442" y="441"/>
                  </a:lnTo>
                  <a:lnTo>
                    <a:pt x="442" y="444"/>
                  </a:lnTo>
                  <a:lnTo>
                    <a:pt x="445" y="450"/>
                  </a:lnTo>
                  <a:lnTo>
                    <a:pt x="445" y="466"/>
                  </a:lnTo>
                  <a:lnTo>
                    <a:pt x="438" y="501"/>
                  </a:lnTo>
                  <a:lnTo>
                    <a:pt x="437" y="513"/>
                  </a:lnTo>
                  <a:lnTo>
                    <a:pt x="432" y="557"/>
                  </a:lnTo>
                  <a:lnTo>
                    <a:pt x="432" y="571"/>
                  </a:lnTo>
                  <a:lnTo>
                    <a:pt x="428" y="583"/>
                  </a:lnTo>
                  <a:lnTo>
                    <a:pt x="428" y="591"/>
                  </a:lnTo>
                  <a:lnTo>
                    <a:pt x="431" y="601"/>
                  </a:lnTo>
                  <a:lnTo>
                    <a:pt x="427" y="613"/>
                  </a:lnTo>
                  <a:lnTo>
                    <a:pt x="422" y="654"/>
                  </a:lnTo>
                  <a:lnTo>
                    <a:pt x="421" y="659"/>
                  </a:lnTo>
                  <a:lnTo>
                    <a:pt x="417" y="664"/>
                  </a:lnTo>
                  <a:lnTo>
                    <a:pt x="414" y="669"/>
                  </a:lnTo>
                  <a:lnTo>
                    <a:pt x="407" y="698"/>
                  </a:lnTo>
                  <a:lnTo>
                    <a:pt x="411" y="709"/>
                  </a:lnTo>
                  <a:lnTo>
                    <a:pt x="413" y="725"/>
                  </a:lnTo>
                  <a:lnTo>
                    <a:pt x="410" y="730"/>
                  </a:lnTo>
                  <a:lnTo>
                    <a:pt x="400" y="736"/>
                  </a:lnTo>
                  <a:lnTo>
                    <a:pt x="397" y="741"/>
                  </a:lnTo>
                  <a:lnTo>
                    <a:pt x="391" y="772"/>
                  </a:lnTo>
                  <a:lnTo>
                    <a:pt x="388" y="778"/>
                  </a:lnTo>
                  <a:lnTo>
                    <a:pt x="379" y="789"/>
                  </a:lnTo>
                  <a:lnTo>
                    <a:pt x="376" y="804"/>
                  </a:lnTo>
                  <a:lnTo>
                    <a:pt x="370" y="811"/>
                  </a:lnTo>
                  <a:lnTo>
                    <a:pt x="359" y="816"/>
                  </a:lnTo>
                  <a:lnTo>
                    <a:pt x="356" y="820"/>
                  </a:lnTo>
                  <a:lnTo>
                    <a:pt x="356" y="825"/>
                  </a:lnTo>
                  <a:lnTo>
                    <a:pt x="360" y="839"/>
                  </a:lnTo>
                  <a:lnTo>
                    <a:pt x="359" y="844"/>
                  </a:lnTo>
                  <a:lnTo>
                    <a:pt x="356" y="850"/>
                  </a:lnTo>
                  <a:lnTo>
                    <a:pt x="352" y="857"/>
                  </a:lnTo>
                  <a:lnTo>
                    <a:pt x="343" y="864"/>
                  </a:lnTo>
                  <a:lnTo>
                    <a:pt x="321" y="880"/>
                  </a:lnTo>
                  <a:lnTo>
                    <a:pt x="313" y="888"/>
                  </a:lnTo>
                  <a:lnTo>
                    <a:pt x="311" y="895"/>
                  </a:lnTo>
                  <a:lnTo>
                    <a:pt x="308" y="914"/>
                  </a:lnTo>
                  <a:lnTo>
                    <a:pt x="302" y="927"/>
                  </a:lnTo>
                  <a:lnTo>
                    <a:pt x="298" y="939"/>
                  </a:lnTo>
                  <a:lnTo>
                    <a:pt x="291" y="970"/>
                  </a:lnTo>
                  <a:lnTo>
                    <a:pt x="285" y="991"/>
                  </a:lnTo>
                  <a:lnTo>
                    <a:pt x="284" y="1002"/>
                  </a:lnTo>
                  <a:lnTo>
                    <a:pt x="284" y="1011"/>
                  </a:lnTo>
                  <a:lnTo>
                    <a:pt x="287" y="1029"/>
                  </a:lnTo>
                  <a:lnTo>
                    <a:pt x="289" y="1057"/>
                  </a:lnTo>
                  <a:lnTo>
                    <a:pt x="292" y="1074"/>
                  </a:lnTo>
                  <a:lnTo>
                    <a:pt x="291" y="1084"/>
                  </a:lnTo>
                  <a:lnTo>
                    <a:pt x="294" y="1098"/>
                  </a:lnTo>
                  <a:lnTo>
                    <a:pt x="293" y="1103"/>
                  </a:lnTo>
                  <a:lnTo>
                    <a:pt x="291" y="1108"/>
                  </a:lnTo>
                  <a:lnTo>
                    <a:pt x="287" y="1111"/>
                  </a:lnTo>
                  <a:lnTo>
                    <a:pt x="280" y="1116"/>
                  </a:lnTo>
                  <a:lnTo>
                    <a:pt x="278" y="1121"/>
                  </a:lnTo>
                  <a:lnTo>
                    <a:pt x="281" y="1128"/>
                  </a:lnTo>
                  <a:lnTo>
                    <a:pt x="288" y="1140"/>
                  </a:lnTo>
                  <a:lnTo>
                    <a:pt x="289" y="1144"/>
                  </a:lnTo>
                  <a:lnTo>
                    <a:pt x="287" y="1145"/>
                  </a:lnTo>
                  <a:lnTo>
                    <a:pt x="285" y="1144"/>
                  </a:lnTo>
                  <a:lnTo>
                    <a:pt x="278" y="1137"/>
                  </a:lnTo>
                  <a:lnTo>
                    <a:pt x="273" y="1134"/>
                  </a:lnTo>
                  <a:lnTo>
                    <a:pt x="255" y="1128"/>
                  </a:lnTo>
                  <a:lnTo>
                    <a:pt x="253" y="1129"/>
                  </a:lnTo>
                  <a:lnTo>
                    <a:pt x="251" y="1131"/>
                  </a:lnTo>
                  <a:lnTo>
                    <a:pt x="249" y="1139"/>
                  </a:lnTo>
                  <a:lnTo>
                    <a:pt x="248" y="1142"/>
                  </a:lnTo>
                  <a:lnTo>
                    <a:pt x="244" y="1142"/>
                  </a:lnTo>
                  <a:lnTo>
                    <a:pt x="242" y="1139"/>
                  </a:lnTo>
                  <a:lnTo>
                    <a:pt x="240" y="1135"/>
                  </a:lnTo>
                  <a:lnTo>
                    <a:pt x="237" y="1121"/>
                  </a:lnTo>
                  <a:lnTo>
                    <a:pt x="231" y="1112"/>
                  </a:lnTo>
                  <a:lnTo>
                    <a:pt x="229" y="1107"/>
                  </a:lnTo>
                  <a:lnTo>
                    <a:pt x="229" y="1103"/>
                  </a:lnTo>
                  <a:lnTo>
                    <a:pt x="234" y="1094"/>
                  </a:lnTo>
                  <a:lnTo>
                    <a:pt x="235" y="1084"/>
                  </a:lnTo>
                  <a:lnTo>
                    <a:pt x="235" y="1081"/>
                  </a:lnTo>
                  <a:lnTo>
                    <a:pt x="229" y="1071"/>
                  </a:lnTo>
                  <a:lnTo>
                    <a:pt x="227" y="1059"/>
                  </a:lnTo>
                  <a:lnTo>
                    <a:pt x="221" y="1052"/>
                  </a:lnTo>
                  <a:lnTo>
                    <a:pt x="216" y="1042"/>
                  </a:lnTo>
                  <a:lnTo>
                    <a:pt x="210" y="1034"/>
                  </a:lnTo>
                  <a:lnTo>
                    <a:pt x="206" y="1021"/>
                  </a:lnTo>
                  <a:lnTo>
                    <a:pt x="204" y="1018"/>
                  </a:lnTo>
                  <a:lnTo>
                    <a:pt x="195" y="1006"/>
                  </a:lnTo>
                  <a:lnTo>
                    <a:pt x="172" y="988"/>
                  </a:lnTo>
                  <a:lnTo>
                    <a:pt x="162" y="984"/>
                  </a:lnTo>
                  <a:lnTo>
                    <a:pt x="138" y="974"/>
                  </a:lnTo>
                  <a:lnTo>
                    <a:pt x="137" y="972"/>
                  </a:lnTo>
                  <a:lnTo>
                    <a:pt x="138" y="971"/>
                  </a:lnTo>
                  <a:lnTo>
                    <a:pt x="141" y="970"/>
                  </a:lnTo>
                  <a:lnTo>
                    <a:pt x="142" y="966"/>
                  </a:lnTo>
                  <a:lnTo>
                    <a:pt x="139" y="967"/>
                  </a:lnTo>
                  <a:lnTo>
                    <a:pt x="130" y="971"/>
                  </a:lnTo>
                  <a:lnTo>
                    <a:pt x="129" y="971"/>
                  </a:lnTo>
                  <a:lnTo>
                    <a:pt x="102" y="954"/>
                  </a:lnTo>
                  <a:lnTo>
                    <a:pt x="89" y="941"/>
                  </a:lnTo>
                  <a:lnTo>
                    <a:pt x="78" y="929"/>
                  </a:lnTo>
                  <a:lnTo>
                    <a:pt x="73" y="919"/>
                  </a:lnTo>
                  <a:lnTo>
                    <a:pt x="73" y="914"/>
                  </a:lnTo>
                  <a:lnTo>
                    <a:pt x="74" y="909"/>
                  </a:lnTo>
                  <a:lnTo>
                    <a:pt x="76" y="906"/>
                  </a:lnTo>
                  <a:lnTo>
                    <a:pt x="79" y="908"/>
                  </a:lnTo>
                  <a:lnTo>
                    <a:pt x="80" y="906"/>
                  </a:lnTo>
                  <a:lnTo>
                    <a:pt x="77" y="897"/>
                  </a:lnTo>
                  <a:lnTo>
                    <a:pt x="76" y="897"/>
                  </a:lnTo>
                  <a:lnTo>
                    <a:pt x="75" y="897"/>
                  </a:lnTo>
                  <a:lnTo>
                    <a:pt x="73" y="901"/>
                  </a:lnTo>
                  <a:lnTo>
                    <a:pt x="71" y="900"/>
                  </a:lnTo>
                  <a:lnTo>
                    <a:pt x="50" y="855"/>
                  </a:lnTo>
                  <a:lnTo>
                    <a:pt x="50" y="851"/>
                  </a:lnTo>
                  <a:lnTo>
                    <a:pt x="55" y="852"/>
                  </a:lnTo>
                  <a:lnTo>
                    <a:pt x="56" y="850"/>
                  </a:lnTo>
                  <a:lnTo>
                    <a:pt x="49" y="844"/>
                  </a:lnTo>
                  <a:lnTo>
                    <a:pt x="48" y="844"/>
                  </a:lnTo>
                  <a:lnTo>
                    <a:pt x="47" y="850"/>
                  </a:lnTo>
                  <a:lnTo>
                    <a:pt x="46" y="849"/>
                  </a:lnTo>
                  <a:lnTo>
                    <a:pt x="40" y="831"/>
                  </a:lnTo>
                  <a:lnTo>
                    <a:pt x="38" y="823"/>
                  </a:lnTo>
                  <a:lnTo>
                    <a:pt x="32" y="813"/>
                  </a:lnTo>
                  <a:lnTo>
                    <a:pt x="32" y="812"/>
                  </a:lnTo>
                  <a:lnTo>
                    <a:pt x="34" y="812"/>
                  </a:lnTo>
                  <a:lnTo>
                    <a:pt x="38" y="818"/>
                  </a:lnTo>
                  <a:lnTo>
                    <a:pt x="40" y="818"/>
                  </a:lnTo>
                  <a:lnTo>
                    <a:pt x="42" y="812"/>
                  </a:lnTo>
                  <a:lnTo>
                    <a:pt x="42" y="809"/>
                  </a:lnTo>
                  <a:lnTo>
                    <a:pt x="40" y="807"/>
                  </a:lnTo>
                  <a:lnTo>
                    <a:pt x="37" y="806"/>
                  </a:lnTo>
                  <a:lnTo>
                    <a:pt x="28" y="809"/>
                  </a:lnTo>
                  <a:lnTo>
                    <a:pt x="28" y="808"/>
                  </a:lnTo>
                  <a:lnTo>
                    <a:pt x="28" y="806"/>
                  </a:lnTo>
                  <a:lnTo>
                    <a:pt x="36" y="799"/>
                  </a:lnTo>
                  <a:lnTo>
                    <a:pt x="39" y="795"/>
                  </a:lnTo>
                  <a:lnTo>
                    <a:pt x="37" y="794"/>
                  </a:lnTo>
                  <a:lnTo>
                    <a:pt x="33" y="795"/>
                  </a:lnTo>
                  <a:lnTo>
                    <a:pt x="23" y="803"/>
                  </a:lnTo>
                  <a:lnTo>
                    <a:pt x="1" y="792"/>
                  </a:lnTo>
                  <a:lnTo>
                    <a:pt x="2" y="790"/>
                  </a:lnTo>
                  <a:lnTo>
                    <a:pt x="13" y="781"/>
                  </a:lnTo>
                  <a:lnTo>
                    <a:pt x="8" y="783"/>
                  </a:lnTo>
                  <a:lnTo>
                    <a:pt x="2" y="785"/>
                  </a:lnTo>
                  <a:lnTo>
                    <a:pt x="1" y="784"/>
                  </a:lnTo>
                  <a:lnTo>
                    <a:pt x="0" y="778"/>
                  </a:lnTo>
                  <a:lnTo>
                    <a:pt x="1" y="775"/>
                  </a:lnTo>
                  <a:lnTo>
                    <a:pt x="11" y="771"/>
                  </a:lnTo>
                  <a:lnTo>
                    <a:pt x="14" y="766"/>
                  </a:lnTo>
                  <a:lnTo>
                    <a:pt x="13" y="763"/>
                  </a:lnTo>
                  <a:lnTo>
                    <a:pt x="6" y="763"/>
                  </a:lnTo>
                  <a:lnTo>
                    <a:pt x="4" y="762"/>
                  </a:lnTo>
                  <a:lnTo>
                    <a:pt x="2" y="759"/>
                  </a:lnTo>
                  <a:lnTo>
                    <a:pt x="1" y="755"/>
                  </a:lnTo>
                  <a:lnTo>
                    <a:pt x="2" y="751"/>
                  </a:lnTo>
                  <a:lnTo>
                    <a:pt x="5" y="749"/>
                  </a:lnTo>
                  <a:lnTo>
                    <a:pt x="4" y="743"/>
                  </a:lnTo>
                  <a:lnTo>
                    <a:pt x="6" y="736"/>
                  </a:lnTo>
                  <a:lnTo>
                    <a:pt x="7" y="735"/>
                  </a:lnTo>
                  <a:lnTo>
                    <a:pt x="13" y="734"/>
                  </a:lnTo>
                  <a:lnTo>
                    <a:pt x="14" y="733"/>
                  </a:lnTo>
                  <a:lnTo>
                    <a:pt x="13" y="731"/>
                  </a:lnTo>
                  <a:lnTo>
                    <a:pt x="6" y="732"/>
                  </a:lnTo>
                  <a:lnTo>
                    <a:pt x="4" y="730"/>
                  </a:lnTo>
                  <a:lnTo>
                    <a:pt x="7" y="722"/>
                  </a:lnTo>
                  <a:lnTo>
                    <a:pt x="14" y="713"/>
                  </a:lnTo>
                  <a:lnTo>
                    <a:pt x="12" y="695"/>
                  </a:lnTo>
                  <a:lnTo>
                    <a:pt x="13" y="681"/>
                  </a:lnTo>
                  <a:lnTo>
                    <a:pt x="14" y="680"/>
                  </a:lnTo>
                  <a:lnTo>
                    <a:pt x="15" y="680"/>
                  </a:lnTo>
                  <a:lnTo>
                    <a:pt x="15" y="687"/>
                  </a:lnTo>
                  <a:lnTo>
                    <a:pt x="17" y="691"/>
                  </a:lnTo>
                  <a:lnTo>
                    <a:pt x="22" y="694"/>
                  </a:lnTo>
                  <a:lnTo>
                    <a:pt x="23" y="693"/>
                  </a:lnTo>
                  <a:lnTo>
                    <a:pt x="24" y="691"/>
                  </a:lnTo>
                  <a:lnTo>
                    <a:pt x="23" y="690"/>
                  </a:lnTo>
                  <a:lnTo>
                    <a:pt x="18" y="687"/>
                  </a:lnTo>
                  <a:lnTo>
                    <a:pt x="18" y="678"/>
                  </a:lnTo>
                  <a:lnTo>
                    <a:pt x="15" y="664"/>
                  </a:lnTo>
                  <a:lnTo>
                    <a:pt x="16" y="660"/>
                  </a:lnTo>
                  <a:lnTo>
                    <a:pt x="22" y="658"/>
                  </a:lnTo>
                  <a:lnTo>
                    <a:pt x="23" y="655"/>
                  </a:lnTo>
                  <a:lnTo>
                    <a:pt x="13" y="658"/>
                  </a:lnTo>
                  <a:lnTo>
                    <a:pt x="10" y="655"/>
                  </a:lnTo>
                  <a:lnTo>
                    <a:pt x="10" y="653"/>
                  </a:lnTo>
                  <a:lnTo>
                    <a:pt x="14" y="648"/>
                  </a:lnTo>
                  <a:lnTo>
                    <a:pt x="15" y="645"/>
                  </a:lnTo>
                  <a:lnTo>
                    <a:pt x="11" y="633"/>
                  </a:lnTo>
                  <a:lnTo>
                    <a:pt x="11" y="633"/>
                  </a:lnTo>
                  <a:lnTo>
                    <a:pt x="11" y="633"/>
                  </a:lnTo>
                  <a:lnTo>
                    <a:pt x="11" y="63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grpSp>
          <p:nvGrpSpPr>
            <p:cNvPr id="37" name="上海">
              <a:extLst>
                <a:ext uri="{FF2B5EF4-FFF2-40B4-BE49-F238E27FC236}">
                  <a16:creationId xmlns:a16="http://schemas.microsoft.com/office/drawing/2014/main" id="{DBF7140F-BA8B-DB1A-A72D-468FFB3B078D}"/>
                </a:ext>
              </a:extLst>
            </p:cNvPr>
            <p:cNvGrpSpPr/>
            <p:nvPr/>
          </p:nvGrpSpPr>
          <p:grpSpPr>
            <a:xfrm>
              <a:off x="7988300" y="4113214"/>
              <a:ext cx="153988" cy="215901"/>
              <a:chOff x="6464300" y="4113213"/>
              <a:chExt cx="153988" cy="215901"/>
            </a:xfrm>
            <a:grpFill/>
          </p:grpSpPr>
          <p:sp>
            <p:nvSpPr>
              <p:cNvPr id="75" name="Freeform 139">
                <a:extLst>
                  <a:ext uri="{FF2B5EF4-FFF2-40B4-BE49-F238E27FC236}">
                    <a16:creationId xmlns:a16="http://schemas.microsoft.com/office/drawing/2014/main" id="{274ABF49-329A-1230-C53D-9278DE9DB49A}"/>
                  </a:ext>
                </a:extLst>
              </p:cNvPr>
              <p:cNvSpPr>
                <a:spLocks/>
              </p:cNvSpPr>
              <p:nvPr/>
            </p:nvSpPr>
            <p:spPr bwMode="auto">
              <a:xfrm>
                <a:off x="6556375" y="4179888"/>
                <a:ext cx="1588" cy="1588"/>
              </a:xfrm>
              <a:custGeom>
                <a:avLst/>
                <a:gdLst>
                  <a:gd name="T0" fmla="*/ 2 w 3"/>
                  <a:gd name="T1" fmla="*/ 0 h 4"/>
                  <a:gd name="T2" fmla="*/ 3 w 3"/>
                  <a:gd name="T3" fmla="*/ 1 h 4"/>
                  <a:gd name="T4" fmla="*/ 3 w 3"/>
                  <a:gd name="T5" fmla="*/ 2 h 4"/>
                  <a:gd name="T6" fmla="*/ 1 w 3"/>
                  <a:gd name="T7" fmla="*/ 4 h 4"/>
                  <a:gd name="T8" fmla="*/ 0 w 3"/>
                  <a:gd name="T9" fmla="*/ 3 h 4"/>
                  <a:gd name="T10" fmla="*/ 0 w 3"/>
                  <a:gd name="T11" fmla="*/ 1 h 4"/>
                  <a:gd name="T12" fmla="*/ 2 w 3"/>
                  <a:gd name="T13" fmla="*/ 0 h 4"/>
                  <a:gd name="T14" fmla="*/ 2 w 3"/>
                  <a:gd name="T15" fmla="*/ 0 h 4"/>
                  <a:gd name="T16" fmla="*/ 2 w 3"/>
                  <a:gd name="T17" fmla="*/ 0 h 4"/>
                  <a:gd name="T18" fmla="*/ 2 w 3"/>
                  <a:gd name="T19" fmla="*/ 0 h 4"/>
                  <a:gd name="T20" fmla="*/ 2 w 3"/>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2" y="0"/>
                    </a:moveTo>
                    <a:lnTo>
                      <a:pt x="3" y="1"/>
                    </a:lnTo>
                    <a:lnTo>
                      <a:pt x="3" y="2"/>
                    </a:lnTo>
                    <a:lnTo>
                      <a:pt x="1" y="4"/>
                    </a:lnTo>
                    <a:lnTo>
                      <a:pt x="0" y="3"/>
                    </a:lnTo>
                    <a:lnTo>
                      <a:pt x="0" y="1"/>
                    </a:lnTo>
                    <a:lnTo>
                      <a:pt x="2" y="0"/>
                    </a:lnTo>
                    <a:lnTo>
                      <a:pt x="2" y="0"/>
                    </a:lnTo>
                    <a:lnTo>
                      <a:pt x="2" y="0"/>
                    </a:lnTo>
                    <a:lnTo>
                      <a:pt x="2"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6" name="Freeform 140">
                <a:extLst>
                  <a:ext uri="{FF2B5EF4-FFF2-40B4-BE49-F238E27FC236}">
                    <a16:creationId xmlns:a16="http://schemas.microsoft.com/office/drawing/2014/main" id="{4732613A-488A-A97C-E9A5-34A42FEE324F}"/>
                  </a:ext>
                </a:extLst>
              </p:cNvPr>
              <p:cNvSpPr>
                <a:spLocks/>
              </p:cNvSpPr>
              <p:nvPr/>
            </p:nvSpPr>
            <p:spPr bwMode="auto">
              <a:xfrm>
                <a:off x="6559550" y="4179888"/>
                <a:ext cx="3175" cy="1588"/>
              </a:xfrm>
              <a:custGeom>
                <a:avLst/>
                <a:gdLst>
                  <a:gd name="T0" fmla="*/ 3 w 6"/>
                  <a:gd name="T1" fmla="*/ 0 h 4"/>
                  <a:gd name="T2" fmla="*/ 5 w 6"/>
                  <a:gd name="T3" fmla="*/ 0 h 4"/>
                  <a:gd name="T4" fmla="*/ 6 w 6"/>
                  <a:gd name="T5" fmla="*/ 2 h 4"/>
                  <a:gd name="T6" fmla="*/ 4 w 6"/>
                  <a:gd name="T7" fmla="*/ 4 h 4"/>
                  <a:gd name="T8" fmla="*/ 1 w 6"/>
                  <a:gd name="T9" fmla="*/ 4 h 4"/>
                  <a:gd name="T10" fmla="*/ 0 w 6"/>
                  <a:gd name="T11" fmla="*/ 2 h 4"/>
                  <a:gd name="T12" fmla="*/ 3 w 6"/>
                  <a:gd name="T13" fmla="*/ 0 h 4"/>
                  <a:gd name="T14" fmla="*/ 3 w 6"/>
                  <a:gd name="T15" fmla="*/ 0 h 4"/>
                  <a:gd name="T16" fmla="*/ 3 w 6"/>
                  <a:gd name="T17" fmla="*/ 0 h 4"/>
                  <a:gd name="T18" fmla="*/ 3 w 6"/>
                  <a:gd name="T19" fmla="*/ 0 h 4"/>
                  <a:gd name="T20" fmla="*/ 3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3" y="0"/>
                    </a:moveTo>
                    <a:lnTo>
                      <a:pt x="5" y="0"/>
                    </a:lnTo>
                    <a:lnTo>
                      <a:pt x="6" y="2"/>
                    </a:lnTo>
                    <a:lnTo>
                      <a:pt x="4" y="4"/>
                    </a:lnTo>
                    <a:lnTo>
                      <a:pt x="1" y="4"/>
                    </a:lnTo>
                    <a:lnTo>
                      <a:pt x="0" y="2"/>
                    </a:lnTo>
                    <a:lnTo>
                      <a:pt x="3" y="0"/>
                    </a:lnTo>
                    <a:lnTo>
                      <a:pt x="3" y="0"/>
                    </a:lnTo>
                    <a:lnTo>
                      <a:pt x="3" y="0"/>
                    </a:lnTo>
                    <a:lnTo>
                      <a:pt x="3"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7" name="Freeform 12">
                <a:extLst>
                  <a:ext uri="{FF2B5EF4-FFF2-40B4-BE49-F238E27FC236}">
                    <a16:creationId xmlns:a16="http://schemas.microsoft.com/office/drawing/2014/main" id="{DC674074-59AE-F28A-FCA7-6C6594FEE95E}"/>
                  </a:ext>
                </a:extLst>
              </p:cNvPr>
              <p:cNvSpPr>
                <a:spLocks/>
              </p:cNvSpPr>
              <p:nvPr/>
            </p:nvSpPr>
            <p:spPr bwMode="auto">
              <a:xfrm>
                <a:off x="6491288" y="4113213"/>
                <a:ext cx="112713" cy="58738"/>
              </a:xfrm>
              <a:custGeom>
                <a:avLst/>
                <a:gdLst>
                  <a:gd name="T0" fmla="*/ 21 w 215"/>
                  <a:gd name="T1" fmla="*/ 5 h 113"/>
                  <a:gd name="T2" fmla="*/ 30 w 215"/>
                  <a:gd name="T3" fmla="*/ 1 h 113"/>
                  <a:gd name="T4" fmla="*/ 38 w 215"/>
                  <a:gd name="T5" fmla="*/ 0 h 113"/>
                  <a:gd name="T6" fmla="*/ 49 w 215"/>
                  <a:gd name="T7" fmla="*/ 1 h 113"/>
                  <a:gd name="T8" fmla="*/ 59 w 215"/>
                  <a:gd name="T9" fmla="*/ 4 h 113"/>
                  <a:gd name="T10" fmla="*/ 67 w 215"/>
                  <a:gd name="T11" fmla="*/ 9 h 113"/>
                  <a:gd name="T12" fmla="*/ 83 w 215"/>
                  <a:gd name="T13" fmla="*/ 15 h 113"/>
                  <a:gd name="T14" fmla="*/ 95 w 215"/>
                  <a:gd name="T15" fmla="*/ 35 h 113"/>
                  <a:gd name="T16" fmla="*/ 97 w 215"/>
                  <a:gd name="T17" fmla="*/ 36 h 113"/>
                  <a:gd name="T18" fmla="*/ 115 w 215"/>
                  <a:gd name="T19" fmla="*/ 44 h 113"/>
                  <a:gd name="T20" fmla="*/ 120 w 215"/>
                  <a:gd name="T21" fmla="*/ 54 h 113"/>
                  <a:gd name="T22" fmla="*/ 153 w 215"/>
                  <a:gd name="T23" fmla="*/ 62 h 113"/>
                  <a:gd name="T24" fmla="*/ 179 w 215"/>
                  <a:gd name="T25" fmla="*/ 74 h 113"/>
                  <a:gd name="T26" fmla="*/ 192 w 215"/>
                  <a:gd name="T27" fmla="*/ 79 h 113"/>
                  <a:gd name="T28" fmla="*/ 210 w 215"/>
                  <a:gd name="T29" fmla="*/ 81 h 113"/>
                  <a:gd name="T30" fmla="*/ 213 w 215"/>
                  <a:gd name="T31" fmla="*/ 85 h 113"/>
                  <a:gd name="T32" fmla="*/ 215 w 215"/>
                  <a:gd name="T33" fmla="*/ 94 h 113"/>
                  <a:gd name="T34" fmla="*/ 211 w 215"/>
                  <a:gd name="T35" fmla="*/ 101 h 113"/>
                  <a:gd name="T36" fmla="*/ 207 w 215"/>
                  <a:gd name="T37" fmla="*/ 104 h 113"/>
                  <a:gd name="T38" fmla="*/ 203 w 215"/>
                  <a:gd name="T39" fmla="*/ 112 h 113"/>
                  <a:gd name="T40" fmla="*/ 192 w 215"/>
                  <a:gd name="T41" fmla="*/ 113 h 113"/>
                  <a:gd name="T42" fmla="*/ 180 w 215"/>
                  <a:gd name="T43" fmla="*/ 112 h 113"/>
                  <a:gd name="T44" fmla="*/ 169 w 215"/>
                  <a:gd name="T45" fmla="*/ 107 h 113"/>
                  <a:gd name="T46" fmla="*/ 154 w 215"/>
                  <a:gd name="T47" fmla="*/ 103 h 113"/>
                  <a:gd name="T48" fmla="*/ 145 w 215"/>
                  <a:gd name="T49" fmla="*/ 102 h 113"/>
                  <a:gd name="T50" fmla="*/ 135 w 215"/>
                  <a:gd name="T51" fmla="*/ 102 h 113"/>
                  <a:gd name="T52" fmla="*/ 100 w 215"/>
                  <a:gd name="T53" fmla="*/ 85 h 113"/>
                  <a:gd name="T54" fmla="*/ 88 w 215"/>
                  <a:gd name="T55" fmla="*/ 81 h 113"/>
                  <a:gd name="T56" fmla="*/ 78 w 215"/>
                  <a:gd name="T57" fmla="*/ 77 h 113"/>
                  <a:gd name="T58" fmla="*/ 67 w 215"/>
                  <a:gd name="T59" fmla="*/ 76 h 113"/>
                  <a:gd name="T60" fmla="*/ 63 w 215"/>
                  <a:gd name="T61" fmla="*/ 71 h 113"/>
                  <a:gd name="T62" fmla="*/ 53 w 215"/>
                  <a:gd name="T63" fmla="*/ 67 h 113"/>
                  <a:gd name="T64" fmla="*/ 49 w 215"/>
                  <a:gd name="T65" fmla="*/ 66 h 113"/>
                  <a:gd name="T66" fmla="*/ 40 w 215"/>
                  <a:gd name="T67" fmla="*/ 53 h 113"/>
                  <a:gd name="T68" fmla="*/ 29 w 215"/>
                  <a:gd name="T69" fmla="*/ 43 h 113"/>
                  <a:gd name="T70" fmla="*/ 26 w 215"/>
                  <a:gd name="T71" fmla="*/ 42 h 113"/>
                  <a:gd name="T72" fmla="*/ 20 w 215"/>
                  <a:gd name="T73" fmla="*/ 44 h 113"/>
                  <a:gd name="T74" fmla="*/ 16 w 215"/>
                  <a:gd name="T75" fmla="*/ 43 h 113"/>
                  <a:gd name="T76" fmla="*/ 9 w 215"/>
                  <a:gd name="T77" fmla="*/ 36 h 113"/>
                  <a:gd name="T78" fmla="*/ 2 w 215"/>
                  <a:gd name="T79" fmla="*/ 30 h 113"/>
                  <a:gd name="T80" fmla="*/ 0 w 215"/>
                  <a:gd name="T81" fmla="*/ 25 h 113"/>
                  <a:gd name="T82" fmla="*/ 2 w 215"/>
                  <a:gd name="T83" fmla="*/ 21 h 113"/>
                  <a:gd name="T84" fmla="*/ 7 w 215"/>
                  <a:gd name="T85" fmla="*/ 16 h 113"/>
                  <a:gd name="T86" fmla="*/ 21 w 215"/>
                  <a:gd name="T87" fmla="*/ 5 h 113"/>
                  <a:gd name="T88" fmla="*/ 21 w 215"/>
                  <a:gd name="T89" fmla="*/ 5 h 113"/>
                  <a:gd name="T90" fmla="*/ 21 w 215"/>
                  <a:gd name="T91" fmla="*/ 5 h 113"/>
                  <a:gd name="T92" fmla="*/ 21 w 215"/>
                  <a:gd name="T93"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5" h="113">
                    <a:moveTo>
                      <a:pt x="21" y="5"/>
                    </a:moveTo>
                    <a:lnTo>
                      <a:pt x="30" y="1"/>
                    </a:lnTo>
                    <a:lnTo>
                      <a:pt x="38" y="0"/>
                    </a:lnTo>
                    <a:lnTo>
                      <a:pt x="49" y="1"/>
                    </a:lnTo>
                    <a:lnTo>
                      <a:pt x="59" y="4"/>
                    </a:lnTo>
                    <a:lnTo>
                      <a:pt x="67" y="9"/>
                    </a:lnTo>
                    <a:lnTo>
                      <a:pt x="83" y="15"/>
                    </a:lnTo>
                    <a:lnTo>
                      <a:pt x="95" y="35"/>
                    </a:lnTo>
                    <a:lnTo>
                      <a:pt x="97" y="36"/>
                    </a:lnTo>
                    <a:lnTo>
                      <a:pt x="115" y="44"/>
                    </a:lnTo>
                    <a:lnTo>
                      <a:pt x="120" y="54"/>
                    </a:lnTo>
                    <a:lnTo>
                      <a:pt x="153" y="62"/>
                    </a:lnTo>
                    <a:lnTo>
                      <a:pt x="179" y="74"/>
                    </a:lnTo>
                    <a:lnTo>
                      <a:pt x="192" y="79"/>
                    </a:lnTo>
                    <a:lnTo>
                      <a:pt x="210" y="81"/>
                    </a:lnTo>
                    <a:lnTo>
                      <a:pt x="213" y="85"/>
                    </a:lnTo>
                    <a:lnTo>
                      <a:pt x="215" y="94"/>
                    </a:lnTo>
                    <a:lnTo>
                      <a:pt x="211" y="101"/>
                    </a:lnTo>
                    <a:lnTo>
                      <a:pt x="207" y="104"/>
                    </a:lnTo>
                    <a:lnTo>
                      <a:pt x="203" y="112"/>
                    </a:lnTo>
                    <a:lnTo>
                      <a:pt x="192" y="113"/>
                    </a:lnTo>
                    <a:lnTo>
                      <a:pt x="180" y="112"/>
                    </a:lnTo>
                    <a:lnTo>
                      <a:pt x="169" y="107"/>
                    </a:lnTo>
                    <a:lnTo>
                      <a:pt x="154" y="103"/>
                    </a:lnTo>
                    <a:lnTo>
                      <a:pt x="145" y="102"/>
                    </a:lnTo>
                    <a:lnTo>
                      <a:pt x="135" y="102"/>
                    </a:lnTo>
                    <a:lnTo>
                      <a:pt x="100" y="85"/>
                    </a:lnTo>
                    <a:lnTo>
                      <a:pt x="88" y="81"/>
                    </a:lnTo>
                    <a:lnTo>
                      <a:pt x="78" y="77"/>
                    </a:lnTo>
                    <a:lnTo>
                      <a:pt x="67" y="76"/>
                    </a:lnTo>
                    <a:lnTo>
                      <a:pt x="63" y="71"/>
                    </a:lnTo>
                    <a:lnTo>
                      <a:pt x="53" y="67"/>
                    </a:lnTo>
                    <a:lnTo>
                      <a:pt x="49" y="66"/>
                    </a:lnTo>
                    <a:lnTo>
                      <a:pt x="40" y="53"/>
                    </a:lnTo>
                    <a:lnTo>
                      <a:pt x="29" y="43"/>
                    </a:lnTo>
                    <a:lnTo>
                      <a:pt x="26" y="42"/>
                    </a:lnTo>
                    <a:lnTo>
                      <a:pt x="20" y="44"/>
                    </a:lnTo>
                    <a:lnTo>
                      <a:pt x="16" y="43"/>
                    </a:lnTo>
                    <a:lnTo>
                      <a:pt x="9" y="36"/>
                    </a:lnTo>
                    <a:lnTo>
                      <a:pt x="2" y="30"/>
                    </a:lnTo>
                    <a:lnTo>
                      <a:pt x="0" y="25"/>
                    </a:lnTo>
                    <a:lnTo>
                      <a:pt x="2" y="21"/>
                    </a:lnTo>
                    <a:lnTo>
                      <a:pt x="7" y="16"/>
                    </a:lnTo>
                    <a:lnTo>
                      <a:pt x="21" y="5"/>
                    </a:lnTo>
                    <a:lnTo>
                      <a:pt x="21" y="5"/>
                    </a:lnTo>
                    <a:lnTo>
                      <a:pt x="21" y="5"/>
                    </a:lnTo>
                    <a:lnTo>
                      <a:pt x="21" y="5"/>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8" name="Freeform 136">
                <a:extLst>
                  <a:ext uri="{FF2B5EF4-FFF2-40B4-BE49-F238E27FC236}">
                    <a16:creationId xmlns:a16="http://schemas.microsoft.com/office/drawing/2014/main" id="{D851FB7E-D89E-6284-F8E0-9AEC852E2680}"/>
                  </a:ext>
                </a:extLst>
              </p:cNvPr>
              <p:cNvSpPr>
                <a:spLocks/>
              </p:cNvSpPr>
              <p:nvPr/>
            </p:nvSpPr>
            <p:spPr bwMode="auto">
              <a:xfrm>
                <a:off x="6472238" y="4116388"/>
                <a:ext cx="14288" cy="11113"/>
              </a:xfrm>
              <a:custGeom>
                <a:avLst/>
                <a:gdLst>
                  <a:gd name="T0" fmla="*/ 15 w 26"/>
                  <a:gd name="T1" fmla="*/ 3 h 19"/>
                  <a:gd name="T2" fmla="*/ 19 w 26"/>
                  <a:gd name="T3" fmla="*/ 0 h 19"/>
                  <a:gd name="T4" fmla="*/ 21 w 26"/>
                  <a:gd name="T5" fmla="*/ 1 h 19"/>
                  <a:gd name="T6" fmla="*/ 26 w 26"/>
                  <a:gd name="T7" fmla="*/ 7 h 19"/>
                  <a:gd name="T8" fmla="*/ 24 w 26"/>
                  <a:gd name="T9" fmla="*/ 12 h 19"/>
                  <a:gd name="T10" fmla="*/ 19 w 26"/>
                  <a:gd name="T11" fmla="*/ 18 h 19"/>
                  <a:gd name="T12" fmla="*/ 15 w 26"/>
                  <a:gd name="T13" fmla="*/ 19 h 19"/>
                  <a:gd name="T14" fmla="*/ 10 w 26"/>
                  <a:gd name="T15" fmla="*/ 18 h 19"/>
                  <a:gd name="T16" fmla="*/ 6 w 26"/>
                  <a:gd name="T17" fmla="*/ 14 h 19"/>
                  <a:gd name="T18" fmla="*/ 0 w 26"/>
                  <a:gd name="T19" fmla="*/ 13 h 19"/>
                  <a:gd name="T20" fmla="*/ 0 w 26"/>
                  <a:gd name="T21" fmla="*/ 11 h 19"/>
                  <a:gd name="T22" fmla="*/ 2 w 26"/>
                  <a:gd name="T23" fmla="*/ 9 h 19"/>
                  <a:gd name="T24" fmla="*/ 10 w 26"/>
                  <a:gd name="T25" fmla="*/ 7 h 19"/>
                  <a:gd name="T26" fmla="*/ 15 w 26"/>
                  <a:gd name="T27" fmla="*/ 3 h 19"/>
                  <a:gd name="T28" fmla="*/ 15 w 26"/>
                  <a:gd name="T29" fmla="*/ 3 h 19"/>
                  <a:gd name="T30" fmla="*/ 15 w 26"/>
                  <a:gd name="T31" fmla="*/ 3 h 19"/>
                  <a:gd name="T32" fmla="*/ 15 w 26"/>
                  <a:gd name="T33" fmla="*/ 3 h 19"/>
                  <a:gd name="T34" fmla="*/ 15 w 26"/>
                  <a:gd name="T35"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9">
                    <a:moveTo>
                      <a:pt x="15" y="3"/>
                    </a:moveTo>
                    <a:lnTo>
                      <a:pt x="19" y="0"/>
                    </a:lnTo>
                    <a:lnTo>
                      <a:pt x="21" y="1"/>
                    </a:lnTo>
                    <a:lnTo>
                      <a:pt x="26" y="7"/>
                    </a:lnTo>
                    <a:lnTo>
                      <a:pt x="24" y="12"/>
                    </a:lnTo>
                    <a:lnTo>
                      <a:pt x="19" y="18"/>
                    </a:lnTo>
                    <a:lnTo>
                      <a:pt x="15" y="19"/>
                    </a:lnTo>
                    <a:lnTo>
                      <a:pt x="10" y="18"/>
                    </a:lnTo>
                    <a:lnTo>
                      <a:pt x="6" y="14"/>
                    </a:lnTo>
                    <a:lnTo>
                      <a:pt x="0" y="13"/>
                    </a:lnTo>
                    <a:lnTo>
                      <a:pt x="0" y="11"/>
                    </a:lnTo>
                    <a:lnTo>
                      <a:pt x="2" y="9"/>
                    </a:lnTo>
                    <a:lnTo>
                      <a:pt x="10" y="7"/>
                    </a:lnTo>
                    <a:lnTo>
                      <a:pt x="15" y="3"/>
                    </a:lnTo>
                    <a:lnTo>
                      <a:pt x="15" y="3"/>
                    </a:lnTo>
                    <a:lnTo>
                      <a:pt x="15" y="3"/>
                    </a:lnTo>
                    <a:lnTo>
                      <a:pt x="15" y="3"/>
                    </a:lnTo>
                    <a:lnTo>
                      <a:pt x="15" y="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9" name="Freeform 138">
                <a:extLst>
                  <a:ext uri="{FF2B5EF4-FFF2-40B4-BE49-F238E27FC236}">
                    <a16:creationId xmlns:a16="http://schemas.microsoft.com/office/drawing/2014/main" id="{C39EFE74-D89A-AEA7-85C0-CD9BE4214EFE}"/>
                  </a:ext>
                </a:extLst>
              </p:cNvPr>
              <p:cNvSpPr>
                <a:spLocks/>
              </p:cNvSpPr>
              <p:nvPr/>
            </p:nvSpPr>
            <p:spPr bwMode="auto">
              <a:xfrm>
                <a:off x="6464300" y="4173538"/>
                <a:ext cx="153988" cy="146050"/>
              </a:xfrm>
              <a:custGeom>
                <a:avLst/>
                <a:gdLst>
                  <a:gd name="T0" fmla="*/ 112 w 291"/>
                  <a:gd name="T1" fmla="*/ 272 h 277"/>
                  <a:gd name="T2" fmla="*/ 93 w 291"/>
                  <a:gd name="T3" fmla="*/ 255 h 277"/>
                  <a:gd name="T4" fmla="*/ 86 w 291"/>
                  <a:gd name="T5" fmla="*/ 236 h 277"/>
                  <a:gd name="T6" fmla="*/ 73 w 291"/>
                  <a:gd name="T7" fmla="*/ 241 h 277"/>
                  <a:gd name="T8" fmla="*/ 54 w 291"/>
                  <a:gd name="T9" fmla="*/ 244 h 277"/>
                  <a:gd name="T10" fmla="*/ 50 w 291"/>
                  <a:gd name="T11" fmla="*/ 222 h 277"/>
                  <a:gd name="T12" fmla="*/ 39 w 291"/>
                  <a:gd name="T13" fmla="*/ 214 h 277"/>
                  <a:gd name="T14" fmla="*/ 32 w 291"/>
                  <a:gd name="T15" fmla="*/ 178 h 277"/>
                  <a:gd name="T16" fmla="*/ 21 w 291"/>
                  <a:gd name="T17" fmla="*/ 175 h 277"/>
                  <a:gd name="T18" fmla="*/ 11 w 291"/>
                  <a:gd name="T19" fmla="*/ 180 h 277"/>
                  <a:gd name="T20" fmla="*/ 0 w 291"/>
                  <a:gd name="T21" fmla="*/ 154 h 277"/>
                  <a:gd name="T22" fmla="*/ 5 w 291"/>
                  <a:gd name="T23" fmla="*/ 142 h 277"/>
                  <a:gd name="T24" fmla="*/ 39 w 291"/>
                  <a:gd name="T25" fmla="*/ 127 h 277"/>
                  <a:gd name="T26" fmla="*/ 45 w 291"/>
                  <a:gd name="T27" fmla="*/ 87 h 277"/>
                  <a:gd name="T28" fmla="*/ 55 w 291"/>
                  <a:gd name="T29" fmla="*/ 75 h 277"/>
                  <a:gd name="T30" fmla="*/ 49 w 291"/>
                  <a:gd name="T31" fmla="*/ 61 h 277"/>
                  <a:gd name="T32" fmla="*/ 57 w 291"/>
                  <a:gd name="T33" fmla="*/ 44 h 277"/>
                  <a:gd name="T34" fmla="*/ 70 w 291"/>
                  <a:gd name="T35" fmla="*/ 17 h 277"/>
                  <a:gd name="T36" fmla="*/ 91 w 291"/>
                  <a:gd name="T37" fmla="*/ 9 h 277"/>
                  <a:gd name="T38" fmla="*/ 106 w 291"/>
                  <a:gd name="T39" fmla="*/ 0 h 277"/>
                  <a:gd name="T40" fmla="*/ 138 w 291"/>
                  <a:gd name="T41" fmla="*/ 15 h 277"/>
                  <a:gd name="T42" fmla="*/ 158 w 291"/>
                  <a:gd name="T43" fmla="*/ 30 h 277"/>
                  <a:gd name="T44" fmla="*/ 174 w 291"/>
                  <a:gd name="T45" fmla="*/ 36 h 277"/>
                  <a:gd name="T46" fmla="*/ 204 w 291"/>
                  <a:gd name="T47" fmla="*/ 52 h 277"/>
                  <a:gd name="T48" fmla="*/ 222 w 291"/>
                  <a:gd name="T49" fmla="*/ 65 h 277"/>
                  <a:gd name="T50" fmla="*/ 237 w 291"/>
                  <a:gd name="T51" fmla="*/ 82 h 277"/>
                  <a:gd name="T52" fmla="*/ 267 w 291"/>
                  <a:gd name="T53" fmla="*/ 127 h 277"/>
                  <a:gd name="T54" fmla="*/ 289 w 291"/>
                  <a:gd name="T55" fmla="*/ 164 h 277"/>
                  <a:gd name="T56" fmla="*/ 291 w 291"/>
                  <a:gd name="T57" fmla="*/ 187 h 277"/>
                  <a:gd name="T58" fmla="*/ 287 w 291"/>
                  <a:gd name="T59" fmla="*/ 198 h 277"/>
                  <a:gd name="T60" fmla="*/ 271 w 291"/>
                  <a:gd name="T61" fmla="*/ 205 h 277"/>
                  <a:gd name="T62" fmla="*/ 216 w 291"/>
                  <a:gd name="T63" fmla="*/ 213 h 277"/>
                  <a:gd name="T64" fmla="*/ 179 w 291"/>
                  <a:gd name="T65" fmla="*/ 229 h 277"/>
                  <a:gd name="T66" fmla="*/ 157 w 291"/>
                  <a:gd name="T67" fmla="*/ 247 h 277"/>
                  <a:gd name="T68" fmla="*/ 144 w 291"/>
                  <a:gd name="T69" fmla="*/ 265 h 277"/>
                  <a:gd name="T70" fmla="*/ 116 w 291"/>
                  <a:gd name="T71" fmla="*/ 277 h 277"/>
                  <a:gd name="T72" fmla="*/ 116 w 291"/>
                  <a:gd name="T73"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1" h="277">
                    <a:moveTo>
                      <a:pt x="116" y="277"/>
                    </a:moveTo>
                    <a:lnTo>
                      <a:pt x="112" y="272"/>
                    </a:lnTo>
                    <a:lnTo>
                      <a:pt x="106" y="258"/>
                    </a:lnTo>
                    <a:lnTo>
                      <a:pt x="93" y="255"/>
                    </a:lnTo>
                    <a:lnTo>
                      <a:pt x="90" y="243"/>
                    </a:lnTo>
                    <a:lnTo>
                      <a:pt x="86" y="236"/>
                    </a:lnTo>
                    <a:lnTo>
                      <a:pt x="81" y="236"/>
                    </a:lnTo>
                    <a:lnTo>
                      <a:pt x="73" y="241"/>
                    </a:lnTo>
                    <a:lnTo>
                      <a:pt x="66" y="237"/>
                    </a:lnTo>
                    <a:lnTo>
                      <a:pt x="54" y="244"/>
                    </a:lnTo>
                    <a:lnTo>
                      <a:pt x="51" y="236"/>
                    </a:lnTo>
                    <a:lnTo>
                      <a:pt x="50" y="222"/>
                    </a:lnTo>
                    <a:lnTo>
                      <a:pt x="47" y="219"/>
                    </a:lnTo>
                    <a:lnTo>
                      <a:pt x="39" y="214"/>
                    </a:lnTo>
                    <a:lnTo>
                      <a:pt x="35" y="209"/>
                    </a:lnTo>
                    <a:lnTo>
                      <a:pt x="32" y="178"/>
                    </a:lnTo>
                    <a:lnTo>
                      <a:pt x="27" y="176"/>
                    </a:lnTo>
                    <a:lnTo>
                      <a:pt x="21" y="175"/>
                    </a:lnTo>
                    <a:lnTo>
                      <a:pt x="11" y="180"/>
                    </a:lnTo>
                    <a:lnTo>
                      <a:pt x="11" y="180"/>
                    </a:lnTo>
                    <a:lnTo>
                      <a:pt x="6" y="168"/>
                    </a:lnTo>
                    <a:lnTo>
                      <a:pt x="0" y="154"/>
                    </a:lnTo>
                    <a:lnTo>
                      <a:pt x="1" y="150"/>
                    </a:lnTo>
                    <a:lnTo>
                      <a:pt x="5" y="142"/>
                    </a:lnTo>
                    <a:lnTo>
                      <a:pt x="29" y="137"/>
                    </a:lnTo>
                    <a:lnTo>
                      <a:pt x="39" y="127"/>
                    </a:lnTo>
                    <a:lnTo>
                      <a:pt x="42" y="117"/>
                    </a:lnTo>
                    <a:lnTo>
                      <a:pt x="45" y="87"/>
                    </a:lnTo>
                    <a:lnTo>
                      <a:pt x="54" y="79"/>
                    </a:lnTo>
                    <a:lnTo>
                      <a:pt x="55" y="75"/>
                    </a:lnTo>
                    <a:lnTo>
                      <a:pt x="54" y="69"/>
                    </a:lnTo>
                    <a:lnTo>
                      <a:pt x="49" y="61"/>
                    </a:lnTo>
                    <a:lnTo>
                      <a:pt x="49" y="56"/>
                    </a:lnTo>
                    <a:lnTo>
                      <a:pt x="57" y="44"/>
                    </a:lnTo>
                    <a:lnTo>
                      <a:pt x="66" y="23"/>
                    </a:lnTo>
                    <a:lnTo>
                      <a:pt x="70" y="17"/>
                    </a:lnTo>
                    <a:lnTo>
                      <a:pt x="73" y="14"/>
                    </a:lnTo>
                    <a:lnTo>
                      <a:pt x="91" y="9"/>
                    </a:lnTo>
                    <a:lnTo>
                      <a:pt x="106" y="0"/>
                    </a:lnTo>
                    <a:lnTo>
                      <a:pt x="106" y="0"/>
                    </a:lnTo>
                    <a:lnTo>
                      <a:pt x="126" y="11"/>
                    </a:lnTo>
                    <a:lnTo>
                      <a:pt x="138" y="15"/>
                    </a:lnTo>
                    <a:lnTo>
                      <a:pt x="146" y="23"/>
                    </a:lnTo>
                    <a:lnTo>
                      <a:pt x="158" y="30"/>
                    </a:lnTo>
                    <a:lnTo>
                      <a:pt x="163" y="36"/>
                    </a:lnTo>
                    <a:lnTo>
                      <a:pt x="174" y="36"/>
                    </a:lnTo>
                    <a:lnTo>
                      <a:pt x="178" y="38"/>
                    </a:lnTo>
                    <a:lnTo>
                      <a:pt x="204" y="52"/>
                    </a:lnTo>
                    <a:lnTo>
                      <a:pt x="214" y="56"/>
                    </a:lnTo>
                    <a:lnTo>
                      <a:pt x="222" y="65"/>
                    </a:lnTo>
                    <a:lnTo>
                      <a:pt x="229" y="69"/>
                    </a:lnTo>
                    <a:lnTo>
                      <a:pt x="237" y="82"/>
                    </a:lnTo>
                    <a:lnTo>
                      <a:pt x="255" y="106"/>
                    </a:lnTo>
                    <a:lnTo>
                      <a:pt x="267" y="127"/>
                    </a:lnTo>
                    <a:lnTo>
                      <a:pt x="287" y="158"/>
                    </a:lnTo>
                    <a:lnTo>
                      <a:pt x="289" y="164"/>
                    </a:lnTo>
                    <a:lnTo>
                      <a:pt x="291" y="177"/>
                    </a:lnTo>
                    <a:lnTo>
                      <a:pt x="291" y="187"/>
                    </a:lnTo>
                    <a:lnTo>
                      <a:pt x="290" y="193"/>
                    </a:lnTo>
                    <a:lnTo>
                      <a:pt x="287" y="198"/>
                    </a:lnTo>
                    <a:lnTo>
                      <a:pt x="285" y="200"/>
                    </a:lnTo>
                    <a:lnTo>
                      <a:pt x="271" y="205"/>
                    </a:lnTo>
                    <a:lnTo>
                      <a:pt x="252" y="209"/>
                    </a:lnTo>
                    <a:lnTo>
                      <a:pt x="216" y="213"/>
                    </a:lnTo>
                    <a:lnTo>
                      <a:pt x="192" y="219"/>
                    </a:lnTo>
                    <a:lnTo>
                      <a:pt x="179" y="229"/>
                    </a:lnTo>
                    <a:lnTo>
                      <a:pt x="167" y="233"/>
                    </a:lnTo>
                    <a:lnTo>
                      <a:pt x="157" y="247"/>
                    </a:lnTo>
                    <a:lnTo>
                      <a:pt x="151" y="258"/>
                    </a:lnTo>
                    <a:lnTo>
                      <a:pt x="144" y="265"/>
                    </a:lnTo>
                    <a:lnTo>
                      <a:pt x="138" y="268"/>
                    </a:lnTo>
                    <a:lnTo>
                      <a:pt x="116" y="277"/>
                    </a:lnTo>
                    <a:lnTo>
                      <a:pt x="116" y="277"/>
                    </a:lnTo>
                    <a:lnTo>
                      <a:pt x="116" y="277"/>
                    </a:lnTo>
                    <a:lnTo>
                      <a:pt x="116" y="277"/>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0" name="Freeform 141">
                <a:extLst>
                  <a:ext uri="{FF2B5EF4-FFF2-40B4-BE49-F238E27FC236}">
                    <a16:creationId xmlns:a16="http://schemas.microsoft.com/office/drawing/2014/main" id="{A6FA80C4-232B-38AD-3630-E76C612C69E1}"/>
                  </a:ext>
                </a:extLst>
              </p:cNvPr>
              <p:cNvSpPr>
                <a:spLocks/>
              </p:cNvSpPr>
              <p:nvPr/>
            </p:nvSpPr>
            <p:spPr bwMode="auto">
              <a:xfrm>
                <a:off x="6562725" y="4179888"/>
                <a:ext cx="30163" cy="20638"/>
              </a:xfrm>
              <a:custGeom>
                <a:avLst/>
                <a:gdLst>
                  <a:gd name="T0" fmla="*/ 6 w 55"/>
                  <a:gd name="T1" fmla="*/ 0 h 38"/>
                  <a:gd name="T2" fmla="*/ 26 w 55"/>
                  <a:gd name="T3" fmla="*/ 6 h 38"/>
                  <a:gd name="T4" fmla="*/ 42 w 55"/>
                  <a:gd name="T5" fmla="*/ 13 h 38"/>
                  <a:gd name="T6" fmla="*/ 52 w 55"/>
                  <a:gd name="T7" fmla="*/ 24 h 38"/>
                  <a:gd name="T8" fmla="*/ 54 w 55"/>
                  <a:gd name="T9" fmla="*/ 29 h 38"/>
                  <a:gd name="T10" fmla="*/ 55 w 55"/>
                  <a:gd name="T11" fmla="*/ 36 h 38"/>
                  <a:gd name="T12" fmla="*/ 53 w 55"/>
                  <a:gd name="T13" fmla="*/ 37 h 38"/>
                  <a:gd name="T14" fmla="*/ 50 w 55"/>
                  <a:gd name="T15" fmla="*/ 38 h 38"/>
                  <a:gd name="T16" fmla="*/ 48 w 55"/>
                  <a:gd name="T17" fmla="*/ 37 h 38"/>
                  <a:gd name="T18" fmla="*/ 41 w 55"/>
                  <a:gd name="T19" fmla="*/ 28 h 38"/>
                  <a:gd name="T20" fmla="*/ 36 w 55"/>
                  <a:gd name="T21" fmla="*/ 24 h 38"/>
                  <a:gd name="T22" fmla="*/ 14 w 55"/>
                  <a:gd name="T23" fmla="*/ 15 h 38"/>
                  <a:gd name="T24" fmla="*/ 8 w 55"/>
                  <a:gd name="T25" fmla="*/ 11 h 38"/>
                  <a:gd name="T26" fmla="*/ 1 w 55"/>
                  <a:gd name="T27" fmla="*/ 5 h 38"/>
                  <a:gd name="T28" fmla="*/ 0 w 55"/>
                  <a:gd name="T29" fmla="*/ 2 h 38"/>
                  <a:gd name="T30" fmla="*/ 0 w 55"/>
                  <a:gd name="T31" fmla="*/ 0 h 38"/>
                  <a:gd name="T32" fmla="*/ 4 w 55"/>
                  <a:gd name="T33" fmla="*/ 0 h 38"/>
                  <a:gd name="T34" fmla="*/ 6 w 55"/>
                  <a:gd name="T35" fmla="*/ 0 h 38"/>
                  <a:gd name="T36" fmla="*/ 6 w 55"/>
                  <a:gd name="T37" fmla="*/ 0 h 38"/>
                  <a:gd name="T38" fmla="*/ 6 w 55"/>
                  <a:gd name="T39" fmla="*/ 0 h 38"/>
                  <a:gd name="T40" fmla="*/ 6 w 55"/>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38">
                    <a:moveTo>
                      <a:pt x="6" y="0"/>
                    </a:moveTo>
                    <a:lnTo>
                      <a:pt x="26" y="6"/>
                    </a:lnTo>
                    <a:lnTo>
                      <a:pt x="42" y="13"/>
                    </a:lnTo>
                    <a:lnTo>
                      <a:pt x="52" y="24"/>
                    </a:lnTo>
                    <a:lnTo>
                      <a:pt x="54" y="29"/>
                    </a:lnTo>
                    <a:lnTo>
                      <a:pt x="55" y="36"/>
                    </a:lnTo>
                    <a:lnTo>
                      <a:pt x="53" y="37"/>
                    </a:lnTo>
                    <a:lnTo>
                      <a:pt x="50" y="38"/>
                    </a:lnTo>
                    <a:lnTo>
                      <a:pt x="48" y="37"/>
                    </a:lnTo>
                    <a:lnTo>
                      <a:pt x="41" y="28"/>
                    </a:lnTo>
                    <a:lnTo>
                      <a:pt x="36" y="24"/>
                    </a:lnTo>
                    <a:lnTo>
                      <a:pt x="14" y="15"/>
                    </a:lnTo>
                    <a:lnTo>
                      <a:pt x="8" y="11"/>
                    </a:lnTo>
                    <a:lnTo>
                      <a:pt x="1" y="5"/>
                    </a:lnTo>
                    <a:lnTo>
                      <a:pt x="0" y="2"/>
                    </a:lnTo>
                    <a:lnTo>
                      <a:pt x="0" y="0"/>
                    </a:lnTo>
                    <a:lnTo>
                      <a:pt x="4" y="0"/>
                    </a:lnTo>
                    <a:lnTo>
                      <a:pt x="6" y="0"/>
                    </a:lnTo>
                    <a:lnTo>
                      <a:pt x="6" y="0"/>
                    </a:lnTo>
                    <a:lnTo>
                      <a:pt x="6" y="0"/>
                    </a:lnTo>
                    <a:lnTo>
                      <a:pt x="6"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1" name="Freeform 142">
                <a:extLst>
                  <a:ext uri="{FF2B5EF4-FFF2-40B4-BE49-F238E27FC236}">
                    <a16:creationId xmlns:a16="http://schemas.microsoft.com/office/drawing/2014/main" id="{13E3355A-39D6-82B1-48A6-CEE08A77CDE1}"/>
                  </a:ext>
                </a:extLst>
              </p:cNvPr>
              <p:cNvSpPr>
                <a:spLocks/>
              </p:cNvSpPr>
              <p:nvPr/>
            </p:nvSpPr>
            <p:spPr bwMode="auto">
              <a:xfrm>
                <a:off x="6591300" y="4187826"/>
                <a:ext cx="15875" cy="14288"/>
              </a:xfrm>
              <a:custGeom>
                <a:avLst/>
                <a:gdLst>
                  <a:gd name="T0" fmla="*/ 8 w 28"/>
                  <a:gd name="T1" fmla="*/ 0 h 26"/>
                  <a:gd name="T2" fmla="*/ 18 w 28"/>
                  <a:gd name="T3" fmla="*/ 3 h 26"/>
                  <a:gd name="T4" fmla="*/ 24 w 28"/>
                  <a:gd name="T5" fmla="*/ 7 h 26"/>
                  <a:gd name="T6" fmla="*/ 28 w 28"/>
                  <a:gd name="T7" fmla="*/ 11 h 26"/>
                  <a:gd name="T8" fmla="*/ 28 w 28"/>
                  <a:gd name="T9" fmla="*/ 15 h 26"/>
                  <a:gd name="T10" fmla="*/ 28 w 28"/>
                  <a:gd name="T11" fmla="*/ 18 h 26"/>
                  <a:gd name="T12" fmla="*/ 24 w 28"/>
                  <a:gd name="T13" fmla="*/ 24 h 26"/>
                  <a:gd name="T14" fmla="*/ 20 w 28"/>
                  <a:gd name="T15" fmla="*/ 26 h 26"/>
                  <a:gd name="T16" fmla="*/ 15 w 28"/>
                  <a:gd name="T17" fmla="*/ 25 h 26"/>
                  <a:gd name="T18" fmla="*/ 11 w 28"/>
                  <a:gd name="T19" fmla="*/ 22 h 26"/>
                  <a:gd name="T20" fmla="*/ 5 w 28"/>
                  <a:gd name="T21" fmla="*/ 8 h 26"/>
                  <a:gd name="T22" fmla="*/ 0 w 28"/>
                  <a:gd name="T23" fmla="*/ 3 h 26"/>
                  <a:gd name="T24" fmla="*/ 0 w 28"/>
                  <a:gd name="T25" fmla="*/ 1 h 26"/>
                  <a:gd name="T26" fmla="*/ 1 w 28"/>
                  <a:gd name="T27" fmla="*/ 0 h 26"/>
                  <a:gd name="T28" fmla="*/ 8 w 28"/>
                  <a:gd name="T29" fmla="*/ 0 h 26"/>
                  <a:gd name="T30" fmla="*/ 8 w 28"/>
                  <a:gd name="T31" fmla="*/ 0 h 26"/>
                  <a:gd name="T32" fmla="*/ 8 w 28"/>
                  <a:gd name="T33" fmla="*/ 0 h 26"/>
                  <a:gd name="T34" fmla="*/ 8 w 28"/>
                  <a:gd name="T35" fmla="*/ 0 h 26"/>
                  <a:gd name="T36" fmla="*/ 8 w 2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6">
                    <a:moveTo>
                      <a:pt x="8" y="0"/>
                    </a:moveTo>
                    <a:lnTo>
                      <a:pt x="18" y="3"/>
                    </a:lnTo>
                    <a:lnTo>
                      <a:pt x="24" y="7"/>
                    </a:lnTo>
                    <a:lnTo>
                      <a:pt x="28" y="11"/>
                    </a:lnTo>
                    <a:lnTo>
                      <a:pt x="28" y="15"/>
                    </a:lnTo>
                    <a:lnTo>
                      <a:pt x="28" y="18"/>
                    </a:lnTo>
                    <a:lnTo>
                      <a:pt x="24" y="24"/>
                    </a:lnTo>
                    <a:lnTo>
                      <a:pt x="20" y="26"/>
                    </a:lnTo>
                    <a:lnTo>
                      <a:pt x="15" y="25"/>
                    </a:lnTo>
                    <a:lnTo>
                      <a:pt x="11" y="22"/>
                    </a:lnTo>
                    <a:lnTo>
                      <a:pt x="5" y="8"/>
                    </a:lnTo>
                    <a:lnTo>
                      <a:pt x="0" y="3"/>
                    </a:lnTo>
                    <a:lnTo>
                      <a:pt x="0" y="1"/>
                    </a:lnTo>
                    <a:lnTo>
                      <a:pt x="1" y="0"/>
                    </a:lnTo>
                    <a:lnTo>
                      <a:pt x="8" y="0"/>
                    </a:lnTo>
                    <a:lnTo>
                      <a:pt x="8" y="0"/>
                    </a:lnTo>
                    <a:lnTo>
                      <a:pt x="8" y="0"/>
                    </a:lnTo>
                    <a:lnTo>
                      <a:pt x="8" y="0"/>
                    </a:lnTo>
                    <a:lnTo>
                      <a:pt x="8"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2" name="Freeform 164">
                <a:extLst>
                  <a:ext uri="{FF2B5EF4-FFF2-40B4-BE49-F238E27FC236}">
                    <a16:creationId xmlns:a16="http://schemas.microsoft.com/office/drawing/2014/main" id="{3088E69D-E906-DF33-65F4-B920D97D980B}"/>
                  </a:ext>
                </a:extLst>
              </p:cNvPr>
              <p:cNvSpPr>
                <a:spLocks/>
              </p:cNvSpPr>
              <p:nvPr/>
            </p:nvSpPr>
            <p:spPr bwMode="auto">
              <a:xfrm>
                <a:off x="6550025" y="4316413"/>
                <a:ext cx="1588" cy="1588"/>
              </a:xfrm>
              <a:custGeom>
                <a:avLst/>
                <a:gdLst>
                  <a:gd name="T0" fmla="*/ 0 w 2"/>
                  <a:gd name="T1" fmla="*/ 0 h 3"/>
                  <a:gd name="T2" fmla="*/ 2 w 2"/>
                  <a:gd name="T3" fmla="*/ 1 h 3"/>
                  <a:gd name="T4" fmla="*/ 0 w 2"/>
                  <a:gd name="T5" fmla="*/ 3 h 3"/>
                  <a:gd name="T6" fmla="*/ 0 w 2"/>
                  <a:gd name="T7" fmla="*/ 0 h 3"/>
                  <a:gd name="T8" fmla="*/ 0 w 2"/>
                  <a:gd name="T9" fmla="*/ 0 h 3"/>
                  <a:gd name="T10" fmla="*/ 0 w 2"/>
                  <a:gd name="T11" fmla="*/ 0 h 3"/>
                  <a:gd name="T12" fmla="*/ 0 w 2"/>
                  <a:gd name="T13" fmla="*/ 0 h 3"/>
                  <a:gd name="T14" fmla="*/ 0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0"/>
                    </a:moveTo>
                    <a:lnTo>
                      <a:pt x="2" y="1"/>
                    </a:lnTo>
                    <a:lnTo>
                      <a:pt x="0" y="3"/>
                    </a:lnTo>
                    <a:lnTo>
                      <a:pt x="0" y="0"/>
                    </a:lnTo>
                    <a:lnTo>
                      <a:pt x="0" y="0"/>
                    </a:lnTo>
                    <a:lnTo>
                      <a:pt x="0" y="0"/>
                    </a:lnTo>
                    <a:lnTo>
                      <a:pt x="0" y="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3" name="Freeform 169">
                <a:extLst>
                  <a:ext uri="{FF2B5EF4-FFF2-40B4-BE49-F238E27FC236}">
                    <a16:creationId xmlns:a16="http://schemas.microsoft.com/office/drawing/2014/main" id="{4D66CBF1-53C9-EF94-6621-1719C8F45513}"/>
                  </a:ext>
                </a:extLst>
              </p:cNvPr>
              <p:cNvSpPr>
                <a:spLocks/>
              </p:cNvSpPr>
              <p:nvPr/>
            </p:nvSpPr>
            <p:spPr bwMode="auto">
              <a:xfrm>
                <a:off x="6551613" y="4318001"/>
                <a:ext cx="1588" cy="1588"/>
              </a:xfrm>
              <a:custGeom>
                <a:avLst/>
                <a:gdLst>
                  <a:gd name="T0" fmla="*/ 0 w 2"/>
                  <a:gd name="T1" fmla="*/ 0 h 3"/>
                  <a:gd name="T2" fmla="*/ 1 w 2"/>
                  <a:gd name="T3" fmla="*/ 0 h 3"/>
                  <a:gd name="T4" fmla="*/ 2 w 2"/>
                  <a:gd name="T5" fmla="*/ 2 h 3"/>
                  <a:gd name="T6" fmla="*/ 1 w 2"/>
                  <a:gd name="T7" fmla="*/ 3 h 3"/>
                  <a:gd name="T8" fmla="*/ 0 w 2"/>
                  <a:gd name="T9" fmla="*/ 3 h 3"/>
                  <a:gd name="T10" fmla="*/ 0 w 2"/>
                  <a:gd name="T11" fmla="*/ 0 h 3"/>
                  <a:gd name="T12" fmla="*/ 0 w 2"/>
                  <a:gd name="T13" fmla="*/ 0 h 3"/>
                  <a:gd name="T14" fmla="*/ 0 w 2"/>
                  <a:gd name="T15" fmla="*/ 0 h 3"/>
                  <a:gd name="T16" fmla="*/ 0 w 2"/>
                  <a:gd name="T17" fmla="*/ 0 h 3"/>
                  <a:gd name="T18" fmla="*/ 0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0"/>
                    </a:moveTo>
                    <a:lnTo>
                      <a:pt x="1" y="0"/>
                    </a:lnTo>
                    <a:lnTo>
                      <a:pt x="2" y="2"/>
                    </a:lnTo>
                    <a:lnTo>
                      <a:pt x="1" y="3"/>
                    </a:lnTo>
                    <a:lnTo>
                      <a:pt x="0" y="3"/>
                    </a:lnTo>
                    <a:lnTo>
                      <a:pt x="0" y="0"/>
                    </a:lnTo>
                    <a:lnTo>
                      <a:pt x="0" y="0"/>
                    </a:lnTo>
                    <a:lnTo>
                      <a:pt x="0" y="0"/>
                    </a:lnTo>
                    <a:lnTo>
                      <a:pt x="0" y="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84" name="Freeform 176">
                <a:extLst>
                  <a:ext uri="{FF2B5EF4-FFF2-40B4-BE49-F238E27FC236}">
                    <a16:creationId xmlns:a16="http://schemas.microsoft.com/office/drawing/2014/main" id="{0E1F9425-7C4F-7FE0-889F-E7F065E1EA92}"/>
                  </a:ext>
                </a:extLst>
              </p:cNvPr>
              <p:cNvSpPr>
                <a:spLocks/>
              </p:cNvSpPr>
              <p:nvPr/>
            </p:nvSpPr>
            <p:spPr bwMode="auto">
              <a:xfrm>
                <a:off x="6581775" y="4327526"/>
                <a:ext cx="3175" cy="1588"/>
              </a:xfrm>
              <a:custGeom>
                <a:avLst/>
                <a:gdLst>
                  <a:gd name="T0" fmla="*/ 1 w 5"/>
                  <a:gd name="T1" fmla="*/ 0 h 3"/>
                  <a:gd name="T2" fmla="*/ 5 w 5"/>
                  <a:gd name="T3" fmla="*/ 3 h 3"/>
                  <a:gd name="T4" fmla="*/ 1 w 5"/>
                  <a:gd name="T5" fmla="*/ 3 h 3"/>
                  <a:gd name="T6" fmla="*/ 0 w 5"/>
                  <a:gd name="T7" fmla="*/ 2 h 3"/>
                  <a:gd name="T8" fmla="*/ 1 w 5"/>
                  <a:gd name="T9" fmla="*/ 0 h 3"/>
                  <a:gd name="T10" fmla="*/ 1 w 5"/>
                  <a:gd name="T11" fmla="*/ 0 h 3"/>
                  <a:gd name="T12" fmla="*/ 1 w 5"/>
                  <a:gd name="T13" fmla="*/ 0 h 3"/>
                  <a:gd name="T14" fmla="*/ 1 w 5"/>
                  <a:gd name="T15" fmla="*/ 0 h 3"/>
                  <a:gd name="T16" fmla="*/ 1 w 5"/>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1" y="0"/>
                    </a:moveTo>
                    <a:lnTo>
                      <a:pt x="5" y="3"/>
                    </a:lnTo>
                    <a:lnTo>
                      <a:pt x="1" y="3"/>
                    </a:lnTo>
                    <a:lnTo>
                      <a:pt x="0" y="2"/>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grpSp>
        <p:grpSp>
          <p:nvGrpSpPr>
            <p:cNvPr id="38" name="香港">
              <a:extLst>
                <a:ext uri="{FF2B5EF4-FFF2-40B4-BE49-F238E27FC236}">
                  <a16:creationId xmlns:a16="http://schemas.microsoft.com/office/drawing/2014/main" id="{A7F95CCE-9F20-D291-C7A2-138D87EECAC4}"/>
                </a:ext>
              </a:extLst>
            </p:cNvPr>
            <p:cNvGrpSpPr/>
            <p:nvPr/>
          </p:nvGrpSpPr>
          <p:grpSpPr>
            <a:xfrm>
              <a:off x="6999289" y="5837239"/>
              <a:ext cx="95251" cy="73025"/>
              <a:chOff x="5475288" y="5837238"/>
              <a:chExt cx="95251" cy="73025"/>
            </a:xfrm>
            <a:grpFill/>
          </p:grpSpPr>
          <p:sp>
            <p:nvSpPr>
              <p:cNvPr id="39" name="Freeform 21">
                <a:extLst>
                  <a:ext uri="{FF2B5EF4-FFF2-40B4-BE49-F238E27FC236}">
                    <a16:creationId xmlns:a16="http://schemas.microsoft.com/office/drawing/2014/main" id="{20E34CBA-6AF6-F871-6099-10D941D022E3}"/>
                  </a:ext>
                </a:extLst>
              </p:cNvPr>
              <p:cNvSpPr>
                <a:spLocks/>
              </p:cNvSpPr>
              <p:nvPr/>
            </p:nvSpPr>
            <p:spPr bwMode="auto">
              <a:xfrm>
                <a:off x="5484813" y="5907088"/>
                <a:ext cx="3175" cy="3175"/>
              </a:xfrm>
              <a:custGeom>
                <a:avLst/>
                <a:gdLst>
                  <a:gd name="T0" fmla="*/ 3 w 8"/>
                  <a:gd name="T1" fmla="*/ 1 h 5"/>
                  <a:gd name="T2" fmla="*/ 7 w 8"/>
                  <a:gd name="T3" fmla="*/ 0 h 5"/>
                  <a:gd name="T4" fmla="*/ 7 w 8"/>
                  <a:gd name="T5" fmla="*/ 0 h 5"/>
                  <a:gd name="T6" fmla="*/ 8 w 8"/>
                  <a:gd name="T7" fmla="*/ 1 h 5"/>
                  <a:gd name="T8" fmla="*/ 7 w 8"/>
                  <a:gd name="T9" fmla="*/ 3 h 5"/>
                  <a:gd name="T10" fmla="*/ 7 w 8"/>
                  <a:gd name="T11" fmla="*/ 3 h 5"/>
                  <a:gd name="T12" fmla="*/ 7 w 8"/>
                  <a:gd name="T13" fmla="*/ 5 h 5"/>
                  <a:gd name="T14" fmla="*/ 3 w 8"/>
                  <a:gd name="T15" fmla="*/ 5 h 5"/>
                  <a:gd name="T16" fmla="*/ 0 w 8"/>
                  <a:gd name="T17" fmla="*/ 3 h 5"/>
                  <a:gd name="T18" fmla="*/ 3 w 8"/>
                  <a:gd name="T19" fmla="*/ 1 h 5"/>
                  <a:gd name="T20" fmla="*/ 3 w 8"/>
                  <a:gd name="T21" fmla="*/ 1 h 5"/>
                  <a:gd name="T22" fmla="*/ 3 w 8"/>
                  <a:gd name="T23" fmla="*/ 1 h 5"/>
                  <a:gd name="T24" fmla="*/ 3 w 8"/>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3" y="1"/>
                    </a:moveTo>
                    <a:lnTo>
                      <a:pt x="7" y="0"/>
                    </a:lnTo>
                    <a:lnTo>
                      <a:pt x="7" y="0"/>
                    </a:lnTo>
                    <a:lnTo>
                      <a:pt x="8" y="1"/>
                    </a:lnTo>
                    <a:lnTo>
                      <a:pt x="7" y="3"/>
                    </a:lnTo>
                    <a:lnTo>
                      <a:pt x="7" y="3"/>
                    </a:lnTo>
                    <a:lnTo>
                      <a:pt x="7" y="5"/>
                    </a:lnTo>
                    <a:lnTo>
                      <a:pt x="3" y="5"/>
                    </a:lnTo>
                    <a:lnTo>
                      <a:pt x="0" y="3"/>
                    </a:lnTo>
                    <a:lnTo>
                      <a:pt x="3" y="1"/>
                    </a:lnTo>
                    <a:lnTo>
                      <a:pt x="3" y="1"/>
                    </a:lnTo>
                    <a:lnTo>
                      <a:pt x="3" y="1"/>
                    </a:lnTo>
                    <a:lnTo>
                      <a:pt x="3" y="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0" name="Freeform 37">
                <a:extLst>
                  <a:ext uri="{FF2B5EF4-FFF2-40B4-BE49-F238E27FC236}">
                    <a16:creationId xmlns:a16="http://schemas.microsoft.com/office/drawing/2014/main" id="{A183795B-84F2-2C55-89CD-46D8C9CF9F78}"/>
                  </a:ext>
                </a:extLst>
              </p:cNvPr>
              <p:cNvSpPr>
                <a:spLocks/>
              </p:cNvSpPr>
              <p:nvPr/>
            </p:nvSpPr>
            <p:spPr bwMode="auto">
              <a:xfrm>
                <a:off x="5541963" y="5902326"/>
                <a:ext cx="1588" cy="1588"/>
              </a:xfrm>
              <a:custGeom>
                <a:avLst/>
                <a:gdLst>
                  <a:gd name="T0" fmla="*/ 4 w 4"/>
                  <a:gd name="T1" fmla="*/ 2 h 3"/>
                  <a:gd name="T2" fmla="*/ 1 w 4"/>
                  <a:gd name="T3" fmla="*/ 3 h 3"/>
                  <a:gd name="T4" fmla="*/ 0 w 4"/>
                  <a:gd name="T5" fmla="*/ 2 h 3"/>
                  <a:gd name="T6" fmla="*/ 0 w 4"/>
                  <a:gd name="T7" fmla="*/ 1 h 3"/>
                  <a:gd name="T8" fmla="*/ 3 w 4"/>
                  <a:gd name="T9" fmla="*/ 0 h 3"/>
                  <a:gd name="T10" fmla="*/ 4 w 4"/>
                  <a:gd name="T11" fmla="*/ 2 h 3"/>
                  <a:gd name="T12" fmla="*/ 4 w 4"/>
                  <a:gd name="T13" fmla="*/ 2 h 3"/>
                  <a:gd name="T14" fmla="*/ 4 w 4"/>
                  <a:gd name="T15" fmla="*/ 2 h 3"/>
                  <a:gd name="T16" fmla="*/ 4 w 4"/>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2"/>
                    </a:moveTo>
                    <a:lnTo>
                      <a:pt x="1" y="3"/>
                    </a:lnTo>
                    <a:lnTo>
                      <a:pt x="0" y="2"/>
                    </a:lnTo>
                    <a:lnTo>
                      <a:pt x="0" y="1"/>
                    </a:lnTo>
                    <a:lnTo>
                      <a:pt x="3" y="0"/>
                    </a:lnTo>
                    <a:lnTo>
                      <a:pt x="4" y="2"/>
                    </a:lnTo>
                    <a:lnTo>
                      <a:pt x="4" y="2"/>
                    </a:lnTo>
                    <a:lnTo>
                      <a:pt x="4" y="2"/>
                    </a:lnTo>
                    <a:lnTo>
                      <a:pt x="4" y="2"/>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1" name="Freeform 71">
                <a:extLst>
                  <a:ext uri="{FF2B5EF4-FFF2-40B4-BE49-F238E27FC236}">
                    <a16:creationId xmlns:a16="http://schemas.microsoft.com/office/drawing/2014/main" id="{FB84C3E5-E592-B94C-0D45-3C1BFED55C81}"/>
                  </a:ext>
                </a:extLst>
              </p:cNvPr>
              <p:cNvSpPr>
                <a:spLocks/>
              </p:cNvSpPr>
              <p:nvPr/>
            </p:nvSpPr>
            <p:spPr bwMode="auto">
              <a:xfrm>
                <a:off x="5486400" y="5905501"/>
                <a:ext cx="1588" cy="1588"/>
              </a:xfrm>
              <a:custGeom>
                <a:avLst/>
                <a:gdLst>
                  <a:gd name="T0" fmla="*/ 2 w 5"/>
                  <a:gd name="T1" fmla="*/ 3 h 3"/>
                  <a:gd name="T2" fmla="*/ 0 w 5"/>
                  <a:gd name="T3" fmla="*/ 0 h 3"/>
                  <a:gd name="T4" fmla="*/ 4 w 5"/>
                  <a:gd name="T5" fmla="*/ 0 h 3"/>
                  <a:gd name="T6" fmla="*/ 5 w 5"/>
                  <a:gd name="T7" fmla="*/ 3 h 3"/>
                  <a:gd name="T8" fmla="*/ 2 w 5"/>
                  <a:gd name="T9" fmla="*/ 3 h 3"/>
                  <a:gd name="T10" fmla="*/ 2 w 5"/>
                  <a:gd name="T11" fmla="*/ 3 h 3"/>
                  <a:gd name="T12" fmla="*/ 2 w 5"/>
                  <a:gd name="T13" fmla="*/ 3 h 3"/>
                  <a:gd name="T14" fmla="*/ 2 w 5"/>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2" y="3"/>
                    </a:moveTo>
                    <a:lnTo>
                      <a:pt x="0" y="0"/>
                    </a:lnTo>
                    <a:lnTo>
                      <a:pt x="4" y="0"/>
                    </a:lnTo>
                    <a:lnTo>
                      <a:pt x="5" y="3"/>
                    </a:lnTo>
                    <a:lnTo>
                      <a:pt x="2" y="3"/>
                    </a:lnTo>
                    <a:lnTo>
                      <a:pt x="2" y="3"/>
                    </a:lnTo>
                    <a:lnTo>
                      <a:pt x="2" y="3"/>
                    </a:lnTo>
                    <a:lnTo>
                      <a:pt x="2" y="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2" name="Freeform 537">
                <a:extLst>
                  <a:ext uri="{FF2B5EF4-FFF2-40B4-BE49-F238E27FC236}">
                    <a16:creationId xmlns:a16="http://schemas.microsoft.com/office/drawing/2014/main" id="{3F4A2703-6836-1FA0-C9F1-7B76517F34D0}"/>
                  </a:ext>
                </a:extLst>
              </p:cNvPr>
              <p:cNvSpPr>
                <a:spLocks/>
              </p:cNvSpPr>
              <p:nvPr/>
            </p:nvSpPr>
            <p:spPr bwMode="auto">
              <a:xfrm>
                <a:off x="5546726" y="5837238"/>
                <a:ext cx="3175" cy="4763"/>
              </a:xfrm>
              <a:custGeom>
                <a:avLst/>
                <a:gdLst>
                  <a:gd name="T0" fmla="*/ 1 w 6"/>
                  <a:gd name="T1" fmla="*/ 0 h 7"/>
                  <a:gd name="T2" fmla="*/ 6 w 6"/>
                  <a:gd name="T3" fmla="*/ 3 h 7"/>
                  <a:gd name="T4" fmla="*/ 2 w 6"/>
                  <a:gd name="T5" fmla="*/ 4 h 7"/>
                  <a:gd name="T6" fmla="*/ 4 w 6"/>
                  <a:gd name="T7" fmla="*/ 6 h 7"/>
                  <a:gd name="T8" fmla="*/ 2 w 6"/>
                  <a:gd name="T9" fmla="*/ 7 h 7"/>
                  <a:gd name="T10" fmla="*/ 0 w 6"/>
                  <a:gd name="T11" fmla="*/ 6 h 7"/>
                  <a:gd name="T12" fmla="*/ 0 w 6"/>
                  <a:gd name="T13" fmla="*/ 4 h 7"/>
                  <a:gd name="T14" fmla="*/ 0 w 6"/>
                  <a:gd name="T15" fmla="*/ 0 h 7"/>
                  <a:gd name="T16" fmla="*/ 1 w 6"/>
                  <a:gd name="T17" fmla="*/ 0 h 7"/>
                  <a:gd name="T18" fmla="*/ 1 w 6"/>
                  <a:gd name="T19" fmla="*/ 0 h 7"/>
                  <a:gd name="T20" fmla="*/ 1 w 6"/>
                  <a:gd name="T21" fmla="*/ 0 h 7"/>
                  <a:gd name="T22" fmla="*/ 1 w 6"/>
                  <a:gd name="T23" fmla="*/ 0 h 7"/>
                  <a:gd name="T24" fmla="*/ 1 w 6"/>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7">
                    <a:moveTo>
                      <a:pt x="1" y="0"/>
                    </a:moveTo>
                    <a:lnTo>
                      <a:pt x="6" y="3"/>
                    </a:lnTo>
                    <a:lnTo>
                      <a:pt x="2" y="4"/>
                    </a:lnTo>
                    <a:lnTo>
                      <a:pt x="4" y="6"/>
                    </a:lnTo>
                    <a:lnTo>
                      <a:pt x="2" y="7"/>
                    </a:lnTo>
                    <a:lnTo>
                      <a:pt x="0" y="6"/>
                    </a:lnTo>
                    <a:lnTo>
                      <a:pt x="0" y="4"/>
                    </a:lnTo>
                    <a:lnTo>
                      <a:pt x="0" y="0"/>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3" name="Freeform 538">
                <a:extLst>
                  <a:ext uri="{FF2B5EF4-FFF2-40B4-BE49-F238E27FC236}">
                    <a16:creationId xmlns:a16="http://schemas.microsoft.com/office/drawing/2014/main" id="{98BDBFD6-E76A-A72B-23C4-214EFED62C5B}"/>
                  </a:ext>
                </a:extLst>
              </p:cNvPr>
              <p:cNvSpPr>
                <a:spLocks/>
              </p:cNvSpPr>
              <p:nvPr/>
            </p:nvSpPr>
            <p:spPr bwMode="auto">
              <a:xfrm>
                <a:off x="5568951" y="5838826"/>
                <a:ext cx="1588" cy="1588"/>
              </a:xfrm>
              <a:custGeom>
                <a:avLst/>
                <a:gdLst>
                  <a:gd name="T0" fmla="*/ 2 w 3"/>
                  <a:gd name="T1" fmla="*/ 0 h 3"/>
                  <a:gd name="T2" fmla="*/ 3 w 3"/>
                  <a:gd name="T3" fmla="*/ 2 h 3"/>
                  <a:gd name="T4" fmla="*/ 2 w 3"/>
                  <a:gd name="T5" fmla="*/ 3 h 3"/>
                  <a:gd name="T6" fmla="*/ 0 w 3"/>
                  <a:gd name="T7" fmla="*/ 0 h 3"/>
                  <a:gd name="T8" fmla="*/ 2 w 3"/>
                  <a:gd name="T9" fmla="*/ 0 h 3"/>
                  <a:gd name="T10" fmla="*/ 2 w 3"/>
                  <a:gd name="T11" fmla="*/ 0 h 3"/>
                  <a:gd name="T12" fmla="*/ 2 w 3"/>
                  <a:gd name="T13" fmla="*/ 0 h 3"/>
                  <a:gd name="T14" fmla="*/ 2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0"/>
                    </a:moveTo>
                    <a:lnTo>
                      <a:pt x="3" y="2"/>
                    </a:lnTo>
                    <a:lnTo>
                      <a:pt x="2" y="3"/>
                    </a:lnTo>
                    <a:lnTo>
                      <a:pt x="0" y="0"/>
                    </a:lnTo>
                    <a:lnTo>
                      <a:pt x="2" y="0"/>
                    </a:lnTo>
                    <a:lnTo>
                      <a:pt x="2" y="0"/>
                    </a:lnTo>
                    <a:lnTo>
                      <a:pt x="2"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4" name="Freeform 539">
                <a:extLst>
                  <a:ext uri="{FF2B5EF4-FFF2-40B4-BE49-F238E27FC236}">
                    <a16:creationId xmlns:a16="http://schemas.microsoft.com/office/drawing/2014/main" id="{49D91E57-F54B-6147-A59C-7A92A01E939B}"/>
                  </a:ext>
                </a:extLst>
              </p:cNvPr>
              <p:cNvSpPr>
                <a:spLocks/>
              </p:cNvSpPr>
              <p:nvPr/>
            </p:nvSpPr>
            <p:spPr bwMode="auto">
              <a:xfrm>
                <a:off x="5484813" y="5838826"/>
                <a:ext cx="80963" cy="50800"/>
              </a:xfrm>
              <a:custGeom>
                <a:avLst/>
                <a:gdLst>
                  <a:gd name="T0" fmla="*/ 93 w 154"/>
                  <a:gd name="T1" fmla="*/ 8 h 96"/>
                  <a:gd name="T2" fmla="*/ 109 w 154"/>
                  <a:gd name="T3" fmla="*/ 7 h 96"/>
                  <a:gd name="T4" fmla="*/ 114 w 154"/>
                  <a:gd name="T5" fmla="*/ 14 h 96"/>
                  <a:gd name="T6" fmla="*/ 130 w 154"/>
                  <a:gd name="T7" fmla="*/ 16 h 96"/>
                  <a:gd name="T8" fmla="*/ 108 w 154"/>
                  <a:gd name="T9" fmla="*/ 33 h 96"/>
                  <a:gd name="T10" fmla="*/ 103 w 154"/>
                  <a:gd name="T11" fmla="*/ 32 h 96"/>
                  <a:gd name="T12" fmla="*/ 79 w 154"/>
                  <a:gd name="T13" fmla="*/ 35 h 96"/>
                  <a:gd name="T14" fmla="*/ 93 w 154"/>
                  <a:gd name="T15" fmla="*/ 43 h 96"/>
                  <a:gd name="T16" fmla="*/ 88 w 154"/>
                  <a:gd name="T17" fmla="*/ 57 h 96"/>
                  <a:gd name="T18" fmla="*/ 91 w 154"/>
                  <a:gd name="T19" fmla="*/ 57 h 96"/>
                  <a:gd name="T20" fmla="*/ 111 w 154"/>
                  <a:gd name="T21" fmla="*/ 40 h 96"/>
                  <a:gd name="T22" fmla="*/ 112 w 154"/>
                  <a:gd name="T23" fmla="*/ 45 h 96"/>
                  <a:gd name="T24" fmla="*/ 115 w 154"/>
                  <a:gd name="T25" fmla="*/ 36 h 96"/>
                  <a:gd name="T26" fmla="*/ 124 w 154"/>
                  <a:gd name="T27" fmla="*/ 26 h 96"/>
                  <a:gd name="T28" fmla="*/ 133 w 154"/>
                  <a:gd name="T29" fmla="*/ 38 h 96"/>
                  <a:gd name="T30" fmla="*/ 138 w 154"/>
                  <a:gd name="T31" fmla="*/ 40 h 96"/>
                  <a:gd name="T32" fmla="*/ 143 w 154"/>
                  <a:gd name="T33" fmla="*/ 35 h 96"/>
                  <a:gd name="T34" fmla="*/ 154 w 154"/>
                  <a:gd name="T35" fmla="*/ 44 h 96"/>
                  <a:gd name="T36" fmla="*/ 150 w 154"/>
                  <a:gd name="T37" fmla="*/ 53 h 96"/>
                  <a:gd name="T38" fmla="*/ 147 w 154"/>
                  <a:gd name="T39" fmla="*/ 60 h 96"/>
                  <a:gd name="T40" fmla="*/ 124 w 154"/>
                  <a:gd name="T41" fmla="*/ 52 h 96"/>
                  <a:gd name="T42" fmla="*/ 108 w 154"/>
                  <a:gd name="T43" fmla="*/ 61 h 96"/>
                  <a:gd name="T44" fmla="*/ 107 w 154"/>
                  <a:gd name="T45" fmla="*/ 65 h 96"/>
                  <a:gd name="T46" fmla="*/ 120 w 154"/>
                  <a:gd name="T47" fmla="*/ 76 h 96"/>
                  <a:gd name="T48" fmla="*/ 127 w 154"/>
                  <a:gd name="T49" fmla="*/ 83 h 96"/>
                  <a:gd name="T50" fmla="*/ 123 w 154"/>
                  <a:gd name="T51" fmla="*/ 90 h 96"/>
                  <a:gd name="T52" fmla="*/ 124 w 154"/>
                  <a:gd name="T53" fmla="*/ 96 h 96"/>
                  <a:gd name="T54" fmla="*/ 116 w 154"/>
                  <a:gd name="T55" fmla="*/ 92 h 96"/>
                  <a:gd name="T56" fmla="*/ 109 w 154"/>
                  <a:gd name="T57" fmla="*/ 77 h 96"/>
                  <a:gd name="T58" fmla="*/ 104 w 154"/>
                  <a:gd name="T59" fmla="*/ 87 h 96"/>
                  <a:gd name="T60" fmla="*/ 92 w 154"/>
                  <a:gd name="T61" fmla="*/ 76 h 96"/>
                  <a:gd name="T62" fmla="*/ 83 w 154"/>
                  <a:gd name="T63" fmla="*/ 86 h 96"/>
                  <a:gd name="T64" fmla="*/ 79 w 154"/>
                  <a:gd name="T65" fmla="*/ 75 h 96"/>
                  <a:gd name="T66" fmla="*/ 64 w 154"/>
                  <a:gd name="T67" fmla="*/ 62 h 96"/>
                  <a:gd name="T68" fmla="*/ 56 w 154"/>
                  <a:gd name="T69" fmla="*/ 64 h 96"/>
                  <a:gd name="T70" fmla="*/ 31 w 154"/>
                  <a:gd name="T71" fmla="*/ 65 h 96"/>
                  <a:gd name="T72" fmla="*/ 17 w 154"/>
                  <a:gd name="T73" fmla="*/ 65 h 96"/>
                  <a:gd name="T74" fmla="*/ 4 w 154"/>
                  <a:gd name="T75" fmla="*/ 64 h 96"/>
                  <a:gd name="T76" fmla="*/ 0 w 154"/>
                  <a:gd name="T77" fmla="*/ 51 h 96"/>
                  <a:gd name="T78" fmla="*/ 14 w 154"/>
                  <a:gd name="T79" fmla="*/ 38 h 96"/>
                  <a:gd name="T80" fmla="*/ 28 w 154"/>
                  <a:gd name="T81" fmla="*/ 26 h 96"/>
                  <a:gd name="T82" fmla="*/ 31 w 154"/>
                  <a:gd name="T83" fmla="*/ 31 h 96"/>
                  <a:gd name="T84" fmla="*/ 39 w 154"/>
                  <a:gd name="T85" fmla="*/ 27 h 96"/>
                  <a:gd name="T86" fmla="*/ 39 w 154"/>
                  <a:gd name="T87" fmla="*/ 14 h 96"/>
                  <a:gd name="T88" fmla="*/ 53 w 154"/>
                  <a:gd name="T89" fmla="*/ 8 h 96"/>
                  <a:gd name="T90" fmla="*/ 100 w 154"/>
                  <a:gd name="T9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4" h="96">
                    <a:moveTo>
                      <a:pt x="100" y="0"/>
                    </a:moveTo>
                    <a:lnTo>
                      <a:pt x="94" y="5"/>
                    </a:lnTo>
                    <a:lnTo>
                      <a:pt x="93" y="8"/>
                    </a:lnTo>
                    <a:lnTo>
                      <a:pt x="93" y="9"/>
                    </a:lnTo>
                    <a:lnTo>
                      <a:pt x="106" y="2"/>
                    </a:lnTo>
                    <a:lnTo>
                      <a:pt x="109" y="7"/>
                    </a:lnTo>
                    <a:lnTo>
                      <a:pt x="115" y="9"/>
                    </a:lnTo>
                    <a:lnTo>
                      <a:pt x="112" y="13"/>
                    </a:lnTo>
                    <a:lnTo>
                      <a:pt x="114" y="14"/>
                    </a:lnTo>
                    <a:lnTo>
                      <a:pt x="121" y="17"/>
                    </a:lnTo>
                    <a:lnTo>
                      <a:pt x="132" y="14"/>
                    </a:lnTo>
                    <a:lnTo>
                      <a:pt x="130" y="16"/>
                    </a:lnTo>
                    <a:lnTo>
                      <a:pt x="128" y="18"/>
                    </a:lnTo>
                    <a:lnTo>
                      <a:pt x="115" y="26"/>
                    </a:lnTo>
                    <a:lnTo>
                      <a:pt x="108" y="33"/>
                    </a:lnTo>
                    <a:lnTo>
                      <a:pt x="105" y="34"/>
                    </a:lnTo>
                    <a:lnTo>
                      <a:pt x="103" y="32"/>
                    </a:lnTo>
                    <a:lnTo>
                      <a:pt x="103" y="32"/>
                    </a:lnTo>
                    <a:lnTo>
                      <a:pt x="99" y="27"/>
                    </a:lnTo>
                    <a:lnTo>
                      <a:pt x="79" y="34"/>
                    </a:lnTo>
                    <a:lnTo>
                      <a:pt x="79" y="35"/>
                    </a:lnTo>
                    <a:lnTo>
                      <a:pt x="81" y="38"/>
                    </a:lnTo>
                    <a:lnTo>
                      <a:pt x="90" y="40"/>
                    </a:lnTo>
                    <a:lnTo>
                      <a:pt x="93" y="43"/>
                    </a:lnTo>
                    <a:lnTo>
                      <a:pt x="94" y="46"/>
                    </a:lnTo>
                    <a:lnTo>
                      <a:pt x="93" y="48"/>
                    </a:lnTo>
                    <a:lnTo>
                      <a:pt x="88" y="57"/>
                    </a:lnTo>
                    <a:lnTo>
                      <a:pt x="88" y="58"/>
                    </a:lnTo>
                    <a:lnTo>
                      <a:pt x="90" y="58"/>
                    </a:lnTo>
                    <a:lnTo>
                      <a:pt x="91" y="57"/>
                    </a:lnTo>
                    <a:lnTo>
                      <a:pt x="101" y="43"/>
                    </a:lnTo>
                    <a:lnTo>
                      <a:pt x="103" y="41"/>
                    </a:lnTo>
                    <a:lnTo>
                      <a:pt x="111" y="40"/>
                    </a:lnTo>
                    <a:lnTo>
                      <a:pt x="112" y="41"/>
                    </a:lnTo>
                    <a:lnTo>
                      <a:pt x="111" y="45"/>
                    </a:lnTo>
                    <a:lnTo>
                      <a:pt x="112" y="45"/>
                    </a:lnTo>
                    <a:lnTo>
                      <a:pt x="115" y="45"/>
                    </a:lnTo>
                    <a:lnTo>
                      <a:pt x="117" y="41"/>
                    </a:lnTo>
                    <a:lnTo>
                      <a:pt x="115" y="36"/>
                    </a:lnTo>
                    <a:lnTo>
                      <a:pt x="115" y="34"/>
                    </a:lnTo>
                    <a:lnTo>
                      <a:pt x="120" y="31"/>
                    </a:lnTo>
                    <a:lnTo>
                      <a:pt x="124" y="26"/>
                    </a:lnTo>
                    <a:lnTo>
                      <a:pt x="128" y="25"/>
                    </a:lnTo>
                    <a:lnTo>
                      <a:pt x="135" y="26"/>
                    </a:lnTo>
                    <a:lnTo>
                      <a:pt x="133" y="38"/>
                    </a:lnTo>
                    <a:lnTo>
                      <a:pt x="135" y="41"/>
                    </a:lnTo>
                    <a:lnTo>
                      <a:pt x="137" y="42"/>
                    </a:lnTo>
                    <a:lnTo>
                      <a:pt x="138" y="40"/>
                    </a:lnTo>
                    <a:lnTo>
                      <a:pt x="139" y="33"/>
                    </a:lnTo>
                    <a:lnTo>
                      <a:pt x="141" y="31"/>
                    </a:lnTo>
                    <a:lnTo>
                      <a:pt x="143" y="35"/>
                    </a:lnTo>
                    <a:lnTo>
                      <a:pt x="152" y="35"/>
                    </a:lnTo>
                    <a:lnTo>
                      <a:pt x="154" y="39"/>
                    </a:lnTo>
                    <a:lnTo>
                      <a:pt x="154" y="44"/>
                    </a:lnTo>
                    <a:lnTo>
                      <a:pt x="148" y="44"/>
                    </a:lnTo>
                    <a:lnTo>
                      <a:pt x="144" y="49"/>
                    </a:lnTo>
                    <a:lnTo>
                      <a:pt x="150" y="53"/>
                    </a:lnTo>
                    <a:lnTo>
                      <a:pt x="151" y="57"/>
                    </a:lnTo>
                    <a:lnTo>
                      <a:pt x="150" y="59"/>
                    </a:lnTo>
                    <a:lnTo>
                      <a:pt x="147" y="60"/>
                    </a:lnTo>
                    <a:lnTo>
                      <a:pt x="136" y="58"/>
                    </a:lnTo>
                    <a:lnTo>
                      <a:pt x="136" y="58"/>
                    </a:lnTo>
                    <a:lnTo>
                      <a:pt x="124" y="52"/>
                    </a:lnTo>
                    <a:lnTo>
                      <a:pt x="120" y="52"/>
                    </a:lnTo>
                    <a:lnTo>
                      <a:pt x="116" y="53"/>
                    </a:lnTo>
                    <a:lnTo>
                      <a:pt x="108" y="61"/>
                    </a:lnTo>
                    <a:lnTo>
                      <a:pt x="109" y="61"/>
                    </a:lnTo>
                    <a:lnTo>
                      <a:pt x="107" y="63"/>
                    </a:lnTo>
                    <a:lnTo>
                      <a:pt x="107" y="65"/>
                    </a:lnTo>
                    <a:lnTo>
                      <a:pt x="112" y="69"/>
                    </a:lnTo>
                    <a:lnTo>
                      <a:pt x="115" y="74"/>
                    </a:lnTo>
                    <a:lnTo>
                      <a:pt x="120" y="76"/>
                    </a:lnTo>
                    <a:lnTo>
                      <a:pt x="120" y="77"/>
                    </a:lnTo>
                    <a:lnTo>
                      <a:pt x="124" y="79"/>
                    </a:lnTo>
                    <a:lnTo>
                      <a:pt x="127" y="83"/>
                    </a:lnTo>
                    <a:lnTo>
                      <a:pt x="126" y="85"/>
                    </a:lnTo>
                    <a:lnTo>
                      <a:pt x="121" y="88"/>
                    </a:lnTo>
                    <a:lnTo>
                      <a:pt x="123" y="90"/>
                    </a:lnTo>
                    <a:lnTo>
                      <a:pt x="125" y="90"/>
                    </a:lnTo>
                    <a:lnTo>
                      <a:pt x="125" y="95"/>
                    </a:lnTo>
                    <a:lnTo>
                      <a:pt x="124" y="96"/>
                    </a:lnTo>
                    <a:lnTo>
                      <a:pt x="121" y="96"/>
                    </a:lnTo>
                    <a:lnTo>
                      <a:pt x="118" y="94"/>
                    </a:lnTo>
                    <a:lnTo>
                      <a:pt x="116" y="92"/>
                    </a:lnTo>
                    <a:lnTo>
                      <a:pt x="114" y="81"/>
                    </a:lnTo>
                    <a:lnTo>
                      <a:pt x="110" y="77"/>
                    </a:lnTo>
                    <a:lnTo>
                      <a:pt x="109" y="77"/>
                    </a:lnTo>
                    <a:lnTo>
                      <a:pt x="109" y="83"/>
                    </a:lnTo>
                    <a:lnTo>
                      <a:pt x="107" y="87"/>
                    </a:lnTo>
                    <a:lnTo>
                      <a:pt x="104" y="87"/>
                    </a:lnTo>
                    <a:lnTo>
                      <a:pt x="101" y="85"/>
                    </a:lnTo>
                    <a:lnTo>
                      <a:pt x="96" y="78"/>
                    </a:lnTo>
                    <a:lnTo>
                      <a:pt x="92" y="76"/>
                    </a:lnTo>
                    <a:lnTo>
                      <a:pt x="92" y="80"/>
                    </a:lnTo>
                    <a:lnTo>
                      <a:pt x="92" y="82"/>
                    </a:lnTo>
                    <a:lnTo>
                      <a:pt x="83" y="86"/>
                    </a:lnTo>
                    <a:lnTo>
                      <a:pt x="82" y="85"/>
                    </a:lnTo>
                    <a:lnTo>
                      <a:pt x="81" y="79"/>
                    </a:lnTo>
                    <a:lnTo>
                      <a:pt x="79" y="75"/>
                    </a:lnTo>
                    <a:lnTo>
                      <a:pt x="75" y="74"/>
                    </a:lnTo>
                    <a:lnTo>
                      <a:pt x="68" y="71"/>
                    </a:lnTo>
                    <a:lnTo>
                      <a:pt x="64" y="62"/>
                    </a:lnTo>
                    <a:lnTo>
                      <a:pt x="62" y="62"/>
                    </a:lnTo>
                    <a:lnTo>
                      <a:pt x="56" y="64"/>
                    </a:lnTo>
                    <a:lnTo>
                      <a:pt x="56" y="64"/>
                    </a:lnTo>
                    <a:lnTo>
                      <a:pt x="38" y="68"/>
                    </a:lnTo>
                    <a:lnTo>
                      <a:pt x="35" y="67"/>
                    </a:lnTo>
                    <a:lnTo>
                      <a:pt x="31" y="65"/>
                    </a:lnTo>
                    <a:lnTo>
                      <a:pt x="27" y="67"/>
                    </a:lnTo>
                    <a:lnTo>
                      <a:pt x="20" y="57"/>
                    </a:lnTo>
                    <a:lnTo>
                      <a:pt x="17" y="65"/>
                    </a:lnTo>
                    <a:lnTo>
                      <a:pt x="14" y="66"/>
                    </a:lnTo>
                    <a:lnTo>
                      <a:pt x="10" y="66"/>
                    </a:lnTo>
                    <a:lnTo>
                      <a:pt x="4" y="64"/>
                    </a:lnTo>
                    <a:lnTo>
                      <a:pt x="6" y="60"/>
                    </a:lnTo>
                    <a:lnTo>
                      <a:pt x="0" y="52"/>
                    </a:lnTo>
                    <a:lnTo>
                      <a:pt x="0" y="51"/>
                    </a:lnTo>
                    <a:lnTo>
                      <a:pt x="2" y="49"/>
                    </a:lnTo>
                    <a:lnTo>
                      <a:pt x="12" y="46"/>
                    </a:lnTo>
                    <a:lnTo>
                      <a:pt x="14" y="38"/>
                    </a:lnTo>
                    <a:lnTo>
                      <a:pt x="20" y="36"/>
                    </a:lnTo>
                    <a:lnTo>
                      <a:pt x="24" y="30"/>
                    </a:lnTo>
                    <a:lnTo>
                      <a:pt x="28" y="26"/>
                    </a:lnTo>
                    <a:lnTo>
                      <a:pt x="30" y="25"/>
                    </a:lnTo>
                    <a:lnTo>
                      <a:pt x="31" y="26"/>
                    </a:lnTo>
                    <a:lnTo>
                      <a:pt x="31" y="31"/>
                    </a:lnTo>
                    <a:lnTo>
                      <a:pt x="34" y="31"/>
                    </a:lnTo>
                    <a:lnTo>
                      <a:pt x="38" y="28"/>
                    </a:lnTo>
                    <a:lnTo>
                      <a:pt x="39" y="27"/>
                    </a:lnTo>
                    <a:lnTo>
                      <a:pt x="37" y="23"/>
                    </a:lnTo>
                    <a:lnTo>
                      <a:pt x="42" y="20"/>
                    </a:lnTo>
                    <a:lnTo>
                      <a:pt x="39" y="14"/>
                    </a:lnTo>
                    <a:lnTo>
                      <a:pt x="39" y="14"/>
                    </a:lnTo>
                    <a:lnTo>
                      <a:pt x="53" y="8"/>
                    </a:lnTo>
                    <a:lnTo>
                      <a:pt x="53" y="8"/>
                    </a:lnTo>
                    <a:lnTo>
                      <a:pt x="79" y="6"/>
                    </a:lnTo>
                    <a:lnTo>
                      <a:pt x="100" y="0"/>
                    </a:lnTo>
                    <a:lnTo>
                      <a:pt x="100" y="0"/>
                    </a:lnTo>
                    <a:lnTo>
                      <a:pt x="100" y="0"/>
                    </a:lnTo>
                    <a:lnTo>
                      <a:pt x="100"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5" name="Freeform 542">
                <a:extLst>
                  <a:ext uri="{FF2B5EF4-FFF2-40B4-BE49-F238E27FC236}">
                    <a16:creationId xmlns:a16="http://schemas.microsoft.com/office/drawing/2014/main" id="{804F90ED-2907-FF02-F603-F81C593CBDAA}"/>
                  </a:ext>
                </a:extLst>
              </p:cNvPr>
              <p:cNvSpPr>
                <a:spLocks/>
              </p:cNvSpPr>
              <p:nvPr/>
            </p:nvSpPr>
            <p:spPr bwMode="auto">
              <a:xfrm>
                <a:off x="5548313" y="5843588"/>
                <a:ext cx="3175" cy="3175"/>
              </a:xfrm>
              <a:custGeom>
                <a:avLst/>
                <a:gdLst>
                  <a:gd name="T0" fmla="*/ 4 w 5"/>
                  <a:gd name="T1" fmla="*/ 0 h 5"/>
                  <a:gd name="T2" fmla="*/ 5 w 5"/>
                  <a:gd name="T3" fmla="*/ 2 h 5"/>
                  <a:gd name="T4" fmla="*/ 3 w 5"/>
                  <a:gd name="T5" fmla="*/ 5 h 5"/>
                  <a:gd name="T6" fmla="*/ 0 w 5"/>
                  <a:gd name="T7" fmla="*/ 5 h 5"/>
                  <a:gd name="T8" fmla="*/ 0 w 5"/>
                  <a:gd name="T9" fmla="*/ 3 h 5"/>
                  <a:gd name="T10" fmla="*/ 4 w 5"/>
                  <a:gd name="T11" fmla="*/ 0 h 5"/>
                  <a:gd name="T12" fmla="*/ 4 w 5"/>
                  <a:gd name="T13" fmla="*/ 0 h 5"/>
                  <a:gd name="T14" fmla="*/ 4 w 5"/>
                  <a:gd name="T15" fmla="*/ 0 h 5"/>
                  <a:gd name="T16" fmla="*/ 4 w 5"/>
                  <a:gd name="T17" fmla="*/ 0 h 5"/>
                  <a:gd name="T18" fmla="*/ 4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0"/>
                    </a:moveTo>
                    <a:lnTo>
                      <a:pt x="5" y="2"/>
                    </a:lnTo>
                    <a:lnTo>
                      <a:pt x="3" y="5"/>
                    </a:lnTo>
                    <a:lnTo>
                      <a:pt x="0" y="5"/>
                    </a:lnTo>
                    <a:lnTo>
                      <a:pt x="0" y="3"/>
                    </a:lnTo>
                    <a:lnTo>
                      <a:pt x="4" y="0"/>
                    </a:lnTo>
                    <a:lnTo>
                      <a:pt x="4" y="0"/>
                    </a:lnTo>
                    <a:lnTo>
                      <a:pt x="4" y="0"/>
                    </a:lnTo>
                    <a:lnTo>
                      <a:pt x="4" y="0"/>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6" name="Freeform 543">
                <a:extLst>
                  <a:ext uri="{FF2B5EF4-FFF2-40B4-BE49-F238E27FC236}">
                    <a16:creationId xmlns:a16="http://schemas.microsoft.com/office/drawing/2014/main" id="{4ECB029B-D268-06BA-7F8D-9EEFB59BF018}"/>
                  </a:ext>
                </a:extLst>
              </p:cNvPr>
              <p:cNvSpPr>
                <a:spLocks/>
              </p:cNvSpPr>
              <p:nvPr/>
            </p:nvSpPr>
            <p:spPr bwMode="auto">
              <a:xfrm>
                <a:off x="5557838" y="5846763"/>
                <a:ext cx="1588" cy="0"/>
              </a:xfrm>
              <a:custGeom>
                <a:avLst/>
                <a:gdLst>
                  <a:gd name="T0" fmla="*/ 1 w 3"/>
                  <a:gd name="T1" fmla="*/ 0 h 2"/>
                  <a:gd name="T2" fmla="*/ 3 w 3"/>
                  <a:gd name="T3" fmla="*/ 1 h 2"/>
                  <a:gd name="T4" fmla="*/ 1 w 3"/>
                  <a:gd name="T5" fmla="*/ 2 h 2"/>
                  <a:gd name="T6" fmla="*/ 0 w 3"/>
                  <a:gd name="T7" fmla="*/ 0 h 2"/>
                  <a:gd name="T8" fmla="*/ 1 w 3"/>
                  <a:gd name="T9" fmla="*/ 0 h 2"/>
                  <a:gd name="T10" fmla="*/ 1 w 3"/>
                  <a:gd name="T11" fmla="*/ 0 h 2"/>
                  <a:gd name="T12" fmla="*/ 1 w 3"/>
                  <a:gd name="T13" fmla="*/ 0 h 2"/>
                  <a:gd name="T14" fmla="*/ 1 w 3"/>
                  <a:gd name="T15" fmla="*/ 0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lnTo>
                      <a:pt x="3" y="1"/>
                    </a:lnTo>
                    <a:lnTo>
                      <a:pt x="1" y="2"/>
                    </a:lnTo>
                    <a:lnTo>
                      <a:pt x="0" y="0"/>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7" name="Freeform 546">
                <a:extLst>
                  <a:ext uri="{FF2B5EF4-FFF2-40B4-BE49-F238E27FC236}">
                    <a16:creationId xmlns:a16="http://schemas.microsoft.com/office/drawing/2014/main" id="{2721D66D-24E0-05B0-2EFB-5D26EC681225}"/>
                  </a:ext>
                </a:extLst>
              </p:cNvPr>
              <p:cNvSpPr>
                <a:spLocks/>
              </p:cNvSpPr>
              <p:nvPr/>
            </p:nvSpPr>
            <p:spPr bwMode="auto">
              <a:xfrm>
                <a:off x="5557838" y="5849938"/>
                <a:ext cx="1588" cy="3175"/>
              </a:xfrm>
              <a:custGeom>
                <a:avLst/>
                <a:gdLst>
                  <a:gd name="T0" fmla="*/ 0 w 3"/>
                  <a:gd name="T1" fmla="*/ 2 h 6"/>
                  <a:gd name="T2" fmla="*/ 1 w 3"/>
                  <a:gd name="T3" fmla="*/ 0 h 6"/>
                  <a:gd name="T4" fmla="*/ 3 w 3"/>
                  <a:gd name="T5" fmla="*/ 2 h 6"/>
                  <a:gd name="T6" fmla="*/ 2 w 3"/>
                  <a:gd name="T7" fmla="*/ 6 h 6"/>
                  <a:gd name="T8" fmla="*/ 0 w 3"/>
                  <a:gd name="T9" fmla="*/ 2 h 6"/>
                  <a:gd name="T10" fmla="*/ 0 w 3"/>
                  <a:gd name="T11" fmla="*/ 2 h 6"/>
                  <a:gd name="T12" fmla="*/ 0 w 3"/>
                  <a:gd name="T13" fmla="*/ 2 h 6"/>
                  <a:gd name="T14" fmla="*/ 0 w 3"/>
                  <a:gd name="T15" fmla="*/ 2 h 6"/>
                  <a:gd name="T16" fmla="*/ 0 w 3"/>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2"/>
                    </a:moveTo>
                    <a:lnTo>
                      <a:pt x="1" y="0"/>
                    </a:lnTo>
                    <a:lnTo>
                      <a:pt x="3" y="2"/>
                    </a:lnTo>
                    <a:lnTo>
                      <a:pt x="2" y="6"/>
                    </a:lnTo>
                    <a:lnTo>
                      <a:pt x="0" y="2"/>
                    </a:lnTo>
                    <a:lnTo>
                      <a:pt x="0" y="2"/>
                    </a:lnTo>
                    <a:lnTo>
                      <a:pt x="0" y="2"/>
                    </a:lnTo>
                    <a:lnTo>
                      <a:pt x="0" y="2"/>
                    </a:lnTo>
                    <a:lnTo>
                      <a:pt x="0" y="2"/>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8" name="Freeform 548">
                <a:extLst>
                  <a:ext uri="{FF2B5EF4-FFF2-40B4-BE49-F238E27FC236}">
                    <a16:creationId xmlns:a16="http://schemas.microsoft.com/office/drawing/2014/main" id="{AA0EDF45-A284-4044-A0F6-BE04A39807E3}"/>
                  </a:ext>
                </a:extLst>
              </p:cNvPr>
              <p:cNvSpPr>
                <a:spLocks/>
              </p:cNvSpPr>
              <p:nvPr/>
            </p:nvSpPr>
            <p:spPr bwMode="auto">
              <a:xfrm>
                <a:off x="5537201" y="5854701"/>
                <a:ext cx="0" cy="1588"/>
              </a:xfrm>
              <a:custGeom>
                <a:avLst/>
                <a:gdLst>
                  <a:gd name="T0" fmla="*/ 2 w 2"/>
                  <a:gd name="T1" fmla="*/ 0 h 3"/>
                  <a:gd name="T2" fmla="*/ 2 w 2"/>
                  <a:gd name="T3" fmla="*/ 1 h 3"/>
                  <a:gd name="T4" fmla="*/ 0 w 2"/>
                  <a:gd name="T5" fmla="*/ 3 h 3"/>
                  <a:gd name="T6" fmla="*/ 0 w 2"/>
                  <a:gd name="T7" fmla="*/ 2 h 3"/>
                  <a:gd name="T8" fmla="*/ 2 w 2"/>
                  <a:gd name="T9" fmla="*/ 0 h 3"/>
                  <a:gd name="T10" fmla="*/ 2 w 2"/>
                  <a:gd name="T11" fmla="*/ 0 h 3"/>
                  <a:gd name="T12" fmla="*/ 2 w 2"/>
                  <a:gd name="T13" fmla="*/ 0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lnTo>
                      <a:pt x="2" y="1"/>
                    </a:lnTo>
                    <a:lnTo>
                      <a:pt x="0" y="3"/>
                    </a:lnTo>
                    <a:lnTo>
                      <a:pt x="0" y="2"/>
                    </a:lnTo>
                    <a:lnTo>
                      <a:pt x="2" y="0"/>
                    </a:lnTo>
                    <a:lnTo>
                      <a:pt x="2" y="0"/>
                    </a:lnTo>
                    <a:lnTo>
                      <a:pt x="2"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49" name="Freeform 549">
                <a:extLst>
                  <a:ext uri="{FF2B5EF4-FFF2-40B4-BE49-F238E27FC236}">
                    <a16:creationId xmlns:a16="http://schemas.microsoft.com/office/drawing/2014/main" id="{A303D543-A1D1-B484-609D-D88A3E458A53}"/>
                  </a:ext>
                </a:extLst>
              </p:cNvPr>
              <p:cNvSpPr>
                <a:spLocks/>
              </p:cNvSpPr>
              <p:nvPr/>
            </p:nvSpPr>
            <p:spPr bwMode="auto">
              <a:xfrm>
                <a:off x="5534026" y="5856288"/>
                <a:ext cx="1588" cy="1588"/>
              </a:xfrm>
              <a:custGeom>
                <a:avLst/>
                <a:gdLst>
                  <a:gd name="T0" fmla="*/ 0 w 2"/>
                  <a:gd name="T1" fmla="*/ 0 h 3"/>
                  <a:gd name="T2" fmla="*/ 2 w 2"/>
                  <a:gd name="T3" fmla="*/ 0 h 3"/>
                  <a:gd name="T4" fmla="*/ 2 w 2"/>
                  <a:gd name="T5" fmla="*/ 1 h 3"/>
                  <a:gd name="T6" fmla="*/ 0 w 2"/>
                  <a:gd name="T7" fmla="*/ 3 h 3"/>
                  <a:gd name="T8" fmla="*/ 0 w 2"/>
                  <a:gd name="T9" fmla="*/ 0 h 3"/>
                  <a:gd name="T10" fmla="*/ 0 w 2"/>
                  <a:gd name="T11" fmla="*/ 0 h 3"/>
                  <a:gd name="T12" fmla="*/ 0 w 2"/>
                  <a:gd name="T13" fmla="*/ 0 h 3"/>
                  <a:gd name="T14" fmla="*/ 0 w 2"/>
                  <a:gd name="T15" fmla="*/ 0 h 3"/>
                  <a:gd name="T16" fmla="*/ 0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0"/>
                    </a:moveTo>
                    <a:lnTo>
                      <a:pt x="2" y="0"/>
                    </a:lnTo>
                    <a:lnTo>
                      <a:pt x="2" y="1"/>
                    </a:lnTo>
                    <a:lnTo>
                      <a:pt x="0" y="3"/>
                    </a:lnTo>
                    <a:lnTo>
                      <a:pt x="0" y="0"/>
                    </a:lnTo>
                    <a:lnTo>
                      <a:pt x="0" y="0"/>
                    </a:lnTo>
                    <a:lnTo>
                      <a:pt x="0" y="0"/>
                    </a:lnTo>
                    <a:lnTo>
                      <a:pt x="0" y="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0" name="Freeform 552">
                <a:extLst>
                  <a:ext uri="{FF2B5EF4-FFF2-40B4-BE49-F238E27FC236}">
                    <a16:creationId xmlns:a16="http://schemas.microsoft.com/office/drawing/2014/main" id="{77756AB3-B8CA-1BC1-8DC9-7F96FBD56D9F}"/>
                  </a:ext>
                </a:extLst>
              </p:cNvPr>
              <p:cNvSpPr>
                <a:spLocks/>
              </p:cNvSpPr>
              <p:nvPr/>
            </p:nvSpPr>
            <p:spPr bwMode="auto">
              <a:xfrm>
                <a:off x="5549901" y="5868988"/>
                <a:ext cx="3175" cy="4763"/>
              </a:xfrm>
              <a:custGeom>
                <a:avLst/>
                <a:gdLst>
                  <a:gd name="T0" fmla="*/ 0 w 6"/>
                  <a:gd name="T1" fmla="*/ 9 h 9"/>
                  <a:gd name="T2" fmla="*/ 0 w 6"/>
                  <a:gd name="T3" fmla="*/ 7 h 9"/>
                  <a:gd name="T4" fmla="*/ 1 w 6"/>
                  <a:gd name="T5" fmla="*/ 0 h 9"/>
                  <a:gd name="T6" fmla="*/ 2 w 6"/>
                  <a:gd name="T7" fmla="*/ 0 h 9"/>
                  <a:gd name="T8" fmla="*/ 4 w 6"/>
                  <a:gd name="T9" fmla="*/ 2 h 9"/>
                  <a:gd name="T10" fmla="*/ 6 w 6"/>
                  <a:gd name="T11" fmla="*/ 9 h 9"/>
                  <a:gd name="T12" fmla="*/ 0 w 6"/>
                  <a:gd name="T13" fmla="*/ 9 h 9"/>
                  <a:gd name="T14" fmla="*/ 0 w 6"/>
                  <a:gd name="T15" fmla="*/ 9 h 9"/>
                  <a:gd name="T16" fmla="*/ 0 w 6"/>
                  <a:gd name="T17" fmla="*/ 9 h 9"/>
                  <a:gd name="T18" fmla="*/ 0 w 6"/>
                  <a:gd name="T19" fmla="*/ 9 h 9"/>
                  <a:gd name="T20" fmla="*/ 0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9"/>
                    </a:moveTo>
                    <a:lnTo>
                      <a:pt x="0" y="7"/>
                    </a:lnTo>
                    <a:lnTo>
                      <a:pt x="1" y="0"/>
                    </a:lnTo>
                    <a:lnTo>
                      <a:pt x="2" y="0"/>
                    </a:lnTo>
                    <a:lnTo>
                      <a:pt x="4" y="2"/>
                    </a:lnTo>
                    <a:lnTo>
                      <a:pt x="6" y="9"/>
                    </a:lnTo>
                    <a:lnTo>
                      <a:pt x="0" y="9"/>
                    </a:lnTo>
                    <a:lnTo>
                      <a:pt x="0" y="9"/>
                    </a:lnTo>
                    <a:lnTo>
                      <a:pt x="0" y="9"/>
                    </a:lnTo>
                    <a:lnTo>
                      <a:pt x="0" y="9"/>
                    </a:lnTo>
                    <a:lnTo>
                      <a:pt x="0" y="9"/>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1" name="Freeform 553">
                <a:extLst>
                  <a:ext uri="{FF2B5EF4-FFF2-40B4-BE49-F238E27FC236}">
                    <a16:creationId xmlns:a16="http://schemas.microsoft.com/office/drawing/2014/main" id="{5C5BC2CD-4A59-B812-2F86-1EBED19598A6}"/>
                  </a:ext>
                </a:extLst>
              </p:cNvPr>
              <p:cNvSpPr>
                <a:spLocks/>
              </p:cNvSpPr>
              <p:nvPr/>
            </p:nvSpPr>
            <p:spPr bwMode="auto">
              <a:xfrm>
                <a:off x="5554663" y="5868988"/>
                <a:ext cx="7938" cy="6350"/>
              </a:xfrm>
              <a:custGeom>
                <a:avLst/>
                <a:gdLst>
                  <a:gd name="T0" fmla="*/ 2 w 13"/>
                  <a:gd name="T1" fmla="*/ 0 h 10"/>
                  <a:gd name="T2" fmla="*/ 10 w 13"/>
                  <a:gd name="T3" fmla="*/ 2 h 10"/>
                  <a:gd name="T4" fmla="*/ 12 w 13"/>
                  <a:gd name="T5" fmla="*/ 3 h 10"/>
                  <a:gd name="T6" fmla="*/ 13 w 13"/>
                  <a:gd name="T7" fmla="*/ 6 h 10"/>
                  <a:gd name="T8" fmla="*/ 10 w 13"/>
                  <a:gd name="T9" fmla="*/ 5 h 10"/>
                  <a:gd name="T10" fmla="*/ 9 w 13"/>
                  <a:gd name="T11" fmla="*/ 8 h 10"/>
                  <a:gd name="T12" fmla="*/ 9 w 13"/>
                  <a:gd name="T13" fmla="*/ 8 h 10"/>
                  <a:gd name="T14" fmla="*/ 9 w 13"/>
                  <a:gd name="T15" fmla="*/ 10 h 10"/>
                  <a:gd name="T16" fmla="*/ 7 w 13"/>
                  <a:gd name="T17" fmla="*/ 10 h 10"/>
                  <a:gd name="T18" fmla="*/ 2 w 13"/>
                  <a:gd name="T19" fmla="*/ 7 h 10"/>
                  <a:gd name="T20" fmla="*/ 0 w 13"/>
                  <a:gd name="T21" fmla="*/ 3 h 10"/>
                  <a:gd name="T22" fmla="*/ 2 w 13"/>
                  <a:gd name="T23" fmla="*/ 0 h 10"/>
                  <a:gd name="T24" fmla="*/ 2 w 13"/>
                  <a:gd name="T25" fmla="*/ 0 h 10"/>
                  <a:gd name="T26" fmla="*/ 2 w 13"/>
                  <a:gd name="T27" fmla="*/ 0 h 10"/>
                  <a:gd name="T28" fmla="*/ 2 w 13"/>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0">
                    <a:moveTo>
                      <a:pt x="2" y="0"/>
                    </a:moveTo>
                    <a:lnTo>
                      <a:pt x="10" y="2"/>
                    </a:lnTo>
                    <a:lnTo>
                      <a:pt x="12" y="3"/>
                    </a:lnTo>
                    <a:lnTo>
                      <a:pt x="13" y="6"/>
                    </a:lnTo>
                    <a:lnTo>
                      <a:pt x="10" y="5"/>
                    </a:lnTo>
                    <a:lnTo>
                      <a:pt x="9" y="8"/>
                    </a:lnTo>
                    <a:lnTo>
                      <a:pt x="9" y="8"/>
                    </a:lnTo>
                    <a:lnTo>
                      <a:pt x="9" y="10"/>
                    </a:lnTo>
                    <a:lnTo>
                      <a:pt x="7" y="10"/>
                    </a:lnTo>
                    <a:lnTo>
                      <a:pt x="2" y="7"/>
                    </a:lnTo>
                    <a:lnTo>
                      <a:pt x="0" y="3"/>
                    </a:lnTo>
                    <a:lnTo>
                      <a:pt x="2" y="0"/>
                    </a:lnTo>
                    <a:lnTo>
                      <a:pt x="2" y="0"/>
                    </a:lnTo>
                    <a:lnTo>
                      <a:pt x="2"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2" name="Freeform 554">
                <a:extLst>
                  <a:ext uri="{FF2B5EF4-FFF2-40B4-BE49-F238E27FC236}">
                    <a16:creationId xmlns:a16="http://schemas.microsoft.com/office/drawing/2014/main" id="{2C4884C3-2F9D-278B-7244-2F760C703F0B}"/>
                  </a:ext>
                </a:extLst>
              </p:cNvPr>
              <p:cNvSpPr>
                <a:spLocks/>
              </p:cNvSpPr>
              <p:nvPr/>
            </p:nvSpPr>
            <p:spPr bwMode="auto">
              <a:xfrm>
                <a:off x="5548313" y="5870576"/>
                <a:ext cx="1588" cy="1588"/>
              </a:xfrm>
              <a:custGeom>
                <a:avLst/>
                <a:gdLst>
                  <a:gd name="T0" fmla="*/ 1 w 3"/>
                  <a:gd name="T1" fmla="*/ 0 h 5"/>
                  <a:gd name="T2" fmla="*/ 3 w 3"/>
                  <a:gd name="T3" fmla="*/ 2 h 5"/>
                  <a:gd name="T4" fmla="*/ 2 w 3"/>
                  <a:gd name="T5" fmla="*/ 5 h 5"/>
                  <a:gd name="T6" fmla="*/ 0 w 3"/>
                  <a:gd name="T7" fmla="*/ 2 h 5"/>
                  <a:gd name="T8" fmla="*/ 1 w 3"/>
                  <a:gd name="T9" fmla="*/ 0 h 5"/>
                  <a:gd name="T10" fmla="*/ 1 w 3"/>
                  <a:gd name="T11" fmla="*/ 0 h 5"/>
                  <a:gd name="T12" fmla="*/ 1 w 3"/>
                  <a:gd name="T13" fmla="*/ 0 h 5"/>
                  <a:gd name="T14" fmla="*/ 1 w 3"/>
                  <a:gd name="T15" fmla="*/ 0 h 5"/>
                  <a:gd name="T16" fmla="*/ 1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1" y="0"/>
                    </a:moveTo>
                    <a:lnTo>
                      <a:pt x="3" y="2"/>
                    </a:lnTo>
                    <a:lnTo>
                      <a:pt x="2" y="5"/>
                    </a:lnTo>
                    <a:lnTo>
                      <a:pt x="0" y="2"/>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3" name="Freeform 555">
                <a:extLst>
                  <a:ext uri="{FF2B5EF4-FFF2-40B4-BE49-F238E27FC236}">
                    <a16:creationId xmlns:a16="http://schemas.microsoft.com/office/drawing/2014/main" id="{4F811BD7-C47D-CC75-845D-D8C7B7AB6D73}"/>
                  </a:ext>
                </a:extLst>
              </p:cNvPr>
              <p:cNvSpPr>
                <a:spLocks/>
              </p:cNvSpPr>
              <p:nvPr/>
            </p:nvSpPr>
            <p:spPr bwMode="auto">
              <a:xfrm>
                <a:off x="5480051" y="5870576"/>
                <a:ext cx="1588" cy="3175"/>
              </a:xfrm>
              <a:custGeom>
                <a:avLst/>
                <a:gdLst>
                  <a:gd name="T0" fmla="*/ 2 w 3"/>
                  <a:gd name="T1" fmla="*/ 4 h 4"/>
                  <a:gd name="T2" fmla="*/ 0 w 3"/>
                  <a:gd name="T3" fmla="*/ 1 h 4"/>
                  <a:gd name="T4" fmla="*/ 1 w 3"/>
                  <a:gd name="T5" fmla="*/ 0 h 4"/>
                  <a:gd name="T6" fmla="*/ 3 w 3"/>
                  <a:gd name="T7" fmla="*/ 0 h 4"/>
                  <a:gd name="T8" fmla="*/ 3 w 3"/>
                  <a:gd name="T9" fmla="*/ 3 h 4"/>
                  <a:gd name="T10" fmla="*/ 2 w 3"/>
                  <a:gd name="T11" fmla="*/ 4 h 4"/>
                  <a:gd name="T12" fmla="*/ 2 w 3"/>
                  <a:gd name="T13" fmla="*/ 4 h 4"/>
                  <a:gd name="T14" fmla="*/ 2 w 3"/>
                  <a:gd name="T15" fmla="*/ 4 h 4"/>
                  <a:gd name="T16" fmla="*/ 2 w 3"/>
                  <a:gd name="T17" fmla="*/ 4 h 4"/>
                  <a:gd name="T18" fmla="*/ 2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4"/>
                    </a:moveTo>
                    <a:lnTo>
                      <a:pt x="0" y="1"/>
                    </a:lnTo>
                    <a:lnTo>
                      <a:pt x="1" y="0"/>
                    </a:lnTo>
                    <a:lnTo>
                      <a:pt x="3" y="0"/>
                    </a:lnTo>
                    <a:lnTo>
                      <a:pt x="3" y="3"/>
                    </a:lnTo>
                    <a:lnTo>
                      <a:pt x="2" y="4"/>
                    </a:lnTo>
                    <a:lnTo>
                      <a:pt x="2" y="4"/>
                    </a:lnTo>
                    <a:lnTo>
                      <a:pt x="2" y="4"/>
                    </a:lnTo>
                    <a:lnTo>
                      <a:pt x="2" y="4"/>
                    </a:lnTo>
                    <a:lnTo>
                      <a:pt x="2" y="4"/>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4" name="Freeform 556">
                <a:extLst>
                  <a:ext uri="{FF2B5EF4-FFF2-40B4-BE49-F238E27FC236}">
                    <a16:creationId xmlns:a16="http://schemas.microsoft.com/office/drawing/2014/main" id="{84724864-8A3F-CC26-02AE-A4AA0E4975C2}"/>
                  </a:ext>
                </a:extLst>
              </p:cNvPr>
              <p:cNvSpPr>
                <a:spLocks/>
              </p:cNvSpPr>
              <p:nvPr/>
            </p:nvSpPr>
            <p:spPr bwMode="auto">
              <a:xfrm>
                <a:off x="5513388" y="5873751"/>
                <a:ext cx="4763" cy="4763"/>
              </a:xfrm>
              <a:custGeom>
                <a:avLst/>
                <a:gdLst>
                  <a:gd name="T0" fmla="*/ 3 w 11"/>
                  <a:gd name="T1" fmla="*/ 0 h 11"/>
                  <a:gd name="T2" fmla="*/ 8 w 11"/>
                  <a:gd name="T3" fmla="*/ 0 h 11"/>
                  <a:gd name="T4" fmla="*/ 11 w 11"/>
                  <a:gd name="T5" fmla="*/ 3 h 11"/>
                  <a:gd name="T6" fmla="*/ 9 w 11"/>
                  <a:gd name="T7" fmla="*/ 10 h 11"/>
                  <a:gd name="T8" fmla="*/ 7 w 11"/>
                  <a:gd name="T9" fmla="*/ 11 h 11"/>
                  <a:gd name="T10" fmla="*/ 5 w 11"/>
                  <a:gd name="T11" fmla="*/ 11 h 11"/>
                  <a:gd name="T12" fmla="*/ 0 w 11"/>
                  <a:gd name="T13" fmla="*/ 3 h 11"/>
                  <a:gd name="T14" fmla="*/ 1 w 11"/>
                  <a:gd name="T15" fmla="*/ 0 h 11"/>
                  <a:gd name="T16" fmla="*/ 3 w 11"/>
                  <a:gd name="T17" fmla="*/ 0 h 11"/>
                  <a:gd name="T18" fmla="*/ 3 w 11"/>
                  <a:gd name="T19" fmla="*/ 0 h 11"/>
                  <a:gd name="T20" fmla="*/ 3 w 11"/>
                  <a:gd name="T21" fmla="*/ 0 h 11"/>
                  <a:gd name="T22" fmla="*/ 3 w 11"/>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1">
                    <a:moveTo>
                      <a:pt x="3" y="0"/>
                    </a:moveTo>
                    <a:lnTo>
                      <a:pt x="8" y="0"/>
                    </a:lnTo>
                    <a:lnTo>
                      <a:pt x="11" y="3"/>
                    </a:lnTo>
                    <a:lnTo>
                      <a:pt x="9" y="10"/>
                    </a:lnTo>
                    <a:lnTo>
                      <a:pt x="7" y="11"/>
                    </a:lnTo>
                    <a:lnTo>
                      <a:pt x="5" y="11"/>
                    </a:lnTo>
                    <a:lnTo>
                      <a:pt x="0" y="3"/>
                    </a:lnTo>
                    <a:lnTo>
                      <a:pt x="1" y="0"/>
                    </a:lnTo>
                    <a:lnTo>
                      <a:pt x="3" y="0"/>
                    </a:lnTo>
                    <a:lnTo>
                      <a:pt x="3" y="0"/>
                    </a:lnTo>
                    <a:lnTo>
                      <a:pt x="3"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5" name="Freeform 557">
                <a:extLst>
                  <a:ext uri="{FF2B5EF4-FFF2-40B4-BE49-F238E27FC236}">
                    <a16:creationId xmlns:a16="http://schemas.microsoft.com/office/drawing/2014/main" id="{55985B85-E6F3-4A76-DCC5-1AEADFFB4BEC}"/>
                  </a:ext>
                </a:extLst>
              </p:cNvPr>
              <p:cNvSpPr>
                <a:spLocks/>
              </p:cNvSpPr>
              <p:nvPr/>
            </p:nvSpPr>
            <p:spPr bwMode="auto">
              <a:xfrm>
                <a:off x="5559426" y="5875338"/>
                <a:ext cx="1588" cy="1588"/>
              </a:xfrm>
              <a:custGeom>
                <a:avLst/>
                <a:gdLst>
                  <a:gd name="T0" fmla="*/ 1 w 1"/>
                  <a:gd name="T1" fmla="*/ 0 h 3"/>
                  <a:gd name="T2" fmla="*/ 1 w 1"/>
                  <a:gd name="T3" fmla="*/ 1 h 3"/>
                  <a:gd name="T4" fmla="*/ 0 w 1"/>
                  <a:gd name="T5" fmla="*/ 3 h 3"/>
                  <a:gd name="T6" fmla="*/ 1 w 1"/>
                  <a:gd name="T7" fmla="*/ 0 h 3"/>
                  <a:gd name="T8" fmla="*/ 1 w 1"/>
                  <a:gd name="T9" fmla="*/ 0 h 3"/>
                  <a:gd name="T10" fmla="*/ 1 w 1"/>
                  <a:gd name="T11" fmla="*/ 0 h 3"/>
                  <a:gd name="T12" fmla="*/ 1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0"/>
                    </a:moveTo>
                    <a:lnTo>
                      <a:pt x="1" y="1"/>
                    </a:lnTo>
                    <a:lnTo>
                      <a:pt x="0" y="3"/>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6" name="Freeform 558">
                <a:extLst>
                  <a:ext uri="{FF2B5EF4-FFF2-40B4-BE49-F238E27FC236}">
                    <a16:creationId xmlns:a16="http://schemas.microsoft.com/office/drawing/2014/main" id="{587B298B-BD53-AAD1-A1FA-4857C6105C5B}"/>
                  </a:ext>
                </a:extLst>
              </p:cNvPr>
              <p:cNvSpPr>
                <a:spLocks/>
              </p:cNvSpPr>
              <p:nvPr/>
            </p:nvSpPr>
            <p:spPr bwMode="auto">
              <a:xfrm>
                <a:off x="5551488" y="5875338"/>
                <a:ext cx="3175" cy="1588"/>
              </a:xfrm>
              <a:custGeom>
                <a:avLst/>
                <a:gdLst>
                  <a:gd name="T0" fmla="*/ 2 w 5"/>
                  <a:gd name="T1" fmla="*/ 0 h 5"/>
                  <a:gd name="T2" fmla="*/ 5 w 5"/>
                  <a:gd name="T3" fmla="*/ 1 h 5"/>
                  <a:gd name="T4" fmla="*/ 5 w 5"/>
                  <a:gd name="T5" fmla="*/ 5 h 5"/>
                  <a:gd name="T6" fmla="*/ 2 w 5"/>
                  <a:gd name="T7" fmla="*/ 3 h 5"/>
                  <a:gd name="T8" fmla="*/ 0 w 5"/>
                  <a:gd name="T9" fmla="*/ 1 h 5"/>
                  <a:gd name="T10" fmla="*/ 0 w 5"/>
                  <a:gd name="T11" fmla="*/ 0 h 5"/>
                  <a:gd name="T12" fmla="*/ 2 w 5"/>
                  <a:gd name="T13" fmla="*/ 0 h 5"/>
                  <a:gd name="T14" fmla="*/ 2 w 5"/>
                  <a:gd name="T15" fmla="*/ 0 h 5"/>
                  <a:gd name="T16" fmla="*/ 2 w 5"/>
                  <a:gd name="T17" fmla="*/ 0 h 5"/>
                  <a:gd name="T18" fmla="*/ 2 w 5"/>
                  <a:gd name="T19" fmla="*/ 0 h 5"/>
                  <a:gd name="T20" fmla="*/ 2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2" y="0"/>
                    </a:moveTo>
                    <a:lnTo>
                      <a:pt x="5" y="1"/>
                    </a:lnTo>
                    <a:lnTo>
                      <a:pt x="5" y="5"/>
                    </a:lnTo>
                    <a:lnTo>
                      <a:pt x="2" y="3"/>
                    </a:lnTo>
                    <a:lnTo>
                      <a:pt x="0" y="1"/>
                    </a:lnTo>
                    <a:lnTo>
                      <a:pt x="0" y="0"/>
                    </a:lnTo>
                    <a:lnTo>
                      <a:pt x="2" y="0"/>
                    </a:lnTo>
                    <a:lnTo>
                      <a:pt x="2" y="0"/>
                    </a:lnTo>
                    <a:lnTo>
                      <a:pt x="2" y="0"/>
                    </a:lnTo>
                    <a:lnTo>
                      <a:pt x="2" y="0"/>
                    </a:lnTo>
                    <a:lnTo>
                      <a:pt x="2"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7" name="Freeform 559">
                <a:extLst>
                  <a:ext uri="{FF2B5EF4-FFF2-40B4-BE49-F238E27FC236}">
                    <a16:creationId xmlns:a16="http://schemas.microsoft.com/office/drawing/2014/main" id="{975AE2D2-F420-03E5-2B55-1EDC8B8DD465}"/>
                  </a:ext>
                </a:extLst>
              </p:cNvPr>
              <p:cNvSpPr>
                <a:spLocks/>
              </p:cNvSpPr>
              <p:nvPr/>
            </p:nvSpPr>
            <p:spPr bwMode="auto">
              <a:xfrm>
                <a:off x="5480051" y="5875338"/>
                <a:ext cx="0" cy="0"/>
              </a:xfrm>
              <a:custGeom>
                <a:avLst/>
                <a:gdLst>
                  <a:gd name="T0" fmla="*/ 1 w 1"/>
                  <a:gd name="T1" fmla="*/ 0 h 2"/>
                  <a:gd name="T2" fmla="*/ 1 w 1"/>
                  <a:gd name="T3" fmla="*/ 1 h 2"/>
                  <a:gd name="T4" fmla="*/ 1 w 1"/>
                  <a:gd name="T5" fmla="*/ 2 h 2"/>
                  <a:gd name="T6" fmla="*/ 0 w 1"/>
                  <a:gd name="T7" fmla="*/ 0 h 2"/>
                  <a:gd name="T8" fmla="*/ 1 w 1"/>
                  <a:gd name="T9" fmla="*/ 0 h 2"/>
                  <a:gd name="T10" fmla="*/ 1 w 1"/>
                  <a:gd name="T11" fmla="*/ 0 h 2"/>
                  <a:gd name="T12" fmla="*/ 1 w 1"/>
                  <a:gd name="T13" fmla="*/ 0 h 2"/>
                  <a:gd name="T14" fmla="*/ 1 w 1"/>
                  <a:gd name="T15" fmla="*/ 0 h 2"/>
                  <a:gd name="T16" fmla="*/ 1 w 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0"/>
                    </a:moveTo>
                    <a:lnTo>
                      <a:pt x="1" y="1"/>
                    </a:lnTo>
                    <a:lnTo>
                      <a:pt x="1" y="2"/>
                    </a:lnTo>
                    <a:lnTo>
                      <a:pt x="0" y="0"/>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8" name="Freeform 560">
                <a:extLst>
                  <a:ext uri="{FF2B5EF4-FFF2-40B4-BE49-F238E27FC236}">
                    <a16:creationId xmlns:a16="http://schemas.microsoft.com/office/drawing/2014/main" id="{AE4DA9BC-0CA2-4C78-8C46-30E0A341EFA1}"/>
                  </a:ext>
                </a:extLst>
              </p:cNvPr>
              <p:cNvSpPr>
                <a:spLocks/>
              </p:cNvSpPr>
              <p:nvPr/>
            </p:nvSpPr>
            <p:spPr bwMode="auto">
              <a:xfrm>
                <a:off x="5475288" y="5875338"/>
                <a:ext cx="34925" cy="28575"/>
              </a:xfrm>
              <a:custGeom>
                <a:avLst/>
                <a:gdLst>
                  <a:gd name="T0" fmla="*/ 46 w 66"/>
                  <a:gd name="T1" fmla="*/ 47 h 54"/>
                  <a:gd name="T2" fmla="*/ 43 w 66"/>
                  <a:gd name="T3" fmla="*/ 45 h 54"/>
                  <a:gd name="T4" fmla="*/ 43 w 66"/>
                  <a:gd name="T5" fmla="*/ 40 h 54"/>
                  <a:gd name="T6" fmla="*/ 40 w 66"/>
                  <a:gd name="T7" fmla="*/ 40 h 54"/>
                  <a:gd name="T8" fmla="*/ 33 w 66"/>
                  <a:gd name="T9" fmla="*/ 43 h 54"/>
                  <a:gd name="T10" fmla="*/ 28 w 66"/>
                  <a:gd name="T11" fmla="*/ 49 h 54"/>
                  <a:gd name="T12" fmla="*/ 20 w 66"/>
                  <a:gd name="T13" fmla="*/ 49 h 54"/>
                  <a:gd name="T14" fmla="*/ 16 w 66"/>
                  <a:gd name="T15" fmla="*/ 45 h 54"/>
                  <a:gd name="T16" fmla="*/ 11 w 66"/>
                  <a:gd name="T17" fmla="*/ 50 h 54"/>
                  <a:gd name="T18" fmla="*/ 2 w 66"/>
                  <a:gd name="T19" fmla="*/ 54 h 54"/>
                  <a:gd name="T20" fmla="*/ 0 w 66"/>
                  <a:gd name="T21" fmla="*/ 44 h 54"/>
                  <a:gd name="T22" fmla="*/ 5 w 66"/>
                  <a:gd name="T23" fmla="*/ 36 h 54"/>
                  <a:gd name="T24" fmla="*/ 7 w 66"/>
                  <a:gd name="T25" fmla="*/ 33 h 54"/>
                  <a:gd name="T26" fmla="*/ 14 w 66"/>
                  <a:gd name="T27" fmla="*/ 29 h 54"/>
                  <a:gd name="T28" fmla="*/ 18 w 66"/>
                  <a:gd name="T29" fmla="*/ 24 h 54"/>
                  <a:gd name="T30" fmla="*/ 21 w 66"/>
                  <a:gd name="T31" fmla="*/ 20 h 54"/>
                  <a:gd name="T32" fmla="*/ 25 w 66"/>
                  <a:gd name="T33" fmla="*/ 20 h 54"/>
                  <a:gd name="T34" fmla="*/ 28 w 66"/>
                  <a:gd name="T35" fmla="*/ 23 h 54"/>
                  <a:gd name="T36" fmla="*/ 36 w 66"/>
                  <a:gd name="T37" fmla="*/ 19 h 54"/>
                  <a:gd name="T38" fmla="*/ 41 w 66"/>
                  <a:gd name="T39" fmla="*/ 19 h 54"/>
                  <a:gd name="T40" fmla="*/ 49 w 66"/>
                  <a:gd name="T41" fmla="*/ 9 h 54"/>
                  <a:gd name="T42" fmla="*/ 52 w 66"/>
                  <a:gd name="T43" fmla="*/ 7 h 54"/>
                  <a:gd name="T44" fmla="*/ 57 w 66"/>
                  <a:gd name="T45" fmla="*/ 6 h 54"/>
                  <a:gd name="T46" fmla="*/ 62 w 66"/>
                  <a:gd name="T47" fmla="*/ 0 h 54"/>
                  <a:gd name="T48" fmla="*/ 64 w 66"/>
                  <a:gd name="T49" fmla="*/ 1 h 54"/>
                  <a:gd name="T50" fmla="*/ 66 w 66"/>
                  <a:gd name="T51" fmla="*/ 4 h 54"/>
                  <a:gd name="T52" fmla="*/ 66 w 66"/>
                  <a:gd name="T53" fmla="*/ 9 h 54"/>
                  <a:gd name="T54" fmla="*/ 53 w 66"/>
                  <a:gd name="T55" fmla="*/ 16 h 54"/>
                  <a:gd name="T56" fmla="*/ 55 w 66"/>
                  <a:gd name="T57" fmla="*/ 18 h 54"/>
                  <a:gd name="T58" fmla="*/ 55 w 66"/>
                  <a:gd name="T59" fmla="*/ 27 h 54"/>
                  <a:gd name="T60" fmla="*/ 53 w 66"/>
                  <a:gd name="T61" fmla="*/ 27 h 54"/>
                  <a:gd name="T62" fmla="*/ 49 w 66"/>
                  <a:gd name="T63" fmla="*/ 25 h 54"/>
                  <a:gd name="T64" fmla="*/ 48 w 66"/>
                  <a:gd name="T65" fmla="*/ 28 h 54"/>
                  <a:gd name="T66" fmla="*/ 52 w 66"/>
                  <a:gd name="T67" fmla="*/ 32 h 54"/>
                  <a:gd name="T68" fmla="*/ 48 w 66"/>
                  <a:gd name="T69" fmla="*/ 37 h 54"/>
                  <a:gd name="T70" fmla="*/ 55 w 66"/>
                  <a:gd name="T71" fmla="*/ 38 h 54"/>
                  <a:gd name="T72" fmla="*/ 55 w 66"/>
                  <a:gd name="T73" fmla="*/ 41 h 54"/>
                  <a:gd name="T74" fmla="*/ 52 w 66"/>
                  <a:gd name="T75" fmla="*/ 45 h 54"/>
                  <a:gd name="T76" fmla="*/ 49 w 66"/>
                  <a:gd name="T77" fmla="*/ 47 h 54"/>
                  <a:gd name="T78" fmla="*/ 46 w 66"/>
                  <a:gd name="T79" fmla="*/ 47 h 54"/>
                  <a:gd name="T80" fmla="*/ 46 w 66"/>
                  <a:gd name="T81" fmla="*/ 47 h 54"/>
                  <a:gd name="T82" fmla="*/ 46 w 66"/>
                  <a:gd name="T83" fmla="*/ 47 h 54"/>
                  <a:gd name="T84" fmla="*/ 46 w 66"/>
                  <a:gd name="T85" fmla="*/ 4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4">
                    <a:moveTo>
                      <a:pt x="46" y="47"/>
                    </a:moveTo>
                    <a:lnTo>
                      <a:pt x="43" y="45"/>
                    </a:lnTo>
                    <a:lnTo>
                      <a:pt x="43" y="40"/>
                    </a:lnTo>
                    <a:lnTo>
                      <a:pt x="40" y="40"/>
                    </a:lnTo>
                    <a:lnTo>
                      <a:pt x="33" y="43"/>
                    </a:lnTo>
                    <a:lnTo>
                      <a:pt x="28" y="49"/>
                    </a:lnTo>
                    <a:lnTo>
                      <a:pt x="20" y="49"/>
                    </a:lnTo>
                    <a:lnTo>
                      <a:pt x="16" y="45"/>
                    </a:lnTo>
                    <a:lnTo>
                      <a:pt x="11" y="50"/>
                    </a:lnTo>
                    <a:lnTo>
                      <a:pt x="2" y="54"/>
                    </a:lnTo>
                    <a:lnTo>
                      <a:pt x="0" y="44"/>
                    </a:lnTo>
                    <a:lnTo>
                      <a:pt x="5" y="36"/>
                    </a:lnTo>
                    <a:lnTo>
                      <a:pt x="7" y="33"/>
                    </a:lnTo>
                    <a:lnTo>
                      <a:pt x="14" y="29"/>
                    </a:lnTo>
                    <a:lnTo>
                      <a:pt x="18" y="24"/>
                    </a:lnTo>
                    <a:lnTo>
                      <a:pt x="21" y="20"/>
                    </a:lnTo>
                    <a:lnTo>
                      <a:pt x="25" y="20"/>
                    </a:lnTo>
                    <a:lnTo>
                      <a:pt x="28" y="23"/>
                    </a:lnTo>
                    <a:lnTo>
                      <a:pt x="36" y="19"/>
                    </a:lnTo>
                    <a:lnTo>
                      <a:pt x="41" y="19"/>
                    </a:lnTo>
                    <a:lnTo>
                      <a:pt x="49" y="9"/>
                    </a:lnTo>
                    <a:lnTo>
                      <a:pt x="52" y="7"/>
                    </a:lnTo>
                    <a:lnTo>
                      <a:pt x="57" y="6"/>
                    </a:lnTo>
                    <a:lnTo>
                      <a:pt x="62" y="0"/>
                    </a:lnTo>
                    <a:lnTo>
                      <a:pt x="64" y="1"/>
                    </a:lnTo>
                    <a:lnTo>
                      <a:pt x="66" y="4"/>
                    </a:lnTo>
                    <a:lnTo>
                      <a:pt x="66" y="9"/>
                    </a:lnTo>
                    <a:lnTo>
                      <a:pt x="53" y="16"/>
                    </a:lnTo>
                    <a:lnTo>
                      <a:pt x="55" y="18"/>
                    </a:lnTo>
                    <a:lnTo>
                      <a:pt x="55" y="27"/>
                    </a:lnTo>
                    <a:lnTo>
                      <a:pt x="53" y="27"/>
                    </a:lnTo>
                    <a:lnTo>
                      <a:pt x="49" y="25"/>
                    </a:lnTo>
                    <a:lnTo>
                      <a:pt x="48" y="28"/>
                    </a:lnTo>
                    <a:lnTo>
                      <a:pt x="52" y="32"/>
                    </a:lnTo>
                    <a:lnTo>
                      <a:pt x="48" y="37"/>
                    </a:lnTo>
                    <a:lnTo>
                      <a:pt x="55" y="38"/>
                    </a:lnTo>
                    <a:lnTo>
                      <a:pt x="55" y="41"/>
                    </a:lnTo>
                    <a:lnTo>
                      <a:pt x="52" y="45"/>
                    </a:lnTo>
                    <a:lnTo>
                      <a:pt x="49" y="47"/>
                    </a:lnTo>
                    <a:lnTo>
                      <a:pt x="46" y="47"/>
                    </a:lnTo>
                    <a:lnTo>
                      <a:pt x="46" y="47"/>
                    </a:lnTo>
                    <a:lnTo>
                      <a:pt x="46" y="47"/>
                    </a:lnTo>
                    <a:lnTo>
                      <a:pt x="46" y="47"/>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59" name="Freeform 561">
                <a:extLst>
                  <a:ext uri="{FF2B5EF4-FFF2-40B4-BE49-F238E27FC236}">
                    <a16:creationId xmlns:a16="http://schemas.microsoft.com/office/drawing/2014/main" id="{94E62641-BF7C-82BE-C95D-12B4FBD6D3DE}"/>
                  </a:ext>
                </a:extLst>
              </p:cNvPr>
              <p:cNvSpPr>
                <a:spLocks/>
              </p:cNvSpPr>
              <p:nvPr/>
            </p:nvSpPr>
            <p:spPr bwMode="auto">
              <a:xfrm>
                <a:off x="5548313" y="5876926"/>
                <a:ext cx="1588" cy="1588"/>
              </a:xfrm>
              <a:custGeom>
                <a:avLst/>
                <a:gdLst>
                  <a:gd name="T0" fmla="*/ 1 w 2"/>
                  <a:gd name="T1" fmla="*/ 3 h 4"/>
                  <a:gd name="T2" fmla="*/ 0 w 2"/>
                  <a:gd name="T3" fmla="*/ 2 h 4"/>
                  <a:gd name="T4" fmla="*/ 0 w 2"/>
                  <a:gd name="T5" fmla="*/ 0 h 4"/>
                  <a:gd name="T6" fmla="*/ 2 w 2"/>
                  <a:gd name="T7" fmla="*/ 3 h 4"/>
                  <a:gd name="T8" fmla="*/ 2 w 2"/>
                  <a:gd name="T9" fmla="*/ 4 h 4"/>
                  <a:gd name="T10" fmla="*/ 0 w 2"/>
                  <a:gd name="T11" fmla="*/ 3 h 4"/>
                  <a:gd name="T12" fmla="*/ 1 w 2"/>
                  <a:gd name="T13" fmla="*/ 3 h 4"/>
                  <a:gd name="T14" fmla="*/ 1 w 2"/>
                  <a:gd name="T15" fmla="*/ 3 h 4"/>
                  <a:gd name="T16" fmla="*/ 1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1" y="3"/>
                    </a:moveTo>
                    <a:lnTo>
                      <a:pt x="0" y="2"/>
                    </a:lnTo>
                    <a:lnTo>
                      <a:pt x="0" y="0"/>
                    </a:lnTo>
                    <a:lnTo>
                      <a:pt x="2" y="3"/>
                    </a:lnTo>
                    <a:lnTo>
                      <a:pt x="2" y="4"/>
                    </a:lnTo>
                    <a:lnTo>
                      <a:pt x="0" y="3"/>
                    </a:lnTo>
                    <a:lnTo>
                      <a:pt x="1" y="3"/>
                    </a:lnTo>
                    <a:lnTo>
                      <a:pt x="1" y="3"/>
                    </a:lnTo>
                    <a:lnTo>
                      <a:pt x="1" y="3"/>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0" name="Freeform 562">
                <a:extLst>
                  <a:ext uri="{FF2B5EF4-FFF2-40B4-BE49-F238E27FC236}">
                    <a16:creationId xmlns:a16="http://schemas.microsoft.com/office/drawing/2014/main" id="{DEA3A75F-CC31-1C54-55C5-F2E45346088C}"/>
                  </a:ext>
                </a:extLst>
              </p:cNvPr>
              <p:cNvSpPr>
                <a:spLocks/>
              </p:cNvSpPr>
              <p:nvPr/>
            </p:nvSpPr>
            <p:spPr bwMode="auto">
              <a:xfrm>
                <a:off x="5495926" y="5876926"/>
                <a:ext cx="3175" cy="3175"/>
              </a:xfrm>
              <a:custGeom>
                <a:avLst/>
                <a:gdLst>
                  <a:gd name="T0" fmla="*/ 3 w 4"/>
                  <a:gd name="T1" fmla="*/ 0 h 4"/>
                  <a:gd name="T2" fmla="*/ 4 w 4"/>
                  <a:gd name="T3" fmla="*/ 2 h 4"/>
                  <a:gd name="T4" fmla="*/ 3 w 4"/>
                  <a:gd name="T5" fmla="*/ 4 h 4"/>
                  <a:gd name="T6" fmla="*/ 0 w 4"/>
                  <a:gd name="T7" fmla="*/ 3 h 4"/>
                  <a:gd name="T8" fmla="*/ 2 w 4"/>
                  <a:gd name="T9" fmla="*/ 1 h 4"/>
                  <a:gd name="T10" fmla="*/ 3 w 4"/>
                  <a:gd name="T11" fmla="*/ 0 h 4"/>
                  <a:gd name="T12" fmla="*/ 3 w 4"/>
                  <a:gd name="T13" fmla="*/ 0 h 4"/>
                  <a:gd name="T14" fmla="*/ 3 w 4"/>
                  <a:gd name="T15" fmla="*/ 0 h 4"/>
                  <a:gd name="T16" fmla="*/ 3 w 4"/>
                  <a:gd name="T17" fmla="*/ 0 h 4"/>
                  <a:gd name="T18" fmla="*/ 3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0"/>
                    </a:moveTo>
                    <a:lnTo>
                      <a:pt x="4" y="2"/>
                    </a:lnTo>
                    <a:lnTo>
                      <a:pt x="3" y="4"/>
                    </a:lnTo>
                    <a:lnTo>
                      <a:pt x="0" y="3"/>
                    </a:lnTo>
                    <a:lnTo>
                      <a:pt x="2" y="1"/>
                    </a:lnTo>
                    <a:lnTo>
                      <a:pt x="3" y="0"/>
                    </a:lnTo>
                    <a:lnTo>
                      <a:pt x="3" y="0"/>
                    </a:lnTo>
                    <a:lnTo>
                      <a:pt x="3" y="0"/>
                    </a:lnTo>
                    <a:lnTo>
                      <a:pt x="3"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1" name="Freeform 563">
                <a:extLst>
                  <a:ext uri="{FF2B5EF4-FFF2-40B4-BE49-F238E27FC236}">
                    <a16:creationId xmlns:a16="http://schemas.microsoft.com/office/drawing/2014/main" id="{CA4E4E2C-5152-CA60-B96B-906F93D7FBC6}"/>
                  </a:ext>
                </a:extLst>
              </p:cNvPr>
              <p:cNvSpPr>
                <a:spLocks/>
              </p:cNvSpPr>
              <p:nvPr/>
            </p:nvSpPr>
            <p:spPr bwMode="auto">
              <a:xfrm>
                <a:off x="5557838" y="5876926"/>
                <a:ext cx="1588" cy="3175"/>
              </a:xfrm>
              <a:custGeom>
                <a:avLst/>
                <a:gdLst>
                  <a:gd name="T0" fmla="*/ 1 w 2"/>
                  <a:gd name="T1" fmla="*/ 0 h 4"/>
                  <a:gd name="T2" fmla="*/ 2 w 2"/>
                  <a:gd name="T3" fmla="*/ 2 h 4"/>
                  <a:gd name="T4" fmla="*/ 1 w 2"/>
                  <a:gd name="T5" fmla="*/ 4 h 4"/>
                  <a:gd name="T6" fmla="*/ 0 w 2"/>
                  <a:gd name="T7" fmla="*/ 2 h 4"/>
                  <a:gd name="T8" fmla="*/ 1 w 2"/>
                  <a:gd name="T9" fmla="*/ 0 h 4"/>
                  <a:gd name="T10" fmla="*/ 1 w 2"/>
                  <a:gd name="T11" fmla="*/ 0 h 4"/>
                  <a:gd name="T12" fmla="*/ 1 w 2"/>
                  <a:gd name="T13" fmla="*/ 0 h 4"/>
                  <a:gd name="T14" fmla="*/ 1 w 2"/>
                  <a:gd name="T15" fmla="*/ 0 h 4"/>
                  <a:gd name="T16" fmla="*/ 1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1" y="0"/>
                    </a:moveTo>
                    <a:lnTo>
                      <a:pt x="2" y="2"/>
                    </a:lnTo>
                    <a:lnTo>
                      <a:pt x="1" y="4"/>
                    </a:lnTo>
                    <a:lnTo>
                      <a:pt x="0" y="2"/>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2" name="Freeform 564">
                <a:extLst>
                  <a:ext uri="{FF2B5EF4-FFF2-40B4-BE49-F238E27FC236}">
                    <a16:creationId xmlns:a16="http://schemas.microsoft.com/office/drawing/2014/main" id="{23459363-58EF-AB6B-E0BF-528BCEF5C0AB}"/>
                  </a:ext>
                </a:extLst>
              </p:cNvPr>
              <p:cNvSpPr>
                <a:spLocks/>
              </p:cNvSpPr>
              <p:nvPr/>
            </p:nvSpPr>
            <p:spPr bwMode="auto">
              <a:xfrm>
                <a:off x="5561013" y="5878513"/>
                <a:ext cx="0" cy="1588"/>
              </a:xfrm>
              <a:custGeom>
                <a:avLst/>
                <a:gdLst>
                  <a:gd name="T0" fmla="*/ 1 w 1"/>
                  <a:gd name="T1" fmla="*/ 0 h 3"/>
                  <a:gd name="T2" fmla="*/ 1 w 1"/>
                  <a:gd name="T3" fmla="*/ 2 h 3"/>
                  <a:gd name="T4" fmla="*/ 0 w 1"/>
                  <a:gd name="T5" fmla="*/ 3 h 3"/>
                  <a:gd name="T6" fmla="*/ 0 w 1"/>
                  <a:gd name="T7" fmla="*/ 3 h 3"/>
                  <a:gd name="T8" fmla="*/ 0 w 1"/>
                  <a:gd name="T9" fmla="*/ 0 h 3"/>
                  <a:gd name="T10" fmla="*/ 0 w 1"/>
                  <a:gd name="T11" fmla="*/ 0 h 3"/>
                  <a:gd name="T12" fmla="*/ 1 w 1"/>
                  <a:gd name="T13" fmla="*/ 0 h 3"/>
                  <a:gd name="T14" fmla="*/ 1 w 1"/>
                  <a:gd name="T15" fmla="*/ 0 h 3"/>
                  <a:gd name="T16" fmla="*/ 1 w 1"/>
                  <a:gd name="T17" fmla="*/ 0 h 3"/>
                  <a:gd name="T18" fmla="*/ 1 w 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3">
                    <a:moveTo>
                      <a:pt x="1" y="0"/>
                    </a:moveTo>
                    <a:lnTo>
                      <a:pt x="1" y="2"/>
                    </a:lnTo>
                    <a:lnTo>
                      <a:pt x="0" y="3"/>
                    </a:lnTo>
                    <a:lnTo>
                      <a:pt x="0" y="3"/>
                    </a:lnTo>
                    <a:lnTo>
                      <a:pt x="0" y="0"/>
                    </a:lnTo>
                    <a:lnTo>
                      <a:pt x="0"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3" name="Freeform 565">
                <a:extLst>
                  <a:ext uri="{FF2B5EF4-FFF2-40B4-BE49-F238E27FC236}">
                    <a16:creationId xmlns:a16="http://schemas.microsoft.com/office/drawing/2014/main" id="{E106F677-B9AC-9BBC-911A-BF9C0D2B0008}"/>
                  </a:ext>
                </a:extLst>
              </p:cNvPr>
              <p:cNvSpPr>
                <a:spLocks/>
              </p:cNvSpPr>
              <p:nvPr/>
            </p:nvSpPr>
            <p:spPr bwMode="auto">
              <a:xfrm>
                <a:off x="5521326" y="5878513"/>
                <a:ext cx="3175" cy="1588"/>
              </a:xfrm>
              <a:custGeom>
                <a:avLst/>
                <a:gdLst>
                  <a:gd name="T0" fmla="*/ 3 w 6"/>
                  <a:gd name="T1" fmla="*/ 0 h 3"/>
                  <a:gd name="T2" fmla="*/ 6 w 6"/>
                  <a:gd name="T3" fmla="*/ 1 h 3"/>
                  <a:gd name="T4" fmla="*/ 3 w 6"/>
                  <a:gd name="T5" fmla="*/ 3 h 3"/>
                  <a:gd name="T6" fmla="*/ 1 w 6"/>
                  <a:gd name="T7" fmla="*/ 3 h 3"/>
                  <a:gd name="T8" fmla="*/ 0 w 6"/>
                  <a:gd name="T9" fmla="*/ 2 h 3"/>
                  <a:gd name="T10" fmla="*/ 0 w 6"/>
                  <a:gd name="T11" fmla="*/ 1 h 3"/>
                  <a:gd name="T12" fmla="*/ 3 w 6"/>
                  <a:gd name="T13" fmla="*/ 0 h 3"/>
                  <a:gd name="T14" fmla="*/ 3 w 6"/>
                  <a:gd name="T15" fmla="*/ 0 h 3"/>
                  <a:gd name="T16" fmla="*/ 3 w 6"/>
                  <a:gd name="T17" fmla="*/ 0 h 3"/>
                  <a:gd name="T18" fmla="*/ 3 w 6"/>
                  <a:gd name="T19" fmla="*/ 0 h 3"/>
                  <a:gd name="T20" fmla="*/ 3 w 6"/>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3">
                    <a:moveTo>
                      <a:pt x="3" y="0"/>
                    </a:moveTo>
                    <a:lnTo>
                      <a:pt x="6" y="1"/>
                    </a:lnTo>
                    <a:lnTo>
                      <a:pt x="3" y="3"/>
                    </a:lnTo>
                    <a:lnTo>
                      <a:pt x="1" y="3"/>
                    </a:lnTo>
                    <a:lnTo>
                      <a:pt x="0" y="2"/>
                    </a:lnTo>
                    <a:lnTo>
                      <a:pt x="0" y="1"/>
                    </a:lnTo>
                    <a:lnTo>
                      <a:pt x="3" y="0"/>
                    </a:lnTo>
                    <a:lnTo>
                      <a:pt x="3" y="0"/>
                    </a:lnTo>
                    <a:lnTo>
                      <a:pt x="3" y="0"/>
                    </a:lnTo>
                    <a:lnTo>
                      <a:pt x="3"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4" name="Freeform 566">
                <a:extLst>
                  <a:ext uri="{FF2B5EF4-FFF2-40B4-BE49-F238E27FC236}">
                    <a16:creationId xmlns:a16="http://schemas.microsoft.com/office/drawing/2014/main" id="{461AD0F7-2E4C-A990-D1A6-7F98FB339E1B}"/>
                  </a:ext>
                </a:extLst>
              </p:cNvPr>
              <p:cNvSpPr>
                <a:spLocks/>
              </p:cNvSpPr>
              <p:nvPr/>
            </p:nvSpPr>
            <p:spPr bwMode="auto">
              <a:xfrm>
                <a:off x="5489576" y="5881688"/>
                <a:ext cx="3175" cy="4763"/>
              </a:xfrm>
              <a:custGeom>
                <a:avLst/>
                <a:gdLst>
                  <a:gd name="T0" fmla="*/ 3 w 6"/>
                  <a:gd name="T1" fmla="*/ 0 h 8"/>
                  <a:gd name="T2" fmla="*/ 5 w 6"/>
                  <a:gd name="T3" fmla="*/ 0 h 8"/>
                  <a:gd name="T4" fmla="*/ 6 w 6"/>
                  <a:gd name="T5" fmla="*/ 0 h 8"/>
                  <a:gd name="T6" fmla="*/ 3 w 6"/>
                  <a:gd name="T7" fmla="*/ 7 h 8"/>
                  <a:gd name="T8" fmla="*/ 2 w 6"/>
                  <a:gd name="T9" fmla="*/ 8 h 8"/>
                  <a:gd name="T10" fmla="*/ 0 w 6"/>
                  <a:gd name="T11" fmla="*/ 3 h 8"/>
                  <a:gd name="T12" fmla="*/ 3 w 6"/>
                  <a:gd name="T13" fmla="*/ 0 h 8"/>
                  <a:gd name="T14" fmla="*/ 3 w 6"/>
                  <a:gd name="T15" fmla="*/ 0 h 8"/>
                  <a:gd name="T16" fmla="*/ 3 w 6"/>
                  <a:gd name="T17" fmla="*/ 0 h 8"/>
                  <a:gd name="T18" fmla="*/ 3 w 6"/>
                  <a:gd name="T19" fmla="*/ 0 h 8"/>
                  <a:gd name="T20" fmla="*/ 3 w 6"/>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3" y="0"/>
                    </a:moveTo>
                    <a:lnTo>
                      <a:pt x="5" y="0"/>
                    </a:lnTo>
                    <a:lnTo>
                      <a:pt x="6" y="0"/>
                    </a:lnTo>
                    <a:lnTo>
                      <a:pt x="3" y="7"/>
                    </a:lnTo>
                    <a:lnTo>
                      <a:pt x="2" y="8"/>
                    </a:lnTo>
                    <a:lnTo>
                      <a:pt x="0" y="3"/>
                    </a:lnTo>
                    <a:lnTo>
                      <a:pt x="3" y="0"/>
                    </a:lnTo>
                    <a:lnTo>
                      <a:pt x="3" y="0"/>
                    </a:lnTo>
                    <a:lnTo>
                      <a:pt x="3" y="0"/>
                    </a:lnTo>
                    <a:lnTo>
                      <a:pt x="3" y="0"/>
                    </a:lnTo>
                    <a:lnTo>
                      <a:pt x="3"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5" name="Freeform 567">
                <a:extLst>
                  <a:ext uri="{FF2B5EF4-FFF2-40B4-BE49-F238E27FC236}">
                    <a16:creationId xmlns:a16="http://schemas.microsoft.com/office/drawing/2014/main" id="{E3168197-4016-65E1-40E5-780409A6C84B}"/>
                  </a:ext>
                </a:extLst>
              </p:cNvPr>
              <p:cNvSpPr>
                <a:spLocks/>
              </p:cNvSpPr>
              <p:nvPr/>
            </p:nvSpPr>
            <p:spPr bwMode="auto">
              <a:xfrm>
                <a:off x="5519738" y="5883276"/>
                <a:ext cx="23813" cy="17463"/>
              </a:xfrm>
              <a:custGeom>
                <a:avLst/>
                <a:gdLst>
                  <a:gd name="T0" fmla="*/ 22 w 44"/>
                  <a:gd name="T1" fmla="*/ 1 h 33"/>
                  <a:gd name="T2" fmla="*/ 27 w 44"/>
                  <a:gd name="T3" fmla="*/ 0 h 33"/>
                  <a:gd name="T4" fmla="*/ 34 w 44"/>
                  <a:gd name="T5" fmla="*/ 3 h 33"/>
                  <a:gd name="T6" fmla="*/ 40 w 44"/>
                  <a:gd name="T7" fmla="*/ 8 h 33"/>
                  <a:gd name="T8" fmla="*/ 43 w 44"/>
                  <a:gd name="T9" fmla="*/ 12 h 33"/>
                  <a:gd name="T10" fmla="*/ 42 w 44"/>
                  <a:gd name="T11" fmla="*/ 17 h 33"/>
                  <a:gd name="T12" fmla="*/ 44 w 44"/>
                  <a:gd name="T13" fmla="*/ 28 h 33"/>
                  <a:gd name="T14" fmla="*/ 43 w 44"/>
                  <a:gd name="T15" fmla="*/ 28 h 33"/>
                  <a:gd name="T16" fmla="*/ 39 w 44"/>
                  <a:gd name="T17" fmla="*/ 27 h 33"/>
                  <a:gd name="T18" fmla="*/ 34 w 44"/>
                  <a:gd name="T19" fmla="*/ 18 h 33"/>
                  <a:gd name="T20" fmla="*/ 32 w 44"/>
                  <a:gd name="T21" fmla="*/ 24 h 33"/>
                  <a:gd name="T22" fmla="*/ 33 w 44"/>
                  <a:gd name="T23" fmla="*/ 31 h 33"/>
                  <a:gd name="T24" fmla="*/ 32 w 44"/>
                  <a:gd name="T25" fmla="*/ 33 h 33"/>
                  <a:gd name="T26" fmla="*/ 27 w 44"/>
                  <a:gd name="T27" fmla="*/ 31 h 33"/>
                  <a:gd name="T28" fmla="*/ 25 w 44"/>
                  <a:gd name="T29" fmla="*/ 21 h 33"/>
                  <a:gd name="T30" fmla="*/ 20 w 44"/>
                  <a:gd name="T31" fmla="*/ 18 h 33"/>
                  <a:gd name="T32" fmla="*/ 19 w 44"/>
                  <a:gd name="T33" fmla="*/ 17 h 33"/>
                  <a:gd name="T34" fmla="*/ 17 w 44"/>
                  <a:gd name="T35" fmla="*/ 21 h 33"/>
                  <a:gd name="T36" fmla="*/ 16 w 44"/>
                  <a:gd name="T37" fmla="*/ 21 h 33"/>
                  <a:gd name="T38" fmla="*/ 15 w 44"/>
                  <a:gd name="T39" fmla="*/ 20 h 33"/>
                  <a:gd name="T40" fmla="*/ 14 w 44"/>
                  <a:gd name="T41" fmla="*/ 16 h 33"/>
                  <a:gd name="T42" fmla="*/ 4 w 44"/>
                  <a:gd name="T43" fmla="*/ 16 h 33"/>
                  <a:gd name="T44" fmla="*/ 0 w 44"/>
                  <a:gd name="T45" fmla="*/ 9 h 33"/>
                  <a:gd name="T46" fmla="*/ 1 w 44"/>
                  <a:gd name="T47" fmla="*/ 6 h 33"/>
                  <a:gd name="T48" fmla="*/ 5 w 44"/>
                  <a:gd name="T49" fmla="*/ 2 h 33"/>
                  <a:gd name="T50" fmla="*/ 8 w 44"/>
                  <a:gd name="T51" fmla="*/ 2 h 33"/>
                  <a:gd name="T52" fmla="*/ 16 w 44"/>
                  <a:gd name="T53" fmla="*/ 6 h 33"/>
                  <a:gd name="T54" fmla="*/ 22 w 44"/>
                  <a:gd name="T55" fmla="*/ 1 h 33"/>
                  <a:gd name="T56" fmla="*/ 22 w 44"/>
                  <a:gd name="T57" fmla="*/ 1 h 33"/>
                  <a:gd name="T58" fmla="*/ 22 w 44"/>
                  <a:gd name="T59" fmla="*/ 1 h 33"/>
                  <a:gd name="T60" fmla="*/ 22 w 44"/>
                  <a:gd name="T61" fmla="*/ 1 h 33"/>
                  <a:gd name="T62" fmla="*/ 22 w 44"/>
                  <a:gd name="T6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33">
                    <a:moveTo>
                      <a:pt x="22" y="1"/>
                    </a:moveTo>
                    <a:lnTo>
                      <a:pt x="27" y="0"/>
                    </a:lnTo>
                    <a:lnTo>
                      <a:pt x="34" y="3"/>
                    </a:lnTo>
                    <a:lnTo>
                      <a:pt x="40" y="8"/>
                    </a:lnTo>
                    <a:lnTo>
                      <a:pt x="43" y="12"/>
                    </a:lnTo>
                    <a:lnTo>
                      <a:pt x="42" y="17"/>
                    </a:lnTo>
                    <a:lnTo>
                      <a:pt x="44" y="28"/>
                    </a:lnTo>
                    <a:lnTo>
                      <a:pt x="43" y="28"/>
                    </a:lnTo>
                    <a:lnTo>
                      <a:pt x="39" y="27"/>
                    </a:lnTo>
                    <a:lnTo>
                      <a:pt x="34" y="18"/>
                    </a:lnTo>
                    <a:lnTo>
                      <a:pt x="32" y="24"/>
                    </a:lnTo>
                    <a:lnTo>
                      <a:pt x="33" y="31"/>
                    </a:lnTo>
                    <a:lnTo>
                      <a:pt x="32" y="33"/>
                    </a:lnTo>
                    <a:lnTo>
                      <a:pt x="27" y="31"/>
                    </a:lnTo>
                    <a:lnTo>
                      <a:pt x="25" y="21"/>
                    </a:lnTo>
                    <a:lnTo>
                      <a:pt x="20" y="18"/>
                    </a:lnTo>
                    <a:lnTo>
                      <a:pt x="19" y="17"/>
                    </a:lnTo>
                    <a:lnTo>
                      <a:pt x="17" y="21"/>
                    </a:lnTo>
                    <a:lnTo>
                      <a:pt x="16" y="21"/>
                    </a:lnTo>
                    <a:lnTo>
                      <a:pt x="15" y="20"/>
                    </a:lnTo>
                    <a:lnTo>
                      <a:pt x="14" y="16"/>
                    </a:lnTo>
                    <a:lnTo>
                      <a:pt x="4" y="16"/>
                    </a:lnTo>
                    <a:lnTo>
                      <a:pt x="0" y="9"/>
                    </a:lnTo>
                    <a:lnTo>
                      <a:pt x="1" y="6"/>
                    </a:lnTo>
                    <a:lnTo>
                      <a:pt x="5" y="2"/>
                    </a:lnTo>
                    <a:lnTo>
                      <a:pt x="8" y="2"/>
                    </a:lnTo>
                    <a:lnTo>
                      <a:pt x="16" y="6"/>
                    </a:lnTo>
                    <a:lnTo>
                      <a:pt x="22" y="1"/>
                    </a:lnTo>
                    <a:lnTo>
                      <a:pt x="22" y="1"/>
                    </a:lnTo>
                    <a:lnTo>
                      <a:pt x="22" y="1"/>
                    </a:lnTo>
                    <a:lnTo>
                      <a:pt x="22" y="1"/>
                    </a:lnTo>
                    <a:lnTo>
                      <a:pt x="22" y="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6" name="Freeform 568">
                <a:extLst>
                  <a:ext uri="{FF2B5EF4-FFF2-40B4-BE49-F238E27FC236}">
                    <a16:creationId xmlns:a16="http://schemas.microsoft.com/office/drawing/2014/main" id="{9B8B3E05-BF6C-9FCB-0B1B-41FBF68CD9A8}"/>
                  </a:ext>
                </a:extLst>
              </p:cNvPr>
              <p:cNvSpPr>
                <a:spLocks/>
              </p:cNvSpPr>
              <p:nvPr/>
            </p:nvSpPr>
            <p:spPr bwMode="auto">
              <a:xfrm>
                <a:off x="5507038" y="5884863"/>
                <a:ext cx="1588" cy="3175"/>
              </a:xfrm>
              <a:custGeom>
                <a:avLst/>
                <a:gdLst>
                  <a:gd name="T0" fmla="*/ 1 w 3"/>
                  <a:gd name="T1" fmla="*/ 0 h 4"/>
                  <a:gd name="T2" fmla="*/ 3 w 3"/>
                  <a:gd name="T3" fmla="*/ 1 h 4"/>
                  <a:gd name="T4" fmla="*/ 1 w 3"/>
                  <a:gd name="T5" fmla="*/ 4 h 4"/>
                  <a:gd name="T6" fmla="*/ 0 w 3"/>
                  <a:gd name="T7" fmla="*/ 1 h 4"/>
                  <a:gd name="T8" fmla="*/ 1 w 3"/>
                  <a:gd name="T9" fmla="*/ 0 h 4"/>
                  <a:gd name="T10" fmla="*/ 1 w 3"/>
                  <a:gd name="T11" fmla="*/ 0 h 4"/>
                  <a:gd name="T12" fmla="*/ 1 w 3"/>
                  <a:gd name="T13" fmla="*/ 0 h 4"/>
                  <a:gd name="T14" fmla="*/ 1 w 3"/>
                  <a:gd name="T15" fmla="*/ 0 h 4"/>
                  <a:gd name="T16" fmla="*/ 1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0"/>
                    </a:moveTo>
                    <a:lnTo>
                      <a:pt x="3" y="1"/>
                    </a:lnTo>
                    <a:lnTo>
                      <a:pt x="1" y="4"/>
                    </a:lnTo>
                    <a:lnTo>
                      <a:pt x="0" y="1"/>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7" name="Freeform 569">
                <a:extLst>
                  <a:ext uri="{FF2B5EF4-FFF2-40B4-BE49-F238E27FC236}">
                    <a16:creationId xmlns:a16="http://schemas.microsoft.com/office/drawing/2014/main" id="{74512DB9-3F9E-EC3F-3B96-B15993FA060E}"/>
                  </a:ext>
                </a:extLst>
              </p:cNvPr>
              <p:cNvSpPr>
                <a:spLocks/>
              </p:cNvSpPr>
              <p:nvPr/>
            </p:nvSpPr>
            <p:spPr bwMode="auto">
              <a:xfrm>
                <a:off x="5557838" y="5888038"/>
                <a:ext cx="1588" cy="0"/>
              </a:xfrm>
              <a:custGeom>
                <a:avLst/>
                <a:gdLst>
                  <a:gd name="T0" fmla="*/ 1 w 2"/>
                  <a:gd name="T1" fmla="*/ 0 h 2"/>
                  <a:gd name="T2" fmla="*/ 2 w 2"/>
                  <a:gd name="T3" fmla="*/ 2 h 2"/>
                  <a:gd name="T4" fmla="*/ 0 w 2"/>
                  <a:gd name="T5" fmla="*/ 2 h 2"/>
                  <a:gd name="T6" fmla="*/ 1 w 2"/>
                  <a:gd name="T7" fmla="*/ 1 h 2"/>
                  <a:gd name="T8" fmla="*/ 1 w 2"/>
                  <a:gd name="T9" fmla="*/ 0 h 2"/>
                  <a:gd name="T10" fmla="*/ 1 w 2"/>
                  <a:gd name="T11" fmla="*/ 0 h 2"/>
                  <a:gd name="T12" fmla="*/ 1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lnTo>
                      <a:pt x="2" y="2"/>
                    </a:lnTo>
                    <a:lnTo>
                      <a:pt x="0" y="2"/>
                    </a:lnTo>
                    <a:lnTo>
                      <a:pt x="1" y="1"/>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8" name="Freeform 570">
                <a:extLst>
                  <a:ext uri="{FF2B5EF4-FFF2-40B4-BE49-F238E27FC236}">
                    <a16:creationId xmlns:a16="http://schemas.microsoft.com/office/drawing/2014/main" id="{5B03B845-82F4-7955-0D5F-E09ED3D0C08B}"/>
                  </a:ext>
                </a:extLst>
              </p:cNvPr>
              <p:cNvSpPr>
                <a:spLocks/>
              </p:cNvSpPr>
              <p:nvPr/>
            </p:nvSpPr>
            <p:spPr bwMode="auto">
              <a:xfrm>
                <a:off x="5559426" y="5889626"/>
                <a:ext cx="0" cy="1588"/>
              </a:xfrm>
              <a:custGeom>
                <a:avLst/>
                <a:gdLst>
                  <a:gd name="T0" fmla="*/ 0 w 1"/>
                  <a:gd name="T1" fmla="*/ 0 h 2"/>
                  <a:gd name="T2" fmla="*/ 1 w 1"/>
                  <a:gd name="T3" fmla="*/ 1 h 2"/>
                  <a:gd name="T4" fmla="*/ 0 w 1"/>
                  <a:gd name="T5" fmla="*/ 2 h 2"/>
                  <a:gd name="T6" fmla="*/ 0 w 1"/>
                  <a:gd name="T7" fmla="*/ 0 h 2"/>
                  <a:gd name="T8" fmla="*/ 0 w 1"/>
                  <a:gd name="T9" fmla="*/ 0 h 2"/>
                  <a:gd name="T10" fmla="*/ 0 w 1"/>
                  <a:gd name="T11" fmla="*/ 0 h 2"/>
                  <a:gd name="T12" fmla="*/ 0 w 1"/>
                  <a:gd name="T13" fmla="*/ 0 h 2"/>
                  <a:gd name="T14" fmla="*/ 0 w 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0"/>
                    </a:moveTo>
                    <a:lnTo>
                      <a:pt x="1" y="1"/>
                    </a:lnTo>
                    <a:lnTo>
                      <a:pt x="0" y="2"/>
                    </a:lnTo>
                    <a:lnTo>
                      <a:pt x="0" y="0"/>
                    </a:lnTo>
                    <a:lnTo>
                      <a:pt x="0" y="0"/>
                    </a:lnTo>
                    <a:lnTo>
                      <a:pt x="0" y="0"/>
                    </a:lnTo>
                    <a:lnTo>
                      <a:pt x="0" y="0"/>
                    </a:lnTo>
                    <a:lnTo>
                      <a:pt x="0"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69" name="Freeform 571">
                <a:extLst>
                  <a:ext uri="{FF2B5EF4-FFF2-40B4-BE49-F238E27FC236}">
                    <a16:creationId xmlns:a16="http://schemas.microsoft.com/office/drawing/2014/main" id="{9B6CB14E-85AF-8A3B-63C5-1A98C111ACB6}"/>
                  </a:ext>
                </a:extLst>
              </p:cNvPr>
              <p:cNvSpPr>
                <a:spLocks/>
              </p:cNvSpPr>
              <p:nvPr/>
            </p:nvSpPr>
            <p:spPr bwMode="auto">
              <a:xfrm>
                <a:off x="5546726" y="5889626"/>
                <a:ext cx="3175" cy="3175"/>
              </a:xfrm>
              <a:custGeom>
                <a:avLst/>
                <a:gdLst>
                  <a:gd name="T0" fmla="*/ 3 w 7"/>
                  <a:gd name="T1" fmla="*/ 1 h 5"/>
                  <a:gd name="T2" fmla="*/ 6 w 7"/>
                  <a:gd name="T3" fmla="*/ 0 h 5"/>
                  <a:gd name="T4" fmla="*/ 7 w 7"/>
                  <a:gd name="T5" fmla="*/ 1 h 5"/>
                  <a:gd name="T6" fmla="*/ 3 w 7"/>
                  <a:gd name="T7" fmla="*/ 5 h 5"/>
                  <a:gd name="T8" fmla="*/ 1 w 7"/>
                  <a:gd name="T9" fmla="*/ 4 h 5"/>
                  <a:gd name="T10" fmla="*/ 0 w 7"/>
                  <a:gd name="T11" fmla="*/ 3 h 5"/>
                  <a:gd name="T12" fmla="*/ 3 w 7"/>
                  <a:gd name="T13" fmla="*/ 1 h 5"/>
                  <a:gd name="T14" fmla="*/ 3 w 7"/>
                  <a:gd name="T15" fmla="*/ 1 h 5"/>
                  <a:gd name="T16" fmla="*/ 3 w 7"/>
                  <a:gd name="T17" fmla="*/ 1 h 5"/>
                  <a:gd name="T18" fmla="*/ 3 w 7"/>
                  <a:gd name="T19" fmla="*/ 1 h 5"/>
                  <a:gd name="T20" fmla="*/ 3 w 7"/>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3" y="1"/>
                    </a:moveTo>
                    <a:lnTo>
                      <a:pt x="6" y="0"/>
                    </a:lnTo>
                    <a:lnTo>
                      <a:pt x="7" y="1"/>
                    </a:lnTo>
                    <a:lnTo>
                      <a:pt x="3" y="5"/>
                    </a:lnTo>
                    <a:lnTo>
                      <a:pt x="1" y="4"/>
                    </a:lnTo>
                    <a:lnTo>
                      <a:pt x="0" y="3"/>
                    </a:lnTo>
                    <a:lnTo>
                      <a:pt x="3" y="1"/>
                    </a:lnTo>
                    <a:lnTo>
                      <a:pt x="3" y="1"/>
                    </a:lnTo>
                    <a:lnTo>
                      <a:pt x="3" y="1"/>
                    </a:lnTo>
                    <a:lnTo>
                      <a:pt x="3" y="1"/>
                    </a:lnTo>
                    <a:lnTo>
                      <a:pt x="3" y="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0" name="Freeform 572">
                <a:extLst>
                  <a:ext uri="{FF2B5EF4-FFF2-40B4-BE49-F238E27FC236}">
                    <a16:creationId xmlns:a16="http://schemas.microsoft.com/office/drawing/2014/main" id="{2849433E-CF34-50BA-DA21-1BA2644AA2B2}"/>
                  </a:ext>
                </a:extLst>
              </p:cNvPr>
              <p:cNvSpPr>
                <a:spLocks/>
              </p:cNvSpPr>
              <p:nvPr/>
            </p:nvSpPr>
            <p:spPr bwMode="auto">
              <a:xfrm>
                <a:off x="5505451" y="5891213"/>
                <a:ext cx="3175" cy="3175"/>
              </a:xfrm>
              <a:custGeom>
                <a:avLst/>
                <a:gdLst>
                  <a:gd name="T0" fmla="*/ 1 w 6"/>
                  <a:gd name="T1" fmla="*/ 0 h 5"/>
                  <a:gd name="T2" fmla="*/ 6 w 6"/>
                  <a:gd name="T3" fmla="*/ 2 h 5"/>
                  <a:gd name="T4" fmla="*/ 5 w 6"/>
                  <a:gd name="T5" fmla="*/ 5 h 5"/>
                  <a:gd name="T6" fmla="*/ 0 w 6"/>
                  <a:gd name="T7" fmla="*/ 1 h 5"/>
                  <a:gd name="T8" fmla="*/ 1 w 6"/>
                  <a:gd name="T9" fmla="*/ 0 h 5"/>
                  <a:gd name="T10" fmla="*/ 1 w 6"/>
                  <a:gd name="T11" fmla="*/ 0 h 5"/>
                  <a:gd name="T12" fmla="*/ 1 w 6"/>
                  <a:gd name="T13" fmla="*/ 0 h 5"/>
                  <a:gd name="T14" fmla="*/ 1 w 6"/>
                  <a:gd name="T15" fmla="*/ 0 h 5"/>
                  <a:gd name="T16" fmla="*/ 1 w 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1" y="0"/>
                    </a:moveTo>
                    <a:lnTo>
                      <a:pt x="6" y="2"/>
                    </a:lnTo>
                    <a:lnTo>
                      <a:pt x="5" y="5"/>
                    </a:lnTo>
                    <a:lnTo>
                      <a:pt x="0" y="1"/>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1" name="Freeform 573">
                <a:extLst>
                  <a:ext uri="{FF2B5EF4-FFF2-40B4-BE49-F238E27FC236}">
                    <a16:creationId xmlns:a16="http://schemas.microsoft.com/office/drawing/2014/main" id="{DFC3CBC5-488B-D4DD-7F27-6A4653D7BD87}"/>
                  </a:ext>
                </a:extLst>
              </p:cNvPr>
              <p:cNvSpPr>
                <a:spLocks/>
              </p:cNvSpPr>
              <p:nvPr/>
            </p:nvSpPr>
            <p:spPr bwMode="auto">
              <a:xfrm>
                <a:off x="5518151" y="5894388"/>
                <a:ext cx="9525" cy="11113"/>
              </a:xfrm>
              <a:custGeom>
                <a:avLst/>
                <a:gdLst>
                  <a:gd name="T0" fmla="*/ 4 w 16"/>
                  <a:gd name="T1" fmla="*/ 0 h 20"/>
                  <a:gd name="T2" fmla="*/ 8 w 16"/>
                  <a:gd name="T3" fmla="*/ 6 h 20"/>
                  <a:gd name="T4" fmla="*/ 16 w 16"/>
                  <a:gd name="T5" fmla="*/ 9 h 20"/>
                  <a:gd name="T6" fmla="*/ 12 w 16"/>
                  <a:gd name="T7" fmla="*/ 13 h 20"/>
                  <a:gd name="T8" fmla="*/ 11 w 16"/>
                  <a:gd name="T9" fmla="*/ 19 h 20"/>
                  <a:gd name="T10" fmla="*/ 8 w 16"/>
                  <a:gd name="T11" fmla="*/ 20 h 20"/>
                  <a:gd name="T12" fmla="*/ 4 w 16"/>
                  <a:gd name="T13" fmla="*/ 19 h 20"/>
                  <a:gd name="T14" fmla="*/ 3 w 16"/>
                  <a:gd name="T15" fmla="*/ 17 h 20"/>
                  <a:gd name="T16" fmla="*/ 4 w 16"/>
                  <a:gd name="T17" fmla="*/ 8 h 20"/>
                  <a:gd name="T18" fmla="*/ 1 w 16"/>
                  <a:gd name="T19" fmla="*/ 6 h 20"/>
                  <a:gd name="T20" fmla="*/ 0 w 16"/>
                  <a:gd name="T21" fmla="*/ 1 h 20"/>
                  <a:gd name="T22" fmla="*/ 2 w 16"/>
                  <a:gd name="T23" fmla="*/ 0 h 20"/>
                  <a:gd name="T24" fmla="*/ 4 w 16"/>
                  <a:gd name="T25" fmla="*/ 0 h 20"/>
                  <a:gd name="T26" fmla="*/ 4 w 16"/>
                  <a:gd name="T27" fmla="*/ 0 h 20"/>
                  <a:gd name="T28" fmla="*/ 4 w 16"/>
                  <a:gd name="T29" fmla="*/ 0 h 20"/>
                  <a:gd name="T30" fmla="*/ 4 w 16"/>
                  <a:gd name="T31" fmla="*/ 0 h 20"/>
                  <a:gd name="T32" fmla="*/ 4 w 16"/>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0">
                    <a:moveTo>
                      <a:pt x="4" y="0"/>
                    </a:moveTo>
                    <a:lnTo>
                      <a:pt x="8" y="6"/>
                    </a:lnTo>
                    <a:lnTo>
                      <a:pt x="16" y="9"/>
                    </a:lnTo>
                    <a:lnTo>
                      <a:pt x="12" y="13"/>
                    </a:lnTo>
                    <a:lnTo>
                      <a:pt x="11" y="19"/>
                    </a:lnTo>
                    <a:lnTo>
                      <a:pt x="8" y="20"/>
                    </a:lnTo>
                    <a:lnTo>
                      <a:pt x="4" y="19"/>
                    </a:lnTo>
                    <a:lnTo>
                      <a:pt x="3" y="17"/>
                    </a:lnTo>
                    <a:lnTo>
                      <a:pt x="4" y="8"/>
                    </a:lnTo>
                    <a:lnTo>
                      <a:pt x="1" y="6"/>
                    </a:lnTo>
                    <a:lnTo>
                      <a:pt x="0" y="1"/>
                    </a:lnTo>
                    <a:lnTo>
                      <a:pt x="2" y="0"/>
                    </a:lnTo>
                    <a:lnTo>
                      <a:pt x="4" y="0"/>
                    </a:lnTo>
                    <a:lnTo>
                      <a:pt x="4" y="0"/>
                    </a:lnTo>
                    <a:lnTo>
                      <a:pt x="4" y="0"/>
                    </a:lnTo>
                    <a:lnTo>
                      <a:pt x="4" y="0"/>
                    </a:lnTo>
                    <a:lnTo>
                      <a:pt x="4"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2" name="Freeform 574">
                <a:extLst>
                  <a:ext uri="{FF2B5EF4-FFF2-40B4-BE49-F238E27FC236}">
                    <a16:creationId xmlns:a16="http://schemas.microsoft.com/office/drawing/2014/main" id="{757B8ED8-8512-D0EC-5DB7-08192CD9670D}"/>
                  </a:ext>
                </a:extLst>
              </p:cNvPr>
              <p:cNvSpPr>
                <a:spLocks/>
              </p:cNvSpPr>
              <p:nvPr/>
            </p:nvSpPr>
            <p:spPr bwMode="auto">
              <a:xfrm>
                <a:off x="5503863" y="5897563"/>
                <a:ext cx="3175" cy="4763"/>
              </a:xfrm>
              <a:custGeom>
                <a:avLst/>
                <a:gdLst>
                  <a:gd name="T0" fmla="*/ 2 w 6"/>
                  <a:gd name="T1" fmla="*/ 1 h 7"/>
                  <a:gd name="T2" fmla="*/ 3 w 6"/>
                  <a:gd name="T3" fmla="*/ 0 h 7"/>
                  <a:gd name="T4" fmla="*/ 5 w 6"/>
                  <a:gd name="T5" fmla="*/ 0 h 7"/>
                  <a:gd name="T6" fmla="*/ 5 w 6"/>
                  <a:gd name="T7" fmla="*/ 3 h 7"/>
                  <a:gd name="T8" fmla="*/ 6 w 6"/>
                  <a:gd name="T9" fmla="*/ 5 h 7"/>
                  <a:gd name="T10" fmla="*/ 0 w 6"/>
                  <a:gd name="T11" fmla="*/ 7 h 7"/>
                  <a:gd name="T12" fmla="*/ 0 w 6"/>
                  <a:gd name="T13" fmla="*/ 5 h 7"/>
                  <a:gd name="T14" fmla="*/ 2 w 6"/>
                  <a:gd name="T15" fmla="*/ 1 h 7"/>
                  <a:gd name="T16" fmla="*/ 2 w 6"/>
                  <a:gd name="T17" fmla="*/ 1 h 7"/>
                  <a:gd name="T18" fmla="*/ 2 w 6"/>
                  <a:gd name="T19" fmla="*/ 1 h 7"/>
                  <a:gd name="T20" fmla="*/ 2 w 6"/>
                  <a:gd name="T21" fmla="*/ 1 h 7"/>
                  <a:gd name="T22" fmla="*/ 2 w 6"/>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2" y="1"/>
                    </a:moveTo>
                    <a:lnTo>
                      <a:pt x="3" y="0"/>
                    </a:lnTo>
                    <a:lnTo>
                      <a:pt x="5" y="0"/>
                    </a:lnTo>
                    <a:lnTo>
                      <a:pt x="5" y="3"/>
                    </a:lnTo>
                    <a:lnTo>
                      <a:pt x="6" y="5"/>
                    </a:lnTo>
                    <a:lnTo>
                      <a:pt x="0" y="7"/>
                    </a:lnTo>
                    <a:lnTo>
                      <a:pt x="0" y="5"/>
                    </a:lnTo>
                    <a:lnTo>
                      <a:pt x="2" y="1"/>
                    </a:lnTo>
                    <a:lnTo>
                      <a:pt x="2" y="1"/>
                    </a:lnTo>
                    <a:lnTo>
                      <a:pt x="2" y="1"/>
                    </a:lnTo>
                    <a:lnTo>
                      <a:pt x="2" y="1"/>
                    </a:lnTo>
                    <a:lnTo>
                      <a:pt x="2" y="1"/>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3" name="Freeform 575">
                <a:extLst>
                  <a:ext uri="{FF2B5EF4-FFF2-40B4-BE49-F238E27FC236}">
                    <a16:creationId xmlns:a16="http://schemas.microsoft.com/office/drawing/2014/main" id="{F6BDABA2-700E-74F1-E836-4DA0050E2213}"/>
                  </a:ext>
                </a:extLst>
              </p:cNvPr>
              <p:cNvSpPr>
                <a:spLocks/>
              </p:cNvSpPr>
              <p:nvPr/>
            </p:nvSpPr>
            <p:spPr bwMode="auto">
              <a:xfrm>
                <a:off x="5548313" y="5902326"/>
                <a:ext cx="1588" cy="0"/>
              </a:xfrm>
              <a:custGeom>
                <a:avLst/>
                <a:gdLst>
                  <a:gd name="T0" fmla="*/ 1 w 2"/>
                  <a:gd name="T1" fmla="*/ 0 h 1"/>
                  <a:gd name="T2" fmla="*/ 2 w 2"/>
                  <a:gd name="T3" fmla="*/ 0 h 1"/>
                  <a:gd name="T4" fmla="*/ 1 w 2"/>
                  <a:gd name="T5" fmla="*/ 1 h 1"/>
                  <a:gd name="T6" fmla="*/ 0 w 2"/>
                  <a:gd name="T7" fmla="*/ 1 h 1"/>
                  <a:gd name="T8" fmla="*/ 1 w 2"/>
                  <a:gd name="T9" fmla="*/ 0 h 1"/>
                  <a:gd name="T10" fmla="*/ 1 w 2"/>
                  <a:gd name="T11" fmla="*/ 0 h 1"/>
                  <a:gd name="T12" fmla="*/ 1 w 2"/>
                  <a:gd name="T13" fmla="*/ 0 h 1"/>
                  <a:gd name="T14" fmla="*/ 1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lnTo>
                      <a:pt x="2" y="0"/>
                    </a:lnTo>
                    <a:lnTo>
                      <a:pt x="1" y="1"/>
                    </a:lnTo>
                    <a:lnTo>
                      <a:pt x="0" y="1"/>
                    </a:lnTo>
                    <a:lnTo>
                      <a:pt x="1" y="0"/>
                    </a:lnTo>
                    <a:lnTo>
                      <a:pt x="1" y="0"/>
                    </a:lnTo>
                    <a:lnTo>
                      <a:pt x="1" y="0"/>
                    </a:lnTo>
                    <a:lnTo>
                      <a:pt x="1" y="0"/>
                    </a:lnTo>
                    <a:lnTo>
                      <a:pt x="1"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sp>
            <p:nvSpPr>
              <p:cNvPr id="74" name="Freeform 576">
                <a:extLst>
                  <a:ext uri="{FF2B5EF4-FFF2-40B4-BE49-F238E27FC236}">
                    <a16:creationId xmlns:a16="http://schemas.microsoft.com/office/drawing/2014/main" id="{C7A8E502-5012-3692-7BDF-D1648FD6F201}"/>
                  </a:ext>
                </a:extLst>
              </p:cNvPr>
              <p:cNvSpPr>
                <a:spLocks/>
              </p:cNvSpPr>
              <p:nvPr/>
            </p:nvSpPr>
            <p:spPr bwMode="auto">
              <a:xfrm>
                <a:off x="5541963" y="5903913"/>
                <a:ext cx="4763" cy="3175"/>
              </a:xfrm>
              <a:custGeom>
                <a:avLst/>
                <a:gdLst>
                  <a:gd name="T0" fmla="*/ 5 w 9"/>
                  <a:gd name="T1" fmla="*/ 0 h 8"/>
                  <a:gd name="T2" fmla="*/ 7 w 9"/>
                  <a:gd name="T3" fmla="*/ 0 h 8"/>
                  <a:gd name="T4" fmla="*/ 9 w 9"/>
                  <a:gd name="T5" fmla="*/ 7 h 8"/>
                  <a:gd name="T6" fmla="*/ 3 w 9"/>
                  <a:gd name="T7" fmla="*/ 8 h 8"/>
                  <a:gd name="T8" fmla="*/ 0 w 9"/>
                  <a:gd name="T9" fmla="*/ 3 h 8"/>
                  <a:gd name="T10" fmla="*/ 2 w 9"/>
                  <a:gd name="T11" fmla="*/ 1 h 8"/>
                  <a:gd name="T12" fmla="*/ 5 w 9"/>
                  <a:gd name="T13" fmla="*/ 0 h 8"/>
                  <a:gd name="T14" fmla="*/ 5 w 9"/>
                  <a:gd name="T15" fmla="*/ 0 h 8"/>
                  <a:gd name="T16" fmla="*/ 5 w 9"/>
                  <a:gd name="T17" fmla="*/ 0 h 8"/>
                  <a:gd name="T18" fmla="*/ 5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5" y="0"/>
                    </a:moveTo>
                    <a:lnTo>
                      <a:pt x="7" y="0"/>
                    </a:lnTo>
                    <a:lnTo>
                      <a:pt x="9" y="7"/>
                    </a:lnTo>
                    <a:lnTo>
                      <a:pt x="3" y="8"/>
                    </a:lnTo>
                    <a:lnTo>
                      <a:pt x="0" y="3"/>
                    </a:lnTo>
                    <a:lnTo>
                      <a:pt x="2" y="1"/>
                    </a:lnTo>
                    <a:lnTo>
                      <a:pt x="5" y="0"/>
                    </a:lnTo>
                    <a:lnTo>
                      <a:pt x="5" y="0"/>
                    </a:lnTo>
                    <a:lnTo>
                      <a:pt x="5" y="0"/>
                    </a:lnTo>
                    <a:lnTo>
                      <a:pt x="5" y="0"/>
                    </a:lnTo>
                    <a:close/>
                  </a:path>
                </a:pathLst>
              </a:custGeom>
              <a:solidFill>
                <a:srgbClr val="C1B5B9"/>
              </a:solidFill>
              <a:ln w="3175" cmpd="sng">
                <a:solidFill>
                  <a:srgbClr val="FFFFFF"/>
                </a:solidFill>
                <a:prstDash val="solid"/>
                <a:round/>
                <a:headEnd/>
                <a:tailEnd/>
              </a:ln>
              <a:effectLst/>
            </p:spPr>
            <p:txBody>
              <a:bodyPr/>
              <a:lstStyle/>
              <a:p>
                <a:pPr>
                  <a:buClr>
                    <a:prstClr val="white"/>
                  </a:buClr>
                </a:pPr>
                <a:endParaRPr lang="en-GB" altLang="zh-CN" dirty="0">
                  <a:solidFill>
                    <a:srgbClr val="000000"/>
                  </a:solidFill>
                </a:endParaRPr>
              </a:p>
            </p:txBody>
          </p:sp>
        </p:grpSp>
      </p:grpSp>
    </p:spTree>
    <p:extLst>
      <p:ext uri="{BB962C8B-B14F-4D97-AF65-F5344CB8AC3E}">
        <p14:creationId xmlns:p14="http://schemas.microsoft.com/office/powerpoint/2010/main" val="33898954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t 76" hidden="1">
            <a:extLst>
              <a:ext uri="{FF2B5EF4-FFF2-40B4-BE49-F238E27FC236}">
                <a16:creationId xmlns:a16="http://schemas.microsoft.com/office/drawing/2014/main" id="{65EF9F39-AC4D-D20C-0498-2F110FA31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77" name="Objet 76" hidden="1">
                        <a:extLst>
                          <a:ext uri="{FF2B5EF4-FFF2-40B4-BE49-F238E27FC236}">
                            <a16:creationId xmlns:a16="http://schemas.microsoft.com/office/drawing/2014/main" id="{65EF9F39-AC4D-D20C-0498-2F110FA316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e 2">
            <a:extLst>
              <a:ext uri="{FF2B5EF4-FFF2-40B4-BE49-F238E27FC236}">
                <a16:creationId xmlns:a16="http://schemas.microsoft.com/office/drawing/2014/main" id="{843CB539-ABA6-78F7-9960-B966432DFD12}"/>
              </a:ext>
            </a:extLst>
          </p:cNvPr>
          <p:cNvGrpSpPr/>
          <p:nvPr/>
        </p:nvGrpSpPr>
        <p:grpSpPr>
          <a:xfrm>
            <a:off x="3778250" y="1397801"/>
            <a:ext cx="4279901" cy="4854575"/>
            <a:chOff x="3778250" y="1397801"/>
            <a:chExt cx="4279901" cy="4854575"/>
          </a:xfrm>
        </p:grpSpPr>
        <p:sp>
          <p:nvSpPr>
            <p:cNvPr id="4" name="Freeform 6">
              <a:extLst>
                <a:ext uri="{FF2B5EF4-FFF2-40B4-BE49-F238E27FC236}">
                  <a16:creationId xmlns:a16="http://schemas.microsoft.com/office/drawing/2014/main" id="{D9C8510F-D8C4-C849-9E53-8E89665F595B}"/>
                </a:ext>
              </a:extLst>
            </p:cNvPr>
            <p:cNvSpPr>
              <a:spLocks noEditPoints="1"/>
            </p:cNvSpPr>
            <p:nvPr/>
          </p:nvSpPr>
          <p:spPr bwMode="auto">
            <a:xfrm>
              <a:off x="6367463" y="3094838"/>
              <a:ext cx="595313" cy="920750"/>
            </a:xfrm>
            <a:custGeom>
              <a:avLst/>
              <a:gdLst>
                <a:gd name="T0" fmla="*/ 215 w 375"/>
                <a:gd name="T1" fmla="*/ 567 h 580"/>
                <a:gd name="T2" fmla="*/ 212 w 375"/>
                <a:gd name="T3" fmla="*/ 538 h 580"/>
                <a:gd name="T4" fmla="*/ 368 w 375"/>
                <a:gd name="T5" fmla="*/ 57 h 580"/>
                <a:gd name="T6" fmla="*/ 305 w 375"/>
                <a:gd name="T7" fmla="*/ 46 h 580"/>
                <a:gd name="T8" fmla="*/ 269 w 375"/>
                <a:gd name="T9" fmla="*/ 11 h 580"/>
                <a:gd name="T10" fmla="*/ 208 w 375"/>
                <a:gd name="T11" fmla="*/ 6 h 580"/>
                <a:gd name="T12" fmla="*/ 215 w 375"/>
                <a:gd name="T13" fmla="*/ 61 h 580"/>
                <a:gd name="T14" fmla="*/ 225 w 375"/>
                <a:gd name="T15" fmla="*/ 89 h 580"/>
                <a:gd name="T16" fmla="*/ 202 w 375"/>
                <a:gd name="T17" fmla="*/ 114 h 580"/>
                <a:gd name="T18" fmla="*/ 183 w 375"/>
                <a:gd name="T19" fmla="*/ 141 h 580"/>
                <a:gd name="T20" fmla="*/ 206 w 375"/>
                <a:gd name="T21" fmla="*/ 177 h 580"/>
                <a:gd name="T22" fmla="*/ 179 w 375"/>
                <a:gd name="T23" fmla="*/ 188 h 580"/>
                <a:gd name="T24" fmla="*/ 187 w 375"/>
                <a:gd name="T25" fmla="*/ 203 h 580"/>
                <a:gd name="T26" fmla="*/ 189 w 375"/>
                <a:gd name="T27" fmla="*/ 253 h 580"/>
                <a:gd name="T28" fmla="*/ 191 w 375"/>
                <a:gd name="T29" fmla="*/ 268 h 580"/>
                <a:gd name="T30" fmla="*/ 181 w 375"/>
                <a:gd name="T31" fmla="*/ 279 h 580"/>
                <a:gd name="T32" fmla="*/ 170 w 375"/>
                <a:gd name="T33" fmla="*/ 310 h 580"/>
                <a:gd name="T34" fmla="*/ 151 w 375"/>
                <a:gd name="T35" fmla="*/ 331 h 580"/>
                <a:gd name="T36" fmla="*/ 133 w 375"/>
                <a:gd name="T37" fmla="*/ 342 h 580"/>
                <a:gd name="T38" fmla="*/ 112 w 375"/>
                <a:gd name="T39" fmla="*/ 350 h 580"/>
                <a:gd name="T40" fmla="*/ 76 w 375"/>
                <a:gd name="T41" fmla="*/ 363 h 580"/>
                <a:gd name="T42" fmla="*/ 31 w 375"/>
                <a:gd name="T43" fmla="*/ 384 h 580"/>
                <a:gd name="T44" fmla="*/ 0 w 375"/>
                <a:gd name="T45" fmla="*/ 384 h 580"/>
                <a:gd name="T46" fmla="*/ 8 w 375"/>
                <a:gd name="T47" fmla="*/ 416 h 580"/>
                <a:gd name="T48" fmla="*/ 61 w 375"/>
                <a:gd name="T49" fmla="*/ 435 h 580"/>
                <a:gd name="T50" fmla="*/ 76 w 375"/>
                <a:gd name="T51" fmla="*/ 473 h 580"/>
                <a:gd name="T52" fmla="*/ 90 w 375"/>
                <a:gd name="T53" fmla="*/ 496 h 580"/>
                <a:gd name="T54" fmla="*/ 90 w 375"/>
                <a:gd name="T55" fmla="*/ 517 h 580"/>
                <a:gd name="T56" fmla="*/ 118 w 375"/>
                <a:gd name="T57" fmla="*/ 538 h 580"/>
                <a:gd name="T58" fmla="*/ 172 w 375"/>
                <a:gd name="T59" fmla="*/ 569 h 580"/>
                <a:gd name="T60" fmla="*/ 215 w 375"/>
                <a:gd name="T61" fmla="*/ 517 h 580"/>
                <a:gd name="T62" fmla="*/ 208 w 375"/>
                <a:gd name="T63" fmla="*/ 510 h 580"/>
                <a:gd name="T64" fmla="*/ 223 w 375"/>
                <a:gd name="T65" fmla="*/ 572 h 580"/>
                <a:gd name="T66" fmla="*/ 233 w 375"/>
                <a:gd name="T67" fmla="*/ 570 h 580"/>
                <a:gd name="T68" fmla="*/ 244 w 375"/>
                <a:gd name="T69" fmla="*/ 561 h 580"/>
                <a:gd name="T70" fmla="*/ 250 w 375"/>
                <a:gd name="T71" fmla="*/ 569 h 580"/>
                <a:gd name="T72" fmla="*/ 259 w 375"/>
                <a:gd name="T73" fmla="*/ 557 h 580"/>
                <a:gd name="T74" fmla="*/ 265 w 375"/>
                <a:gd name="T75" fmla="*/ 513 h 580"/>
                <a:gd name="T76" fmla="*/ 265 w 375"/>
                <a:gd name="T77" fmla="*/ 525 h 580"/>
                <a:gd name="T78" fmla="*/ 274 w 375"/>
                <a:gd name="T79" fmla="*/ 576 h 580"/>
                <a:gd name="T80" fmla="*/ 282 w 375"/>
                <a:gd name="T81" fmla="*/ 557 h 580"/>
                <a:gd name="T82" fmla="*/ 294 w 375"/>
                <a:gd name="T83" fmla="*/ 544 h 580"/>
                <a:gd name="T84" fmla="*/ 297 w 375"/>
                <a:gd name="T85" fmla="*/ 521 h 580"/>
                <a:gd name="T86" fmla="*/ 290 w 375"/>
                <a:gd name="T87" fmla="*/ 472 h 580"/>
                <a:gd name="T88" fmla="*/ 290 w 375"/>
                <a:gd name="T89" fmla="*/ 414 h 580"/>
                <a:gd name="T90" fmla="*/ 265 w 375"/>
                <a:gd name="T91" fmla="*/ 384 h 580"/>
                <a:gd name="T92" fmla="*/ 255 w 375"/>
                <a:gd name="T93" fmla="*/ 346 h 580"/>
                <a:gd name="T94" fmla="*/ 269 w 375"/>
                <a:gd name="T95" fmla="*/ 314 h 580"/>
                <a:gd name="T96" fmla="*/ 208 w 375"/>
                <a:gd name="T97" fmla="*/ 270 h 580"/>
                <a:gd name="T98" fmla="*/ 223 w 375"/>
                <a:gd name="T99" fmla="*/ 240 h 580"/>
                <a:gd name="T100" fmla="*/ 263 w 375"/>
                <a:gd name="T101" fmla="*/ 213 h 580"/>
                <a:gd name="T102" fmla="*/ 280 w 375"/>
                <a:gd name="T103" fmla="*/ 198 h 580"/>
                <a:gd name="T104" fmla="*/ 252 w 375"/>
                <a:gd name="T105" fmla="*/ 181 h 580"/>
                <a:gd name="T106" fmla="*/ 210 w 375"/>
                <a:gd name="T107" fmla="*/ 137 h 580"/>
                <a:gd name="T108" fmla="*/ 240 w 375"/>
                <a:gd name="T109" fmla="*/ 95 h 580"/>
                <a:gd name="T110" fmla="*/ 236 w 375"/>
                <a:gd name="T111" fmla="*/ 66 h 580"/>
                <a:gd name="T112" fmla="*/ 263 w 375"/>
                <a:gd name="T113" fmla="*/ 89 h 580"/>
                <a:gd name="T114" fmla="*/ 295 w 375"/>
                <a:gd name="T115" fmla="*/ 103 h 580"/>
                <a:gd name="T116" fmla="*/ 299 w 375"/>
                <a:gd name="T117" fmla="*/ 93 h 580"/>
                <a:gd name="T118" fmla="*/ 330 w 375"/>
                <a:gd name="T119" fmla="*/ 127 h 580"/>
                <a:gd name="T120" fmla="*/ 347 w 375"/>
                <a:gd name="T121" fmla="*/ 120 h 580"/>
                <a:gd name="T122" fmla="*/ 362 w 375"/>
                <a:gd name="T123" fmla="*/ 104 h 580"/>
                <a:gd name="T124" fmla="*/ 375 w 375"/>
                <a:gd name="T125" fmla="*/ 65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 h="580">
                  <a:moveTo>
                    <a:pt x="284" y="574"/>
                  </a:moveTo>
                  <a:lnTo>
                    <a:pt x="284" y="574"/>
                  </a:lnTo>
                  <a:lnTo>
                    <a:pt x="282" y="572"/>
                  </a:lnTo>
                  <a:lnTo>
                    <a:pt x="278" y="572"/>
                  </a:lnTo>
                  <a:lnTo>
                    <a:pt x="278" y="574"/>
                  </a:lnTo>
                  <a:lnTo>
                    <a:pt x="278" y="580"/>
                  </a:lnTo>
                  <a:lnTo>
                    <a:pt x="280" y="580"/>
                  </a:lnTo>
                  <a:lnTo>
                    <a:pt x="282" y="580"/>
                  </a:lnTo>
                  <a:lnTo>
                    <a:pt x="284" y="580"/>
                  </a:lnTo>
                  <a:lnTo>
                    <a:pt x="286" y="580"/>
                  </a:lnTo>
                  <a:lnTo>
                    <a:pt x="286" y="578"/>
                  </a:lnTo>
                  <a:lnTo>
                    <a:pt x="286" y="576"/>
                  </a:lnTo>
                  <a:lnTo>
                    <a:pt x="284" y="574"/>
                  </a:lnTo>
                  <a:close/>
                  <a:moveTo>
                    <a:pt x="212" y="548"/>
                  </a:moveTo>
                  <a:lnTo>
                    <a:pt x="210" y="551"/>
                  </a:lnTo>
                  <a:lnTo>
                    <a:pt x="206" y="563"/>
                  </a:lnTo>
                  <a:lnTo>
                    <a:pt x="206" y="565"/>
                  </a:lnTo>
                  <a:lnTo>
                    <a:pt x="206" y="567"/>
                  </a:lnTo>
                  <a:lnTo>
                    <a:pt x="206" y="567"/>
                  </a:lnTo>
                  <a:lnTo>
                    <a:pt x="206" y="569"/>
                  </a:lnTo>
                  <a:lnTo>
                    <a:pt x="208" y="569"/>
                  </a:lnTo>
                  <a:lnTo>
                    <a:pt x="210" y="569"/>
                  </a:lnTo>
                  <a:lnTo>
                    <a:pt x="212" y="570"/>
                  </a:lnTo>
                  <a:lnTo>
                    <a:pt x="213" y="570"/>
                  </a:lnTo>
                  <a:lnTo>
                    <a:pt x="213" y="570"/>
                  </a:lnTo>
                  <a:lnTo>
                    <a:pt x="215" y="569"/>
                  </a:lnTo>
                  <a:lnTo>
                    <a:pt x="215" y="567"/>
                  </a:lnTo>
                  <a:lnTo>
                    <a:pt x="213" y="565"/>
                  </a:lnTo>
                  <a:lnTo>
                    <a:pt x="217" y="563"/>
                  </a:lnTo>
                  <a:lnTo>
                    <a:pt x="217" y="557"/>
                  </a:lnTo>
                  <a:lnTo>
                    <a:pt x="215" y="546"/>
                  </a:lnTo>
                  <a:lnTo>
                    <a:pt x="212" y="548"/>
                  </a:lnTo>
                  <a:close/>
                  <a:moveTo>
                    <a:pt x="261" y="540"/>
                  </a:moveTo>
                  <a:lnTo>
                    <a:pt x="259" y="540"/>
                  </a:lnTo>
                  <a:lnTo>
                    <a:pt x="259" y="544"/>
                  </a:lnTo>
                  <a:lnTo>
                    <a:pt x="257" y="546"/>
                  </a:lnTo>
                  <a:lnTo>
                    <a:pt x="255" y="550"/>
                  </a:lnTo>
                  <a:lnTo>
                    <a:pt x="255" y="550"/>
                  </a:lnTo>
                  <a:lnTo>
                    <a:pt x="255" y="550"/>
                  </a:lnTo>
                  <a:lnTo>
                    <a:pt x="255" y="551"/>
                  </a:lnTo>
                  <a:lnTo>
                    <a:pt x="255" y="553"/>
                  </a:lnTo>
                  <a:lnTo>
                    <a:pt x="257" y="553"/>
                  </a:lnTo>
                  <a:lnTo>
                    <a:pt x="259" y="553"/>
                  </a:lnTo>
                  <a:lnTo>
                    <a:pt x="261" y="553"/>
                  </a:lnTo>
                  <a:lnTo>
                    <a:pt x="261" y="550"/>
                  </a:lnTo>
                  <a:lnTo>
                    <a:pt x="261" y="546"/>
                  </a:lnTo>
                  <a:lnTo>
                    <a:pt x="263" y="544"/>
                  </a:lnTo>
                  <a:lnTo>
                    <a:pt x="263" y="542"/>
                  </a:lnTo>
                  <a:lnTo>
                    <a:pt x="263" y="540"/>
                  </a:lnTo>
                  <a:lnTo>
                    <a:pt x="261" y="540"/>
                  </a:lnTo>
                  <a:close/>
                  <a:moveTo>
                    <a:pt x="212" y="548"/>
                  </a:moveTo>
                  <a:lnTo>
                    <a:pt x="213" y="544"/>
                  </a:lnTo>
                  <a:lnTo>
                    <a:pt x="213" y="542"/>
                  </a:lnTo>
                  <a:lnTo>
                    <a:pt x="212" y="538"/>
                  </a:lnTo>
                  <a:lnTo>
                    <a:pt x="212" y="538"/>
                  </a:lnTo>
                  <a:lnTo>
                    <a:pt x="210" y="540"/>
                  </a:lnTo>
                  <a:lnTo>
                    <a:pt x="210" y="540"/>
                  </a:lnTo>
                  <a:lnTo>
                    <a:pt x="208" y="542"/>
                  </a:lnTo>
                  <a:lnTo>
                    <a:pt x="208" y="544"/>
                  </a:lnTo>
                  <a:lnTo>
                    <a:pt x="208" y="546"/>
                  </a:lnTo>
                  <a:lnTo>
                    <a:pt x="208" y="548"/>
                  </a:lnTo>
                  <a:lnTo>
                    <a:pt x="210" y="548"/>
                  </a:lnTo>
                  <a:lnTo>
                    <a:pt x="212" y="548"/>
                  </a:lnTo>
                  <a:close/>
                  <a:moveTo>
                    <a:pt x="375" y="65"/>
                  </a:moveTo>
                  <a:lnTo>
                    <a:pt x="374" y="63"/>
                  </a:lnTo>
                  <a:lnTo>
                    <a:pt x="372" y="57"/>
                  </a:lnTo>
                  <a:lnTo>
                    <a:pt x="374" y="55"/>
                  </a:lnTo>
                  <a:lnTo>
                    <a:pt x="372" y="55"/>
                  </a:lnTo>
                  <a:lnTo>
                    <a:pt x="372" y="55"/>
                  </a:lnTo>
                  <a:lnTo>
                    <a:pt x="372" y="55"/>
                  </a:lnTo>
                  <a:lnTo>
                    <a:pt x="372" y="55"/>
                  </a:lnTo>
                  <a:lnTo>
                    <a:pt x="370" y="55"/>
                  </a:lnTo>
                  <a:lnTo>
                    <a:pt x="370" y="55"/>
                  </a:lnTo>
                  <a:lnTo>
                    <a:pt x="370" y="55"/>
                  </a:lnTo>
                  <a:lnTo>
                    <a:pt x="370" y="55"/>
                  </a:lnTo>
                  <a:lnTo>
                    <a:pt x="370" y="57"/>
                  </a:lnTo>
                  <a:lnTo>
                    <a:pt x="370" y="57"/>
                  </a:lnTo>
                  <a:lnTo>
                    <a:pt x="370" y="57"/>
                  </a:lnTo>
                  <a:lnTo>
                    <a:pt x="370" y="59"/>
                  </a:lnTo>
                  <a:lnTo>
                    <a:pt x="370" y="59"/>
                  </a:lnTo>
                  <a:lnTo>
                    <a:pt x="368" y="57"/>
                  </a:lnTo>
                  <a:lnTo>
                    <a:pt x="368" y="57"/>
                  </a:lnTo>
                  <a:lnTo>
                    <a:pt x="364" y="57"/>
                  </a:lnTo>
                  <a:lnTo>
                    <a:pt x="364" y="57"/>
                  </a:lnTo>
                  <a:lnTo>
                    <a:pt x="362" y="57"/>
                  </a:lnTo>
                  <a:lnTo>
                    <a:pt x="356" y="55"/>
                  </a:lnTo>
                  <a:lnTo>
                    <a:pt x="354" y="55"/>
                  </a:lnTo>
                  <a:lnTo>
                    <a:pt x="353" y="57"/>
                  </a:lnTo>
                  <a:lnTo>
                    <a:pt x="351" y="57"/>
                  </a:lnTo>
                  <a:lnTo>
                    <a:pt x="349" y="55"/>
                  </a:lnTo>
                  <a:lnTo>
                    <a:pt x="351" y="53"/>
                  </a:lnTo>
                  <a:lnTo>
                    <a:pt x="351" y="51"/>
                  </a:lnTo>
                  <a:lnTo>
                    <a:pt x="349" y="49"/>
                  </a:lnTo>
                  <a:lnTo>
                    <a:pt x="345" y="47"/>
                  </a:lnTo>
                  <a:lnTo>
                    <a:pt x="341" y="47"/>
                  </a:lnTo>
                  <a:lnTo>
                    <a:pt x="335" y="47"/>
                  </a:lnTo>
                  <a:lnTo>
                    <a:pt x="332" y="46"/>
                  </a:lnTo>
                  <a:lnTo>
                    <a:pt x="328" y="44"/>
                  </a:lnTo>
                  <a:lnTo>
                    <a:pt x="326" y="42"/>
                  </a:lnTo>
                  <a:lnTo>
                    <a:pt x="322" y="42"/>
                  </a:lnTo>
                  <a:lnTo>
                    <a:pt x="320" y="42"/>
                  </a:lnTo>
                  <a:lnTo>
                    <a:pt x="318" y="44"/>
                  </a:lnTo>
                  <a:lnTo>
                    <a:pt x="318" y="44"/>
                  </a:lnTo>
                  <a:lnTo>
                    <a:pt x="316" y="44"/>
                  </a:lnTo>
                  <a:lnTo>
                    <a:pt x="316" y="46"/>
                  </a:lnTo>
                  <a:lnTo>
                    <a:pt x="313" y="46"/>
                  </a:lnTo>
                  <a:lnTo>
                    <a:pt x="311" y="46"/>
                  </a:lnTo>
                  <a:lnTo>
                    <a:pt x="305" y="46"/>
                  </a:lnTo>
                  <a:lnTo>
                    <a:pt x="303" y="46"/>
                  </a:lnTo>
                  <a:lnTo>
                    <a:pt x="301" y="44"/>
                  </a:lnTo>
                  <a:lnTo>
                    <a:pt x="301" y="42"/>
                  </a:lnTo>
                  <a:lnTo>
                    <a:pt x="299" y="38"/>
                  </a:lnTo>
                  <a:lnTo>
                    <a:pt x="297" y="38"/>
                  </a:lnTo>
                  <a:lnTo>
                    <a:pt x="295" y="36"/>
                  </a:lnTo>
                  <a:lnTo>
                    <a:pt x="294" y="34"/>
                  </a:lnTo>
                  <a:lnTo>
                    <a:pt x="292" y="34"/>
                  </a:lnTo>
                  <a:lnTo>
                    <a:pt x="290" y="36"/>
                  </a:lnTo>
                  <a:lnTo>
                    <a:pt x="290" y="36"/>
                  </a:lnTo>
                  <a:lnTo>
                    <a:pt x="288" y="36"/>
                  </a:lnTo>
                  <a:lnTo>
                    <a:pt x="288" y="34"/>
                  </a:lnTo>
                  <a:lnTo>
                    <a:pt x="286" y="34"/>
                  </a:lnTo>
                  <a:lnTo>
                    <a:pt x="288" y="32"/>
                  </a:lnTo>
                  <a:lnTo>
                    <a:pt x="288" y="32"/>
                  </a:lnTo>
                  <a:lnTo>
                    <a:pt x="286" y="30"/>
                  </a:lnTo>
                  <a:lnTo>
                    <a:pt x="286" y="28"/>
                  </a:lnTo>
                  <a:lnTo>
                    <a:pt x="284" y="28"/>
                  </a:lnTo>
                  <a:lnTo>
                    <a:pt x="282" y="30"/>
                  </a:lnTo>
                  <a:lnTo>
                    <a:pt x="280" y="32"/>
                  </a:lnTo>
                  <a:lnTo>
                    <a:pt x="280" y="27"/>
                  </a:lnTo>
                  <a:lnTo>
                    <a:pt x="280" y="21"/>
                  </a:lnTo>
                  <a:lnTo>
                    <a:pt x="278" y="19"/>
                  </a:lnTo>
                  <a:lnTo>
                    <a:pt x="278" y="17"/>
                  </a:lnTo>
                  <a:lnTo>
                    <a:pt x="276" y="15"/>
                  </a:lnTo>
                  <a:lnTo>
                    <a:pt x="271" y="11"/>
                  </a:lnTo>
                  <a:lnTo>
                    <a:pt x="269" y="11"/>
                  </a:lnTo>
                  <a:lnTo>
                    <a:pt x="269" y="11"/>
                  </a:lnTo>
                  <a:lnTo>
                    <a:pt x="269" y="11"/>
                  </a:lnTo>
                  <a:lnTo>
                    <a:pt x="265" y="11"/>
                  </a:lnTo>
                  <a:lnTo>
                    <a:pt x="263" y="9"/>
                  </a:lnTo>
                  <a:lnTo>
                    <a:pt x="263" y="9"/>
                  </a:lnTo>
                  <a:lnTo>
                    <a:pt x="257" y="9"/>
                  </a:lnTo>
                  <a:lnTo>
                    <a:pt x="252" y="7"/>
                  </a:lnTo>
                  <a:lnTo>
                    <a:pt x="250" y="7"/>
                  </a:lnTo>
                  <a:lnTo>
                    <a:pt x="242" y="15"/>
                  </a:lnTo>
                  <a:lnTo>
                    <a:pt x="240" y="17"/>
                  </a:lnTo>
                  <a:lnTo>
                    <a:pt x="238" y="17"/>
                  </a:lnTo>
                  <a:lnTo>
                    <a:pt x="236" y="17"/>
                  </a:lnTo>
                  <a:lnTo>
                    <a:pt x="234" y="17"/>
                  </a:lnTo>
                  <a:lnTo>
                    <a:pt x="234" y="17"/>
                  </a:lnTo>
                  <a:lnTo>
                    <a:pt x="233" y="17"/>
                  </a:lnTo>
                  <a:lnTo>
                    <a:pt x="233" y="17"/>
                  </a:lnTo>
                  <a:lnTo>
                    <a:pt x="223" y="13"/>
                  </a:lnTo>
                  <a:lnTo>
                    <a:pt x="219" y="11"/>
                  </a:lnTo>
                  <a:lnTo>
                    <a:pt x="215" y="13"/>
                  </a:lnTo>
                  <a:lnTo>
                    <a:pt x="212" y="13"/>
                  </a:lnTo>
                  <a:lnTo>
                    <a:pt x="212" y="11"/>
                  </a:lnTo>
                  <a:lnTo>
                    <a:pt x="210" y="11"/>
                  </a:lnTo>
                  <a:lnTo>
                    <a:pt x="210" y="9"/>
                  </a:lnTo>
                  <a:lnTo>
                    <a:pt x="210" y="9"/>
                  </a:lnTo>
                  <a:lnTo>
                    <a:pt x="210" y="7"/>
                  </a:lnTo>
                  <a:lnTo>
                    <a:pt x="208" y="6"/>
                  </a:lnTo>
                  <a:lnTo>
                    <a:pt x="208" y="6"/>
                  </a:lnTo>
                  <a:lnTo>
                    <a:pt x="204" y="4"/>
                  </a:lnTo>
                  <a:lnTo>
                    <a:pt x="204" y="2"/>
                  </a:lnTo>
                  <a:lnTo>
                    <a:pt x="202" y="0"/>
                  </a:lnTo>
                  <a:lnTo>
                    <a:pt x="200" y="4"/>
                  </a:lnTo>
                  <a:lnTo>
                    <a:pt x="200" y="11"/>
                  </a:lnTo>
                  <a:lnTo>
                    <a:pt x="198" y="15"/>
                  </a:lnTo>
                  <a:lnTo>
                    <a:pt x="198" y="15"/>
                  </a:lnTo>
                  <a:lnTo>
                    <a:pt x="198" y="15"/>
                  </a:lnTo>
                  <a:lnTo>
                    <a:pt x="198" y="17"/>
                  </a:lnTo>
                  <a:lnTo>
                    <a:pt x="200" y="19"/>
                  </a:lnTo>
                  <a:lnTo>
                    <a:pt x="202" y="23"/>
                  </a:lnTo>
                  <a:lnTo>
                    <a:pt x="204" y="23"/>
                  </a:lnTo>
                  <a:lnTo>
                    <a:pt x="206" y="23"/>
                  </a:lnTo>
                  <a:lnTo>
                    <a:pt x="206" y="25"/>
                  </a:lnTo>
                  <a:lnTo>
                    <a:pt x="208" y="27"/>
                  </a:lnTo>
                  <a:lnTo>
                    <a:pt x="210" y="30"/>
                  </a:lnTo>
                  <a:lnTo>
                    <a:pt x="212" y="34"/>
                  </a:lnTo>
                  <a:lnTo>
                    <a:pt x="213" y="36"/>
                  </a:lnTo>
                  <a:lnTo>
                    <a:pt x="215" y="40"/>
                  </a:lnTo>
                  <a:lnTo>
                    <a:pt x="215" y="40"/>
                  </a:lnTo>
                  <a:lnTo>
                    <a:pt x="215" y="42"/>
                  </a:lnTo>
                  <a:lnTo>
                    <a:pt x="215" y="47"/>
                  </a:lnTo>
                  <a:lnTo>
                    <a:pt x="217" y="51"/>
                  </a:lnTo>
                  <a:lnTo>
                    <a:pt x="217" y="53"/>
                  </a:lnTo>
                  <a:lnTo>
                    <a:pt x="217" y="55"/>
                  </a:lnTo>
                  <a:lnTo>
                    <a:pt x="217" y="57"/>
                  </a:lnTo>
                  <a:lnTo>
                    <a:pt x="215" y="61"/>
                  </a:lnTo>
                  <a:lnTo>
                    <a:pt x="212" y="70"/>
                  </a:lnTo>
                  <a:lnTo>
                    <a:pt x="210" y="74"/>
                  </a:lnTo>
                  <a:lnTo>
                    <a:pt x="212" y="74"/>
                  </a:lnTo>
                  <a:lnTo>
                    <a:pt x="213" y="76"/>
                  </a:lnTo>
                  <a:lnTo>
                    <a:pt x="213" y="74"/>
                  </a:lnTo>
                  <a:lnTo>
                    <a:pt x="215" y="74"/>
                  </a:lnTo>
                  <a:lnTo>
                    <a:pt x="219" y="72"/>
                  </a:lnTo>
                  <a:lnTo>
                    <a:pt x="221" y="74"/>
                  </a:lnTo>
                  <a:lnTo>
                    <a:pt x="221" y="74"/>
                  </a:lnTo>
                  <a:lnTo>
                    <a:pt x="219" y="76"/>
                  </a:lnTo>
                  <a:lnTo>
                    <a:pt x="219" y="78"/>
                  </a:lnTo>
                  <a:lnTo>
                    <a:pt x="219" y="78"/>
                  </a:lnTo>
                  <a:lnTo>
                    <a:pt x="219" y="78"/>
                  </a:lnTo>
                  <a:lnTo>
                    <a:pt x="219" y="78"/>
                  </a:lnTo>
                  <a:lnTo>
                    <a:pt x="221" y="80"/>
                  </a:lnTo>
                  <a:lnTo>
                    <a:pt x="221" y="80"/>
                  </a:lnTo>
                  <a:lnTo>
                    <a:pt x="223" y="80"/>
                  </a:lnTo>
                  <a:lnTo>
                    <a:pt x="223" y="82"/>
                  </a:lnTo>
                  <a:lnTo>
                    <a:pt x="227" y="84"/>
                  </a:lnTo>
                  <a:lnTo>
                    <a:pt x="227" y="85"/>
                  </a:lnTo>
                  <a:lnTo>
                    <a:pt x="227" y="85"/>
                  </a:lnTo>
                  <a:lnTo>
                    <a:pt x="227" y="85"/>
                  </a:lnTo>
                  <a:lnTo>
                    <a:pt x="227" y="85"/>
                  </a:lnTo>
                  <a:lnTo>
                    <a:pt x="225" y="87"/>
                  </a:lnTo>
                  <a:lnTo>
                    <a:pt x="225" y="87"/>
                  </a:lnTo>
                  <a:lnTo>
                    <a:pt x="225" y="87"/>
                  </a:lnTo>
                  <a:lnTo>
                    <a:pt x="225" y="89"/>
                  </a:lnTo>
                  <a:lnTo>
                    <a:pt x="225" y="89"/>
                  </a:lnTo>
                  <a:lnTo>
                    <a:pt x="227" y="89"/>
                  </a:lnTo>
                  <a:lnTo>
                    <a:pt x="229" y="91"/>
                  </a:lnTo>
                  <a:lnTo>
                    <a:pt x="229" y="91"/>
                  </a:lnTo>
                  <a:lnTo>
                    <a:pt x="229" y="93"/>
                  </a:lnTo>
                  <a:lnTo>
                    <a:pt x="229" y="93"/>
                  </a:lnTo>
                  <a:lnTo>
                    <a:pt x="229" y="95"/>
                  </a:lnTo>
                  <a:lnTo>
                    <a:pt x="229" y="95"/>
                  </a:lnTo>
                  <a:lnTo>
                    <a:pt x="229" y="95"/>
                  </a:lnTo>
                  <a:lnTo>
                    <a:pt x="229" y="95"/>
                  </a:lnTo>
                  <a:lnTo>
                    <a:pt x="227" y="95"/>
                  </a:lnTo>
                  <a:lnTo>
                    <a:pt x="225" y="95"/>
                  </a:lnTo>
                  <a:lnTo>
                    <a:pt x="225" y="97"/>
                  </a:lnTo>
                  <a:lnTo>
                    <a:pt x="221" y="99"/>
                  </a:lnTo>
                  <a:lnTo>
                    <a:pt x="221" y="99"/>
                  </a:lnTo>
                  <a:lnTo>
                    <a:pt x="217" y="101"/>
                  </a:lnTo>
                  <a:lnTo>
                    <a:pt x="217" y="101"/>
                  </a:lnTo>
                  <a:lnTo>
                    <a:pt x="215" y="103"/>
                  </a:lnTo>
                  <a:lnTo>
                    <a:pt x="212" y="106"/>
                  </a:lnTo>
                  <a:lnTo>
                    <a:pt x="210" y="108"/>
                  </a:lnTo>
                  <a:lnTo>
                    <a:pt x="210" y="110"/>
                  </a:lnTo>
                  <a:lnTo>
                    <a:pt x="208" y="110"/>
                  </a:lnTo>
                  <a:lnTo>
                    <a:pt x="206" y="112"/>
                  </a:lnTo>
                  <a:lnTo>
                    <a:pt x="206" y="112"/>
                  </a:lnTo>
                  <a:lnTo>
                    <a:pt x="202" y="114"/>
                  </a:lnTo>
                  <a:lnTo>
                    <a:pt x="202" y="114"/>
                  </a:lnTo>
                  <a:lnTo>
                    <a:pt x="202" y="114"/>
                  </a:lnTo>
                  <a:lnTo>
                    <a:pt x="200" y="114"/>
                  </a:lnTo>
                  <a:lnTo>
                    <a:pt x="200" y="114"/>
                  </a:lnTo>
                  <a:lnTo>
                    <a:pt x="200" y="114"/>
                  </a:lnTo>
                  <a:lnTo>
                    <a:pt x="198" y="116"/>
                  </a:lnTo>
                  <a:lnTo>
                    <a:pt x="196" y="120"/>
                  </a:lnTo>
                  <a:lnTo>
                    <a:pt x="189" y="125"/>
                  </a:lnTo>
                  <a:lnTo>
                    <a:pt x="187" y="127"/>
                  </a:lnTo>
                  <a:lnTo>
                    <a:pt x="185" y="129"/>
                  </a:lnTo>
                  <a:lnTo>
                    <a:pt x="185" y="129"/>
                  </a:lnTo>
                  <a:lnTo>
                    <a:pt x="185" y="129"/>
                  </a:lnTo>
                  <a:lnTo>
                    <a:pt x="185" y="129"/>
                  </a:lnTo>
                  <a:lnTo>
                    <a:pt x="185" y="131"/>
                  </a:lnTo>
                  <a:lnTo>
                    <a:pt x="185" y="131"/>
                  </a:lnTo>
                  <a:lnTo>
                    <a:pt x="185" y="133"/>
                  </a:lnTo>
                  <a:lnTo>
                    <a:pt x="185" y="137"/>
                  </a:lnTo>
                  <a:lnTo>
                    <a:pt x="185" y="137"/>
                  </a:lnTo>
                  <a:lnTo>
                    <a:pt x="185" y="137"/>
                  </a:lnTo>
                  <a:lnTo>
                    <a:pt x="183" y="137"/>
                  </a:lnTo>
                  <a:lnTo>
                    <a:pt x="183" y="137"/>
                  </a:lnTo>
                  <a:lnTo>
                    <a:pt x="181" y="139"/>
                  </a:lnTo>
                  <a:lnTo>
                    <a:pt x="181" y="139"/>
                  </a:lnTo>
                  <a:lnTo>
                    <a:pt x="181" y="139"/>
                  </a:lnTo>
                  <a:lnTo>
                    <a:pt x="181" y="139"/>
                  </a:lnTo>
                  <a:lnTo>
                    <a:pt x="183" y="141"/>
                  </a:lnTo>
                  <a:lnTo>
                    <a:pt x="183" y="141"/>
                  </a:lnTo>
                  <a:lnTo>
                    <a:pt x="183" y="141"/>
                  </a:lnTo>
                  <a:lnTo>
                    <a:pt x="183" y="141"/>
                  </a:lnTo>
                  <a:lnTo>
                    <a:pt x="183" y="143"/>
                  </a:lnTo>
                  <a:lnTo>
                    <a:pt x="183" y="143"/>
                  </a:lnTo>
                  <a:lnTo>
                    <a:pt x="185" y="144"/>
                  </a:lnTo>
                  <a:lnTo>
                    <a:pt x="189" y="144"/>
                  </a:lnTo>
                  <a:lnTo>
                    <a:pt x="189" y="146"/>
                  </a:lnTo>
                  <a:lnTo>
                    <a:pt x="191" y="148"/>
                  </a:lnTo>
                  <a:lnTo>
                    <a:pt x="191" y="148"/>
                  </a:lnTo>
                  <a:lnTo>
                    <a:pt x="191" y="148"/>
                  </a:lnTo>
                  <a:lnTo>
                    <a:pt x="191" y="150"/>
                  </a:lnTo>
                  <a:lnTo>
                    <a:pt x="193" y="152"/>
                  </a:lnTo>
                  <a:lnTo>
                    <a:pt x="193" y="152"/>
                  </a:lnTo>
                  <a:lnTo>
                    <a:pt x="193" y="154"/>
                  </a:lnTo>
                  <a:lnTo>
                    <a:pt x="194" y="156"/>
                  </a:lnTo>
                  <a:lnTo>
                    <a:pt x="196" y="156"/>
                  </a:lnTo>
                  <a:lnTo>
                    <a:pt x="202" y="160"/>
                  </a:lnTo>
                  <a:lnTo>
                    <a:pt x="204" y="162"/>
                  </a:lnTo>
                  <a:lnTo>
                    <a:pt x="206" y="163"/>
                  </a:lnTo>
                  <a:lnTo>
                    <a:pt x="206" y="163"/>
                  </a:lnTo>
                  <a:lnTo>
                    <a:pt x="206" y="165"/>
                  </a:lnTo>
                  <a:lnTo>
                    <a:pt x="206" y="167"/>
                  </a:lnTo>
                  <a:lnTo>
                    <a:pt x="206" y="169"/>
                  </a:lnTo>
                  <a:lnTo>
                    <a:pt x="206" y="169"/>
                  </a:lnTo>
                  <a:lnTo>
                    <a:pt x="206" y="173"/>
                  </a:lnTo>
                  <a:lnTo>
                    <a:pt x="206" y="175"/>
                  </a:lnTo>
                  <a:lnTo>
                    <a:pt x="206" y="177"/>
                  </a:lnTo>
                  <a:lnTo>
                    <a:pt x="206" y="177"/>
                  </a:lnTo>
                  <a:lnTo>
                    <a:pt x="206" y="177"/>
                  </a:lnTo>
                  <a:lnTo>
                    <a:pt x="208" y="177"/>
                  </a:lnTo>
                  <a:lnTo>
                    <a:pt x="208" y="179"/>
                  </a:lnTo>
                  <a:lnTo>
                    <a:pt x="208" y="179"/>
                  </a:lnTo>
                  <a:lnTo>
                    <a:pt x="208" y="181"/>
                  </a:lnTo>
                  <a:lnTo>
                    <a:pt x="208" y="182"/>
                  </a:lnTo>
                  <a:lnTo>
                    <a:pt x="202" y="181"/>
                  </a:lnTo>
                  <a:lnTo>
                    <a:pt x="200" y="181"/>
                  </a:lnTo>
                  <a:lnTo>
                    <a:pt x="200" y="179"/>
                  </a:lnTo>
                  <a:lnTo>
                    <a:pt x="200" y="179"/>
                  </a:lnTo>
                  <a:lnTo>
                    <a:pt x="198" y="179"/>
                  </a:lnTo>
                  <a:lnTo>
                    <a:pt x="198" y="177"/>
                  </a:lnTo>
                  <a:lnTo>
                    <a:pt x="196" y="179"/>
                  </a:lnTo>
                  <a:lnTo>
                    <a:pt x="194" y="179"/>
                  </a:lnTo>
                  <a:lnTo>
                    <a:pt x="191" y="181"/>
                  </a:lnTo>
                  <a:lnTo>
                    <a:pt x="191" y="181"/>
                  </a:lnTo>
                  <a:lnTo>
                    <a:pt x="191" y="181"/>
                  </a:lnTo>
                  <a:lnTo>
                    <a:pt x="191" y="181"/>
                  </a:lnTo>
                  <a:lnTo>
                    <a:pt x="191" y="181"/>
                  </a:lnTo>
                  <a:lnTo>
                    <a:pt x="189" y="182"/>
                  </a:lnTo>
                  <a:lnTo>
                    <a:pt x="189" y="182"/>
                  </a:lnTo>
                  <a:lnTo>
                    <a:pt x="187" y="184"/>
                  </a:lnTo>
                  <a:lnTo>
                    <a:pt x="185" y="184"/>
                  </a:lnTo>
                  <a:lnTo>
                    <a:pt x="181" y="186"/>
                  </a:lnTo>
                  <a:lnTo>
                    <a:pt x="179" y="186"/>
                  </a:lnTo>
                  <a:lnTo>
                    <a:pt x="179" y="188"/>
                  </a:lnTo>
                  <a:lnTo>
                    <a:pt x="179" y="188"/>
                  </a:lnTo>
                  <a:lnTo>
                    <a:pt x="179" y="188"/>
                  </a:lnTo>
                  <a:lnTo>
                    <a:pt x="179" y="188"/>
                  </a:lnTo>
                  <a:lnTo>
                    <a:pt x="179" y="188"/>
                  </a:lnTo>
                  <a:lnTo>
                    <a:pt x="179" y="190"/>
                  </a:lnTo>
                  <a:lnTo>
                    <a:pt x="177" y="190"/>
                  </a:lnTo>
                  <a:lnTo>
                    <a:pt x="177" y="190"/>
                  </a:lnTo>
                  <a:lnTo>
                    <a:pt x="177" y="190"/>
                  </a:lnTo>
                  <a:lnTo>
                    <a:pt x="177" y="192"/>
                  </a:lnTo>
                  <a:lnTo>
                    <a:pt x="179" y="192"/>
                  </a:lnTo>
                  <a:lnTo>
                    <a:pt x="179" y="192"/>
                  </a:lnTo>
                  <a:lnTo>
                    <a:pt x="179" y="192"/>
                  </a:lnTo>
                  <a:lnTo>
                    <a:pt x="179" y="192"/>
                  </a:lnTo>
                  <a:lnTo>
                    <a:pt x="181" y="194"/>
                  </a:lnTo>
                  <a:lnTo>
                    <a:pt x="181" y="194"/>
                  </a:lnTo>
                  <a:lnTo>
                    <a:pt x="181" y="194"/>
                  </a:lnTo>
                  <a:lnTo>
                    <a:pt x="181" y="194"/>
                  </a:lnTo>
                  <a:lnTo>
                    <a:pt x="181" y="194"/>
                  </a:lnTo>
                  <a:lnTo>
                    <a:pt x="181" y="194"/>
                  </a:lnTo>
                  <a:lnTo>
                    <a:pt x="183" y="194"/>
                  </a:lnTo>
                  <a:lnTo>
                    <a:pt x="183" y="194"/>
                  </a:lnTo>
                  <a:lnTo>
                    <a:pt x="183" y="194"/>
                  </a:lnTo>
                  <a:lnTo>
                    <a:pt x="183" y="196"/>
                  </a:lnTo>
                  <a:lnTo>
                    <a:pt x="185" y="196"/>
                  </a:lnTo>
                  <a:lnTo>
                    <a:pt x="185" y="198"/>
                  </a:lnTo>
                  <a:lnTo>
                    <a:pt x="185" y="200"/>
                  </a:lnTo>
                  <a:lnTo>
                    <a:pt x="185" y="201"/>
                  </a:lnTo>
                  <a:lnTo>
                    <a:pt x="187" y="201"/>
                  </a:lnTo>
                  <a:lnTo>
                    <a:pt x="187" y="203"/>
                  </a:lnTo>
                  <a:lnTo>
                    <a:pt x="185" y="207"/>
                  </a:lnTo>
                  <a:lnTo>
                    <a:pt x="181" y="209"/>
                  </a:lnTo>
                  <a:lnTo>
                    <a:pt x="181" y="211"/>
                  </a:lnTo>
                  <a:lnTo>
                    <a:pt x="181" y="213"/>
                  </a:lnTo>
                  <a:lnTo>
                    <a:pt x="181" y="213"/>
                  </a:lnTo>
                  <a:lnTo>
                    <a:pt x="179" y="215"/>
                  </a:lnTo>
                  <a:lnTo>
                    <a:pt x="179" y="215"/>
                  </a:lnTo>
                  <a:lnTo>
                    <a:pt x="181" y="217"/>
                  </a:lnTo>
                  <a:lnTo>
                    <a:pt x="181" y="219"/>
                  </a:lnTo>
                  <a:lnTo>
                    <a:pt x="181" y="220"/>
                  </a:lnTo>
                  <a:lnTo>
                    <a:pt x="181" y="220"/>
                  </a:lnTo>
                  <a:lnTo>
                    <a:pt x="181" y="222"/>
                  </a:lnTo>
                  <a:lnTo>
                    <a:pt x="181" y="222"/>
                  </a:lnTo>
                  <a:lnTo>
                    <a:pt x="181" y="222"/>
                  </a:lnTo>
                  <a:lnTo>
                    <a:pt x="183" y="222"/>
                  </a:lnTo>
                  <a:lnTo>
                    <a:pt x="183" y="222"/>
                  </a:lnTo>
                  <a:lnTo>
                    <a:pt x="187" y="226"/>
                  </a:lnTo>
                  <a:lnTo>
                    <a:pt x="187" y="228"/>
                  </a:lnTo>
                  <a:lnTo>
                    <a:pt x="187" y="228"/>
                  </a:lnTo>
                  <a:lnTo>
                    <a:pt x="189" y="230"/>
                  </a:lnTo>
                  <a:lnTo>
                    <a:pt x="191" y="238"/>
                  </a:lnTo>
                  <a:lnTo>
                    <a:pt x="191" y="240"/>
                  </a:lnTo>
                  <a:lnTo>
                    <a:pt x="191" y="243"/>
                  </a:lnTo>
                  <a:lnTo>
                    <a:pt x="191" y="243"/>
                  </a:lnTo>
                  <a:lnTo>
                    <a:pt x="189" y="245"/>
                  </a:lnTo>
                  <a:lnTo>
                    <a:pt x="189" y="247"/>
                  </a:lnTo>
                  <a:lnTo>
                    <a:pt x="189" y="253"/>
                  </a:lnTo>
                  <a:lnTo>
                    <a:pt x="189" y="253"/>
                  </a:lnTo>
                  <a:lnTo>
                    <a:pt x="189" y="253"/>
                  </a:lnTo>
                  <a:lnTo>
                    <a:pt x="187" y="253"/>
                  </a:lnTo>
                  <a:lnTo>
                    <a:pt x="187" y="253"/>
                  </a:lnTo>
                  <a:lnTo>
                    <a:pt x="185" y="253"/>
                  </a:lnTo>
                  <a:lnTo>
                    <a:pt x="185" y="253"/>
                  </a:lnTo>
                  <a:lnTo>
                    <a:pt x="185" y="253"/>
                  </a:lnTo>
                  <a:lnTo>
                    <a:pt x="185" y="253"/>
                  </a:lnTo>
                  <a:lnTo>
                    <a:pt x="185" y="255"/>
                  </a:lnTo>
                  <a:lnTo>
                    <a:pt x="185" y="255"/>
                  </a:lnTo>
                  <a:lnTo>
                    <a:pt x="185" y="255"/>
                  </a:lnTo>
                  <a:lnTo>
                    <a:pt x="185" y="257"/>
                  </a:lnTo>
                  <a:lnTo>
                    <a:pt x="189" y="257"/>
                  </a:lnTo>
                  <a:lnTo>
                    <a:pt x="189" y="257"/>
                  </a:lnTo>
                  <a:lnTo>
                    <a:pt x="189" y="257"/>
                  </a:lnTo>
                  <a:lnTo>
                    <a:pt x="189" y="259"/>
                  </a:lnTo>
                  <a:lnTo>
                    <a:pt x="191" y="259"/>
                  </a:lnTo>
                  <a:lnTo>
                    <a:pt x="191" y="260"/>
                  </a:lnTo>
                  <a:lnTo>
                    <a:pt x="191" y="262"/>
                  </a:lnTo>
                  <a:lnTo>
                    <a:pt x="191" y="262"/>
                  </a:lnTo>
                  <a:lnTo>
                    <a:pt x="191" y="264"/>
                  </a:lnTo>
                  <a:lnTo>
                    <a:pt x="191" y="264"/>
                  </a:lnTo>
                  <a:lnTo>
                    <a:pt x="193" y="264"/>
                  </a:lnTo>
                  <a:lnTo>
                    <a:pt x="193" y="266"/>
                  </a:lnTo>
                  <a:lnTo>
                    <a:pt x="191" y="266"/>
                  </a:lnTo>
                  <a:lnTo>
                    <a:pt x="191" y="268"/>
                  </a:lnTo>
                  <a:lnTo>
                    <a:pt x="191" y="268"/>
                  </a:lnTo>
                  <a:lnTo>
                    <a:pt x="189" y="268"/>
                  </a:lnTo>
                  <a:lnTo>
                    <a:pt x="191" y="270"/>
                  </a:lnTo>
                  <a:lnTo>
                    <a:pt x="191" y="270"/>
                  </a:lnTo>
                  <a:lnTo>
                    <a:pt x="191" y="270"/>
                  </a:lnTo>
                  <a:lnTo>
                    <a:pt x="193" y="270"/>
                  </a:lnTo>
                  <a:lnTo>
                    <a:pt x="193" y="272"/>
                  </a:lnTo>
                  <a:lnTo>
                    <a:pt x="191" y="272"/>
                  </a:lnTo>
                  <a:lnTo>
                    <a:pt x="191" y="274"/>
                  </a:lnTo>
                  <a:lnTo>
                    <a:pt x="189" y="274"/>
                  </a:lnTo>
                  <a:lnTo>
                    <a:pt x="187" y="274"/>
                  </a:lnTo>
                  <a:lnTo>
                    <a:pt x="187" y="274"/>
                  </a:lnTo>
                  <a:lnTo>
                    <a:pt x="185" y="274"/>
                  </a:lnTo>
                  <a:lnTo>
                    <a:pt x="185" y="274"/>
                  </a:lnTo>
                  <a:lnTo>
                    <a:pt x="183" y="274"/>
                  </a:lnTo>
                  <a:lnTo>
                    <a:pt x="183" y="272"/>
                  </a:lnTo>
                  <a:lnTo>
                    <a:pt x="181" y="272"/>
                  </a:lnTo>
                  <a:lnTo>
                    <a:pt x="179" y="272"/>
                  </a:lnTo>
                  <a:lnTo>
                    <a:pt x="179" y="272"/>
                  </a:lnTo>
                  <a:lnTo>
                    <a:pt x="179" y="274"/>
                  </a:lnTo>
                  <a:lnTo>
                    <a:pt x="179" y="274"/>
                  </a:lnTo>
                  <a:lnTo>
                    <a:pt x="179" y="274"/>
                  </a:lnTo>
                  <a:lnTo>
                    <a:pt x="181" y="274"/>
                  </a:lnTo>
                  <a:lnTo>
                    <a:pt x="181" y="276"/>
                  </a:lnTo>
                  <a:lnTo>
                    <a:pt x="181" y="276"/>
                  </a:lnTo>
                  <a:lnTo>
                    <a:pt x="183" y="276"/>
                  </a:lnTo>
                  <a:lnTo>
                    <a:pt x="181" y="279"/>
                  </a:lnTo>
                  <a:lnTo>
                    <a:pt x="181" y="279"/>
                  </a:lnTo>
                  <a:lnTo>
                    <a:pt x="183" y="281"/>
                  </a:lnTo>
                  <a:lnTo>
                    <a:pt x="183" y="281"/>
                  </a:lnTo>
                  <a:lnTo>
                    <a:pt x="183" y="281"/>
                  </a:lnTo>
                  <a:lnTo>
                    <a:pt x="183" y="283"/>
                  </a:lnTo>
                  <a:lnTo>
                    <a:pt x="183" y="283"/>
                  </a:lnTo>
                  <a:lnTo>
                    <a:pt x="181" y="285"/>
                  </a:lnTo>
                  <a:lnTo>
                    <a:pt x="181" y="285"/>
                  </a:lnTo>
                  <a:lnTo>
                    <a:pt x="181" y="285"/>
                  </a:lnTo>
                  <a:lnTo>
                    <a:pt x="181" y="287"/>
                  </a:lnTo>
                  <a:lnTo>
                    <a:pt x="181" y="287"/>
                  </a:lnTo>
                  <a:lnTo>
                    <a:pt x="181" y="289"/>
                  </a:lnTo>
                  <a:lnTo>
                    <a:pt x="181" y="291"/>
                  </a:lnTo>
                  <a:lnTo>
                    <a:pt x="177" y="298"/>
                  </a:lnTo>
                  <a:lnTo>
                    <a:pt x="175" y="300"/>
                  </a:lnTo>
                  <a:lnTo>
                    <a:pt x="173" y="302"/>
                  </a:lnTo>
                  <a:lnTo>
                    <a:pt x="170" y="304"/>
                  </a:lnTo>
                  <a:lnTo>
                    <a:pt x="170" y="304"/>
                  </a:lnTo>
                  <a:lnTo>
                    <a:pt x="168" y="306"/>
                  </a:lnTo>
                  <a:lnTo>
                    <a:pt x="166" y="306"/>
                  </a:lnTo>
                  <a:lnTo>
                    <a:pt x="166" y="308"/>
                  </a:lnTo>
                  <a:lnTo>
                    <a:pt x="166" y="308"/>
                  </a:lnTo>
                  <a:lnTo>
                    <a:pt x="166" y="310"/>
                  </a:lnTo>
                  <a:lnTo>
                    <a:pt x="166" y="310"/>
                  </a:lnTo>
                  <a:lnTo>
                    <a:pt x="168" y="310"/>
                  </a:lnTo>
                  <a:lnTo>
                    <a:pt x="168" y="310"/>
                  </a:lnTo>
                  <a:lnTo>
                    <a:pt x="168" y="310"/>
                  </a:lnTo>
                  <a:lnTo>
                    <a:pt x="170" y="310"/>
                  </a:lnTo>
                  <a:lnTo>
                    <a:pt x="170" y="310"/>
                  </a:lnTo>
                  <a:lnTo>
                    <a:pt x="170" y="312"/>
                  </a:lnTo>
                  <a:lnTo>
                    <a:pt x="170" y="314"/>
                  </a:lnTo>
                  <a:lnTo>
                    <a:pt x="170" y="316"/>
                  </a:lnTo>
                  <a:lnTo>
                    <a:pt x="168" y="316"/>
                  </a:lnTo>
                  <a:lnTo>
                    <a:pt x="166" y="314"/>
                  </a:lnTo>
                  <a:lnTo>
                    <a:pt x="164" y="316"/>
                  </a:lnTo>
                  <a:lnTo>
                    <a:pt x="164" y="316"/>
                  </a:lnTo>
                  <a:lnTo>
                    <a:pt x="164" y="317"/>
                  </a:lnTo>
                  <a:lnTo>
                    <a:pt x="162" y="319"/>
                  </a:lnTo>
                  <a:lnTo>
                    <a:pt x="162" y="321"/>
                  </a:lnTo>
                  <a:lnTo>
                    <a:pt x="162" y="321"/>
                  </a:lnTo>
                  <a:lnTo>
                    <a:pt x="160" y="321"/>
                  </a:lnTo>
                  <a:lnTo>
                    <a:pt x="158" y="319"/>
                  </a:lnTo>
                  <a:lnTo>
                    <a:pt x="156" y="319"/>
                  </a:lnTo>
                  <a:lnTo>
                    <a:pt x="156" y="319"/>
                  </a:lnTo>
                  <a:lnTo>
                    <a:pt x="154" y="319"/>
                  </a:lnTo>
                  <a:lnTo>
                    <a:pt x="154" y="319"/>
                  </a:lnTo>
                  <a:lnTo>
                    <a:pt x="154" y="321"/>
                  </a:lnTo>
                  <a:lnTo>
                    <a:pt x="154" y="323"/>
                  </a:lnTo>
                  <a:lnTo>
                    <a:pt x="154" y="325"/>
                  </a:lnTo>
                  <a:lnTo>
                    <a:pt x="154" y="327"/>
                  </a:lnTo>
                  <a:lnTo>
                    <a:pt x="154" y="329"/>
                  </a:lnTo>
                  <a:lnTo>
                    <a:pt x="154" y="329"/>
                  </a:lnTo>
                  <a:lnTo>
                    <a:pt x="153" y="329"/>
                  </a:lnTo>
                  <a:lnTo>
                    <a:pt x="151" y="331"/>
                  </a:lnTo>
                  <a:lnTo>
                    <a:pt x="151" y="331"/>
                  </a:lnTo>
                  <a:lnTo>
                    <a:pt x="147" y="331"/>
                  </a:lnTo>
                  <a:lnTo>
                    <a:pt x="145" y="331"/>
                  </a:lnTo>
                  <a:lnTo>
                    <a:pt x="141" y="333"/>
                  </a:lnTo>
                  <a:lnTo>
                    <a:pt x="139" y="333"/>
                  </a:lnTo>
                  <a:lnTo>
                    <a:pt x="139" y="333"/>
                  </a:lnTo>
                  <a:lnTo>
                    <a:pt x="139" y="331"/>
                  </a:lnTo>
                  <a:lnTo>
                    <a:pt x="139" y="329"/>
                  </a:lnTo>
                  <a:lnTo>
                    <a:pt x="139" y="329"/>
                  </a:lnTo>
                  <a:lnTo>
                    <a:pt x="139" y="327"/>
                  </a:lnTo>
                  <a:lnTo>
                    <a:pt x="137" y="327"/>
                  </a:lnTo>
                  <a:lnTo>
                    <a:pt x="137" y="327"/>
                  </a:lnTo>
                  <a:lnTo>
                    <a:pt x="133" y="329"/>
                  </a:lnTo>
                  <a:lnTo>
                    <a:pt x="132" y="329"/>
                  </a:lnTo>
                  <a:lnTo>
                    <a:pt x="130" y="329"/>
                  </a:lnTo>
                  <a:lnTo>
                    <a:pt x="130" y="331"/>
                  </a:lnTo>
                  <a:lnTo>
                    <a:pt x="130" y="331"/>
                  </a:lnTo>
                  <a:lnTo>
                    <a:pt x="132" y="333"/>
                  </a:lnTo>
                  <a:lnTo>
                    <a:pt x="132" y="333"/>
                  </a:lnTo>
                  <a:lnTo>
                    <a:pt x="132" y="333"/>
                  </a:lnTo>
                  <a:lnTo>
                    <a:pt x="132" y="335"/>
                  </a:lnTo>
                  <a:lnTo>
                    <a:pt x="133" y="335"/>
                  </a:lnTo>
                  <a:lnTo>
                    <a:pt x="135" y="337"/>
                  </a:lnTo>
                  <a:lnTo>
                    <a:pt x="135" y="337"/>
                  </a:lnTo>
                  <a:lnTo>
                    <a:pt x="135" y="338"/>
                  </a:lnTo>
                  <a:lnTo>
                    <a:pt x="135" y="340"/>
                  </a:lnTo>
                  <a:lnTo>
                    <a:pt x="135" y="342"/>
                  </a:lnTo>
                  <a:lnTo>
                    <a:pt x="133" y="342"/>
                  </a:lnTo>
                  <a:lnTo>
                    <a:pt x="133" y="342"/>
                  </a:lnTo>
                  <a:lnTo>
                    <a:pt x="132" y="342"/>
                  </a:lnTo>
                  <a:lnTo>
                    <a:pt x="132" y="344"/>
                  </a:lnTo>
                  <a:lnTo>
                    <a:pt x="132" y="346"/>
                  </a:lnTo>
                  <a:lnTo>
                    <a:pt x="132" y="346"/>
                  </a:lnTo>
                  <a:lnTo>
                    <a:pt x="132" y="348"/>
                  </a:lnTo>
                  <a:lnTo>
                    <a:pt x="130" y="348"/>
                  </a:lnTo>
                  <a:lnTo>
                    <a:pt x="130" y="348"/>
                  </a:lnTo>
                  <a:lnTo>
                    <a:pt x="130" y="346"/>
                  </a:lnTo>
                  <a:lnTo>
                    <a:pt x="128" y="346"/>
                  </a:lnTo>
                  <a:lnTo>
                    <a:pt x="128" y="346"/>
                  </a:lnTo>
                  <a:lnTo>
                    <a:pt x="126" y="346"/>
                  </a:lnTo>
                  <a:lnTo>
                    <a:pt x="124" y="346"/>
                  </a:lnTo>
                  <a:lnTo>
                    <a:pt x="124" y="344"/>
                  </a:lnTo>
                  <a:lnTo>
                    <a:pt x="122" y="346"/>
                  </a:lnTo>
                  <a:lnTo>
                    <a:pt x="122" y="346"/>
                  </a:lnTo>
                  <a:lnTo>
                    <a:pt x="122" y="346"/>
                  </a:lnTo>
                  <a:lnTo>
                    <a:pt x="122" y="348"/>
                  </a:lnTo>
                  <a:lnTo>
                    <a:pt x="122" y="348"/>
                  </a:lnTo>
                  <a:lnTo>
                    <a:pt x="124" y="350"/>
                  </a:lnTo>
                  <a:lnTo>
                    <a:pt x="124" y="350"/>
                  </a:lnTo>
                  <a:lnTo>
                    <a:pt x="124" y="350"/>
                  </a:lnTo>
                  <a:lnTo>
                    <a:pt x="124" y="352"/>
                  </a:lnTo>
                  <a:lnTo>
                    <a:pt x="122" y="354"/>
                  </a:lnTo>
                  <a:lnTo>
                    <a:pt x="116" y="352"/>
                  </a:lnTo>
                  <a:lnTo>
                    <a:pt x="114" y="350"/>
                  </a:lnTo>
                  <a:lnTo>
                    <a:pt x="112" y="350"/>
                  </a:lnTo>
                  <a:lnTo>
                    <a:pt x="111" y="348"/>
                  </a:lnTo>
                  <a:lnTo>
                    <a:pt x="111" y="346"/>
                  </a:lnTo>
                  <a:lnTo>
                    <a:pt x="109" y="346"/>
                  </a:lnTo>
                  <a:lnTo>
                    <a:pt x="107" y="346"/>
                  </a:lnTo>
                  <a:lnTo>
                    <a:pt x="105" y="346"/>
                  </a:lnTo>
                  <a:lnTo>
                    <a:pt x="101" y="342"/>
                  </a:lnTo>
                  <a:lnTo>
                    <a:pt x="99" y="342"/>
                  </a:lnTo>
                  <a:lnTo>
                    <a:pt x="97" y="342"/>
                  </a:lnTo>
                  <a:lnTo>
                    <a:pt x="97" y="342"/>
                  </a:lnTo>
                  <a:lnTo>
                    <a:pt x="97" y="342"/>
                  </a:lnTo>
                  <a:lnTo>
                    <a:pt x="97" y="344"/>
                  </a:lnTo>
                  <a:lnTo>
                    <a:pt x="95" y="344"/>
                  </a:lnTo>
                  <a:lnTo>
                    <a:pt x="95" y="344"/>
                  </a:lnTo>
                  <a:lnTo>
                    <a:pt x="95" y="346"/>
                  </a:lnTo>
                  <a:lnTo>
                    <a:pt x="95" y="346"/>
                  </a:lnTo>
                  <a:lnTo>
                    <a:pt x="93" y="348"/>
                  </a:lnTo>
                  <a:lnTo>
                    <a:pt x="93" y="348"/>
                  </a:lnTo>
                  <a:lnTo>
                    <a:pt x="92" y="350"/>
                  </a:lnTo>
                  <a:lnTo>
                    <a:pt x="92" y="352"/>
                  </a:lnTo>
                  <a:lnTo>
                    <a:pt x="92" y="352"/>
                  </a:lnTo>
                  <a:lnTo>
                    <a:pt x="92" y="352"/>
                  </a:lnTo>
                  <a:lnTo>
                    <a:pt x="92" y="354"/>
                  </a:lnTo>
                  <a:lnTo>
                    <a:pt x="93" y="356"/>
                  </a:lnTo>
                  <a:lnTo>
                    <a:pt x="92" y="357"/>
                  </a:lnTo>
                  <a:lnTo>
                    <a:pt x="92" y="361"/>
                  </a:lnTo>
                  <a:lnTo>
                    <a:pt x="88" y="361"/>
                  </a:lnTo>
                  <a:lnTo>
                    <a:pt x="76" y="363"/>
                  </a:lnTo>
                  <a:lnTo>
                    <a:pt x="71" y="365"/>
                  </a:lnTo>
                  <a:lnTo>
                    <a:pt x="67" y="367"/>
                  </a:lnTo>
                  <a:lnTo>
                    <a:pt x="59" y="369"/>
                  </a:lnTo>
                  <a:lnTo>
                    <a:pt x="55" y="371"/>
                  </a:lnTo>
                  <a:lnTo>
                    <a:pt x="52" y="373"/>
                  </a:lnTo>
                  <a:lnTo>
                    <a:pt x="50" y="375"/>
                  </a:lnTo>
                  <a:lnTo>
                    <a:pt x="50" y="376"/>
                  </a:lnTo>
                  <a:lnTo>
                    <a:pt x="48" y="378"/>
                  </a:lnTo>
                  <a:lnTo>
                    <a:pt x="48" y="378"/>
                  </a:lnTo>
                  <a:lnTo>
                    <a:pt x="48" y="380"/>
                  </a:lnTo>
                  <a:lnTo>
                    <a:pt x="48" y="382"/>
                  </a:lnTo>
                  <a:lnTo>
                    <a:pt x="48" y="382"/>
                  </a:lnTo>
                  <a:lnTo>
                    <a:pt x="48" y="382"/>
                  </a:lnTo>
                  <a:lnTo>
                    <a:pt x="48" y="384"/>
                  </a:lnTo>
                  <a:lnTo>
                    <a:pt x="48" y="384"/>
                  </a:lnTo>
                  <a:lnTo>
                    <a:pt x="48" y="384"/>
                  </a:lnTo>
                  <a:lnTo>
                    <a:pt x="46" y="384"/>
                  </a:lnTo>
                  <a:lnTo>
                    <a:pt x="46" y="384"/>
                  </a:lnTo>
                  <a:lnTo>
                    <a:pt x="44" y="386"/>
                  </a:lnTo>
                  <a:lnTo>
                    <a:pt x="42" y="388"/>
                  </a:lnTo>
                  <a:lnTo>
                    <a:pt x="40" y="390"/>
                  </a:lnTo>
                  <a:lnTo>
                    <a:pt x="38" y="390"/>
                  </a:lnTo>
                  <a:lnTo>
                    <a:pt x="36" y="388"/>
                  </a:lnTo>
                  <a:lnTo>
                    <a:pt x="36" y="388"/>
                  </a:lnTo>
                  <a:lnTo>
                    <a:pt x="34" y="386"/>
                  </a:lnTo>
                  <a:lnTo>
                    <a:pt x="31" y="384"/>
                  </a:lnTo>
                  <a:lnTo>
                    <a:pt x="31" y="384"/>
                  </a:lnTo>
                  <a:lnTo>
                    <a:pt x="29" y="384"/>
                  </a:lnTo>
                  <a:lnTo>
                    <a:pt x="29" y="384"/>
                  </a:lnTo>
                  <a:lnTo>
                    <a:pt x="29" y="384"/>
                  </a:lnTo>
                  <a:lnTo>
                    <a:pt x="29" y="384"/>
                  </a:lnTo>
                  <a:lnTo>
                    <a:pt x="29" y="384"/>
                  </a:lnTo>
                  <a:lnTo>
                    <a:pt x="29" y="382"/>
                  </a:lnTo>
                  <a:lnTo>
                    <a:pt x="29" y="376"/>
                  </a:lnTo>
                  <a:lnTo>
                    <a:pt x="29" y="375"/>
                  </a:lnTo>
                  <a:lnTo>
                    <a:pt x="27" y="375"/>
                  </a:lnTo>
                  <a:lnTo>
                    <a:pt x="23" y="373"/>
                  </a:lnTo>
                  <a:lnTo>
                    <a:pt x="21" y="373"/>
                  </a:lnTo>
                  <a:lnTo>
                    <a:pt x="19" y="373"/>
                  </a:lnTo>
                  <a:lnTo>
                    <a:pt x="19" y="373"/>
                  </a:lnTo>
                  <a:lnTo>
                    <a:pt x="17" y="375"/>
                  </a:lnTo>
                  <a:lnTo>
                    <a:pt x="17" y="375"/>
                  </a:lnTo>
                  <a:lnTo>
                    <a:pt x="17" y="375"/>
                  </a:lnTo>
                  <a:lnTo>
                    <a:pt x="17" y="376"/>
                  </a:lnTo>
                  <a:lnTo>
                    <a:pt x="17" y="380"/>
                  </a:lnTo>
                  <a:lnTo>
                    <a:pt x="19" y="380"/>
                  </a:lnTo>
                  <a:lnTo>
                    <a:pt x="17" y="382"/>
                  </a:lnTo>
                  <a:lnTo>
                    <a:pt x="17" y="382"/>
                  </a:lnTo>
                  <a:lnTo>
                    <a:pt x="17" y="382"/>
                  </a:lnTo>
                  <a:lnTo>
                    <a:pt x="11" y="382"/>
                  </a:lnTo>
                  <a:lnTo>
                    <a:pt x="10" y="382"/>
                  </a:lnTo>
                  <a:lnTo>
                    <a:pt x="8" y="382"/>
                  </a:lnTo>
                  <a:lnTo>
                    <a:pt x="2" y="384"/>
                  </a:lnTo>
                  <a:lnTo>
                    <a:pt x="0" y="384"/>
                  </a:lnTo>
                  <a:lnTo>
                    <a:pt x="0" y="386"/>
                  </a:lnTo>
                  <a:lnTo>
                    <a:pt x="0" y="386"/>
                  </a:lnTo>
                  <a:lnTo>
                    <a:pt x="0" y="388"/>
                  </a:lnTo>
                  <a:lnTo>
                    <a:pt x="2" y="388"/>
                  </a:lnTo>
                  <a:lnTo>
                    <a:pt x="2" y="390"/>
                  </a:lnTo>
                  <a:lnTo>
                    <a:pt x="2" y="390"/>
                  </a:lnTo>
                  <a:lnTo>
                    <a:pt x="2" y="390"/>
                  </a:lnTo>
                  <a:lnTo>
                    <a:pt x="6" y="390"/>
                  </a:lnTo>
                  <a:lnTo>
                    <a:pt x="6" y="390"/>
                  </a:lnTo>
                  <a:lnTo>
                    <a:pt x="8" y="392"/>
                  </a:lnTo>
                  <a:lnTo>
                    <a:pt x="8" y="392"/>
                  </a:lnTo>
                  <a:lnTo>
                    <a:pt x="6" y="394"/>
                  </a:lnTo>
                  <a:lnTo>
                    <a:pt x="6" y="394"/>
                  </a:lnTo>
                  <a:lnTo>
                    <a:pt x="6" y="397"/>
                  </a:lnTo>
                  <a:lnTo>
                    <a:pt x="6" y="397"/>
                  </a:lnTo>
                  <a:lnTo>
                    <a:pt x="6" y="399"/>
                  </a:lnTo>
                  <a:lnTo>
                    <a:pt x="4" y="401"/>
                  </a:lnTo>
                  <a:lnTo>
                    <a:pt x="2" y="403"/>
                  </a:lnTo>
                  <a:lnTo>
                    <a:pt x="2" y="405"/>
                  </a:lnTo>
                  <a:lnTo>
                    <a:pt x="2" y="407"/>
                  </a:lnTo>
                  <a:lnTo>
                    <a:pt x="2" y="409"/>
                  </a:lnTo>
                  <a:lnTo>
                    <a:pt x="6" y="413"/>
                  </a:lnTo>
                  <a:lnTo>
                    <a:pt x="6" y="414"/>
                  </a:lnTo>
                  <a:lnTo>
                    <a:pt x="6" y="416"/>
                  </a:lnTo>
                  <a:lnTo>
                    <a:pt x="6" y="416"/>
                  </a:lnTo>
                  <a:lnTo>
                    <a:pt x="6" y="416"/>
                  </a:lnTo>
                  <a:lnTo>
                    <a:pt x="8" y="416"/>
                  </a:lnTo>
                  <a:lnTo>
                    <a:pt x="11" y="414"/>
                  </a:lnTo>
                  <a:lnTo>
                    <a:pt x="13" y="414"/>
                  </a:lnTo>
                  <a:lnTo>
                    <a:pt x="15" y="416"/>
                  </a:lnTo>
                  <a:lnTo>
                    <a:pt x="17" y="416"/>
                  </a:lnTo>
                  <a:lnTo>
                    <a:pt x="19" y="418"/>
                  </a:lnTo>
                  <a:lnTo>
                    <a:pt x="31" y="430"/>
                  </a:lnTo>
                  <a:lnTo>
                    <a:pt x="32" y="432"/>
                  </a:lnTo>
                  <a:lnTo>
                    <a:pt x="32" y="433"/>
                  </a:lnTo>
                  <a:lnTo>
                    <a:pt x="34" y="433"/>
                  </a:lnTo>
                  <a:lnTo>
                    <a:pt x="36" y="432"/>
                  </a:lnTo>
                  <a:lnTo>
                    <a:pt x="36" y="432"/>
                  </a:lnTo>
                  <a:lnTo>
                    <a:pt x="40" y="432"/>
                  </a:lnTo>
                  <a:lnTo>
                    <a:pt x="46" y="432"/>
                  </a:lnTo>
                  <a:lnTo>
                    <a:pt x="59" y="433"/>
                  </a:lnTo>
                  <a:lnTo>
                    <a:pt x="59" y="433"/>
                  </a:lnTo>
                  <a:lnTo>
                    <a:pt x="59" y="433"/>
                  </a:lnTo>
                  <a:lnTo>
                    <a:pt x="59" y="433"/>
                  </a:lnTo>
                  <a:lnTo>
                    <a:pt x="59" y="433"/>
                  </a:lnTo>
                  <a:lnTo>
                    <a:pt x="59" y="433"/>
                  </a:lnTo>
                  <a:lnTo>
                    <a:pt x="61" y="433"/>
                  </a:lnTo>
                  <a:lnTo>
                    <a:pt x="63" y="433"/>
                  </a:lnTo>
                  <a:lnTo>
                    <a:pt x="63" y="433"/>
                  </a:lnTo>
                  <a:lnTo>
                    <a:pt x="63" y="435"/>
                  </a:lnTo>
                  <a:lnTo>
                    <a:pt x="63" y="435"/>
                  </a:lnTo>
                  <a:lnTo>
                    <a:pt x="63" y="435"/>
                  </a:lnTo>
                  <a:lnTo>
                    <a:pt x="63" y="435"/>
                  </a:lnTo>
                  <a:lnTo>
                    <a:pt x="61" y="435"/>
                  </a:lnTo>
                  <a:lnTo>
                    <a:pt x="59" y="435"/>
                  </a:lnTo>
                  <a:lnTo>
                    <a:pt x="59" y="437"/>
                  </a:lnTo>
                  <a:lnTo>
                    <a:pt x="57" y="437"/>
                  </a:lnTo>
                  <a:lnTo>
                    <a:pt x="55" y="439"/>
                  </a:lnTo>
                  <a:lnTo>
                    <a:pt x="55" y="439"/>
                  </a:lnTo>
                  <a:lnTo>
                    <a:pt x="55" y="441"/>
                  </a:lnTo>
                  <a:lnTo>
                    <a:pt x="55" y="441"/>
                  </a:lnTo>
                  <a:lnTo>
                    <a:pt x="55" y="443"/>
                  </a:lnTo>
                  <a:lnTo>
                    <a:pt x="55" y="443"/>
                  </a:lnTo>
                  <a:lnTo>
                    <a:pt x="53" y="447"/>
                  </a:lnTo>
                  <a:lnTo>
                    <a:pt x="53" y="447"/>
                  </a:lnTo>
                  <a:lnTo>
                    <a:pt x="53" y="449"/>
                  </a:lnTo>
                  <a:lnTo>
                    <a:pt x="53" y="453"/>
                  </a:lnTo>
                  <a:lnTo>
                    <a:pt x="53" y="453"/>
                  </a:lnTo>
                  <a:lnTo>
                    <a:pt x="53" y="454"/>
                  </a:lnTo>
                  <a:lnTo>
                    <a:pt x="59" y="458"/>
                  </a:lnTo>
                  <a:lnTo>
                    <a:pt x="61" y="458"/>
                  </a:lnTo>
                  <a:lnTo>
                    <a:pt x="61" y="458"/>
                  </a:lnTo>
                  <a:lnTo>
                    <a:pt x="63" y="458"/>
                  </a:lnTo>
                  <a:lnTo>
                    <a:pt x="63" y="458"/>
                  </a:lnTo>
                  <a:lnTo>
                    <a:pt x="65" y="460"/>
                  </a:lnTo>
                  <a:lnTo>
                    <a:pt x="71" y="466"/>
                  </a:lnTo>
                  <a:lnTo>
                    <a:pt x="72" y="470"/>
                  </a:lnTo>
                  <a:lnTo>
                    <a:pt x="72" y="472"/>
                  </a:lnTo>
                  <a:lnTo>
                    <a:pt x="72" y="473"/>
                  </a:lnTo>
                  <a:lnTo>
                    <a:pt x="74" y="473"/>
                  </a:lnTo>
                  <a:lnTo>
                    <a:pt x="76" y="473"/>
                  </a:lnTo>
                  <a:lnTo>
                    <a:pt x="80" y="473"/>
                  </a:lnTo>
                  <a:lnTo>
                    <a:pt x="82" y="475"/>
                  </a:lnTo>
                  <a:lnTo>
                    <a:pt x="84" y="475"/>
                  </a:lnTo>
                  <a:lnTo>
                    <a:pt x="86" y="477"/>
                  </a:lnTo>
                  <a:lnTo>
                    <a:pt x="86" y="479"/>
                  </a:lnTo>
                  <a:lnTo>
                    <a:pt x="86" y="481"/>
                  </a:lnTo>
                  <a:lnTo>
                    <a:pt x="88" y="481"/>
                  </a:lnTo>
                  <a:lnTo>
                    <a:pt x="88" y="483"/>
                  </a:lnTo>
                  <a:lnTo>
                    <a:pt x="86" y="483"/>
                  </a:lnTo>
                  <a:lnTo>
                    <a:pt x="86" y="483"/>
                  </a:lnTo>
                  <a:lnTo>
                    <a:pt x="86" y="483"/>
                  </a:lnTo>
                  <a:lnTo>
                    <a:pt x="84" y="483"/>
                  </a:lnTo>
                  <a:lnTo>
                    <a:pt x="82" y="483"/>
                  </a:lnTo>
                  <a:lnTo>
                    <a:pt x="82" y="483"/>
                  </a:lnTo>
                  <a:lnTo>
                    <a:pt x="82" y="483"/>
                  </a:lnTo>
                  <a:lnTo>
                    <a:pt x="82" y="483"/>
                  </a:lnTo>
                  <a:lnTo>
                    <a:pt x="82" y="483"/>
                  </a:lnTo>
                  <a:lnTo>
                    <a:pt x="82" y="485"/>
                  </a:lnTo>
                  <a:lnTo>
                    <a:pt x="82" y="485"/>
                  </a:lnTo>
                  <a:lnTo>
                    <a:pt x="84" y="487"/>
                  </a:lnTo>
                  <a:lnTo>
                    <a:pt x="84" y="487"/>
                  </a:lnTo>
                  <a:lnTo>
                    <a:pt x="84" y="489"/>
                  </a:lnTo>
                  <a:lnTo>
                    <a:pt x="88" y="489"/>
                  </a:lnTo>
                  <a:lnTo>
                    <a:pt x="88" y="491"/>
                  </a:lnTo>
                  <a:lnTo>
                    <a:pt x="90" y="492"/>
                  </a:lnTo>
                  <a:lnTo>
                    <a:pt x="90" y="494"/>
                  </a:lnTo>
                  <a:lnTo>
                    <a:pt x="90" y="496"/>
                  </a:lnTo>
                  <a:lnTo>
                    <a:pt x="92" y="498"/>
                  </a:lnTo>
                  <a:lnTo>
                    <a:pt x="92" y="500"/>
                  </a:lnTo>
                  <a:lnTo>
                    <a:pt x="93" y="500"/>
                  </a:lnTo>
                  <a:lnTo>
                    <a:pt x="95" y="502"/>
                  </a:lnTo>
                  <a:lnTo>
                    <a:pt x="95" y="504"/>
                  </a:lnTo>
                  <a:lnTo>
                    <a:pt x="95" y="504"/>
                  </a:lnTo>
                  <a:lnTo>
                    <a:pt x="93" y="504"/>
                  </a:lnTo>
                  <a:lnTo>
                    <a:pt x="90" y="504"/>
                  </a:lnTo>
                  <a:lnTo>
                    <a:pt x="90" y="504"/>
                  </a:lnTo>
                  <a:lnTo>
                    <a:pt x="88" y="506"/>
                  </a:lnTo>
                  <a:lnTo>
                    <a:pt x="88" y="506"/>
                  </a:lnTo>
                  <a:lnTo>
                    <a:pt x="88" y="508"/>
                  </a:lnTo>
                  <a:lnTo>
                    <a:pt x="88" y="508"/>
                  </a:lnTo>
                  <a:lnTo>
                    <a:pt x="88" y="510"/>
                  </a:lnTo>
                  <a:lnTo>
                    <a:pt x="86" y="510"/>
                  </a:lnTo>
                  <a:lnTo>
                    <a:pt x="84" y="508"/>
                  </a:lnTo>
                  <a:lnTo>
                    <a:pt x="84" y="508"/>
                  </a:lnTo>
                  <a:lnTo>
                    <a:pt x="84" y="510"/>
                  </a:lnTo>
                  <a:lnTo>
                    <a:pt x="82" y="510"/>
                  </a:lnTo>
                  <a:lnTo>
                    <a:pt x="80" y="511"/>
                  </a:lnTo>
                  <a:lnTo>
                    <a:pt x="80" y="511"/>
                  </a:lnTo>
                  <a:lnTo>
                    <a:pt x="82" y="515"/>
                  </a:lnTo>
                  <a:lnTo>
                    <a:pt x="82" y="515"/>
                  </a:lnTo>
                  <a:lnTo>
                    <a:pt x="84" y="515"/>
                  </a:lnTo>
                  <a:lnTo>
                    <a:pt x="86" y="515"/>
                  </a:lnTo>
                  <a:lnTo>
                    <a:pt x="88" y="517"/>
                  </a:lnTo>
                  <a:lnTo>
                    <a:pt x="90" y="517"/>
                  </a:lnTo>
                  <a:lnTo>
                    <a:pt x="93" y="521"/>
                  </a:lnTo>
                  <a:lnTo>
                    <a:pt x="95" y="521"/>
                  </a:lnTo>
                  <a:lnTo>
                    <a:pt x="97" y="521"/>
                  </a:lnTo>
                  <a:lnTo>
                    <a:pt x="97" y="521"/>
                  </a:lnTo>
                  <a:lnTo>
                    <a:pt x="99" y="521"/>
                  </a:lnTo>
                  <a:lnTo>
                    <a:pt x="103" y="523"/>
                  </a:lnTo>
                  <a:lnTo>
                    <a:pt x="107" y="525"/>
                  </a:lnTo>
                  <a:lnTo>
                    <a:pt x="109" y="527"/>
                  </a:lnTo>
                  <a:lnTo>
                    <a:pt x="109" y="527"/>
                  </a:lnTo>
                  <a:lnTo>
                    <a:pt x="109" y="529"/>
                  </a:lnTo>
                  <a:lnTo>
                    <a:pt x="109" y="529"/>
                  </a:lnTo>
                  <a:lnTo>
                    <a:pt x="109" y="530"/>
                  </a:lnTo>
                  <a:lnTo>
                    <a:pt x="109" y="532"/>
                  </a:lnTo>
                  <a:lnTo>
                    <a:pt x="109" y="532"/>
                  </a:lnTo>
                  <a:lnTo>
                    <a:pt x="109" y="532"/>
                  </a:lnTo>
                  <a:lnTo>
                    <a:pt x="109" y="536"/>
                  </a:lnTo>
                  <a:lnTo>
                    <a:pt x="109" y="538"/>
                  </a:lnTo>
                  <a:lnTo>
                    <a:pt x="109" y="540"/>
                  </a:lnTo>
                  <a:lnTo>
                    <a:pt x="112" y="542"/>
                  </a:lnTo>
                  <a:lnTo>
                    <a:pt x="114" y="542"/>
                  </a:lnTo>
                  <a:lnTo>
                    <a:pt x="114" y="542"/>
                  </a:lnTo>
                  <a:lnTo>
                    <a:pt x="114" y="542"/>
                  </a:lnTo>
                  <a:lnTo>
                    <a:pt x="116" y="540"/>
                  </a:lnTo>
                  <a:lnTo>
                    <a:pt x="116" y="540"/>
                  </a:lnTo>
                  <a:lnTo>
                    <a:pt x="116" y="540"/>
                  </a:lnTo>
                  <a:lnTo>
                    <a:pt x="118" y="538"/>
                  </a:lnTo>
                  <a:lnTo>
                    <a:pt x="118" y="538"/>
                  </a:lnTo>
                  <a:lnTo>
                    <a:pt x="118" y="536"/>
                  </a:lnTo>
                  <a:lnTo>
                    <a:pt x="120" y="536"/>
                  </a:lnTo>
                  <a:lnTo>
                    <a:pt x="120" y="536"/>
                  </a:lnTo>
                  <a:lnTo>
                    <a:pt x="122" y="536"/>
                  </a:lnTo>
                  <a:lnTo>
                    <a:pt x="124" y="536"/>
                  </a:lnTo>
                  <a:lnTo>
                    <a:pt x="126" y="538"/>
                  </a:lnTo>
                  <a:lnTo>
                    <a:pt x="128" y="538"/>
                  </a:lnTo>
                  <a:lnTo>
                    <a:pt x="130" y="540"/>
                  </a:lnTo>
                  <a:lnTo>
                    <a:pt x="130" y="544"/>
                  </a:lnTo>
                  <a:lnTo>
                    <a:pt x="130" y="546"/>
                  </a:lnTo>
                  <a:lnTo>
                    <a:pt x="130" y="548"/>
                  </a:lnTo>
                  <a:lnTo>
                    <a:pt x="132" y="550"/>
                  </a:lnTo>
                  <a:lnTo>
                    <a:pt x="132" y="551"/>
                  </a:lnTo>
                  <a:lnTo>
                    <a:pt x="135" y="551"/>
                  </a:lnTo>
                  <a:lnTo>
                    <a:pt x="147" y="555"/>
                  </a:lnTo>
                  <a:lnTo>
                    <a:pt x="149" y="555"/>
                  </a:lnTo>
                  <a:lnTo>
                    <a:pt x="149" y="557"/>
                  </a:lnTo>
                  <a:lnTo>
                    <a:pt x="149" y="559"/>
                  </a:lnTo>
                  <a:lnTo>
                    <a:pt x="149" y="561"/>
                  </a:lnTo>
                  <a:lnTo>
                    <a:pt x="149" y="563"/>
                  </a:lnTo>
                  <a:lnTo>
                    <a:pt x="149" y="565"/>
                  </a:lnTo>
                  <a:lnTo>
                    <a:pt x="149" y="565"/>
                  </a:lnTo>
                  <a:lnTo>
                    <a:pt x="153" y="570"/>
                  </a:lnTo>
                  <a:lnTo>
                    <a:pt x="153" y="572"/>
                  </a:lnTo>
                  <a:lnTo>
                    <a:pt x="166" y="569"/>
                  </a:lnTo>
                  <a:lnTo>
                    <a:pt x="168" y="569"/>
                  </a:lnTo>
                  <a:lnTo>
                    <a:pt x="172" y="569"/>
                  </a:lnTo>
                  <a:lnTo>
                    <a:pt x="173" y="567"/>
                  </a:lnTo>
                  <a:lnTo>
                    <a:pt x="179" y="563"/>
                  </a:lnTo>
                  <a:lnTo>
                    <a:pt x="187" y="561"/>
                  </a:lnTo>
                  <a:lnTo>
                    <a:pt x="189" y="557"/>
                  </a:lnTo>
                  <a:lnTo>
                    <a:pt x="191" y="555"/>
                  </a:lnTo>
                  <a:lnTo>
                    <a:pt x="193" y="555"/>
                  </a:lnTo>
                  <a:lnTo>
                    <a:pt x="193" y="553"/>
                  </a:lnTo>
                  <a:lnTo>
                    <a:pt x="193" y="553"/>
                  </a:lnTo>
                  <a:lnTo>
                    <a:pt x="193" y="553"/>
                  </a:lnTo>
                  <a:lnTo>
                    <a:pt x="193" y="553"/>
                  </a:lnTo>
                  <a:lnTo>
                    <a:pt x="196" y="550"/>
                  </a:lnTo>
                  <a:lnTo>
                    <a:pt x="198" y="550"/>
                  </a:lnTo>
                  <a:lnTo>
                    <a:pt x="198" y="550"/>
                  </a:lnTo>
                  <a:lnTo>
                    <a:pt x="200" y="548"/>
                  </a:lnTo>
                  <a:lnTo>
                    <a:pt x="204" y="538"/>
                  </a:lnTo>
                  <a:lnTo>
                    <a:pt x="206" y="536"/>
                  </a:lnTo>
                  <a:lnTo>
                    <a:pt x="206" y="534"/>
                  </a:lnTo>
                  <a:lnTo>
                    <a:pt x="206" y="534"/>
                  </a:lnTo>
                  <a:lnTo>
                    <a:pt x="206" y="532"/>
                  </a:lnTo>
                  <a:lnTo>
                    <a:pt x="206" y="530"/>
                  </a:lnTo>
                  <a:lnTo>
                    <a:pt x="206" y="530"/>
                  </a:lnTo>
                  <a:lnTo>
                    <a:pt x="210" y="530"/>
                  </a:lnTo>
                  <a:lnTo>
                    <a:pt x="212" y="530"/>
                  </a:lnTo>
                  <a:lnTo>
                    <a:pt x="213" y="527"/>
                  </a:lnTo>
                  <a:lnTo>
                    <a:pt x="217" y="525"/>
                  </a:lnTo>
                  <a:lnTo>
                    <a:pt x="217" y="521"/>
                  </a:lnTo>
                  <a:lnTo>
                    <a:pt x="215" y="517"/>
                  </a:lnTo>
                  <a:lnTo>
                    <a:pt x="213" y="515"/>
                  </a:lnTo>
                  <a:lnTo>
                    <a:pt x="210" y="513"/>
                  </a:lnTo>
                  <a:lnTo>
                    <a:pt x="206" y="513"/>
                  </a:lnTo>
                  <a:lnTo>
                    <a:pt x="204" y="513"/>
                  </a:lnTo>
                  <a:lnTo>
                    <a:pt x="202" y="513"/>
                  </a:lnTo>
                  <a:lnTo>
                    <a:pt x="200" y="511"/>
                  </a:lnTo>
                  <a:lnTo>
                    <a:pt x="198" y="510"/>
                  </a:lnTo>
                  <a:lnTo>
                    <a:pt x="196" y="508"/>
                  </a:lnTo>
                  <a:lnTo>
                    <a:pt x="196" y="506"/>
                  </a:lnTo>
                  <a:lnTo>
                    <a:pt x="196" y="498"/>
                  </a:lnTo>
                  <a:lnTo>
                    <a:pt x="194" y="494"/>
                  </a:lnTo>
                  <a:lnTo>
                    <a:pt x="193" y="491"/>
                  </a:lnTo>
                  <a:lnTo>
                    <a:pt x="193" y="491"/>
                  </a:lnTo>
                  <a:lnTo>
                    <a:pt x="194" y="491"/>
                  </a:lnTo>
                  <a:lnTo>
                    <a:pt x="196" y="492"/>
                  </a:lnTo>
                  <a:lnTo>
                    <a:pt x="196" y="494"/>
                  </a:lnTo>
                  <a:lnTo>
                    <a:pt x="196" y="496"/>
                  </a:lnTo>
                  <a:lnTo>
                    <a:pt x="196" y="498"/>
                  </a:lnTo>
                  <a:lnTo>
                    <a:pt x="198" y="502"/>
                  </a:lnTo>
                  <a:lnTo>
                    <a:pt x="198" y="504"/>
                  </a:lnTo>
                  <a:lnTo>
                    <a:pt x="198" y="506"/>
                  </a:lnTo>
                  <a:lnTo>
                    <a:pt x="200" y="506"/>
                  </a:lnTo>
                  <a:lnTo>
                    <a:pt x="202" y="510"/>
                  </a:lnTo>
                  <a:lnTo>
                    <a:pt x="204" y="510"/>
                  </a:lnTo>
                  <a:lnTo>
                    <a:pt x="206" y="511"/>
                  </a:lnTo>
                  <a:lnTo>
                    <a:pt x="208" y="510"/>
                  </a:lnTo>
                  <a:lnTo>
                    <a:pt x="208" y="510"/>
                  </a:lnTo>
                  <a:lnTo>
                    <a:pt x="210" y="511"/>
                  </a:lnTo>
                  <a:lnTo>
                    <a:pt x="212" y="513"/>
                  </a:lnTo>
                  <a:lnTo>
                    <a:pt x="217" y="515"/>
                  </a:lnTo>
                  <a:lnTo>
                    <a:pt x="219" y="517"/>
                  </a:lnTo>
                  <a:lnTo>
                    <a:pt x="221" y="517"/>
                  </a:lnTo>
                  <a:lnTo>
                    <a:pt x="221" y="523"/>
                  </a:lnTo>
                  <a:lnTo>
                    <a:pt x="221" y="525"/>
                  </a:lnTo>
                  <a:lnTo>
                    <a:pt x="221" y="529"/>
                  </a:lnTo>
                  <a:lnTo>
                    <a:pt x="217" y="532"/>
                  </a:lnTo>
                  <a:lnTo>
                    <a:pt x="215" y="534"/>
                  </a:lnTo>
                  <a:lnTo>
                    <a:pt x="215" y="536"/>
                  </a:lnTo>
                  <a:lnTo>
                    <a:pt x="215" y="538"/>
                  </a:lnTo>
                  <a:lnTo>
                    <a:pt x="215" y="542"/>
                  </a:lnTo>
                  <a:lnTo>
                    <a:pt x="215" y="544"/>
                  </a:lnTo>
                  <a:lnTo>
                    <a:pt x="215" y="544"/>
                  </a:lnTo>
                  <a:lnTo>
                    <a:pt x="221" y="553"/>
                  </a:lnTo>
                  <a:lnTo>
                    <a:pt x="221" y="553"/>
                  </a:lnTo>
                  <a:lnTo>
                    <a:pt x="219" y="555"/>
                  </a:lnTo>
                  <a:lnTo>
                    <a:pt x="221" y="559"/>
                  </a:lnTo>
                  <a:lnTo>
                    <a:pt x="221" y="561"/>
                  </a:lnTo>
                  <a:lnTo>
                    <a:pt x="219" y="563"/>
                  </a:lnTo>
                  <a:lnTo>
                    <a:pt x="217" y="565"/>
                  </a:lnTo>
                  <a:lnTo>
                    <a:pt x="217" y="567"/>
                  </a:lnTo>
                  <a:lnTo>
                    <a:pt x="219" y="569"/>
                  </a:lnTo>
                  <a:lnTo>
                    <a:pt x="221" y="572"/>
                  </a:lnTo>
                  <a:lnTo>
                    <a:pt x="223" y="572"/>
                  </a:lnTo>
                  <a:lnTo>
                    <a:pt x="223" y="572"/>
                  </a:lnTo>
                  <a:lnTo>
                    <a:pt x="225" y="574"/>
                  </a:lnTo>
                  <a:lnTo>
                    <a:pt x="225" y="576"/>
                  </a:lnTo>
                  <a:lnTo>
                    <a:pt x="225" y="578"/>
                  </a:lnTo>
                  <a:lnTo>
                    <a:pt x="227" y="578"/>
                  </a:lnTo>
                  <a:lnTo>
                    <a:pt x="227" y="578"/>
                  </a:lnTo>
                  <a:lnTo>
                    <a:pt x="229" y="576"/>
                  </a:lnTo>
                  <a:lnTo>
                    <a:pt x="229" y="576"/>
                  </a:lnTo>
                  <a:lnTo>
                    <a:pt x="229" y="576"/>
                  </a:lnTo>
                  <a:lnTo>
                    <a:pt x="229" y="576"/>
                  </a:lnTo>
                  <a:lnTo>
                    <a:pt x="229" y="574"/>
                  </a:lnTo>
                  <a:lnTo>
                    <a:pt x="229" y="574"/>
                  </a:lnTo>
                  <a:lnTo>
                    <a:pt x="229" y="572"/>
                  </a:lnTo>
                  <a:lnTo>
                    <a:pt x="227" y="572"/>
                  </a:lnTo>
                  <a:lnTo>
                    <a:pt x="227" y="570"/>
                  </a:lnTo>
                  <a:lnTo>
                    <a:pt x="229" y="569"/>
                  </a:lnTo>
                  <a:lnTo>
                    <a:pt x="229" y="567"/>
                  </a:lnTo>
                  <a:lnTo>
                    <a:pt x="229" y="565"/>
                  </a:lnTo>
                  <a:lnTo>
                    <a:pt x="225" y="555"/>
                  </a:lnTo>
                  <a:lnTo>
                    <a:pt x="225" y="553"/>
                  </a:lnTo>
                  <a:lnTo>
                    <a:pt x="227" y="553"/>
                  </a:lnTo>
                  <a:lnTo>
                    <a:pt x="229" y="555"/>
                  </a:lnTo>
                  <a:lnTo>
                    <a:pt x="229" y="557"/>
                  </a:lnTo>
                  <a:lnTo>
                    <a:pt x="229" y="559"/>
                  </a:lnTo>
                  <a:lnTo>
                    <a:pt x="229" y="570"/>
                  </a:lnTo>
                  <a:lnTo>
                    <a:pt x="231" y="572"/>
                  </a:lnTo>
                  <a:lnTo>
                    <a:pt x="231" y="572"/>
                  </a:lnTo>
                  <a:lnTo>
                    <a:pt x="233" y="570"/>
                  </a:lnTo>
                  <a:lnTo>
                    <a:pt x="233" y="569"/>
                  </a:lnTo>
                  <a:lnTo>
                    <a:pt x="234" y="569"/>
                  </a:lnTo>
                  <a:lnTo>
                    <a:pt x="234" y="567"/>
                  </a:lnTo>
                  <a:lnTo>
                    <a:pt x="233" y="567"/>
                  </a:lnTo>
                  <a:lnTo>
                    <a:pt x="233" y="563"/>
                  </a:lnTo>
                  <a:lnTo>
                    <a:pt x="231" y="563"/>
                  </a:lnTo>
                  <a:lnTo>
                    <a:pt x="231" y="561"/>
                  </a:lnTo>
                  <a:lnTo>
                    <a:pt x="233" y="561"/>
                  </a:lnTo>
                  <a:lnTo>
                    <a:pt x="233" y="563"/>
                  </a:lnTo>
                  <a:lnTo>
                    <a:pt x="233" y="563"/>
                  </a:lnTo>
                  <a:lnTo>
                    <a:pt x="233" y="565"/>
                  </a:lnTo>
                  <a:lnTo>
                    <a:pt x="234" y="565"/>
                  </a:lnTo>
                  <a:lnTo>
                    <a:pt x="234" y="565"/>
                  </a:lnTo>
                  <a:lnTo>
                    <a:pt x="236" y="563"/>
                  </a:lnTo>
                  <a:lnTo>
                    <a:pt x="238" y="563"/>
                  </a:lnTo>
                  <a:lnTo>
                    <a:pt x="236" y="567"/>
                  </a:lnTo>
                  <a:lnTo>
                    <a:pt x="236" y="570"/>
                  </a:lnTo>
                  <a:lnTo>
                    <a:pt x="238" y="572"/>
                  </a:lnTo>
                  <a:lnTo>
                    <a:pt x="240" y="572"/>
                  </a:lnTo>
                  <a:lnTo>
                    <a:pt x="240" y="572"/>
                  </a:lnTo>
                  <a:lnTo>
                    <a:pt x="242" y="570"/>
                  </a:lnTo>
                  <a:lnTo>
                    <a:pt x="244" y="570"/>
                  </a:lnTo>
                  <a:lnTo>
                    <a:pt x="244" y="569"/>
                  </a:lnTo>
                  <a:lnTo>
                    <a:pt x="246" y="567"/>
                  </a:lnTo>
                  <a:lnTo>
                    <a:pt x="244" y="565"/>
                  </a:lnTo>
                  <a:lnTo>
                    <a:pt x="244" y="563"/>
                  </a:lnTo>
                  <a:lnTo>
                    <a:pt x="244" y="561"/>
                  </a:lnTo>
                  <a:lnTo>
                    <a:pt x="244" y="559"/>
                  </a:lnTo>
                  <a:lnTo>
                    <a:pt x="244" y="557"/>
                  </a:lnTo>
                  <a:lnTo>
                    <a:pt x="244" y="555"/>
                  </a:lnTo>
                  <a:lnTo>
                    <a:pt x="246" y="553"/>
                  </a:lnTo>
                  <a:lnTo>
                    <a:pt x="246" y="553"/>
                  </a:lnTo>
                  <a:lnTo>
                    <a:pt x="246" y="553"/>
                  </a:lnTo>
                  <a:lnTo>
                    <a:pt x="248" y="553"/>
                  </a:lnTo>
                  <a:lnTo>
                    <a:pt x="248" y="551"/>
                  </a:lnTo>
                  <a:lnTo>
                    <a:pt x="248" y="550"/>
                  </a:lnTo>
                  <a:lnTo>
                    <a:pt x="246" y="546"/>
                  </a:lnTo>
                  <a:lnTo>
                    <a:pt x="246" y="544"/>
                  </a:lnTo>
                  <a:lnTo>
                    <a:pt x="246" y="542"/>
                  </a:lnTo>
                  <a:lnTo>
                    <a:pt x="248" y="540"/>
                  </a:lnTo>
                  <a:lnTo>
                    <a:pt x="248" y="540"/>
                  </a:lnTo>
                  <a:lnTo>
                    <a:pt x="248" y="538"/>
                  </a:lnTo>
                  <a:lnTo>
                    <a:pt x="250" y="540"/>
                  </a:lnTo>
                  <a:lnTo>
                    <a:pt x="250" y="542"/>
                  </a:lnTo>
                  <a:lnTo>
                    <a:pt x="248" y="546"/>
                  </a:lnTo>
                  <a:lnTo>
                    <a:pt x="250" y="548"/>
                  </a:lnTo>
                  <a:lnTo>
                    <a:pt x="250" y="551"/>
                  </a:lnTo>
                  <a:lnTo>
                    <a:pt x="250" y="553"/>
                  </a:lnTo>
                  <a:lnTo>
                    <a:pt x="250" y="557"/>
                  </a:lnTo>
                  <a:lnTo>
                    <a:pt x="248" y="559"/>
                  </a:lnTo>
                  <a:lnTo>
                    <a:pt x="248" y="561"/>
                  </a:lnTo>
                  <a:lnTo>
                    <a:pt x="250" y="567"/>
                  </a:lnTo>
                  <a:lnTo>
                    <a:pt x="250" y="569"/>
                  </a:lnTo>
                  <a:lnTo>
                    <a:pt x="250" y="569"/>
                  </a:lnTo>
                  <a:lnTo>
                    <a:pt x="250" y="570"/>
                  </a:lnTo>
                  <a:lnTo>
                    <a:pt x="250" y="572"/>
                  </a:lnTo>
                  <a:lnTo>
                    <a:pt x="250" y="572"/>
                  </a:lnTo>
                  <a:lnTo>
                    <a:pt x="248" y="574"/>
                  </a:lnTo>
                  <a:lnTo>
                    <a:pt x="248" y="574"/>
                  </a:lnTo>
                  <a:lnTo>
                    <a:pt x="248" y="574"/>
                  </a:lnTo>
                  <a:lnTo>
                    <a:pt x="246" y="578"/>
                  </a:lnTo>
                  <a:lnTo>
                    <a:pt x="248" y="580"/>
                  </a:lnTo>
                  <a:lnTo>
                    <a:pt x="250" y="580"/>
                  </a:lnTo>
                  <a:lnTo>
                    <a:pt x="252" y="580"/>
                  </a:lnTo>
                  <a:lnTo>
                    <a:pt x="252" y="578"/>
                  </a:lnTo>
                  <a:lnTo>
                    <a:pt x="250" y="578"/>
                  </a:lnTo>
                  <a:lnTo>
                    <a:pt x="250" y="576"/>
                  </a:lnTo>
                  <a:lnTo>
                    <a:pt x="252" y="576"/>
                  </a:lnTo>
                  <a:lnTo>
                    <a:pt x="252" y="576"/>
                  </a:lnTo>
                  <a:lnTo>
                    <a:pt x="254" y="578"/>
                  </a:lnTo>
                  <a:lnTo>
                    <a:pt x="254" y="576"/>
                  </a:lnTo>
                  <a:lnTo>
                    <a:pt x="255" y="576"/>
                  </a:lnTo>
                  <a:lnTo>
                    <a:pt x="255" y="570"/>
                  </a:lnTo>
                  <a:lnTo>
                    <a:pt x="255" y="572"/>
                  </a:lnTo>
                  <a:lnTo>
                    <a:pt x="257" y="569"/>
                  </a:lnTo>
                  <a:lnTo>
                    <a:pt x="255" y="563"/>
                  </a:lnTo>
                  <a:lnTo>
                    <a:pt x="257" y="563"/>
                  </a:lnTo>
                  <a:lnTo>
                    <a:pt x="257" y="563"/>
                  </a:lnTo>
                  <a:lnTo>
                    <a:pt x="259" y="561"/>
                  </a:lnTo>
                  <a:lnTo>
                    <a:pt x="259" y="559"/>
                  </a:lnTo>
                  <a:lnTo>
                    <a:pt x="259" y="557"/>
                  </a:lnTo>
                  <a:lnTo>
                    <a:pt x="259" y="555"/>
                  </a:lnTo>
                  <a:lnTo>
                    <a:pt x="257" y="555"/>
                  </a:lnTo>
                  <a:lnTo>
                    <a:pt x="255" y="555"/>
                  </a:lnTo>
                  <a:lnTo>
                    <a:pt x="254" y="557"/>
                  </a:lnTo>
                  <a:lnTo>
                    <a:pt x="254" y="555"/>
                  </a:lnTo>
                  <a:lnTo>
                    <a:pt x="254" y="550"/>
                  </a:lnTo>
                  <a:lnTo>
                    <a:pt x="254" y="548"/>
                  </a:lnTo>
                  <a:lnTo>
                    <a:pt x="257" y="540"/>
                  </a:lnTo>
                  <a:lnTo>
                    <a:pt x="257" y="538"/>
                  </a:lnTo>
                  <a:lnTo>
                    <a:pt x="257" y="534"/>
                  </a:lnTo>
                  <a:lnTo>
                    <a:pt x="257" y="532"/>
                  </a:lnTo>
                  <a:lnTo>
                    <a:pt x="259" y="530"/>
                  </a:lnTo>
                  <a:lnTo>
                    <a:pt x="259" y="529"/>
                  </a:lnTo>
                  <a:lnTo>
                    <a:pt x="259" y="527"/>
                  </a:lnTo>
                  <a:lnTo>
                    <a:pt x="259" y="525"/>
                  </a:lnTo>
                  <a:lnTo>
                    <a:pt x="259" y="523"/>
                  </a:lnTo>
                  <a:lnTo>
                    <a:pt x="259" y="523"/>
                  </a:lnTo>
                  <a:lnTo>
                    <a:pt x="259" y="521"/>
                  </a:lnTo>
                  <a:lnTo>
                    <a:pt x="259" y="521"/>
                  </a:lnTo>
                  <a:lnTo>
                    <a:pt x="259" y="519"/>
                  </a:lnTo>
                  <a:lnTo>
                    <a:pt x="261" y="517"/>
                  </a:lnTo>
                  <a:lnTo>
                    <a:pt x="261" y="517"/>
                  </a:lnTo>
                  <a:lnTo>
                    <a:pt x="261" y="517"/>
                  </a:lnTo>
                  <a:lnTo>
                    <a:pt x="261" y="515"/>
                  </a:lnTo>
                  <a:lnTo>
                    <a:pt x="263" y="513"/>
                  </a:lnTo>
                  <a:lnTo>
                    <a:pt x="263" y="513"/>
                  </a:lnTo>
                  <a:lnTo>
                    <a:pt x="265" y="513"/>
                  </a:lnTo>
                  <a:lnTo>
                    <a:pt x="265" y="515"/>
                  </a:lnTo>
                  <a:lnTo>
                    <a:pt x="263" y="517"/>
                  </a:lnTo>
                  <a:lnTo>
                    <a:pt x="261" y="517"/>
                  </a:lnTo>
                  <a:lnTo>
                    <a:pt x="261" y="523"/>
                  </a:lnTo>
                  <a:lnTo>
                    <a:pt x="261" y="523"/>
                  </a:lnTo>
                  <a:lnTo>
                    <a:pt x="261" y="525"/>
                  </a:lnTo>
                  <a:lnTo>
                    <a:pt x="261" y="529"/>
                  </a:lnTo>
                  <a:lnTo>
                    <a:pt x="261" y="530"/>
                  </a:lnTo>
                  <a:lnTo>
                    <a:pt x="261" y="530"/>
                  </a:lnTo>
                  <a:lnTo>
                    <a:pt x="261" y="532"/>
                  </a:lnTo>
                  <a:lnTo>
                    <a:pt x="259" y="534"/>
                  </a:lnTo>
                  <a:lnTo>
                    <a:pt x="259" y="536"/>
                  </a:lnTo>
                  <a:lnTo>
                    <a:pt x="259" y="538"/>
                  </a:lnTo>
                  <a:lnTo>
                    <a:pt x="259" y="538"/>
                  </a:lnTo>
                  <a:lnTo>
                    <a:pt x="261" y="538"/>
                  </a:lnTo>
                  <a:lnTo>
                    <a:pt x="261" y="538"/>
                  </a:lnTo>
                  <a:lnTo>
                    <a:pt x="263" y="538"/>
                  </a:lnTo>
                  <a:lnTo>
                    <a:pt x="265" y="540"/>
                  </a:lnTo>
                  <a:lnTo>
                    <a:pt x="265" y="538"/>
                  </a:lnTo>
                  <a:lnTo>
                    <a:pt x="267" y="536"/>
                  </a:lnTo>
                  <a:lnTo>
                    <a:pt x="267" y="536"/>
                  </a:lnTo>
                  <a:lnTo>
                    <a:pt x="269" y="532"/>
                  </a:lnTo>
                  <a:lnTo>
                    <a:pt x="269" y="529"/>
                  </a:lnTo>
                  <a:lnTo>
                    <a:pt x="267" y="529"/>
                  </a:lnTo>
                  <a:lnTo>
                    <a:pt x="267" y="529"/>
                  </a:lnTo>
                  <a:lnTo>
                    <a:pt x="265" y="527"/>
                  </a:lnTo>
                  <a:lnTo>
                    <a:pt x="265" y="525"/>
                  </a:lnTo>
                  <a:lnTo>
                    <a:pt x="267" y="523"/>
                  </a:lnTo>
                  <a:lnTo>
                    <a:pt x="267" y="523"/>
                  </a:lnTo>
                  <a:lnTo>
                    <a:pt x="269" y="521"/>
                  </a:lnTo>
                  <a:lnTo>
                    <a:pt x="271" y="521"/>
                  </a:lnTo>
                  <a:lnTo>
                    <a:pt x="273" y="521"/>
                  </a:lnTo>
                  <a:lnTo>
                    <a:pt x="269" y="523"/>
                  </a:lnTo>
                  <a:lnTo>
                    <a:pt x="267" y="525"/>
                  </a:lnTo>
                  <a:lnTo>
                    <a:pt x="267" y="527"/>
                  </a:lnTo>
                  <a:lnTo>
                    <a:pt x="267" y="527"/>
                  </a:lnTo>
                  <a:lnTo>
                    <a:pt x="271" y="529"/>
                  </a:lnTo>
                  <a:lnTo>
                    <a:pt x="273" y="530"/>
                  </a:lnTo>
                  <a:lnTo>
                    <a:pt x="271" y="532"/>
                  </a:lnTo>
                  <a:lnTo>
                    <a:pt x="271" y="534"/>
                  </a:lnTo>
                  <a:lnTo>
                    <a:pt x="269" y="536"/>
                  </a:lnTo>
                  <a:lnTo>
                    <a:pt x="269" y="536"/>
                  </a:lnTo>
                  <a:lnTo>
                    <a:pt x="267" y="538"/>
                  </a:lnTo>
                  <a:lnTo>
                    <a:pt x="267" y="544"/>
                  </a:lnTo>
                  <a:lnTo>
                    <a:pt x="265" y="550"/>
                  </a:lnTo>
                  <a:lnTo>
                    <a:pt x="265" y="550"/>
                  </a:lnTo>
                  <a:lnTo>
                    <a:pt x="267" y="551"/>
                  </a:lnTo>
                  <a:lnTo>
                    <a:pt x="265" y="563"/>
                  </a:lnTo>
                  <a:lnTo>
                    <a:pt x="265" y="565"/>
                  </a:lnTo>
                  <a:lnTo>
                    <a:pt x="269" y="572"/>
                  </a:lnTo>
                  <a:lnTo>
                    <a:pt x="267" y="574"/>
                  </a:lnTo>
                  <a:lnTo>
                    <a:pt x="269" y="576"/>
                  </a:lnTo>
                  <a:lnTo>
                    <a:pt x="273" y="578"/>
                  </a:lnTo>
                  <a:lnTo>
                    <a:pt x="274" y="576"/>
                  </a:lnTo>
                  <a:lnTo>
                    <a:pt x="274" y="574"/>
                  </a:lnTo>
                  <a:lnTo>
                    <a:pt x="274" y="572"/>
                  </a:lnTo>
                  <a:lnTo>
                    <a:pt x="274" y="572"/>
                  </a:lnTo>
                  <a:lnTo>
                    <a:pt x="273" y="570"/>
                  </a:lnTo>
                  <a:lnTo>
                    <a:pt x="273" y="569"/>
                  </a:lnTo>
                  <a:lnTo>
                    <a:pt x="273" y="569"/>
                  </a:lnTo>
                  <a:lnTo>
                    <a:pt x="274" y="567"/>
                  </a:lnTo>
                  <a:lnTo>
                    <a:pt x="274" y="567"/>
                  </a:lnTo>
                  <a:lnTo>
                    <a:pt x="274" y="567"/>
                  </a:lnTo>
                  <a:lnTo>
                    <a:pt x="276" y="565"/>
                  </a:lnTo>
                  <a:lnTo>
                    <a:pt x="276" y="563"/>
                  </a:lnTo>
                  <a:lnTo>
                    <a:pt x="276" y="565"/>
                  </a:lnTo>
                  <a:lnTo>
                    <a:pt x="276" y="567"/>
                  </a:lnTo>
                  <a:lnTo>
                    <a:pt x="276" y="567"/>
                  </a:lnTo>
                  <a:lnTo>
                    <a:pt x="276" y="567"/>
                  </a:lnTo>
                  <a:lnTo>
                    <a:pt x="274" y="569"/>
                  </a:lnTo>
                  <a:lnTo>
                    <a:pt x="276" y="570"/>
                  </a:lnTo>
                  <a:lnTo>
                    <a:pt x="278" y="570"/>
                  </a:lnTo>
                  <a:lnTo>
                    <a:pt x="280" y="570"/>
                  </a:lnTo>
                  <a:lnTo>
                    <a:pt x="280" y="569"/>
                  </a:lnTo>
                  <a:lnTo>
                    <a:pt x="280" y="569"/>
                  </a:lnTo>
                  <a:lnTo>
                    <a:pt x="280" y="565"/>
                  </a:lnTo>
                  <a:lnTo>
                    <a:pt x="278" y="563"/>
                  </a:lnTo>
                  <a:lnTo>
                    <a:pt x="278" y="561"/>
                  </a:lnTo>
                  <a:lnTo>
                    <a:pt x="280" y="557"/>
                  </a:lnTo>
                  <a:lnTo>
                    <a:pt x="280" y="557"/>
                  </a:lnTo>
                  <a:lnTo>
                    <a:pt x="282" y="557"/>
                  </a:lnTo>
                  <a:lnTo>
                    <a:pt x="282" y="557"/>
                  </a:lnTo>
                  <a:lnTo>
                    <a:pt x="282" y="565"/>
                  </a:lnTo>
                  <a:lnTo>
                    <a:pt x="284" y="567"/>
                  </a:lnTo>
                  <a:lnTo>
                    <a:pt x="284" y="567"/>
                  </a:lnTo>
                  <a:lnTo>
                    <a:pt x="284" y="569"/>
                  </a:lnTo>
                  <a:lnTo>
                    <a:pt x="288" y="569"/>
                  </a:lnTo>
                  <a:lnTo>
                    <a:pt x="292" y="570"/>
                  </a:lnTo>
                  <a:lnTo>
                    <a:pt x="294" y="572"/>
                  </a:lnTo>
                  <a:lnTo>
                    <a:pt x="295" y="572"/>
                  </a:lnTo>
                  <a:lnTo>
                    <a:pt x="295" y="572"/>
                  </a:lnTo>
                  <a:lnTo>
                    <a:pt x="295" y="570"/>
                  </a:lnTo>
                  <a:lnTo>
                    <a:pt x="297" y="570"/>
                  </a:lnTo>
                  <a:lnTo>
                    <a:pt x="297" y="570"/>
                  </a:lnTo>
                  <a:lnTo>
                    <a:pt x="297" y="570"/>
                  </a:lnTo>
                  <a:lnTo>
                    <a:pt x="297" y="572"/>
                  </a:lnTo>
                  <a:lnTo>
                    <a:pt x="299" y="572"/>
                  </a:lnTo>
                  <a:lnTo>
                    <a:pt x="299" y="572"/>
                  </a:lnTo>
                  <a:lnTo>
                    <a:pt x="301" y="570"/>
                  </a:lnTo>
                  <a:lnTo>
                    <a:pt x="301" y="569"/>
                  </a:lnTo>
                  <a:lnTo>
                    <a:pt x="301" y="565"/>
                  </a:lnTo>
                  <a:lnTo>
                    <a:pt x="301" y="565"/>
                  </a:lnTo>
                  <a:lnTo>
                    <a:pt x="299" y="563"/>
                  </a:lnTo>
                  <a:lnTo>
                    <a:pt x="297" y="561"/>
                  </a:lnTo>
                  <a:lnTo>
                    <a:pt x="297" y="559"/>
                  </a:lnTo>
                  <a:lnTo>
                    <a:pt x="297" y="555"/>
                  </a:lnTo>
                  <a:lnTo>
                    <a:pt x="295" y="548"/>
                  </a:lnTo>
                  <a:lnTo>
                    <a:pt x="294" y="544"/>
                  </a:lnTo>
                  <a:lnTo>
                    <a:pt x="292" y="542"/>
                  </a:lnTo>
                  <a:lnTo>
                    <a:pt x="290" y="542"/>
                  </a:lnTo>
                  <a:lnTo>
                    <a:pt x="288" y="542"/>
                  </a:lnTo>
                  <a:lnTo>
                    <a:pt x="286" y="540"/>
                  </a:lnTo>
                  <a:lnTo>
                    <a:pt x="286" y="538"/>
                  </a:lnTo>
                  <a:lnTo>
                    <a:pt x="286" y="536"/>
                  </a:lnTo>
                  <a:lnTo>
                    <a:pt x="286" y="534"/>
                  </a:lnTo>
                  <a:lnTo>
                    <a:pt x="288" y="534"/>
                  </a:lnTo>
                  <a:lnTo>
                    <a:pt x="288" y="536"/>
                  </a:lnTo>
                  <a:lnTo>
                    <a:pt x="288" y="538"/>
                  </a:lnTo>
                  <a:lnTo>
                    <a:pt x="288" y="540"/>
                  </a:lnTo>
                  <a:lnTo>
                    <a:pt x="290" y="540"/>
                  </a:lnTo>
                  <a:lnTo>
                    <a:pt x="294" y="542"/>
                  </a:lnTo>
                  <a:lnTo>
                    <a:pt x="295" y="542"/>
                  </a:lnTo>
                  <a:lnTo>
                    <a:pt x="295" y="542"/>
                  </a:lnTo>
                  <a:lnTo>
                    <a:pt x="295" y="540"/>
                  </a:lnTo>
                  <a:lnTo>
                    <a:pt x="295" y="540"/>
                  </a:lnTo>
                  <a:lnTo>
                    <a:pt x="297" y="540"/>
                  </a:lnTo>
                  <a:lnTo>
                    <a:pt x="299" y="540"/>
                  </a:lnTo>
                  <a:lnTo>
                    <a:pt x="299" y="536"/>
                  </a:lnTo>
                  <a:lnTo>
                    <a:pt x="299" y="530"/>
                  </a:lnTo>
                  <a:lnTo>
                    <a:pt x="299" y="529"/>
                  </a:lnTo>
                  <a:lnTo>
                    <a:pt x="297" y="527"/>
                  </a:lnTo>
                  <a:lnTo>
                    <a:pt x="297" y="525"/>
                  </a:lnTo>
                  <a:lnTo>
                    <a:pt x="297" y="523"/>
                  </a:lnTo>
                  <a:lnTo>
                    <a:pt x="297" y="523"/>
                  </a:lnTo>
                  <a:lnTo>
                    <a:pt x="297" y="521"/>
                  </a:lnTo>
                  <a:lnTo>
                    <a:pt x="297" y="519"/>
                  </a:lnTo>
                  <a:lnTo>
                    <a:pt x="299" y="521"/>
                  </a:lnTo>
                  <a:lnTo>
                    <a:pt x="299" y="521"/>
                  </a:lnTo>
                  <a:lnTo>
                    <a:pt x="299" y="521"/>
                  </a:lnTo>
                  <a:lnTo>
                    <a:pt x="299" y="521"/>
                  </a:lnTo>
                  <a:lnTo>
                    <a:pt x="301" y="517"/>
                  </a:lnTo>
                  <a:lnTo>
                    <a:pt x="301" y="515"/>
                  </a:lnTo>
                  <a:lnTo>
                    <a:pt x="301" y="513"/>
                  </a:lnTo>
                  <a:lnTo>
                    <a:pt x="299" y="511"/>
                  </a:lnTo>
                  <a:lnTo>
                    <a:pt x="295" y="508"/>
                  </a:lnTo>
                  <a:lnTo>
                    <a:pt x="295" y="504"/>
                  </a:lnTo>
                  <a:lnTo>
                    <a:pt x="295" y="504"/>
                  </a:lnTo>
                  <a:lnTo>
                    <a:pt x="294" y="502"/>
                  </a:lnTo>
                  <a:lnTo>
                    <a:pt x="294" y="500"/>
                  </a:lnTo>
                  <a:lnTo>
                    <a:pt x="294" y="494"/>
                  </a:lnTo>
                  <a:lnTo>
                    <a:pt x="294" y="494"/>
                  </a:lnTo>
                  <a:lnTo>
                    <a:pt x="294" y="492"/>
                  </a:lnTo>
                  <a:lnTo>
                    <a:pt x="294" y="491"/>
                  </a:lnTo>
                  <a:lnTo>
                    <a:pt x="294" y="491"/>
                  </a:lnTo>
                  <a:lnTo>
                    <a:pt x="294" y="489"/>
                  </a:lnTo>
                  <a:lnTo>
                    <a:pt x="292" y="485"/>
                  </a:lnTo>
                  <a:lnTo>
                    <a:pt x="292" y="481"/>
                  </a:lnTo>
                  <a:lnTo>
                    <a:pt x="290" y="479"/>
                  </a:lnTo>
                  <a:lnTo>
                    <a:pt x="288" y="479"/>
                  </a:lnTo>
                  <a:lnTo>
                    <a:pt x="290" y="477"/>
                  </a:lnTo>
                  <a:lnTo>
                    <a:pt x="290" y="475"/>
                  </a:lnTo>
                  <a:lnTo>
                    <a:pt x="290" y="472"/>
                  </a:lnTo>
                  <a:lnTo>
                    <a:pt x="288" y="470"/>
                  </a:lnTo>
                  <a:lnTo>
                    <a:pt x="288" y="468"/>
                  </a:lnTo>
                  <a:lnTo>
                    <a:pt x="288" y="466"/>
                  </a:lnTo>
                  <a:lnTo>
                    <a:pt x="286" y="464"/>
                  </a:lnTo>
                  <a:lnTo>
                    <a:pt x="286" y="462"/>
                  </a:lnTo>
                  <a:lnTo>
                    <a:pt x="286" y="460"/>
                  </a:lnTo>
                  <a:lnTo>
                    <a:pt x="286" y="458"/>
                  </a:lnTo>
                  <a:lnTo>
                    <a:pt x="288" y="456"/>
                  </a:lnTo>
                  <a:lnTo>
                    <a:pt x="288" y="454"/>
                  </a:lnTo>
                  <a:lnTo>
                    <a:pt x="288" y="454"/>
                  </a:lnTo>
                  <a:lnTo>
                    <a:pt x="288" y="453"/>
                  </a:lnTo>
                  <a:lnTo>
                    <a:pt x="290" y="451"/>
                  </a:lnTo>
                  <a:lnTo>
                    <a:pt x="288" y="449"/>
                  </a:lnTo>
                  <a:lnTo>
                    <a:pt x="288" y="447"/>
                  </a:lnTo>
                  <a:lnTo>
                    <a:pt x="286" y="447"/>
                  </a:lnTo>
                  <a:lnTo>
                    <a:pt x="284" y="445"/>
                  </a:lnTo>
                  <a:lnTo>
                    <a:pt x="282" y="441"/>
                  </a:lnTo>
                  <a:lnTo>
                    <a:pt x="280" y="439"/>
                  </a:lnTo>
                  <a:lnTo>
                    <a:pt x="278" y="437"/>
                  </a:lnTo>
                  <a:lnTo>
                    <a:pt x="278" y="435"/>
                  </a:lnTo>
                  <a:lnTo>
                    <a:pt x="278" y="433"/>
                  </a:lnTo>
                  <a:lnTo>
                    <a:pt x="280" y="432"/>
                  </a:lnTo>
                  <a:lnTo>
                    <a:pt x="280" y="426"/>
                  </a:lnTo>
                  <a:lnTo>
                    <a:pt x="282" y="424"/>
                  </a:lnTo>
                  <a:lnTo>
                    <a:pt x="286" y="418"/>
                  </a:lnTo>
                  <a:lnTo>
                    <a:pt x="288" y="416"/>
                  </a:lnTo>
                  <a:lnTo>
                    <a:pt x="290" y="414"/>
                  </a:lnTo>
                  <a:lnTo>
                    <a:pt x="290" y="414"/>
                  </a:lnTo>
                  <a:lnTo>
                    <a:pt x="290" y="413"/>
                  </a:lnTo>
                  <a:lnTo>
                    <a:pt x="290" y="413"/>
                  </a:lnTo>
                  <a:lnTo>
                    <a:pt x="288" y="413"/>
                  </a:lnTo>
                  <a:lnTo>
                    <a:pt x="286" y="413"/>
                  </a:lnTo>
                  <a:lnTo>
                    <a:pt x="286" y="413"/>
                  </a:lnTo>
                  <a:lnTo>
                    <a:pt x="278" y="411"/>
                  </a:lnTo>
                  <a:lnTo>
                    <a:pt x="278" y="409"/>
                  </a:lnTo>
                  <a:lnTo>
                    <a:pt x="276" y="409"/>
                  </a:lnTo>
                  <a:lnTo>
                    <a:pt x="274" y="411"/>
                  </a:lnTo>
                  <a:lnTo>
                    <a:pt x="274" y="411"/>
                  </a:lnTo>
                  <a:lnTo>
                    <a:pt x="274" y="411"/>
                  </a:lnTo>
                  <a:lnTo>
                    <a:pt x="273" y="411"/>
                  </a:lnTo>
                  <a:lnTo>
                    <a:pt x="267" y="409"/>
                  </a:lnTo>
                  <a:lnTo>
                    <a:pt x="265" y="409"/>
                  </a:lnTo>
                  <a:lnTo>
                    <a:pt x="265" y="407"/>
                  </a:lnTo>
                  <a:lnTo>
                    <a:pt x="265" y="403"/>
                  </a:lnTo>
                  <a:lnTo>
                    <a:pt x="265" y="401"/>
                  </a:lnTo>
                  <a:lnTo>
                    <a:pt x="269" y="399"/>
                  </a:lnTo>
                  <a:lnTo>
                    <a:pt x="273" y="386"/>
                  </a:lnTo>
                  <a:lnTo>
                    <a:pt x="273" y="384"/>
                  </a:lnTo>
                  <a:lnTo>
                    <a:pt x="271" y="384"/>
                  </a:lnTo>
                  <a:lnTo>
                    <a:pt x="271" y="384"/>
                  </a:lnTo>
                  <a:lnTo>
                    <a:pt x="269" y="386"/>
                  </a:lnTo>
                  <a:lnTo>
                    <a:pt x="269" y="386"/>
                  </a:lnTo>
                  <a:lnTo>
                    <a:pt x="267" y="384"/>
                  </a:lnTo>
                  <a:lnTo>
                    <a:pt x="265" y="384"/>
                  </a:lnTo>
                  <a:lnTo>
                    <a:pt x="263" y="382"/>
                  </a:lnTo>
                  <a:lnTo>
                    <a:pt x="261" y="380"/>
                  </a:lnTo>
                  <a:lnTo>
                    <a:pt x="259" y="376"/>
                  </a:lnTo>
                  <a:lnTo>
                    <a:pt x="257" y="375"/>
                  </a:lnTo>
                  <a:lnTo>
                    <a:pt x="257" y="375"/>
                  </a:lnTo>
                  <a:lnTo>
                    <a:pt x="255" y="375"/>
                  </a:lnTo>
                  <a:lnTo>
                    <a:pt x="254" y="375"/>
                  </a:lnTo>
                  <a:lnTo>
                    <a:pt x="254" y="373"/>
                  </a:lnTo>
                  <a:lnTo>
                    <a:pt x="254" y="373"/>
                  </a:lnTo>
                  <a:lnTo>
                    <a:pt x="254" y="371"/>
                  </a:lnTo>
                  <a:lnTo>
                    <a:pt x="254" y="371"/>
                  </a:lnTo>
                  <a:lnTo>
                    <a:pt x="254" y="371"/>
                  </a:lnTo>
                  <a:lnTo>
                    <a:pt x="252" y="369"/>
                  </a:lnTo>
                  <a:lnTo>
                    <a:pt x="252" y="369"/>
                  </a:lnTo>
                  <a:lnTo>
                    <a:pt x="252" y="369"/>
                  </a:lnTo>
                  <a:lnTo>
                    <a:pt x="254" y="359"/>
                  </a:lnTo>
                  <a:lnTo>
                    <a:pt x="254" y="357"/>
                  </a:lnTo>
                  <a:lnTo>
                    <a:pt x="252" y="357"/>
                  </a:lnTo>
                  <a:lnTo>
                    <a:pt x="252" y="356"/>
                  </a:lnTo>
                  <a:lnTo>
                    <a:pt x="254" y="354"/>
                  </a:lnTo>
                  <a:lnTo>
                    <a:pt x="254" y="352"/>
                  </a:lnTo>
                  <a:lnTo>
                    <a:pt x="255" y="352"/>
                  </a:lnTo>
                  <a:lnTo>
                    <a:pt x="255" y="350"/>
                  </a:lnTo>
                  <a:lnTo>
                    <a:pt x="255" y="350"/>
                  </a:lnTo>
                  <a:lnTo>
                    <a:pt x="254" y="348"/>
                  </a:lnTo>
                  <a:lnTo>
                    <a:pt x="255" y="348"/>
                  </a:lnTo>
                  <a:lnTo>
                    <a:pt x="255" y="346"/>
                  </a:lnTo>
                  <a:lnTo>
                    <a:pt x="257" y="346"/>
                  </a:lnTo>
                  <a:lnTo>
                    <a:pt x="259" y="346"/>
                  </a:lnTo>
                  <a:lnTo>
                    <a:pt x="261" y="346"/>
                  </a:lnTo>
                  <a:lnTo>
                    <a:pt x="263" y="344"/>
                  </a:lnTo>
                  <a:lnTo>
                    <a:pt x="267" y="342"/>
                  </a:lnTo>
                  <a:lnTo>
                    <a:pt x="267" y="340"/>
                  </a:lnTo>
                  <a:lnTo>
                    <a:pt x="267" y="338"/>
                  </a:lnTo>
                  <a:lnTo>
                    <a:pt x="267" y="337"/>
                  </a:lnTo>
                  <a:lnTo>
                    <a:pt x="267" y="335"/>
                  </a:lnTo>
                  <a:lnTo>
                    <a:pt x="267" y="333"/>
                  </a:lnTo>
                  <a:lnTo>
                    <a:pt x="267" y="331"/>
                  </a:lnTo>
                  <a:lnTo>
                    <a:pt x="269" y="331"/>
                  </a:lnTo>
                  <a:lnTo>
                    <a:pt x="269" y="329"/>
                  </a:lnTo>
                  <a:lnTo>
                    <a:pt x="267" y="329"/>
                  </a:lnTo>
                  <a:lnTo>
                    <a:pt x="265" y="327"/>
                  </a:lnTo>
                  <a:lnTo>
                    <a:pt x="265" y="325"/>
                  </a:lnTo>
                  <a:lnTo>
                    <a:pt x="263" y="325"/>
                  </a:lnTo>
                  <a:lnTo>
                    <a:pt x="263" y="323"/>
                  </a:lnTo>
                  <a:lnTo>
                    <a:pt x="265" y="321"/>
                  </a:lnTo>
                  <a:lnTo>
                    <a:pt x="265" y="321"/>
                  </a:lnTo>
                  <a:lnTo>
                    <a:pt x="265" y="317"/>
                  </a:lnTo>
                  <a:lnTo>
                    <a:pt x="265" y="317"/>
                  </a:lnTo>
                  <a:lnTo>
                    <a:pt x="265" y="316"/>
                  </a:lnTo>
                  <a:lnTo>
                    <a:pt x="265" y="316"/>
                  </a:lnTo>
                  <a:lnTo>
                    <a:pt x="267" y="314"/>
                  </a:lnTo>
                  <a:lnTo>
                    <a:pt x="269" y="314"/>
                  </a:lnTo>
                  <a:lnTo>
                    <a:pt x="269" y="314"/>
                  </a:lnTo>
                  <a:lnTo>
                    <a:pt x="269" y="314"/>
                  </a:lnTo>
                  <a:lnTo>
                    <a:pt x="271" y="312"/>
                  </a:lnTo>
                  <a:lnTo>
                    <a:pt x="271" y="310"/>
                  </a:lnTo>
                  <a:lnTo>
                    <a:pt x="271" y="310"/>
                  </a:lnTo>
                  <a:lnTo>
                    <a:pt x="271" y="308"/>
                  </a:lnTo>
                  <a:lnTo>
                    <a:pt x="271" y="308"/>
                  </a:lnTo>
                  <a:lnTo>
                    <a:pt x="269" y="304"/>
                  </a:lnTo>
                  <a:lnTo>
                    <a:pt x="267" y="300"/>
                  </a:lnTo>
                  <a:lnTo>
                    <a:pt x="265" y="298"/>
                  </a:lnTo>
                  <a:lnTo>
                    <a:pt x="263" y="298"/>
                  </a:lnTo>
                  <a:lnTo>
                    <a:pt x="261" y="300"/>
                  </a:lnTo>
                  <a:lnTo>
                    <a:pt x="259" y="302"/>
                  </a:lnTo>
                  <a:lnTo>
                    <a:pt x="257" y="304"/>
                  </a:lnTo>
                  <a:lnTo>
                    <a:pt x="254" y="302"/>
                  </a:lnTo>
                  <a:lnTo>
                    <a:pt x="248" y="302"/>
                  </a:lnTo>
                  <a:lnTo>
                    <a:pt x="246" y="300"/>
                  </a:lnTo>
                  <a:lnTo>
                    <a:pt x="238" y="295"/>
                  </a:lnTo>
                  <a:lnTo>
                    <a:pt x="213" y="283"/>
                  </a:lnTo>
                  <a:lnTo>
                    <a:pt x="212" y="281"/>
                  </a:lnTo>
                  <a:lnTo>
                    <a:pt x="212" y="281"/>
                  </a:lnTo>
                  <a:lnTo>
                    <a:pt x="210" y="279"/>
                  </a:lnTo>
                  <a:lnTo>
                    <a:pt x="210" y="279"/>
                  </a:lnTo>
                  <a:lnTo>
                    <a:pt x="210" y="279"/>
                  </a:lnTo>
                  <a:lnTo>
                    <a:pt x="210" y="278"/>
                  </a:lnTo>
                  <a:lnTo>
                    <a:pt x="210" y="274"/>
                  </a:lnTo>
                  <a:lnTo>
                    <a:pt x="210" y="272"/>
                  </a:lnTo>
                  <a:lnTo>
                    <a:pt x="208" y="270"/>
                  </a:lnTo>
                  <a:lnTo>
                    <a:pt x="206" y="268"/>
                  </a:lnTo>
                  <a:lnTo>
                    <a:pt x="206" y="268"/>
                  </a:lnTo>
                  <a:lnTo>
                    <a:pt x="204" y="268"/>
                  </a:lnTo>
                  <a:lnTo>
                    <a:pt x="204" y="264"/>
                  </a:lnTo>
                  <a:lnTo>
                    <a:pt x="204" y="262"/>
                  </a:lnTo>
                  <a:lnTo>
                    <a:pt x="206" y="260"/>
                  </a:lnTo>
                  <a:lnTo>
                    <a:pt x="206" y="257"/>
                  </a:lnTo>
                  <a:lnTo>
                    <a:pt x="208" y="257"/>
                  </a:lnTo>
                  <a:lnTo>
                    <a:pt x="208" y="257"/>
                  </a:lnTo>
                  <a:lnTo>
                    <a:pt x="210" y="255"/>
                  </a:lnTo>
                  <a:lnTo>
                    <a:pt x="210" y="253"/>
                  </a:lnTo>
                  <a:lnTo>
                    <a:pt x="210" y="253"/>
                  </a:lnTo>
                  <a:lnTo>
                    <a:pt x="210" y="251"/>
                  </a:lnTo>
                  <a:lnTo>
                    <a:pt x="212" y="251"/>
                  </a:lnTo>
                  <a:lnTo>
                    <a:pt x="212" y="251"/>
                  </a:lnTo>
                  <a:lnTo>
                    <a:pt x="213" y="249"/>
                  </a:lnTo>
                  <a:lnTo>
                    <a:pt x="213" y="247"/>
                  </a:lnTo>
                  <a:lnTo>
                    <a:pt x="213" y="245"/>
                  </a:lnTo>
                  <a:lnTo>
                    <a:pt x="213" y="241"/>
                  </a:lnTo>
                  <a:lnTo>
                    <a:pt x="212" y="241"/>
                  </a:lnTo>
                  <a:lnTo>
                    <a:pt x="212" y="241"/>
                  </a:lnTo>
                  <a:lnTo>
                    <a:pt x="212" y="240"/>
                  </a:lnTo>
                  <a:lnTo>
                    <a:pt x="217" y="238"/>
                  </a:lnTo>
                  <a:lnTo>
                    <a:pt x="219" y="238"/>
                  </a:lnTo>
                  <a:lnTo>
                    <a:pt x="219" y="238"/>
                  </a:lnTo>
                  <a:lnTo>
                    <a:pt x="221" y="238"/>
                  </a:lnTo>
                  <a:lnTo>
                    <a:pt x="223" y="240"/>
                  </a:lnTo>
                  <a:lnTo>
                    <a:pt x="223" y="241"/>
                  </a:lnTo>
                  <a:lnTo>
                    <a:pt x="223" y="243"/>
                  </a:lnTo>
                  <a:lnTo>
                    <a:pt x="225" y="243"/>
                  </a:lnTo>
                  <a:lnTo>
                    <a:pt x="229" y="245"/>
                  </a:lnTo>
                  <a:lnTo>
                    <a:pt x="231" y="245"/>
                  </a:lnTo>
                  <a:lnTo>
                    <a:pt x="231" y="245"/>
                  </a:lnTo>
                  <a:lnTo>
                    <a:pt x="233" y="241"/>
                  </a:lnTo>
                  <a:lnTo>
                    <a:pt x="236" y="238"/>
                  </a:lnTo>
                  <a:lnTo>
                    <a:pt x="236" y="236"/>
                  </a:lnTo>
                  <a:lnTo>
                    <a:pt x="238" y="232"/>
                  </a:lnTo>
                  <a:lnTo>
                    <a:pt x="240" y="230"/>
                  </a:lnTo>
                  <a:lnTo>
                    <a:pt x="240" y="226"/>
                  </a:lnTo>
                  <a:lnTo>
                    <a:pt x="242" y="220"/>
                  </a:lnTo>
                  <a:lnTo>
                    <a:pt x="242" y="215"/>
                  </a:lnTo>
                  <a:lnTo>
                    <a:pt x="242" y="213"/>
                  </a:lnTo>
                  <a:lnTo>
                    <a:pt x="246" y="211"/>
                  </a:lnTo>
                  <a:lnTo>
                    <a:pt x="246" y="213"/>
                  </a:lnTo>
                  <a:lnTo>
                    <a:pt x="250" y="213"/>
                  </a:lnTo>
                  <a:lnTo>
                    <a:pt x="252" y="215"/>
                  </a:lnTo>
                  <a:lnTo>
                    <a:pt x="254" y="215"/>
                  </a:lnTo>
                  <a:lnTo>
                    <a:pt x="254" y="215"/>
                  </a:lnTo>
                  <a:lnTo>
                    <a:pt x="254" y="215"/>
                  </a:lnTo>
                  <a:lnTo>
                    <a:pt x="255" y="213"/>
                  </a:lnTo>
                  <a:lnTo>
                    <a:pt x="255" y="213"/>
                  </a:lnTo>
                  <a:lnTo>
                    <a:pt x="257" y="213"/>
                  </a:lnTo>
                  <a:lnTo>
                    <a:pt x="259" y="213"/>
                  </a:lnTo>
                  <a:lnTo>
                    <a:pt x="263" y="213"/>
                  </a:lnTo>
                  <a:lnTo>
                    <a:pt x="269" y="215"/>
                  </a:lnTo>
                  <a:lnTo>
                    <a:pt x="274" y="215"/>
                  </a:lnTo>
                  <a:lnTo>
                    <a:pt x="274" y="215"/>
                  </a:lnTo>
                  <a:lnTo>
                    <a:pt x="276" y="213"/>
                  </a:lnTo>
                  <a:lnTo>
                    <a:pt x="276" y="211"/>
                  </a:lnTo>
                  <a:lnTo>
                    <a:pt x="276" y="211"/>
                  </a:lnTo>
                  <a:lnTo>
                    <a:pt x="278" y="211"/>
                  </a:lnTo>
                  <a:lnTo>
                    <a:pt x="278" y="213"/>
                  </a:lnTo>
                  <a:lnTo>
                    <a:pt x="284" y="215"/>
                  </a:lnTo>
                  <a:lnTo>
                    <a:pt x="286" y="215"/>
                  </a:lnTo>
                  <a:lnTo>
                    <a:pt x="286" y="213"/>
                  </a:lnTo>
                  <a:lnTo>
                    <a:pt x="288" y="213"/>
                  </a:lnTo>
                  <a:lnTo>
                    <a:pt x="288" y="211"/>
                  </a:lnTo>
                  <a:lnTo>
                    <a:pt x="288" y="209"/>
                  </a:lnTo>
                  <a:lnTo>
                    <a:pt x="288" y="209"/>
                  </a:lnTo>
                  <a:lnTo>
                    <a:pt x="288" y="207"/>
                  </a:lnTo>
                  <a:lnTo>
                    <a:pt x="292" y="205"/>
                  </a:lnTo>
                  <a:lnTo>
                    <a:pt x="292" y="203"/>
                  </a:lnTo>
                  <a:lnTo>
                    <a:pt x="292" y="203"/>
                  </a:lnTo>
                  <a:lnTo>
                    <a:pt x="292" y="201"/>
                  </a:lnTo>
                  <a:lnTo>
                    <a:pt x="292" y="201"/>
                  </a:lnTo>
                  <a:lnTo>
                    <a:pt x="288" y="201"/>
                  </a:lnTo>
                  <a:lnTo>
                    <a:pt x="284" y="201"/>
                  </a:lnTo>
                  <a:lnTo>
                    <a:pt x="284" y="200"/>
                  </a:lnTo>
                  <a:lnTo>
                    <a:pt x="282" y="200"/>
                  </a:lnTo>
                  <a:lnTo>
                    <a:pt x="280" y="198"/>
                  </a:lnTo>
                  <a:lnTo>
                    <a:pt x="280" y="198"/>
                  </a:lnTo>
                  <a:lnTo>
                    <a:pt x="278" y="198"/>
                  </a:lnTo>
                  <a:lnTo>
                    <a:pt x="276" y="196"/>
                  </a:lnTo>
                  <a:lnTo>
                    <a:pt x="276" y="194"/>
                  </a:lnTo>
                  <a:lnTo>
                    <a:pt x="276" y="194"/>
                  </a:lnTo>
                  <a:lnTo>
                    <a:pt x="276" y="192"/>
                  </a:lnTo>
                  <a:lnTo>
                    <a:pt x="274" y="192"/>
                  </a:lnTo>
                  <a:lnTo>
                    <a:pt x="274" y="190"/>
                  </a:lnTo>
                  <a:lnTo>
                    <a:pt x="276" y="186"/>
                  </a:lnTo>
                  <a:lnTo>
                    <a:pt x="276" y="184"/>
                  </a:lnTo>
                  <a:lnTo>
                    <a:pt x="276" y="184"/>
                  </a:lnTo>
                  <a:lnTo>
                    <a:pt x="274" y="182"/>
                  </a:lnTo>
                  <a:lnTo>
                    <a:pt x="274" y="181"/>
                  </a:lnTo>
                  <a:lnTo>
                    <a:pt x="273" y="181"/>
                  </a:lnTo>
                  <a:lnTo>
                    <a:pt x="271" y="179"/>
                  </a:lnTo>
                  <a:lnTo>
                    <a:pt x="271" y="181"/>
                  </a:lnTo>
                  <a:lnTo>
                    <a:pt x="269" y="182"/>
                  </a:lnTo>
                  <a:lnTo>
                    <a:pt x="269" y="182"/>
                  </a:lnTo>
                  <a:lnTo>
                    <a:pt x="267" y="181"/>
                  </a:lnTo>
                  <a:lnTo>
                    <a:pt x="267" y="182"/>
                  </a:lnTo>
                  <a:lnTo>
                    <a:pt x="265" y="182"/>
                  </a:lnTo>
                  <a:lnTo>
                    <a:pt x="265" y="182"/>
                  </a:lnTo>
                  <a:lnTo>
                    <a:pt x="265" y="184"/>
                  </a:lnTo>
                  <a:lnTo>
                    <a:pt x="263" y="184"/>
                  </a:lnTo>
                  <a:lnTo>
                    <a:pt x="261" y="184"/>
                  </a:lnTo>
                  <a:lnTo>
                    <a:pt x="257" y="182"/>
                  </a:lnTo>
                  <a:lnTo>
                    <a:pt x="255" y="181"/>
                  </a:lnTo>
                  <a:lnTo>
                    <a:pt x="252" y="181"/>
                  </a:lnTo>
                  <a:lnTo>
                    <a:pt x="250" y="181"/>
                  </a:lnTo>
                  <a:lnTo>
                    <a:pt x="250" y="181"/>
                  </a:lnTo>
                  <a:lnTo>
                    <a:pt x="250" y="179"/>
                  </a:lnTo>
                  <a:lnTo>
                    <a:pt x="246" y="177"/>
                  </a:lnTo>
                  <a:lnTo>
                    <a:pt x="246" y="175"/>
                  </a:lnTo>
                  <a:lnTo>
                    <a:pt x="242" y="173"/>
                  </a:lnTo>
                  <a:lnTo>
                    <a:pt x="240" y="171"/>
                  </a:lnTo>
                  <a:lnTo>
                    <a:pt x="240" y="165"/>
                  </a:lnTo>
                  <a:lnTo>
                    <a:pt x="238" y="162"/>
                  </a:lnTo>
                  <a:lnTo>
                    <a:pt x="231" y="158"/>
                  </a:lnTo>
                  <a:lnTo>
                    <a:pt x="225" y="152"/>
                  </a:lnTo>
                  <a:lnTo>
                    <a:pt x="223" y="150"/>
                  </a:lnTo>
                  <a:lnTo>
                    <a:pt x="219" y="150"/>
                  </a:lnTo>
                  <a:lnTo>
                    <a:pt x="217" y="152"/>
                  </a:lnTo>
                  <a:lnTo>
                    <a:pt x="215" y="152"/>
                  </a:lnTo>
                  <a:lnTo>
                    <a:pt x="213" y="152"/>
                  </a:lnTo>
                  <a:lnTo>
                    <a:pt x="212" y="152"/>
                  </a:lnTo>
                  <a:lnTo>
                    <a:pt x="212" y="150"/>
                  </a:lnTo>
                  <a:lnTo>
                    <a:pt x="212" y="148"/>
                  </a:lnTo>
                  <a:lnTo>
                    <a:pt x="210" y="146"/>
                  </a:lnTo>
                  <a:lnTo>
                    <a:pt x="210" y="146"/>
                  </a:lnTo>
                  <a:lnTo>
                    <a:pt x="210" y="144"/>
                  </a:lnTo>
                  <a:lnTo>
                    <a:pt x="210" y="144"/>
                  </a:lnTo>
                  <a:lnTo>
                    <a:pt x="208" y="139"/>
                  </a:lnTo>
                  <a:lnTo>
                    <a:pt x="208" y="139"/>
                  </a:lnTo>
                  <a:lnTo>
                    <a:pt x="210" y="139"/>
                  </a:lnTo>
                  <a:lnTo>
                    <a:pt x="210" y="137"/>
                  </a:lnTo>
                  <a:lnTo>
                    <a:pt x="212" y="131"/>
                  </a:lnTo>
                  <a:lnTo>
                    <a:pt x="213" y="127"/>
                  </a:lnTo>
                  <a:lnTo>
                    <a:pt x="215" y="125"/>
                  </a:lnTo>
                  <a:lnTo>
                    <a:pt x="215" y="123"/>
                  </a:lnTo>
                  <a:lnTo>
                    <a:pt x="215" y="123"/>
                  </a:lnTo>
                  <a:lnTo>
                    <a:pt x="215" y="123"/>
                  </a:lnTo>
                  <a:lnTo>
                    <a:pt x="215" y="122"/>
                  </a:lnTo>
                  <a:lnTo>
                    <a:pt x="215" y="122"/>
                  </a:lnTo>
                  <a:lnTo>
                    <a:pt x="213" y="122"/>
                  </a:lnTo>
                  <a:lnTo>
                    <a:pt x="215" y="120"/>
                  </a:lnTo>
                  <a:lnTo>
                    <a:pt x="215" y="120"/>
                  </a:lnTo>
                  <a:lnTo>
                    <a:pt x="215" y="116"/>
                  </a:lnTo>
                  <a:lnTo>
                    <a:pt x="217" y="116"/>
                  </a:lnTo>
                  <a:lnTo>
                    <a:pt x="219" y="114"/>
                  </a:lnTo>
                  <a:lnTo>
                    <a:pt x="221" y="112"/>
                  </a:lnTo>
                  <a:lnTo>
                    <a:pt x="221" y="112"/>
                  </a:lnTo>
                  <a:lnTo>
                    <a:pt x="221" y="110"/>
                  </a:lnTo>
                  <a:lnTo>
                    <a:pt x="223" y="110"/>
                  </a:lnTo>
                  <a:lnTo>
                    <a:pt x="225" y="110"/>
                  </a:lnTo>
                  <a:lnTo>
                    <a:pt x="231" y="108"/>
                  </a:lnTo>
                  <a:lnTo>
                    <a:pt x="231" y="108"/>
                  </a:lnTo>
                  <a:lnTo>
                    <a:pt x="233" y="106"/>
                  </a:lnTo>
                  <a:lnTo>
                    <a:pt x="233" y="103"/>
                  </a:lnTo>
                  <a:lnTo>
                    <a:pt x="233" y="101"/>
                  </a:lnTo>
                  <a:lnTo>
                    <a:pt x="234" y="99"/>
                  </a:lnTo>
                  <a:lnTo>
                    <a:pt x="234" y="97"/>
                  </a:lnTo>
                  <a:lnTo>
                    <a:pt x="240" y="95"/>
                  </a:lnTo>
                  <a:lnTo>
                    <a:pt x="240" y="93"/>
                  </a:lnTo>
                  <a:lnTo>
                    <a:pt x="240" y="93"/>
                  </a:lnTo>
                  <a:lnTo>
                    <a:pt x="242" y="93"/>
                  </a:lnTo>
                  <a:lnTo>
                    <a:pt x="242" y="93"/>
                  </a:lnTo>
                  <a:lnTo>
                    <a:pt x="242" y="93"/>
                  </a:lnTo>
                  <a:lnTo>
                    <a:pt x="244" y="93"/>
                  </a:lnTo>
                  <a:lnTo>
                    <a:pt x="244" y="93"/>
                  </a:lnTo>
                  <a:lnTo>
                    <a:pt x="246" y="93"/>
                  </a:lnTo>
                  <a:lnTo>
                    <a:pt x="248" y="93"/>
                  </a:lnTo>
                  <a:lnTo>
                    <a:pt x="248" y="91"/>
                  </a:lnTo>
                  <a:lnTo>
                    <a:pt x="246" y="85"/>
                  </a:lnTo>
                  <a:lnTo>
                    <a:pt x="244" y="84"/>
                  </a:lnTo>
                  <a:lnTo>
                    <a:pt x="242" y="82"/>
                  </a:lnTo>
                  <a:lnTo>
                    <a:pt x="236" y="82"/>
                  </a:lnTo>
                  <a:lnTo>
                    <a:pt x="234" y="80"/>
                  </a:lnTo>
                  <a:lnTo>
                    <a:pt x="233" y="80"/>
                  </a:lnTo>
                  <a:lnTo>
                    <a:pt x="233" y="80"/>
                  </a:lnTo>
                  <a:lnTo>
                    <a:pt x="233" y="84"/>
                  </a:lnTo>
                  <a:lnTo>
                    <a:pt x="233" y="84"/>
                  </a:lnTo>
                  <a:lnTo>
                    <a:pt x="231" y="84"/>
                  </a:lnTo>
                  <a:lnTo>
                    <a:pt x="231" y="82"/>
                  </a:lnTo>
                  <a:lnTo>
                    <a:pt x="231" y="80"/>
                  </a:lnTo>
                  <a:lnTo>
                    <a:pt x="231" y="78"/>
                  </a:lnTo>
                  <a:lnTo>
                    <a:pt x="233" y="76"/>
                  </a:lnTo>
                  <a:lnTo>
                    <a:pt x="234" y="70"/>
                  </a:lnTo>
                  <a:lnTo>
                    <a:pt x="234" y="68"/>
                  </a:lnTo>
                  <a:lnTo>
                    <a:pt x="236" y="66"/>
                  </a:lnTo>
                  <a:lnTo>
                    <a:pt x="236" y="65"/>
                  </a:lnTo>
                  <a:lnTo>
                    <a:pt x="238" y="66"/>
                  </a:lnTo>
                  <a:lnTo>
                    <a:pt x="238" y="68"/>
                  </a:lnTo>
                  <a:lnTo>
                    <a:pt x="238" y="70"/>
                  </a:lnTo>
                  <a:lnTo>
                    <a:pt x="238" y="72"/>
                  </a:lnTo>
                  <a:lnTo>
                    <a:pt x="240" y="74"/>
                  </a:lnTo>
                  <a:lnTo>
                    <a:pt x="242" y="74"/>
                  </a:lnTo>
                  <a:lnTo>
                    <a:pt x="244" y="76"/>
                  </a:lnTo>
                  <a:lnTo>
                    <a:pt x="246" y="76"/>
                  </a:lnTo>
                  <a:lnTo>
                    <a:pt x="246" y="78"/>
                  </a:lnTo>
                  <a:lnTo>
                    <a:pt x="248" y="78"/>
                  </a:lnTo>
                  <a:lnTo>
                    <a:pt x="248" y="80"/>
                  </a:lnTo>
                  <a:lnTo>
                    <a:pt x="250" y="80"/>
                  </a:lnTo>
                  <a:lnTo>
                    <a:pt x="252" y="82"/>
                  </a:lnTo>
                  <a:lnTo>
                    <a:pt x="254" y="82"/>
                  </a:lnTo>
                  <a:lnTo>
                    <a:pt x="255" y="82"/>
                  </a:lnTo>
                  <a:lnTo>
                    <a:pt x="255" y="82"/>
                  </a:lnTo>
                  <a:lnTo>
                    <a:pt x="257" y="84"/>
                  </a:lnTo>
                  <a:lnTo>
                    <a:pt x="257" y="84"/>
                  </a:lnTo>
                  <a:lnTo>
                    <a:pt x="257" y="85"/>
                  </a:lnTo>
                  <a:lnTo>
                    <a:pt x="259" y="85"/>
                  </a:lnTo>
                  <a:lnTo>
                    <a:pt x="259" y="85"/>
                  </a:lnTo>
                  <a:lnTo>
                    <a:pt x="261" y="87"/>
                  </a:lnTo>
                  <a:lnTo>
                    <a:pt x="261" y="87"/>
                  </a:lnTo>
                  <a:lnTo>
                    <a:pt x="261" y="89"/>
                  </a:lnTo>
                  <a:lnTo>
                    <a:pt x="261" y="89"/>
                  </a:lnTo>
                  <a:lnTo>
                    <a:pt x="263" y="89"/>
                  </a:lnTo>
                  <a:lnTo>
                    <a:pt x="263" y="89"/>
                  </a:lnTo>
                  <a:lnTo>
                    <a:pt x="263" y="91"/>
                  </a:lnTo>
                  <a:lnTo>
                    <a:pt x="263" y="93"/>
                  </a:lnTo>
                  <a:lnTo>
                    <a:pt x="265" y="93"/>
                  </a:lnTo>
                  <a:lnTo>
                    <a:pt x="267" y="95"/>
                  </a:lnTo>
                  <a:lnTo>
                    <a:pt x="267" y="95"/>
                  </a:lnTo>
                  <a:lnTo>
                    <a:pt x="267" y="97"/>
                  </a:lnTo>
                  <a:lnTo>
                    <a:pt x="265" y="99"/>
                  </a:lnTo>
                  <a:lnTo>
                    <a:pt x="261" y="101"/>
                  </a:lnTo>
                  <a:lnTo>
                    <a:pt x="261" y="101"/>
                  </a:lnTo>
                  <a:lnTo>
                    <a:pt x="263" y="103"/>
                  </a:lnTo>
                  <a:lnTo>
                    <a:pt x="271" y="99"/>
                  </a:lnTo>
                  <a:lnTo>
                    <a:pt x="274" y="101"/>
                  </a:lnTo>
                  <a:lnTo>
                    <a:pt x="274" y="103"/>
                  </a:lnTo>
                  <a:lnTo>
                    <a:pt x="274" y="104"/>
                  </a:lnTo>
                  <a:lnTo>
                    <a:pt x="276" y="106"/>
                  </a:lnTo>
                  <a:lnTo>
                    <a:pt x="278" y="106"/>
                  </a:lnTo>
                  <a:lnTo>
                    <a:pt x="278" y="106"/>
                  </a:lnTo>
                  <a:lnTo>
                    <a:pt x="280" y="103"/>
                  </a:lnTo>
                  <a:lnTo>
                    <a:pt x="282" y="101"/>
                  </a:lnTo>
                  <a:lnTo>
                    <a:pt x="284" y="101"/>
                  </a:lnTo>
                  <a:lnTo>
                    <a:pt x="290" y="106"/>
                  </a:lnTo>
                  <a:lnTo>
                    <a:pt x="292" y="106"/>
                  </a:lnTo>
                  <a:lnTo>
                    <a:pt x="295" y="106"/>
                  </a:lnTo>
                  <a:lnTo>
                    <a:pt x="297" y="104"/>
                  </a:lnTo>
                  <a:lnTo>
                    <a:pt x="297" y="103"/>
                  </a:lnTo>
                  <a:lnTo>
                    <a:pt x="295" y="103"/>
                  </a:lnTo>
                  <a:lnTo>
                    <a:pt x="295" y="103"/>
                  </a:lnTo>
                  <a:lnTo>
                    <a:pt x="294" y="101"/>
                  </a:lnTo>
                  <a:lnTo>
                    <a:pt x="295" y="99"/>
                  </a:lnTo>
                  <a:lnTo>
                    <a:pt x="294" y="99"/>
                  </a:lnTo>
                  <a:lnTo>
                    <a:pt x="294" y="101"/>
                  </a:lnTo>
                  <a:lnTo>
                    <a:pt x="292" y="99"/>
                  </a:lnTo>
                  <a:lnTo>
                    <a:pt x="292" y="99"/>
                  </a:lnTo>
                  <a:lnTo>
                    <a:pt x="290" y="95"/>
                  </a:lnTo>
                  <a:lnTo>
                    <a:pt x="288" y="95"/>
                  </a:lnTo>
                  <a:lnTo>
                    <a:pt x="286" y="93"/>
                  </a:lnTo>
                  <a:lnTo>
                    <a:pt x="284" y="91"/>
                  </a:lnTo>
                  <a:lnTo>
                    <a:pt x="284" y="89"/>
                  </a:lnTo>
                  <a:lnTo>
                    <a:pt x="284" y="87"/>
                  </a:lnTo>
                  <a:lnTo>
                    <a:pt x="286" y="85"/>
                  </a:lnTo>
                  <a:lnTo>
                    <a:pt x="286" y="85"/>
                  </a:lnTo>
                  <a:lnTo>
                    <a:pt x="288" y="84"/>
                  </a:lnTo>
                  <a:lnTo>
                    <a:pt x="290" y="85"/>
                  </a:lnTo>
                  <a:lnTo>
                    <a:pt x="290" y="85"/>
                  </a:lnTo>
                  <a:lnTo>
                    <a:pt x="292" y="87"/>
                  </a:lnTo>
                  <a:lnTo>
                    <a:pt x="292" y="87"/>
                  </a:lnTo>
                  <a:lnTo>
                    <a:pt x="294" y="89"/>
                  </a:lnTo>
                  <a:lnTo>
                    <a:pt x="295" y="89"/>
                  </a:lnTo>
                  <a:lnTo>
                    <a:pt x="295" y="89"/>
                  </a:lnTo>
                  <a:lnTo>
                    <a:pt x="297" y="91"/>
                  </a:lnTo>
                  <a:lnTo>
                    <a:pt x="299" y="91"/>
                  </a:lnTo>
                  <a:lnTo>
                    <a:pt x="299" y="93"/>
                  </a:lnTo>
                  <a:lnTo>
                    <a:pt x="299" y="93"/>
                  </a:lnTo>
                  <a:lnTo>
                    <a:pt x="299" y="93"/>
                  </a:lnTo>
                  <a:lnTo>
                    <a:pt x="301" y="95"/>
                  </a:lnTo>
                  <a:lnTo>
                    <a:pt x="303" y="95"/>
                  </a:lnTo>
                  <a:lnTo>
                    <a:pt x="303" y="97"/>
                  </a:lnTo>
                  <a:lnTo>
                    <a:pt x="303" y="97"/>
                  </a:lnTo>
                  <a:lnTo>
                    <a:pt x="303" y="97"/>
                  </a:lnTo>
                  <a:lnTo>
                    <a:pt x="301" y="97"/>
                  </a:lnTo>
                  <a:lnTo>
                    <a:pt x="299" y="97"/>
                  </a:lnTo>
                  <a:lnTo>
                    <a:pt x="299" y="101"/>
                  </a:lnTo>
                  <a:lnTo>
                    <a:pt x="301" y="103"/>
                  </a:lnTo>
                  <a:lnTo>
                    <a:pt x="303" y="104"/>
                  </a:lnTo>
                  <a:lnTo>
                    <a:pt x="303" y="106"/>
                  </a:lnTo>
                  <a:lnTo>
                    <a:pt x="305" y="112"/>
                  </a:lnTo>
                  <a:lnTo>
                    <a:pt x="305" y="114"/>
                  </a:lnTo>
                  <a:lnTo>
                    <a:pt x="305" y="116"/>
                  </a:lnTo>
                  <a:lnTo>
                    <a:pt x="313" y="118"/>
                  </a:lnTo>
                  <a:lnTo>
                    <a:pt x="313" y="120"/>
                  </a:lnTo>
                  <a:lnTo>
                    <a:pt x="314" y="122"/>
                  </a:lnTo>
                  <a:lnTo>
                    <a:pt x="314" y="123"/>
                  </a:lnTo>
                  <a:lnTo>
                    <a:pt x="316" y="123"/>
                  </a:lnTo>
                  <a:lnTo>
                    <a:pt x="318" y="125"/>
                  </a:lnTo>
                  <a:lnTo>
                    <a:pt x="322" y="127"/>
                  </a:lnTo>
                  <a:lnTo>
                    <a:pt x="322" y="129"/>
                  </a:lnTo>
                  <a:lnTo>
                    <a:pt x="324" y="129"/>
                  </a:lnTo>
                  <a:lnTo>
                    <a:pt x="326" y="129"/>
                  </a:lnTo>
                  <a:lnTo>
                    <a:pt x="328" y="129"/>
                  </a:lnTo>
                  <a:lnTo>
                    <a:pt x="330" y="127"/>
                  </a:lnTo>
                  <a:lnTo>
                    <a:pt x="330" y="127"/>
                  </a:lnTo>
                  <a:lnTo>
                    <a:pt x="332" y="129"/>
                  </a:lnTo>
                  <a:lnTo>
                    <a:pt x="332" y="131"/>
                  </a:lnTo>
                  <a:lnTo>
                    <a:pt x="332" y="131"/>
                  </a:lnTo>
                  <a:lnTo>
                    <a:pt x="334" y="131"/>
                  </a:lnTo>
                  <a:lnTo>
                    <a:pt x="334" y="129"/>
                  </a:lnTo>
                  <a:lnTo>
                    <a:pt x="334" y="129"/>
                  </a:lnTo>
                  <a:lnTo>
                    <a:pt x="334" y="129"/>
                  </a:lnTo>
                  <a:lnTo>
                    <a:pt x="337" y="129"/>
                  </a:lnTo>
                  <a:lnTo>
                    <a:pt x="339" y="129"/>
                  </a:lnTo>
                  <a:lnTo>
                    <a:pt x="339" y="129"/>
                  </a:lnTo>
                  <a:lnTo>
                    <a:pt x="339" y="129"/>
                  </a:lnTo>
                  <a:lnTo>
                    <a:pt x="341" y="133"/>
                  </a:lnTo>
                  <a:lnTo>
                    <a:pt x="341" y="133"/>
                  </a:lnTo>
                  <a:lnTo>
                    <a:pt x="343" y="133"/>
                  </a:lnTo>
                  <a:lnTo>
                    <a:pt x="343" y="133"/>
                  </a:lnTo>
                  <a:lnTo>
                    <a:pt x="345" y="133"/>
                  </a:lnTo>
                  <a:lnTo>
                    <a:pt x="345" y="131"/>
                  </a:lnTo>
                  <a:lnTo>
                    <a:pt x="345" y="129"/>
                  </a:lnTo>
                  <a:lnTo>
                    <a:pt x="345" y="127"/>
                  </a:lnTo>
                  <a:lnTo>
                    <a:pt x="349" y="123"/>
                  </a:lnTo>
                  <a:lnTo>
                    <a:pt x="351" y="122"/>
                  </a:lnTo>
                  <a:lnTo>
                    <a:pt x="349" y="122"/>
                  </a:lnTo>
                  <a:lnTo>
                    <a:pt x="349" y="122"/>
                  </a:lnTo>
                  <a:lnTo>
                    <a:pt x="347" y="122"/>
                  </a:lnTo>
                  <a:lnTo>
                    <a:pt x="347" y="120"/>
                  </a:lnTo>
                  <a:lnTo>
                    <a:pt x="347" y="120"/>
                  </a:lnTo>
                  <a:lnTo>
                    <a:pt x="347" y="118"/>
                  </a:lnTo>
                  <a:lnTo>
                    <a:pt x="349" y="118"/>
                  </a:lnTo>
                  <a:lnTo>
                    <a:pt x="349" y="118"/>
                  </a:lnTo>
                  <a:lnTo>
                    <a:pt x="347" y="118"/>
                  </a:lnTo>
                  <a:lnTo>
                    <a:pt x="347" y="116"/>
                  </a:lnTo>
                  <a:lnTo>
                    <a:pt x="345" y="114"/>
                  </a:lnTo>
                  <a:lnTo>
                    <a:pt x="347" y="114"/>
                  </a:lnTo>
                  <a:lnTo>
                    <a:pt x="347" y="112"/>
                  </a:lnTo>
                  <a:lnTo>
                    <a:pt x="349" y="112"/>
                  </a:lnTo>
                  <a:lnTo>
                    <a:pt x="349" y="112"/>
                  </a:lnTo>
                  <a:lnTo>
                    <a:pt x="351" y="112"/>
                  </a:lnTo>
                  <a:lnTo>
                    <a:pt x="351" y="112"/>
                  </a:lnTo>
                  <a:lnTo>
                    <a:pt x="351" y="110"/>
                  </a:lnTo>
                  <a:lnTo>
                    <a:pt x="349" y="108"/>
                  </a:lnTo>
                  <a:lnTo>
                    <a:pt x="351" y="106"/>
                  </a:lnTo>
                  <a:lnTo>
                    <a:pt x="353" y="106"/>
                  </a:lnTo>
                  <a:lnTo>
                    <a:pt x="354" y="106"/>
                  </a:lnTo>
                  <a:lnTo>
                    <a:pt x="354" y="108"/>
                  </a:lnTo>
                  <a:lnTo>
                    <a:pt x="354" y="110"/>
                  </a:lnTo>
                  <a:lnTo>
                    <a:pt x="356" y="110"/>
                  </a:lnTo>
                  <a:lnTo>
                    <a:pt x="358" y="108"/>
                  </a:lnTo>
                  <a:lnTo>
                    <a:pt x="360" y="108"/>
                  </a:lnTo>
                  <a:lnTo>
                    <a:pt x="362" y="108"/>
                  </a:lnTo>
                  <a:lnTo>
                    <a:pt x="362" y="106"/>
                  </a:lnTo>
                  <a:lnTo>
                    <a:pt x="362" y="106"/>
                  </a:lnTo>
                  <a:lnTo>
                    <a:pt x="362" y="104"/>
                  </a:lnTo>
                  <a:lnTo>
                    <a:pt x="362" y="104"/>
                  </a:lnTo>
                  <a:lnTo>
                    <a:pt x="362" y="104"/>
                  </a:lnTo>
                  <a:lnTo>
                    <a:pt x="362" y="103"/>
                  </a:lnTo>
                  <a:lnTo>
                    <a:pt x="364" y="103"/>
                  </a:lnTo>
                  <a:lnTo>
                    <a:pt x="366" y="99"/>
                  </a:lnTo>
                  <a:lnTo>
                    <a:pt x="366" y="99"/>
                  </a:lnTo>
                  <a:lnTo>
                    <a:pt x="366" y="99"/>
                  </a:lnTo>
                  <a:lnTo>
                    <a:pt x="368" y="97"/>
                  </a:lnTo>
                  <a:lnTo>
                    <a:pt x="370" y="97"/>
                  </a:lnTo>
                  <a:lnTo>
                    <a:pt x="370" y="95"/>
                  </a:lnTo>
                  <a:lnTo>
                    <a:pt x="370" y="95"/>
                  </a:lnTo>
                  <a:lnTo>
                    <a:pt x="370" y="95"/>
                  </a:lnTo>
                  <a:lnTo>
                    <a:pt x="370" y="93"/>
                  </a:lnTo>
                  <a:lnTo>
                    <a:pt x="370" y="93"/>
                  </a:lnTo>
                  <a:lnTo>
                    <a:pt x="370" y="93"/>
                  </a:lnTo>
                  <a:lnTo>
                    <a:pt x="370" y="93"/>
                  </a:lnTo>
                  <a:lnTo>
                    <a:pt x="370" y="91"/>
                  </a:lnTo>
                  <a:lnTo>
                    <a:pt x="372" y="91"/>
                  </a:lnTo>
                  <a:lnTo>
                    <a:pt x="372" y="91"/>
                  </a:lnTo>
                  <a:lnTo>
                    <a:pt x="372" y="91"/>
                  </a:lnTo>
                  <a:lnTo>
                    <a:pt x="372" y="84"/>
                  </a:lnTo>
                  <a:lnTo>
                    <a:pt x="374" y="82"/>
                  </a:lnTo>
                  <a:lnTo>
                    <a:pt x="374" y="78"/>
                  </a:lnTo>
                  <a:lnTo>
                    <a:pt x="374" y="78"/>
                  </a:lnTo>
                  <a:lnTo>
                    <a:pt x="374" y="78"/>
                  </a:lnTo>
                  <a:lnTo>
                    <a:pt x="374" y="78"/>
                  </a:lnTo>
                  <a:lnTo>
                    <a:pt x="375" y="74"/>
                  </a:lnTo>
                  <a:lnTo>
                    <a:pt x="375" y="6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 name="Freeform 7">
              <a:extLst>
                <a:ext uri="{FF2B5EF4-FFF2-40B4-BE49-F238E27FC236}">
                  <a16:creationId xmlns:a16="http://schemas.microsoft.com/office/drawing/2014/main" id="{CE0A5CB1-E87C-FDC4-2835-7DD01FEEAC3C}"/>
                </a:ext>
              </a:extLst>
            </p:cNvPr>
            <p:cNvSpPr>
              <a:spLocks noEditPoints="1"/>
            </p:cNvSpPr>
            <p:nvPr/>
          </p:nvSpPr>
          <p:spPr bwMode="auto">
            <a:xfrm>
              <a:off x="6367463" y="3094838"/>
              <a:ext cx="595313" cy="920750"/>
            </a:xfrm>
            <a:custGeom>
              <a:avLst/>
              <a:gdLst>
                <a:gd name="T0" fmla="*/ 215 w 375"/>
                <a:gd name="T1" fmla="*/ 567 h 580"/>
                <a:gd name="T2" fmla="*/ 212 w 375"/>
                <a:gd name="T3" fmla="*/ 538 h 580"/>
                <a:gd name="T4" fmla="*/ 368 w 375"/>
                <a:gd name="T5" fmla="*/ 57 h 580"/>
                <a:gd name="T6" fmla="*/ 305 w 375"/>
                <a:gd name="T7" fmla="*/ 46 h 580"/>
                <a:gd name="T8" fmla="*/ 269 w 375"/>
                <a:gd name="T9" fmla="*/ 11 h 580"/>
                <a:gd name="T10" fmla="*/ 208 w 375"/>
                <a:gd name="T11" fmla="*/ 6 h 580"/>
                <a:gd name="T12" fmla="*/ 215 w 375"/>
                <a:gd name="T13" fmla="*/ 61 h 580"/>
                <a:gd name="T14" fmla="*/ 225 w 375"/>
                <a:gd name="T15" fmla="*/ 89 h 580"/>
                <a:gd name="T16" fmla="*/ 202 w 375"/>
                <a:gd name="T17" fmla="*/ 114 h 580"/>
                <a:gd name="T18" fmla="*/ 183 w 375"/>
                <a:gd name="T19" fmla="*/ 141 h 580"/>
                <a:gd name="T20" fmla="*/ 206 w 375"/>
                <a:gd name="T21" fmla="*/ 177 h 580"/>
                <a:gd name="T22" fmla="*/ 179 w 375"/>
                <a:gd name="T23" fmla="*/ 188 h 580"/>
                <a:gd name="T24" fmla="*/ 187 w 375"/>
                <a:gd name="T25" fmla="*/ 203 h 580"/>
                <a:gd name="T26" fmla="*/ 189 w 375"/>
                <a:gd name="T27" fmla="*/ 253 h 580"/>
                <a:gd name="T28" fmla="*/ 191 w 375"/>
                <a:gd name="T29" fmla="*/ 268 h 580"/>
                <a:gd name="T30" fmla="*/ 181 w 375"/>
                <a:gd name="T31" fmla="*/ 279 h 580"/>
                <a:gd name="T32" fmla="*/ 170 w 375"/>
                <a:gd name="T33" fmla="*/ 310 h 580"/>
                <a:gd name="T34" fmla="*/ 151 w 375"/>
                <a:gd name="T35" fmla="*/ 331 h 580"/>
                <a:gd name="T36" fmla="*/ 133 w 375"/>
                <a:gd name="T37" fmla="*/ 342 h 580"/>
                <a:gd name="T38" fmla="*/ 112 w 375"/>
                <a:gd name="T39" fmla="*/ 350 h 580"/>
                <a:gd name="T40" fmla="*/ 76 w 375"/>
                <a:gd name="T41" fmla="*/ 363 h 580"/>
                <a:gd name="T42" fmla="*/ 31 w 375"/>
                <a:gd name="T43" fmla="*/ 384 h 580"/>
                <a:gd name="T44" fmla="*/ 0 w 375"/>
                <a:gd name="T45" fmla="*/ 384 h 580"/>
                <a:gd name="T46" fmla="*/ 8 w 375"/>
                <a:gd name="T47" fmla="*/ 416 h 580"/>
                <a:gd name="T48" fmla="*/ 61 w 375"/>
                <a:gd name="T49" fmla="*/ 435 h 580"/>
                <a:gd name="T50" fmla="*/ 76 w 375"/>
                <a:gd name="T51" fmla="*/ 473 h 580"/>
                <a:gd name="T52" fmla="*/ 90 w 375"/>
                <a:gd name="T53" fmla="*/ 496 h 580"/>
                <a:gd name="T54" fmla="*/ 90 w 375"/>
                <a:gd name="T55" fmla="*/ 517 h 580"/>
                <a:gd name="T56" fmla="*/ 118 w 375"/>
                <a:gd name="T57" fmla="*/ 538 h 580"/>
                <a:gd name="T58" fmla="*/ 172 w 375"/>
                <a:gd name="T59" fmla="*/ 569 h 580"/>
                <a:gd name="T60" fmla="*/ 215 w 375"/>
                <a:gd name="T61" fmla="*/ 517 h 580"/>
                <a:gd name="T62" fmla="*/ 208 w 375"/>
                <a:gd name="T63" fmla="*/ 510 h 580"/>
                <a:gd name="T64" fmla="*/ 223 w 375"/>
                <a:gd name="T65" fmla="*/ 572 h 580"/>
                <a:gd name="T66" fmla="*/ 233 w 375"/>
                <a:gd name="T67" fmla="*/ 570 h 580"/>
                <a:gd name="T68" fmla="*/ 244 w 375"/>
                <a:gd name="T69" fmla="*/ 561 h 580"/>
                <a:gd name="T70" fmla="*/ 250 w 375"/>
                <a:gd name="T71" fmla="*/ 569 h 580"/>
                <a:gd name="T72" fmla="*/ 259 w 375"/>
                <a:gd name="T73" fmla="*/ 557 h 580"/>
                <a:gd name="T74" fmla="*/ 265 w 375"/>
                <a:gd name="T75" fmla="*/ 513 h 580"/>
                <a:gd name="T76" fmla="*/ 265 w 375"/>
                <a:gd name="T77" fmla="*/ 525 h 580"/>
                <a:gd name="T78" fmla="*/ 274 w 375"/>
                <a:gd name="T79" fmla="*/ 576 h 580"/>
                <a:gd name="T80" fmla="*/ 282 w 375"/>
                <a:gd name="T81" fmla="*/ 557 h 580"/>
                <a:gd name="T82" fmla="*/ 294 w 375"/>
                <a:gd name="T83" fmla="*/ 544 h 580"/>
                <a:gd name="T84" fmla="*/ 297 w 375"/>
                <a:gd name="T85" fmla="*/ 521 h 580"/>
                <a:gd name="T86" fmla="*/ 290 w 375"/>
                <a:gd name="T87" fmla="*/ 472 h 580"/>
                <a:gd name="T88" fmla="*/ 290 w 375"/>
                <a:gd name="T89" fmla="*/ 414 h 580"/>
                <a:gd name="T90" fmla="*/ 265 w 375"/>
                <a:gd name="T91" fmla="*/ 384 h 580"/>
                <a:gd name="T92" fmla="*/ 255 w 375"/>
                <a:gd name="T93" fmla="*/ 346 h 580"/>
                <a:gd name="T94" fmla="*/ 269 w 375"/>
                <a:gd name="T95" fmla="*/ 314 h 580"/>
                <a:gd name="T96" fmla="*/ 208 w 375"/>
                <a:gd name="T97" fmla="*/ 270 h 580"/>
                <a:gd name="T98" fmla="*/ 223 w 375"/>
                <a:gd name="T99" fmla="*/ 240 h 580"/>
                <a:gd name="T100" fmla="*/ 263 w 375"/>
                <a:gd name="T101" fmla="*/ 213 h 580"/>
                <a:gd name="T102" fmla="*/ 280 w 375"/>
                <a:gd name="T103" fmla="*/ 198 h 580"/>
                <a:gd name="T104" fmla="*/ 252 w 375"/>
                <a:gd name="T105" fmla="*/ 181 h 580"/>
                <a:gd name="T106" fmla="*/ 210 w 375"/>
                <a:gd name="T107" fmla="*/ 137 h 580"/>
                <a:gd name="T108" fmla="*/ 240 w 375"/>
                <a:gd name="T109" fmla="*/ 95 h 580"/>
                <a:gd name="T110" fmla="*/ 236 w 375"/>
                <a:gd name="T111" fmla="*/ 66 h 580"/>
                <a:gd name="T112" fmla="*/ 263 w 375"/>
                <a:gd name="T113" fmla="*/ 89 h 580"/>
                <a:gd name="T114" fmla="*/ 295 w 375"/>
                <a:gd name="T115" fmla="*/ 103 h 580"/>
                <a:gd name="T116" fmla="*/ 299 w 375"/>
                <a:gd name="T117" fmla="*/ 93 h 580"/>
                <a:gd name="T118" fmla="*/ 330 w 375"/>
                <a:gd name="T119" fmla="*/ 127 h 580"/>
                <a:gd name="T120" fmla="*/ 347 w 375"/>
                <a:gd name="T121" fmla="*/ 120 h 580"/>
                <a:gd name="T122" fmla="*/ 362 w 375"/>
                <a:gd name="T123" fmla="*/ 104 h 580"/>
                <a:gd name="T124" fmla="*/ 375 w 375"/>
                <a:gd name="T125" fmla="*/ 65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 h="580">
                  <a:moveTo>
                    <a:pt x="284" y="574"/>
                  </a:moveTo>
                  <a:lnTo>
                    <a:pt x="284" y="574"/>
                  </a:lnTo>
                  <a:lnTo>
                    <a:pt x="282" y="572"/>
                  </a:lnTo>
                  <a:lnTo>
                    <a:pt x="278" y="572"/>
                  </a:lnTo>
                  <a:lnTo>
                    <a:pt x="278" y="574"/>
                  </a:lnTo>
                  <a:lnTo>
                    <a:pt x="278" y="580"/>
                  </a:lnTo>
                  <a:lnTo>
                    <a:pt x="280" y="580"/>
                  </a:lnTo>
                  <a:lnTo>
                    <a:pt x="282" y="580"/>
                  </a:lnTo>
                  <a:lnTo>
                    <a:pt x="284" y="580"/>
                  </a:lnTo>
                  <a:lnTo>
                    <a:pt x="286" y="580"/>
                  </a:lnTo>
                  <a:lnTo>
                    <a:pt x="286" y="578"/>
                  </a:lnTo>
                  <a:lnTo>
                    <a:pt x="286" y="576"/>
                  </a:lnTo>
                  <a:lnTo>
                    <a:pt x="284" y="574"/>
                  </a:lnTo>
                  <a:close/>
                  <a:moveTo>
                    <a:pt x="212" y="548"/>
                  </a:moveTo>
                  <a:lnTo>
                    <a:pt x="210" y="551"/>
                  </a:lnTo>
                  <a:lnTo>
                    <a:pt x="206" y="563"/>
                  </a:lnTo>
                  <a:lnTo>
                    <a:pt x="206" y="565"/>
                  </a:lnTo>
                  <a:lnTo>
                    <a:pt x="206" y="567"/>
                  </a:lnTo>
                  <a:lnTo>
                    <a:pt x="206" y="567"/>
                  </a:lnTo>
                  <a:lnTo>
                    <a:pt x="206" y="569"/>
                  </a:lnTo>
                  <a:lnTo>
                    <a:pt x="208" y="569"/>
                  </a:lnTo>
                  <a:lnTo>
                    <a:pt x="210" y="569"/>
                  </a:lnTo>
                  <a:lnTo>
                    <a:pt x="212" y="570"/>
                  </a:lnTo>
                  <a:lnTo>
                    <a:pt x="213" y="570"/>
                  </a:lnTo>
                  <a:lnTo>
                    <a:pt x="213" y="570"/>
                  </a:lnTo>
                  <a:lnTo>
                    <a:pt x="215" y="569"/>
                  </a:lnTo>
                  <a:lnTo>
                    <a:pt x="215" y="567"/>
                  </a:lnTo>
                  <a:lnTo>
                    <a:pt x="213" y="565"/>
                  </a:lnTo>
                  <a:lnTo>
                    <a:pt x="217" y="563"/>
                  </a:lnTo>
                  <a:lnTo>
                    <a:pt x="217" y="557"/>
                  </a:lnTo>
                  <a:lnTo>
                    <a:pt x="215" y="546"/>
                  </a:lnTo>
                  <a:lnTo>
                    <a:pt x="212" y="548"/>
                  </a:lnTo>
                  <a:close/>
                  <a:moveTo>
                    <a:pt x="261" y="540"/>
                  </a:moveTo>
                  <a:lnTo>
                    <a:pt x="259" y="540"/>
                  </a:lnTo>
                  <a:lnTo>
                    <a:pt x="259" y="544"/>
                  </a:lnTo>
                  <a:lnTo>
                    <a:pt x="257" y="546"/>
                  </a:lnTo>
                  <a:lnTo>
                    <a:pt x="255" y="550"/>
                  </a:lnTo>
                  <a:lnTo>
                    <a:pt x="255" y="550"/>
                  </a:lnTo>
                  <a:lnTo>
                    <a:pt x="255" y="550"/>
                  </a:lnTo>
                  <a:lnTo>
                    <a:pt x="255" y="551"/>
                  </a:lnTo>
                  <a:lnTo>
                    <a:pt x="255" y="553"/>
                  </a:lnTo>
                  <a:lnTo>
                    <a:pt x="257" y="553"/>
                  </a:lnTo>
                  <a:lnTo>
                    <a:pt x="259" y="553"/>
                  </a:lnTo>
                  <a:lnTo>
                    <a:pt x="261" y="553"/>
                  </a:lnTo>
                  <a:lnTo>
                    <a:pt x="261" y="550"/>
                  </a:lnTo>
                  <a:lnTo>
                    <a:pt x="261" y="546"/>
                  </a:lnTo>
                  <a:lnTo>
                    <a:pt x="263" y="544"/>
                  </a:lnTo>
                  <a:lnTo>
                    <a:pt x="263" y="542"/>
                  </a:lnTo>
                  <a:lnTo>
                    <a:pt x="263" y="540"/>
                  </a:lnTo>
                  <a:lnTo>
                    <a:pt x="261" y="540"/>
                  </a:lnTo>
                  <a:close/>
                  <a:moveTo>
                    <a:pt x="212" y="548"/>
                  </a:moveTo>
                  <a:lnTo>
                    <a:pt x="213" y="544"/>
                  </a:lnTo>
                  <a:lnTo>
                    <a:pt x="213" y="542"/>
                  </a:lnTo>
                  <a:lnTo>
                    <a:pt x="212" y="538"/>
                  </a:lnTo>
                  <a:lnTo>
                    <a:pt x="212" y="538"/>
                  </a:lnTo>
                  <a:lnTo>
                    <a:pt x="210" y="540"/>
                  </a:lnTo>
                  <a:lnTo>
                    <a:pt x="210" y="540"/>
                  </a:lnTo>
                  <a:lnTo>
                    <a:pt x="208" y="542"/>
                  </a:lnTo>
                  <a:lnTo>
                    <a:pt x="208" y="544"/>
                  </a:lnTo>
                  <a:lnTo>
                    <a:pt x="208" y="546"/>
                  </a:lnTo>
                  <a:lnTo>
                    <a:pt x="208" y="548"/>
                  </a:lnTo>
                  <a:lnTo>
                    <a:pt x="210" y="548"/>
                  </a:lnTo>
                  <a:lnTo>
                    <a:pt x="212" y="548"/>
                  </a:lnTo>
                  <a:close/>
                  <a:moveTo>
                    <a:pt x="375" y="65"/>
                  </a:moveTo>
                  <a:lnTo>
                    <a:pt x="374" y="63"/>
                  </a:lnTo>
                  <a:lnTo>
                    <a:pt x="372" y="57"/>
                  </a:lnTo>
                  <a:lnTo>
                    <a:pt x="374" y="55"/>
                  </a:lnTo>
                  <a:lnTo>
                    <a:pt x="372" y="55"/>
                  </a:lnTo>
                  <a:lnTo>
                    <a:pt x="372" y="55"/>
                  </a:lnTo>
                  <a:lnTo>
                    <a:pt x="372" y="55"/>
                  </a:lnTo>
                  <a:lnTo>
                    <a:pt x="372" y="55"/>
                  </a:lnTo>
                  <a:lnTo>
                    <a:pt x="370" y="55"/>
                  </a:lnTo>
                  <a:lnTo>
                    <a:pt x="370" y="55"/>
                  </a:lnTo>
                  <a:lnTo>
                    <a:pt x="370" y="55"/>
                  </a:lnTo>
                  <a:lnTo>
                    <a:pt x="370" y="55"/>
                  </a:lnTo>
                  <a:lnTo>
                    <a:pt x="370" y="57"/>
                  </a:lnTo>
                  <a:lnTo>
                    <a:pt x="370" y="57"/>
                  </a:lnTo>
                  <a:lnTo>
                    <a:pt x="370" y="57"/>
                  </a:lnTo>
                  <a:lnTo>
                    <a:pt x="370" y="59"/>
                  </a:lnTo>
                  <a:lnTo>
                    <a:pt x="370" y="59"/>
                  </a:lnTo>
                  <a:lnTo>
                    <a:pt x="368" y="57"/>
                  </a:lnTo>
                  <a:lnTo>
                    <a:pt x="368" y="57"/>
                  </a:lnTo>
                  <a:lnTo>
                    <a:pt x="364" y="57"/>
                  </a:lnTo>
                  <a:lnTo>
                    <a:pt x="364" y="57"/>
                  </a:lnTo>
                  <a:lnTo>
                    <a:pt x="362" y="57"/>
                  </a:lnTo>
                  <a:lnTo>
                    <a:pt x="356" y="55"/>
                  </a:lnTo>
                  <a:lnTo>
                    <a:pt x="354" y="55"/>
                  </a:lnTo>
                  <a:lnTo>
                    <a:pt x="353" y="57"/>
                  </a:lnTo>
                  <a:lnTo>
                    <a:pt x="351" y="57"/>
                  </a:lnTo>
                  <a:lnTo>
                    <a:pt x="349" y="55"/>
                  </a:lnTo>
                  <a:lnTo>
                    <a:pt x="351" y="53"/>
                  </a:lnTo>
                  <a:lnTo>
                    <a:pt x="351" y="51"/>
                  </a:lnTo>
                  <a:lnTo>
                    <a:pt x="349" y="49"/>
                  </a:lnTo>
                  <a:lnTo>
                    <a:pt x="345" y="47"/>
                  </a:lnTo>
                  <a:lnTo>
                    <a:pt x="341" y="47"/>
                  </a:lnTo>
                  <a:lnTo>
                    <a:pt x="335" y="47"/>
                  </a:lnTo>
                  <a:lnTo>
                    <a:pt x="332" y="46"/>
                  </a:lnTo>
                  <a:lnTo>
                    <a:pt x="328" y="44"/>
                  </a:lnTo>
                  <a:lnTo>
                    <a:pt x="326" y="42"/>
                  </a:lnTo>
                  <a:lnTo>
                    <a:pt x="322" y="42"/>
                  </a:lnTo>
                  <a:lnTo>
                    <a:pt x="320" y="42"/>
                  </a:lnTo>
                  <a:lnTo>
                    <a:pt x="318" y="44"/>
                  </a:lnTo>
                  <a:lnTo>
                    <a:pt x="318" y="44"/>
                  </a:lnTo>
                  <a:lnTo>
                    <a:pt x="316" y="44"/>
                  </a:lnTo>
                  <a:lnTo>
                    <a:pt x="316" y="46"/>
                  </a:lnTo>
                  <a:lnTo>
                    <a:pt x="313" y="46"/>
                  </a:lnTo>
                  <a:lnTo>
                    <a:pt x="311" y="46"/>
                  </a:lnTo>
                  <a:lnTo>
                    <a:pt x="305" y="46"/>
                  </a:lnTo>
                  <a:lnTo>
                    <a:pt x="303" y="46"/>
                  </a:lnTo>
                  <a:lnTo>
                    <a:pt x="301" y="44"/>
                  </a:lnTo>
                  <a:lnTo>
                    <a:pt x="301" y="42"/>
                  </a:lnTo>
                  <a:lnTo>
                    <a:pt x="299" y="38"/>
                  </a:lnTo>
                  <a:lnTo>
                    <a:pt x="297" y="38"/>
                  </a:lnTo>
                  <a:lnTo>
                    <a:pt x="295" y="36"/>
                  </a:lnTo>
                  <a:lnTo>
                    <a:pt x="294" y="34"/>
                  </a:lnTo>
                  <a:lnTo>
                    <a:pt x="292" y="34"/>
                  </a:lnTo>
                  <a:lnTo>
                    <a:pt x="290" y="36"/>
                  </a:lnTo>
                  <a:lnTo>
                    <a:pt x="290" y="36"/>
                  </a:lnTo>
                  <a:lnTo>
                    <a:pt x="288" y="36"/>
                  </a:lnTo>
                  <a:lnTo>
                    <a:pt x="288" y="34"/>
                  </a:lnTo>
                  <a:lnTo>
                    <a:pt x="286" y="34"/>
                  </a:lnTo>
                  <a:lnTo>
                    <a:pt x="288" y="32"/>
                  </a:lnTo>
                  <a:lnTo>
                    <a:pt x="288" y="32"/>
                  </a:lnTo>
                  <a:lnTo>
                    <a:pt x="286" y="30"/>
                  </a:lnTo>
                  <a:lnTo>
                    <a:pt x="286" y="28"/>
                  </a:lnTo>
                  <a:lnTo>
                    <a:pt x="284" y="28"/>
                  </a:lnTo>
                  <a:lnTo>
                    <a:pt x="282" y="30"/>
                  </a:lnTo>
                  <a:lnTo>
                    <a:pt x="280" y="32"/>
                  </a:lnTo>
                  <a:lnTo>
                    <a:pt x="280" y="27"/>
                  </a:lnTo>
                  <a:lnTo>
                    <a:pt x="280" y="21"/>
                  </a:lnTo>
                  <a:lnTo>
                    <a:pt x="278" y="19"/>
                  </a:lnTo>
                  <a:lnTo>
                    <a:pt x="278" y="17"/>
                  </a:lnTo>
                  <a:lnTo>
                    <a:pt x="276" y="15"/>
                  </a:lnTo>
                  <a:lnTo>
                    <a:pt x="271" y="11"/>
                  </a:lnTo>
                  <a:lnTo>
                    <a:pt x="269" y="11"/>
                  </a:lnTo>
                  <a:lnTo>
                    <a:pt x="269" y="11"/>
                  </a:lnTo>
                  <a:lnTo>
                    <a:pt x="269" y="11"/>
                  </a:lnTo>
                  <a:lnTo>
                    <a:pt x="265" y="11"/>
                  </a:lnTo>
                  <a:lnTo>
                    <a:pt x="263" y="9"/>
                  </a:lnTo>
                  <a:lnTo>
                    <a:pt x="263" y="9"/>
                  </a:lnTo>
                  <a:lnTo>
                    <a:pt x="257" y="9"/>
                  </a:lnTo>
                  <a:lnTo>
                    <a:pt x="252" y="7"/>
                  </a:lnTo>
                  <a:lnTo>
                    <a:pt x="250" y="7"/>
                  </a:lnTo>
                  <a:lnTo>
                    <a:pt x="242" y="15"/>
                  </a:lnTo>
                  <a:lnTo>
                    <a:pt x="240" y="17"/>
                  </a:lnTo>
                  <a:lnTo>
                    <a:pt x="238" y="17"/>
                  </a:lnTo>
                  <a:lnTo>
                    <a:pt x="236" y="17"/>
                  </a:lnTo>
                  <a:lnTo>
                    <a:pt x="234" y="17"/>
                  </a:lnTo>
                  <a:lnTo>
                    <a:pt x="234" y="17"/>
                  </a:lnTo>
                  <a:lnTo>
                    <a:pt x="233" y="17"/>
                  </a:lnTo>
                  <a:lnTo>
                    <a:pt x="233" y="17"/>
                  </a:lnTo>
                  <a:lnTo>
                    <a:pt x="223" y="13"/>
                  </a:lnTo>
                  <a:lnTo>
                    <a:pt x="219" y="11"/>
                  </a:lnTo>
                  <a:lnTo>
                    <a:pt x="215" y="13"/>
                  </a:lnTo>
                  <a:lnTo>
                    <a:pt x="212" y="13"/>
                  </a:lnTo>
                  <a:lnTo>
                    <a:pt x="212" y="11"/>
                  </a:lnTo>
                  <a:lnTo>
                    <a:pt x="210" y="11"/>
                  </a:lnTo>
                  <a:lnTo>
                    <a:pt x="210" y="9"/>
                  </a:lnTo>
                  <a:lnTo>
                    <a:pt x="210" y="9"/>
                  </a:lnTo>
                  <a:lnTo>
                    <a:pt x="210" y="7"/>
                  </a:lnTo>
                  <a:lnTo>
                    <a:pt x="208" y="6"/>
                  </a:lnTo>
                  <a:lnTo>
                    <a:pt x="208" y="6"/>
                  </a:lnTo>
                  <a:lnTo>
                    <a:pt x="204" y="4"/>
                  </a:lnTo>
                  <a:lnTo>
                    <a:pt x="204" y="2"/>
                  </a:lnTo>
                  <a:lnTo>
                    <a:pt x="202" y="0"/>
                  </a:lnTo>
                  <a:lnTo>
                    <a:pt x="200" y="4"/>
                  </a:lnTo>
                  <a:lnTo>
                    <a:pt x="200" y="11"/>
                  </a:lnTo>
                  <a:lnTo>
                    <a:pt x="198" y="15"/>
                  </a:lnTo>
                  <a:lnTo>
                    <a:pt x="198" y="15"/>
                  </a:lnTo>
                  <a:lnTo>
                    <a:pt x="198" y="15"/>
                  </a:lnTo>
                  <a:lnTo>
                    <a:pt x="198" y="17"/>
                  </a:lnTo>
                  <a:lnTo>
                    <a:pt x="200" y="19"/>
                  </a:lnTo>
                  <a:lnTo>
                    <a:pt x="202" y="23"/>
                  </a:lnTo>
                  <a:lnTo>
                    <a:pt x="204" y="23"/>
                  </a:lnTo>
                  <a:lnTo>
                    <a:pt x="206" y="23"/>
                  </a:lnTo>
                  <a:lnTo>
                    <a:pt x="206" y="25"/>
                  </a:lnTo>
                  <a:lnTo>
                    <a:pt x="208" y="27"/>
                  </a:lnTo>
                  <a:lnTo>
                    <a:pt x="210" y="30"/>
                  </a:lnTo>
                  <a:lnTo>
                    <a:pt x="212" y="34"/>
                  </a:lnTo>
                  <a:lnTo>
                    <a:pt x="213" y="36"/>
                  </a:lnTo>
                  <a:lnTo>
                    <a:pt x="215" y="40"/>
                  </a:lnTo>
                  <a:lnTo>
                    <a:pt x="215" y="40"/>
                  </a:lnTo>
                  <a:lnTo>
                    <a:pt x="215" y="42"/>
                  </a:lnTo>
                  <a:lnTo>
                    <a:pt x="215" y="47"/>
                  </a:lnTo>
                  <a:lnTo>
                    <a:pt x="217" y="51"/>
                  </a:lnTo>
                  <a:lnTo>
                    <a:pt x="217" y="53"/>
                  </a:lnTo>
                  <a:lnTo>
                    <a:pt x="217" y="55"/>
                  </a:lnTo>
                  <a:lnTo>
                    <a:pt x="217" y="57"/>
                  </a:lnTo>
                  <a:lnTo>
                    <a:pt x="215" y="61"/>
                  </a:lnTo>
                  <a:lnTo>
                    <a:pt x="212" y="70"/>
                  </a:lnTo>
                  <a:lnTo>
                    <a:pt x="210" y="74"/>
                  </a:lnTo>
                  <a:lnTo>
                    <a:pt x="212" y="74"/>
                  </a:lnTo>
                  <a:lnTo>
                    <a:pt x="213" y="76"/>
                  </a:lnTo>
                  <a:lnTo>
                    <a:pt x="213" y="74"/>
                  </a:lnTo>
                  <a:lnTo>
                    <a:pt x="215" y="74"/>
                  </a:lnTo>
                  <a:lnTo>
                    <a:pt x="219" y="72"/>
                  </a:lnTo>
                  <a:lnTo>
                    <a:pt x="221" y="74"/>
                  </a:lnTo>
                  <a:lnTo>
                    <a:pt x="221" y="74"/>
                  </a:lnTo>
                  <a:lnTo>
                    <a:pt x="219" y="76"/>
                  </a:lnTo>
                  <a:lnTo>
                    <a:pt x="219" y="78"/>
                  </a:lnTo>
                  <a:lnTo>
                    <a:pt x="219" y="78"/>
                  </a:lnTo>
                  <a:lnTo>
                    <a:pt x="219" y="78"/>
                  </a:lnTo>
                  <a:lnTo>
                    <a:pt x="219" y="78"/>
                  </a:lnTo>
                  <a:lnTo>
                    <a:pt x="221" y="80"/>
                  </a:lnTo>
                  <a:lnTo>
                    <a:pt x="221" y="80"/>
                  </a:lnTo>
                  <a:lnTo>
                    <a:pt x="223" y="80"/>
                  </a:lnTo>
                  <a:lnTo>
                    <a:pt x="223" y="82"/>
                  </a:lnTo>
                  <a:lnTo>
                    <a:pt x="227" y="84"/>
                  </a:lnTo>
                  <a:lnTo>
                    <a:pt x="227" y="85"/>
                  </a:lnTo>
                  <a:lnTo>
                    <a:pt x="227" y="85"/>
                  </a:lnTo>
                  <a:lnTo>
                    <a:pt x="227" y="85"/>
                  </a:lnTo>
                  <a:lnTo>
                    <a:pt x="227" y="85"/>
                  </a:lnTo>
                  <a:lnTo>
                    <a:pt x="225" y="87"/>
                  </a:lnTo>
                  <a:lnTo>
                    <a:pt x="225" y="87"/>
                  </a:lnTo>
                  <a:lnTo>
                    <a:pt x="225" y="87"/>
                  </a:lnTo>
                  <a:lnTo>
                    <a:pt x="225" y="89"/>
                  </a:lnTo>
                  <a:lnTo>
                    <a:pt x="225" y="89"/>
                  </a:lnTo>
                  <a:lnTo>
                    <a:pt x="227" y="89"/>
                  </a:lnTo>
                  <a:lnTo>
                    <a:pt x="229" y="91"/>
                  </a:lnTo>
                  <a:lnTo>
                    <a:pt x="229" y="91"/>
                  </a:lnTo>
                  <a:lnTo>
                    <a:pt x="229" y="93"/>
                  </a:lnTo>
                  <a:lnTo>
                    <a:pt x="229" y="93"/>
                  </a:lnTo>
                  <a:lnTo>
                    <a:pt x="229" y="95"/>
                  </a:lnTo>
                  <a:lnTo>
                    <a:pt x="229" y="95"/>
                  </a:lnTo>
                  <a:lnTo>
                    <a:pt x="229" y="95"/>
                  </a:lnTo>
                  <a:lnTo>
                    <a:pt x="229" y="95"/>
                  </a:lnTo>
                  <a:lnTo>
                    <a:pt x="227" y="95"/>
                  </a:lnTo>
                  <a:lnTo>
                    <a:pt x="225" y="95"/>
                  </a:lnTo>
                  <a:lnTo>
                    <a:pt x="225" y="97"/>
                  </a:lnTo>
                  <a:lnTo>
                    <a:pt x="221" y="99"/>
                  </a:lnTo>
                  <a:lnTo>
                    <a:pt x="221" y="99"/>
                  </a:lnTo>
                  <a:lnTo>
                    <a:pt x="217" y="101"/>
                  </a:lnTo>
                  <a:lnTo>
                    <a:pt x="217" y="101"/>
                  </a:lnTo>
                  <a:lnTo>
                    <a:pt x="215" y="103"/>
                  </a:lnTo>
                  <a:lnTo>
                    <a:pt x="212" y="106"/>
                  </a:lnTo>
                  <a:lnTo>
                    <a:pt x="210" y="108"/>
                  </a:lnTo>
                  <a:lnTo>
                    <a:pt x="210" y="110"/>
                  </a:lnTo>
                  <a:lnTo>
                    <a:pt x="208" y="110"/>
                  </a:lnTo>
                  <a:lnTo>
                    <a:pt x="206" y="112"/>
                  </a:lnTo>
                  <a:lnTo>
                    <a:pt x="206" y="112"/>
                  </a:lnTo>
                  <a:lnTo>
                    <a:pt x="202" y="114"/>
                  </a:lnTo>
                  <a:lnTo>
                    <a:pt x="202" y="114"/>
                  </a:lnTo>
                  <a:lnTo>
                    <a:pt x="202" y="114"/>
                  </a:lnTo>
                  <a:lnTo>
                    <a:pt x="200" y="114"/>
                  </a:lnTo>
                  <a:lnTo>
                    <a:pt x="200" y="114"/>
                  </a:lnTo>
                  <a:lnTo>
                    <a:pt x="200" y="114"/>
                  </a:lnTo>
                  <a:lnTo>
                    <a:pt x="198" y="116"/>
                  </a:lnTo>
                  <a:lnTo>
                    <a:pt x="196" y="120"/>
                  </a:lnTo>
                  <a:lnTo>
                    <a:pt x="189" y="125"/>
                  </a:lnTo>
                  <a:lnTo>
                    <a:pt x="187" y="127"/>
                  </a:lnTo>
                  <a:lnTo>
                    <a:pt x="185" y="129"/>
                  </a:lnTo>
                  <a:lnTo>
                    <a:pt x="185" y="129"/>
                  </a:lnTo>
                  <a:lnTo>
                    <a:pt x="185" y="129"/>
                  </a:lnTo>
                  <a:lnTo>
                    <a:pt x="185" y="129"/>
                  </a:lnTo>
                  <a:lnTo>
                    <a:pt x="185" y="131"/>
                  </a:lnTo>
                  <a:lnTo>
                    <a:pt x="185" y="131"/>
                  </a:lnTo>
                  <a:lnTo>
                    <a:pt x="185" y="133"/>
                  </a:lnTo>
                  <a:lnTo>
                    <a:pt x="185" y="137"/>
                  </a:lnTo>
                  <a:lnTo>
                    <a:pt x="185" y="137"/>
                  </a:lnTo>
                  <a:lnTo>
                    <a:pt x="185" y="137"/>
                  </a:lnTo>
                  <a:lnTo>
                    <a:pt x="183" y="137"/>
                  </a:lnTo>
                  <a:lnTo>
                    <a:pt x="183" y="137"/>
                  </a:lnTo>
                  <a:lnTo>
                    <a:pt x="181" y="139"/>
                  </a:lnTo>
                  <a:lnTo>
                    <a:pt x="181" y="139"/>
                  </a:lnTo>
                  <a:lnTo>
                    <a:pt x="181" y="139"/>
                  </a:lnTo>
                  <a:lnTo>
                    <a:pt x="181" y="139"/>
                  </a:lnTo>
                  <a:lnTo>
                    <a:pt x="183" y="141"/>
                  </a:lnTo>
                  <a:lnTo>
                    <a:pt x="183" y="141"/>
                  </a:lnTo>
                  <a:lnTo>
                    <a:pt x="183" y="141"/>
                  </a:lnTo>
                  <a:lnTo>
                    <a:pt x="183" y="141"/>
                  </a:lnTo>
                  <a:lnTo>
                    <a:pt x="183" y="143"/>
                  </a:lnTo>
                  <a:lnTo>
                    <a:pt x="183" y="143"/>
                  </a:lnTo>
                  <a:lnTo>
                    <a:pt x="185" y="144"/>
                  </a:lnTo>
                  <a:lnTo>
                    <a:pt x="189" y="144"/>
                  </a:lnTo>
                  <a:lnTo>
                    <a:pt x="189" y="146"/>
                  </a:lnTo>
                  <a:lnTo>
                    <a:pt x="191" y="148"/>
                  </a:lnTo>
                  <a:lnTo>
                    <a:pt x="191" y="148"/>
                  </a:lnTo>
                  <a:lnTo>
                    <a:pt x="191" y="148"/>
                  </a:lnTo>
                  <a:lnTo>
                    <a:pt x="191" y="150"/>
                  </a:lnTo>
                  <a:lnTo>
                    <a:pt x="193" y="152"/>
                  </a:lnTo>
                  <a:lnTo>
                    <a:pt x="193" y="152"/>
                  </a:lnTo>
                  <a:lnTo>
                    <a:pt x="193" y="154"/>
                  </a:lnTo>
                  <a:lnTo>
                    <a:pt x="194" y="156"/>
                  </a:lnTo>
                  <a:lnTo>
                    <a:pt x="196" y="156"/>
                  </a:lnTo>
                  <a:lnTo>
                    <a:pt x="202" y="160"/>
                  </a:lnTo>
                  <a:lnTo>
                    <a:pt x="204" y="162"/>
                  </a:lnTo>
                  <a:lnTo>
                    <a:pt x="206" y="163"/>
                  </a:lnTo>
                  <a:lnTo>
                    <a:pt x="206" y="163"/>
                  </a:lnTo>
                  <a:lnTo>
                    <a:pt x="206" y="165"/>
                  </a:lnTo>
                  <a:lnTo>
                    <a:pt x="206" y="167"/>
                  </a:lnTo>
                  <a:lnTo>
                    <a:pt x="206" y="169"/>
                  </a:lnTo>
                  <a:lnTo>
                    <a:pt x="206" y="169"/>
                  </a:lnTo>
                  <a:lnTo>
                    <a:pt x="206" y="173"/>
                  </a:lnTo>
                  <a:lnTo>
                    <a:pt x="206" y="175"/>
                  </a:lnTo>
                  <a:lnTo>
                    <a:pt x="206" y="177"/>
                  </a:lnTo>
                  <a:lnTo>
                    <a:pt x="206" y="177"/>
                  </a:lnTo>
                  <a:lnTo>
                    <a:pt x="206" y="177"/>
                  </a:lnTo>
                  <a:lnTo>
                    <a:pt x="208" y="177"/>
                  </a:lnTo>
                  <a:lnTo>
                    <a:pt x="208" y="179"/>
                  </a:lnTo>
                  <a:lnTo>
                    <a:pt x="208" y="179"/>
                  </a:lnTo>
                  <a:lnTo>
                    <a:pt x="208" y="181"/>
                  </a:lnTo>
                  <a:lnTo>
                    <a:pt x="208" y="182"/>
                  </a:lnTo>
                  <a:lnTo>
                    <a:pt x="202" y="181"/>
                  </a:lnTo>
                  <a:lnTo>
                    <a:pt x="200" y="181"/>
                  </a:lnTo>
                  <a:lnTo>
                    <a:pt x="200" y="179"/>
                  </a:lnTo>
                  <a:lnTo>
                    <a:pt x="200" y="179"/>
                  </a:lnTo>
                  <a:lnTo>
                    <a:pt x="198" y="179"/>
                  </a:lnTo>
                  <a:lnTo>
                    <a:pt x="198" y="177"/>
                  </a:lnTo>
                  <a:lnTo>
                    <a:pt x="196" y="179"/>
                  </a:lnTo>
                  <a:lnTo>
                    <a:pt x="194" y="179"/>
                  </a:lnTo>
                  <a:lnTo>
                    <a:pt x="191" y="181"/>
                  </a:lnTo>
                  <a:lnTo>
                    <a:pt x="191" y="181"/>
                  </a:lnTo>
                  <a:lnTo>
                    <a:pt x="191" y="181"/>
                  </a:lnTo>
                  <a:lnTo>
                    <a:pt x="191" y="181"/>
                  </a:lnTo>
                  <a:lnTo>
                    <a:pt x="191" y="181"/>
                  </a:lnTo>
                  <a:lnTo>
                    <a:pt x="189" y="182"/>
                  </a:lnTo>
                  <a:lnTo>
                    <a:pt x="189" y="182"/>
                  </a:lnTo>
                  <a:lnTo>
                    <a:pt x="187" y="184"/>
                  </a:lnTo>
                  <a:lnTo>
                    <a:pt x="185" y="184"/>
                  </a:lnTo>
                  <a:lnTo>
                    <a:pt x="181" y="186"/>
                  </a:lnTo>
                  <a:lnTo>
                    <a:pt x="179" y="186"/>
                  </a:lnTo>
                  <a:lnTo>
                    <a:pt x="179" y="188"/>
                  </a:lnTo>
                  <a:lnTo>
                    <a:pt x="179" y="188"/>
                  </a:lnTo>
                  <a:lnTo>
                    <a:pt x="179" y="188"/>
                  </a:lnTo>
                  <a:lnTo>
                    <a:pt x="179" y="188"/>
                  </a:lnTo>
                  <a:lnTo>
                    <a:pt x="179" y="188"/>
                  </a:lnTo>
                  <a:lnTo>
                    <a:pt x="179" y="190"/>
                  </a:lnTo>
                  <a:lnTo>
                    <a:pt x="177" y="190"/>
                  </a:lnTo>
                  <a:lnTo>
                    <a:pt x="177" y="190"/>
                  </a:lnTo>
                  <a:lnTo>
                    <a:pt x="177" y="190"/>
                  </a:lnTo>
                  <a:lnTo>
                    <a:pt x="177" y="192"/>
                  </a:lnTo>
                  <a:lnTo>
                    <a:pt x="179" y="192"/>
                  </a:lnTo>
                  <a:lnTo>
                    <a:pt x="179" y="192"/>
                  </a:lnTo>
                  <a:lnTo>
                    <a:pt x="179" y="192"/>
                  </a:lnTo>
                  <a:lnTo>
                    <a:pt x="179" y="192"/>
                  </a:lnTo>
                  <a:lnTo>
                    <a:pt x="181" y="194"/>
                  </a:lnTo>
                  <a:lnTo>
                    <a:pt x="181" y="194"/>
                  </a:lnTo>
                  <a:lnTo>
                    <a:pt x="181" y="194"/>
                  </a:lnTo>
                  <a:lnTo>
                    <a:pt x="181" y="194"/>
                  </a:lnTo>
                  <a:lnTo>
                    <a:pt x="181" y="194"/>
                  </a:lnTo>
                  <a:lnTo>
                    <a:pt x="181" y="194"/>
                  </a:lnTo>
                  <a:lnTo>
                    <a:pt x="183" y="194"/>
                  </a:lnTo>
                  <a:lnTo>
                    <a:pt x="183" y="194"/>
                  </a:lnTo>
                  <a:lnTo>
                    <a:pt x="183" y="194"/>
                  </a:lnTo>
                  <a:lnTo>
                    <a:pt x="183" y="196"/>
                  </a:lnTo>
                  <a:lnTo>
                    <a:pt x="185" y="196"/>
                  </a:lnTo>
                  <a:lnTo>
                    <a:pt x="185" y="198"/>
                  </a:lnTo>
                  <a:lnTo>
                    <a:pt x="185" y="200"/>
                  </a:lnTo>
                  <a:lnTo>
                    <a:pt x="185" y="201"/>
                  </a:lnTo>
                  <a:lnTo>
                    <a:pt x="187" y="201"/>
                  </a:lnTo>
                  <a:lnTo>
                    <a:pt x="187" y="203"/>
                  </a:lnTo>
                  <a:lnTo>
                    <a:pt x="185" y="207"/>
                  </a:lnTo>
                  <a:lnTo>
                    <a:pt x="181" y="209"/>
                  </a:lnTo>
                  <a:lnTo>
                    <a:pt x="181" y="211"/>
                  </a:lnTo>
                  <a:lnTo>
                    <a:pt x="181" y="213"/>
                  </a:lnTo>
                  <a:lnTo>
                    <a:pt x="181" y="213"/>
                  </a:lnTo>
                  <a:lnTo>
                    <a:pt x="179" y="215"/>
                  </a:lnTo>
                  <a:lnTo>
                    <a:pt x="179" y="215"/>
                  </a:lnTo>
                  <a:lnTo>
                    <a:pt x="181" y="217"/>
                  </a:lnTo>
                  <a:lnTo>
                    <a:pt x="181" y="219"/>
                  </a:lnTo>
                  <a:lnTo>
                    <a:pt x="181" y="220"/>
                  </a:lnTo>
                  <a:lnTo>
                    <a:pt x="181" y="220"/>
                  </a:lnTo>
                  <a:lnTo>
                    <a:pt x="181" y="222"/>
                  </a:lnTo>
                  <a:lnTo>
                    <a:pt x="181" y="222"/>
                  </a:lnTo>
                  <a:lnTo>
                    <a:pt x="181" y="222"/>
                  </a:lnTo>
                  <a:lnTo>
                    <a:pt x="183" y="222"/>
                  </a:lnTo>
                  <a:lnTo>
                    <a:pt x="183" y="222"/>
                  </a:lnTo>
                  <a:lnTo>
                    <a:pt x="187" y="226"/>
                  </a:lnTo>
                  <a:lnTo>
                    <a:pt x="187" y="228"/>
                  </a:lnTo>
                  <a:lnTo>
                    <a:pt x="187" y="228"/>
                  </a:lnTo>
                  <a:lnTo>
                    <a:pt x="189" y="230"/>
                  </a:lnTo>
                  <a:lnTo>
                    <a:pt x="191" y="238"/>
                  </a:lnTo>
                  <a:lnTo>
                    <a:pt x="191" y="240"/>
                  </a:lnTo>
                  <a:lnTo>
                    <a:pt x="191" y="243"/>
                  </a:lnTo>
                  <a:lnTo>
                    <a:pt x="191" y="243"/>
                  </a:lnTo>
                  <a:lnTo>
                    <a:pt x="189" y="245"/>
                  </a:lnTo>
                  <a:lnTo>
                    <a:pt x="189" y="247"/>
                  </a:lnTo>
                  <a:lnTo>
                    <a:pt x="189" y="253"/>
                  </a:lnTo>
                  <a:lnTo>
                    <a:pt x="189" y="253"/>
                  </a:lnTo>
                  <a:lnTo>
                    <a:pt x="189" y="253"/>
                  </a:lnTo>
                  <a:lnTo>
                    <a:pt x="187" y="253"/>
                  </a:lnTo>
                  <a:lnTo>
                    <a:pt x="187" y="253"/>
                  </a:lnTo>
                  <a:lnTo>
                    <a:pt x="185" y="253"/>
                  </a:lnTo>
                  <a:lnTo>
                    <a:pt x="185" y="253"/>
                  </a:lnTo>
                  <a:lnTo>
                    <a:pt x="185" y="253"/>
                  </a:lnTo>
                  <a:lnTo>
                    <a:pt x="185" y="253"/>
                  </a:lnTo>
                  <a:lnTo>
                    <a:pt x="185" y="255"/>
                  </a:lnTo>
                  <a:lnTo>
                    <a:pt x="185" y="255"/>
                  </a:lnTo>
                  <a:lnTo>
                    <a:pt x="185" y="255"/>
                  </a:lnTo>
                  <a:lnTo>
                    <a:pt x="185" y="257"/>
                  </a:lnTo>
                  <a:lnTo>
                    <a:pt x="189" y="257"/>
                  </a:lnTo>
                  <a:lnTo>
                    <a:pt x="189" y="257"/>
                  </a:lnTo>
                  <a:lnTo>
                    <a:pt x="189" y="257"/>
                  </a:lnTo>
                  <a:lnTo>
                    <a:pt x="189" y="259"/>
                  </a:lnTo>
                  <a:lnTo>
                    <a:pt x="191" y="259"/>
                  </a:lnTo>
                  <a:lnTo>
                    <a:pt x="191" y="260"/>
                  </a:lnTo>
                  <a:lnTo>
                    <a:pt x="191" y="262"/>
                  </a:lnTo>
                  <a:lnTo>
                    <a:pt x="191" y="262"/>
                  </a:lnTo>
                  <a:lnTo>
                    <a:pt x="191" y="264"/>
                  </a:lnTo>
                  <a:lnTo>
                    <a:pt x="191" y="264"/>
                  </a:lnTo>
                  <a:lnTo>
                    <a:pt x="193" y="264"/>
                  </a:lnTo>
                  <a:lnTo>
                    <a:pt x="193" y="266"/>
                  </a:lnTo>
                  <a:lnTo>
                    <a:pt x="191" y="266"/>
                  </a:lnTo>
                  <a:lnTo>
                    <a:pt x="191" y="268"/>
                  </a:lnTo>
                  <a:lnTo>
                    <a:pt x="191" y="268"/>
                  </a:lnTo>
                  <a:lnTo>
                    <a:pt x="189" y="268"/>
                  </a:lnTo>
                  <a:lnTo>
                    <a:pt x="191" y="270"/>
                  </a:lnTo>
                  <a:lnTo>
                    <a:pt x="191" y="270"/>
                  </a:lnTo>
                  <a:lnTo>
                    <a:pt x="191" y="270"/>
                  </a:lnTo>
                  <a:lnTo>
                    <a:pt x="193" y="270"/>
                  </a:lnTo>
                  <a:lnTo>
                    <a:pt x="193" y="272"/>
                  </a:lnTo>
                  <a:lnTo>
                    <a:pt x="191" y="272"/>
                  </a:lnTo>
                  <a:lnTo>
                    <a:pt x="191" y="274"/>
                  </a:lnTo>
                  <a:lnTo>
                    <a:pt x="189" y="274"/>
                  </a:lnTo>
                  <a:lnTo>
                    <a:pt x="187" y="274"/>
                  </a:lnTo>
                  <a:lnTo>
                    <a:pt x="187" y="274"/>
                  </a:lnTo>
                  <a:lnTo>
                    <a:pt x="185" y="274"/>
                  </a:lnTo>
                  <a:lnTo>
                    <a:pt x="185" y="274"/>
                  </a:lnTo>
                  <a:lnTo>
                    <a:pt x="183" y="274"/>
                  </a:lnTo>
                  <a:lnTo>
                    <a:pt x="183" y="272"/>
                  </a:lnTo>
                  <a:lnTo>
                    <a:pt x="181" y="272"/>
                  </a:lnTo>
                  <a:lnTo>
                    <a:pt x="179" y="272"/>
                  </a:lnTo>
                  <a:lnTo>
                    <a:pt x="179" y="272"/>
                  </a:lnTo>
                  <a:lnTo>
                    <a:pt x="179" y="274"/>
                  </a:lnTo>
                  <a:lnTo>
                    <a:pt x="179" y="274"/>
                  </a:lnTo>
                  <a:lnTo>
                    <a:pt x="179" y="274"/>
                  </a:lnTo>
                  <a:lnTo>
                    <a:pt x="181" y="274"/>
                  </a:lnTo>
                  <a:lnTo>
                    <a:pt x="181" y="276"/>
                  </a:lnTo>
                  <a:lnTo>
                    <a:pt x="181" y="276"/>
                  </a:lnTo>
                  <a:lnTo>
                    <a:pt x="183" y="276"/>
                  </a:lnTo>
                  <a:lnTo>
                    <a:pt x="181" y="279"/>
                  </a:lnTo>
                  <a:lnTo>
                    <a:pt x="181" y="279"/>
                  </a:lnTo>
                  <a:lnTo>
                    <a:pt x="183" y="281"/>
                  </a:lnTo>
                  <a:lnTo>
                    <a:pt x="183" y="281"/>
                  </a:lnTo>
                  <a:lnTo>
                    <a:pt x="183" y="281"/>
                  </a:lnTo>
                  <a:lnTo>
                    <a:pt x="183" y="283"/>
                  </a:lnTo>
                  <a:lnTo>
                    <a:pt x="183" y="283"/>
                  </a:lnTo>
                  <a:lnTo>
                    <a:pt x="181" y="285"/>
                  </a:lnTo>
                  <a:lnTo>
                    <a:pt x="181" y="285"/>
                  </a:lnTo>
                  <a:lnTo>
                    <a:pt x="181" y="285"/>
                  </a:lnTo>
                  <a:lnTo>
                    <a:pt x="181" y="287"/>
                  </a:lnTo>
                  <a:lnTo>
                    <a:pt x="181" y="287"/>
                  </a:lnTo>
                  <a:lnTo>
                    <a:pt x="181" y="289"/>
                  </a:lnTo>
                  <a:lnTo>
                    <a:pt x="181" y="291"/>
                  </a:lnTo>
                  <a:lnTo>
                    <a:pt x="177" y="298"/>
                  </a:lnTo>
                  <a:lnTo>
                    <a:pt x="175" y="300"/>
                  </a:lnTo>
                  <a:lnTo>
                    <a:pt x="173" y="302"/>
                  </a:lnTo>
                  <a:lnTo>
                    <a:pt x="170" y="304"/>
                  </a:lnTo>
                  <a:lnTo>
                    <a:pt x="170" y="304"/>
                  </a:lnTo>
                  <a:lnTo>
                    <a:pt x="168" y="306"/>
                  </a:lnTo>
                  <a:lnTo>
                    <a:pt x="166" y="306"/>
                  </a:lnTo>
                  <a:lnTo>
                    <a:pt x="166" y="308"/>
                  </a:lnTo>
                  <a:lnTo>
                    <a:pt x="166" y="308"/>
                  </a:lnTo>
                  <a:lnTo>
                    <a:pt x="166" y="310"/>
                  </a:lnTo>
                  <a:lnTo>
                    <a:pt x="166" y="310"/>
                  </a:lnTo>
                  <a:lnTo>
                    <a:pt x="168" y="310"/>
                  </a:lnTo>
                  <a:lnTo>
                    <a:pt x="168" y="310"/>
                  </a:lnTo>
                  <a:lnTo>
                    <a:pt x="168" y="310"/>
                  </a:lnTo>
                  <a:lnTo>
                    <a:pt x="170" y="310"/>
                  </a:lnTo>
                  <a:lnTo>
                    <a:pt x="170" y="310"/>
                  </a:lnTo>
                  <a:lnTo>
                    <a:pt x="170" y="312"/>
                  </a:lnTo>
                  <a:lnTo>
                    <a:pt x="170" y="314"/>
                  </a:lnTo>
                  <a:lnTo>
                    <a:pt x="170" y="316"/>
                  </a:lnTo>
                  <a:lnTo>
                    <a:pt x="168" y="316"/>
                  </a:lnTo>
                  <a:lnTo>
                    <a:pt x="166" y="314"/>
                  </a:lnTo>
                  <a:lnTo>
                    <a:pt x="164" y="316"/>
                  </a:lnTo>
                  <a:lnTo>
                    <a:pt x="164" y="316"/>
                  </a:lnTo>
                  <a:lnTo>
                    <a:pt x="164" y="317"/>
                  </a:lnTo>
                  <a:lnTo>
                    <a:pt x="162" y="319"/>
                  </a:lnTo>
                  <a:lnTo>
                    <a:pt x="162" y="321"/>
                  </a:lnTo>
                  <a:lnTo>
                    <a:pt x="162" y="321"/>
                  </a:lnTo>
                  <a:lnTo>
                    <a:pt x="160" y="321"/>
                  </a:lnTo>
                  <a:lnTo>
                    <a:pt x="158" y="319"/>
                  </a:lnTo>
                  <a:lnTo>
                    <a:pt x="156" y="319"/>
                  </a:lnTo>
                  <a:lnTo>
                    <a:pt x="156" y="319"/>
                  </a:lnTo>
                  <a:lnTo>
                    <a:pt x="154" y="319"/>
                  </a:lnTo>
                  <a:lnTo>
                    <a:pt x="154" y="319"/>
                  </a:lnTo>
                  <a:lnTo>
                    <a:pt x="154" y="321"/>
                  </a:lnTo>
                  <a:lnTo>
                    <a:pt x="154" y="323"/>
                  </a:lnTo>
                  <a:lnTo>
                    <a:pt x="154" y="325"/>
                  </a:lnTo>
                  <a:lnTo>
                    <a:pt x="154" y="327"/>
                  </a:lnTo>
                  <a:lnTo>
                    <a:pt x="154" y="329"/>
                  </a:lnTo>
                  <a:lnTo>
                    <a:pt x="154" y="329"/>
                  </a:lnTo>
                  <a:lnTo>
                    <a:pt x="153" y="329"/>
                  </a:lnTo>
                  <a:lnTo>
                    <a:pt x="151" y="331"/>
                  </a:lnTo>
                  <a:lnTo>
                    <a:pt x="151" y="331"/>
                  </a:lnTo>
                  <a:lnTo>
                    <a:pt x="147" y="331"/>
                  </a:lnTo>
                  <a:lnTo>
                    <a:pt x="145" y="331"/>
                  </a:lnTo>
                  <a:lnTo>
                    <a:pt x="141" y="333"/>
                  </a:lnTo>
                  <a:lnTo>
                    <a:pt x="139" y="333"/>
                  </a:lnTo>
                  <a:lnTo>
                    <a:pt x="139" y="333"/>
                  </a:lnTo>
                  <a:lnTo>
                    <a:pt x="139" y="331"/>
                  </a:lnTo>
                  <a:lnTo>
                    <a:pt x="139" y="329"/>
                  </a:lnTo>
                  <a:lnTo>
                    <a:pt x="139" y="329"/>
                  </a:lnTo>
                  <a:lnTo>
                    <a:pt x="139" y="327"/>
                  </a:lnTo>
                  <a:lnTo>
                    <a:pt x="137" y="327"/>
                  </a:lnTo>
                  <a:lnTo>
                    <a:pt x="137" y="327"/>
                  </a:lnTo>
                  <a:lnTo>
                    <a:pt x="133" y="329"/>
                  </a:lnTo>
                  <a:lnTo>
                    <a:pt x="132" y="329"/>
                  </a:lnTo>
                  <a:lnTo>
                    <a:pt x="130" y="329"/>
                  </a:lnTo>
                  <a:lnTo>
                    <a:pt x="130" y="331"/>
                  </a:lnTo>
                  <a:lnTo>
                    <a:pt x="130" y="331"/>
                  </a:lnTo>
                  <a:lnTo>
                    <a:pt x="132" y="333"/>
                  </a:lnTo>
                  <a:lnTo>
                    <a:pt x="132" y="333"/>
                  </a:lnTo>
                  <a:lnTo>
                    <a:pt x="132" y="333"/>
                  </a:lnTo>
                  <a:lnTo>
                    <a:pt x="132" y="335"/>
                  </a:lnTo>
                  <a:lnTo>
                    <a:pt x="133" y="335"/>
                  </a:lnTo>
                  <a:lnTo>
                    <a:pt x="135" y="337"/>
                  </a:lnTo>
                  <a:lnTo>
                    <a:pt x="135" y="337"/>
                  </a:lnTo>
                  <a:lnTo>
                    <a:pt x="135" y="338"/>
                  </a:lnTo>
                  <a:lnTo>
                    <a:pt x="135" y="340"/>
                  </a:lnTo>
                  <a:lnTo>
                    <a:pt x="135" y="342"/>
                  </a:lnTo>
                  <a:lnTo>
                    <a:pt x="133" y="342"/>
                  </a:lnTo>
                  <a:lnTo>
                    <a:pt x="133" y="342"/>
                  </a:lnTo>
                  <a:lnTo>
                    <a:pt x="132" y="342"/>
                  </a:lnTo>
                  <a:lnTo>
                    <a:pt x="132" y="344"/>
                  </a:lnTo>
                  <a:lnTo>
                    <a:pt x="132" y="346"/>
                  </a:lnTo>
                  <a:lnTo>
                    <a:pt x="132" y="346"/>
                  </a:lnTo>
                  <a:lnTo>
                    <a:pt x="132" y="348"/>
                  </a:lnTo>
                  <a:lnTo>
                    <a:pt x="130" y="348"/>
                  </a:lnTo>
                  <a:lnTo>
                    <a:pt x="130" y="348"/>
                  </a:lnTo>
                  <a:lnTo>
                    <a:pt x="130" y="346"/>
                  </a:lnTo>
                  <a:lnTo>
                    <a:pt x="128" y="346"/>
                  </a:lnTo>
                  <a:lnTo>
                    <a:pt x="128" y="346"/>
                  </a:lnTo>
                  <a:lnTo>
                    <a:pt x="126" y="346"/>
                  </a:lnTo>
                  <a:lnTo>
                    <a:pt x="124" y="346"/>
                  </a:lnTo>
                  <a:lnTo>
                    <a:pt x="124" y="344"/>
                  </a:lnTo>
                  <a:lnTo>
                    <a:pt x="122" y="346"/>
                  </a:lnTo>
                  <a:lnTo>
                    <a:pt x="122" y="346"/>
                  </a:lnTo>
                  <a:lnTo>
                    <a:pt x="122" y="346"/>
                  </a:lnTo>
                  <a:lnTo>
                    <a:pt x="122" y="348"/>
                  </a:lnTo>
                  <a:lnTo>
                    <a:pt x="122" y="348"/>
                  </a:lnTo>
                  <a:lnTo>
                    <a:pt x="124" y="350"/>
                  </a:lnTo>
                  <a:lnTo>
                    <a:pt x="124" y="350"/>
                  </a:lnTo>
                  <a:lnTo>
                    <a:pt x="124" y="350"/>
                  </a:lnTo>
                  <a:lnTo>
                    <a:pt x="124" y="352"/>
                  </a:lnTo>
                  <a:lnTo>
                    <a:pt x="122" y="354"/>
                  </a:lnTo>
                  <a:lnTo>
                    <a:pt x="116" y="352"/>
                  </a:lnTo>
                  <a:lnTo>
                    <a:pt x="114" y="350"/>
                  </a:lnTo>
                  <a:lnTo>
                    <a:pt x="112" y="350"/>
                  </a:lnTo>
                  <a:lnTo>
                    <a:pt x="111" y="348"/>
                  </a:lnTo>
                  <a:lnTo>
                    <a:pt x="111" y="346"/>
                  </a:lnTo>
                  <a:lnTo>
                    <a:pt x="109" y="346"/>
                  </a:lnTo>
                  <a:lnTo>
                    <a:pt x="107" y="346"/>
                  </a:lnTo>
                  <a:lnTo>
                    <a:pt x="105" y="346"/>
                  </a:lnTo>
                  <a:lnTo>
                    <a:pt x="101" y="342"/>
                  </a:lnTo>
                  <a:lnTo>
                    <a:pt x="99" y="342"/>
                  </a:lnTo>
                  <a:lnTo>
                    <a:pt x="97" y="342"/>
                  </a:lnTo>
                  <a:lnTo>
                    <a:pt x="97" y="342"/>
                  </a:lnTo>
                  <a:lnTo>
                    <a:pt x="97" y="342"/>
                  </a:lnTo>
                  <a:lnTo>
                    <a:pt x="97" y="344"/>
                  </a:lnTo>
                  <a:lnTo>
                    <a:pt x="95" y="344"/>
                  </a:lnTo>
                  <a:lnTo>
                    <a:pt x="95" y="344"/>
                  </a:lnTo>
                  <a:lnTo>
                    <a:pt x="95" y="346"/>
                  </a:lnTo>
                  <a:lnTo>
                    <a:pt x="95" y="346"/>
                  </a:lnTo>
                  <a:lnTo>
                    <a:pt x="93" y="348"/>
                  </a:lnTo>
                  <a:lnTo>
                    <a:pt x="93" y="348"/>
                  </a:lnTo>
                  <a:lnTo>
                    <a:pt x="92" y="350"/>
                  </a:lnTo>
                  <a:lnTo>
                    <a:pt x="92" y="352"/>
                  </a:lnTo>
                  <a:lnTo>
                    <a:pt x="92" y="352"/>
                  </a:lnTo>
                  <a:lnTo>
                    <a:pt x="92" y="352"/>
                  </a:lnTo>
                  <a:lnTo>
                    <a:pt x="92" y="354"/>
                  </a:lnTo>
                  <a:lnTo>
                    <a:pt x="93" y="356"/>
                  </a:lnTo>
                  <a:lnTo>
                    <a:pt x="92" y="357"/>
                  </a:lnTo>
                  <a:lnTo>
                    <a:pt x="92" y="361"/>
                  </a:lnTo>
                  <a:lnTo>
                    <a:pt x="88" y="361"/>
                  </a:lnTo>
                  <a:lnTo>
                    <a:pt x="76" y="363"/>
                  </a:lnTo>
                  <a:lnTo>
                    <a:pt x="71" y="365"/>
                  </a:lnTo>
                  <a:lnTo>
                    <a:pt x="67" y="367"/>
                  </a:lnTo>
                  <a:lnTo>
                    <a:pt x="59" y="369"/>
                  </a:lnTo>
                  <a:lnTo>
                    <a:pt x="55" y="371"/>
                  </a:lnTo>
                  <a:lnTo>
                    <a:pt x="52" y="373"/>
                  </a:lnTo>
                  <a:lnTo>
                    <a:pt x="50" y="375"/>
                  </a:lnTo>
                  <a:lnTo>
                    <a:pt x="50" y="376"/>
                  </a:lnTo>
                  <a:lnTo>
                    <a:pt x="48" y="378"/>
                  </a:lnTo>
                  <a:lnTo>
                    <a:pt x="48" y="378"/>
                  </a:lnTo>
                  <a:lnTo>
                    <a:pt x="48" y="380"/>
                  </a:lnTo>
                  <a:lnTo>
                    <a:pt x="48" y="382"/>
                  </a:lnTo>
                  <a:lnTo>
                    <a:pt x="48" y="382"/>
                  </a:lnTo>
                  <a:lnTo>
                    <a:pt x="48" y="382"/>
                  </a:lnTo>
                  <a:lnTo>
                    <a:pt x="48" y="384"/>
                  </a:lnTo>
                  <a:lnTo>
                    <a:pt x="48" y="384"/>
                  </a:lnTo>
                  <a:lnTo>
                    <a:pt x="48" y="384"/>
                  </a:lnTo>
                  <a:lnTo>
                    <a:pt x="46" y="384"/>
                  </a:lnTo>
                  <a:lnTo>
                    <a:pt x="46" y="384"/>
                  </a:lnTo>
                  <a:lnTo>
                    <a:pt x="44" y="386"/>
                  </a:lnTo>
                  <a:lnTo>
                    <a:pt x="42" y="388"/>
                  </a:lnTo>
                  <a:lnTo>
                    <a:pt x="40" y="390"/>
                  </a:lnTo>
                  <a:lnTo>
                    <a:pt x="38" y="390"/>
                  </a:lnTo>
                  <a:lnTo>
                    <a:pt x="36" y="388"/>
                  </a:lnTo>
                  <a:lnTo>
                    <a:pt x="36" y="388"/>
                  </a:lnTo>
                  <a:lnTo>
                    <a:pt x="34" y="386"/>
                  </a:lnTo>
                  <a:lnTo>
                    <a:pt x="31" y="384"/>
                  </a:lnTo>
                  <a:lnTo>
                    <a:pt x="31" y="384"/>
                  </a:lnTo>
                  <a:lnTo>
                    <a:pt x="29" y="384"/>
                  </a:lnTo>
                  <a:lnTo>
                    <a:pt x="29" y="384"/>
                  </a:lnTo>
                  <a:lnTo>
                    <a:pt x="29" y="384"/>
                  </a:lnTo>
                  <a:lnTo>
                    <a:pt x="29" y="384"/>
                  </a:lnTo>
                  <a:lnTo>
                    <a:pt x="29" y="384"/>
                  </a:lnTo>
                  <a:lnTo>
                    <a:pt x="29" y="382"/>
                  </a:lnTo>
                  <a:lnTo>
                    <a:pt x="29" y="376"/>
                  </a:lnTo>
                  <a:lnTo>
                    <a:pt x="29" y="375"/>
                  </a:lnTo>
                  <a:lnTo>
                    <a:pt x="27" y="375"/>
                  </a:lnTo>
                  <a:lnTo>
                    <a:pt x="23" y="373"/>
                  </a:lnTo>
                  <a:lnTo>
                    <a:pt x="21" y="373"/>
                  </a:lnTo>
                  <a:lnTo>
                    <a:pt x="19" y="373"/>
                  </a:lnTo>
                  <a:lnTo>
                    <a:pt x="19" y="373"/>
                  </a:lnTo>
                  <a:lnTo>
                    <a:pt x="17" y="375"/>
                  </a:lnTo>
                  <a:lnTo>
                    <a:pt x="17" y="375"/>
                  </a:lnTo>
                  <a:lnTo>
                    <a:pt x="17" y="375"/>
                  </a:lnTo>
                  <a:lnTo>
                    <a:pt x="17" y="376"/>
                  </a:lnTo>
                  <a:lnTo>
                    <a:pt x="17" y="380"/>
                  </a:lnTo>
                  <a:lnTo>
                    <a:pt x="19" y="380"/>
                  </a:lnTo>
                  <a:lnTo>
                    <a:pt x="17" y="382"/>
                  </a:lnTo>
                  <a:lnTo>
                    <a:pt x="17" y="382"/>
                  </a:lnTo>
                  <a:lnTo>
                    <a:pt x="17" y="382"/>
                  </a:lnTo>
                  <a:lnTo>
                    <a:pt x="11" y="382"/>
                  </a:lnTo>
                  <a:lnTo>
                    <a:pt x="10" y="382"/>
                  </a:lnTo>
                  <a:lnTo>
                    <a:pt x="8" y="382"/>
                  </a:lnTo>
                  <a:lnTo>
                    <a:pt x="2" y="384"/>
                  </a:lnTo>
                  <a:lnTo>
                    <a:pt x="0" y="384"/>
                  </a:lnTo>
                  <a:lnTo>
                    <a:pt x="0" y="386"/>
                  </a:lnTo>
                  <a:lnTo>
                    <a:pt x="0" y="386"/>
                  </a:lnTo>
                  <a:lnTo>
                    <a:pt x="0" y="388"/>
                  </a:lnTo>
                  <a:lnTo>
                    <a:pt x="2" y="388"/>
                  </a:lnTo>
                  <a:lnTo>
                    <a:pt x="2" y="390"/>
                  </a:lnTo>
                  <a:lnTo>
                    <a:pt x="2" y="390"/>
                  </a:lnTo>
                  <a:lnTo>
                    <a:pt x="2" y="390"/>
                  </a:lnTo>
                  <a:lnTo>
                    <a:pt x="6" y="390"/>
                  </a:lnTo>
                  <a:lnTo>
                    <a:pt x="6" y="390"/>
                  </a:lnTo>
                  <a:lnTo>
                    <a:pt x="8" y="392"/>
                  </a:lnTo>
                  <a:lnTo>
                    <a:pt x="8" y="392"/>
                  </a:lnTo>
                  <a:lnTo>
                    <a:pt x="6" y="394"/>
                  </a:lnTo>
                  <a:lnTo>
                    <a:pt x="6" y="394"/>
                  </a:lnTo>
                  <a:lnTo>
                    <a:pt x="6" y="397"/>
                  </a:lnTo>
                  <a:lnTo>
                    <a:pt x="6" y="397"/>
                  </a:lnTo>
                  <a:lnTo>
                    <a:pt x="6" y="399"/>
                  </a:lnTo>
                  <a:lnTo>
                    <a:pt x="4" y="401"/>
                  </a:lnTo>
                  <a:lnTo>
                    <a:pt x="2" y="403"/>
                  </a:lnTo>
                  <a:lnTo>
                    <a:pt x="2" y="405"/>
                  </a:lnTo>
                  <a:lnTo>
                    <a:pt x="2" y="407"/>
                  </a:lnTo>
                  <a:lnTo>
                    <a:pt x="2" y="409"/>
                  </a:lnTo>
                  <a:lnTo>
                    <a:pt x="6" y="413"/>
                  </a:lnTo>
                  <a:lnTo>
                    <a:pt x="6" y="414"/>
                  </a:lnTo>
                  <a:lnTo>
                    <a:pt x="6" y="416"/>
                  </a:lnTo>
                  <a:lnTo>
                    <a:pt x="6" y="416"/>
                  </a:lnTo>
                  <a:lnTo>
                    <a:pt x="6" y="416"/>
                  </a:lnTo>
                  <a:lnTo>
                    <a:pt x="8" y="416"/>
                  </a:lnTo>
                  <a:lnTo>
                    <a:pt x="11" y="414"/>
                  </a:lnTo>
                  <a:lnTo>
                    <a:pt x="13" y="414"/>
                  </a:lnTo>
                  <a:lnTo>
                    <a:pt x="15" y="416"/>
                  </a:lnTo>
                  <a:lnTo>
                    <a:pt x="17" y="416"/>
                  </a:lnTo>
                  <a:lnTo>
                    <a:pt x="19" y="418"/>
                  </a:lnTo>
                  <a:lnTo>
                    <a:pt x="31" y="430"/>
                  </a:lnTo>
                  <a:lnTo>
                    <a:pt x="32" y="432"/>
                  </a:lnTo>
                  <a:lnTo>
                    <a:pt x="32" y="433"/>
                  </a:lnTo>
                  <a:lnTo>
                    <a:pt x="34" y="433"/>
                  </a:lnTo>
                  <a:lnTo>
                    <a:pt x="36" y="432"/>
                  </a:lnTo>
                  <a:lnTo>
                    <a:pt x="36" y="432"/>
                  </a:lnTo>
                  <a:lnTo>
                    <a:pt x="40" y="432"/>
                  </a:lnTo>
                  <a:lnTo>
                    <a:pt x="46" y="432"/>
                  </a:lnTo>
                  <a:lnTo>
                    <a:pt x="59" y="433"/>
                  </a:lnTo>
                  <a:lnTo>
                    <a:pt x="59" y="433"/>
                  </a:lnTo>
                  <a:lnTo>
                    <a:pt x="59" y="433"/>
                  </a:lnTo>
                  <a:lnTo>
                    <a:pt x="59" y="433"/>
                  </a:lnTo>
                  <a:lnTo>
                    <a:pt x="59" y="433"/>
                  </a:lnTo>
                  <a:lnTo>
                    <a:pt x="59" y="433"/>
                  </a:lnTo>
                  <a:lnTo>
                    <a:pt x="61" y="433"/>
                  </a:lnTo>
                  <a:lnTo>
                    <a:pt x="63" y="433"/>
                  </a:lnTo>
                  <a:lnTo>
                    <a:pt x="63" y="433"/>
                  </a:lnTo>
                  <a:lnTo>
                    <a:pt x="63" y="435"/>
                  </a:lnTo>
                  <a:lnTo>
                    <a:pt x="63" y="435"/>
                  </a:lnTo>
                  <a:lnTo>
                    <a:pt x="63" y="435"/>
                  </a:lnTo>
                  <a:lnTo>
                    <a:pt x="63" y="435"/>
                  </a:lnTo>
                  <a:lnTo>
                    <a:pt x="61" y="435"/>
                  </a:lnTo>
                  <a:lnTo>
                    <a:pt x="59" y="435"/>
                  </a:lnTo>
                  <a:lnTo>
                    <a:pt x="59" y="437"/>
                  </a:lnTo>
                  <a:lnTo>
                    <a:pt x="57" y="437"/>
                  </a:lnTo>
                  <a:lnTo>
                    <a:pt x="55" y="439"/>
                  </a:lnTo>
                  <a:lnTo>
                    <a:pt x="55" y="439"/>
                  </a:lnTo>
                  <a:lnTo>
                    <a:pt x="55" y="441"/>
                  </a:lnTo>
                  <a:lnTo>
                    <a:pt x="55" y="441"/>
                  </a:lnTo>
                  <a:lnTo>
                    <a:pt x="55" y="443"/>
                  </a:lnTo>
                  <a:lnTo>
                    <a:pt x="55" y="443"/>
                  </a:lnTo>
                  <a:lnTo>
                    <a:pt x="53" y="447"/>
                  </a:lnTo>
                  <a:lnTo>
                    <a:pt x="53" y="447"/>
                  </a:lnTo>
                  <a:lnTo>
                    <a:pt x="53" y="449"/>
                  </a:lnTo>
                  <a:lnTo>
                    <a:pt x="53" y="453"/>
                  </a:lnTo>
                  <a:lnTo>
                    <a:pt x="53" y="453"/>
                  </a:lnTo>
                  <a:lnTo>
                    <a:pt x="53" y="454"/>
                  </a:lnTo>
                  <a:lnTo>
                    <a:pt x="59" y="458"/>
                  </a:lnTo>
                  <a:lnTo>
                    <a:pt x="61" y="458"/>
                  </a:lnTo>
                  <a:lnTo>
                    <a:pt x="61" y="458"/>
                  </a:lnTo>
                  <a:lnTo>
                    <a:pt x="63" y="458"/>
                  </a:lnTo>
                  <a:lnTo>
                    <a:pt x="63" y="458"/>
                  </a:lnTo>
                  <a:lnTo>
                    <a:pt x="65" y="460"/>
                  </a:lnTo>
                  <a:lnTo>
                    <a:pt x="71" y="466"/>
                  </a:lnTo>
                  <a:lnTo>
                    <a:pt x="72" y="470"/>
                  </a:lnTo>
                  <a:lnTo>
                    <a:pt x="72" y="472"/>
                  </a:lnTo>
                  <a:lnTo>
                    <a:pt x="72" y="473"/>
                  </a:lnTo>
                  <a:lnTo>
                    <a:pt x="74" y="473"/>
                  </a:lnTo>
                  <a:lnTo>
                    <a:pt x="76" y="473"/>
                  </a:lnTo>
                  <a:lnTo>
                    <a:pt x="80" y="473"/>
                  </a:lnTo>
                  <a:lnTo>
                    <a:pt x="82" y="475"/>
                  </a:lnTo>
                  <a:lnTo>
                    <a:pt x="84" y="475"/>
                  </a:lnTo>
                  <a:lnTo>
                    <a:pt x="86" y="477"/>
                  </a:lnTo>
                  <a:lnTo>
                    <a:pt x="86" y="479"/>
                  </a:lnTo>
                  <a:lnTo>
                    <a:pt x="86" y="481"/>
                  </a:lnTo>
                  <a:lnTo>
                    <a:pt x="88" y="481"/>
                  </a:lnTo>
                  <a:lnTo>
                    <a:pt x="88" y="483"/>
                  </a:lnTo>
                  <a:lnTo>
                    <a:pt x="86" y="483"/>
                  </a:lnTo>
                  <a:lnTo>
                    <a:pt x="86" y="483"/>
                  </a:lnTo>
                  <a:lnTo>
                    <a:pt x="86" y="483"/>
                  </a:lnTo>
                  <a:lnTo>
                    <a:pt x="84" y="483"/>
                  </a:lnTo>
                  <a:lnTo>
                    <a:pt x="82" y="483"/>
                  </a:lnTo>
                  <a:lnTo>
                    <a:pt x="82" y="483"/>
                  </a:lnTo>
                  <a:lnTo>
                    <a:pt x="82" y="483"/>
                  </a:lnTo>
                  <a:lnTo>
                    <a:pt x="82" y="483"/>
                  </a:lnTo>
                  <a:lnTo>
                    <a:pt x="82" y="483"/>
                  </a:lnTo>
                  <a:lnTo>
                    <a:pt x="82" y="485"/>
                  </a:lnTo>
                  <a:lnTo>
                    <a:pt x="82" y="485"/>
                  </a:lnTo>
                  <a:lnTo>
                    <a:pt x="84" y="487"/>
                  </a:lnTo>
                  <a:lnTo>
                    <a:pt x="84" y="487"/>
                  </a:lnTo>
                  <a:lnTo>
                    <a:pt x="84" y="489"/>
                  </a:lnTo>
                  <a:lnTo>
                    <a:pt x="88" y="489"/>
                  </a:lnTo>
                  <a:lnTo>
                    <a:pt x="88" y="491"/>
                  </a:lnTo>
                  <a:lnTo>
                    <a:pt x="90" y="492"/>
                  </a:lnTo>
                  <a:lnTo>
                    <a:pt x="90" y="494"/>
                  </a:lnTo>
                  <a:lnTo>
                    <a:pt x="90" y="496"/>
                  </a:lnTo>
                  <a:lnTo>
                    <a:pt x="92" y="498"/>
                  </a:lnTo>
                  <a:lnTo>
                    <a:pt x="92" y="500"/>
                  </a:lnTo>
                  <a:lnTo>
                    <a:pt x="93" y="500"/>
                  </a:lnTo>
                  <a:lnTo>
                    <a:pt x="95" y="502"/>
                  </a:lnTo>
                  <a:lnTo>
                    <a:pt x="95" y="504"/>
                  </a:lnTo>
                  <a:lnTo>
                    <a:pt x="95" y="504"/>
                  </a:lnTo>
                  <a:lnTo>
                    <a:pt x="93" y="504"/>
                  </a:lnTo>
                  <a:lnTo>
                    <a:pt x="90" y="504"/>
                  </a:lnTo>
                  <a:lnTo>
                    <a:pt x="90" y="504"/>
                  </a:lnTo>
                  <a:lnTo>
                    <a:pt x="88" y="506"/>
                  </a:lnTo>
                  <a:lnTo>
                    <a:pt x="88" y="506"/>
                  </a:lnTo>
                  <a:lnTo>
                    <a:pt x="88" y="508"/>
                  </a:lnTo>
                  <a:lnTo>
                    <a:pt x="88" y="508"/>
                  </a:lnTo>
                  <a:lnTo>
                    <a:pt x="88" y="510"/>
                  </a:lnTo>
                  <a:lnTo>
                    <a:pt x="86" y="510"/>
                  </a:lnTo>
                  <a:lnTo>
                    <a:pt x="84" y="508"/>
                  </a:lnTo>
                  <a:lnTo>
                    <a:pt x="84" y="508"/>
                  </a:lnTo>
                  <a:lnTo>
                    <a:pt x="84" y="510"/>
                  </a:lnTo>
                  <a:lnTo>
                    <a:pt x="82" y="510"/>
                  </a:lnTo>
                  <a:lnTo>
                    <a:pt x="80" y="511"/>
                  </a:lnTo>
                  <a:lnTo>
                    <a:pt x="80" y="511"/>
                  </a:lnTo>
                  <a:lnTo>
                    <a:pt x="82" y="515"/>
                  </a:lnTo>
                  <a:lnTo>
                    <a:pt x="82" y="515"/>
                  </a:lnTo>
                  <a:lnTo>
                    <a:pt x="84" y="515"/>
                  </a:lnTo>
                  <a:lnTo>
                    <a:pt x="86" y="515"/>
                  </a:lnTo>
                  <a:lnTo>
                    <a:pt x="88" y="517"/>
                  </a:lnTo>
                  <a:lnTo>
                    <a:pt x="90" y="517"/>
                  </a:lnTo>
                  <a:lnTo>
                    <a:pt x="93" y="521"/>
                  </a:lnTo>
                  <a:lnTo>
                    <a:pt x="95" y="521"/>
                  </a:lnTo>
                  <a:lnTo>
                    <a:pt x="97" y="521"/>
                  </a:lnTo>
                  <a:lnTo>
                    <a:pt x="97" y="521"/>
                  </a:lnTo>
                  <a:lnTo>
                    <a:pt x="99" y="521"/>
                  </a:lnTo>
                  <a:lnTo>
                    <a:pt x="103" y="523"/>
                  </a:lnTo>
                  <a:lnTo>
                    <a:pt x="107" y="525"/>
                  </a:lnTo>
                  <a:lnTo>
                    <a:pt x="109" y="527"/>
                  </a:lnTo>
                  <a:lnTo>
                    <a:pt x="109" y="527"/>
                  </a:lnTo>
                  <a:lnTo>
                    <a:pt x="109" y="529"/>
                  </a:lnTo>
                  <a:lnTo>
                    <a:pt x="109" y="529"/>
                  </a:lnTo>
                  <a:lnTo>
                    <a:pt x="109" y="530"/>
                  </a:lnTo>
                  <a:lnTo>
                    <a:pt x="109" y="532"/>
                  </a:lnTo>
                  <a:lnTo>
                    <a:pt x="109" y="532"/>
                  </a:lnTo>
                  <a:lnTo>
                    <a:pt x="109" y="532"/>
                  </a:lnTo>
                  <a:lnTo>
                    <a:pt x="109" y="536"/>
                  </a:lnTo>
                  <a:lnTo>
                    <a:pt x="109" y="538"/>
                  </a:lnTo>
                  <a:lnTo>
                    <a:pt x="109" y="540"/>
                  </a:lnTo>
                  <a:lnTo>
                    <a:pt x="112" y="542"/>
                  </a:lnTo>
                  <a:lnTo>
                    <a:pt x="114" y="542"/>
                  </a:lnTo>
                  <a:lnTo>
                    <a:pt x="114" y="542"/>
                  </a:lnTo>
                  <a:lnTo>
                    <a:pt x="114" y="542"/>
                  </a:lnTo>
                  <a:lnTo>
                    <a:pt x="116" y="540"/>
                  </a:lnTo>
                  <a:lnTo>
                    <a:pt x="116" y="540"/>
                  </a:lnTo>
                  <a:lnTo>
                    <a:pt x="116" y="540"/>
                  </a:lnTo>
                  <a:lnTo>
                    <a:pt x="118" y="538"/>
                  </a:lnTo>
                  <a:lnTo>
                    <a:pt x="118" y="538"/>
                  </a:lnTo>
                  <a:lnTo>
                    <a:pt x="118" y="536"/>
                  </a:lnTo>
                  <a:lnTo>
                    <a:pt x="120" y="536"/>
                  </a:lnTo>
                  <a:lnTo>
                    <a:pt x="120" y="536"/>
                  </a:lnTo>
                  <a:lnTo>
                    <a:pt x="122" y="536"/>
                  </a:lnTo>
                  <a:lnTo>
                    <a:pt x="124" y="536"/>
                  </a:lnTo>
                  <a:lnTo>
                    <a:pt x="126" y="538"/>
                  </a:lnTo>
                  <a:lnTo>
                    <a:pt x="128" y="538"/>
                  </a:lnTo>
                  <a:lnTo>
                    <a:pt x="130" y="540"/>
                  </a:lnTo>
                  <a:lnTo>
                    <a:pt x="130" y="544"/>
                  </a:lnTo>
                  <a:lnTo>
                    <a:pt x="130" y="546"/>
                  </a:lnTo>
                  <a:lnTo>
                    <a:pt x="130" y="548"/>
                  </a:lnTo>
                  <a:lnTo>
                    <a:pt x="132" y="550"/>
                  </a:lnTo>
                  <a:lnTo>
                    <a:pt x="132" y="551"/>
                  </a:lnTo>
                  <a:lnTo>
                    <a:pt x="135" y="551"/>
                  </a:lnTo>
                  <a:lnTo>
                    <a:pt x="147" y="555"/>
                  </a:lnTo>
                  <a:lnTo>
                    <a:pt x="149" y="555"/>
                  </a:lnTo>
                  <a:lnTo>
                    <a:pt x="149" y="557"/>
                  </a:lnTo>
                  <a:lnTo>
                    <a:pt x="149" y="559"/>
                  </a:lnTo>
                  <a:lnTo>
                    <a:pt x="149" y="561"/>
                  </a:lnTo>
                  <a:lnTo>
                    <a:pt x="149" y="563"/>
                  </a:lnTo>
                  <a:lnTo>
                    <a:pt x="149" y="565"/>
                  </a:lnTo>
                  <a:lnTo>
                    <a:pt x="149" y="565"/>
                  </a:lnTo>
                  <a:lnTo>
                    <a:pt x="153" y="570"/>
                  </a:lnTo>
                  <a:lnTo>
                    <a:pt x="153" y="572"/>
                  </a:lnTo>
                  <a:lnTo>
                    <a:pt x="166" y="569"/>
                  </a:lnTo>
                  <a:lnTo>
                    <a:pt x="168" y="569"/>
                  </a:lnTo>
                  <a:lnTo>
                    <a:pt x="172" y="569"/>
                  </a:lnTo>
                  <a:lnTo>
                    <a:pt x="173" y="567"/>
                  </a:lnTo>
                  <a:lnTo>
                    <a:pt x="179" y="563"/>
                  </a:lnTo>
                  <a:lnTo>
                    <a:pt x="187" y="561"/>
                  </a:lnTo>
                  <a:lnTo>
                    <a:pt x="189" y="557"/>
                  </a:lnTo>
                  <a:lnTo>
                    <a:pt x="191" y="555"/>
                  </a:lnTo>
                  <a:lnTo>
                    <a:pt x="193" y="555"/>
                  </a:lnTo>
                  <a:lnTo>
                    <a:pt x="193" y="553"/>
                  </a:lnTo>
                  <a:lnTo>
                    <a:pt x="193" y="553"/>
                  </a:lnTo>
                  <a:lnTo>
                    <a:pt x="193" y="553"/>
                  </a:lnTo>
                  <a:lnTo>
                    <a:pt x="193" y="553"/>
                  </a:lnTo>
                  <a:lnTo>
                    <a:pt x="196" y="550"/>
                  </a:lnTo>
                  <a:lnTo>
                    <a:pt x="198" y="550"/>
                  </a:lnTo>
                  <a:lnTo>
                    <a:pt x="198" y="550"/>
                  </a:lnTo>
                  <a:lnTo>
                    <a:pt x="200" y="548"/>
                  </a:lnTo>
                  <a:lnTo>
                    <a:pt x="204" y="538"/>
                  </a:lnTo>
                  <a:lnTo>
                    <a:pt x="206" y="536"/>
                  </a:lnTo>
                  <a:lnTo>
                    <a:pt x="206" y="534"/>
                  </a:lnTo>
                  <a:lnTo>
                    <a:pt x="206" y="534"/>
                  </a:lnTo>
                  <a:lnTo>
                    <a:pt x="206" y="532"/>
                  </a:lnTo>
                  <a:lnTo>
                    <a:pt x="206" y="530"/>
                  </a:lnTo>
                  <a:lnTo>
                    <a:pt x="206" y="530"/>
                  </a:lnTo>
                  <a:lnTo>
                    <a:pt x="210" y="530"/>
                  </a:lnTo>
                  <a:lnTo>
                    <a:pt x="212" y="530"/>
                  </a:lnTo>
                  <a:lnTo>
                    <a:pt x="213" y="527"/>
                  </a:lnTo>
                  <a:lnTo>
                    <a:pt x="217" y="525"/>
                  </a:lnTo>
                  <a:lnTo>
                    <a:pt x="217" y="521"/>
                  </a:lnTo>
                  <a:lnTo>
                    <a:pt x="215" y="517"/>
                  </a:lnTo>
                  <a:lnTo>
                    <a:pt x="213" y="515"/>
                  </a:lnTo>
                  <a:lnTo>
                    <a:pt x="210" y="513"/>
                  </a:lnTo>
                  <a:lnTo>
                    <a:pt x="206" y="513"/>
                  </a:lnTo>
                  <a:lnTo>
                    <a:pt x="204" y="513"/>
                  </a:lnTo>
                  <a:lnTo>
                    <a:pt x="202" y="513"/>
                  </a:lnTo>
                  <a:lnTo>
                    <a:pt x="200" y="511"/>
                  </a:lnTo>
                  <a:lnTo>
                    <a:pt x="198" y="510"/>
                  </a:lnTo>
                  <a:lnTo>
                    <a:pt x="196" y="508"/>
                  </a:lnTo>
                  <a:lnTo>
                    <a:pt x="196" y="506"/>
                  </a:lnTo>
                  <a:lnTo>
                    <a:pt x="196" y="498"/>
                  </a:lnTo>
                  <a:lnTo>
                    <a:pt x="194" y="494"/>
                  </a:lnTo>
                  <a:lnTo>
                    <a:pt x="193" y="491"/>
                  </a:lnTo>
                  <a:lnTo>
                    <a:pt x="193" y="491"/>
                  </a:lnTo>
                  <a:lnTo>
                    <a:pt x="194" y="491"/>
                  </a:lnTo>
                  <a:lnTo>
                    <a:pt x="196" y="492"/>
                  </a:lnTo>
                  <a:lnTo>
                    <a:pt x="196" y="494"/>
                  </a:lnTo>
                  <a:lnTo>
                    <a:pt x="196" y="496"/>
                  </a:lnTo>
                  <a:lnTo>
                    <a:pt x="196" y="498"/>
                  </a:lnTo>
                  <a:lnTo>
                    <a:pt x="198" y="502"/>
                  </a:lnTo>
                  <a:lnTo>
                    <a:pt x="198" y="504"/>
                  </a:lnTo>
                  <a:lnTo>
                    <a:pt x="198" y="506"/>
                  </a:lnTo>
                  <a:lnTo>
                    <a:pt x="200" y="506"/>
                  </a:lnTo>
                  <a:lnTo>
                    <a:pt x="202" y="510"/>
                  </a:lnTo>
                  <a:lnTo>
                    <a:pt x="204" y="510"/>
                  </a:lnTo>
                  <a:lnTo>
                    <a:pt x="206" y="511"/>
                  </a:lnTo>
                  <a:lnTo>
                    <a:pt x="208" y="510"/>
                  </a:lnTo>
                  <a:lnTo>
                    <a:pt x="208" y="510"/>
                  </a:lnTo>
                  <a:lnTo>
                    <a:pt x="210" y="511"/>
                  </a:lnTo>
                  <a:lnTo>
                    <a:pt x="212" y="513"/>
                  </a:lnTo>
                  <a:lnTo>
                    <a:pt x="217" y="515"/>
                  </a:lnTo>
                  <a:lnTo>
                    <a:pt x="219" y="517"/>
                  </a:lnTo>
                  <a:lnTo>
                    <a:pt x="221" y="517"/>
                  </a:lnTo>
                  <a:lnTo>
                    <a:pt x="221" y="523"/>
                  </a:lnTo>
                  <a:lnTo>
                    <a:pt x="221" y="525"/>
                  </a:lnTo>
                  <a:lnTo>
                    <a:pt x="221" y="529"/>
                  </a:lnTo>
                  <a:lnTo>
                    <a:pt x="217" y="532"/>
                  </a:lnTo>
                  <a:lnTo>
                    <a:pt x="215" y="534"/>
                  </a:lnTo>
                  <a:lnTo>
                    <a:pt x="215" y="536"/>
                  </a:lnTo>
                  <a:lnTo>
                    <a:pt x="215" y="538"/>
                  </a:lnTo>
                  <a:lnTo>
                    <a:pt x="215" y="542"/>
                  </a:lnTo>
                  <a:lnTo>
                    <a:pt x="215" y="544"/>
                  </a:lnTo>
                  <a:lnTo>
                    <a:pt x="215" y="544"/>
                  </a:lnTo>
                  <a:lnTo>
                    <a:pt x="221" y="553"/>
                  </a:lnTo>
                  <a:lnTo>
                    <a:pt x="221" y="553"/>
                  </a:lnTo>
                  <a:lnTo>
                    <a:pt x="219" y="555"/>
                  </a:lnTo>
                  <a:lnTo>
                    <a:pt x="221" y="559"/>
                  </a:lnTo>
                  <a:lnTo>
                    <a:pt x="221" y="561"/>
                  </a:lnTo>
                  <a:lnTo>
                    <a:pt x="219" y="563"/>
                  </a:lnTo>
                  <a:lnTo>
                    <a:pt x="217" y="565"/>
                  </a:lnTo>
                  <a:lnTo>
                    <a:pt x="217" y="567"/>
                  </a:lnTo>
                  <a:lnTo>
                    <a:pt x="219" y="569"/>
                  </a:lnTo>
                  <a:lnTo>
                    <a:pt x="221" y="572"/>
                  </a:lnTo>
                  <a:lnTo>
                    <a:pt x="223" y="572"/>
                  </a:lnTo>
                  <a:lnTo>
                    <a:pt x="223" y="572"/>
                  </a:lnTo>
                  <a:lnTo>
                    <a:pt x="225" y="574"/>
                  </a:lnTo>
                  <a:lnTo>
                    <a:pt x="225" y="576"/>
                  </a:lnTo>
                  <a:lnTo>
                    <a:pt x="225" y="578"/>
                  </a:lnTo>
                  <a:lnTo>
                    <a:pt x="227" y="578"/>
                  </a:lnTo>
                  <a:lnTo>
                    <a:pt x="227" y="578"/>
                  </a:lnTo>
                  <a:lnTo>
                    <a:pt x="229" y="576"/>
                  </a:lnTo>
                  <a:lnTo>
                    <a:pt x="229" y="576"/>
                  </a:lnTo>
                  <a:lnTo>
                    <a:pt x="229" y="576"/>
                  </a:lnTo>
                  <a:lnTo>
                    <a:pt x="229" y="576"/>
                  </a:lnTo>
                  <a:lnTo>
                    <a:pt x="229" y="574"/>
                  </a:lnTo>
                  <a:lnTo>
                    <a:pt x="229" y="574"/>
                  </a:lnTo>
                  <a:lnTo>
                    <a:pt x="229" y="572"/>
                  </a:lnTo>
                  <a:lnTo>
                    <a:pt x="227" y="572"/>
                  </a:lnTo>
                  <a:lnTo>
                    <a:pt x="227" y="570"/>
                  </a:lnTo>
                  <a:lnTo>
                    <a:pt x="229" y="569"/>
                  </a:lnTo>
                  <a:lnTo>
                    <a:pt x="229" y="567"/>
                  </a:lnTo>
                  <a:lnTo>
                    <a:pt x="229" y="565"/>
                  </a:lnTo>
                  <a:lnTo>
                    <a:pt x="225" y="555"/>
                  </a:lnTo>
                  <a:lnTo>
                    <a:pt x="225" y="553"/>
                  </a:lnTo>
                  <a:lnTo>
                    <a:pt x="227" y="553"/>
                  </a:lnTo>
                  <a:lnTo>
                    <a:pt x="229" y="555"/>
                  </a:lnTo>
                  <a:lnTo>
                    <a:pt x="229" y="557"/>
                  </a:lnTo>
                  <a:lnTo>
                    <a:pt x="229" y="559"/>
                  </a:lnTo>
                  <a:lnTo>
                    <a:pt x="229" y="570"/>
                  </a:lnTo>
                  <a:lnTo>
                    <a:pt x="231" y="572"/>
                  </a:lnTo>
                  <a:lnTo>
                    <a:pt x="231" y="572"/>
                  </a:lnTo>
                  <a:lnTo>
                    <a:pt x="233" y="570"/>
                  </a:lnTo>
                  <a:lnTo>
                    <a:pt x="233" y="569"/>
                  </a:lnTo>
                  <a:lnTo>
                    <a:pt x="234" y="569"/>
                  </a:lnTo>
                  <a:lnTo>
                    <a:pt x="234" y="567"/>
                  </a:lnTo>
                  <a:lnTo>
                    <a:pt x="233" y="567"/>
                  </a:lnTo>
                  <a:lnTo>
                    <a:pt x="233" y="563"/>
                  </a:lnTo>
                  <a:lnTo>
                    <a:pt x="231" y="563"/>
                  </a:lnTo>
                  <a:lnTo>
                    <a:pt x="231" y="561"/>
                  </a:lnTo>
                  <a:lnTo>
                    <a:pt x="233" y="561"/>
                  </a:lnTo>
                  <a:lnTo>
                    <a:pt x="233" y="563"/>
                  </a:lnTo>
                  <a:lnTo>
                    <a:pt x="233" y="563"/>
                  </a:lnTo>
                  <a:lnTo>
                    <a:pt x="233" y="565"/>
                  </a:lnTo>
                  <a:lnTo>
                    <a:pt x="234" y="565"/>
                  </a:lnTo>
                  <a:lnTo>
                    <a:pt x="234" y="565"/>
                  </a:lnTo>
                  <a:lnTo>
                    <a:pt x="236" y="563"/>
                  </a:lnTo>
                  <a:lnTo>
                    <a:pt x="238" y="563"/>
                  </a:lnTo>
                  <a:lnTo>
                    <a:pt x="236" y="567"/>
                  </a:lnTo>
                  <a:lnTo>
                    <a:pt x="236" y="570"/>
                  </a:lnTo>
                  <a:lnTo>
                    <a:pt x="238" y="572"/>
                  </a:lnTo>
                  <a:lnTo>
                    <a:pt x="240" y="572"/>
                  </a:lnTo>
                  <a:lnTo>
                    <a:pt x="240" y="572"/>
                  </a:lnTo>
                  <a:lnTo>
                    <a:pt x="242" y="570"/>
                  </a:lnTo>
                  <a:lnTo>
                    <a:pt x="244" y="570"/>
                  </a:lnTo>
                  <a:lnTo>
                    <a:pt x="244" y="569"/>
                  </a:lnTo>
                  <a:lnTo>
                    <a:pt x="246" y="567"/>
                  </a:lnTo>
                  <a:lnTo>
                    <a:pt x="244" y="565"/>
                  </a:lnTo>
                  <a:lnTo>
                    <a:pt x="244" y="563"/>
                  </a:lnTo>
                  <a:lnTo>
                    <a:pt x="244" y="561"/>
                  </a:lnTo>
                  <a:lnTo>
                    <a:pt x="244" y="559"/>
                  </a:lnTo>
                  <a:lnTo>
                    <a:pt x="244" y="557"/>
                  </a:lnTo>
                  <a:lnTo>
                    <a:pt x="244" y="555"/>
                  </a:lnTo>
                  <a:lnTo>
                    <a:pt x="246" y="553"/>
                  </a:lnTo>
                  <a:lnTo>
                    <a:pt x="246" y="553"/>
                  </a:lnTo>
                  <a:lnTo>
                    <a:pt x="246" y="553"/>
                  </a:lnTo>
                  <a:lnTo>
                    <a:pt x="248" y="553"/>
                  </a:lnTo>
                  <a:lnTo>
                    <a:pt x="248" y="551"/>
                  </a:lnTo>
                  <a:lnTo>
                    <a:pt x="248" y="550"/>
                  </a:lnTo>
                  <a:lnTo>
                    <a:pt x="246" y="546"/>
                  </a:lnTo>
                  <a:lnTo>
                    <a:pt x="246" y="544"/>
                  </a:lnTo>
                  <a:lnTo>
                    <a:pt x="246" y="542"/>
                  </a:lnTo>
                  <a:lnTo>
                    <a:pt x="248" y="540"/>
                  </a:lnTo>
                  <a:lnTo>
                    <a:pt x="248" y="540"/>
                  </a:lnTo>
                  <a:lnTo>
                    <a:pt x="248" y="538"/>
                  </a:lnTo>
                  <a:lnTo>
                    <a:pt x="250" y="540"/>
                  </a:lnTo>
                  <a:lnTo>
                    <a:pt x="250" y="542"/>
                  </a:lnTo>
                  <a:lnTo>
                    <a:pt x="248" y="546"/>
                  </a:lnTo>
                  <a:lnTo>
                    <a:pt x="250" y="548"/>
                  </a:lnTo>
                  <a:lnTo>
                    <a:pt x="250" y="551"/>
                  </a:lnTo>
                  <a:lnTo>
                    <a:pt x="250" y="553"/>
                  </a:lnTo>
                  <a:lnTo>
                    <a:pt x="250" y="557"/>
                  </a:lnTo>
                  <a:lnTo>
                    <a:pt x="248" y="559"/>
                  </a:lnTo>
                  <a:lnTo>
                    <a:pt x="248" y="561"/>
                  </a:lnTo>
                  <a:lnTo>
                    <a:pt x="250" y="567"/>
                  </a:lnTo>
                  <a:lnTo>
                    <a:pt x="250" y="569"/>
                  </a:lnTo>
                  <a:lnTo>
                    <a:pt x="250" y="569"/>
                  </a:lnTo>
                  <a:lnTo>
                    <a:pt x="250" y="570"/>
                  </a:lnTo>
                  <a:lnTo>
                    <a:pt x="250" y="572"/>
                  </a:lnTo>
                  <a:lnTo>
                    <a:pt x="250" y="572"/>
                  </a:lnTo>
                  <a:lnTo>
                    <a:pt x="248" y="574"/>
                  </a:lnTo>
                  <a:lnTo>
                    <a:pt x="248" y="574"/>
                  </a:lnTo>
                  <a:lnTo>
                    <a:pt x="248" y="574"/>
                  </a:lnTo>
                  <a:lnTo>
                    <a:pt x="246" y="578"/>
                  </a:lnTo>
                  <a:lnTo>
                    <a:pt x="248" y="580"/>
                  </a:lnTo>
                  <a:lnTo>
                    <a:pt x="250" y="580"/>
                  </a:lnTo>
                  <a:lnTo>
                    <a:pt x="252" y="580"/>
                  </a:lnTo>
                  <a:lnTo>
                    <a:pt x="252" y="578"/>
                  </a:lnTo>
                  <a:lnTo>
                    <a:pt x="250" y="578"/>
                  </a:lnTo>
                  <a:lnTo>
                    <a:pt x="250" y="576"/>
                  </a:lnTo>
                  <a:lnTo>
                    <a:pt x="252" y="576"/>
                  </a:lnTo>
                  <a:lnTo>
                    <a:pt x="252" y="576"/>
                  </a:lnTo>
                  <a:lnTo>
                    <a:pt x="254" y="578"/>
                  </a:lnTo>
                  <a:lnTo>
                    <a:pt x="254" y="576"/>
                  </a:lnTo>
                  <a:lnTo>
                    <a:pt x="255" y="576"/>
                  </a:lnTo>
                  <a:lnTo>
                    <a:pt x="255" y="570"/>
                  </a:lnTo>
                  <a:lnTo>
                    <a:pt x="255" y="572"/>
                  </a:lnTo>
                  <a:lnTo>
                    <a:pt x="257" y="569"/>
                  </a:lnTo>
                  <a:lnTo>
                    <a:pt x="255" y="563"/>
                  </a:lnTo>
                  <a:lnTo>
                    <a:pt x="257" y="563"/>
                  </a:lnTo>
                  <a:lnTo>
                    <a:pt x="257" y="563"/>
                  </a:lnTo>
                  <a:lnTo>
                    <a:pt x="259" y="561"/>
                  </a:lnTo>
                  <a:lnTo>
                    <a:pt x="259" y="559"/>
                  </a:lnTo>
                  <a:lnTo>
                    <a:pt x="259" y="557"/>
                  </a:lnTo>
                  <a:lnTo>
                    <a:pt x="259" y="555"/>
                  </a:lnTo>
                  <a:lnTo>
                    <a:pt x="257" y="555"/>
                  </a:lnTo>
                  <a:lnTo>
                    <a:pt x="255" y="555"/>
                  </a:lnTo>
                  <a:lnTo>
                    <a:pt x="254" y="557"/>
                  </a:lnTo>
                  <a:lnTo>
                    <a:pt x="254" y="555"/>
                  </a:lnTo>
                  <a:lnTo>
                    <a:pt x="254" y="550"/>
                  </a:lnTo>
                  <a:lnTo>
                    <a:pt x="254" y="548"/>
                  </a:lnTo>
                  <a:lnTo>
                    <a:pt x="257" y="540"/>
                  </a:lnTo>
                  <a:lnTo>
                    <a:pt x="257" y="538"/>
                  </a:lnTo>
                  <a:lnTo>
                    <a:pt x="257" y="534"/>
                  </a:lnTo>
                  <a:lnTo>
                    <a:pt x="257" y="532"/>
                  </a:lnTo>
                  <a:lnTo>
                    <a:pt x="259" y="530"/>
                  </a:lnTo>
                  <a:lnTo>
                    <a:pt x="259" y="529"/>
                  </a:lnTo>
                  <a:lnTo>
                    <a:pt x="259" y="527"/>
                  </a:lnTo>
                  <a:lnTo>
                    <a:pt x="259" y="525"/>
                  </a:lnTo>
                  <a:lnTo>
                    <a:pt x="259" y="523"/>
                  </a:lnTo>
                  <a:lnTo>
                    <a:pt x="259" y="523"/>
                  </a:lnTo>
                  <a:lnTo>
                    <a:pt x="259" y="521"/>
                  </a:lnTo>
                  <a:lnTo>
                    <a:pt x="259" y="521"/>
                  </a:lnTo>
                  <a:lnTo>
                    <a:pt x="259" y="519"/>
                  </a:lnTo>
                  <a:lnTo>
                    <a:pt x="261" y="517"/>
                  </a:lnTo>
                  <a:lnTo>
                    <a:pt x="261" y="517"/>
                  </a:lnTo>
                  <a:lnTo>
                    <a:pt x="261" y="517"/>
                  </a:lnTo>
                  <a:lnTo>
                    <a:pt x="261" y="515"/>
                  </a:lnTo>
                  <a:lnTo>
                    <a:pt x="263" y="513"/>
                  </a:lnTo>
                  <a:lnTo>
                    <a:pt x="263" y="513"/>
                  </a:lnTo>
                  <a:lnTo>
                    <a:pt x="265" y="513"/>
                  </a:lnTo>
                  <a:lnTo>
                    <a:pt x="265" y="515"/>
                  </a:lnTo>
                  <a:lnTo>
                    <a:pt x="263" y="517"/>
                  </a:lnTo>
                  <a:lnTo>
                    <a:pt x="261" y="517"/>
                  </a:lnTo>
                  <a:lnTo>
                    <a:pt x="261" y="523"/>
                  </a:lnTo>
                  <a:lnTo>
                    <a:pt x="261" y="523"/>
                  </a:lnTo>
                  <a:lnTo>
                    <a:pt x="261" y="525"/>
                  </a:lnTo>
                  <a:lnTo>
                    <a:pt x="261" y="529"/>
                  </a:lnTo>
                  <a:lnTo>
                    <a:pt x="261" y="530"/>
                  </a:lnTo>
                  <a:lnTo>
                    <a:pt x="261" y="530"/>
                  </a:lnTo>
                  <a:lnTo>
                    <a:pt x="261" y="532"/>
                  </a:lnTo>
                  <a:lnTo>
                    <a:pt x="259" y="534"/>
                  </a:lnTo>
                  <a:lnTo>
                    <a:pt x="259" y="536"/>
                  </a:lnTo>
                  <a:lnTo>
                    <a:pt x="259" y="538"/>
                  </a:lnTo>
                  <a:lnTo>
                    <a:pt x="259" y="538"/>
                  </a:lnTo>
                  <a:lnTo>
                    <a:pt x="261" y="538"/>
                  </a:lnTo>
                  <a:lnTo>
                    <a:pt x="261" y="538"/>
                  </a:lnTo>
                  <a:lnTo>
                    <a:pt x="263" y="538"/>
                  </a:lnTo>
                  <a:lnTo>
                    <a:pt x="265" y="540"/>
                  </a:lnTo>
                  <a:lnTo>
                    <a:pt x="265" y="538"/>
                  </a:lnTo>
                  <a:lnTo>
                    <a:pt x="267" y="536"/>
                  </a:lnTo>
                  <a:lnTo>
                    <a:pt x="267" y="536"/>
                  </a:lnTo>
                  <a:lnTo>
                    <a:pt x="269" y="532"/>
                  </a:lnTo>
                  <a:lnTo>
                    <a:pt x="269" y="529"/>
                  </a:lnTo>
                  <a:lnTo>
                    <a:pt x="267" y="529"/>
                  </a:lnTo>
                  <a:lnTo>
                    <a:pt x="267" y="529"/>
                  </a:lnTo>
                  <a:lnTo>
                    <a:pt x="265" y="527"/>
                  </a:lnTo>
                  <a:lnTo>
                    <a:pt x="265" y="525"/>
                  </a:lnTo>
                  <a:lnTo>
                    <a:pt x="267" y="523"/>
                  </a:lnTo>
                  <a:lnTo>
                    <a:pt x="267" y="523"/>
                  </a:lnTo>
                  <a:lnTo>
                    <a:pt x="269" y="521"/>
                  </a:lnTo>
                  <a:lnTo>
                    <a:pt x="271" y="521"/>
                  </a:lnTo>
                  <a:lnTo>
                    <a:pt x="273" y="521"/>
                  </a:lnTo>
                  <a:lnTo>
                    <a:pt x="269" y="523"/>
                  </a:lnTo>
                  <a:lnTo>
                    <a:pt x="267" y="525"/>
                  </a:lnTo>
                  <a:lnTo>
                    <a:pt x="267" y="527"/>
                  </a:lnTo>
                  <a:lnTo>
                    <a:pt x="267" y="527"/>
                  </a:lnTo>
                  <a:lnTo>
                    <a:pt x="271" y="529"/>
                  </a:lnTo>
                  <a:lnTo>
                    <a:pt x="273" y="530"/>
                  </a:lnTo>
                  <a:lnTo>
                    <a:pt x="271" y="532"/>
                  </a:lnTo>
                  <a:lnTo>
                    <a:pt x="271" y="534"/>
                  </a:lnTo>
                  <a:lnTo>
                    <a:pt x="269" y="536"/>
                  </a:lnTo>
                  <a:lnTo>
                    <a:pt x="269" y="536"/>
                  </a:lnTo>
                  <a:lnTo>
                    <a:pt x="267" y="538"/>
                  </a:lnTo>
                  <a:lnTo>
                    <a:pt x="267" y="544"/>
                  </a:lnTo>
                  <a:lnTo>
                    <a:pt x="265" y="550"/>
                  </a:lnTo>
                  <a:lnTo>
                    <a:pt x="265" y="550"/>
                  </a:lnTo>
                  <a:lnTo>
                    <a:pt x="267" y="551"/>
                  </a:lnTo>
                  <a:lnTo>
                    <a:pt x="265" y="563"/>
                  </a:lnTo>
                  <a:lnTo>
                    <a:pt x="265" y="565"/>
                  </a:lnTo>
                  <a:lnTo>
                    <a:pt x="269" y="572"/>
                  </a:lnTo>
                  <a:lnTo>
                    <a:pt x="267" y="574"/>
                  </a:lnTo>
                  <a:lnTo>
                    <a:pt x="269" y="576"/>
                  </a:lnTo>
                  <a:lnTo>
                    <a:pt x="273" y="578"/>
                  </a:lnTo>
                  <a:lnTo>
                    <a:pt x="274" y="576"/>
                  </a:lnTo>
                  <a:lnTo>
                    <a:pt x="274" y="574"/>
                  </a:lnTo>
                  <a:lnTo>
                    <a:pt x="274" y="572"/>
                  </a:lnTo>
                  <a:lnTo>
                    <a:pt x="274" y="572"/>
                  </a:lnTo>
                  <a:lnTo>
                    <a:pt x="273" y="570"/>
                  </a:lnTo>
                  <a:lnTo>
                    <a:pt x="273" y="569"/>
                  </a:lnTo>
                  <a:lnTo>
                    <a:pt x="273" y="569"/>
                  </a:lnTo>
                  <a:lnTo>
                    <a:pt x="274" y="567"/>
                  </a:lnTo>
                  <a:lnTo>
                    <a:pt x="274" y="567"/>
                  </a:lnTo>
                  <a:lnTo>
                    <a:pt x="274" y="567"/>
                  </a:lnTo>
                  <a:lnTo>
                    <a:pt x="276" y="565"/>
                  </a:lnTo>
                  <a:lnTo>
                    <a:pt x="276" y="563"/>
                  </a:lnTo>
                  <a:lnTo>
                    <a:pt x="276" y="565"/>
                  </a:lnTo>
                  <a:lnTo>
                    <a:pt x="276" y="567"/>
                  </a:lnTo>
                  <a:lnTo>
                    <a:pt x="276" y="567"/>
                  </a:lnTo>
                  <a:lnTo>
                    <a:pt x="276" y="567"/>
                  </a:lnTo>
                  <a:lnTo>
                    <a:pt x="274" y="569"/>
                  </a:lnTo>
                  <a:lnTo>
                    <a:pt x="276" y="570"/>
                  </a:lnTo>
                  <a:lnTo>
                    <a:pt x="278" y="570"/>
                  </a:lnTo>
                  <a:lnTo>
                    <a:pt x="280" y="570"/>
                  </a:lnTo>
                  <a:lnTo>
                    <a:pt x="280" y="569"/>
                  </a:lnTo>
                  <a:lnTo>
                    <a:pt x="280" y="569"/>
                  </a:lnTo>
                  <a:lnTo>
                    <a:pt x="280" y="565"/>
                  </a:lnTo>
                  <a:lnTo>
                    <a:pt x="278" y="563"/>
                  </a:lnTo>
                  <a:lnTo>
                    <a:pt x="278" y="561"/>
                  </a:lnTo>
                  <a:lnTo>
                    <a:pt x="280" y="557"/>
                  </a:lnTo>
                  <a:lnTo>
                    <a:pt x="280" y="557"/>
                  </a:lnTo>
                  <a:lnTo>
                    <a:pt x="282" y="557"/>
                  </a:lnTo>
                  <a:lnTo>
                    <a:pt x="282" y="557"/>
                  </a:lnTo>
                  <a:lnTo>
                    <a:pt x="282" y="565"/>
                  </a:lnTo>
                  <a:lnTo>
                    <a:pt x="284" y="567"/>
                  </a:lnTo>
                  <a:lnTo>
                    <a:pt x="284" y="567"/>
                  </a:lnTo>
                  <a:lnTo>
                    <a:pt x="284" y="569"/>
                  </a:lnTo>
                  <a:lnTo>
                    <a:pt x="288" y="569"/>
                  </a:lnTo>
                  <a:lnTo>
                    <a:pt x="292" y="570"/>
                  </a:lnTo>
                  <a:lnTo>
                    <a:pt x="294" y="572"/>
                  </a:lnTo>
                  <a:lnTo>
                    <a:pt x="295" y="572"/>
                  </a:lnTo>
                  <a:lnTo>
                    <a:pt x="295" y="572"/>
                  </a:lnTo>
                  <a:lnTo>
                    <a:pt x="295" y="570"/>
                  </a:lnTo>
                  <a:lnTo>
                    <a:pt x="297" y="570"/>
                  </a:lnTo>
                  <a:lnTo>
                    <a:pt x="297" y="570"/>
                  </a:lnTo>
                  <a:lnTo>
                    <a:pt x="297" y="570"/>
                  </a:lnTo>
                  <a:lnTo>
                    <a:pt x="297" y="572"/>
                  </a:lnTo>
                  <a:lnTo>
                    <a:pt x="299" y="572"/>
                  </a:lnTo>
                  <a:lnTo>
                    <a:pt x="299" y="572"/>
                  </a:lnTo>
                  <a:lnTo>
                    <a:pt x="301" y="570"/>
                  </a:lnTo>
                  <a:lnTo>
                    <a:pt x="301" y="569"/>
                  </a:lnTo>
                  <a:lnTo>
                    <a:pt x="301" y="565"/>
                  </a:lnTo>
                  <a:lnTo>
                    <a:pt x="301" y="565"/>
                  </a:lnTo>
                  <a:lnTo>
                    <a:pt x="299" y="563"/>
                  </a:lnTo>
                  <a:lnTo>
                    <a:pt x="297" y="561"/>
                  </a:lnTo>
                  <a:lnTo>
                    <a:pt x="297" y="559"/>
                  </a:lnTo>
                  <a:lnTo>
                    <a:pt x="297" y="555"/>
                  </a:lnTo>
                  <a:lnTo>
                    <a:pt x="295" y="548"/>
                  </a:lnTo>
                  <a:lnTo>
                    <a:pt x="294" y="544"/>
                  </a:lnTo>
                  <a:lnTo>
                    <a:pt x="292" y="542"/>
                  </a:lnTo>
                  <a:lnTo>
                    <a:pt x="290" y="542"/>
                  </a:lnTo>
                  <a:lnTo>
                    <a:pt x="288" y="542"/>
                  </a:lnTo>
                  <a:lnTo>
                    <a:pt x="286" y="540"/>
                  </a:lnTo>
                  <a:lnTo>
                    <a:pt x="286" y="538"/>
                  </a:lnTo>
                  <a:lnTo>
                    <a:pt x="286" y="536"/>
                  </a:lnTo>
                  <a:lnTo>
                    <a:pt x="286" y="534"/>
                  </a:lnTo>
                  <a:lnTo>
                    <a:pt x="288" y="534"/>
                  </a:lnTo>
                  <a:lnTo>
                    <a:pt x="288" y="536"/>
                  </a:lnTo>
                  <a:lnTo>
                    <a:pt x="288" y="538"/>
                  </a:lnTo>
                  <a:lnTo>
                    <a:pt x="288" y="540"/>
                  </a:lnTo>
                  <a:lnTo>
                    <a:pt x="290" y="540"/>
                  </a:lnTo>
                  <a:lnTo>
                    <a:pt x="294" y="542"/>
                  </a:lnTo>
                  <a:lnTo>
                    <a:pt x="295" y="542"/>
                  </a:lnTo>
                  <a:lnTo>
                    <a:pt x="295" y="542"/>
                  </a:lnTo>
                  <a:lnTo>
                    <a:pt x="295" y="540"/>
                  </a:lnTo>
                  <a:lnTo>
                    <a:pt x="295" y="540"/>
                  </a:lnTo>
                  <a:lnTo>
                    <a:pt x="297" y="540"/>
                  </a:lnTo>
                  <a:lnTo>
                    <a:pt x="299" y="540"/>
                  </a:lnTo>
                  <a:lnTo>
                    <a:pt x="299" y="536"/>
                  </a:lnTo>
                  <a:lnTo>
                    <a:pt x="299" y="530"/>
                  </a:lnTo>
                  <a:lnTo>
                    <a:pt x="299" y="529"/>
                  </a:lnTo>
                  <a:lnTo>
                    <a:pt x="297" y="527"/>
                  </a:lnTo>
                  <a:lnTo>
                    <a:pt x="297" y="525"/>
                  </a:lnTo>
                  <a:lnTo>
                    <a:pt x="297" y="523"/>
                  </a:lnTo>
                  <a:lnTo>
                    <a:pt x="297" y="523"/>
                  </a:lnTo>
                  <a:lnTo>
                    <a:pt x="297" y="521"/>
                  </a:lnTo>
                  <a:lnTo>
                    <a:pt x="297" y="519"/>
                  </a:lnTo>
                  <a:lnTo>
                    <a:pt x="299" y="521"/>
                  </a:lnTo>
                  <a:lnTo>
                    <a:pt x="299" y="521"/>
                  </a:lnTo>
                  <a:lnTo>
                    <a:pt x="299" y="521"/>
                  </a:lnTo>
                  <a:lnTo>
                    <a:pt x="299" y="521"/>
                  </a:lnTo>
                  <a:lnTo>
                    <a:pt x="301" y="517"/>
                  </a:lnTo>
                  <a:lnTo>
                    <a:pt x="301" y="515"/>
                  </a:lnTo>
                  <a:lnTo>
                    <a:pt x="301" y="513"/>
                  </a:lnTo>
                  <a:lnTo>
                    <a:pt x="299" y="511"/>
                  </a:lnTo>
                  <a:lnTo>
                    <a:pt x="295" y="508"/>
                  </a:lnTo>
                  <a:lnTo>
                    <a:pt x="295" y="504"/>
                  </a:lnTo>
                  <a:lnTo>
                    <a:pt x="295" y="504"/>
                  </a:lnTo>
                  <a:lnTo>
                    <a:pt x="294" y="502"/>
                  </a:lnTo>
                  <a:lnTo>
                    <a:pt x="294" y="500"/>
                  </a:lnTo>
                  <a:lnTo>
                    <a:pt x="294" y="494"/>
                  </a:lnTo>
                  <a:lnTo>
                    <a:pt x="294" y="494"/>
                  </a:lnTo>
                  <a:lnTo>
                    <a:pt x="294" y="492"/>
                  </a:lnTo>
                  <a:lnTo>
                    <a:pt x="294" y="491"/>
                  </a:lnTo>
                  <a:lnTo>
                    <a:pt x="294" y="491"/>
                  </a:lnTo>
                  <a:lnTo>
                    <a:pt x="294" y="489"/>
                  </a:lnTo>
                  <a:lnTo>
                    <a:pt x="292" y="485"/>
                  </a:lnTo>
                  <a:lnTo>
                    <a:pt x="292" y="481"/>
                  </a:lnTo>
                  <a:lnTo>
                    <a:pt x="290" y="479"/>
                  </a:lnTo>
                  <a:lnTo>
                    <a:pt x="288" y="479"/>
                  </a:lnTo>
                  <a:lnTo>
                    <a:pt x="290" y="477"/>
                  </a:lnTo>
                  <a:lnTo>
                    <a:pt x="290" y="475"/>
                  </a:lnTo>
                  <a:lnTo>
                    <a:pt x="290" y="472"/>
                  </a:lnTo>
                  <a:lnTo>
                    <a:pt x="288" y="470"/>
                  </a:lnTo>
                  <a:lnTo>
                    <a:pt x="288" y="468"/>
                  </a:lnTo>
                  <a:lnTo>
                    <a:pt x="288" y="466"/>
                  </a:lnTo>
                  <a:lnTo>
                    <a:pt x="286" y="464"/>
                  </a:lnTo>
                  <a:lnTo>
                    <a:pt x="286" y="462"/>
                  </a:lnTo>
                  <a:lnTo>
                    <a:pt x="286" y="460"/>
                  </a:lnTo>
                  <a:lnTo>
                    <a:pt x="286" y="458"/>
                  </a:lnTo>
                  <a:lnTo>
                    <a:pt x="288" y="456"/>
                  </a:lnTo>
                  <a:lnTo>
                    <a:pt x="288" y="454"/>
                  </a:lnTo>
                  <a:lnTo>
                    <a:pt x="288" y="454"/>
                  </a:lnTo>
                  <a:lnTo>
                    <a:pt x="288" y="453"/>
                  </a:lnTo>
                  <a:lnTo>
                    <a:pt x="290" y="451"/>
                  </a:lnTo>
                  <a:lnTo>
                    <a:pt x="288" y="449"/>
                  </a:lnTo>
                  <a:lnTo>
                    <a:pt x="288" y="447"/>
                  </a:lnTo>
                  <a:lnTo>
                    <a:pt x="286" y="447"/>
                  </a:lnTo>
                  <a:lnTo>
                    <a:pt x="284" y="445"/>
                  </a:lnTo>
                  <a:lnTo>
                    <a:pt x="282" y="441"/>
                  </a:lnTo>
                  <a:lnTo>
                    <a:pt x="280" y="439"/>
                  </a:lnTo>
                  <a:lnTo>
                    <a:pt x="278" y="437"/>
                  </a:lnTo>
                  <a:lnTo>
                    <a:pt x="278" y="435"/>
                  </a:lnTo>
                  <a:lnTo>
                    <a:pt x="278" y="433"/>
                  </a:lnTo>
                  <a:lnTo>
                    <a:pt x="280" y="432"/>
                  </a:lnTo>
                  <a:lnTo>
                    <a:pt x="280" y="426"/>
                  </a:lnTo>
                  <a:lnTo>
                    <a:pt x="282" y="424"/>
                  </a:lnTo>
                  <a:lnTo>
                    <a:pt x="286" y="418"/>
                  </a:lnTo>
                  <a:lnTo>
                    <a:pt x="288" y="416"/>
                  </a:lnTo>
                  <a:lnTo>
                    <a:pt x="290" y="414"/>
                  </a:lnTo>
                  <a:lnTo>
                    <a:pt x="290" y="414"/>
                  </a:lnTo>
                  <a:lnTo>
                    <a:pt x="290" y="413"/>
                  </a:lnTo>
                  <a:lnTo>
                    <a:pt x="290" y="413"/>
                  </a:lnTo>
                  <a:lnTo>
                    <a:pt x="288" y="413"/>
                  </a:lnTo>
                  <a:lnTo>
                    <a:pt x="286" y="413"/>
                  </a:lnTo>
                  <a:lnTo>
                    <a:pt x="286" y="413"/>
                  </a:lnTo>
                  <a:lnTo>
                    <a:pt x="278" y="411"/>
                  </a:lnTo>
                  <a:lnTo>
                    <a:pt x="278" y="409"/>
                  </a:lnTo>
                  <a:lnTo>
                    <a:pt x="276" y="409"/>
                  </a:lnTo>
                  <a:lnTo>
                    <a:pt x="274" y="411"/>
                  </a:lnTo>
                  <a:lnTo>
                    <a:pt x="274" y="411"/>
                  </a:lnTo>
                  <a:lnTo>
                    <a:pt x="274" y="411"/>
                  </a:lnTo>
                  <a:lnTo>
                    <a:pt x="273" y="411"/>
                  </a:lnTo>
                  <a:lnTo>
                    <a:pt x="267" y="409"/>
                  </a:lnTo>
                  <a:lnTo>
                    <a:pt x="265" y="409"/>
                  </a:lnTo>
                  <a:lnTo>
                    <a:pt x="265" y="407"/>
                  </a:lnTo>
                  <a:lnTo>
                    <a:pt x="265" y="403"/>
                  </a:lnTo>
                  <a:lnTo>
                    <a:pt x="265" y="401"/>
                  </a:lnTo>
                  <a:lnTo>
                    <a:pt x="269" y="399"/>
                  </a:lnTo>
                  <a:lnTo>
                    <a:pt x="273" y="386"/>
                  </a:lnTo>
                  <a:lnTo>
                    <a:pt x="273" y="384"/>
                  </a:lnTo>
                  <a:lnTo>
                    <a:pt x="271" y="384"/>
                  </a:lnTo>
                  <a:lnTo>
                    <a:pt x="271" y="384"/>
                  </a:lnTo>
                  <a:lnTo>
                    <a:pt x="269" y="386"/>
                  </a:lnTo>
                  <a:lnTo>
                    <a:pt x="269" y="386"/>
                  </a:lnTo>
                  <a:lnTo>
                    <a:pt x="267" y="384"/>
                  </a:lnTo>
                  <a:lnTo>
                    <a:pt x="265" y="384"/>
                  </a:lnTo>
                  <a:lnTo>
                    <a:pt x="263" y="382"/>
                  </a:lnTo>
                  <a:lnTo>
                    <a:pt x="261" y="380"/>
                  </a:lnTo>
                  <a:lnTo>
                    <a:pt x="259" y="376"/>
                  </a:lnTo>
                  <a:lnTo>
                    <a:pt x="257" y="375"/>
                  </a:lnTo>
                  <a:lnTo>
                    <a:pt x="257" y="375"/>
                  </a:lnTo>
                  <a:lnTo>
                    <a:pt x="255" y="375"/>
                  </a:lnTo>
                  <a:lnTo>
                    <a:pt x="254" y="375"/>
                  </a:lnTo>
                  <a:lnTo>
                    <a:pt x="254" y="373"/>
                  </a:lnTo>
                  <a:lnTo>
                    <a:pt x="254" y="373"/>
                  </a:lnTo>
                  <a:lnTo>
                    <a:pt x="254" y="371"/>
                  </a:lnTo>
                  <a:lnTo>
                    <a:pt x="254" y="371"/>
                  </a:lnTo>
                  <a:lnTo>
                    <a:pt x="254" y="371"/>
                  </a:lnTo>
                  <a:lnTo>
                    <a:pt x="252" y="369"/>
                  </a:lnTo>
                  <a:lnTo>
                    <a:pt x="252" y="369"/>
                  </a:lnTo>
                  <a:lnTo>
                    <a:pt x="252" y="369"/>
                  </a:lnTo>
                  <a:lnTo>
                    <a:pt x="254" y="359"/>
                  </a:lnTo>
                  <a:lnTo>
                    <a:pt x="254" y="357"/>
                  </a:lnTo>
                  <a:lnTo>
                    <a:pt x="252" y="357"/>
                  </a:lnTo>
                  <a:lnTo>
                    <a:pt x="252" y="356"/>
                  </a:lnTo>
                  <a:lnTo>
                    <a:pt x="254" y="354"/>
                  </a:lnTo>
                  <a:lnTo>
                    <a:pt x="254" y="352"/>
                  </a:lnTo>
                  <a:lnTo>
                    <a:pt x="255" y="352"/>
                  </a:lnTo>
                  <a:lnTo>
                    <a:pt x="255" y="350"/>
                  </a:lnTo>
                  <a:lnTo>
                    <a:pt x="255" y="350"/>
                  </a:lnTo>
                  <a:lnTo>
                    <a:pt x="254" y="348"/>
                  </a:lnTo>
                  <a:lnTo>
                    <a:pt x="255" y="348"/>
                  </a:lnTo>
                  <a:lnTo>
                    <a:pt x="255" y="346"/>
                  </a:lnTo>
                  <a:lnTo>
                    <a:pt x="257" y="346"/>
                  </a:lnTo>
                  <a:lnTo>
                    <a:pt x="259" y="346"/>
                  </a:lnTo>
                  <a:lnTo>
                    <a:pt x="261" y="346"/>
                  </a:lnTo>
                  <a:lnTo>
                    <a:pt x="263" y="344"/>
                  </a:lnTo>
                  <a:lnTo>
                    <a:pt x="267" y="342"/>
                  </a:lnTo>
                  <a:lnTo>
                    <a:pt x="267" y="340"/>
                  </a:lnTo>
                  <a:lnTo>
                    <a:pt x="267" y="338"/>
                  </a:lnTo>
                  <a:lnTo>
                    <a:pt x="267" y="337"/>
                  </a:lnTo>
                  <a:lnTo>
                    <a:pt x="267" y="335"/>
                  </a:lnTo>
                  <a:lnTo>
                    <a:pt x="267" y="333"/>
                  </a:lnTo>
                  <a:lnTo>
                    <a:pt x="267" y="331"/>
                  </a:lnTo>
                  <a:lnTo>
                    <a:pt x="269" y="331"/>
                  </a:lnTo>
                  <a:lnTo>
                    <a:pt x="269" y="329"/>
                  </a:lnTo>
                  <a:lnTo>
                    <a:pt x="267" y="329"/>
                  </a:lnTo>
                  <a:lnTo>
                    <a:pt x="265" y="327"/>
                  </a:lnTo>
                  <a:lnTo>
                    <a:pt x="265" y="325"/>
                  </a:lnTo>
                  <a:lnTo>
                    <a:pt x="263" y="325"/>
                  </a:lnTo>
                  <a:lnTo>
                    <a:pt x="263" y="323"/>
                  </a:lnTo>
                  <a:lnTo>
                    <a:pt x="265" y="321"/>
                  </a:lnTo>
                  <a:lnTo>
                    <a:pt x="265" y="321"/>
                  </a:lnTo>
                  <a:lnTo>
                    <a:pt x="265" y="317"/>
                  </a:lnTo>
                  <a:lnTo>
                    <a:pt x="265" y="317"/>
                  </a:lnTo>
                  <a:lnTo>
                    <a:pt x="265" y="316"/>
                  </a:lnTo>
                  <a:lnTo>
                    <a:pt x="265" y="316"/>
                  </a:lnTo>
                  <a:lnTo>
                    <a:pt x="267" y="314"/>
                  </a:lnTo>
                  <a:lnTo>
                    <a:pt x="269" y="314"/>
                  </a:lnTo>
                  <a:lnTo>
                    <a:pt x="269" y="314"/>
                  </a:lnTo>
                  <a:lnTo>
                    <a:pt x="269" y="314"/>
                  </a:lnTo>
                  <a:lnTo>
                    <a:pt x="271" y="312"/>
                  </a:lnTo>
                  <a:lnTo>
                    <a:pt x="271" y="310"/>
                  </a:lnTo>
                  <a:lnTo>
                    <a:pt x="271" y="310"/>
                  </a:lnTo>
                  <a:lnTo>
                    <a:pt x="271" y="308"/>
                  </a:lnTo>
                  <a:lnTo>
                    <a:pt x="271" y="308"/>
                  </a:lnTo>
                  <a:lnTo>
                    <a:pt x="269" y="304"/>
                  </a:lnTo>
                  <a:lnTo>
                    <a:pt x="267" y="300"/>
                  </a:lnTo>
                  <a:lnTo>
                    <a:pt x="265" y="298"/>
                  </a:lnTo>
                  <a:lnTo>
                    <a:pt x="263" y="298"/>
                  </a:lnTo>
                  <a:lnTo>
                    <a:pt x="261" y="300"/>
                  </a:lnTo>
                  <a:lnTo>
                    <a:pt x="259" y="302"/>
                  </a:lnTo>
                  <a:lnTo>
                    <a:pt x="257" y="304"/>
                  </a:lnTo>
                  <a:lnTo>
                    <a:pt x="254" y="302"/>
                  </a:lnTo>
                  <a:lnTo>
                    <a:pt x="248" y="302"/>
                  </a:lnTo>
                  <a:lnTo>
                    <a:pt x="246" y="300"/>
                  </a:lnTo>
                  <a:lnTo>
                    <a:pt x="238" y="295"/>
                  </a:lnTo>
                  <a:lnTo>
                    <a:pt x="213" y="283"/>
                  </a:lnTo>
                  <a:lnTo>
                    <a:pt x="212" y="281"/>
                  </a:lnTo>
                  <a:lnTo>
                    <a:pt x="212" y="281"/>
                  </a:lnTo>
                  <a:lnTo>
                    <a:pt x="210" y="279"/>
                  </a:lnTo>
                  <a:lnTo>
                    <a:pt x="210" y="279"/>
                  </a:lnTo>
                  <a:lnTo>
                    <a:pt x="210" y="279"/>
                  </a:lnTo>
                  <a:lnTo>
                    <a:pt x="210" y="278"/>
                  </a:lnTo>
                  <a:lnTo>
                    <a:pt x="210" y="274"/>
                  </a:lnTo>
                  <a:lnTo>
                    <a:pt x="210" y="272"/>
                  </a:lnTo>
                  <a:lnTo>
                    <a:pt x="208" y="270"/>
                  </a:lnTo>
                  <a:lnTo>
                    <a:pt x="206" y="268"/>
                  </a:lnTo>
                  <a:lnTo>
                    <a:pt x="206" y="268"/>
                  </a:lnTo>
                  <a:lnTo>
                    <a:pt x="204" y="268"/>
                  </a:lnTo>
                  <a:lnTo>
                    <a:pt x="204" y="264"/>
                  </a:lnTo>
                  <a:lnTo>
                    <a:pt x="204" y="262"/>
                  </a:lnTo>
                  <a:lnTo>
                    <a:pt x="206" y="260"/>
                  </a:lnTo>
                  <a:lnTo>
                    <a:pt x="206" y="257"/>
                  </a:lnTo>
                  <a:lnTo>
                    <a:pt x="208" y="257"/>
                  </a:lnTo>
                  <a:lnTo>
                    <a:pt x="208" y="257"/>
                  </a:lnTo>
                  <a:lnTo>
                    <a:pt x="210" y="255"/>
                  </a:lnTo>
                  <a:lnTo>
                    <a:pt x="210" y="253"/>
                  </a:lnTo>
                  <a:lnTo>
                    <a:pt x="210" y="253"/>
                  </a:lnTo>
                  <a:lnTo>
                    <a:pt x="210" y="251"/>
                  </a:lnTo>
                  <a:lnTo>
                    <a:pt x="212" y="251"/>
                  </a:lnTo>
                  <a:lnTo>
                    <a:pt x="212" y="251"/>
                  </a:lnTo>
                  <a:lnTo>
                    <a:pt x="213" y="249"/>
                  </a:lnTo>
                  <a:lnTo>
                    <a:pt x="213" y="247"/>
                  </a:lnTo>
                  <a:lnTo>
                    <a:pt x="213" y="245"/>
                  </a:lnTo>
                  <a:lnTo>
                    <a:pt x="213" y="241"/>
                  </a:lnTo>
                  <a:lnTo>
                    <a:pt x="212" y="241"/>
                  </a:lnTo>
                  <a:lnTo>
                    <a:pt x="212" y="241"/>
                  </a:lnTo>
                  <a:lnTo>
                    <a:pt x="212" y="240"/>
                  </a:lnTo>
                  <a:lnTo>
                    <a:pt x="217" y="238"/>
                  </a:lnTo>
                  <a:lnTo>
                    <a:pt x="219" y="238"/>
                  </a:lnTo>
                  <a:lnTo>
                    <a:pt x="219" y="238"/>
                  </a:lnTo>
                  <a:lnTo>
                    <a:pt x="221" y="238"/>
                  </a:lnTo>
                  <a:lnTo>
                    <a:pt x="223" y="240"/>
                  </a:lnTo>
                  <a:lnTo>
                    <a:pt x="223" y="241"/>
                  </a:lnTo>
                  <a:lnTo>
                    <a:pt x="223" y="243"/>
                  </a:lnTo>
                  <a:lnTo>
                    <a:pt x="225" y="243"/>
                  </a:lnTo>
                  <a:lnTo>
                    <a:pt x="229" y="245"/>
                  </a:lnTo>
                  <a:lnTo>
                    <a:pt x="231" y="245"/>
                  </a:lnTo>
                  <a:lnTo>
                    <a:pt x="231" y="245"/>
                  </a:lnTo>
                  <a:lnTo>
                    <a:pt x="233" y="241"/>
                  </a:lnTo>
                  <a:lnTo>
                    <a:pt x="236" y="238"/>
                  </a:lnTo>
                  <a:lnTo>
                    <a:pt x="236" y="236"/>
                  </a:lnTo>
                  <a:lnTo>
                    <a:pt x="238" y="232"/>
                  </a:lnTo>
                  <a:lnTo>
                    <a:pt x="240" y="230"/>
                  </a:lnTo>
                  <a:lnTo>
                    <a:pt x="240" y="226"/>
                  </a:lnTo>
                  <a:lnTo>
                    <a:pt x="242" y="220"/>
                  </a:lnTo>
                  <a:lnTo>
                    <a:pt x="242" y="215"/>
                  </a:lnTo>
                  <a:lnTo>
                    <a:pt x="242" y="213"/>
                  </a:lnTo>
                  <a:lnTo>
                    <a:pt x="246" y="211"/>
                  </a:lnTo>
                  <a:lnTo>
                    <a:pt x="246" y="213"/>
                  </a:lnTo>
                  <a:lnTo>
                    <a:pt x="250" y="213"/>
                  </a:lnTo>
                  <a:lnTo>
                    <a:pt x="252" y="215"/>
                  </a:lnTo>
                  <a:lnTo>
                    <a:pt x="254" y="215"/>
                  </a:lnTo>
                  <a:lnTo>
                    <a:pt x="254" y="215"/>
                  </a:lnTo>
                  <a:lnTo>
                    <a:pt x="254" y="215"/>
                  </a:lnTo>
                  <a:lnTo>
                    <a:pt x="255" y="213"/>
                  </a:lnTo>
                  <a:lnTo>
                    <a:pt x="255" y="213"/>
                  </a:lnTo>
                  <a:lnTo>
                    <a:pt x="257" y="213"/>
                  </a:lnTo>
                  <a:lnTo>
                    <a:pt x="259" y="213"/>
                  </a:lnTo>
                  <a:lnTo>
                    <a:pt x="263" y="213"/>
                  </a:lnTo>
                  <a:lnTo>
                    <a:pt x="269" y="215"/>
                  </a:lnTo>
                  <a:lnTo>
                    <a:pt x="274" y="215"/>
                  </a:lnTo>
                  <a:lnTo>
                    <a:pt x="274" y="215"/>
                  </a:lnTo>
                  <a:lnTo>
                    <a:pt x="276" y="213"/>
                  </a:lnTo>
                  <a:lnTo>
                    <a:pt x="276" y="211"/>
                  </a:lnTo>
                  <a:lnTo>
                    <a:pt x="276" y="211"/>
                  </a:lnTo>
                  <a:lnTo>
                    <a:pt x="278" y="211"/>
                  </a:lnTo>
                  <a:lnTo>
                    <a:pt x="278" y="213"/>
                  </a:lnTo>
                  <a:lnTo>
                    <a:pt x="284" y="215"/>
                  </a:lnTo>
                  <a:lnTo>
                    <a:pt x="286" y="215"/>
                  </a:lnTo>
                  <a:lnTo>
                    <a:pt x="286" y="213"/>
                  </a:lnTo>
                  <a:lnTo>
                    <a:pt x="288" y="213"/>
                  </a:lnTo>
                  <a:lnTo>
                    <a:pt x="288" y="211"/>
                  </a:lnTo>
                  <a:lnTo>
                    <a:pt x="288" y="209"/>
                  </a:lnTo>
                  <a:lnTo>
                    <a:pt x="288" y="209"/>
                  </a:lnTo>
                  <a:lnTo>
                    <a:pt x="288" y="207"/>
                  </a:lnTo>
                  <a:lnTo>
                    <a:pt x="292" y="205"/>
                  </a:lnTo>
                  <a:lnTo>
                    <a:pt x="292" y="203"/>
                  </a:lnTo>
                  <a:lnTo>
                    <a:pt x="292" y="203"/>
                  </a:lnTo>
                  <a:lnTo>
                    <a:pt x="292" y="201"/>
                  </a:lnTo>
                  <a:lnTo>
                    <a:pt x="292" y="201"/>
                  </a:lnTo>
                  <a:lnTo>
                    <a:pt x="288" y="201"/>
                  </a:lnTo>
                  <a:lnTo>
                    <a:pt x="284" y="201"/>
                  </a:lnTo>
                  <a:lnTo>
                    <a:pt x="284" y="200"/>
                  </a:lnTo>
                  <a:lnTo>
                    <a:pt x="282" y="200"/>
                  </a:lnTo>
                  <a:lnTo>
                    <a:pt x="280" y="198"/>
                  </a:lnTo>
                  <a:lnTo>
                    <a:pt x="280" y="198"/>
                  </a:lnTo>
                  <a:lnTo>
                    <a:pt x="278" y="198"/>
                  </a:lnTo>
                  <a:lnTo>
                    <a:pt x="276" y="196"/>
                  </a:lnTo>
                  <a:lnTo>
                    <a:pt x="276" y="194"/>
                  </a:lnTo>
                  <a:lnTo>
                    <a:pt x="276" y="194"/>
                  </a:lnTo>
                  <a:lnTo>
                    <a:pt x="276" y="192"/>
                  </a:lnTo>
                  <a:lnTo>
                    <a:pt x="274" y="192"/>
                  </a:lnTo>
                  <a:lnTo>
                    <a:pt x="274" y="190"/>
                  </a:lnTo>
                  <a:lnTo>
                    <a:pt x="276" y="186"/>
                  </a:lnTo>
                  <a:lnTo>
                    <a:pt x="276" y="184"/>
                  </a:lnTo>
                  <a:lnTo>
                    <a:pt x="276" y="184"/>
                  </a:lnTo>
                  <a:lnTo>
                    <a:pt x="274" y="182"/>
                  </a:lnTo>
                  <a:lnTo>
                    <a:pt x="274" y="181"/>
                  </a:lnTo>
                  <a:lnTo>
                    <a:pt x="273" y="181"/>
                  </a:lnTo>
                  <a:lnTo>
                    <a:pt x="271" y="179"/>
                  </a:lnTo>
                  <a:lnTo>
                    <a:pt x="271" y="181"/>
                  </a:lnTo>
                  <a:lnTo>
                    <a:pt x="269" y="182"/>
                  </a:lnTo>
                  <a:lnTo>
                    <a:pt x="269" y="182"/>
                  </a:lnTo>
                  <a:lnTo>
                    <a:pt x="267" y="181"/>
                  </a:lnTo>
                  <a:lnTo>
                    <a:pt x="267" y="182"/>
                  </a:lnTo>
                  <a:lnTo>
                    <a:pt x="265" y="182"/>
                  </a:lnTo>
                  <a:lnTo>
                    <a:pt x="265" y="182"/>
                  </a:lnTo>
                  <a:lnTo>
                    <a:pt x="265" y="184"/>
                  </a:lnTo>
                  <a:lnTo>
                    <a:pt x="263" y="184"/>
                  </a:lnTo>
                  <a:lnTo>
                    <a:pt x="261" y="184"/>
                  </a:lnTo>
                  <a:lnTo>
                    <a:pt x="257" y="182"/>
                  </a:lnTo>
                  <a:lnTo>
                    <a:pt x="255" y="181"/>
                  </a:lnTo>
                  <a:lnTo>
                    <a:pt x="252" y="181"/>
                  </a:lnTo>
                  <a:lnTo>
                    <a:pt x="250" y="181"/>
                  </a:lnTo>
                  <a:lnTo>
                    <a:pt x="250" y="181"/>
                  </a:lnTo>
                  <a:lnTo>
                    <a:pt x="250" y="179"/>
                  </a:lnTo>
                  <a:lnTo>
                    <a:pt x="246" y="177"/>
                  </a:lnTo>
                  <a:lnTo>
                    <a:pt x="246" y="175"/>
                  </a:lnTo>
                  <a:lnTo>
                    <a:pt x="242" y="173"/>
                  </a:lnTo>
                  <a:lnTo>
                    <a:pt x="240" y="171"/>
                  </a:lnTo>
                  <a:lnTo>
                    <a:pt x="240" y="165"/>
                  </a:lnTo>
                  <a:lnTo>
                    <a:pt x="238" y="162"/>
                  </a:lnTo>
                  <a:lnTo>
                    <a:pt x="231" y="158"/>
                  </a:lnTo>
                  <a:lnTo>
                    <a:pt x="225" y="152"/>
                  </a:lnTo>
                  <a:lnTo>
                    <a:pt x="223" y="150"/>
                  </a:lnTo>
                  <a:lnTo>
                    <a:pt x="219" y="150"/>
                  </a:lnTo>
                  <a:lnTo>
                    <a:pt x="217" y="152"/>
                  </a:lnTo>
                  <a:lnTo>
                    <a:pt x="215" y="152"/>
                  </a:lnTo>
                  <a:lnTo>
                    <a:pt x="213" y="152"/>
                  </a:lnTo>
                  <a:lnTo>
                    <a:pt x="212" y="152"/>
                  </a:lnTo>
                  <a:lnTo>
                    <a:pt x="212" y="150"/>
                  </a:lnTo>
                  <a:lnTo>
                    <a:pt x="212" y="148"/>
                  </a:lnTo>
                  <a:lnTo>
                    <a:pt x="210" y="146"/>
                  </a:lnTo>
                  <a:lnTo>
                    <a:pt x="210" y="146"/>
                  </a:lnTo>
                  <a:lnTo>
                    <a:pt x="210" y="144"/>
                  </a:lnTo>
                  <a:lnTo>
                    <a:pt x="210" y="144"/>
                  </a:lnTo>
                  <a:lnTo>
                    <a:pt x="208" y="139"/>
                  </a:lnTo>
                  <a:lnTo>
                    <a:pt x="208" y="139"/>
                  </a:lnTo>
                  <a:lnTo>
                    <a:pt x="210" y="139"/>
                  </a:lnTo>
                  <a:lnTo>
                    <a:pt x="210" y="137"/>
                  </a:lnTo>
                  <a:lnTo>
                    <a:pt x="212" y="131"/>
                  </a:lnTo>
                  <a:lnTo>
                    <a:pt x="213" y="127"/>
                  </a:lnTo>
                  <a:lnTo>
                    <a:pt x="215" y="125"/>
                  </a:lnTo>
                  <a:lnTo>
                    <a:pt x="215" y="123"/>
                  </a:lnTo>
                  <a:lnTo>
                    <a:pt x="215" y="123"/>
                  </a:lnTo>
                  <a:lnTo>
                    <a:pt x="215" y="123"/>
                  </a:lnTo>
                  <a:lnTo>
                    <a:pt x="215" y="122"/>
                  </a:lnTo>
                  <a:lnTo>
                    <a:pt x="215" y="122"/>
                  </a:lnTo>
                  <a:lnTo>
                    <a:pt x="213" y="122"/>
                  </a:lnTo>
                  <a:lnTo>
                    <a:pt x="215" y="120"/>
                  </a:lnTo>
                  <a:lnTo>
                    <a:pt x="215" y="120"/>
                  </a:lnTo>
                  <a:lnTo>
                    <a:pt x="215" y="116"/>
                  </a:lnTo>
                  <a:lnTo>
                    <a:pt x="217" y="116"/>
                  </a:lnTo>
                  <a:lnTo>
                    <a:pt x="219" y="114"/>
                  </a:lnTo>
                  <a:lnTo>
                    <a:pt x="221" y="112"/>
                  </a:lnTo>
                  <a:lnTo>
                    <a:pt x="221" y="112"/>
                  </a:lnTo>
                  <a:lnTo>
                    <a:pt x="221" y="110"/>
                  </a:lnTo>
                  <a:lnTo>
                    <a:pt x="223" y="110"/>
                  </a:lnTo>
                  <a:lnTo>
                    <a:pt x="225" y="110"/>
                  </a:lnTo>
                  <a:lnTo>
                    <a:pt x="231" y="108"/>
                  </a:lnTo>
                  <a:lnTo>
                    <a:pt x="231" y="108"/>
                  </a:lnTo>
                  <a:lnTo>
                    <a:pt x="233" y="106"/>
                  </a:lnTo>
                  <a:lnTo>
                    <a:pt x="233" y="103"/>
                  </a:lnTo>
                  <a:lnTo>
                    <a:pt x="233" y="101"/>
                  </a:lnTo>
                  <a:lnTo>
                    <a:pt x="234" y="99"/>
                  </a:lnTo>
                  <a:lnTo>
                    <a:pt x="234" y="97"/>
                  </a:lnTo>
                  <a:lnTo>
                    <a:pt x="240" y="95"/>
                  </a:lnTo>
                  <a:lnTo>
                    <a:pt x="240" y="93"/>
                  </a:lnTo>
                  <a:lnTo>
                    <a:pt x="240" y="93"/>
                  </a:lnTo>
                  <a:lnTo>
                    <a:pt x="242" y="93"/>
                  </a:lnTo>
                  <a:lnTo>
                    <a:pt x="242" y="93"/>
                  </a:lnTo>
                  <a:lnTo>
                    <a:pt x="242" y="93"/>
                  </a:lnTo>
                  <a:lnTo>
                    <a:pt x="244" y="93"/>
                  </a:lnTo>
                  <a:lnTo>
                    <a:pt x="244" y="93"/>
                  </a:lnTo>
                  <a:lnTo>
                    <a:pt x="246" y="93"/>
                  </a:lnTo>
                  <a:lnTo>
                    <a:pt x="248" y="93"/>
                  </a:lnTo>
                  <a:lnTo>
                    <a:pt x="248" y="91"/>
                  </a:lnTo>
                  <a:lnTo>
                    <a:pt x="246" y="85"/>
                  </a:lnTo>
                  <a:lnTo>
                    <a:pt x="244" y="84"/>
                  </a:lnTo>
                  <a:lnTo>
                    <a:pt x="242" y="82"/>
                  </a:lnTo>
                  <a:lnTo>
                    <a:pt x="236" y="82"/>
                  </a:lnTo>
                  <a:lnTo>
                    <a:pt x="234" y="80"/>
                  </a:lnTo>
                  <a:lnTo>
                    <a:pt x="233" y="80"/>
                  </a:lnTo>
                  <a:lnTo>
                    <a:pt x="233" y="80"/>
                  </a:lnTo>
                  <a:lnTo>
                    <a:pt x="233" y="84"/>
                  </a:lnTo>
                  <a:lnTo>
                    <a:pt x="233" y="84"/>
                  </a:lnTo>
                  <a:lnTo>
                    <a:pt x="231" y="84"/>
                  </a:lnTo>
                  <a:lnTo>
                    <a:pt x="231" y="82"/>
                  </a:lnTo>
                  <a:lnTo>
                    <a:pt x="231" y="80"/>
                  </a:lnTo>
                  <a:lnTo>
                    <a:pt x="231" y="78"/>
                  </a:lnTo>
                  <a:lnTo>
                    <a:pt x="233" y="76"/>
                  </a:lnTo>
                  <a:lnTo>
                    <a:pt x="234" y="70"/>
                  </a:lnTo>
                  <a:lnTo>
                    <a:pt x="234" y="68"/>
                  </a:lnTo>
                  <a:lnTo>
                    <a:pt x="236" y="66"/>
                  </a:lnTo>
                  <a:lnTo>
                    <a:pt x="236" y="65"/>
                  </a:lnTo>
                  <a:lnTo>
                    <a:pt x="238" y="66"/>
                  </a:lnTo>
                  <a:lnTo>
                    <a:pt x="238" y="68"/>
                  </a:lnTo>
                  <a:lnTo>
                    <a:pt x="238" y="70"/>
                  </a:lnTo>
                  <a:lnTo>
                    <a:pt x="238" y="72"/>
                  </a:lnTo>
                  <a:lnTo>
                    <a:pt x="240" y="74"/>
                  </a:lnTo>
                  <a:lnTo>
                    <a:pt x="242" y="74"/>
                  </a:lnTo>
                  <a:lnTo>
                    <a:pt x="244" y="76"/>
                  </a:lnTo>
                  <a:lnTo>
                    <a:pt x="246" y="76"/>
                  </a:lnTo>
                  <a:lnTo>
                    <a:pt x="246" y="78"/>
                  </a:lnTo>
                  <a:lnTo>
                    <a:pt x="248" y="78"/>
                  </a:lnTo>
                  <a:lnTo>
                    <a:pt x="248" y="80"/>
                  </a:lnTo>
                  <a:lnTo>
                    <a:pt x="250" y="80"/>
                  </a:lnTo>
                  <a:lnTo>
                    <a:pt x="252" y="82"/>
                  </a:lnTo>
                  <a:lnTo>
                    <a:pt x="254" y="82"/>
                  </a:lnTo>
                  <a:lnTo>
                    <a:pt x="255" y="82"/>
                  </a:lnTo>
                  <a:lnTo>
                    <a:pt x="255" y="82"/>
                  </a:lnTo>
                  <a:lnTo>
                    <a:pt x="257" y="84"/>
                  </a:lnTo>
                  <a:lnTo>
                    <a:pt x="257" y="84"/>
                  </a:lnTo>
                  <a:lnTo>
                    <a:pt x="257" y="85"/>
                  </a:lnTo>
                  <a:lnTo>
                    <a:pt x="259" y="85"/>
                  </a:lnTo>
                  <a:lnTo>
                    <a:pt x="259" y="85"/>
                  </a:lnTo>
                  <a:lnTo>
                    <a:pt x="261" y="87"/>
                  </a:lnTo>
                  <a:lnTo>
                    <a:pt x="261" y="87"/>
                  </a:lnTo>
                  <a:lnTo>
                    <a:pt x="261" y="89"/>
                  </a:lnTo>
                  <a:lnTo>
                    <a:pt x="261" y="89"/>
                  </a:lnTo>
                  <a:lnTo>
                    <a:pt x="263" y="89"/>
                  </a:lnTo>
                  <a:lnTo>
                    <a:pt x="263" y="89"/>
                  </a:lnTo>
                  <a:lnTo>
                    <a:pt x="263" y="91"/>
                  </a:lnTo>
                  <a:lnTo>
                    <a:pt x="263" y="93"/>
                  </a:lnTo>
                  <a:lnTo>
                    <a:pt x="265" y="93"/>
                  </a:lnTo>
                  <a:lnTo>
                    <a:pt x="267" y="95"/>
                  </a:lnTo>
                  <a:lnTo>
                    <a:pt x="267" y="95"/>
                  </a:lnTo>
                  <a:lnTo>
                    <a:pt x="267" y="97"/>
                  </a:lnTo>
                  <a:lnTo>
                    <a:pt x="265" y="99"/>
                  </a:lnTo>
                  <a:lnTo>
                    <a:pt x="261" y="101"/>
                  </a:lnTo>
                  <a:lnTo>
                    <a:pt x="261" y="101"/>
                  </a:lnTo>
                  <a:lnTo>
                    <a:pt x="263" y="103"/>
                  </a:lnTo>
                  <a:lnTo>
                    <a:pt x="271" y="99"/>
                  </a:lnTo>
                  <a:lnTo>
                    <a:pt x="274" y="101"/>
                  </a:lnTo>
                  <a:lnTo>
                    <a:pt x="274" y="103"/>
                  </a:lnTo>
                  <a:lnTo>
                    <a:pt x="274" y="104"/>
                  </a:lnTo>
                  <a:lnTo>
                    <a:pt x="276" y="106"/>
                  </a:lnTo>
                  <a:lnTo>
                    <a:pt x="278" y="106"/>
                  </a:lnTo>
                  <a:lnTo>
                    <a:pt x="278" y="106"/>
                  </a:lnTo>
                  <a:lnTo>
                    <a:pt x="280" y="103"/>
                  </a:lnTo>
                  <a:lnTo>
                    <a:pt x="282" y="101"/>
                  </a:lnTo>
                  <a:lnTo>
                    <a:pt x="284" y="101"/>
                  </a:lnTo>
                  <a:lnTo>
                    <a:pt x="290" y="106"/>
                  </a:lnTo>
                  <a:lnTo>
                    <a:pt x="292" y="106"/>
                  </a:lnTo>
                  <a:lnTo>
                    <a:pt x="295" y="106"/>
                  </a:lnTo>
                  <a:lnTo>
                    <a:pt x="297" y="104"/>
                  </a:lnTo>
                  <a:lnTo>
                    <a:pt x="297" y="103"/>
                  </a:lnTo>
                  <a:lnTo>
                    <a:pt x="295" y="103"/>
                  </a:lnTo>
                  <a:lnTo>
                    <a:pt x="295" y="103"/>
                  </a:lnTo>
                  <a:lnTo>
                    <a:pt x="294" y="101"/>
                  </a:lnTo>
                  <a:lnTo>
                    <a:pt x="295" y="99"/>
                  </a:lnTo>
                  <a:lnTo>
                    <a:pt x="294" y="99"/>
                  </a:lnTo>
                  <a:lnTo>
                    <a:pt x="294" y="101"/>
                  </a:lnTo>
                  <a:lnTo>
                    <a:pt x="292" y="99"/>
                  </a:lnTo>
                  <a:lnTo>
                    <a:pt x="292" y="99"/>
                  </a:lnTo>
                  <a:lnTo>
                    <a:pt x="290" y="95"/>
                  </a:lnTo>
                  <a:lnTo>
                    <a:pt x="288" y="95"/>
                  </a:lnTo>
                  <a:lnTo>
                    <a:pt x="286" y="93"/>
                  </a:lnTo>
                  <a:lnTo>
                    <a:pt x="284" y="91"/>
                  </a:lnTo>
                  <a:lnTo>
                    <a:pt x="284" y="89"/>
                  </a:lnTo>
                  <a:lnTo>
                    <a:pt x="284" y="87"/>
                  </a:lnTo>
                  <a:lnTo>
                    <a:pt x="286" y="85"/>
                  </a:lnTo>
                  <a:lnTo>
                    <a:pt x="286" y="85"/>
                  </a:lnTo>
                  <a:lnTo>
                    <a:pt x="288" y="84"/>
                  </a:lnTo>
                  <a:lnTo>
                    <a:pt x="290" y="85"/>
                  </a:lnTo>
                  <a:lnTo>
                    <a:pt x="290" y="85"/>
                  </a:lnTo>
                  <a:lnTo>
                    <a:pt x="292" y="87"/>
                  </a:lnTo>
                  <a:lnTo>
                    <a:pt x="292" y="87"/>
                  </a:lnTo>
                  <a:lnTo>
                    <a:pt x="294" y="89"/>
                  </a:lnTo>
                  <a:lnTo>
                    <a:pt x="295" y="89"/>
                  </a:lnTo>
                  <a:lnTo>
                    <a:pt x="295" y="89"/>
                  </a:lnTo>
                  <a:lnTo>
                    <a:pt x="297" y="91"/>
                  </a:lnTo>
                  <a:lnTo>
                    <a:pt x="299" y="91"/>
                  </a:lnTo>
                  <a:lnTo>
                    <a:pt x="299" y="93"/>
                  </a:lnTo>
                  <a:lnTo>
                    <a:pt x="299" y="93"/>
                  </a:lnTo>
                  <a:lnTo>
                    <a:pt x="299" y="93"/>
                  </a:lnTo>
                  <a:lnTo>
                    <a:pt x="301" y="95"/>
                  </a:lnTo>
                  <a:lnTo>
                    <a:pt x="303" y="95"/>
                  </a:lnTo>
                  <a:lnTo>
                    <a:pt x="303" y="97"/>
                  </a:lnTo>
                  <a:lnTo>
                    <a:pt x="303" y="97"/>
                  </a:lnTo>
                  <a:lnTo>
                    <a:pt x="303" y="97"/>
                  </a:lnTo>
                  <a:lnTo>
                    <a:pt x="301" y="97"/>
                  </a:lnTo>
                  <a:lnTo>
                    <a:pt x="299" y="97"/>
                  </a:lnTo>
                  <a:lnTo>
                    <a:pt x="299" y="101"/>
                  </a:lnTo>
                  <a:lnTo>
                    <a:pt x="301" y="103"/>
                  </a:lnTo>
                  <a:lnTo>
                    <a:pt x="303" y="104"/>
                  </a:lnTo>
                  <a:lnTo>
                    <a:pt x="303" y="106"/>
                  </a:lnTo>
                  <a:lnTo>
                    <a:pt x="305" y="112"/>
                  </a:lnTo>
                  <a:lnTo>
                    <a:pt x="305" y="114"/>
                  </a:lnTo>
                  <a:lnTo>
                    <a:pt x="305" y="116"/>
                  </a:lnTo>
                  <a:lnTo>
                    <a:pt x="313" y="118"/>
                  </a:lnTo>
                  <a:lnTo>
                    <a:pt x="313" y="120"/>
                  </a:lnTo>
                  <a:lnTo>
                    <a:pt x="314" y="122"/>
                  </a:lnTo>
                  <a:lnTo>
                    <a:pt x="314" y="123"/>
                  </a:lnTo>
                  <a:lnTo>
                    <a:pt x="316" y="123"/>
                  </a:lnTo>
                  <a:lnTo>
                    <a:pt x="318" y="125"/>
                  </a:lnTo>
                  <a:lnTo>
                    <a:pt x="322" y="127"/>
                  </a:lnTo>
                  <a:lnTo>
                    <a:pt x="322" y="129"/>
                  </a:lnTo>
                  <a:lnTo>
                    <a:pt x="324" y="129"/>
                  </a:lnTo>
                  <a:lnTo>
                    <a:pt x="326" y="129"/>
                  </a:lnTo>
                  <a:lnTo>
                    <a:pt x="328" y="129"/>
                  </a:lnTo>
                  <a:lnTo>
                    <a:pt x="330" y="127"/>
                  </a:lnTo>
                  <a:lnTo>
                    <a:pt x="330" y="127"/>
                  </a:lnTo>
                  <a:lnTo>
                    <a:pt x="332" y="129"/>
                  </a:lnTo>
                  <a:lnTo>
                    <a:pt x="332" y="131"/>
                  </a:lnTo>
                  <a:lnTo>
                    <a:pt x="332" y="131"/>
                  </a:lnTo>
                  <a:lnTo>
                    <a:pt x="334" y="131"/>
                  </a:lnTo>
                  <a:lnTo>
                    <a:pt x="334" y="129"/>
                  </a:lnTo>
                  <a:lnTo>
                    <a:pt x="334" y="129"/>
                  </a:lnTo>
                  <a:lnTo>
                    <a:pt x="334" y="129"/>
                  </a:lnTo>
                  <a:lnTo>
                    <a:pt x="337" y="129"/>
                  </a:lnTo>
                  <a:lnTo>
                    <a:pt x="339" y="129"/>
                  </a:lnTo>
                  <a:lnTo>
                    <a:pt x="339" y="129"/>
                  </a:lnTo>
                  <a:lnTo>
                    <a:pt x="339" y="129"/>
                  </a:lnTo>
                  <a:lnTo>
                    <a:pt x="341" y="133"/>
                  </a:lnTo>
                  <a:lnTo>
                    <a:pt x="341" y="133"/>
                  </a:lnTo>
                  <a:lnTo>
                    <a:pt x="343" y="133"/>
                  </a:lnTo>
                  <a:lnTo>
                    <a:pt x="343" y="133"/>
                  </a:lnTo>
                  <a:lnTo>
                    <a:pt x="345" y="133"/>
                  </a:lnTo>
                  <a:lnTo>
                    <a:pt x="345" y="131"/>
                  </a:lnTo>
                  <a:lnTo>
                    <a:pt x="345" y="129"/>
                  </a:lnTo>
                  <a:lnTo>
                    <a:pt x="345" y="127"/>
                  </a:lnTo>
                  <a:lnTo>
                    <a:pt x="349" y="123"/>
                  </a:lnTo>
                  <a:lnTo>
                    <a:pt x="351" y="122"/>
                  </a:lnTo>
                  <a:lnTo>
                    <a:pt x="349" y="122"/>
                  </a:lnTo>
                  <a:lnTo>
                    <a:pt x="349" y="122"/>
                  </a:lnTo>
                  <a:lnTo>
                    <a:pt x="347" y="122"/>
                  </a:lnTo>
                  <a:lnTo>
                    <a:pt x="347" y="120"/>
                  </a:lnTo>
                  <a:lnTo>
                    <a:pt x="347" y="120"/>
                  </a:lnTo>
                  <a:lnTo>
                    <a:pt x="347" y="118"/>
                  </a:lnTo>
                  <a:lnTo>
                    <a:pt x="349" y="118"/>
                  </a:lnTo>
                  <a:lnTo>
                    <a:pt x="349" y="118"/>
                  </a:lnTo>
                  <a:lnTo>
                    <a:pt x="347" y="118"/>
                  </a:lnTo>
                  <a:lnTo>
                    <a:pt x="347" y="116"/>
                  </a:lnTo>
                  <a:lnTo>
                    <a:pt x="345" y="114"/>
                  </a:lnTo>
                  <a:lnTo>
                    <a:pt x="347" y="114"/>
                  </a:lnTo>
                  <a:lnTo>
                    <a:pt x="347" y="112"/>
                  </a:lnTo>
                  <a:lnTo>
                    <a:pt x="349" y="112"/>
                  </a:lnTo>
                  <a:lnTo>
                    <a:pt x="349" y="112"/>
                  </a:lnTo>
                  <a:lnTo>
                    <a:pt x="351" y="112"/>
                  </a:lnTo>
                  <a:lnTo>
                    <a:pt x="351" y="112"/>
                  </a:lnTo>
                  <a:lnTo>
                    <a:pt x="351" y="110"/>
                  </a:lnTo>
                  <a:lnTo>
                    <a:pt x="349" y="108"/>
                  </a:lnTo>
                  <a:lnTo>
                    <a:pt x="351" y="106"/>
                  </a:lnTo>
                  <a:lnTo>
                    <a:pt x="353" y="106"/>
                  </a:lnTo>
                  <a:lnTo>
                    <a:pt x="354" y="106"/>
                  </a:lnTo>
                  <a:lnTo>
                    <a:pt x="354" y="108"/>
                  </a:lnTo>
                  <a:lnTo>
                    <a:pt x="354" y="110"/>
                  </a:lnTo>
                  <a:lnTo>
                    <a:pt x="356" y="110"/>
                  </a:lnTo>
                  <a:lnTo>
                    <a:pt x="358" y="108"/>
                  </a:lnTo>
                  <a:lnTo>
                    <a:pt x="360" y="108"/>
                  </a:lnTo>
                  <a:lnTo>
                    <a:pt x="362" y="108"/>
                  </a:lnTo>
                  <a:lnTo>
                    <a:pt x="362" y="106"/>
                  </a:lnTo>
                  <a:lnTo>
                    <a:pt x="362" y="106"/>
                  </a:lnTo>
                  <a:lnTo>
                    <a:pt x="362" y="104"/>
                  </a:lnTo>
                  <a:lnTo>
                    <a:pt x="362" y="104"/>
                  </a:lnTo>
                  <a:lnTo>
                    <a:pt x="362" y="104"/>
                  </a:lnTo>
                  <a:lnTo>
                    <a:pt x="362" y="103"/>
                  </a:lnTo>
                  <a:lnTo>
                    <a:pt x="364" y="103"/>
                  </a:lnTo>
                  <a:lnTo>
                    <a:pt x="366" y="99"/>
                  </a:lnTo>
                  <a:lnTo>
                    <a:pt x="366" y="99"/>
                  </a:lnTo>
                  <a:lnTo>
                    <a:pt x="366" y="99"/>
                  </a:lnTo>
                  <a:lnTo>
                    <a:pt x="368" y="97"/>
                  </a:lnTo>
                  <a:lnTo>
                    <a:pt x="370" y="97"/>
                  </a:lnTo>
                  <a:lnTo>
                    <a:pt x="370" y="95"/>
                  </a:lnTo>
                  <a:lnTo>
                    <a:pt x="370" y="95"/>
                  </a:lnTo>
                  <a:lnTo>
                    <a:pt x="370" y="95"/>
                  </a:lnTo>
                  <a:lnTo>
                    <a:pt x="370" y="93"/>
                  </a:lnTo>
                  <a:lnTo>
                    <a:pt x="370" y="93"/>
                  </a:lnTo>
                  <a:lnTo>
                    <a:pt x="370" y="93"/>
                  </a:lnTo>
                  <a:lnTo>
                    <a:pt x="370" y="93"/>
                  </a:lnTo>
                  <a:lnTo>
                    <a:pt x="370" y="91"/>
                  </a:lnTo>
                  <a:lnTo>
                    <a:pt x="372" y="91"/>
                  </a:lnTo>
                  <a:lnTo>
                    <a:pt x="372" y="91"/>
                  </a:lnTo>
                  <a:lnTo>
                    <a:pt x="372" y="91"/>
                  </a:lnTo>
                  <a:lnTo>
                    <a:pt x="372" y="84"/>
                  </a:lnTo>
                  <a:lnTo>
                    <a:pt x="374" y="82"/>
                  </a:lnTo>
                  <a:lnTo>
                    <a:pt x="374" y="78"/>
                  </a:lnTo>
                  <a:lnTo>
                    <a:pt x="374" y="78"/>
                  </a:lnTo>
                  <a:lnTo>
                    <a:pt x="374" y="78"/>
                  </a:lnTo>
                  <a:lnTo>
                    <a:pt x="374" y="78"/>
                  </a:lnTo>
                  <a:lnTo>
                    <a:pt x="375" y="74"/>
                  </a:lnTo>
                  <a:lnTo>
                    <a:pt x="375" y="6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 name="Freeform 8">
              <a:extLst>
                <a:ext uri="{FF2B5EF4-FFF2-40B4-BE49-F238E27FC236}">
                  <a16:creationId xmlns:a16="http://schemas.microsoft.com/office/drawing/2014/main" id="{F5830351-0156-DB89-807D-1AB12A227740}"/>
                </a:ext>
              </a:extLst>
            </p:cNvPr>
            <p:cNvSpPr>
              <a:spLocks/>
            </p:cNvSpPr>
            <p:nvPr/>
          </p:nvSpPr>
          <p:spPr bwMode="auto">
            <a:xfrm>
              <a:off x="5157788" y="2394751"/>
              <a:ext cx="504825" cy="455613"/>
            </a:xfrm>
            <a:custGeom>
              <a:avLst/>
              <a:gdLst>
                <a:gd name="T0" fmla="*/ 293 w 318"/>
                <a:gd name="T1" fmla="*/ 112 h 287"/>
                <a:gd name="T2" fmla="*/ 272 w 318"/>
                <a:gd name="T3" fmla="*/ 104 h 287"/>
                <a:gd name="T4" fmla="*/ 244 w 318"/>
                <a:gd name="T5" fmla="*/ 89 h 287"/>
                <a:gd name="T6" fmla="*/ 242 w 318"/>
                <a:gd name="T7" fmla="*/ 80 h 287"/>
                <a:gd name="T8" fmla="*/ 240 w 318"/>
                <a:gd name="T9" fmla="*/ 68 h 287"/>
                <a:gd name="T10" fmla="*/ 219 w 318"/>
                <a:gd name="T11" fmla="*/ 61 h 287"/>
                <a:gd name="T12" fmla="*/ 202 w 318"/>
                <a:gd name="T13" fmla="*/ 49 h 287"/>
                <a:gd name="T14" fmla="*/ 183 w 318"/>
                <a:gd name="T15" fmla="*/ 51 h 287"/>
                <a:gd name="T16" fmla="*/ 177 w 318"/>
                <a:gd name="T17" fmla="*/ 45 h 287"/>
                <a:gd name="T18" fmla="*/ 168 w 318"/>
                <a:gd name="T19" fmla="*/ 38 h 287"/>
                <a:gd name="T20" fmla="*/ 158 w 318"/>
                <a:gd name="T21" fmla="*/ 26 h 287"/>
                <a:gd name="T22" fmla="*/ 152 w 318"/>
                <a:gd name="T23" fmla="*/ 17 h 287"/>
                <a:gd name="T24" fmla="*/ 150 w 318"/>
                <a:gd name="T25" fmla="*/ 9 h 287"/>
                <a:gd name="T26" fmla="*/ 139 w 318"/>
                <a:gd name="T27" fmla="*/ 0 h 287"/>
                <a:gd name="T28" fmla="*/ 124 w 318"/>
                <a:gd name="T29" fmla="*/ 11 h 287"/>
                <a:gd name="T30" fmla="*/ 131 w 318"/>
                <a:gd name="T31" fmla="*/ 30 h 287"/>
                <a:gd name="T32" fmla="*/ 116 w 318"/>
                <a:gd name="T33" fmla="*/ 28 h 287"/>
                <a:gd name="T34" fmla="*/ 101 w 318"/>
                <a:gd name="T35" fmla="*/ 22 h 287"/>
                <a:gd name="T36" fmla="*/ 86 w 318"/>
                <a:gd name="T37" fmla="*/ 22 h 287"/>
                <a:gd name="T38" fmla="*/ 76 w 318"/>
                <a:gd name="T39" fmla="*/ 15 h 287"/>
                <a:gd name="T40" fmla="*/ 57 w 318"/>
                <a:gd name="T41" fmla="*/ 19 h 287"/>
                <a:gd name="T42" fmla="*/ 34 w 318"/>
                <a:gd name="T43" fmla="*/ 28 h 287"/>
                <a:gd name="T44" fmla="*/ 23 w 318"/>
                <a:gd name="T45" fmla="*/ 45 h 287"/>
                <a:gd name="T46" fmla="*/ 17 w 318"/>
                <a:gd name="T47" fmla="*/ 49 h 287"/>
                <a:gd name="T48" fmla="*/ 19 w 318"/>
                <a:gd name="T49" fmla="*/ 61 h 287"/>
                <a:gd name="T50" fmla="*/ 13 w 318"/>
                <a:gd name="T51" fmla="*/ 72 h 287"/>
                <a:gd name="T52" fmla="*/ 19 w 318"/>
                <a:gd name="T53" fmla="*/ 87 h 287"/>
                <a:gd name="T54" fmla="*/ 23 w 318"/>
                <a:gd name="T55" fmla="*/ 95 h 287"/>
                <a:gd name="T56" fmla="*/ 11 w 318"/>
                <a:gd name="T57" fmla="*/ 104 h 287"/>
                <a:gd name="T58" fmla="*/ 2 w 318"/>
                <a:gd name="T59" fmla="*/ 112 h 287"/>
                <a:gd name="T60" fmla="*/ 36 w 318"/>
                <a:gd name="T61" fmla="*/ 129 h 287"/>
                <a:gd name="T62" fmla="*/ 17 w 318"/>
                <a:gd name="T63" fmla="*/ 161 h 287"/>
                <a:gd name="T64" fmla="*/ 36 w 318"/>
                <a:gd name="T65" fmla="*/ 182 h 287"/>
                <a:gd name="T66" fmla="*/ 57 w 318"/>
                <a:gd name="T67" fmla="*/ 184 h 287"/>
                <a:gd name="T68" fmla="*/ 57 w 318"/>
                <a:gd name="T69" fmla="*/ 157 h 287"/>
                <a:gd name="T70" fmla="*/ 74 w 318"/>
                <a:gd name="T71" fmla="*/ 177 h 287"/>
                <a:gd name="T72" fmla="*/ 114 w 318"/>
                <a:gd name="T73" fmla="*/ 211 h 287"/>
                <a:gd name="T74" fmla="*/ 118 w 318"/>
                <a:gd name="T75" fmla="*/ 222 h 287"/>
                <a:gd name="T76" fmla="*/ 112 w 318"/>
                <a:gd name="T77" fmla="*/ 224 h 287"/>
                <a:gd name="T78" fmla="*/ 107 w 318"/>
                <a:gd name="T79" fmla="*/ 226 h 287"/>
                <a:gd name="T80" fmla="*/ 124 w 318"/>
                <a:gd name="T81" fmla="*/ 241 h 287"/>
                <a:gd name="T82" fmla="*/ 145 w 318"/>
                <a:gd name="T83" fmla="*/ 247 h 287"/>
                <a:gd name="T84" fmla="*/ 164 w 318"/>
                <a:gd name="T85" fmla="*/ 262 h 287"/>
                <a:gd name="T86" fmla="*/ 171 w 318"/>
                <a:gd name="T87" fmla="*/ 268 h 287"/>
                <a:gd name="T88" fmla="*/ 188 w 318"/>
                <a:gd name="T89" fmla="*/ 275 h 287"/>
                <a:gd name="T90" fmla="*/ 202 w 318"/>
                <a:gd name="T91" fmla="*/ 272 h 287"/>
                <a:gd name="T92" fmla="*/ 209 w 318"/>
                <a:gd name="T93" fmla="*/ 279 h 287"/>
                <a:gd name="T94" fmla="*/ 215 w 318"/>
                <a:gd name="T95" fmla="*/ 283 h 287"/>
                <a:gd name="T96" fmla="*/ 221 w 318"/>
                <a:gd name="T97" fmla="*/ 287 h 287"/>
                <a:gd name="T98" fmla="*/ 230 w 318"/>
                <a:gd name="T99" fmla="*/ 279 h 287"/>
                <a:gd name="T100" fmla="*/ 230 w 318"/>
                <a:gd name="T101" fmla="*/ 264 h 287"/>
                <a:gd name="T102" fmla="*/ 236 w 318"/>
                <a:gd name="T103" fmla="*/ 247 h 287"/>
                <a:gd name="T104" fmla="*/ 246 w 318"/>
                <a:gd name="T105" fmla="*/ 237 h 287"/>
                <a:gd name="T106" fmla="*/ 249 w 318"/>
                <a:gd name="T107" fmla="*/ 226 h 287"/>
                <a:gd name="T108" fmla="*/ 249 w 318"/>
                <a:gd name="T109" fmla="*/ 211 h 287"/>
                <a:gd name="T110" fmla="*/ 255 w 318"/>
                <a:gd name="T111" fmla="*/ 205 h 287"/>
                <a:gd name="T112" fmla="*/ 257 w 318"/>
                <a:gd name="T113" fmla="*/ 199 h 287"/>
                <a:gd name="T114" fmla="*/ 259 w 318"/>
                <a:gd name="T115" fmla="*/ 178 h 287"/>
                <a:gd name="T116" fmla="*/ 278 w 318"/>
                <a:gd name="T117" fmla="*/ 157 h 287"/>
                <a:gd name="T118" fmla="*/ 295 w 318"/>
                <a:gd name="T119" fmla="*/ 144 h 287"/>
                <a:gd name="T120" fmla="*/ 309 w 318"/>
                <a:gd name="T121" fmla="*/ 13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8" h="287">
                  <a:moveTo>
                    <a:pt x="316" y="129"/>
                  </a:moveTo>
                  <a:lnTo>
                    <a:pt x="314" y="125"/>
                  </a:lnTo>
                  <a:lnTo>
                    <a:pt x="312" y="123"/>
                  </a:lnTo>
                  <a:lnTo>
                    <a:pt x="305" y="121"/>
                  </a:lnTo>
                  <a:lnTo>
                    <a:pt x="297" y="119"/>
                  </a:lnTo>
                  <a:lnTo>
                    <a:pt x="295" y="118"/>
                  </a:lnTo>
                  <a:lnTo>
                    <a:pt x="295" y="116"/>
                  </a:lnTo>
                  <a:lnTo>
                    <a:pt x="293" y="112"/>
                  </a:lnTo>
                  <a:lnTo>
                    <a:pt x="291" y="112"/>
                  </a:lnTo>
                  <a:lnTo>
                    <a:pt x="289" y="110"/>
                  </a:lnTo>
                  <a:lnTo>
                    <a:pt x="280" y="104"/>
                  </a:lnTo>
                  <a:lnTo>
                    <a:pt x="278" y="102"/>
                  </a:lnTo>
                  <a:lnTo>
                    <a:pt x="276" y="104"/>
                  </a:lnTo>
                  <a:lnTo>
                    <a:pt x="274" y="104"/>
                  </a:lnTo>
                  <a:lnTo>
                    <a:pt x="274" y="104"/>
                  </a:lnTo>
                  <a:lnTo>
                    <a:pt x="272" y="104"/>
                  </a:lnTo>
                  <a:lnTo>
                    <a:pt x="269" y="102"/>
                  </a:lnTo>
                  <a:lnTo>
                    <a:pt x="265" y="100"/>
                  </a:lnTo>
                  <a:lnTo>
                    <a:pt x="255" y="95"/>
                  </a:lnTo>
                  <a:lnTo>
                    <a:pt x="248" y="93"/>
                  </a:lnTo>
                  <a:lnTo>
                    <a:pt x="246" y="93"/>
                  </a:lnTo>
                  <a:lnTo>
                    <a:pt x="242" y="93"/>
                  </a:lnTo>
                  <a:lnTo>
                    <a:pt x="242" y="91"/>
                  </a:lnTo>
                  <a:lnTo>
                    <a:pt x="244" y="89"/>
                  </a:lnTo>
                  <a:lnTo>
                    <a:pt x="244" y="89"/>
                  </a:lnTo>
                  <a:lnTo>
                    <a:pt x="244" y="85"/>
                  </a:lnTo>
                  <a:lnTo>
                    <a:pt x="242" y="85"/>
                  </a:lnTo>
                  <a:lnTo>
                    <a:pt x="242" y="83"/>
                  </a:lnTo>
                  <a:lnTo>
                    <a:pt x="240" y="81"/>
                  </a:lnTo>
                  <a:lnTo>
                    <a:pt x="240" y="81"/>
                  </a:lnTo>
                  <a:lnTo>
                    <a:pt x="240" y="80"/>
                  </a:lnTo>
                  <a:lnTo>
                    <a:pt x="242" y="80"/>
                  </a:lnTo>
                  <a:lnTo>
                    <a:pt x="242" y="80"/>
                  </a:lnTo>
                  <a:lnTo>
                    <a:pt x="244" y="80"/>
                  </a:lnTo>
                  <a:lnTo>
                    <a:pt x="244" y="80"/>
                  </a:lnTo>
                  <a:lnTo>
                    <a:pt x="246" y="76"/>
                  </a:lnTo>
                  <a:lnTo>
                    <a:pt x="246" y="74"/>
                  </a:lnTo>
                  <a:lnTo>
                    <a:pt x="244" y="74"/>
                  </a:lnTo>
                  <a:lnTo>
                    <a:pt x="240" y="70"/>
                  </a:lnTo>
                  <a:lnTo>
                    <a:pt x="240" y="68"/>
                  </a:lnTo>
                  <a:lnTo>
                    <a:pt x="238" y="68"/>
                  </a:lnTo>
                  <a:lnTo>
                    <a:pt x="234" y="70"/>
                  </a:lnTo>
                  <a:lnTo>
                    <a:pt x="234" y="70"/>
                  </a:lnTo>
                  <a:lnTo>
                    <a:pt x="230" y="70"/>
                  </a:lnTo>
                  <a:lnTo>
                    <a:pt x="229" y="66"/>
                  </a:lnTo>
                  <a:lnTo>
                    <a:pt x="227" y="64"/>
                  </a:lnTo>
                  <a:lnTo>
                    <a:pt x="225" y="62"/>
                  </a:lnTo>
                  <a:lnTo>
                    <a:pt x="219" y="61"/>
                  </a:lnTo>
                  <a:lnTo>
                    <a:pt x="217" y="59"/>
                  </a:lnTo>
                  <a:lnTo>
                    <a:pt x="217" y="59"/>
                  </a:lnTo>
                  <a:lnTo>
                    <a:pt x="215" y="59"/>
                  </a:lnTo>
                  <a:lnTo>
                    <a:pt x="213" y="55"/>
                  </a:lnTo>
                  <a:lnTo>
                    <a:pt x="211" y="53"/>
                  </a:lnTo>
                  <a:lnTo>
                    <a:pt x="211" y="51"/>
                  </a:lnTo>
                  <a:lnTo>
                    <a:pt x="209" y="51"/>
                  </a:lnTo>
                  <a:lnTo>
                    <a:pt x="202" y="49"/>
                  </a:lnTo>
                  <a:lnTo>
                    <a:pt x="200" y="49"/>
                  </a:lnTo>
                  <a:lnTo>
                    <a:pt x="196" y="49"/>
                  </a:lnTo>
                  <a:lnTo>
                    <a:pt x="192" y="49"/>
                  </a:lnTo>
                  <a:lnTo>
                    <a:pt x="190" y="51"/>
                  </a:lnTo>
                  <a:lnTo>
                    <a:pt x="187" y="53"/>
                  </a:lnTo>
                  <a:lnTo>
                    <a:pt x="187" y="53"/>
                  </a:lnTo>
                  <a:lnTo>
                    <a:pt x="185" y="53"/>
                  </a:lnTo>
                  <a:lnTo>
                    <a:pt x="183" y="51"/>
                  </a:lnTo>
                  <a:lnTo>
                    <a:pt x="181" y="51"/>
                  </a:lnTo>
                  <a:lnTo>
                    <a:pt x="179" y="49"/>
                  </a:lnTo>
                  <a:lnTo>
                    <a:pt x="179" y="47"/>
                  </a:lnTo>
                  <a:lnTo>
                    <a:pt x="177" y="47"/>
                  </a:lnTo>
                  <a:lnTo>
                    <a:pt x="177" y="45"/>
                  </a:lnTo>
                  <a:lnTo>
                    <a:pt x="177" y="45"/>
                  </a:lnTo>
                  <a:lnTo>
                    <a:pt x="177" y="45"/>
                  </a:lnTo>
                  <a:lnTo>
                    <a:pt x="177" y="45"/>
                  </a:lnTo>
                  <a:lnTo>
                    <a:pt x="175" y="43"/>
                  </a:lnTo>
                  <a:lnTo>
                    <a:pt x="173" y="43"/>
                  </a:lnTo>
                  <a:lnTo>
                    <a:pt x="171" y="43"/>
                  </a:lnTo>
                  <a:lnTo>
                    <a:pt x="171" y="43"/>
                  </a:lnTo>
                  <a:lnTo>
                    <a:pt x="169" y="43"/>
                  </a:lnTo>
                  <a:lnTo>
                    <a:pt x="169" y="41"/>
                  </a:lnTo>
                  <a:lnTo>
                    <a:pt x="168" y="38"/>
                  </a:lnTo>
                  <a:lnTo>
                    <a:pt x="168" y="38"/>
                  </a:lnTo>
                  <a:lnTo>
                    <a:pt x="168" y="36"/>
                  </a:lnTo>
                  <a:lnTo>
                    <a:pt x="164" y="34"/>
                  </a:lnTo>
                  <a:lnTo>
                    <a:pt x="162" y="34"/>
                  </a:lnTo>
                  <a:lnTo>
                    <a:pt x="160" y="32"/>
                  </a:lnTo>
                  <a:lnTo>
                    <a:pt x="158" y="32"/>
                  </a:lnTo>
                  <a:lnTo>
                    <a:pt x="158" y="30"/>
                  </a:lnTo>
                  <a:lnTo>
                    <a:pt x="158" y="28"/>
                  </a:lnTo>
                  <a:lnTo>
                    <a:pt x="158" y="26"/>
                  </a:lnTo>
                  <a:lnTo>
                    <a:pt x="158" y="22"/>
                  </a:lnTo>
                  <a:lnTo>
                    <a:pt x="156" y="22"/>
                  </a:lnTo>
                  <a:lnTo>
                    <a:pt x="154" y="22"/>
                  </a:lnTo>
                  <a:lnTo>
                    <a:pt x="152" y="21"/>
                  </a:lnTo>
                  <a:lnTo>
                    <a:pt x="152" y="21"/>
                  </a:lnTo>
                  <a:lnTo>
                    <a:pt x="152" y="19"/>
                  </a:lnTo>
                  <a:lnTo>
                    <a:pt x="152" y="19"/>
                  </a:lnTo>
                  <a:lnTo>
                    <a:pt x="152" y="17"/>
                  </a:lnTo>
                  <a:lnTo>
                    <a:pt x="152" y="17"/>
                  </a:lnTo>
                  <a:lnTo>
                    <a:pt x="150" y="15"/>
                  </a:lnTo>
                  <a:lnTo>
                    <a:pt x="150" y="15"/>
                  </a:lnTo>
                  <a:lnTo>
                    <a:pt x="150" y="13"/>
                  </a:lnTo>
                  <a:lnTo>
                    <a:pt x="150" y="13"/>
                  </a:lnTo>
                  <a:lnTo>
                    <a:pt x="150" y="11"/>
                  </a:lnTo>
                  <a:lnTo>
                    <a:pt x="150" y="9"/>
                  </a:lnTo>
                  <a:lnTo>
                    <a:pt x="150" y="9"/>
                  </a:lnTo>
                  <a:lnTo>
                    <a:pt x="148" y="9"/>
                  </a:lnTo>
                  <a:lnTo>
                    <a:pt x="147" y="9"/>
                  </a:lnTo>
                  <a:lnTo>
                    <a:pt x="147" y="7"/>
                  </a:lnTo>
                  <a:lnTo>
                    <a:pt x="147" y="5"/>
                  </a:lnTo>
                  <a:lnTo>
                    <a:pt x="145" y="3"/>
                  </a:lnTo>
                  <a:lnTo>
                    <a:pt x="143" y="2"/>
                  </a:lnTo>
                  <a:lnTo>
                    <a:pt x="139" y="0"/>
                  </a:lnTo>
                  <a:lnTo>
                    <a:pt x="139" y="0"/>
                  </a:lnTo>
                  <a:lnTo>
                    <a:pt x="133" y="0"/>
                  </a:lnTo>
                  <a:lnTo>
                    <a:pt x="131" y="3"/>
                  </a:lnTo>
                  <a:lnTo>
                    <a:pt x="131" y="9"/>
                  </a:lnTo>
                  <a:lnTo>
                    <a:pt x="129" y="11"/>
                  </a:lnTo>
                  <a:lnTo>
                    <a:pt x="129" y="11"/>
                  </a:lnTo>
                  <a:lnTo>
                    <a:pt x="126" y="9"/>
                  </a:lnTo>
                  <a:lnTo>
                    <a:pt x="126" y="7"/>
                  </a:lnTo>
                  <a:lnTo>
                    <a:pt x="124" y="11"/>
                  </a:lnTo>
                  <a:lnTo>
                    <a:pt x="122" y="13"/>
                  </a:lnTo>
                  <a:lnTo>
                    <a:pt x="122" y="13"/>
                  </a:lnTo>
                  <a:lnTo>
                    <a:pt x="124" y="17"/>
                  </a:lnTo>
                  <a:lnTo>
                    <a:pt x="124" y="17"/>
                  </a:lnTo>
                  <a:lnTo>
                    <a:pt x="128" y="21"/>
                  </a:lnTo>
                  <a:lnTo>
                    <a:pt x="129" y="24"/>
                  </a:lnTo>
                  <a:lnTo>
                    <a:pt x="131" y="28"/>
                  </a:lnTo>
                  <a:lnTo>
                    <a:pt x="131" y="30"/>
                  </a:lnTo>
                  <a:lnTo>
                    <a:pt x="131" y="32"/>
                  </a:lnTo>
                  <a:lnTo>
                    <a:pt x="129" y="32"/>
                  </a:lnTo>
                  <a:lnTo>
                    <a:pt x="128" y="34"/>
                  </a:lnTo>
                  <a:lnTo>
                    <a:pt x="126" y="34"/>
                  </a:lnTo>
                  <a:lnTo>
                    <a:pt x="120" y="32"/>
                  </a:lnTo>
                  <a:lnTo>
                    <a:pt x="118" y="32"/>
                  </a:lnTo>
                  <a:lnTo>
                    <a:pt x="118" y="30"/>
                  </a:lnTo>
                  <a:lnTo>
                    <a:pt x="116" y="28"/>
                  </a:lnTo>
                  <a:lnTo>
                    <a:pt x="114" y="24"/>
                  </a:lnTo>
                  <a:lnTo>
                    <a:pt x="114" y="24"/>
                  </a:lnTo>
                  <a:lnTo>
                    <a:pt x="112" y="24"/>
                  </a:lnTo>
                  <a:lnTo>
                    <a:pt x="110" y="24"/>
                  </a:lnTo>
                  <a:lnTo>
                    <a:pt x="107" y="22"/>
                  </a:lnTo>
                  <a:lnTo>
                    <a:pt x="103" y="22"/>
                  </a:lnTo>
                  <a:lnTo>
                    <a:pt x="101" y="22"/>
                  </a:lnTo>
                  <a:lnTo>
                    <a:pt x="101" y="22"/>
                  </a:lnTo>
                  <a:lnTo>
                    <a:pt x="99" y="22"/>
                  </a:lnTo>
                  <a:lnTo>
                    <a:pt x="97" y="22"/>
                  </a:lnTo>
                  <a:lnTo>
                    <a:pt x="95" y="21"/>
                  </a:lnTo>
                  <a:lnTo>
                    <a:pt x="93" y="21"/>
                  </a:lnTo>
                  <a:lnTo>
                    <a:pt x="89" y="22"/>
                  </a:lnTo>
                  <a:lnTo>
                    <a:pt x="87" y="22"/>
                  </a:lnTo>
                  <a:lnTo>
                    <a:pt x="86" y="22"/>
                  </a:lnTo>
                  <a:lnTo>
                    <a:pt x="86" y="22"/>
                  </a:lnTo>
                  <a:lnTo>
                    <a:pt x="84" y="21"/>
                  </a:lnTo>
                  <a:lnTo>
                    <a:pt x="82" y="19"/>
                  </a:lnTo>
                  <a:lnTo>
                    <a:pt x="80" y="17"/>
                  </a:lnTo>
                  <a:lnTo>
                    <a:pt x="80" y="17"/>
                  </a:lnTo>
                  <a:lnTo>
                    <a:pt x="78" y="17"/>
                  </a:lnTo>
                  <a:lnTo>
                    <a:pt x="78" y="17"/>
                  </a:lnTo>
                  <a:lnTo>
                    <a:pt x="76" y="17"/>
                  </a:lnTo>
                  <a:lnTo>
                    <a:pt x="76" y="15"/>
                  </a:lnTo>
                  <a:lnTo>
                    <a:pt x="76" y="15"/>
                  </a:lnTo>
                  <a:lnTo>
                    <a:pt x="74" y="15"/>
                  </a:lnTo>
                  <a:lnTo>
                    <a:pt x="72" y="15"/>
                  </a:lnTo>
                  <a:lnTo>
                    <a:pt x="68" y="15"/>
                  </a:lnTo>
                  <a:lnTo>
                    <a:pt x="68" y="15"/>
                  </a:lnTo>
                  <a:lnTo>
                    <a:pt x="67" y="15"/>
                  </a:lnTo>
                  <a:lnTo>
                    <a:pt x="63" y="19"/>
                  </a:lnTo>
                  <a:lnTo>
                    <a:pt x="57" y="19"/>
                  </a:lnTo>
                  <a:lnTo>
                    <a:pt x="51" y="22"/>
                  </a:lnTo>
                  <a:lnTo>
                    <a:pt x="47" y="26"/>
                  </a:lnTo>
                  <a:lnTo>
                    <a:pt x="44" y="28"/>
                  </a:lnTo>
                  <a:lnTo>
                    <a:pt x="44" y="28"/>
                  </a:lnTo>
                  <a:lnTo>
                    <a:pt x="42" y="28"/>
                  </a:lnTo>
                  <a:lnTo>
                    <a:pt x="36" y="26"/>
                  </a:lnTo>
                  <a:lnTo>
                    <a:pt x="36" y="26"/>
                  </a:lnTo>
                  <a:lnTo>
                    <a:pt x="34" y="28"/>
                  </a:lnTo>
                  <a:lnTo>
                    <a:pt x="34" y="28"/>
                  </a:lnTo>
                  <a:lnTo>
                    <a:pt x="30" y="32"/>
                  </a:lnTo>
                  <a:lnTo>
                    <a:pt x="28" y="36"/>
                  </a:lnTo>
                  <a:lnTo>
                    <a:pt x="23" y="41"/>
                  </a:lnTo>
                  <a:lnTo>
                    <a:pt x="21" y="41"/>
                  </a:lnTo>
                  <a:lnTo>
                    <a:pt x="21" y="43"/>
                  </a:lnTo>
                  <a:lnTo>
                    <a:pt x="23" y="45"/>
                  </a:lnTo>
                  <a:lnTo>
                    <a:pt x="23" y="45"/>
                  </a:lnTo>
                  <a:lnTo>
                    <a:pt x="23" y="47"/>
                  </a:lnTo>
                  <a:lnTo>
                    <a:pt x="21" y="47"/>
                  </a:lnTo>
                  <a:lnTo>
                    <a:pt x="21" y="49"/>
                  </a:lnTo>
                  <a:lnTo>
                    <a:pt x="19" y="49"/>
                  </a:lnTo>
                  <a:lnTo>
                    <a:pt x="19" y="47"/>
                  </a:lnTo>
                  <a:lnTo>
                    <a:pt x="17" y="47"/>
                  </a:lnTo>
                  <a:lnTo>
                    <a:pt x="17" y="49"/>
                  </a:lnTo>
                  <a:lnTo>
                    <a:pt x="17" y="49"/>
                  </a:lnTo>
                  <a:lnTo>
                    <a:pt x="19" y="51"/>
                  </a:lnTo>
                  <a:lnTo>
                    <a:pt x="19" y="53"/>
                  </a:lnTo>
                  <a:lnTo>
                    <a:pt x="21" y="53"/>
                  </a:lnTo>
                  <a:lnTo>
                    <a:pt x="21" y="53"/>
                  </a:lnTo>
                  <a:lnTo>
                    <a:pt x="21" y="55"/>
                  </a:lnTo>
                  <a:lnTo>
                    <a:pt x="21" y="57"/>
                  </a:lnTo>
                  <a:lnTo>
                    <a:pt x="21" y="61"/>
                  </a:lnTo>
                  <a:lnTo>
                    <a:pt x="19" y="61"/>
                  </a:lnTo>
                  <a:lnTo>
                    <a:pt x="19" y="59"/>
                  </a:lnTo>
                  <a:lnTo>
                    <a:pt x="19" y="59"/>
                  </a:lnTo>
                  <a:lnTo>
                    <a:pt x="17" y="59"/>
                  </a:lnTo>
                  <a:lnTo>
                    <a:pt x="17" y="61"/>
                  </a:lnTo>
                  <a:lnTo>
                    <a:pt x="15" y="64"/>
                  </a:lnTo>
                  <a:lnTo>
                    <a:pt x="13" y="68"/>
                  </a:lnTo>
                  <a:lnTo>
                    <a:pt x="13" y="70"/>
                  </a:lnTo>
                  <a:lnTo>
                    <a:pt x="13" y="72"/>
                  </a:lnTo>
                  <a:lnTo>
                    <a:pt x="15" y="74"/>
                  </a:lnTo>
                  <a:lnTo>
                    <a:pt x="17" y="76"/>
                  </a:lnTo>
                  <a:lnTo>
                    <a:pt x="17" y="78"/>
                  </a:lnTo>
                  <a:lnTo>
                    <a:pt x="17" y="80"/>
                  </a:lnTo>
                  <a:lnTo>
                    <a:pt x="19" y="81"/>
                  </a:lnTo>
                  <a:lnTo>
                    <a:pt x="19" y="83"/>
                  </a:lnTo>
                  <a:lnTo>
                    <a:pt x="19" y="85"/>
                  </a:lnTo>
                  <a:lnTo>
                    <a:pt x="19" y="87"/>
                  </a:lnTo>
                  <a:lnTo>
                    <a:pt x="19" y="87"/>
                  </a:lnTo>
                  <a:lnTo>
                    <a:pt x="17" y="89"/>
                  </a:lnTo>
                  <a:lnTo>
                    <a:pt x="17" y="89"/>
                  </a:lnTo>
                  <a:lnTo>
                    <a:pt x="19" y="93"/>
                  </a:lnTo>
                  <a:lnTo>
                    <a:pt x="19" y="93"/>
                  </a:lnTo>
                  <a:lnTo>
                    <a:pt x="21" y="95"/>
                  </a:lnTo>
                  <a:lnTo>
                    <a:pt x="21" y="95"/>
                  </a:lnTo>
                  <a:lnTo>
                    <a:pt x="23" y="95"/>
                  </a:lnTo>
                  <a:lnTo>
                    <a:pt x="23" y="95"/>
                  </a:lnTo>
                  <a:lnTo>
                    <a:pt x="23" y="95"/>
                  </a:lnTo>
                  <a:lnTo>
                    <a:pt x="23" y="97"/>
                  </a:lnTo>
                  <a:lnTo>
                    <a:pt x="23" y="97"/>
                  </a:lnTo>
                  <a:lnTo>
                    <a:pt x="23" y="99"/>
                  </a:lnTo>
                  <a:lnTo>
                    <a:pt x="21" y="99"/>
                  </a:lnTo>
                  <a:lnTo>
                    <a:pt x="19" y="100"/>
                  </a:lnTo>
                  <a:lnTo>
                    <a:pt x="11" y="104"/>
                  </a:lnTo>
                  <a:lnTo>
                    <a:pt x="9" y="106"/>
                  </a:lnTo>
                  <a:lnTo>
                    <a:pt x="7" y="106"/>
                  </a:lnTo>
                  <a:lnTo>
                    <a:pt x="6" y="106"/>
                  </a:lnTo>
                  <a:lnTo>
                    <a:pt x="4" y="106"/>
                  </a:lnTo>
                  <a:lnTo>
                    <a:pt x="2" y="108"/>
                  </a:lnTo>
                  <a:lnTo>
                    <a:pt x="0" y="108"/>
                  </a:lnTo>
                  <a:lnTo>
                    <a:pt x="0" y="110"/>
                  </a:lnTo>
                  <a:lnTo>
                    <a:pt x="2" y="112"/>
                  </a:lnTo>
                  <a:lnTo>
                    <a:pt x="2" y="112"/>
                  </a:lnTo>
                  <a:lnTo>
                    <a:pt x="6" y="110"/>
                  </a:lnTo>
                  <a:lnTo>
                    <a:pt x="7" y="110"/>
                  </a:lnTo>
                  <a:lnTo>
                    <a:pt x="9" y="110"/>
                  </a:lnTo>
                  <a:lnTo>
                    <a:pt x="17" y="118"/>
                  </a:lnTo>
                  <a:lnTo>
                    <a:pt x="23" y="121"/>
                  </a:lnTo>
                  <a:lnTo>
                    <a:pt x="34" y="127"/>
                  </a:lnTo>
                  <a:lnTo>
                    <a:pt x="36" y="129"/>
                  </a:lnTo>
                  <a:lnTo>
                    <a:pt x="34" y="131"/>
                  </a:lnTo>
                  <a:lnTo>
                    <a:pt x="32" y="131"/>
                  </a:lnTo>
                  <a:lnTo>
                    <a:pt x="28" y="135"/>
                  </a:lnTo>
                  <a:lnTo>
                    <a:pt x="25" y="138"/>
                  </a:lnTo>
                  <a:lnTo>
                    <a:pt x="21" y="148"/>
                  </a:lnTo>
                  <a:lnTo>
                    <a:pt x="17" y="156"/>
                  </a:lnTo>
                  <a:lnTo>
                    <a:pt x="17" y="157"/>
                  </a:lnTo>
                  <a:lnTo>
                    <a:pt x="17" y="161"/>
                  </a:lnTo>
                  <a:lnTo>
                    <a:pt x="17" y="165"/>
                  </a:lnTo>
                  <a:lnTo>
                    <a:pt x="17" y="167"/>
                  </a:lnTo>
                  <a:lnTo>
                    <a:pt x="19" y="173"/>
                  </a:lnTo>
                  <a:lnTo>
                    <a:pt x="19" y="178"/>
                  </a:lnTo>
                  <a:lnTo>
                    <a:pt x="21" y="180"/>
                  </a:lnTo>
                  <a:lnTo>
                    <a:pt x="25" y="190"/>
                  </a:lnTo>
                  <a:lnTo>
                    <a:pt x="32" y="184"/>
                  </a:lnTo>
                  <a:lnTo>
                    <a:pt x="36" y="182"/>
                  </a:lnTo>
                  <a:lnTo>
                    <a:pt x="38" y="182"/>
                  </a:lnTo>
                  <a:lnTo>
                    <a:pt x="38" y="182"/>
                  </a:lnTo>
                  <a:lnTo>
                    <a:pt x="44" y="186"/>
                  </a:lnTo>
                  <a:lnTo>
                    <a:pt x="47" y="188"/>
                  </a:lnTo>
                  <a:lnTo>
                    <a:pt x="47" y="190"/>
                  </a:lnTo>
                  <a:lnTo>
                    <a:pt x="49" y="190"/>
                  </a:lnTo>
                  <a:lnTo>
                    <a:pt x="55" y="188"/>
                  </a:lnTo>
                  <a:lnTo>
                    <a:pt x="57" y="184"/>
                  </a:lnTo>
                  <a:lnTo>
                    <a:pt x="59" y="180"/>
                  </a:lnTo>
                  <a:lnTo>
                    <a:pt x="57" y="175"/>
                  </a:lnTo>
                  <a:lnTo>
                    <a:pt x="55" y="165"/>
                  </a:lnTo>
                  <a:lnTo>
                    <a:pt x="55" y="163"/>
                  </a:lnTo>
                  <a:lnTo>
                    <a:pt x="55" y="161"/>
                  </a:lnTo>
                  <a:lnTo>
                    <a:pt x="55" y="159"/>
                  </a:lnTo>
                  <a:lnTo>
                    <a:pt x="55" y="159"/>
                  </a:lnTo>
                  <a:lnTo>
                    <a:pt x="57" y="157"/>
                  </a:lnTo>
                  <a:lnTo>
                    <a:pt x="59" y="157"/>
                  </a:lnTo>
                  <a:lnTo>
                    <a:pt x="59" y="157"/>
                  </a:lnTo>
                  <a:lnTo>
                    <a:pt x="61" y="157"/>
                  </a:lnTo>
                  <a:lnTo>
                    <a:pt x="61" y="159"/>
                  </a:lnTo>
                  <a:lnTo>
                    <a:pt x="67" y="165"/>
                  </a:lnTo>
                  <a:lnTo>
                    <a:pt x="70" y="169"/>
                  </a:lnTo>
                  <a:lnTo>
                    <a:pt x="72" y="175"/>
                  </a:lnTo>
                  <a:lnTo>
                    <a:pt x="74" y="177"/>
                  </a:lnTo>
                  <a:lnTo>
                    <a:pt x="76" y="178"/>
                  </a:lnTo>
                  <a:lnTo>
                    <a:pt x="84" y="182"/>
                  </a:lnTo>
                  <a:lnTo>
                    <a:pt x="87" y="186"/>
                  </a:lnTo>
                  <a:lnTo>
                    <a:pt x="89" y="190"/>
                  </a:lnTo>
                  <a:lnTo>
                    <a:pt x="91" y="194"/>
                  </a:lnTo>
                  <a:lnTo>
                    <a:pt x="95" y="197"/>
                  </a:lnTo>
                  <a:lnTo>
                    <a:pt x="99" y="201"/>
                  </a:lnTo>
                  <a:lnTo>
                    <a:pt x="114" y="211"/>
                  </a:lnTo>
                  <a:lnTo>
                    <a:pt x="118" y="213"/>
                  </a:lnTo>
                  <a:lnTo>
                    <a:pt x="124" y="213"/>
                  </a:lnTo>
                  <a:lnTo>
                    <a:pt x="126" y="215"/>
                  </a:lnTo>
                  <a:lnTo>
                    <a:pt x="126" y="215"/>
                  </a:lnTo>
                  <a:lnTo>
                    <a:pt x="126" y="216"/>
                  </a:lnTo>
                  <a:lnTo>
                    <a:pt x="124" y="218"/>
                  </a:lnTo>
                  <a:lnTo>
                    <a:pt x="120" y="222"/>
                  </a:lnTo>
                  <a:lnTo>
                    <a:pt x="118" y="222"/>
                  </a:lnTo>
                  <a:lnTo>
                    <a:pt x="118" y="222"/>
                  </a:lnTo>
                  <a:lnTo>
                    <a:pt x="116" y="222"/>
                  </a:lnTo>
                  <a:lnTo>
                    <a:pt x="116" y="222"/>
                  </a:lnTo>
                  <a:lnTo>
                    <a:pt x="116" y="222"/>
                  </a:lnTo>
                  <a:lnTo>
                    <a:pt x="114" y="222"/>
                  </a:lnTo>
                  <a:lnTo>
                    <a:pt x="114" y="224"/>
                  </a:lnTo>
                  <a:lnTo>
                    <a:pt x="112" y="226"/>
                  </a:lnTo>
                  <a:lnTo>
                    <a:pt x="112" y="224"/>
                  </a:lnTo>
                  <a:lnTo>
                    <a:pt x="110" y="224"/>
                  </a:lnTo>
                  <a:lnTo>
                    <a:pt x="110" y="224"/>
                  </a:lnTo>
                  <a:lnTo>
                    <a:pt x="110" y="224"/>
                  </a:lnTo>
                  <a:lnTo>
                    <a:pt x="108" y="224"/>
                  </a:lnTo>
                  <a:lnTo>
                    <a:pt x="108" y="226"/>
                  </a:lnTo>
                  <a:lnTo>
                    <a:pt x="107" y="226"/>
                  </a:lnTo>
                  <a:lnTo>
                    <a:pt x="107" y="226"/>
                  </a:lnTo>
                  <a:lnTo>
                    <a:pt x="107" y="226"/>
                  </a:lnTo>
                  <a:lnTo>
                    <a:pt x="107" y="228"/>
                  </a:lnTo>
                  <a:lnTo>
                    <a:pt x="107" y="228"/>
                  </a:lnTo>
                  <a:lnTo>
                    <a:pt x="107" y="228"/>
                  </a:lnTo>
                  <a:lnTo>
                    <a:pt x="107" y="230"/>
                  </a:lnTo>
                  <a:lnTo>
                    <a:pt x="120" y="235"/>
                  </a:lnTo>
                  <a:lnTo>
                    <a:pt x="122" y="237"/>
                  </a:lnTo>
                  <a:lnTo>
                    <a:pt x="124" y="239"/>
                  </a:lnTo>
                  <a:lnTo>
                    <a:pt x="124" y="241"/>
                  </a:lnTo>
                  <a:lnTo>
                    <a:pt x="124" y="247"/>
                  </a:lnTo>
                  <a:lnTo>
                    <a:pt x="128" y="245"/>
                  </a:lnTo>
                  <a:lnTo>
                    <a:pt x="133" y="243"/>
                  </a:lnTo>
                  <a:lnTo>
                    <a:pt x="135" y="243"/>
                  </a:lnTo>
                  <a:lnTo>
                    <a:pt x="137" y="243"/>
                  </a:lnTo>
                  <a:lnTo>
                    <a:pt x="137" y="243"/>
                  </a:lnTo>
                  <a:lnTo>
                    <a:pt x="145" y="247"/>
                  </a:lnTo>
                  <a:lnTo>
                    <a:pt x="145" y="247"/>
                  </a:lnTo>
                  <a:lnTo>
                    <a:pt x="147" y="249"/>
                  </a:lnTo>
                  <a:lnTo>
                    <a:pt x="147" y="249"/>
                  </a:lnTo>
                  <a:lnTo>
                    <a:pt x="147" y="251"/>
                  </a:lnTo>
                  <a:lnTo>
                    <a:pt x="147" y="253"/>
                  </a:lnTo>
                  <a:lnTo>
                    <a:pt x="148" y="253"/>
                  </a:lnTo>
                  <a:lnTo>
                    <a:pt x="160" y="262"/>
                  </a:lnTo>
                  <a:lnTo>
                    <a:pt x="162" y="262"/>
                  </a:lnTo>
                  <a:lnTo>
                    <a:pt x="164" y="262"/>
                  </a:lnTo>
                  <a:lnTo>
                    <a:pt x="166" y="262"/>
                  </a:lnTo>
                  <a:lnTo>
                    <a:pt x="166" y="262"/>
                  </a:lnTo>
                  <a:lnTo>
                    <a:pt x="168" y="262"/>
                  </a:lnTo>
                  <a:lnTo>
                    <a:pt x="168" y="262"/>
                  </a:lnTo>
                  <a:lnTo>
                    <a:pt x="168" y="264"/>
                  </a:lnTo>
                  <a:lnTo>
                    <a:pt x="169" y="266"/>
                  </a:lnTo>
                  <a:lnTo>
                    <a:pt x="169" y="266"/>
                  </a:lnTo>
                  <a:lnTo>
                    <a:pt x="171" y="268"/>
                  </a:lnTo>
                  <a:lnTo>
                    <a:pt x="171" y="272"/>
                  </a:lnTo>
                  <a:lnTo>
                    <a:pt x="173" y="275"/>
                  </a:lnTo>
                  <a:lnTo>
                    <a:pt x="181" y="272"/>
                  </a:lnTo>
                  <a:lnTo>
                    <a:pt x="185" y="272"/>
                  </a:lnTo>
                  <a:lnTo>
                    <a:pt x="185" y="272"/>
                  </a:lnTo>
                  <a:lnTo>
                    <a:pt x="187" y="274"/>
                  </a:lnTo>
                  <a:lnTo>
                    <a:pt x="187" y="275"/>
                  </a:lnTo>
                  <a:lnTo>
                    <a:pt x="188" y="275"/>
                  </a:lnTo>
                  <a:lnTo>
                    <a:pt x="188" y="274"/>
                  </a:lnTo>
                  <a:lnTo>
                    <a:pt x="190" y="274"/>
                  </a:lnTo>
                  <a:lnTo>
                    <a:pt x="198" y="275"/>
                  </a:lnTo>
                  <a:lnTo>
                    <a:pt x="200" y="274"/>
                  </a:lnTo>
                  <a:lnTo>
                    <a:pt x="200" y="274"/>
                  </a:lnTo>
                  <a:lnTo>
                    <a:pt x="200" y="272"/>
                  </a:lnTo>
                  <a:lnTo>
                    <a:pt x="200" y="272"/>
                  </a:lnTo>
                  <a:lnTo>
                    <a:pt x="202" y="272"/>
                  </a:lnTo>
                  <a:lnTo>
                    <a:pt x="204" y="272"/>
                  </a:lnTo>
                  <a:lnTo>
                    <a:pt x="208" y="272"/>
                  </a:lnTo>
                  <a:lnTo>
                    <a:pt x="209" y="274"/>
                  </a:lnTo>
                  <a:lnTo>
                    <a:pt x="209" y="274"/>
                  </a:lnTo>
                  <a:lnTo>
                    <a:pt x="209" y="275"/>
                  </a:lnTo>
                  <a:lnTo>
                    <a:pt x="209" y="277"/>
                  </a:lnTo>
                  <a:lnTo>
                    <a:pt x="209" y="279"/>
                  </a:lnTo>
                  <a:lnTo>
                    <a:pt x="209" y="279"/>
                  </a:lnTo>
                  <a:lnTo>
                    <a:pt x="211" y="279"/>
                  </a:lnTo>
                  <a:lnTo>
                    <a:pt x="213" y="277"/>
                  </a:lnTo>
                  <a:lnTo>
                    <a:pt x="215" y="277"/>
                  </a:lnTo>
                  <a:lnTo>
                    <a:pt x="215" y="279"/>
                  </a:lnTo>
                  <a:lnTo>
                    <a:pt x="215" y="279"/>
                  </a:lnTo>
                  <a:lnTo>
                    <a:pt x="215" y="281"/>
                  </a:lnTo>
                  <a:lnTo>
                    <a:pt x="215" y="281"/>
                  </a:lnTo>
                  <a:lnTo>
                    <a:pt x="215" y="283"/>
                  </a:lnTo>
                  <a:lnTo>
                    <a:pt x="217" y="283"/>
                  </a:lnTo>
                  <a:lnTo>
                    <a:pt x="217" y="281"/>
                  </a:lnTo>
                  <a:lnTo>
                    <a:pt x="219" y="281"/>
                  </a:lnTo>
                  <a:lnTo>
                    <a:pt x="219" y="283"/>
                  </a:lnTo>
                  <a:lnTo>
                    <a:pt x="219" y="283"/>
                  </a:lnTo>
                  <a:lnTo>
                    <a:pt x="219" y="285"/>
                  </a:lnTo>
                  <a:lnTo>
                    <a:pt x="219" y="285"/>
                  </a:lnTo>
                  <a:lnTo>
                    <a:pt x="221" y="287"/>
                  </a:lnTo>
                  <a:lnTo>
                    <a:pt x="223" y="287"/>
                  </a:lnTo>
                  <a:lnTo>
                    <a:pt x="223" y="287"/>
                  </a:lnTo>
                  <a:lnTo>
                    <a:pt x="225" y="287"/>
                  </a:lnTo>
                  <a:lnTo>
                    <a:pt x="227" y="285"/>
                  </a:lnTo>
                  <a:lnTo>
                    <a:pt x="227" y="285"/>
                  </a:lnTo>
                  <a:lnTo>
                    <a:pt x="230" y="283"/>
                  </a:lnTo>
                  <a:lnTo>
                    <a:pt x="230" y="281"/>
                  </a:lnTo>
                  <a:lnTo>
                    <a:pt x="230" y="279"/>
                  </a:lnTo>
                  <a:lnTo>
                    <a:pt x="232" y="277"/>
                  </a:lnTo>
                  <a:lnTo>
                    <a:pt x="230" y="277"/>
                  </a:lnTo>
                  <a:lnTo>
                    <a:pt x="229" y="275"/>
                  </a:lnTo>
                  <a:lnTo>
                    <a:pt x="229" y="272"/>
                  </a:lnTo>
                  <a:lnTo>
                    <a:pt x="229" y="270"/>
                  </a:lnTo>
                  <a:lnTo>
                    <a:pt x="229" y="268"/>
                  </a:lnTo>
                  <a:lnTo>
                    <a:pt x="229" y="266"/>
                  </a:lnTo>
                  <a:lnTo>
                    <a:pt x="230" y="264"/>
                  </a:lnTo>
                  <a:lnTo>
                    <a:pt x="230" y="264"/>
                  </a:lnTo>
                  <a:lnTo>
                    <a:pt x="232" y="262"/>
                  </a:lnTo>
                  <a:lnTo>
                    <a:pt x="234" y="262"/>
                  </a:lnTo>
                  <a:lnTo>
                    <a:pt x="234" y="260"/>
                  </a:lnTo>
                  <a:lnTo>
                    <a:pt x="234" y="260"/>
                  </a:lnTo>
                  <a:lnTo>
                    <a:pt x="234" y="256"/>
                  </a:lnTo>
                  <a:lnTo>
                    <a:pt x="236" y="251"/>
                  </a:lnTo>
                  <a:lnTo>
                    <a:pt x="236" y="247"/>
                  </a:lnTo>
                  <a:lnTo>
                    <a:pt x="240" y="245"/>
                  </a:lnTo>
                  <a:lnTo>
                    <a:pt x="242" y="247"/>
                  </a:lnTo>
                  <a:lnTo>
                    <a:pt x="244" y="247"/>
                  </a:lnTo>
                  <a:lnTo>
                    <a:pt x="246" y="245"/>
                  </a:lnTo>
                  <a:lnTo>
                    <a:pt x="246" y="245"/>
                  </a:lnTo>
                  <a:lnTo>
                    <a:pt x="246" y="243"/>
                  </a:lnTo>
                  <a:lnTo>
                    <a:pt x="244" y="237"/>
                  </a:lnTo>
                  <a:lnTo>
                    <a:pt x="246" y="237"/>
                  </a:lnTo>
                  <a:lnTo>
                    <a:pt x="248" y="235"/>
                  </a:lnTo>
                  <a:lnTo>
                    <a:pt x="248" y="237"/>
                  </a:lnTo>
                  <a:lnTo>
                    <a:pt x="249" y="237"/>
                  </a:lnTo>
                  <a:lnTo>
                    <a:pt x="251" y="230"/>
                  </a:lnTo>
                  <a:lnTo>
                    <a:pt x="251" y="228"/>
                  </a:lnTo>
                  <a:lnTo>
                    <a:pt x="251" y="226"/>
                  </a:lnTo>
                  <a:lnTo>
                    <a:pt x="249" y="226"/>
                  </a:lnTo>
                  <a:lnTo>
                    <a:pt x="249" y="226"/>
                  </a:lnTo>
                  <a:lnTo>
                    <a:pt x="248" y="226"/>
                  </a:lnTo>
                  <a:lnTo>
                    <a:pt x="248" y="224"/>
                  </a:lnTo>
                  <a:lnTo>
                    <a:pt x="248" y="220"/>
                  </a:lnTo>
                  <a:lnTo>
                    <a:pt x="246" y="216"/>
                  </a:lnTo>
                  <a:lnTo>
                    <a:pt x="244" y="215"/>
                  </a:lnTo>
                  <a:lnTo>
                    <a:pt x="246" y="213"/>
                  </a:lnTo>
                  <a:lnTo>
                    <a:pt x="246" y="213"/>
                  </a:lnTo>
                  <a:lnTo>
                    <a:pt x="249" y="211"/>
                  </a:lnTo>
                  <a:lnTo>
                    <a:pt x="249" y="211"/>
                  </a:lnTo>
                  <a:lnTo>
                    <a:pt x="249" y="209"/>
                  </a:lnTo>
                  <a:lnTo>
                    <a:pt x="249" y="209"/>
                  </a:lnTo>
                  <a:lnTo>
                    <a:pt x="251" y="207"/>
                  </a:lnTo>
                  <a:lnTo>
                    <a:pt x="251" y="207"/>
                  </a:lnTo>
                  <a:lnTo>
                    <a:pt x="251" y="207"/>
                  </a:lnTo>
                  <a:lnTo>
                    <a:pt x="253" y="205"/>
                  </a:lnTo>
                  <a:lnTo>
                    <a:pt x="255" y="205"/>
                  </a:lnTo>
                  <a:lnTo>
                    <a:pt x="255" y="203"/>
                  </a:lnTo>
                  <a:lnTo>
                    <a:pt x="255" y="203"/>
                  </a:lnTo>
                  <a:lnTo>
                    <a:pt x="255" y="203"/>
                  </a:lnTo>
                  <a:lnTo>
                    <a:pt x="255" y="201"/>
                  </a:lnTo>
                  <a:lnTo>
                    <a:pt x="255" y="201"/>
                  </a:lnTo>
                  <a:lnTo>
                    <a:pt x="255" y="201"/>
                  </a:lnTo>
                  <a:lnTo>
                    <a:pt x="257" y="199"/>
                  </a:lnTo>
                  <a:lnTo>
                    <a:pt x="257" y="199"/>
                  </a:lnTo>
                  <a:lnTo>
                    <a:pt x="259" y="197"/>
                  </a:lnTo>
                  <a:lnTo>
                    <a:pt x="261" y="196"/>
                  </a:lnTo>
                  <a:lnTo>
                    <a:pt x="261" y="192"/>
                  </a:lnTo>
                  <a:lnTo>
                    <a:pt x="259" y="190"/>
                  </a:lnTo>
                  <a:lnTo>
                    <a:pt x="259" y="188"/>
                  </a:lnTo>
                  <a:lnTo>
                    <a:pt x="257" y="184"/>
                  </a:lnTo>
                  <a:lnTo>
                    <a:pt x="257" y="182"/>
                  </a:lnTo>
                  <a:lnTo>
                    <a:pt x="259" y="178"/>
                  </a:lnTo>
                  <a:lnTo>
                    <a:pt x="261" y="177"/>
                  </a:lnTo>
                  <a:lnTo>
                    <a:pt x="267" y="175"/>
                  </a:lnTo>
                  <a:lnTo>
                    <a:pt x="269" y="173"/>
                  </a:lnTo>
                  <a:lnTo>
                    <a:pt x="274" y="167"/>
                  </a:lnTo>
                  <a:lnTo>
                    <a:pt x="276" y="165"/>
                  </a:lnTo>
                  <a:lnTo>
                    <a:pt x="276" y="161"/>
                  </a:lnTo>
                  <a:lnTo>
                    <a:pt x="278" y="159"/>
                  </a:lnTo>
                  <a:lnTo>
                    <a:pt x="278" y="157"/>
                  </a:lnTo>
                  <a:lnTo>
                    <a:pt x="282" y="157"/>
                  </a:lnTo>
                  <a:lnTo>
                    <a:pt x="284" y="157"/>
                  </a:lnTo>
                  <a:lnTo>
                    <a:pt x="286" y="156"/>
                  </a:lnTo>
                  <a:lnTo>
                    <a:pt x="288" y="154"/>
                  </a:lnTo>
                  <a:lnTo>
                    <a:pt x="291" y="152"/>
                  </a:lnTo>
                  <a:lnTo>
                    <a:pt x="291" y="150"/>
                  </a:lnTo>
                  <a:lnTo>
                    <a:pt x="295" y="146"/>
                  </a:lnTo>
                  <a:lnTo>
                    <a:pt x="295" y="144"/>
                  </a:lnTo>
                  <a:lnTo>
                    <a:pt x="301" y="140"/>
                  </a:lnTo>
                  <a:lnTo>
                    <a:pt x="303" y="138"/>
                  </a:lnTo>
                  <a:lnTo>
                    <a:pt x="303" y="135"/>
                  </a:lnTo>
                  <a:lnTo>
                    <a:pt x="303" y="133"/>
                  </a:lnTo>
                  <a:lnTo>
                    <a:pt x="305" y="131"/>
                  </a:lnTo>
                  <a:lnTo>
                    <a:pt x="307" y="131"/>
                  </a:lnTo>
                  <a:lnTo>
                    <a:pt x="307" y="133"/>
                  </a:lnTo>
                  <a:lnTo>
                    <a:pt x="309" y="135"/>
                  </a:lnTo>
                  <a:lnTo>
                    <a:pt x="310" y="135"/>
                  </a:lnTo>
                  <a:lnTo>
                    <a:pt x="316" y="133"/>
                  </a:lnTo>
                  <a:lnTo>
                    <a:pt x="316" y="133"/>
                  </a:lnTo>
                  <a:lnTo>
                    <a:pt x="318" y="131"/>
                  </a:lnTo>
                  <a:lnTo>
                    <a:pt x="316" y="12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 name="Freeform 9">
              <a:extLst>
                <a:ext uri="{FF2B5EF4-FFF2-40B4-BE49-F238E27FC236}">
                  <a16:creationId xmlns:a16="http://schemas.microsoft.com/office/drawing/2014/main" id="{D3CB48D0-561E-64F9-82C3-30FF99113271}"/>
                </a:ext>
              </a:extLst>
            </p:cNvPr>
            <p:cNvSpPr>
              <a:spLocks/>
            </p:cNvSpPr>
            <p:nvPr/>
          </p:nvSpPr>
          <p:spPr bwMode="auto">
            <a:xfrm>
              <a:off x="5157788" y="2394751"/>
              <a:ext cx="504825" cy="455613"/>
            </a:xfrm>
            <a:custGeom>
              <a:avLst/>
              <a:gdLst>
                <a:gd name="T0" fmla="*/ 293 w 318"/>
                <a:gd name="T1" fmla="*/ 112 h 287"/>
                <a:gd name="T2" fmla="*/ 272 w 318"/>
                <a:gd name="T3" fmla="*/ 104 h 287"/>
                <a:gd name="T4" fmla="*/ 244 w 318"/>
                <a:gd name="T5" fmla="*/ 89 h 287"/>
                <a:gd name="T6" fmla="*/ 242 w 318"/>
                <a:gd name="T7" fmla="*/ 80 h 287"/>
                <a:gd name="T8" fmla="*/ 240 w 318"/>
                <a:gd name="T9" fmla="*/ 68 h 287"/>
                <a:gd name="T10" fmla="*/ 219 w 318"/>
                <a:gd name="T11" fmla="*/ 61 h 287"/>
                <a:gd name="T12" fmla="*/ 202 w 318"/>
                <a:gd name="T13" fmla="*/ 49 h 287"/>
                <a:gd name="T14" fmla="*/ 183 w 318"/>
                <a:gd name="T15" fmla="*/ 51 h 287"/>
                <a:gd name="T16" fmla="*/ 177 w 318"/>
                <a:gd name="T17" fmla="*/ 45 h 287"/>
                <a:gd name="T18" fmla="*/ 168 w 318"/>
                <a:gd name="T19" fmla="*/ 38 h 287"/>
                <a:gd name="T20" fmla="*/ 158 w 318"/>
                <a:gd name="T21" fmla="*/ 26 h 287"/>
                <a:gd name="T22" fmla="*/ 152 w 318"/>
                <a:gd name="T23" fmla="*/ 17 h 287"/>
                <a:gd name="T24" fmla="*/ 150 w 318"/>
                <a:gd name="T25" fmla="*/ 9 h 287"/>
                <a:gd name="T26" fmla="*/ 139 w 318"/>
                <a:gd name="T27" fmla="*/ 0 h 287"/>
                <a:gd name="T28" fmla="*/ 124 w 318"/>
                <a:gd name="T29" fmla="*/ 11 h 287"/>
                <a:gd name="T30" fmla="*/ 131 w 318"/>
                <a:gd name="T31" fmla="*/ 30 h 287"/>
                <a:gd name="T32" fmla="*/ 116 w 318"/>
                <a:gd name="T33" fmla="*/ 28 h 287"/>
                <a:gd name="T34" fmla="*/ 101 w 318"/>
                <a:gd name="T35" fmla="*/ 22 h 287"/>
                <a:gd name="T36" fmla="*/ 86 w 318"/>
                <a:gd name="T37" fmla="*/ 22 h 287"/>
                <a:gd name="T38" fmla="*/ 76 w 318"/>
                <a:gd name="T39" fmla="*/ 15 h 287"/>
                <a:gd name="T40" fmla="*/ 57 w 318"/>
                <a:gd name="T41" fmla="*/ 19 h 287"/>
                <a:gd name="T42" fmla="*/ 34 w 318"/>
                <a:gd name="T43" fmla="*/ 28 h 287"/>
                <a:gd name="T44" fmla="*/ 23 w 318"/>
                <a:gd name="T45" fmla="*/ 45 h 287"/>
                <a:gd name="T46" fmla="*/ 17 w 318"/>
                <a:gd name="T47" fmla="*/ 49 h 287"/>
                <a:gd name="T48" fmla="*/ 19 w 318"/>
                <a:gd name="T49" fmla="*/ 61 h 287"/>
                <a:gd name="T50" fmla="*/ 13 w 318"/>
                <a:gd name="T51" fmla="*/ 72 h 287"/>
                <a:gd name="T52" fmla="*/ 19 w 318"/>
                <a:gd name="T53" fmla="*/ 87 h 287"/>
                <a:gd name="T54" fmla="*/ 23 w 318"/>
                <a:gd name="T55" fmla="*/ 95 h 287"/>
                <a:gd name="T56" fmla="*/ 11 w 318"/>
                <a:gd name="T57" fmla="*/ 104 h 287"/>
                <a:gd name="T58" fmla="*/ 2 w 318"/>
                <a:gd name="T59" fmla="*/ 112 h 287"/>
                <a:gd name="T60" fmla="*/ 36 w 318"/>
                <a:gd name="T61" fmla="*/ 129 h 287"/>
                <a:gd name="T62" fmla="*/ 17 w 318"/>
                <a:gd name="T63" fmla="*/ 161 h 287"/>
                <a:gd name="T64" fmla="*/ 36 w 318"/>
                <a:gd name="T65" fmla="*/ 182 h 287"/>
                <a:gd name="T66" fmla="*/ 57 w 318"/>
                <a:gd name="T67" fmla="*/ 184 h 287"/>
                <a:gd name="T68" fmla="*/ 57 w 318"/>
                <a:gd name="T69" fmla="*/ 157 h 287"/>
                <a:gd name="T70" fmla="*/ 74 w 318"/>
                <a:gd name="T71" fmla="*/ 177 h 287"/>
                <a:gd name="T72" fmla="*/ 114 w 318"/>
                <a:gd name="T73" fmla="*/ 211 h 287"/>
                <a:gd name="T74" fmla="*/ 118 w 318"/>
                <a:gd name="T75" fmla="*/ 222 h 287"/>
                <a:gd name="T76" fmla="*/ 112 w 318"/>
                <a:gd name="T77" fmla="*/ 224 h 287"/>
                <a:gd name="T78" fmla="*/ 107 w 318"/>
                <a:gd name="T79" fmla="*/ 226 h 287"/>
                <a:gd name="T80" fmla="*/ 124 w 318"/>
                <a:gd name="T81" fmla="*/ 241 h 287"/>
                <a:gd name="T82" fmla="*/ 145 w 318"/>
                <a:gd name="T83" fmla="*/ 247 h 287"/>
                <a:gd name="T84" fmla="*/ 164 w 318"/>
                <a:gd name="T85" fmla="*/ 262 h 287"/>
                <a:gd name="T86" fmla="*/ 171 w 318"/>
                <a:gd name="T87" fmla="*/ 268 h 287"/>
                <a:gd name="T88" fmla="*/ 188 w 318"/>
                <a:gd name="T89" fmla="*/ 275 h 287"/>
                <a:gd name="T90" fmla="*/ 202 w 318"/>
                <a:gd name="T91" fmla="*/ 272 h 287"/>
                <a:gd name="T92" fmla="*/ 209 w 318"/>
                <a:gd name="T93" fmla="*/ 279 h 287"/>
                <a:gd name="T94" fmla="*/ 215 w 318"/>
                <a:gd name="T95" fmla="*/ 283 h 287"/>
                <a:gd name="T96" fmla="*/ 221 w 318"/>
                <a:gd name="T97" fmla="*/ 287 h 287"/>
                <a:gd name="T98" fmla="*/ 230 w 318"/>
                <a:gd name="T99" fmla="*/ 279 h 287"/>
                <a:gd name="T100" fmla="*/ 230 w 318"/>
                <a:gd name="T101" fmla="*/ 264 h 287"/>
                <a:gd name="T102" fmla="*/ 236 w 318"/>
                <a:gd name="T103" fmla="*/ 247 h 287"/>
                <a:gd name="T104" fmla="*/ 246 w 318"/>
                <a:gd name="T105" fmla="*/ 237 h 287"/>
                <a:gd name="T106" fmla="*/ 249 w 318"/>
                <a:gd name="T107" fmla="*/ 226 h 287"/>
                <a:gd name="T108" fmla="*/ 249 w 318"/>
                <a:gd name="T109" fmla="*/ 211 h 287"/>
                <a:gd name="T110" fmla="*/ 255 w 318"/>
                <a:gd name="T111" fmla="*/ 205 h 287"/>
                <a:gd name="T112" fmla="*/ 257 w 318"/>
                <a:gd name="T113" fmla="*/ 199 h 287"/>
                <a:gd name="T114" fmla="*/ 259 w 318"/>
                <a:gd name="T115" fmla="*/ 178 h 287"/>
                <a:gd name="T116" fmla="*/ 278 w 318"/>
                <a:gd name="T117" fmla="*/ 157 h 287"/>
                <a:gd name="T118" fmla="*/ 295 w 318"/>
                <a:gd name="T119" fmla="*/ 144 h 287"/>
                <a:gd name="T120" fmla="*/ 309 w 318"/>
                <a:gd name="T121" fmla="*/ 13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8" h="287">
                  <a:moveTo>
                    <a:pt x="316" y="129"/>
                  </a:moveTo>
                  <a:lnTo>
                    <a:pt x="314" y="125"/>
                  </a:lnTo>
                  <a:lnTo>
                    <a:pt x="312" y="123"/>
                  </a:lnTo>
                  <a:lnTo>
                    <a:pt x="305" y="121"/>
                  </a:lnTo>
                  <a:lnTo>
                    <a:pt x="297" y="119"/>
                  </a:lnTo>
                  <a:lnTo>
                    <a:pt x="295" y="118"/>
                  </a:lnTo>
                  <a:lnTo>
                    <a:pt x="295" y="116"/>
                  </a:lnTo>
                  <a:lnTo>
                    <a:pt x="293" y="112"/>
                  </a:lnTo>
                  <a:lnTo>
                    <a:pt x="291" y="112"/>
                  </a:lnTo>
                  <a:lnTo>
                    <a:pt x="289" y="110"/>
                  </a:lnTo>
                  <a:lnTo>
                    <a:pt x="280" y="104"/>
                  </a:lnTo>
                  <a:lnTo>
                    <a:pt x="278" y="102"/>
                  </a:lnTo>
                  <a:lnTo>
                    <a:pt x="276" y="104"/>
                  </a:lnTo>
                  <a:lnTo>
                    <a:pt x="274" y="104"/>
                  </a:lnTo>
                  <a:lnTo>
                    <a:pt x="274" y="104"/>
                  </a:lnTo>
                  <a:lnTo>
                    <a:pt x="272" y="104"/>
                  </a:lnTo>
                  <a:lnTo>
                    <a:pt x="269" y="102"/>
                  </a:lnTo>
                  <a:lnTo>
                    <a:pt x="265" y="100"/>
                  </a:lnTo>
                  <a:lnTo>
                    <a:pt x="255" y="95"/>
                  </a:lnTo>
                  <a:lnTo>
                    <a:pt x="248" y="93"/>
                  </a:lnTo>
                  <a:lnTo>
                    <a:pt x="246" y="93"/>
                  </a:lnTo>
                  <a:lnTo>
                    <a:pt x="242" y="93"/>
                  </a:lnTo>
                  <a:lnTo>
                    <a:pt x="242" y="91"/>
                  </a:lnTo>
                  <a:lnTo>
                    <a:pt x="244" y="89"/>
                  </a:lnTo>
                  <a:lnTo>
                    <a:pt x="244" y="89"/>
                  </a:lnTo>
                  <a:lnTo>
                    <a:pt x="244" y="85"/>
                  </a:lnTo>
                  <a:lnTo>
                    <a:pt x="242" y="85"/>
                  </a:lnTo>
                  <a:lnTo>
                    <a:pt x="242" y="83"/>
                  </a:lnTo>
                  <a:lnTo>
                    <a:pt x="240" y="81"/>
                  </a:lnTo>
                  <a:lnTo>
                    <a:pt x="240" y="81"/>
                  </a:lnTo>
                  <a:lnTo>
                    <a:pt x="240" y="80"/>
                  </a:lnTo>
                  <a:lnTo>
                    <a:pt x="242" y="80"/>
                  </a:lnTo>
                  <a:lnTo>
                    <a:pt x="242" y="80"/>
                  </a:lnTo>
                  <a:lnTo>
                    <a:pt x="244" y="80"/>
                  </a:lnTo>
                  <a:lnTo>
                    <a:pt x="244" y="80"/>
                  </a:lnTo>
                  <a:lnTo>
                    <a:pt x="246" y="76"/>
                  </a:lnTo>
                  <a:lnTo>
                    <a:pt x="246" y="74"/>
                  </a:lnTo>
                  <a:lnTo>
                    <a:pt x="244" y="74"/>
                  </a:lnTo>
                  <a:lnTo>
                    <a:pt x="240" y="70"/>
                  </a:lnTo>
                  <a:lnTo>
                    <a:pt x="240" y="68"/>
                  </a:lnTo>
                  <a:lnTo>
                    <a:pt x="238" y="68"/>
                  </a:lnTo>
                  <a:lnTo>
                    <a:pt x="234" y="70"/>
                  </a:lnTo>
                  <a:lnTo>
                    <a:pt x="234" y="70"/>
                  </a:lnTo>
                  <a:lnTo>
                    <a:pt x="230" y="70"/>
                  </a:lnTo>
                  <a:lnTo>
                    <a:pt x="229" y="66"/>
                  </a:lnTo>
                  <a:lnTo>
                    <a:pt x="227" y="64"/>
                  </a:lnTo>
                  <a:lnTo>
                    <a:pt x="225" y="62"/>
                  </a:lnTo>
                  <a:lnTo>
                    <a:pt x="219" y="61"/>
                  </a:lnTo>
                  <a:lnTo>
                    <a:pt x="217" y="59"/>
                  </a:lnTo>
                  <a:lnTo>
                    <a:pt x="217" y="59"/>
                  </a:lnTo>
                  <a:lnTo>
                    <a:pt x="215" y="59"/>
                  </a:lnTo>
                  <a:lnTo>
                    <a:pt x="213" y="55"/>
                  </a:lnTo>
                  <a:lnTo>
                    <a:pt x="211" y="53"/>
                  </a:lnTo>
                  <a:lnTo>
                    <a:pt x="211" y="51"/>
                  </a:lnTo>
                  <a:lnTo>
                    <a:pt x="209" y="51"/>
                  </a:lnTo>
                  <a:lnTo>
                    <a:pt x="202" y="49"/>
                  </a:lnTo>
                  <a:lnTo>
                    <a:pt x="200" y="49"/>
                  </a:lnTo>
                  <a:lnTo>
                    <a:pt x="196" y="49"/>
                  </a:lnTo>
                  <a:lnTo>
                    <a:pt x="192" y="49"/>
                  </a:lnTo>
                  <a:lnTo>
                    <a:pt x="190" y="51"/>
                  </a:lnTo>
                  <a:lnTo>
                    <a:pt x="187" y="53"/>
                  </a:lnTo>
                  <a:lnTo>
                    <a:pt x="187" y="53"/>
                  </a:lnTo>
                  <a:lnTo>
                    <a:pt x="185" y="53"/>
                  </a:lnTo>
                  <a:lnTo>
                    <a:pt x="183" y="51"/>
                  </a:lnTo>
                  <a:lnTo>
                    <a:pt x="181" y="51"/>
                  </a:lnTo>
                  <a:lnTo>
                    <a:pt x="179" y="49"/>
                  </a:lnTo>
                  <a:lnTo>
                    <a:pt x="179" y="47"/>
                  </a:lnTo>
                  <a:lnTo>
                    <a:pt x="177" y="47"/>
                  </a:lnTo>
                  <a:lnTo>
                    <a:pt x="177" y="45"/>
                  </a:lnTo>
                  <a:lnTo>
                    <a:pt x="177" y="45"/>
                  </a:lnTo>
                  <a:lnTo>
                    <a:pt x="177" y="45"/>
                  </a:lnTo>
                  <a:lnTo>
                    <a:pt x="177" y="45"/>
                  </a:lnTo>
                  <a:lnTo>
                    <a:pt x="175" y="43"/>
                  </a:lnTo>
                  <a:lnTo>
                    <a:pt x="173" y="43"/>
                  </a:lnTo>
                  <a:lnTo>
                    <a:pt x="171" y="43"/>
                  </a:lnTo>
                  <a:lnTo>
                    <a:pt x="171" y="43"/>
                  </a:lnTo>
                  <a:lnTo>
                    <a:pt x="169" y="43"/>
                  </a:lnTo>
                  <a:lnTo>
                    <a:pt x="169" y="41"/>
                  </a:lnTo>
                  <a:lnTo>
                    <a:pt x="168" y="38"/>
                  </a:lnTo>
                  <a:lnTo>
                    <a:pt x="168" y="38"/>
                  </a:lnTo>
                  <a:lnTo>
                    <a:pt x="168" y="36"/>
                  </a:lnTo>
                  <a:lnTo>
                    <a:pt x="164" y="34"/>
                  </a:lnTo>
                  <a:lnTo>
                    <a:pt x="162" y="34"/>
                  </a:lnTo>
                  <a:lnTo>
                    <a:pt x="160" y="32"/>
                  </a:lnTo>
                  <a:lnTo>
                    <a:pt x="158" y="32"/>
                  </a:lnTo>
                  <a:lnTo>
                    <a:pt x="158" y="30"/>
                  </a:lnTo>
                  <a:lnTo>
                    <a:pt x="158" y="28"/>
                  </a:lnTo>
                  <a:lnTo>
                    <a:pt x="158" y="26"/>
                  </a:lnTo>
                  <a:lnTo>
                    <a:pt x="158" y="22"/>
                  </a:lnTo>
                  <a:lnTo>
                    <a:pt x="156" y="22"/>
                  </a:lnTo>
                  <a:lnTo>
                    <a:pt x="154" y="22"/>
                  </a:lnTo>
                  <a:lnTo>
                    <a:pt x="152" y="21"/>
                  </a:lnTo>
                  <a:lnTo>
                    <a:pt x="152" y="21"/>
                  </a:lnTo>
                  <a:lnTo>
                    <a:pt x="152" y="19"/>
                  </a:lnTo>
                  <a:lnTo>
                    <a:pt x="152" y="19"/>
                  </a:lnTo>
                  <a:lnTo>
                    <a:pt x="152" y="17"/>
                  </a:lnTo>
                  <a:lnTo>
                    <a:pt x="152" y="17"/>
                  </a:lnTo>
                  <a:lnTo>
                    <a:pt x="150" y="15"/>
                  </a:lnTo>
                  <a:lnTo>
                    <a:pt x="150" y="15"/>
                  </a:lnTo>
                  <a:lnTo>
                    <a:pt x="150" y="13"/>
                  </a:lnTo>
                  <a:lnTo>
                    <a:pt x="150" y="13"/>
                  </a:lnTo>
                  <a:lnTo>
                    <a:pt x="150" y="11"/>
                  </a:lnTo>
                  <a:lnTo>
                    <a:pt x="150" y="9"/>
                  </a:lnTo>
                  <a:lnTo>
                    <a:pt x="150" y="9"/>
                  </a:lnTo>
                  <a:lnTo>
                    <a:pt x="148" y="9"/>
                  </a:lnTo>
                  <a:lnTo>
                    <a:pt x="147" y="9"/>
                  </a:lnTo>
                  <a:lnTo>
                    <a:pt x="147" y="7"/>
                  </a:lnTo>
                  <a:lnTo>
                    <a:pt x="147" y="5"/>
                  </a:lnTo>
                  <a:lnTo>
                    <a:pt x="145" y="3"/>
                  </a:lnTo>
                  <a:lnTo>
                    <a:pt x="143" y="2"/>
                  </a:lnTo>
                  <a:lnTo>
                    <a:pt x="139" y="0"/>
                  </a:lnTo>
                  <a:lnTo>
                    <a:pt x="139" y="0"/>
                  </a:lnTo>
                  <a:lnTo>
                    <a:pt x="133" y="0"/>
                  </a:lnTo>
                  <a:lnTo>
                    <a:pt x="131" y="3"/>
                  </a:lnTo>
                  <a:lnTo>
                    <a:pt x="131" y="9"/>
                  </a:lnTo>
                  <a:lnTo>
                    <a:pt x="129" y="11"/>
                  </a:lnTo>
                  <a:lnTo>
                    <a:pt x="129" y="11"/>
                  </a:lnTo>
                  <a:lnTo>
                    <a:pt x="126" y="9"/>
                  </a:lnTo>
                  <a:lnTo>
                    <a:pt x="126" y="7"/>
                  </a:lnTo>
                  <a:lnTo>
                    <a:pt x="124" y="11"/>
                  </a:lnTo>
                  <a:lnTo>
                    <a:pt x="122" y="13"/>
                  </a:lnTo>
                  <a:lnTo>
                    <a:pt x="122" y="13"/>
                  </a:lnTo>
                  <a:lnTo>
                    <a:pt x="124" y="17"/>
                  </a:lnTo>
                  <a:lnTo>
                    <a:pt x="124" y="17"/>
                  </a:lnTo>
                  <a:lnTo>
                    <a:pt x="128" y="21"/>
                  </a:lnTo>
                  <a:lnTo>
                    <a:pt x="129" y="24"/>
                  </a:lnTo>
                  <a:lnTo>
                    <a:pt x="131" y="28"/>
                  </a:lnTo>
                  <a:lnTo>
                    <a:pt x="131" y="30"/>
                  </a:lnTo>
                  <a:lnTo>
                    <a:pt x="131" y="32"/>
                  </a:lnTo>
                  <a:lnTo>
                    <a:pt x="129" y="32"/>
                  </a:lnTo>
                  <a:lnTo>
                    <a:pt x="128" y="34"/>
                  </a:lnTo>
                  <a:lnTo>
                    <a:pt x="126" y="34"/>
                  </a:lnTo>
                  <a:lnTo>
                    <a:pt x="120" y="32"/>
                  </a:lnTo>
                  <a:lnTo>
                    <a:pt x="118" y="32"/>
                  </a:lnTo>
                  <a:lnTo>
                    <a:pt x="118" y="30"/>
                  </a:lnTo>
                  <a:lnTo>
                    <a:pt x="116" y="28"/>
                  </a:lnTo>
                  <a:lnTo>
                    <a:pt x="114" y="24"/>
                  </a:lnTo>
                  <a:lnTo>
                    <a:pt x="114" y="24"/>
                  </a:lnTo>
                  <a:lnTo>
                    <a:pt x="112" y="24"/>
                  </a:lnTo>
                  <a:lnTo>
                    <a:pt x="110" y="24"/>
                  </a:lnTo>
                  <a:lnTo>
                    <a:pt x="107" y="22"/>
                  </a:lnTo>
                  <a:lnTo>
                    <a:pt x="103" y="22"/>
                  </a:lnTo>
                  <a:lnTo>
                    <a:pt x="101" y="22"/>
                  </a:lnTo>
                  <a:lnTo>
                    <a:pt x="101" y="22"/>
                  </a:lnTo>
                  <a:lnTo>
                    <a:pt x="99" y="22"/>
                  </a:lnTo>
                  <a:lnTo>
                    <a:pt x="97" y="22"/>
                  </a:lnTo>
                  <a:lnTo>
                    <a:pt x="95" y="21"/>
                  </a:lnTo>
                  <a:lnTo>
                    <a:pt x="93" y="21"/>
                  </a:lnTo>
                  <a:lnTo>
                    <a:pt x="89" y="22"/>
                  </a:lnTo>
                  <a:lnTo>
                    <a:pt x="87" y="22"/>
                  </a:lnTo>
                  <a:lnTo>
                    <a:pt x="86" y="22"/>
                  </a:lnTo>
                  <a:lnTo>
                    <a:pt x="86" y="22"/>
                  </a:lnTo>
                  <a:lnTo>
                    <a:pt x="84" y="21"/>
                  </a:lnTo>
                  <a:lnTo>
                    <a:pt x="82" y="19"/>
                  </a:lnTo>
                  <a:lnTo>
                    <a:pt x="80" y="17"/>
                  </a:lnTo>
                  <a:lnTo>
                    <a:pt x="80" y="17"/>
                  </a:lnTo>
                  <a:lnTo>
                    <a:pt x="78" y="17"/>
                  </a:lnTo>
                  <a:lnTo>
                    <a:pt x="78" y="17"/>
                  </a:lnTo>
                  <a:lnTo>
                    <a:pt x="76" y="17"/>
                  </a:lnTo>
                  <a:lnTo>
                    <a:pt x="76" y="15"/>
                  </a:lnTo>
                  <a:lnTo>
                    <a:pt x="76" y="15"/>
                  </a:lnTo>
                  <a:lnTo>
                    <a:pt x="74" y="15"/>
                  </a:lnTo>
                  <a:lnTo>
                    <a:pt x="72" y="15"/>
                  </a:lnTo>
                  <a:lnTo>
                    <a:pt x="68" y="15"/>
                  </a:lnTo>
                  <a:lnTo>
                    <a:pt x="68" y="15"/>
                  </a:lnTo>
                  <a:lnTo>
                    <a:pt x="67" y="15"/>
                  </a:lnTo>
                  <a:lnTo>
                    <a:pt x="63" y="19"/>
                  </a:lnTo>
                  <a:lnTo>
                    <a:pt x="57" y="19"/>
                  </a:lnTo>
                  <a:lnTo>
                    <a:pt x="51" y="22"/>
                  </a:lnTo>
                  <a:lnTo>
                    <a:pt x="47" y="26"/>
                  </a:lnTo>
                  <a:lnTo>
                    <a:pt x="44" y="28"/>
                  </a:lnTo>
                  <a:lnTo>
                    <a:pt x="44" y="28"/>
                  </a:lnTo>
                  <a:lnTo>
                    <a:pt x="42" y="28"/>
                  </a:lnTo>
                  <a:lnTo>
                    <a:pt x="36" y="26"/>
                  </a:lnTo>
                  <a:lnTo>
                    <a:pt x="36" y="26"/>
                  </a:lnTo>
                  <a:lnTo>
                    <a:pt x="34" y="28"/>
                  </a:lnTo>
                  <a:lnTo>
                    <a:pt x="34" y="28"/>
                  </a:lnTo>
                  <a:lnTo>
                    <a:pt x="30" y="32"/>
                  </a:lnTo>
                  <a:lnTo>
                    <a:pt x="28" y="36"/>
                  </a:lnTo>
                  <a:lnTo>
                    <a:pt x="23" y="41"/>
                  </a:lnTo>
                  <a:lnTo>
                    <a:pt x="21" y="41"/>
                  </a:lnTo>
                  <a:lnTo>
                    <a:pt x="21" y="43"/>
                  </a:lnTo>
                  <a:lnTo>
                    <a:pt x="23" y="45"/>
                  </a:lnTo>
                  <a:lnTo>
                    <a:pt x="23" y="45"/>
                  </a:lnTo>
                  <a:lnTo>
                    <a:pt x="23" y="47"/>
                  </a:lnTo>
                  <a:lnTo>
                    <a:pt x="21" y="47"/>
                  </a:lnTo>
                  <a:lnTo>
                    <a:pt x="21" y="49"/>
                  </a:lnTo>
                  <a:lnTo>
                    <a:pt x="19" y="49"/>
                  </a:lnTo>
                  <a:lnTo>
                    <a:pt x="19" y="47"/>
                  </a:lnTo>
                  <a:lnTo>
                    <a:pt x="17" y="47"/>
                  </a:lnTo>
                  <a:lnTo>
                    <a:pt x="17" y="49"/>
                  </a:lnTo>
                  <a:lnTo>
                    <a:pt x="17" y="49"/>
                  </a:lnTo>
                  <a:lnTo>
                    <a:pt x="19" y="51"/>
                  </a:lnTo>
                  <a:lnTo>
                    <a:pt x="19" y="53"/>
                  </a:lnTo>
                  <a:lnTo>
                    <a:pt x="21" y="53"/>
                  </a:lnTo>
                  <a:lnTo>
                    <a:pt x="21" y="53"/>
                  </a:lnTo>
                  <a:lnTo>
                    <a:pt x="21" y="55"/>
                  </a:lnTo>
                  <a:lnTo>
                    <a:pt x="21" y="57"/>
                  </a:lnTo>
                  <a:lnTo>
                    <a:pt x="21" y="61"/>
                  </a:lnTo>
                  <a:lnTo>
                    <a:pt x="19" y="61"/>
                  </a:lnTo>
                  <a:lnTo>
                    <a:pt x="19" y="59"/>
                  </a:lnTo>
                  <a:lnTo>
                    <a:pt x="19" y="59"/>
                  </a:lnTo>
                  <a:lnTo>
                    <a:pt x="17" y="59"/>
                  </a:lnTo>
                  <a:lnTo>
                    <a:pt x="17" y="61"/>
                  </a:lnTo>
                  <a:lnTo>
                    <a:pt x="15" y="64"/>
                  </a:lnTo>
                  <a:lnTo>
                    <a:pt x="13" y="68"/>
                  </a:lnTo>
                  <a:lnTo>
                    <a:pt x="13" y="70"/>
                  </a:lnTo>
                  <a:lnTo>
                    <a:pt x="13" y="72"/>
                  </a:lnTo>
                  <a:lnTo>
                    <a:pt x="15" y="74"/>
                  </a:lnTo>
                  <a:lnTo>
                    <a:pt x="17" y="76"/>
                  </a:lnTo>
                  <a:lnTo>
                    <a:pt x="17" y="78"/>
                  </a:lnTo>
                  <a:lnTo>
                    <a:pt x="17" y="80"/>
                  </a:lnTo>
                  <a:lnTo>
                    <a:pt x="19" y="81"/>
                  </a:lnTo>
                  <a:lnTo>
                    <a:pt x="19" y="83"/>
                  </a:lnTo>
                  <a:lnTo>
                    <a:pt x="19" y="85"/>
                  </a:lnTo>
                  <a:lnTo>
                    <a:pt x="19" y="87"/>
                  </a:lnTo>
                  <a:lnTo>
                    <a:pt x="19" y="87"/>
                  </a:lnTo>
                  <a:lnTo>
                    <a:pt x="17" y="89"/>
                  </a:lnTo>
                  <a:lnTo>
                    <a:pt x="17" y="89"/>
                  </a:lnTo>
                  <a:lnTo>
                    <a:pt x="19" y="93"/>
                  </a:lnTo>
                  <a:lnTo>
                    <a:pt x="19" y="93"/>
                  </a:lnTo>
                  <a:lnTo>
                    <a:pt x="21" y="95"/>
                  </a:lnTo>
                  <a:lnTo>
                    <a:pt x="21" y="95"/>
                  </a:lnTo>
                  <a:lnTo>
                    <a:pt x="23" y="95"/>
                  </a:lnTo>
                  <a:lnTo>
                    <a:pt x="23" y="95"/>
                  </a:lnTo>
                  <a:lnTo>
                    <a:pt x="23" y="95"/>
                  </a:lnTo>
                  <a:lnTo>
                    <a:pt x="23" y="97"/>
                  </a:lnTo>
                  <a:lnTo>
                    <a:pt x="23" y="97"/>
                  </a:lnTo>
                  <a:lnTo>
                    <a:pt x="23" y="99"/>
                  </a:lnTo>
                  <a:lnTo>
                    <a:pt x="21" y="99"/>
                  </a:lnTo>
                  <a:lnTo>
                    <a:pt x="19" y="100"/>
                  </a:lnTo>
                  <a:lnTo>
                    <a:pt x="11" y="104"/>
                  </a:lnTo>
                  <a:lnTo>
                    <a:pt x="9" y="106"/>
                  </a:lnTo>
                  <a:lnTo>
                    <a:pt x="7" y="106"/>
                  </a:lnTo>
                  <a:lnTo>
                    <a:pt x="6" y="106"/>
                  </a:lnTo>
                  <a:lnTo>
                    <a:pt x="4" y="106"/>
                  </a:lnTo>
                  <a:lnTo>
                    <a:pt x="2" y="108"/>
                  </a:lnTo>
                  <a:lnTo>
                    <a:pt x="0" y="108"/>
                  </a:lnTo>
                  <a:lnTo>
                    <a:pt x="0" y="110"/>
                  </a:lnTo>
                  <a:lnTo>
                    <a:pt x="2" y="112"/>
                  </a:lnTo>
                  <a:lnTo>
                    <a:pt x="2" y="112"/>
                  </a:lnTo>
                  <a:lnTo>
                    <a:pt x="6" y="110"/>
                  </a:lnTo>
                  <a:lnTo>
                    <a:pt x="7" y="110"/>
                  </a:lnTo>
                  <a:lnTo>
                    <a:pt x="9" y="110"/>
                  </a:lnTo>
                  <a:lnTo>
                    <a:pt x="17" y="118"/>
                  </a:lnTo>
                  <a:lnTo>
                    <a:pt x="23" y="121"/>
                  </a:lnTo>
                  <a:lnTo>
                    <a:pt x="34" y="127"/>
                  </a:lnTo>
                  <a:lnTo>
                    <a:pt x="36" y="129"/>
                  </a:lnTo>
                  <a:lnTo>
                    <a:pt x="34" y="131"/>
                  </a:lnTo>
                  <a:lnTo>
                    <a:pt x="32" y="131"/>
                  </a:lnTo>
                  <a:lnTo>
                    <a:pt x="28" y="135"/>
                  </a:lnTo>
                  <a:lnTo>
                    <a:pt x="25" y="138"/>
                  </a:lnTo>
                  <a:lnTo>
                    <a:pt x="21" y="148"/>
                  </a:lnTo>
                  <a:lnTo>
                    <a:pt x="17" y="156"/>
                  </a:lnTo>
                  <a:lnTo>
                    <a:pt x="17" y="157"/>
                  </a:lnTo>
                  <a:lnTo>
                    <a:pt x="17" y="161"/>
                  </a:lnTo>
                  <a:lnTo>
                    <a:pt x="17" y="165"/>
                  </a:lnTo>
                  <a:lnTo>
                    <a:pt x="17" y="167"/>
                  </a:lnTo>
                  <a:lnTo>
                    <a:pt x="19" y="173"/>
                  </a:lnTo>
                  <a:lnTo>
                    <a:pt x="19" y="178"/>
                  </a:lnTo>
                  <a:lnTo>
                    <a:pt x="21" y="180"/>
                  </a:lnTo>
                  <a:lnTo>
                    <a:pt x="25" y="190"/>
                  </a:lnTo>
                  <a:lnTo>
                    <a:pt x="32" y="184"/>
                  </a:lnTo>
                  <a:lnTo>
                    <a:pt x="36" y="182"/>
                  </a:lnTo>
                  <a:lnTo>
                    <a:pt x="38" y="182"/>
                  </a:lnTo>
                  <a:lnTo>
                    <a:pt x="38" y="182"/>
                  </a:lnTo>
                  <a:lnTo>
                    <a:pt x="44" y="186"/>
                  </a:lnTo>
                  <a:lnTo>
                    <a:pt x="47" y="188"/>
                  </a:lnTo>
                  <a:lnTo>
                    <a:pt x="47" y="190"/>
                  </a:lnTo>
                  <a:lnTo>
                    <a:pt x="49" y="190"/>
                  </a:lnTo>
                  <a:lnTo>
                    <a:pt x="55" y="188"/>
                  </a:lnTo>
                  <a:lnTo>
                    <a:pt x="57" y="184"/>
                  </a:lnTo>
                  <a:lnTo>
                    <a:pt x="59" y="180"/>
                  </a:lnTo>
                  <a:lnTo>
                    <a:pt x="57" y="175"/>
                  </a:lnTo>
                  <a:lnTo>
                    <a:pt x="55" y="165"/>
                  </a:lnTo>
                  <a:lnTo>
                    <a:pt x="55" y="163"/>
                  </a:lnTo>
                  <a:lnTo>
                    <a:pt x="55" y="161"/>
                  </a:lnTo>
                  <a:lnTo>
                    <a:pt x="55" y="159"/>
                  </a:lnTo>
                  <a:lnTo>
                    <a:pt x="55" y="159"/>
                  </a:lnTo>
                  <a:lnTo>
                    <a:pt x="57" y="157"/>
                  </a:lnTo>
                  <a:lnTo>
                    <a:pt x="59" y="157"/>
                  </a:lnTo>
                  <a:lnTo>
                    <a:pt x="59" y="157"/>
                  </a:lnTo>
                  <a:lnTo>
                    <a:pt x="61" y="157"/>
                  </a:lnTo>
                  <a:lnTo>
                    <a:pt x="61" y="159"/>
                  </a:lnTo>
                  <a:lnTo>
                    <a:pt x="67" y="165"/>
                  </a:lnTo>
                  <a:lnTo>
                    <a:pt x="70" y="169"/>
                  </a:lnTo>
                  <a:lnTo>
                    <a:pt x="72" y="175"/>
                  </a:lnTo>
                  <a:lnTo>
                    <a:pt x="74" y="177"/>
                  </a:lnTo>
                  <a:lnTo>
                    <a:pt x="76" y="178"/>
                  </a:lnTo>
                  <a:lnTo>
                    <a:pt x="84" y="182"/>
                  </a:lnTo>
                  <a:lnTo>
                    <a:pt x="87" y="186"/>
                  </a:lnTo>
                  <a:lnTo>
                    <a:pt x="89" y="190"/>
                  </a:lnTo>
                  <a:lnTo>
                    <a:pt x="91" y="194"/>
                  </a:lnTo>
                  <a:lnTo>
                    <a:pt x="95" y="197"/>
                  </a:lnTo>
                  <a:lnTo>
                    <a:pt x="99" y="201"/>
                  </a:lnTo>
                  <a:lnTo>
                    <a:pt x="114" y="211"/>
                  </a:lnTo>
                  <a:lnTo>
                    <a:pt x="118" y="213"/>
                  </a:lnTo>
                  <a:lnTo>
                    <a:pt x="124" y="213"/>
                  </a:lnTo>
                  <a:lnTo>
                    <a:pt x="126" y="215"/>
                  </a:lnTo>
                  <a:lnTo>
                    <a:pt x="126" y="215"/>
                  </a:lnTo>
                  <a:lnTo>
                    <a:pt x="126" y="216"/>
                  </a:lnTo>
                  <a:lnTo>
                    <a:pt x="124" y="218"/>
                  </a:lnTo>
                  <a:lnTo>
                    <a:pt x="120" y="222"/>
                  </a:lnTo>
                  <a:lnTo>
                    <a:pt x="118" y="222"/>
                  </a:lnTo>
                  <a:lnTo>
                    <a:pt x="118" y="222"/>
                  </a:lnTo>
                  <a:lnTo>
                    <a:pt x="116" y="222"/>
                  </a:lnTo>
                  <a:lnTo>
                    <a:pt x="116" y="222"/>
                  </a:lnTo>
                  <a:lnTo>
                    <a:pt x="116" y="222"/>
                  </a:lnTo>
                  <a:lnTo>
                    <a:pt x="114" y="222"/>
                  </a:lnTo>
                  <a:lnTo>
                    <a:pt x="114" y="224"/>
                  </a:lnTo>
                  <a:lnTo>
                    <a:pt x="112" y="226"/>
                  </a:lnTo>
                  <a:lnTo>
                    <a:pt x="112" y="224"/>
                  </a:lnTo>
                  <a:lnTo>
                    <a:pt x="110" y="224"/>
                  </a:lnTo>
                  <a:lnTo>
                    <a:pt x="110" y="224"/>
                  </a:lnTo>
                  <a:lnTo>
                    <a:pt x="110" y="224"/>
                  </a:lnTo>
                  <a:lnTo>
                    <a:pt x="108" y="224"/>
                  </a:lnTo>
                  <a:lnTo>
                    <a:pt x="108" y="226"/>
                  </a:lnTo>
                  <a:lnTo>
                    <a:pt x="107" y="226"/>
                  </a:lnTo>
                  <a:lnTo>
                    <a:pt x="107" y="226"/>
                  </a:lnTo>
                  <a:lnTo>
                    <a:pt x="107" y="226"/>
                  </a:lnTo>
                  <a:lnTo>
                    <a:pt x="107" y="228"/>
                  </a:lnTo>
                  <a:lnTo>
                    <a:pt x="107" y="228"/>
                  </a:lnTo>
                  <a:lnTo>
                    <a:pt x="107" y="228"/>
                  </a:lnTo>
                  <a:lnTo>
                    <a:pt x="107" y="230"/>
                  </a:lnTo>
                  <a:lnTo>
                    <a:pt x="120" y="235"/>
                  </a:lnTo>
                  <a:lnTo>
                    <a:pt x="122" y="237"/>
                  </a:lnTo>
                  <a:lnTo>
                    <a:pt x="124" y="239"/>
                  </a:lnTo>
                  <a:lnTo>
                    <a:pt x="124" y="241"/>
                  </a:lnTo>
                  <a:lnTo>
                    <a:pt x="124" y="247"/>
                  </a:lnTo>
                  <a:lnTo>
                    <a:pt x="128" y="245"/>
                  </a:lnTo>
                  <a:lnTo>
                    <a:pt x="133" y="243"/>
                  </a:lnTo>
                  <a:lnTo>
                    <a:pt x="135" y="243"/>
                  </a:lnTo>
                  <a:lnTo>
                    <a:pt x="137" y="243"/>
                  </a:lnTo>
                  <a:lnTo>
                    <a:pt x="137" y="243"/>
                  </a:lnTo>
                  <a:lnTo>
                    <a:pt x="145" y="247"/>
                  </a:lnTo>
                  <a:lnTo>
                    <a:pt x="145" y="247"/>
                  </a:lnTo>
                  <a:lnTo>
                    <a:pt x="147" y="249"/>
                  </a:lnTo>
                  <a:lnTo>
                    <a:pt x="147" y="249"/>
                  </a:lnTo>
                  <a:lnTo>
                    <a:pt x="147" y="251"/>
                  </a:lnTo>
                  <a:lnTo>
                    <a:pt x="147" y="253"/>
                  </a:lnTo>
                  <a:lnTo>
                    <a:pt x="148" y="253"/>
                  </a:lnTo>
                  <a:lnTo>
                    <a:pt x="160" y="262"/>
                  </a:lnTo>
                  <a:lnTo>
                    <a:pt x="162" y="262"/>
                  </a:lnTo>
                  <a:lnTo>
                    <a:pt x="164" y="262"/>
                  </a:lnTo>
                  <a:lnTo>
                    <a:pt x="166" y="262"/>
                  </a:lnTo>
                  <a:lnTo>
                    <a:pt x="166" y="262"/>
                  </a:lnTo>
                  <a:lnTo>
                    <a:pt x="168" y="262"/>
                  </a:lnTo>
                  <a:lnTo>
                    <a:pt x="168" y="262"/>
                  </a:lnTo>
                  <a:lnTo>
                    <a:pt x="168" y="264"/>
                  </a:lnTo>
                  <a:lnTo>
                    <a:pt x="169" y="266"/>
                  </a:lnTo>
                  <a:lnTo>
                    <a:pt x="169" y="266"/>
                  </a:lnTo>
                  <a:lnTo>
                    <a:pt x="171" y="268"/>
                  </a:lnTo>
                  <a:lnTo>
                    <a:pt x="171" y="272"/>
                  </a:lnTo>
                  <a:lnTo>
                    <a:pt x="173" y="275"/>
                  </a:lnTo>
                  <a:lnTo>
                    <a:pt x="181" y="272"/>
                  </a:lnTo>
                  <a:lnTo>
                    <a:pt x="185" y="272"/>
                  </a:lnTo>
                  <a:lnTo>
                    <a:pt x="185" y="272"/>
                  </a:lnTo>
                  <a:lnTo>
                    <a:pt x="187" y="274"/>
                  </a:lnTo>
                  <a:lnTo>
                    <a:pt x="187" y="275"/>
                  </a:lnTo>
                  <a:lnTo>
                    <a:pt x="188" y="275"/>
                  </a:lnTo>
                  <a:lnTo>
                    <a:pt x="188" y="274"/>
                  </a:lnTo>
                  <a:lnTo>
                    <a:pt x="190" y="274"/>
                  </a:lnTo>
                  <a:lnTo>
                    <a:pt x="198" y="275"/>
                  </a:lnTo>
                  <a:lnTo>
                    <a:pt x="200" y="274"/>
                  </a:lnTo>
                  <a:lnTo>
                    <a:pt x="200" y="274"/>
                  </a:lnTo>
                  <a:lnTo>
                    <a:pt x="200" y="272"/>
                  </a:lnTo>
                  <a:lnTo>
                    <a:pt x="200" y="272"/>
                  </a:lnTo>
                  <a:lnTo>
                    <a:pt x="202" y="272"/>
                  </a:lnTo>
                  <a:lnTo>
                    <a:pt x="204" y="272"/>
                  </a:lnTo>
                  <a:lnTo>
                    <a:pt x="208" y="272"/>
                  </a:lnTo>
                  <a:lnTo>
                    <a:pt x="209" y="274"/>
                  </a:lnTo>
                  <a:lnTo>
                    <a:pt x="209" y="274"/>
                  </a:lnTo>
                  <a:lnTo>
                    <a:pt x="209" y="275"/>
                  </a:lnTo>
                  <a:lnTo>
                    <a:pt x="209" y="277"/>
                  </a:lnTo>
                  <a:lnTo>
                    <a:pt x="209" y="279"/>
                  </a:lnTo>
                  <a:lnTo>
                    <a:pt x="209" y="279"/>
                  </a:lnTo>
                  <a:lnTo>
                    <a:pt x="211" y="279"/>
                  </a:lnTo>
                  <a:lnTo>
                    <a:pt x="213" y="277"/>
                  </a:lnTo>
                  <a:lnTo>
                    <a:pt x="215" y="277"/>
                  </a:lnTo>
                  <a:lnTo>
                    <a:pt x="215" y="279"/>
                  </a:lnTo>
                  <a:lnTo>
                    <a:pt x="215" y="279"/>
                  </a:lnTo>
                  <a:lnTo>
                    <a:pt x="215" y="281"/>
                  </a:lnTo>
                  <a:lnTo>
                    <a:pt x="215" y="281"/>
                  </a:lnTo>
                  <a:lnTo>
                    <a:pt x="215" y="283"/>
                  </a:lnTo>
                  <a:lnTo>
                    <a:pt x="217" y="283"/>
                  </a:lnTo>
                  <a:lnTo>
                    <a:pt x="217" y="281"/>
                  </a:lnTo>
                  <a:lnTo>
                    <a:pt x="219" y="281"/>
                  </a:lnTo>
                  <a:lnTo>
                    <a:pt x="219" y="283"/>
                  </a:lnTo>
                  <a:lnTo>
                    <a:pt x="219" y="283"/>
                  </a:lnTo>
                  <a:lnTo>
                    <a:pt x="219" y="285"/>
                  </a:lnTo>
                  <a:lnTo>
                    <a:pt x="219" y="285"/>
                  </a:lnTo>
                  <a:lnTo>
                    <a:pt x="221" y="287"/>
                  </a:lnTo>
                  <a:lnTo>
                    <a:pt x="223" y="287"/>
                  </a:lnTo>
                  <a:lnTo>
                    <a:pt x="223" y="287"/>
                  </a:lnTo>
                  <a:lnTo>
                    <a:pt x="225" y="287"/>
                  </a:lnTo>
                  <a:lnTo>
                    <a:pt x="227" y="285"/>
                  </a:lnTo>
                  <a:lnTo>
                    <a:pt x="227" y="285"/>
                  </a:lnTo>
                  <a:lnTo>
                    <a:pt x="230" y="283"/>
                  </a:lnTo>
                  <a:lnTo>
                    <a:pt x="230" y="281"/>
                  </a:lnTo>
                  <a:lnTo>
                    <a:pt x="230" y="279"/>
                  </a:lnTo>
                  <a:lnTo>
                    <a:pt x="232" y="277"/>
                  </a:lnTo>
                  <a:lnTo>
                    <a:pt x="230" y="277"/>
                  </a:lnTo>
                  <a:lnTo>
                    <a:pt x="229" y="275"/>
                  </a:lnTo>
                  <a:lnTo>
                    <a:pt x="229" y="272"/>
                  </a:lnTo>
                  <a:lnTo>
                    <a:pt x="229" y="270"/>
                  </a:lnTo>
                  <a:lnTo>
                    <a:pt x="229" y="268"/>
                  </a:lnTo>
                  <a:lnTo>
                    <a:pt x="229" y="266"/>
                  </a:lnTo>
                  <a:lnTo>
                    <a:pt x="230" y="264"/>
                  </a:lnTo>
                  <a:lnTo>
                    <a:pt x="230" y="264"/>
                  </a:lnTo>
                  <a:lnTo>
                    <a:pt x="232" y="262"/>
                  </a:lnTo>
                  <a:lnTo>
                    <a:pt x="234" y="262"/>
                  </a:lnTo>
                  <a:lnTo>
                    <a:pt x="234" y="260"/>
                  </a:lnTo>
                  <a:lnTo>
                    <a:pt x="234" y="260"/>
                  </a:lnTo>
                  <a:lnTo>
                    <a:pt x="234" y="256"/>
                  </a:lnTo>
                  <a:lnTo>
                    <a:pt x="236" y="251"/>
                  </a:lnTo>
                  <a:lnTo>
                    <a:pt x="236" y="247"/>
                  </a:lnTo>
                  <a:lnTo>
                    <a:pt x="240" y="245"/>
                  </a:lnTo>
                  <a:lnTo>
                    <a:pt x="242" y="247"/>
                  </a:lnTo>
                  <a:lnTo>
                    <a:pt x="244" y="247"/>
                  </a:lnTo>
                  <a:lnTo>
                    <a:pt x="246" y="245"/>
                  </a:lnTo>
                  <a:lnTo>
                    <a:pt x="246" y="245"/>
                  </a:lnTo>
                  <a:lnTo>
                    <a:pt x="246" y="243"/>
                  </a:lnTo>
                  <a:lnTo>
                    <a:pt x="244" y="237"/>
                  </a:lnTo>
                  <a:lnTo>
                    <a:pt x="246" y="237"/>
                  </a:lnTo>
                  <a:lnTo>
                    <a:pt x="248" y="235"/>
                  </a:lnTo>
                  <a:lnTo>
                    <a:pt x="248" y="237"/>
                  </a:lnTo>
                  <a:lnTo>
                    <a:pt x="249" y="237"/>
                  </a:lnTo>
                  <a:lnTo>
                    <a:pt x="251" y="230"/>
                  </a:lnTo>
                  <a:lnTo>
                    <a:pt x="251" y="228"/>
                  </a:lnTo>
                  <a:lnTo>
                    <a:pt x="251" y="226"/>
                  </a:lnTo>
                  <a:lnTo>
                    <a:pt x="249" y="226"/>
                  </a:lnTo>
                  <a:lnTo>
                    <a:pt x="249" y="226"/>
                  </a:lnTo>
                  <a:lnTo>
                    <a:pt x="248" y="226"/>
                  </a:lnTo>
                  <a:lnTo>
                    <a:pt x="248" y="224"/>
                  </a:lnTo>
                  <a:lnTo>
                    <a:pt x="248" y="220"/>
                  </a:lnTo>
                  <a:lnTo>
                    <a:pt x="246" y="216"/>
                  </a:lnTo>
                  <a:lnTo>
                    <a:pt x="244" y="215"/>
                  </a:lnTo>
                  <a:lnTo>
                    <a:pt x="246" y="213"/>
                  </a:lnTo>
                  <a:lnTo>
                    <a:pt x="246" y="213"/>
                  </a:lnTo>
                  <a:lnTo>
                    <a:pt x="249" y="211"/>
                  </a:lnTo>
                  <a:lnTo>
                    <a:pt x="249" y="211"/>
                  </a:lnTo>
                  <a:lnTo>
                    <a:pt x="249" y="209"/>
                  </a:lnTo>
                  <a:lnTo>
                    <a:pt x="249" y="209"/>
                  </a:lnTo>
                  <a:lnTo>
                    <a:pt x="251" y="207"/>
                  </a:lnTo>
                  <a:lnTo>
                    <a:pt x="251" y="207"/>
                  </a:lnTo>
                  <a:lnTo>
                    <a:pt x="251" y="207"/>
                  </a:lnTo>
                  <a:lnTo>
                    <a:pt x="253" y="205"/>
                  </a:lnTo>
                  <a:lnTo>
                    <a:pt x="255" y="205"/>
                  </a:lnTo>
                  <a:lnTo>
                    <a:pt x="255" y="203"/>
                  </a:lnTo>
                  <a:lnTo>
                    <a:pt x="255" y="203"/>
                  </a:lnTo>
                  <a:lnTo>
                    <a:pt x="255" y="203"/>
                  </a:lnTo>
                  <a:lnTo>
                    <a:pt x="255" y="201"/>
                  </a:lnTo>
                  <a:lnTo>
                    <a:pt x="255" y="201"/>
                  </a:lnTo>
                  <a:lnTo>
                    <a:pt x="255" y="201"/>
                  </a:lnTo>
                  <a:lnTo>
                    <a:pt x="257" y="199"/>
                  </a:lnTo>
                  <a:lnTo>
                    <a:pt x="257" y="199"/>
                  </a:lnTo>
                  <a:lnTo>
                    <a:pt x="259" y="197"/>
                  </a:lnTo>
                  <a:lnTo>
                    <a:pt x="261" y="196"/>
                  </a:lnTo>
                  <a:lnTo>
                    <a:pt x="261" y="192"/>
                  </a:lnTo>
                  <a:lnTo>
                    <a:pt x="259" y="190"/>
                  </a:lnTo>
                  <a:lnTo>
                    <a:pt x="259" y="188"/>
                  </a:lnTo>
                  <a:lnTo>
                    <a:pt x="257" y="184"/>
                  </a:lnTo>
                  <a:lnTo>
                    <a:pt x="257" y="182"/>
                  </a:lnTo>
                  <a:lnTo>
                    <a:pt x="259" y="178"/>
                  </a:lnTo>
                  <a:lnTo>
                    <a:pt x="261" y="177"/>
                  </a:lnTo>
                  <a:lnTo>
                    <a:pt x="267" y="175"/>
                  </a:lnTo>
                  <a:lnTo>
                    <a:pt x="269" y="173"/>
                  </a:lnTo>
                  <a:lnTo>
                    <a:pt x="274" y="167"/>
                  </a:lnTo>
                  <a:lnTo>
                    <a:pt x="276" y="165"/>
                  </a:lnTo>
                  <a:lnTo>
                    <a:pt x="276" y="161"/>
                  </a:lnTo>
                  <a:lnTo>
                    <a:pt x="278" y="159"/>
                  </a:lnTo>
                  <a:lnTo>
                    <a:pt x="278" y="157"/>
                  </a:lnTo>
                  <a:lnTo>
                    <a:pt x="282" y="157"/>
                  </a:lnTo>
                  <a:lnTo>
                    <a:pt x="284" y="157"/>
                  </a:lnTo>
                  <a:lnTo>
                    <a:pt x="286" y="156"/>
                  </a:lnTo>
                  <a:lnTo>
                    <a:pt x="288" y="154"/>
                  </a:lnTo>
                  <a:lnTo>
                    <a:pt x="291" y="152"/>
                  </a:lnTo>
                  <a:lnTo>
                    <a:pt x="291" y="150"/>
                  </a:lnTo>
                  <a:lnTo>
                    <a:pt x="295" y="146"/>
                  </a:lnTo>
                  <a:lnTo>
                    <a:pt x="295" y="144"/>
                  </a:lnTo>
                  <a:lnTo>
                    <a:pt x="301" y="140"/>
                  </a:lnTo>
                  <a:lnTo>
                    <a:pt x="303" y="138"/>
                  </a:lnTo>
                  <a:lnTo>
                    <a:pt x="303" y="135"/>
                  </a:lnTo>
                  <a:lnTo>
                    <a:pt x="303" y="133"/>
                  </a:lnTo>
                  <a:lnTo>
                    <a:pt x="305" y="131"/>
                  </a:lnTo>
                  <a:lnTo>
                    <a:pt x="307" y="131"/>
                  </a:lnTo>
                  <a:lnTo>
                    <a:pt x="307" y="133"/>
                  </a:lnTo>
                  <a:lnTo>
                    <a:pt x="309" y="135"/>
                  </a:lnTo>
                  <a:lnTo>
                    <a:pt x="310" y="135"/>
                  </a:lnTo>
                  <a:lnTo>
                    <a:pt x="316" y="133"/>
                  </a:lnTo>
                  <a:lnTo>
                    <a:pt x="316" y="133"/>
                  </a:lnTo>
                  <a:lnTo>
                    <a:pt x="318" y="131"/>
                  </a:lnTo>
                  <a:lnTo>
                    <a:pt x="316" y="12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8" name="Freeform 10">
              <a:extLst>
                <a:ext uri="{FF2B5EF4-FFF2-40B4-BE49-F238E27FC236}">
                  <a16:creationId xmlns:a16="http://schemas.microsoft.com/office/drawing/2014/main" id="{A45F72BA-7FBE-3259-4A93-C455372558BE}"/>
                </a:ext>
              </a:extLst>
            </p:cNvPr>
            <p:cNvSpPr>
              <a:spLocks/>
            </p:cNvSpPr>
            <p:nvPr/>
          </p:nvSpPr>
          <p:spPr bwMode="auto">
            <a:xfrm>
              <a:off x="5084763" y="2569376"/>
              <a:ext cx="1108075" cy="1068388"/>
            </a:xfrm>
            <a:custGeom>
              <a:avLst/>
              <a:gdLst>
                <a:gd name="T0" fmla="*/ 652 w 698"/>
                <a:gd name="T1" fmla="*/ 453 h 673"/>
                <a:gd name="T2" fmla="*/ 656 w 698"/>
                <a:gd name="T3" fmla="*/ 426 h 673"/>
                <a:gd name="T4" fmla="*/ 635 w 698"/>
                <a:gd name="T5" fmla="*/ 405 h 673"/>
                <a:gd name="T6" fmla="*/ 677 w 698"/>
                <a:gd name="T7" fmla="*/ 392 h 673"/>
                <a:gd name="T8" fmla="*/ 642 w 698"/>
                <a:gd name="T9" fmla="*/ 354 h 673"/>
                <a:gd name="T10" fmla="*/ 610 w 698"/>
                <a:gd name="T11" fmla="*/ 312 h 673"/>
                <a:gd name="T12" fmla="*/ 517 w 698"/>
                <a:gd name="T13" fmla="*/ 285 h 673"/>
                <a:gd name="T14" fmla="*/ 404 w 698"/>
                <a:gd name="T15" fmla="*/ 243 h 673"/>
                <a:gd name="T16" fmla="*/ 355 w 698"/>
                <a:gd name="T17" fmla="*/ 207 h 673"/>
                <a:gd name="T18" fmla="*/ 307 w 698"/>
                <a:gd name="T19" fmla="*/ 188 h 673"/>
                <a:gd name="T20" fmla="*/ 263 w 698"/>
                <a:gd name="T21" fmla="*/ 171 h 673"/>
                <a:gd name="T22" fmla="*/ 217 w 698"/>
                <a:gd name="T23" fmla="*/ 162 h 673"/>
                <a:gd name="T24" fmla="*/ 153 w 698"/>
                <a:gd name="T25" fmla="*/ 116 h 673"/>
                <a:gd name="T26" fmla="*/ 118 w 698"/>
                <a:gd name="T27" fmla="*/ 65 h 673"/>
                <a:gd name="T28" fmla="*/ 63 w 698"/>
                <a:gd name="T29" fmla="*/ 46 h 673"/>
                <a:gd name="T30" fmla="*/ 21 w 698"/>
                <a:gd name="T31" fmla="*/ 40 h 673"/>
                <a:gd name="T32" fmla="*/ 0 w 698"/>
                <a:gd name="T33" fmla="*/ 89 h 673"/>
                <a:gd name="T34" fmla="*/ 6 w 698"/>
                <a:gd name="T35" fmla="*/ 137 h 673"/>
                <a:gd name="T36" fmla="*/ 23 w 698"/>
                <a:gd name="T37" fmla="*/ 192 h 673"/>
                <a:gd name="T38" fmla="*/ 38 w 698"/>
                <a:gd name="T39" fmla="*/ 224 h 673"/>
                <a:gd name="T40" fmla="*/ 38 w 698"/>
                <a:gd name="T41" fmla="*/ 262 h 673"/>
                <a:gd name="T42" fmla="*/ 23 w 698"/>
                <a:gd name="T43" fmla="*/ 293 h 673"/>
                <a:gd name="T44" fmla="*/ 52 w 698"/>
                <a:gd name="T45" fmla="*/ 329 h 673"/>
                <a:gd name="T46" fmla="*/ 52 w 698"/>
                <a:gd name="T47" fmla="*/ 354 h 673"/>
                <a:gd name="T48" fmla="*/ 31 w 698"/>
                <a:gd name="T49" fmla="*/ 380 h 673"/>
                <a:gd name="T50" fmla="*/ 86 w 698"/>
                <a:gd name="T51" fmla="*/ 369 h 673"/>
                <a:gd name="T52" fmla="*/ 105 w 698"/>
                <a:gd name="T53" fmla="*/ 369 h 673"/>
                <a:gd name="T54" fmla="*/ 139 w 698"/>
                <a:gd name="T55" fmla="*/ 382 h 673"/>
                <a:gd name="T56" fmla="*/ 175 w 698"/>
                <a:gd name="T57" fmla="*/ 401 h 673"/>
                <a:gd name="T58" fmla="*/ 172 w 698"/>
                <a:gd name="T59" fmla="*/ 447 h 673"/>
                <a:gd name="T60" fmla="*/ 153 w 698"/>
                <a:gd name="T61" fmla="*/ 498 h 673"/>
                <a:gd name="T62" fmla="*/ 118 w 698"/>
                <a:gd name="T63" fmla="*/ 557 h 673"/>
                <a:gd name="T64" fmla="*/ 109 w 698"/>
                <a:gd name="T65" fmla="*/ 614 h 673"/>
                <a:gd name="T66" fmla="*/ 130 w 698"/>
                <a:gd name="T67" fmla="*/ 622 h 673"/>
                <a:gd name="T68" fmla="*/ 177 w 698"/>
                <a:gd name="T69" fmla="*/ 616 h 673"/>
                <a:gd name="T70" fmla="*/ 154 w 698"/>
                <a:gd name="T71" fmla="*/ 591 h 673"/>
                <a:gd name="T72" fmla="*/ 139 w 698"/>
                <a:gd name="T73" fmla="*/ 523 h 673"/>
                <a:gd name="T74" fmla="*/ 154 w 698"/>
                <a:gd name="T75" fmla="*/ 512 h 673"/>
                <a:gd name="T76" fmla="*/ 170 w 698"/>
                <a:gd name="T77" fmla="*/ 517 h 673"/>
                <a:gd name="T78" fmla="*/ 174 w 698"/>
                <a:gd name="T79" fmla="*/ 540 h 673"/>
                <a:gd name="T80" fmla="*/ 189 w 698"/>
                <a:gd name="T81" fmla="*/ 548 h 673"/>
                <a:gd name="T82" fmla="*/ 206 w 698"/>
                <a:gd name="T83" fmla="*/ 532 h 673"/>
                <a:gd name="T84" fmla="*/ 210 w 698"/>
                <a:gd name="T85" fmla="*/ 551 h 673"/>
                <a:gd name="T86" fmla="*/ 233 w 698"/>
                <a:gd name="T87" fmla="*/ 546 h 673"/>
                <a:gd name="T88" fmla="*/ 271 w 698"/>
                <a:gd name="T89" fmla="*/ 531 h 673"/>
                <a:gd name="T90" fmla="*/ 305 w 698"/>
                <a:gd name="T91" fmla="*/ 538 h 673"/>
                <a:gd name="T92" fmla="*/ 295 w 698"/>
                <a:gd name="T93" fmla="*/ 553 h 673"/>
                <a:gd name="T94" fmla="*/ 318 w 698"/>
                <a:gd name="T95" fmla="*/ 557 h 673"/>
                <a:gd name="T96" fmla="*/ 332 w 698"/>
                <a:gd name="T97" fmla="*/ 555 h 673"/>
                <a:gd name="T98" fmla="*/ 351 w 698"/>
                <a:gd name="T99" fmla="*/ 542 h 673"/>
                <a:gd name="T100" fmla="*/ 360 w 698"/>
                <a:gd name="T101" fmla="*/ 567 h 673"/>
                <a:gd name="T102" fmla="*/ 385 w 698"/>
                <a:gd name="T103" fmla="*/ 546 h 673"/>
                <a:gd name="T104" fmla="*/ 416 w 698"/>
                <a:gd name="T105" fmla="*/ 548 h 673"/>
                <a:gd name="T106" fmla="*/ 444 w 698"/>
                <a:gd name="T107" fmla="*/ 565 h 673"/>
                <a:gd name="T108" fmla="*/ 475 w 698"/>
                <a:gd name="T109" fmla="*/ 586 h 673"/>
                <a:gd name="T110" fmla="*/ 496 w 698"/>
                <a:gd name="T111" fmla="*/ 597 h 673"/>
                <a:gd name="T112" fmla="*/ 530 w 698"/>
                <a:gd name="T113" fmla="*/ 607 h 673"/>
                <a:gd name="T114" fmla="*/ 522 w 698"/>
                <a:gd name="T115" fmla="*/ 652 h 673"/>
                <a:gd name="T116" fmla="*/ 572 w 698"/>
                <a:gd name="T117" fmla="*/ 660 h 673"/>
                <a:gd name="T118" fmla="*/ 585 w 698"/>
                <a:gd name="T119" fmla="*/ 612 h 673"/>
                <a:gd name="T120" fmla="*/ 581 w 698"/>
                <a:gd name="T121" fmla="*/ 571 h 673"/>
                <a:gd name="T122" fmla="*/ 633 w 698"/>
                <a:gd name="T123" fmla="*/ 506 h 673"/>
                <a:gd name="T124" fmla="*/ 671 w 698"/>
                <a:gd name="T125" fmla="*/ 49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8" h="673">
                  <a:moveTo>
                    <a:pt x="698" y="483"/>
                  </a:moveTo>
                  <a:lnTo>
                    <a:pt x="696" y="481"/>
                  </a:lnTo>
                  <a:lnTo>
                    <a:pt x="696" y="481"/>
                  </a:lnTo>
                  <a:lnTo>
                    <a:pt x="690" y="475"/>
                  </a:lnTo>
                  <a:lnTo>
                    <a:pt x="688" y="474"/>
                  </a:lnTo>
                  <a:lnTo>
                    <a:pt x="686" y="474"/>
                  </a:lnTo>
                  <a:lnTo>
                    <a:pt x="684" y="474"/>
                  </a:lnTo>
                  <a:lnTo>
                    <a:pt x="682" y="474"/>
                  </a:lnTo>
                  <a:lnTo>
                    <a:pt x="678" y="472"/>
                  </a:lnTo>
                  <a:lnTo>
                    <a:pt x="678" y="472"/>
                  </a:lnTo>
                  <a:lnTo>
                    <a:pt x="678" y="470"/>
                  </a:lnTo>
                  <a:lnTo>
                    <a:pt x="677" y="468"/>
                  </a:lnTo>
                  <a:lnTo>
                    <a:pt x="675" y="468"/>
                  </a:lnTo>
                  <a:lnTo>
                    <a:pt x="675" y="466"/>
                  </a:lnTo>
                  <a:lnTo>
                    <a:pt x="673" y="466"/>
                  </a:lnTo>
                  <a:lnTo>
                    <a:pt x="671" y="466"/>
                  </a:lnTo>
                  <a:lnTo>
                    <a:pt x="667" y="468"/>
                  </a:lnTo>
                  <a:lnTo>
                    <a:pt x="665" y="468"/>
                  </a:lnTo>
                  <a:lnTo>
                    <a:pt x="665" y="468"/>
                  </a:lnTo>
                  <a:lnTo>
                    <a:pt x="663" y="466"/>
                  </a:lnTo>
                  <a:lnTo>
                    <a:pt x="661" y="466"/>
                  </a:lnTo>
                  <a:lnTo>
                    <a:pt x="661" y="464"/>
                  </a:lnTo>
                  <a:lnTo>
                    <a:pt x="661" y="464"/>
                  </a:lnTo>
                  <a:lnTo>
                    <a:pt x="659" y="460"/>
                  </a:lnTo>
                  <a:lnTo>
                    <a:pt x="659" y="458"/>
                  </a:lnTo>
                  <a:lnTo>
                    <a:pt x="658" y="458"/>
                  </a:lnTo>
                  <a:lnTo>
                    <a:pt x="658" y="458"/>
                  </a:lnTo>
                  <a:lnTo>
                    <a:pt x="656" y="458"/>
                  </a:lnTo>
                  <a:lnTo>
                    <a:pt x="656" y="456"/>
                  </a:lnTo>
                  <a:lnTo>
                    <a:pt x="656" y="454"/>
                  </a:lnTo>
                  <a:lnTo>
                    <a:pt x="654" y="454"/>
                  </a:lnTo>
                  <a:lnTo>
                    <a:pt x="654" y="453"/>
                  </a:lnTo>
                  <a:lnTo>
                    <a:pt x="652" y="453"/>
                  </a:lnTo>
                  <a:lnTo>
                    <a:pt x="650" y="451"/>
                  </a:lnTo>
                  <a:lnTo>
                    <a:pt x="650" y="451"/>
                  </a:lnTo>
                  <a:lnTo>
                    <a:pt x="648" y="451"/>
                  </a:lnTo>
                  <a:lnTo>
                    <a:pt x="646" y="451"/>
                  </a:lnTo>
                  <a:lnTo>
                    <a:pt x="646" y="451"/>
                  </a:lnTo>
                  <a:lnTo>
                    <a:pt x="644" y="443"/>
                  </a:lnTo>
                  <a:lnTo>
                    <a:pt x="642" y="441"/>
                  </a:lnTo>
                  <a:lnTo>
                    <a:pt x="640" y="439"/>
                  </a:lnTo>
                  <a:lnTo>
                    <a:pt x="638" y="439"/>
                  </a:lnTo>
                  <a:lnTo>
                    <a:pt x="638" y="437"/>
                  </a:lnTo>
                  <a:lnTo>
                    <a:pt x="638" y="437"/>
                  </a:lnTo>
                  <a:lnTo>
                    <a:pt x="638" y="435"/>
                  </a:lnTo>
                  <a:lnTo>
                    <a:pt x="640" y="435"/>
                  </a:lnTo>
                  <a:lnTo>
                    <a:pt x="640" y="435"/>
                  </a:lnTo>
                  <a:lnTo>
                    <a:pt x="640" y="435"/>
                  </a:lnTo>
                  <a:lnTo>
                    <a:pt x="640" y="435"/>
                  </a:lnTo>
                  <a:lnTo>
                    <a:pt x="642" y="434"/>
                  </a:lnTo>
                  <a:lnTo>
                    <a:pt x="648" y="434"/>
                  </a:lnTo>
                  <a:lnTo>
                    <a:pt x="648" y="434"/>
                  </a:lnTo>
                  <a:lnTo>
                    <a:pt x="650" y="434"/>
                  </a:lnTo>
                  <a:lnTo>
                    <a:pt x="650" y="432"/>
                  </a:lnTo>
                  <a:lnTo>
                    <a:pt x="650" y="432"/>
                  </a:lnTo>
                  <a:lnTo>
                    <a:pt x="652" y="432"/>
                  </a:lnTo>
                  <a:lnTo>
                    <a:pt x="652" y="432"/>
                  </a:lnTo>
                  <a:lnTo>
                    <a:pt x="654" y="432"/>
                  </a:lnTo>
                  <a:lnTo>
                    <a:pt x="654" y="432"/>
                  </a:lnTo>
                  <a:lnTo>
                    <a:pt x="656" y="432"/>
                  </a:lnTo>
                  <a:lnTo>
                    <a:pt x="658" y="432"/>
                  </a:lnTo>
                  <a:lnTo>
                    <a:pt x="658" y="432"/>
                  </a:lnTo>
                  <a:lnTo>
                    <a:pt x="658" y="430"/>
                  </a:lnTo>
                  <a:lnTo>
                    <a:pt x="656" y="428"/>
                  </a:lnTo>
                  <a:lnTo>
                    <a:pt x="656" y="426"/>
                  </a:lnTo>
                  <a:lnTo>
                    <a:pt x="656" y="426"/>
                  </a:lnTo>
                  <a:lnTo>
                    <a:pt x="656" y="426"/>
                  </a:lnTo>
                  <a:lnTo>
                    <a:pt x="658" y="422"/>
                  </a:lnTo>
                  <a:lnTo>
                    <a:pt x="658" y="420"/>
                  </a:lnTo>
                  <a:lnTo>
                    <a:pt x="658" y="420"/>
                  </a:lnTo>
                  <a:lnTo>
                    <a:pt x="658" y="420"/>
                  </a:lnTo>
                  <a:lnTo>
                    <a:pt x="656" y="418"/>
                  </a:lnTo>
                  <a:lnTo>
                    <a:pt x="650" y="418"/>
                  </a:lnTo>
                  <a:lnTo>
                    <a:pt x="648" y="416"/>
                  </a:lnTo>
                  <a:lnTo>
                    <a:pt x="646" y="416"/>
                  </a:lnTo>
                  <a:lnTo>
                    <a:pt x="644" y="413"/>
                  </a:lnTo>
                  <a:lnTo>
                    <a:pt x="642" y="413"/>
                  </a:lnTo>
                  <a:lnTo>
                    <a:pt x="642" y="413"/>
                  </a:lnTo>
                  <a:lnTo>
                    <a:pt x="640" y="413"/>
                  </a:lnTo>
                  <a:lnTo>
                    <a:pt x="640" y="413"/>
                  </a:lnTo>
                  <a:lnTo>
                    <a:pt x="640" y="413"/>
                  </a:lnTo>
                  <a:lnTo>
                    <a:pt x="640" y="413"/>
                  </a:lnTo>
                  <a:lnTo>
                    <a:pt x="638" y="413"/>
                  </a:lnTo>
                  <a:lnTo>
                    <a:pt x="638" y="415"/>
                  </a:lnTo>
                  <a:lnTo>
                    <a:pt x="637" y="415"/>
                  </a:lnTo>
                  <a:lnTo>
                    <a:pt x="637" y="415"/>
                  </a:lnTo>
                  <a:lnTo>
                    <a:pt x="635" y="413"/>
                  </a:lnTo>
                  <a:lnTo>
                    <a:pt x="633" y="413"/>
                  </a:lnTo>
                  <a:lnTo>
                    <a:pt x="633" y="413"/>
                  </a:lnTo>
                  <a:lnTo>
                    <a:pt x="633" y="411"/>
                  </a:lnTo>
                  <a:lnTo>
                    <a:pt x="633" y="409"/>
                  </a:lnTo>
                  <a:lnTo>
                    <a:pt x="633" y="409"/>
                  </a:lnTo>
                  <a:lnTo>
                    <a:pt x="633" y="405"/>
                  </a:lnTo>
                  <a:lnTo>
                    <a:pt x="633" y="405"/>
                  </a:lnTo>
                  <a:lnTo>
                    <a:pt x="633" y="405"/>
                  </a:lnTo>
                  <a:lnTo>
                    <a:pt x="635" y="403"/>
                  </a:lnTo>
                  <a:lnTo>
                    <a:pt x="635" y="403"/>
                  </a:lnTo>
                  <a:lnTo>
                    <a:pt x="635" y="403"/>
                  </a:lnTo>
                  <a:lnTo>
                    <a:pt x="635" y="405"/>
                  </a:lnTo>
                  <a:lnTo>
                    <a:pt x="635" y="405"/>
                  </a:lnTo>
                  <a:lnTo>
                    <a:pt x="637" y="405"/>
                  </a:lnTo>
                  <a:lnTo>
                    <a:pt x="637" y="407"/>
                  </a:lnTo>
                  <a:lnTo>
                    <a:pt x="637" y="407"/>
                  </a:lnTo>
                  <a:lnTo>
                    <a:pt x="637" y="407"/>
                  </a:lnTo>
                  <a:lnTo>
                    <a:pt x="637" y="407"/>
                  </a:lnTo>
                  <a:lnTo>
                    <a:pt x="637" y="407"/>
                  </a:lnTo>
                  <a:lnTo>
                    <a:pt x="637" y="407"/>
                  </a:lnTo>
                  <a:lnTo>
                    <a:pt x="638" y="405"/>
                  </a:lnTo>
                  <a:lnTo>
                    <a:pt x="638" y="405"/>
                  </a:lnTo>
                  <a:lnTo>
                    <a:pt x="638" y="405"/>
                  </a:lnTo>
                  <a:lnTo>
                    <a:pt x="640" y="405"/>
                  </a:lnTo>
                  <a:lnTo>
                    <a:pt x="644" y="403"/>
                  </a:lnTo>
                  <a:lnTo>
                    <a:pt x="644" y="403"/>
                  </a:lnTo>
                  <a:lnTo>
                    <a:pt x="644" y="403"/>
                  </a:lnTo>
                  <a:lnTo>
                    <a:pt x="646" y="401"/>
                  </a:lnTo>
                  <a:lnTo>
                    <a:pt x="646" y="401"/>
                  </a:lnTo>
                  <a:lnTo>
                    <a:pt x="646" y="399"/>
                  </a:lnTo>
                  <a:lnTo>
                    <a:pt x="648" y="396"/>
                  </a:lnTo>
                  <a:lnTo>
                    <a:pt x="648" y="396"/>
                  </a:lnTo>
                  <a:lnTo>
                    <a:pt x="648" y="394"/>
                  </a:lnTo>
                  <a:lnTo>
                    <a:pt x="650" y="394"/>
                  </a:lnTo>
                  <a:lnTo>
                    <a:pt x="650" y="394"/>
                  </a:lnTo>
                  <a:lnTo>
                    <a:pt x="654" y="394"/>
                  </a:lnTo>
                  <a:lnTo>
                    <a:pt x="654" y="394"/>
                  </a:lnTo>
                  <a:lnTo>
                    <a:pt x="656" y="394"/>
                  </a:lnTo>
                  <a:lnTo>
                    <a:pt x="658" y="394"/>
                  </a:lnTo>
                  <a:lnTo>
                    <a:pt x="661" y="396"/>
                  </a:lnTo>
                  <a:lnTo>
                    <a:pt x="675" y="394"/>
                  </a:lnTo>
                  <a:lnTo>
                    <a:pt x="677" y="394"/>
                  </a:lnTo>
                  <a:lnTo>
                    <a:pt x="677" y="394"/>
                  </a:lnTo>
                  <a:lnTo>
                    <a:pt x="677" y="392"/>
                  </a:lnTo>
                  <a:lnTo>
                    <a:pt x="677" y="392"/>
                  </a:lnTo>
                  <a:lnTo>
                    <a:pt x="675" y="392"/>
                  </a:lnTo>
                  <a:lnTo>
                    <a:pt x="669" y="384"/>
                  </a:lnTo>
                  <a:lnTo>
                    <a:pt x="667" y="384"/>
                  </a:lnTo>
                  <a:lnTo>
                    <a:pt x="667" y="382"/>
                  </a:lnTo>
                  <a:lnTo>
                    <a:pt x="665" y="382"/>
                  </a:lnTo>
                  <a:lnTo>
                    <a:pt x="663" y="382"/>
                  </a:lnTo>
                  <a:lnTo>
                    <a:pt x="663" y="382"/>
                  </a:lnTo>
                  <a:lnTo>
                    <a:pt x="663" y="382"/>
                  </a:lnTo>
                  <a:lnTo>
                    <a:pt x="663" y="380"/>
                  </a:lnTo>
                  <a:lnTo>
                    <a:pt x="663" y="377"/>
                  </a:lnTo>
                  <a:lnTo>
                    <a:pt x="663" y="375"/>
                  </a:lnTo>
                  <a:lnTo>
                    <a:pt x="663" y="373"/>
                  </a:lnTo>
                  <a:lnTo>
                    <a:pt x="663" y="371"/>
                  </a:lnTo>
                  <a:lnTo>
                    <a:pt x="661" y="369"/>
                  </a:lnTo>
                  <a:lnTo>
                    <a:pt x="661" y="369"/>
                  </a:lnTo>
                  <a:lnTo>
                    <a:pt x="659" y="369"/>
                  </a:lnTo>
                  <a:lnTo>
                    <a:pt x="659" y="369"/>
                  </a:lnTo>
                  <a:lnTo>
                    <a:pt x="658" y="369"/>
                  </a:lnTo>
                  <a:lnTo>
                    <a:pt x="658" y="369"/>
                  </a:lnTo>
                  <a:lnTo>
                    <a:pt x="658" y="369"/>
                  </a:lnTo>
                  <a:lnTo>
                    <a:pt x="656" y="369"/>
                  </a:lnTo>
                  <a:lnTo>
                    <a:pt x="656" y="371"/>
                  </a:lnTo>
                  <a:lnTo>
                    <a:pt x="656" y="371"/>
                  </a:lnTo>
                  <a:lnTo>
                    <a:pt x="654" y="371"/>
                  </a:lnTo>
                  <a:lnTo>
                    <a:pt x="652" y="369"/>
                  </a:lnTo>
                  <a:lnTo>
                    <a:pt x="650" y="367"/>
                  </a:lnTo>
                  <a:lnTo>
                    <a:pt x="650" y="367"/>
                  </a:lnTo>
                  <a:lnTo>
                    <a:pt x="648" y="367"/>
                  </a:lnTo>
                  <a:lnTo>
                    <a:pt x="646" y="365"/>
                  </a:lnTo>
                  <a:lnTo>
                    <a:pt x="646" y="363"/>
                  </a:lnTo>
                  <a:lnTo>
                    <a:pt x="642" y="358"/>
                  </a:lnTo>
                  <a:lnTo>
                    <a:pt x="642" y="358"/>
                  </a:lnTo>
                  <a:lnTo>
                    <a:pt x="642" y="354"/>
                  </a:lnTo>
                  <a:lnTo>
                    <a:pt x="642" y="354"/>
                  </a:lnTo>
                  <a:lnTo>
                    <a:pt x="642" y="352"/>
                  </a:lnTo>
                  <a:lnTo>
                    <a:pt x="642" y="350"/>
                  </a:lnTo>
                  <a:lnTo>
                    <a:pt x="640" y="350"/>
                  </a:lnTo>
                  <a:lnTo>
                    <a:pt x="638" y="348"/>
                  </a:lnTo>
                  <a:lnTo>
                    <a:pt x="638" y="346"/>
                  </a:lnTo>
                  <a:lnTo>
                    <a:pt x="638" y="344"/>
                  </a:lnTo>
                  <a:lnTo>
                    <a:pt x="635" y="342"/>
                  </a:lnTo>
                  <a:lnTo>
                    <a:pt x="635" y="342"/>
                  </a:lnTo>
                  <a:lnTo>
                    <a:pt x="635" y="340"/>
                  </a:lnTo>
                  <a:lnTo>
                    <a:pt x="635" y="338"/>
                  </a:lnTo>
                  <a:lnTo>
                    <a:pt x="635" y="337"/>
                  </a:lnTo>
                  <a:lnTo>
                    <a:pt x="635" y="335"/>
                  </a:lnTo>
                  <a:lnTo>
                    <a:pt x="633" y="333"/>
                  </a:lnTo>
                  <a:lnTo>
                    <a:pt x="633" y="333"/>
                  </a:lnTo>
                  <a:lnTo>
                    <a:pt x="633" y="331"/>
                  </a:lnTo>
                  <a:lnTo>
                    <a:pt x="631" y="331"/>
                  </a:lnTo>
                  <a:lnTo>
                    <a:pt x="631" y="329"/>
                  </a:lnTo>
                  <a:lnTo>
                    <a:pt x="629" y="329"/>
                  </a:lnTo>
                  <a:lnTo>
                    <a:pt x="629" y="327"/>
                  </a:lnTo>
                  <a:lnTo>
                    <a:pt x="631" y="325"/>
                  </a:lnTo>
                  <a:lnTo>
                    <a:pt x="631" y="323"/>
                  </a:lnTo>
                  <a:lnTo>
                    <a:pt x="631" y="323"/>
                  </a:lnTo>
                  <a:lnTo>
                    <a:pt x="629" y="323"/>
                  </a:lnTo>
                  <a:lnTo>
                    <a:pt x="627" y="323"/>
                  </a:lnTo>
                  <a:lnTo>
                    <a:pt x="627" y="323"/>
                  </a:lnTo>
                  <a:lnTo>
                    <a:pt x="627" y="323"/>
                  </a:lnTo>
                  <a:lnTo>
                    <a:pt x="627" y="323"/>
                  </a:lnTo>
                  <a:lnTo>
                    <a:pt x="627" y="321"/>
                  </a:lnTo>
                  <a:lnTo>
                    <a:pt x="627" y="321"/>
                  </a:lnTo>
                  <a:lnTo>
                    <a:pt x="627" y="321"/>
                  </a:lnTo>
                  <a:lnTo>
                    <a:pt x="621" y="319"/>
                  </a:lnTo>
                  <a:lnTo>
                    <a:pt x="610" y="312"/>
                  </a:lnTo>
                  <a:lnTo>
                    <a:pt x="602" y="310"/>
                  </a:lnTo>
                  <a:lnTo>
                    <a:pt x="593" y="308"/>
                  </a:lnTo>
                  <a:lnTo>
                    <a:pt x="583" y="308"/>
                  </a:lnTo>
                  <a:lnTo>
                    <a:pt x="581" y="310"/>
                  </a:lnTo>
                  <a:lnTo>
                    <a:pt x="581" y="310"/>
                  </a:lnTo>
                  <a:lnTo>
                    <a:pt x="581" y="312"/>
                  </a:lnTo>
                  <a:lnTo>
                    <a:pt x="581" y="314"/>
                  </a:lnTo>
                  <a:lnTo>
                    <a:pt x="581" y="316"/>
                  </a:lnTo>
                  <a:lnTo>
                    <a:pt x="581" y="316"/>
                  </a:lnTo>
                  <a:lnTo>
                    <a:pt x="581" y="318"/>
                  </a:lnTo>
                  <a:lnTo>
                    <a:pt x="579" y="321"/>
                  </a:lnTo>
                  <a:lnTo>
                    <a:pt x="577" y="321"/>
                  </a:lnTo>
                  <a:lnTo>
                    <a:pt x="576" y="323"/>
                  </a:lnTo>
                  <a:lnTo>
                    <a:pt x="574" y="323"/>
                  </a:lnTo>
                  <a:lnTo>
                    <a:pt x="572" y="323"/>
                  </a:lnTo>
                  <a:lnTo>
                    <a:pt x="572" y="321"/>
                  </a:lnTo>
                  <a:lnTo>
                    <a:pt x="570" y="319"/>
                  </a:lnTo>
                  <a:lnTo>
                    <a:pt x="570" y="318"/>
                  </a:lnTo>
                  <a:lnTo>
                    <a:pt x="568" y="318"/>
                  </a:lnTo>
                  <a:lnTo>
                    <a:pt x="564" y="314"/>
                  </a:lnTo>
                  <a:lnTo>
                    <a:pt x="560" y="312"/>
                  </a:lnTo>
                  <a:lnTo>
                    <a:pt x="549" y="312"/>
                  </a:lnTo>
                  <a:lnTo>
                    <a:pt x="543" y="310"/>
                  </a:lnTo>
                  <a:lnTo>
                    <a:pt x="539" y="308"/>
                  </a:lnTo>
                  <a:lnTo>
                    <a:pt x="536" y="306"/>
                  </a:lnTo>
                  <a:lnTo>
                    <a:pt x="524" y="306"/>
                  </a:lnTo>
                  <a:lnTo>
                    <a:pt x="522" y="304"/>
                  </a:lnTo>
                  <a:lnTo>
                    <a:pt x="522" y="300"/>
                  </a:lnTo>
                  <a:lnTo>
                    <a:pt x="520" y="293"/>
                  </a:lnTo>
                  <a:lnTo>
                    <a:pt x="520" y="289"/>
                  </a:lnTo>
                  <a:lnTo>
                    <a:pt x="518" y="285"/>
                  </a:lnTo>
                  <a:lnTo>
                    <a:pt x="518" y="285"/>
                  </a:lnTo>
                  <a:lnTo>
                    <a:pt x="517" y="285"/>
                  </a:lnTo>
                  <a:lnTo>
                    <a:pt x="503" y="287"/>
                  </a:lnTo>
                  <a:lnTo>
                    <a:pt x="496" y="289"/>
                  </a:lnTo>
                  <a:lnTo>
                    <a:pt x="492" y="287"/>
                  </a:lnTo>
                  <a:lnTo>
                    <a:pt x="488" y="281"/>
                  </a:lnTo>
                  <a:lnTo>
                    <a:pt x="480" y="280"/>
                  </a:lnTo>
                  <a:lnTo>
                    <a:pt x="469" y="270"/>
                  </a:lnTo>
                  <a:lnTo>
                    <a:pt x="465" y="268"/>
                  </a:lnTo>
                  <a:lnTo>
                    <a:pt x="463" y="266"/>
                  </a:lnTo>
                  <a:lnTo>
                    <a:pt x="461" y="264"/>
                  </a:lnTo>
                  <a:lnTo>
                    <a:pt x="459" y="264"/>
                  </a:lnTo>
                  <a:lnTo>
                    <a:pt x="459" y="264"/>
                  </a:lnTo>
                  <a:lnTo>
                    <a:pt x="457" y="262"/>
                  </a:lnTo>
                  <a:lnTo>
                    <a:pt x="454" y="262"/>
                  </a:lnTo>
                  <a:lnTo>
                    <a:pt x="450" y="264"/>
                  </a:lnTo>
                  <a:lnTo>
                    <a:pt x="446" y="268"/>
                  </a:lnTo>
                  <a:lnTo>
                    <a:pt x="444" y="270"/>
                  </a:lnTo>
                  <a:lnTo>
                    <a:pt x="442" y="270"/>
                  </a:lnTo>
                  <a:lnTo>
                    <a:pt x="440" y="268"/>
                  </a:lnTo>
                  <a:lnTo>
                    <a:pt x="436" y="266"/>
                  </a:lnTo>
                  <a:lnTo>
                    <a:pt x="433" y="262"/>
                  </a:lnTo>
                  <a:lnTo>
                    <a:pt x="429" y="259"/>
                  </a:lnTo>
                  <a:lnTo>
                    <a:pt x="427" y="257"/>
                  </a:lnTo>
                  <a:lnTo>
                    <a:pt x="425" y="257"/>
                  </a:lnTo>
                  <a:lnTo>
                    <a:pt x="419" y="255"/>
                  </a:lnTo>
                  <a:lnTo>
                    <a:pt x="417" y="255"/>
                  </a:lnTo>
                  <a:lnTo>
                    <a:pt x="417" y="255"/>
                  </a:lnTo>
                  <a:lnTo>
                    <a:pt x="417" y="255"/>
                  </a:lnTo>
                  <a:lnTo>
                    <a:pt x="417" y="253"/>
                  </a:lnTo>
                  <a:lnTo>
                    <a:pt x="416" y="251"/>
                  </a:lnTo>
                  <a:lnTo>
                    <a:pt x="406" y="247"/>
                  </a:lnTo>
                  <a:lnTo>
                    <a:pt x="406" y="245"/>
                  </a:lnTo>
                  <a:lnTo>
                    <a:pt x="406" y="245"/>
                  </a:lnTo>
                  <a:lnTo>
                    <a:pt x="404" y="243"/>
                  </a:lnTo>
                  <a:lnTo>
                    <a:pt x="404" y="241"/>
                  </a:lnTo>
                  <a:lnTo>
                    <a:pt x="404" y="240"/>
                  </a:lnTo>
                  <a:lnTo>
                    <a:pt x="402" y="238"/>
                  </a:lnTo>
                  <a:lnTo>
                    <a:pt x="400" y="238"/>
                  </a:lnTo>
                  <a:lnTo>
                    <a:pt x="398" y="236"/>
                  </a:lnTo>
                  <a:lnTo>
                    <a:pt x="396" y="236"/>
                  </a:lnTo>
                  <a:lnTo>
                    <a:pt x="396" y="238"/>
                  </a:lnTo>
                  <a:lnTo>
                    <a:pt x="395" y="238"/>
                  </a:lnTo>
                  <a:lnTo>
                    <a:pt x="395" y="240"/>
                  </a:lnTo>
                  <a:lnTo>
                    <a:pt x="393" y="240"/>
                  </a:lnTo>
                  <a:lnTo>
                    <a:pt x="391" y="241"/>
                  </a:lnTo>
                  <a:lnTo>
                    <a:pt x="391" y="240"/>
                  </a:lnTo>
                  <a:lnTo>
                    <a:pt x="391" y="240"/>
                  </a:lnTo>
                  <a:lnTo>
                    <a:pt x="389" y="238"/>
                  </a:lnTo>
                  <a:lnTo>
                    <a:pt x="389" y="238"/>
                  </a:lnTo>
                  <a:lnTo>
                    <a:pt x="389" y="238"/>
                  </a:lnTo>
                  <a:lnTo>
                    <a:pt x="391" y="236"/>
                  </a:lnTo>
                  <a:lnTo>
                    <a:pt x="389" y="234"/>
                  </a:lnTo>
                  <a:lnTo>
                    <a:pt x="383" y="228"/>
                  </a:lnTo>
                  <a:lnTo>
                    <a:pt x="383" y="224"/>
                  </a:lnTo>
                  <a:lnTo>
                    <a:pt x="381" y="219"/>
                  </a:lnTo>
                  <a:lnTo>
                    <a:pt x="379" y="217"/>
                  </a:lnTo>
                  <a:lnTo>
                    <a:pt x="377" y="215"/>
                  </a:lnTo>
                  <a:lnTo>
                    <a:pt x="368" y="213"/>
                  </a:lnTo>
                  <a:lnTo>
                    <a:pt x="364" y="213"/>
                  </a:lnTo>
                  <a:lnTo>
                    <a:pt x="362" y="211"/>
                  </a:lnTo>
                  <a:lnTo>
                    <a:pt x="362" y="209"/>
                  </a:lnTo>
                  <a:lnTo>
                    <a:pt x="362" y="209"/>
                  </a:lnTo>
                  <a:lnTo>
                    <a:pt x="360" y="207"/>
                  </a:lnTo>
                  <a:lnTo>
                    <a:pt x="360" y="209"/>
                  </a:lnTo>
                  <a:lnTo>
                    <a:pt x="358" y="209"/>
                  </a:lnTo>
                  <a:lnTo>
                    <a:pt x="356" y="207"/>
                  </a:lnTo>
                  <a:lnTo>
                    <a:pt x="355" y="207"/>
                  </a:lnTo>
                  <a:lnTo>
                    <a:pt x="353" y="207"/>
                  </a:lnTo>
                  <a:lnTo>
                    <a:pt x="353" y="205"/>
                  </a:lnTo>
                  <a:lnTo>
                    <a:pt x="353" y="203"/>
                  </a:lnTo>
                  <a:lnTo>
                    <a:pt x="351" y="202"/>
                  </a:lnTo>
                  <a:lnTo>
                    <a:pt x="351" y="202"/>
                  </a:lnTo>
                  <a:lnTo>
                    <a:pt x="347" y="202"/>
                  </a:lnTo>
                  <a:lnTo>
                    <a:pt x="345" y="202"/>
                  </a:lnTo>
                  <a:lnTo>
                    <a:pt x="343" y="200"/>
                  </a:lnTo>
                  <a:lnTo>
                    <a:pt x="339" y="196"/>
                  </a:lnTo>
                  <a:lnTo>
                    <a:pt x="337" y="196"/>
                  </a:lnTo>
                  <a:lnTo>
                    <a:pt x="335" y="194"/>
                  </a:lnTo>
                  <a:lnTo>
                    <a:pt x="334" y="194"/>
                  </a:lnTo>
                  <a:lnTo>
                    <a:pt x="332" y="192"/>
                  </a:lnTo>
                  <a:lnTo>
                    <a:pt x="330" y="188"/>
                  </a:lnTo>
                  <a:lnTo>
                    <a:pt x="330" y="188"/>
                  </a:lnTo>
                  <a:lnTo>
                    <a:pt x="326" y="188"/>
                  </a:lnTo>
                  <a:lnTo>
                    <a:pt x="324" y="186"/>
                  </a:lnTo>
                  <a:lnTo>
                    <a:pt x="322" y="186"/>
                  </a:lnTo>
                  <a:lnTo>
                    <a:pt x="322" y="184"/>
                  </a:lnTo>
                  <a:lnTo>
                    <a:pt x="322" y="184"/>
                  </a:lnTo>
                  <a:lnTo>
                    <a:pt x="322" y="183"/>
                  </a:lnTo>
                  <a:lnTo>
                    <a:pt x="322" y="183"/>
                  </a:lnTo>
                  <a:lnTo>
                    <a:pt x="320" y="183"/>
                  </a:lnTo>
                  <a:lnTo>
                    <a:pt x="318" y="183"/>
                  </a:lnTo>
                  <a:lnTo>
                    <a:pt x="316" y="184"/>
                  </a:lnTo>
                  <a:lnTo>
                    <a:pt x="316" y="184"/>
                  </a:lnTo>
                  <a:lnTo>
                    <a:pt x="316" y="186"/>
                  </a:lnTo>
                  <a:lnTo>
                    <a:pt x="316" y="194"/>
                  </a:lnTo>
                  <a:lnTo>
                    <a:pt x="316" y="194"/>
                  </a:lnTo>
                  <a:lnTo>
                    <a:pt x="315" y="194"/>
                  </a:lnTo>
                  <a:lnTo>
                    <a:pt x="311" y="188"/>
                  </a:lnTo>
                  <a:lnTo>
                    <a:pt x="309" y="188"/>
                  </a:lnTo>
                  <a:lnTo>
                    <a:pt x="307" y="188"/>
                  </a:lnTo>
                  <a:lnTo>
                    <a:pt x="305" y="188"/>
                  </a:lnTo>
                  <a:lnTo>
                    <a:pt x="303" y="188"/>
                  </a:lnTo>
                  <a:lnTo>
                    <a:pt x="301" y="188"/>
                  </a:lnTo>
                  <a:lnTo>
                    <a:pt x="299" y="186"/>
                  </a:lnTo>
                  <a:lnTo>
                    <a:pt x="297" y="181"/>
                  </a:lnTo>
                  <a:lnTo>
                    <a:pt x="297" y="181"/>
                  </a:lnTo>
                  <a:lnTo>
                    <a:pt x="295" y="181"/>
                  </a:lnTo>
                  <a:lnTo>
                    <a:pt x="295" y="181"/>
                  </a:lnTo>
                  <a:lnTo>
                    <a:pt x="294" y="179"/>
                  </a:lnTo>
                  <a:lnTo>
                    <a:pt x="294" y="177"/>
                  </a:lnTo>
                  <a:lnTo>
                    <a:pt x="292" y="177"/>
                  </a:lnTo>
                  <a:lnTo>
                    <a:pt x="292" y="177"/>
                  </a:lnTo>
                  <a:lnTo>
                    <a:pt x="288" y="175"/>
                  </a:lnTo>
                  <a:lnTo>
                    <a:pt x="286" y="175"/>
                  </a:lnTo>
                  <a:lnTo>
                    <a:pt x="284" y="173"/>
                  </a:lnTo>
                  <a:lnTo>
                    <a:pt x="282" y="169"/>
                  </a:lnTo>
                  <a:lnTo>
                    <a:pt x="278" y="167"/>
                  </a:lnTo>
                  <a:lnTo>
                    <a:pt x="278" y="167"/>
                  </a:lnTo>
                  <a:lnTo>
                    <a:pt x="276" y="169"/>
                  </a:lnTo>
                  <a:lnTo>
                    <a:pt x="276" y="171"/>
                  </a:lnTo>
                  <a:lnTo>
                    <a:pt x="276" y="173"/>
                  </a:lnTo>
                  <a:lnTo>
                    <a:pt x="273" y="175"/>
                  </a:lnTo>
                  <a:lnTo>
                    <a:pt x="273" y="175"/>
                  </a:lnTo>
                  <a:lnTo>
                    <a:pt x="271" y="177"/>
                  </a:lnTo>
                  <a:lnTo>
                    <a:pt x="269" y="177"/>
                  </a:lnTo>
                  <a:lnTo>
                    <a:pt x="269" y="177"/>
                  </a:lnTo>
                  <a:lnTo>
                    <a:pt x="267" y="177"/>
                  </a:lnTo>
                  <a:lnTo>
                    <a:pt x="265" y="175"/>
                  </a:lnTo>
                  <a:lnTo>
                    <a:pt x="265" y="175"/>
                  </a:lnTo>
                  <a:lnTo>
                    <a:pt x="265" y="173"/>
                  </a:lnTo>
                  <a:lnTo>
                    <a:pt x="265" y="173"/>
                  </a:lnTo>
                  <a:lnTo>
                    <a:pt x="265" y="171"/>
                  </a:lnTo>
                  <a:lnTo>
                    <a:pt x="263" y="171"/>
                  </a:lnTo>
                  <a:lnTo>
                    <a:pt x="263" y="173"/>
                  </a:lnTo>
                  <a:lnTo>
                    <a:pt x="261" y="173"/>
                  </a:lnTo>
                  <a:lnTo>
                    <a:pt x="261" y="171"/>
                  </a:lnTo>
                  <a:lnTo>
                    <a:pt x="261" y="171"/>
                  </a:lnTo>
                  <a:lnTo>
                    <a:pt x="261" y="169"/>
                  </a:lnTo>
                  <a:lnTo>
                    <a:pt x="261" y="169"/>
                  </a:lnTo>
                  <a:lnTo>
                    <a:pt x="261" y="167"/>
                  </a:lnTo>
                  <a:lnTo>
                    <a:pt x="259" y="167"/>
                  </a:lnTo>
                  <a:lnTo>
                    <a:pt x="257" y="169"/>
                  </a:lnTo>
                  <a:lnTo>
                    <a:pt x="255" y="169"/>
                  </a:lnTo>
                  <a:lnTo>
                    <a:pt x="255" y="169"/>
                  </a:lnTo>
                  <a:lnTo>
                    <a:pt x="255" y="167"/>
                  </a:lnTo>
                  <a:lnTo>
                    <a:pt x="255" y="165"/>
                  </a:lnTo>
                  <a:lnTo>
                    <a:pt x="255" y="164"/>
                  </a:lnTo>
                  <a:lnTo>
                    <a:pt x="255" y="164"/>
                  </a:lnTo>
                  <a:lnTo>
                    <a:pt x="254" y="162"/>
                  </a:lnTo>
                  <a:lnTo>
                    <a:pt x="250" y="162"/>
                  </a:lnTo>
                  <a:lnTo>
                    <a:pt x="248" y="162"/>
                  </a:lnTo>
                  <a:lnTo>
                    <a:pt x="246" y="162"/>
                  </a:lnTo>
                  <a:lnTo>
                    <a:pt x="246" y="162"/>
                  </a:lnTo>
                  <a:lnTo>
                    <a:pt x="246" y="164"/>
                  </a:lnTo>
                  <a:lnTo>
                    <a:pt x="246" y="164"/>
                  </a:lnTo>
                  <a:lnTo>
                    <a:pt x="244" y="165"/>
                  </a:lnTo>
                  <a:lnTo>
                    <a:pt x="236" y="164"/>
                  </a:lnTo>
                  <a:lnTo>
                    <a:pt x="234" y="164"/>
                  </a:lnTo>
                  <a:lnTo>
                    <a:pt x="234" y="165"/>
                  </a:lnTo>
                  <a:lnTo>
                    <a:pt x="233" y="165"/>
                  </a:lnTo>
                  <a:lnTo>
                    <a:pt x="233" y="164"/>
                  </a:lnTo>
                  <a:lnTo>
                    <a:pt x="231" y="162"/>
                  </a:lnTo>
                  <a:lnTo>
                    <a:pt x="231" y="162"/>
                  </a:lnTo>
                  <a:lnTo>
                    <a:pt x="227" y="162"/>
                  </a:lnTo>
                  <a:lnTo>
                    <a:pt x="219" y="165"/>
                  </a:lnTo>
                  <a:lnTo>
                    <a:pt x="217" y="162"/>
                  </a:lnTo>
                  <a:lnTo>
                    <a:pt x="217" y="158"/>
                  </a:lnTo>
                  <a:lnTo>
                    <a:pt x="215" y="156"/>
                  </a:lnTo>
                  <a:lnTo>
                    <a:pt x="215" y="156"/>
                  </a:lnTo>
                  <a:lnTo>
                    <a:pt x="214" y="154"/>
                  </a:lnTo>
                  <a:lnTo>
                    <a:pt x="214" y="152"/>
                  </a:lnTo>
                  <a:lnTo>
                    <a:pt x="214" y="152"/>
                  </a:lnTo>
                  <a:lnTo>
                    <a:pt x="212" y="152"/>
                  </a:lnTo>
                  <a:lnTo>
                    <a:pt x="212" y="152"/>
                  </a:lnTo>
                  <a:lnTo>
                    <a:pt x="210" y="152"/>
                  </a:lnTo>
                  <a:lnTo>
                    <a:pt x="208" y="152"/>
                  </a:lnTo>
                  <a:lnTo>
                    <a:pt x="206" y="152"/>
                  </a:lnTo>
                  <a:lnTo>
                    <a:pt x="194" y="143"/>
                  </a:lnTo>
                  <a:lnTo>
                    <a:pt x="193" y="143"/>
                  </a:lnTo>
                  <a:lnTo>
                    <a:pt x="193" y="141"/>
                  </a:lnTo>
                  <a:lnTo>
                    <a:pt x="193" y="139"/>
                  </a:lnTo>
                  <a:lnTo>
                    <a:pt x="193" y="139"/>
                  </a:lnTo>
                  <a:lnTo>
                    <a:pt x="191" y="137"/>
                  </a:lnTo>
                  <a:lnTo>
                    <a:pt x="191" y="137"/>
                  </a:lnTo>
                  <a:lnTo>
                    <a:pt x="183" y="133"/>
                  </a:lnTo>
                  <a:lnTo>
                    <a:pt x="183" y="133"/>
                  </a:lnTo>
                  <a:lnTo>
                    <a:pt x="181" y="133"/>
                  </a:lnTo>
                  <a:lnTo>
                    <a:pt x="179" y="133"/>
                  </a:lnTo>
                  <a:lnTo>
                    <a:pt x="174" y="135"/>
                  </a:lnTo>
                  <a:lnTo>
                    <a:pt x="170" y="137"/>
                  </a:lnTo>
                  <a:lnTo>
                    <a:pt x="170" y="131"/>
                  </a:lnTo>
                  <a:lnTo>
                    <a:pt x="170" y="129"/>
                  </a:lnTo>
                  <a:lnTo>
                    <a:pt x="168" y="127"/>
                  </a:lnTo>
                  <a:lnTo>
                    <a:pt x="166" y="125"/>
                  </a:lnTo>
                  <a:lnTo>
                    <a:pt x="153" y="120"/>
                  </a:lnTo>
                  <a:lnTo>
                    <a:pt x="153" y="118"/>
                  </a:lnTo>
                  <a:lnTo>
                    <a:pt x="153" y="118"/>
                  </a:lnTo>
                  <a:lnTo>
                    <a:pt x="153" y="118"/>
                  </a:lnTo>
                  <a:lnTo>
                    <a:pt x="153" y="116"/>
                  </a:lnTo>
                  <a:lnTo>
                    <a:pt x="153" y="116"/>
                  </a:lnTo>
                  <a:lnTo>
                    <a:pt x="153" y="116"/>
                  </a:lnTo>
                  <a:lnTo>
                    <a:pt x="154" y="116"/>
                  </a:lnTo>
                  <a:lnTo>
                    <a:pt x="154" y="114"/>
                  </a:lnTo>
                  <a:lnTo>
                    <a:pt x="156" y="114"/>
                  </a:lnTo>
                  <a:lnTo>
                    <a:pt x="156" y="114"/>
                  </a:lnTo>
                  <a:lnTo>
                    <a:pt x="156" y="114"/>
                  </a:lnTo>
                  <a:lnTo>
                    <a:pt x="158" y="114"/>
                  </a:lnTo>
                  <a:lnTo>
                    <a:pt x="158" y="116"/>
                  </a:lnTo>
                  <a:lnTo>
                    <a:pt x="160" y="114"/>
                  </a:lnTo>
                  <a:lnTo>
                    <a:pt x="160" y="112"/>
                  </a:lnTo>
                  <a:lnTo>
                    <a:pt x="162" y="112"/>
                  </a:lnTo>
                  <a:lnTo>
                    <a:pt x="162" y="112"/>
                  </a:lnTo>
                  <a:lnTo>
                    <a:pt x="162" y="112"/>
                  </a:lnTo>
                  <a:lnTo>
                    <a:pt x="164" y="112"/>
                  </a:lnTo>
                  <a:lnTo>
                    <a:pt x="164" y="112"/>
                  </a:lnTo>
                  <a:lnTo>
                    <a:pt x="166" y="112"/>
                  </a:lnTo>
                  <a:lnTo>
                    <a:pt x="170" y="108"/>
                  </a:lnTo>
                  <a:lnTo>
                    <a:pt x="172" y="106"/>
                  </a:lnTo>
                  <a:lnTo>
                    <a:pt x="172" y="105"/>
                  </a:lnTo>
                  <a:lnTo>
                    <a:pt x="172" y="105"/>
                  </a:lnTo>
                  <a:lnTo>
                    <a:pt x="170" y="103"/>
                  </a:lnTo>
                  <a:lnTo>
                    <a:pt x="164" y="103"/>
                  </a:lnTo>
                  <a:lnTo>
                    <a:pt x="160" y="101"/>
                  </a:lnTo>
                  <a:lnTo>
                    <a:pt x="145" y="91"/>
                  </a:lnTo>
                  <a:lnTo>
                    <a:pt x="141" y="87"/>
                  </a:lnTo>
                  <a:lnTo>
                    <a:pt x="137" y="84"/>
                  </a:lnTo>
                  <a:lnTo>
                    <a:pt x="135" y="80"/>
                  </a:lnTo>
                  <a:lnTo>
                    <a:pt x="133" y="76"/>
                  </a:lnTo>
                  <a:lnTo>
                    <a:pt x="130" y="72"/>
                  </a:lnTo>
                  <a:lnTo>
                    <a:pt x="122" y="68"/>
                  </a:lnTo>
                  <a:lnTo>
                    <a:pt x="120" y="67"/>
                  </a:lnTo>
                  <a:lnTo>
                    <a:pt x="118" y="65"/>
                  </a:lnTo>
                  <a:lnTo>
                    <a:pt x="116" y="59"/>
                  </a:lnTo>
                  <a:lnTo>
                    <a:pt x="113" y="55"/>
                  </a:lnTo>
                  <a:lnTo>
                    <a:pt x="107" y="49"/>
                  </a:lnTo>
                  <a:lnTo>
                    <a:pt x="107" y="47"/>
                  </a:lnTo>
                  <a:lnTo>
                    <a:pt x="105" y="47"/>
                  </a:lnTo>
                  <a:lnTo>
                    <a:pt x="105" y="47"/>
                  </a:lnTo>
                  <a:lnTo>
                    <a:pt x="103" y="47"/>
                  </a:lnTo>
                  <a:lnTo>
                    <a:pt x="101" y="49"/>
                  </a:lnTo>
                  <a:lnTo>
                    <a:pt x="101" y="49"/>
                  </a:lnTo>
                  <a:lnTo>
                    <a:pt x="101" y="51"/>
                  </a:lnTo>
                  <a:lnTo>
                    <a:pt x="101" y="53"/>
                  </a:lnTo>
                  <a:lnTo>
                    <a:pt x="101" y="55"/>
                  </a:lnTo>
                  <a:lnTo>
                    <a:pt x="103" y="65"/>
                  </a:lnTo>
                  <a:lnTo>
                    <a:pt x="105" y="70"/>
                  </a:lnTo>
                  <a:lnTo>
                    <a:pt x="103" y="74"/>
                  </a:lnTo>
                  <a:lnTo>
                    <a:pt x="101" y="78"/>
                  </a:lnTo>
                  <a:lnTo>
                    <a:pt x="95" y="80"/>
                  </a:lnTo>
                  <a:lnTo>
                    <a:pt x="93" y="80"/>
                  </a:lnTo>
                  <a:lnTo>
                    <a:pt x="93" y="78"/>
                  </a:lnTo>
                  <a:lnTo>
                    <a:pt x="90" y="76"/>
                  </a:lnTo>
                  <a:lnTo>
                    <a:pt x="84" y="72"/>
                  </a:lnTo>
                  <a:lnTo>
                    <a:pt x="84" y="72"/>
                  </a:lnTo>
                  <a:lnTo>
                    <a:pt x="82" y="72"/>
                  </a:lnTo>
                  <a:lnTo>
                    <a:pt x="78" y="74"/>
                  </a:lnTo>
                  <a:lnTo>
                    <a:pt x="71" y="80"/>
                  </a:lnTo>
                  <a:lnTo>
                    <a:pt x="67" y="70"/>
                  </a:lnTo>
                  <a:lnTo>
                    <a:pt x="65" y="68"/>
                  </a:lnTo>
                  <a:lnTo>
                    <a:pt x="65" y="63"/>
                  </a:lnTo>
                  <a:lnTo>
                    <a:pt x="63" y="57"/>
                  </a:lnTo>
                  <a:lnTo>
                    <a:pt x="63" y="55"/>
                  </a:lnTo>
                  <a:lnTo>
                    <a:pt x="63" y="51"/>
                  </a:lnTo>
                  <a:lnTo>
                    <a:pt x="63" y="47"/>
                  </a:lnTo>
                  <a:lnTo>
                    <a:pt x="63" y="46"/>
                  </a:lnTo>
                  <a:lnTo>
                    <a:pt x="67" y="38"/>
                  </a:lnTo>
                  <a:lnTo>
                    <a:pt x="71" y="28"/>
                  </a:lnTo>
                  <a:lnTo>
                    <a:pt x="74" y="25"/>
                  </a:lnTo>
                  <a:lnTo>
                    <a:pt x="78" y="21"/>
                  </a:lnTo>
                  <a:lnTo>
                    <a:pt x="80" y="21"/>
                  </a:lnTo>
                  <a:lnTo>
                    <a:pt x="82" y="19"/>
                  </a:lnTo>
                  <a:lnTo>
                    <a:pt x="80" y="17"/>
                  </a:lnTo>
                  <a:lnTo>
                    <a:pt x="69" y="11"/>
                  </a:lnTo>
                  <a:lnTo>
                    <a:pt x="63" y="8"/>
                  </a:lnTo>
                  <a:lnTo>
                    <a:pt x="55" y="0"/>
                  </a:lnTo>
                  <a:lnTo>
                    <a:pt x="53" y="0"/>
                  </a:lnTo>
                  <a:lnTo>
                    <a:pt x="52" y="0"/>
                  </a:lnTo>
                  <a:lnTo>
                    <a:pt x="48" y="2"/>
                  </a:lnTo>
                  <a:lnTo>
                    <a:pt x="48" y="2"/>
                  </a:lnTo>
                  <a:lnTo>
                    <a:pt x="48" y="4"/>
                  </a:lnTo>
                  <a:lnTo>
                    <a:pt x="48" y="8"/>
                  </a:lnTo>
                  <a:lnTo>
                    <a:pt x="46" y="13"/>
                  </a:lnTo>
                  <a:lnTo>
                    <a:pt x="44" y="15"/>
                  </a:lnTo>
                  <a:lnTo>
                    <a:pt x="40" y="19"/>
                  </a:lnTo>
                  <a:lnTo>
                    <a:pt x="34" y="25"/>
                  </a:lnTo>
                  <a:lnTo>
                    <a:pt x="33" y="27"/>
                  </a:lnTo>
                  <a:lnTo>
                    <a:pt x="31" y="28"/>
                  </a:lnTo>
                  <a:lnTo>
                    <a:pt x="31" y="30"/>
                  </a:lnTo>
                  <a:lnTo>
                    <a:pt x="29" y="32"/>
                  </a:lnTo>
                  <a:lnTo>
                    <a:pt x="25" y="36"/>
                  </a:lnTo>
                  <a:lnTo>
                    <a:pt x="23" y="36"/>
                  </a:lnTo>
                  <a:lnTo>
                    <a:pt x="23" y="36"/>
                  </a:lnTo>
                  <a:lnTo>
                    <a:pt x="23" y="38"/>
                  </a:lnTo>
                  <a:lnTo>
                    <a:pt x="23" y="38"/>
                  </a:lnTo>
                  <a:lnTo>
                    <a:pt x="23" y="38"/>
                  </a:lnTo>
                  <a:lnTo>
                    <a:pt x="23" y="38"/>
                  </a:lnTo>
                  <a:lnTo>
                    <a:pt x="23" y="38"/>
                  </a:lnTo>
                  <a:lnTo>
                    <a:pt x="21" y="40"/>
                  </a:lnTo>
                  <a:lnTo>
                    <a:pt x="21" y="38"/>
                  </a:lnTo>
                  <a:lnTo>
                    <a:pt x="21" y="38"/>
                  </a:lnTo>
                  <a:lnTo>
                    <a:pt x="19" y="40"/>
                  </a:lnTo>
                  <a:lnTo>
                    <a:pt x="19" y="40"/>
                  </a:lnTo>
                  <a:lnTo>
                    <a:pt x="19" y="40"/>
                  </a:lnTo>
                  <a:lnTo>
                    <a:pt x="19" y="42"/>
                  </a:lnTo>
                  <a:lnTo>
                    <a:pt x="15" y="46"/>
                  </a:lnTo>
                  <a:lnTo>
                    <a:pt x="15" y="46"/>
                  </a:lnTo>
                  <a:lnTo>
                    <a:pt x="13" y="47"/>
                  </a:lnTo>
                  <a:lnTo>
                    <a:pt x="13" y="51"/>
                  </a:lnTo>
                  <a:lnTo>
                    <a:pt x="10" y="65"/>
                  </a:lnTo>
                  <a:lnTo>
                    <a:pt x="10" y="67"/>
                  </a:lnTo>
                  <a:lnTo>
                    <a:pt x="8" y="68"/>
                  </a:lnTo>
                  <a:lnTo>
                    <a:pt x="8" y="67"/>
                  </a:lnTo>
                  <a:lnTo>
                    <a:pt x="8" y="67"/>
                  </a:lnTo>
                  <a:lnTo>
                    <a:pt x="6" y="68"/>
                  </a:lnTo>
                  <a:lnTo>
                    <a:pt x="6" y="68"/>
                  </a:lnTo>
                  <a:lnTo>
                    <a:pt x="6" y="70"/>
                  </a:lnTo>
                  <a:lnTo>
                    <a:pt x="6" y="70"/>
                  </a:lnTo>
                  <a:lnTo>
                    <a:pt x="8" y="72"/>
                  </a:lnTo>
                  <a:lnTo>
                    <a:pt x="6" y="72"/>
                  </a:lnTo>
                  <a:lnTo>
                    <a:pt x="6" y="74"/>
                  </a:lnTo>
                  <a:lnTo>
                    <a:pt x="4" y="74"/>
                  </a:lnTo>
                  <a:lnTo>
                    <a:pt x="4" y="76"/>
                  </a:lnTo>
                  <a:lnTo>
                    <a:pt x="2" y="80"/>
                  </a:lnTo>
                  <a:lnTo>
                    <a:pt x="2" y="82"/>
                  </a:lnTo>
                  <a:lnTo>
                    <a:pt x="2" y="84"/>
                  </a:lnTo>
                  <a:lnTo>
                    <a:pt x="2" y="84"/>
                  </a:lnTo>
                  <a:lnTo>
                    <a:pt x="2" y="86"/>
                  </a:lnTo>
                  <a:lnTo>
                    <a:pt x="4" y="87"/>
                  </a:lnTo>
                  <a:lnTo>
                    <a:pt x="2" y="87"/>
                  </a:lnTo>
                  <a:lnTo>
                    <a:pt x="2" y="87"/>
                  </a:lnTo>
                  <a:lnTo>
                    <a:pt x="0" y="89"/>
                  </a:lnTo>
                  <a:lnTo>
                    <a:pt x="0" y="89"/>
                  </a:lnTo>
                  <a:lnTo>
                    <a:pt x="0" y="91"/>
                  </a:lnTo>
                  <a:lnTo>
                    <a:pt x="0" y="91"/>
                  </a:lnTo>
                  <a:lnTo>
                    <a:pt x="0" y="93"/>
                  </a:lnTo>
                  <a:lnTo>
                    <a:pt x="0" y="95"/>
                  </a:lnTo>
                  <a:lnTo>
                    <a:pt x="0" y="95"/>
                  </a:lnTo>
                  <a:lnTo>
                    <a:pt x="0" y="95"/>
                  </a:lnTo>
                  <a:lnTo>
                    <a:pt x="0" y="97"/>
                  </a:lnTo>
                  <a:lnTo>
                    <a:pt x="4" y="97"/>
                  </a:lnTo>
                  <a:lnTo>
                    <a:pt x="6" y="97"/>
                  </a:lnTo>
                  <a:lnTo>
                    <a:pt x="4" y="99"/>
                  </a:lnTo>
                  <a:lnTo>
                    <a:pt x="0" y="103"/>
                  </a:lnTo>
                  <a:lnTo>
                    <a:pt x="0" y="105"/>
                  </a:lnTo>
                  <a:lnTo>
                    <a:pt x="0" y="105"/>
                  </a:lnTo>
                  <a:lnTo>
                    <a:pt x="4" y="105"/>
                  </a:lnTo>
                  <a:lnTo>
                    <a:pt x="6" y="105"/>
                  </a:lnTo>
                  <a:lnTo>
                    <a:pt x="8" y="105"/>
                  </a:lnTo>
                  <a:lnTo>
                    <a:pt x="8" y="106"/>
                  </a:lnTo>
                  <a:lnTo>
                    <a:pt x="8" y="106"/>
                  </a:lnTo>
                  <a:lnTo>
                    <a:pt x="6" y="108"/>
                  </a:lnTo>
                  <a:lnTo>
                    <a:pt x="6" y="108"/>
                  </a:lnTo>
                  <a:lnTo>
                    <a:pt x="6" y="110"/>
                  </a:lnTo>
                  <a:lnTo>
                    <a:pt x="6" y="112"/>
                  </a:lnTo>
                  <a:lnTo>
                    <a:pt x="6" y="114"/>
                  </a:lnTo>
                  <a:lnTo>
                    <a:pt x="8" y="114"/>
                  </a:lnTo>
                  <a:lnTo>
                    <a:pt x="8" y="116"/>
                  </a:lnTo>
                  <a:lnTo>
                    <a:pt x="8" y="118"/>
                  </a:lnTo>
                  <a:lnTo>
                    <a:pt x="6" y="118"/>
                  </a:lnTo>
                  <a:lnTo>
                    <a:pt x="6" y="120"/>
                  </a:lnTo>
                  <a:lnTo>
                    <a:pt x="8" y="135"/>
                  </a:lnTo>
                  <a:lnTo>
                    <a:pt x="8" y="135"/>
                  </a:lnTo>
                  <a:lnTo>
                    <a:pt x="6" y="137"/>
                  </a:lnTo>
                  <a:lnTo>
                    <a:pt x="6" y="137"/>
                  </a:lnTo>
                  <a:lnTo>
                    <a:pt x="6" y="137"/>
                  </a:lnTo>
                  <a:lnTo>
                    <a:pt x="6" y="137"/>
                  </a:lnTo>
                  <a:lnTo>
                    <a:pt x="8" y="137"/>
                  </a:lnTo>
                  <a:lnTo>
                    <a:pt x="8" y="139"/>
                  </a:lnTo>
                  <a:lnTo>
                    <a:pt x="8" y="139"/>
                  </a:lnTo>
                  <a:lnTo>
                    <a:pt x="10" y="144"/>
                  </a:lnTo>
                  <a:lnTo>
                    <a:pt x="12" y="148"/>
                  </a:lnTo>
                  <a:lnTo>
                    <a:pt x="12" y="150"/>
                  </a:lnTo>
                  <a:lnTo>
                    <a:pt x="10" y="150"/>
                  </a:lnTo>
                  <a:lnTo>
                    <a:pt x="10" y="152"/>
                  </a:lnTo>
                  <a:lnTo>
                    <a:pt x="13" y="154"/>
                  </a:lnTo>
                  <a:lnTo>
                    <a:pt x="13" y="156"/>
                  </a:lnTo>
                  <a:lnTo>
                    <a:pt x="13" y="158"/>
                  </a:lnTo>
                  <a:lnTo>
                    <a:pt x="13" y="158"/>
                  </a:lnTo>
                  <a:lnTo>
                    <a:pt x="13" y="158"/>
                  </a:lnTo>
                  <a:lnTo>
                    <a:pt x="13" y="160"/>
                  </a:lnTo>
                  <a:lnTo>
                    <a:pt x="12" y="162"/>
                  </a:lnTo>
                  <a:lnTo>
                    <a:pt x="13" y="165"/>
                  </a:lnTo>
                  <a:lnTo>
                    <a:pt x="13" y="167"/>
                  </a:lnTo>
                  <a:lnTo>
                    <a:pt x="13" y="169"/>
                  </a:lnTo>
                  <a:lnTo>
                    <a:pt x="15" y="171"/>
                  </a:lnTo>
                  <a:lnTo>
                    <a:pt x="23" y="179"/>
                  </a:lnTo>
                  <a:lnTo>
                    <a:pt x="23" y="179"/>
                  </a:lnTo>
                  <a:lnTo>
                    <a:pt x="23" y="181"/>
                  </a:lnTo>
                  <a:lnTo>
                    <a:pt x="23" y="183"/>
                  </a:lnTo>
                  <a:lnTo>
                    <a:pt x="23" y="183"/>
                  </a:lnTo>
                  <a:lnTo>
                    <a:pt x="25" y="186"/>
                  </a:lnTo>
                  <a:lnTo>
                    <a:pt x="25" y="188"/>
                  </a:lnTo>
                  <a:lnTo>
                    <a:pt x="25" y="188"/>
                  </a:lnTo>
                  <a:lnTo>
                    <a:pt x="25" y="188"/>
                  </a:lnTo>
                  <a:lnTo>
                    <a:pt x="25" y="190"/>
                  </a:lnTo>
                  <a:lnTo>
                    <a:pt x="25" y="190"/>
                  </a:lnTo>
                  <a:lnTo>
                    <a:pt x="23" y="192"/>
                  </a:lnTo>
                  <a:lnTo>
                    <a:pt x="23" y="192"/>
                  </a:lnTo>
                  <a:lnTo>
                    <a:pt x="21" y="192"/>
                  </a:lnTo>
                  <a:lnTo>
                    <a:pt x="21" y="194"/>
                  </a:lnTo>
                  <a:lnTo>
                    <a:pt x="21" y="194"/>
                  </a:lnTo>
                  <a:lnTo>
                    <a:pt x="25" y="200"/>
                  </a:lnTo>
                  <a:lnTo>
                    <a:pt x="25" y="200"/>
                  </a:lnTo>
                  <a:lnTo>
                    <a:pt x="25" y="202"/>
                  </a:lnTo>
                  <a:lnTo>
                    <a:pt x="27" y="202"/>
                  </a:lnTo>
                  <a:lnTo>
                    <a:pt x="27" y="202"/>
                  </a:lnTo>
                  <a:lnTo>
                    <a:pt x="29" y="203"/>
                  </a:lnTo>
                  <a:lnTo>
                    <a:pt x="29" y="203"/>
                  </a:lnTo>
                  <a:lnTo>
                    <a:pt x="29" y="205"/>
                  </a:lnTo>
                  <a:lnTo>
                    <a:pt x="29" y="205"/>
                  </a:lnTo>
                  <a:lnTo>
                    <a:pt x="29" y="205"/>
                  </a:lnTo>
                  <a:lnTo>
                    <a:pt x="31" y="205"/>
                  </a:lnTo>
                  <a:lnTo>
                    <a:pt x="31" y="205"/>
                  </a:lnTo>
                  <a:lnTo>
                    <a:pt x="33" y="205"/>
                  </a:lnTo>
                  <a:lnTo>
                    <a:pt x="33" y="205"/>
                  </a:lnTo>
                  <a:lnTo>
                    <a:pt x="33" y="205"/>
                  </a:lnTo>
                  <a:lnTo>
                    <a:pt x="33" y="207"/>
                  </a:lnTo>
                  <a:lnTo>
                    <a:pt x="33" y="207"/>
                  </a:lnTo>
                  <a:lnTo>
                    <a:pt x="33" y="209"/>
                  </a:lnTo>
                  <a:lnTo>
                    <a:pt x="34" y="209"/>
                  </a:lnTo>
                  <a:lnTo>
                    <a:pt x="36" y="209"/>
                  </a:lnTo>
                  <a:lnTo>
                    <a:pt x="36" y="209"/>
                  </a:lnTo>
                  <a:lnTo>
                    <a:pt x="36" y="209"/>
                  </a:lnTo>
                  <a:lnTo>
                    <a:pt x="36" y="213"/>
                  </a:lnTo>
                  <a:lnTo>
                    <a:pt x="38" y="213"/>
                  </a:lnTo>
                  <a:lnTo>
                    <a:pt x="40" y="213"/>
                  </a:lnTo>
                  <a:lnTo>
                    <a:pt x="38" y="219"/>
                  </a:lnTo>
                  <a:lnTo>
                    <a:pt x="36" y="221"/>
                  </a:lnTo>
                  <a:lnTo>
                    <a:pt x="38" y="222"/>
                  </a:lnTo>
                  <a:lnTo>
                    <a:pt x="38" y="224"/>
                  </a:lnTo>
                  <a:lnTo>
                    <a:pt x="38" y="224"/>
                  </a:lnTo>
                  <a:lnTo>
                    <a:pt x="40" y="226"/>
                  </a:lnTo>
                  <a:lnTo>
                    <a:pt x="40" y="226"/>
                  </a:lnTo>
                  <a:lnTo>
                    <a:pt x="42" y="226"/>
                  </a:lnTo>
                  <a:lnTo>
                    <a:pt x="44" y="228"/>
                  </a:lnTo>
                  <a:lnTo>
                    <a:pt x="44" y="228"/>
                  </a:lnTo>
                  <a:lnTo>
                    <a:pt x="42" y="228"/>
                  </a:lnTo>
                  <a:lnTo>
                    <a:pt x="42" y="230"/>
                  </a:lnTo>
                  <a:lnTo>
                    <a:pt x="42" y="230"/>
                  </a:lnTo>
                  <a:lnTo>
                    <a:pt x="42" y="230"/>
                  </a:lnTo>
                  <a:lnTo>
                    <a:pt x="40" y="232"/>
                  </a:lnTo>
                  <a:lnTo>
                    <a:pt x="40" y="232"/>
                  </a:lnTo>
                  <a:lnTo>
                    <a:pt x="40" y="232"/>
                  </a:lnTo>
                  <a:lnTo>
                    <a:pt x="40" y="234"/>
                  </a:lnTo>
                  <a:lnTo>
                    <a:pt x="42" y="234"/>
                  </a:lnTo>
                  <a:lnTo>
                    <a:pt x="44" y="234"/>
                  </a:lnTo>
                  <a:lnTo>
                    <a:pt x="40" y="236"/>
                  </a:lnTo>
                  <a:lnTo>
                    <a:pt x="40" y="238"/>
                  </a:lnTo>
                  <a:lnTo>
                    <a:pt x="40" y="241"/>
                  </a:lnTo>
                  <a:lnTo>
                    <a:pt x="40" y="243"/>
                  </a:lnTo>
                  <a:lnTo>
                    <a:pt x="36" y="241"/>
                  </a:lnTo>
                  <a:lnTo>
                    <a:pt x="38" y="243"/>
                  </a:lnTo>
                  <a:lnTo>
                    <a:pt x="38" y="245"/>
                  </a:lnTo>
                  <a:lnTo>
                    <a:pt x="36" y="249"/>
                  </a:lnTo>
                  <a:lnTo>
                    <a:pt x="38" y="249"/>
                  </a:lnTo>
                  <a:lnTo>
                    <a:pt x="40" y="251"/>
                  </a:lnTo>
                  <a:lnTo>
                    <a:pt x="40" y="251"/>
                  </a:lnTo>
                  <a:lnTo>
                    <a:pt x="42" y="253"/>
                  </a:lnTo>
                  <a:lnTo>
                    <a:pt x="42" y="257"/>
                  </a:lnTo>
                  <a:lnTo>
                    <a:pt x="42" y="259"/>
                  </a:lnTo>
                  <a:lnTo>
                    <a:pt x="40" y="261"/>
                  </a:lnTo>
                  <a:lnTo>
                    <a:pt x="40" y="261"/>
                  </a:lnTo>
                  <a:lnTo>
                    <a:pt x="38" y="262"/>
                  </a:lnTo>
                  <a:lnTo>
                    <a:pt x="38" y="264"/>
                  </a:lnTo>
                  <a:lnTo>
                    <a:pt x="36" y="266"/>
                  </a:lnTo>
                  <a:lnTo>
                    <a:pt x="36" y="266"/>
                  </a:lnTo>
                  <a:lnTo>
                    <a:pt x="34" y="264"/>
                  </a:lnTo>
                  <a:lnTo>
                    <a:pt x="34" y="264"/>
                  </a:lnTo>
                  <a:lnTo>
                    <a:pt x="33" y="264"/>
                  </a:lnTo>
                  <a:lnTo>
                    <a:pt x="31" y="268"/>
                  </a:lnTo>
                  <a:lnTo>
                    <a:pt x="31" y="268"/>
                  </a:lnTo>
                  <a:lnTo>
                    <a:pt x="27" y="268"/>
                  </a:lnTo>
                  <a:lnTo>
                    <a:pt x="25" y="270"/>
                  </a:lnTo>
                  <a:lnTo>
                    <a:pt x="25" y="270"/>
                  </a:lnTo>
                  <a:lnTo>
                    <a:pt x="25" y="270"/>
                  </a:lnTo>
                  <a:lnTo>
                    <a:pt x="23" y="270"/>
                  </a:lnTo>
                  <a:lnTo>
                    <a:pt x="23" y="270"/>
                  </a:lnTo>
                  <a:lnTo>
                    <a:pt x="23" y="272"/>
                  </a:lnTo>
                  <a:lnTo>
                    <a:pt x="19" y="274"/>
                  </a:lnTo>
                  <a:lnTo>
                    <a:pt x="21" y="278"/>
                  </a:lnTo>
                  <a:lnTo>
                    <a:pt x="21" y="280"/>
                  </a:lnTo>
                  <a:lnTo>
                    <a:pt x="21" y="283"/>
                  </a:lnTo>
                  <a:lnTo>
                    <a:pt x="21" y="283"/>
                  </a:lnTo>
                  <a:lnTo>
                    <a:pt x="21" y="283"/>
                  </a:lnTo>
                  <a:lnTo>
                    <a:pt x="21" y="283"/>
                  </a:lnTo>
                  <a:lnTo>
                    <a:pt x="23" y="283"/>
                  </a:lnTo>
                  <a:lnTo>
                    <a:pt x="23" y="285"/>
                  </a:lnTo>
                  <a:lnTo>
                    <a:pt x="23" y="285"/>
                  </a:lnTo>
                  <a:lnTo>
                    <a:pt x="25" y="285"/>
                  </a:lnTo>
                  <a:lnTo>
                    <a:pt x="25" y="287"/>
                  </a:lnTo>
                  <a:lnTo>
                    <a:pt x="25" y="289"/>
                  </a:lnTo>
                  <a:lnTo>
                    <a:pt x="25" y="291"/>
                  </a:lnTo>
                  <a:lnTo>
                    <a:pt x="25" y="291"/>
                  </a:lnTo>
                  <a:lnTo>
                    <a:pt x="23" y="291"/>
                  </a:lnTo>
                  <a:lnTo>
                    <a:pt x="23" y="293"/>
                  </a:lnTo>
                  <a:lnTo>
                    <a:pt x="23" y="293"/>
                  </a:lnTo>
                  <a:lnTo>
                    <a:pt x="23" y="293"/>
                  </a:lnTo>
                  <a:lnTo>
                    <a:pt x="23" y="295"/>
                  </a:lnTo>
                  <a:lnTo>
                    <a:pt x="25" y="295"/>
                  </a:lnTo>
                  <a:lnTo>
                    <a:pt x="25" y="295"/>
                  </a:lnTo>
                  <a:lnTo>
                    <a:pt x="25" y="297"/>
                  </a:lnTo>
                  <a:lnTo>
                    <a:pt x="25" y="297"/>
                  </a:lnTo>
                  <a:lnTo>
                    <a:pt x="25" y="299"/>
                  </a:lnTo>
                  <a:lnTo>
                    <a:pt x="25" y="299"/>
                  </a:lnTo>
                  <a:lnTo>
                    <a:pt x="25" y="300"/>
                  </a:lnTo>
                  <a:lnTo>
                    <a:pt x="25" y="302"/>
                  </a:lnTo>
                  <a:lnTo>
                    <a:pt x="31" y="306"/>
                  </a:lnTo>
                  <a:lnTo>
                    <a:pt x="31" y="308"/>
                  </a:lnTo>
                  <a:lnTo>
                    <a:pt x="33" y="310"/>
                  </a:lnTo>
                  <a:lnTo>
                    <a:pt x="33" y="314"/>
                  </a:lnTo>
                  <a:lnTo>
                    <a:pt x="34" y="316"/>
                  </a:lnTo>
                  <a:lnTo>
                    <a:pt x="34" y="316"/>
                  </a:lnTo>
                  <a:lnTo>
                    <a:pt x="36" y="318"/>
                  </a:lnTo>
                  <a:lnTo>
                    <a:pt x="36" y="318"/>
                  </a:lnTo>
                  <a:lnTo>
                    <a:pt x="36" y="318"/>
                  </a:lnTo>
                  <a:lnTo>
                    <a:pt x="38" y="318"/>
                  </a:lnTo>
                  <a:lnTo>
                    <a:pt x="40" y="318"/>
                  </a:lnTo>
                  <a:lnTo>
                    <a:pt x="40" y="319"/>
                  </a:lnTo>
                  <a:lnTo>
                    <a:pt x="46" y="323"/>
                  </a:lnTo>
                  <a:lnTo>
                    <a:pt x="46" y="323"/>
                  </a:lnTo>
                  <a:lnTo>
                    <a:pt x="46" y="323"/>
                  </a:lnTo>
                  <a:lnTo>
                    <a:pt x="48" y="323"/>
                  </a:lnTo>
                  <a:lnTo>
                    <a:pt x="50" y="323"/>
                  </a:lnTo>
                  <a:lnTo>
                    <a:pt x="50" y="323"/>
                  </a:lnTo>
                  <a:lnTo>
                    <a:pt x="50" y="325"/>
                  </a:lnTo>
                  <a:lnTo>
                    <a:pt x="50" y="325"/>
                  </a:lnTo>
                  <a:lnTo>
                    <a:pt x="50" y="327"/>
                  </a:lnTo>
                  <a:lnTo>
                    <a:pt x="50" y="329"/>
                  </a:lnTo>
                  <a:lnTo>
                    <a:pt x="52" y="329"/>
                  </a:lnTo>
                  <a:lnTo>
                    <a:pt x="52" y="331"/>
                  </a:lnTo>
                  <a:lnTo>
                    <a:pt x="52" y="333"/>
                  </a:lnTo>
                  <a:lnTo>
                    <a:pt x="53" y="335"/>
                  </a:lnTo>
                  <a:lnTo>
                    <a:pt x="53" y="335"/>
                  </a:lnTo>
                  <a:lnTo>
                    <a:pt x="53" y="335"/>
                  </a:lnTo>
                  <a:lnTo>
                    <a:pt x="53" y="335"/>
                  </a:lnTo>
                  <a:lnTo>
                    <a:pt x="55" y="337"/>
                  </a:lnTo>
                  <a:lnTo>
                    <a:pt x="53" y="338"/>
                  </a:lnTo>
                  <a:lnTo>
                    <a:pt x="52" y="340"/>
                  </a:lnTo>
                  <a:lnTo>
                    <a:pt x="50" y="340"/>
                  </a:lnTo>
                  <a:lnTo>
                    <a:pt x="50" y="342"/>
                  </a:lnTo>
                  <a:lnTo>
                    <a:pt x="50" y="342"/>
                  </a:lnTo>
                  <a:lnTo>
                    <a:pt x="48" y="344"/>
                  </a:lnTo>
                  <a:lnTo>
                    <a:pt x="48" y="344"/>
                  </a:lnTo>
                  <a:lnTo>
                    <a:pt x="42" y="346"/>
                  </a:lnTo>
                  <a:lnTo>
                    <a:pt x="40" y="346"/>
                  </a:lnTo>
                  <a:lnTo>
                    <a:pt x="40" y="348"/>
                  </a:lnTo>
                  <a:lnTo>
                    <a:pt x="40" y="348"/>
                  </a:lnTo>
                  <a:lnTo>
                    <a:pt x="40" y="348"/>
                  </a:lnTo>
                  <a:lnTo>
                    <a:pt x="40" y="348"/>
                  </a:lnTo>
                  <a:lnTo>
                    <a:pt x="40" y="350"/>
                  </a:lnTo>
                  <a:lnTo>
                    <a:pt x="40" y="350"/>
                  </a:lnTo>
                  <a:lnTo>
                    <a:pt x="42" y="350"/>
                  </a:lnTo>
                  <a:lnTo>
                    <a:pt x="42" y="350"/>
                  </a:lnTo>
                  <a:lnTo>
                    <a:pt x="42" y="350"/>
                  </a:lnTo>
                  <a:lnTo>
                    <a:pt x="44" y="350"/>
                  </a:lnTo>
                  <a:lnTo>
                    <a:pt x="44" y="350"/>
                  </a:lnTo>
                  <a:lnTo>
                    <a:pt x="44" y="352"/>
                  </a:lnTo>
                  <a:lnTo>
                    <a:pt x="44" y="354"/>
                  </a:lnTo>
                  <a:lnTo>
                    <a:pt x="44" y="354"/>
                  </a:lnTo>
                  <a:lnTo>
                    <a:pt x="46" y="354"/>
                  </a:lnTo>
                  <a:lnTo>
                    <a:pt x="50" y="354"/>
                  </a:lnTo>
                  <a:lnTo>
                    <a:pt x="52" y="354"/>
                  </a:lnTo>
                  <a:lnTo>
                    <a:pt x="52" y="354"/>
                  </a:lnTo>
                  <a:lnTo>
                    <a:pt x="52" y="354"/>
                  </a:lnTo>
                  <a:lnTo>
                    <a:pt x="52" y="354"/>
                  </a:lnTo>
                  <a:lnTo>
                    <a:pt x="52" y="354"/>
                  </a:lnTo>
                  <a:lnTo>
                    <a:pt x="53" y="354"/>
                  </a:lnTo>
                  <a:lnTo>
                    <a:pt x="53" y="354"/>
                  </a:lnTo>
                  <a:lnTo>
                    <a:pt x="53" y="354"/>
                  </a:lnTo>
                  <a:lnTo>
                    <a:pt x="53" y="354"/>
                  </a:lnTo>
                  <a:lnTo>
                    <a:pt x="55" y="356"/>
                  </a:lnTo>
                  <a:lnTo>
                    <a:pt x="55" y="358"/>
                  </a:lnTo>
                  <a:lnTo>
                    <a:pt x="57" y="358"/>
                  </a:lnTo>
                  <a:lnTo>
                    <a:pt x="57" y="358"/>
                  </a:lnTo>
                  <a:lnTo>
                    <a:pt x="57" y="356"/>
                  </a:lnTo>
                  <a:lnTo>
                    <a:pt x="57" y="356"/>
                  </a:lnTo>
                  <a:lnTo>
                    <a:pt x="59" y="356"/>
                  </a:lnTo>
                  <a:lnTo>
                    <a:pt x="59" y="356"/>
                  </a:lnTo>
                  <a:lnTo>
                    <a:pt x="59" y="356"/>
                  </a:lnTo>
                  <a:lnTo>
                    <a:pt x="61" y="356"/>
                  </a:lnTo>
                  <a:lnTo>
                    <a:pt x="61" y="358"/>
                  </a:lnTo>
                  <a:lnTo>
                    <a:pt x="59" y="358"/>
                  </a:lnTo>
                  <a:lnTo>
                    <a:pt x="59" y="359"/>
                  </a:lnTo>
                  <a:lnTo>
                    <a:pt x="53" y="359"/>
                  </a:lnTo>
                  <a:lnTo>
                    <a:pt x="52" y="359"/>
                  </a:lnTo>
                  <a:lnTo>
                    <a:pt x="36" y="367"/>
                  </a:lnTo>
                  <a:lnTo>
                    <a:pt x="33" y="369"/>
                  </a:lnTo>
                  <a:lnTo>
                    <a:pt x="33" y="371"/>
                  </a:lnTo>
                  <a:lnTo>
                    <a:pt x="31" y="371"/>
                  </a:lnTo>
                  <a:lnTo>
                    <a:pt x="31" y="373"/>
                  </a:lnTo>
                  <a:lnTo>
                    <a:pt x="31" y="373"/>
                  </a:lnTo>
                  <a:lnTo>
                    <a:pt x="31" y="375"/>
                  </a:lnTo>
                  <a:lnTo>
                    <a:pt x="31" y="377"/>
                  </a:lnTo>
                  <a:lnTo>
                    <a:pt x="31" y="380"/>
                  </a:lnTo>
                  <a:lnTo>
                    <a:pt x="31" y="380"/>
                  </a:lnTo>
                  <a:lnTo>
                    <a:pt x="31" y="380"/>
                  </a:lnTo>
                  <a:lnTo>
                    <a:pt x="31" y="380"/>
                  </a:lnTo>
                  <a:lnTo>
                    <a:pt x="34" y="380"/>
                  </a:lnTo>
                  <a:lnTo>
                    <a:pt x="34" y="378"/>
                  </a:lnTo>
                  <a:lnTo>
                    <a:pt x="36" y="378"/>
                  </a:lnTo>
                  <a:lnTo>
                    <a:pt x="36" y="375"/>
                  </a:lnTo>
                  <a:lnTo>
                    <a:pt x="38" y="375"/>
                  </a:lnTo>
                  <a:lnTo>
                    <a:pt x="38" y="375"/>
                  </a:lnTo>
                  <a:lnTo>
                    <a:pt x="40" y="375"/>
                  </a:lnTo>
                  <a:lnTo>
                    <a:pt x="40" y="375"/>
                  </a:lnTo>
                  <a:lnTo>
                    <a:pt x="40" y="375"/>
                  </a:lnTo>
                  <a:lnTo>
                    <a:pt x="53" y="369"/>
                  </a:lnTo>
                  <a:lnTo>
                    <a:pt x="55" y="369"/>
                  </a:lnTo>
                  <a:lnTo>
                    <a:pt x="57" y="365"/>
                  </a:lnTo>
                  <a:lnTo>
                    <a:pt x="59" y="365"/>
                  </a:lnTo>
                  <a:lnTo>
                    <a:pt x="61" y="365"/>
                  </a:lnTo>
                  <a:lnTo>
                    <a:pt x="61" y="365"/>
                  </a:lnTo>
                  <a:lnTo>
                    <a:pt x="65" y="365"/>
                  </a:lnTo>
                  <a:lnTo>
                    <a:pt x="71" y="365"/>
                  </a:lnTo>
                  <a:lnTo>
                    <a:pt x="71" y="367"/>
                  </a:lnTo>
                  <a:lnTo>
                    <a:pt x="71" y="367"/>
                  </a:lnTo>
                  <a:lnTo>
                    <a:pt x="73" y="367"/>
                  </a:lnTo>
                  <a:lnTo>
                    <a:pt x="73" y="367"/>
                  </a:lnTo>
                  <a:lnTo>
                    <a:pt x="73" y="367"/>
                  </a:lnTo>
                  <a:lnTo>
                    <a:pt x="73" y="367"/>
                  </a:lnTo>
                  <a:lnTo>
                    <a:pt x="74" y="367"/>
                  </a:lnTo>
                  <a:lnTo>
                    <a:pt x="74" y="367"/>
                  </a:lnTo>
                  <a:lnTo>
                    <a:pt x="76" y="367"/>
                  </a:lnTo>
                  <a:lnTo>
                    <a:pt x="78" y="367"/>
                  </a:lnTo>
                  <a:lnTo>
                    <a:pt x="84" y="367"/>
                  </a:lnTo>
                  <a:lnTo>
                    <a:pt x="86" y="367"/>
                  </a:lnTo>
                  <a:lnTo>
                    <a:pt x="86" y="369"/>
                  </a:lnTo>
                  <a:lnTo>
                    <a:pt x="86" y="369"/>
                  </a:lnTo>
                  <a:lnTo>
                    <a:pt x="86" y="371"/>
                  </a:lnTo>
                  <a:lnTo>
                    <a:pt x="86" y="371"/>
                  </a:lnTo>
                  <a:lnTo>
                    <a:pt x="88" y="371"/>
                  </a:lnTo>
                  <a:lnTo>
                    <a:pt x="88" y="371"/>
                  </a:lnTo>
                  <a:lnTo>
                    <a:pt x="88" y="371"/>
                  </a:lnTo>
                  <a:lnTo>
                    <a:pt x="88" y="371"/>
                  </a:lnTo>
                  <a:lnTo>
                    <a:pt x="88" y="369"/>
                  </a:lnTo>
                  <a:lnTo>
                    <a:pt x="88" y="367"/>
                  </a:lnTo>
                  <a:lnTo>
                    <a:pt x="88" y="367"/>
                  </a:lnTo>
                  <a:lnTo>
                    <a:pt x="90" y="367"/>
                  </a:lnTo>
                  <a:lnTo>
                    <a:pt x="90" y="367"/>
                  </a:lnTo>
                  <a:lnTo>
                    <a:pt x="92" y="367"/>
                  </a:lnTo>
                  <a:lnTo>
                    <a:pt x="92" y="367"/>
                  </a:lnTo>
                  <a:lnTo>
                    <a:pt x="93" y="367"/>
                  </a:lnTo>
                  <a:lnTo>
                    <a:pt x="93" y="365"/>
                  </a:lnTo>
                  <a:lnTo>
                    <a:pt x="93" y="365"/>
                  </a:lnTo>
                  <a:lnTo>
                    <a:pt x="93" y="365"/>
                  </a:lnTo>
                  <a:lnTo>
                    <a:pt x="95" y="363"/>
                  </a:lnTo>
                  <a:lnTo>
                    <a:pt x="95" y="363"/>
                  </a:lnTo>
                  <a:lnTo>
                    <a:pt x="97" y="363"/>
                  </a:lnTo>
                  <a:lnTo>
                    <a:pt x="101" y="363"/>
                  </a:lnTo>
                  <a:lnTo>
                    <a:pt x="101" y="363"/>
                  </a:lnTo>
                  <a:lnTo>
                    <a:pt x="103" y="363"/>
                  </a:lnTo>
                  <a:lnTo>
                    <a:pt x="103" y="363"/>
                  </a:lnTo>
                  <a:lnTo>
                    <a:pt x="105" y="363"/>
                  </a:lnTo>
                  <a:lnTo>
                    <a:pt x="107" y="363"/>
                  </a:lnTo>
                  <a:lnTo>
                    <a:pt x="107" y="365"/>
                  </a:lnTo>
                  <a:lnTo>
                    <a:pt x="109" y="365"/>
                  </a:lnTo>
                  <a:lnTo>
                    <a:pt x="109" y="365"/>
                  </a:lnTo>
                  <a:lnTo>
                    <a:pt x="109" y="365"/>
                  </a:lnTo>
                  <a:lnTo>
                    <a:pt x="109" y="367"/>
                  </a:lnTo>
                  <a:lnTo>
                    <a:pt x="109" y="367"/>
                  </a:lnTo>
                  <a:lnTo>
                    <a:pt x="105" y="369"/>
                  </a:lnTo>
                  <a:lnTo>
                    <a:pt x="105" y="371"/>
                  </a:lnTo>
                  <a:lnTo>
                    <a:pt x="103" y="371"/>
                  </a:lnTo>
                  <a:lnTo>
                    <a:pt x="103" y="371"/>
                  </a:lnTo>
                  <a:lnTo>
                    <a:pt x="103" y="371"/>
                  </a:lnTo>
                  <a:lnTo>
                    <a:pt x="103" y="371"/>
                  </a:lnTo>
                  <a:lnTo>
                    <a:pt x="103" y="371"/>
                  </a:lnTo>
                  <a:lnTo>
                    <a:pt x="103" y="373"/>
                  </a:lnTo>
                  <a:lnTo>
                    <a:pt x="103" y="373"/>
                  </a:lnTo>
                  <a:lnTo>
                    <a:pt x="105" y="375"/>
                  </a:lnTo>
                  <a:lnTo>
                    <a:pt x="105" y="375"/>
                  </a:lnTo>
                  <a:lnTo>
                    <a:pt x="105" y="377"/>
                  </a:lnTo>
                  <a:lnTo>
                    <a:pt x="107" y="377"/>
                  </a:lnTo>
                  <a:lnTo>
                    <a:pt x="109" y="377"/>
                  </a:lnTo>
                  <a:lnTo>
                    <a:pt x="111" y="377"/>
                  </a:lnTo>
                  <a:lnTo>
                    <a:pt x="111" y="377"/>
                  </a:lnTo>
                  <a:lnTo>
                    <a:pt x="111" y="373"/>
                  </a:lnTo>
                  <a:lnTo>
                    <a:pt x="113" y="373"/>
                  </a:lnTo>
                  <a:lnTo>
                    <a:pt x="113" y="373"/>
                  </a:lnTo>
                  <a:lnTo>
                    <a:pt x="116" y="373"/>
                  </a:lnTo>
                  <a:lnTo>
                    <a:pt x="118" y="373"/>
                  </a:lnTo>
                  <a:lnTo>
                    <a:pt x="120" y="373"/>
                  </a:lnTo>
                  <a:lnTo>
                    <a:pt x="122" y="375"/>
                  </a:lnTo>
                  <a:lnTo>
                    <a:pt x="122" y="377"/>
                  </a:lnTo>
                  <a:lnTo>
                    <a:pt x="124" y="377"/>
                  </a:lnTo>
                  <a:lnTo>
                    <a:pt x="126" y="377"/>
                  </a:lnTo>
                  <a:lnTo>
                    <a:pt x="126" y="377"/>
                  </a:lnTo>
                  <a:lnTo>
                    <a:pt x="126" y="377"/>
                  </a:lnTo>
                  <a:lnTo>
                    <a:pt x="128" y="378"/>
                  </a:lnTo>
                  <a:lnTo>
                    <a:pt x="130" y="378"/>
                  </a:lnTo>
                  <a:lnTo>
                    <a:pt x="132" y="380"/>
                  </a:lnTo>
                  <a:lnTo>
                    <a:pt x="133" y="380"/>
                  </a:lnTo>
                  <a:lnTo>
                    <a:pt x="137" y="382"/>
                  </a:lnTo>
                  <a:lnTo>
                    <a:pt x="139" y="382"/>
                  </a:lnTo>
                  <a:lnTo>
                    <a:pt x="141" y="382"/>
                  </a:lnTo>
                  <a:lnTo>
                    <a:pt x="141" y="382"/>
                  </a:lnTo>
                  <a:lnTo>
                    <a:pt x="143" y="380"/>
                  </a:lnTo>
                  <a:lnTo>
                    <a:pt x="143" y="380"/>
                  </a:lnTo>
                  <a:lnTo>
                    <a:pt x="143" y="380"/>
                  </a:lnTo>
                  <a:lnTo>
                    <a:pt x="145" y="380"/>
                  </a:lnTo>
                  <a:lnTo>
                    <a:pt x="147" y="380"/>
                  </a:lnTo>
                  <a:lnTo>
                    <a:pt x="151" y="378"/>
                  </a:lnTo>
                  <a:lnTo>
                    <a:pt x="153" y="378"/>
                  </a:lnTo>
                  <a:lnTo>
                    <a:pt x="153" y="380"/>
                  </a:lnTo>
                  <a:lnTo>
                    <a:pt x="154" y="380"/>
                  </a:lnTo>
                  <a:lnTo>
                    <a:pt x="154" y="378"/>
                  </a:lnTo>
                  <a:lnTo>
                    <a:pt x="156" y="380"/>
                  </a:lnTo>
                  <a:lnTo>
                    <a:pt x="156" y="380"/>
                  </a:lnTo>
                  <a:lnTo>
                    <a:pt x="156" y="382"/>
                  </a:lnTo>
                  <a:lnTo>
                    <a:pt x="158" y="382"/>
                  </a:lnTo>
                  <a:lnTo>
                    <a:pt x="158" y="382"/>
                  </a:lnTo>
                  <a:lnTo>
                    <a:pt x="160" y="382"/>
                  </a:lnTo>
                  <a:lnTo>
                    <a:pt x="162" y="384"/>
                  </a:lnTo>
                  <a:lnTo>
                    <a:pt x="164" y="388"/>
                  </a:lnTo>
                  <a:lnTo>
                    <a:pt x="166" y="388"/>
                  </a:lnTo>
                  <a:lnTo>
                    <a:pt x="166" y="388"/>
                  </a:lnTo>
                  <a:lnTo>
                    <a:pt x="170" y="388"/>
                  </a:lnTo>
                  <a:lnTo>
                    <a:pt x="172" y="388"/>
                  </a:lnTo>
                  <a:lnTo>
                    <a:pt x="172" y="388"/>
                  </a:lnTo>
                  <a:lnTo>
                    <a:pt x="174" y="390"/>
                  </a:lnTo>
                  <a:lnTo>
                    <a:pt x="174" y="390"/>
                  </a:lnTo>
                  <a:lnTo>
                    <a:pt x="174" y="392"/>
                  </a:lnTo>
                  <a:lnTo>
                    <a:pt x="174" y="392"/>
                  </a:lnTo>
                  <a:lnTo>
                    <a:pt x="174" y="392"/>
                  </a:lnTo>
                  <a:lnTo>
                    <a:pt x="174" y="396"/>
                  </a:lnTo>
                  <a:lnTo>
                    <a:pt x="175" y="399"/>
                  </a:lnTo>
                  <a:lnTo>
                    <a:pt x="175" y="401"/>
                  </a:lnTo>
                  <a:lnTo>
                    <a:pt x="181" y="409"/>
                  </a:lnTo>
                  <a:lnTo>
                    <a:pt x="183" y="413"/>
                  </a:lnTo>
                  <a:lnTo>
                    <a:pt x="183" y="415"/>
                  </a:lnTo>
                  <a:lnTo>
                    <a:pt x="183" y="418"/>
                  </a:lnTo>
                  <a:lnTo>
                    <a:pt x="183" y="422"/>
                  </a:lnTo>
                  <a:lnTo>
                    <a:pt x="183" y="422"/>
                  </a:lnTo>
                  <a:lnTo>
                    <a:pt x="183" y="424"/>
                  </a:lnTo>
                  <a:lnTo>
                    <a:pt x="183" y="424"/>
                  </a:lnTo>
                  <a:lnTo>
                    <a:pt x="185" y="424"/>
                  </a:lnTo>
                  <a:lnTo>
                    <a:pt x="185" y="424"/>
                  </a:lnTo>
                  <a:lnTo>
                    <a:pt x="183" y="426"/>
                  </a:lnTo>
                  <a:lnTo>
                    <a:pt x="181" y="428"/>
                  </a:lnTo>
                  <a:lnTo>
                    <a:pt x="181" y="430"/>
                  </a:lnTo>
                  <a:lnTo>
                    <a:pt x="181" y="430"/>
                  </a:lnTo>
                  <a:lnTo>
                    <a:pt x="179" y="432"/>
                  </a:lnTo>
                  <a:lnTo>
                    <a:pt x="177" y="432"/>
                  </a:lnTo>
                  <a:lnTo>
                    <a:pt x="175" y="432"/>
                  </a:lnTo>
                  <a:lnTo>
                    <a:pt x="175" y="432"/>
                  </a:lnTo>
                  <a:lnTo>
                    <a:pt x="174" y="432"/>
                  </a:lnTo>
                  <a:lnTo>
                    <a:pt x="174" y="434"/>
                  </a:lnTo>
                  <a:lnTo>
                    <a:pt x="174" y="434"/>
                  </a:lnTo>
                  <a:lnTo>
                    <a:pt x="174" y="435"/>
                  </a:lnTo>
                  <a:lnTo>
                    <a:pt x="174" y="437"/>
                  </a:lnTo>
                  <a:lnTo>
                    <a:pt x="174" y="437"/>
                  </a:lnTo>
                  <a:lnTo>
                    <a:pt x="174" y="439"/>
                  </a:lnTo>
                  <a:lnTo>
                    <a:pt x="175" y="441"/>
                  </a:lnTo>
                  <a:lnTo>
                    <a:pt x="174" y="441"/>
                  </a:lnTo>
                  <a:lnTo>
                    <a:pt x="174" y="441"/>
                  </a:lnTo>
                  <a:lnTo>
                    <a:pt x="172" y="443"/>
                  </a:lnTo>
                  <a:lnTo>
                    <a:pt x="172" y="443"/>
                  </a:lnTo>
                  <a:lnTo>
                    <a:pt x="172" y="443"/>
                  </a:lnTo>
                  <a:lnTo>
                    <a:pt x="172" y="445"/>
                  </a:lnTo>
                  <a:lnTo>
                    <a:pt x="172" y="447"/>
                  </a:lnTo>
                  <a:lnTo>
                    <a:pt x="172" y="447"/>
                  </a:lnTo>
                  <a:lnTo>
                    <a:pt x="174" y="449"/>
                  </a:lnTo>
                  <a:lnTo>
                    <a:pt x="174" y="449"/>
                  </a:lnTo>
                  <a:lnTo>
                    <a:pt x="174" y="451"/>
                  </a:lnTo>
                  <a:lnTo>
                    <a:pt x="174" y="451"/>
                  </a:lnTo>
                  <a:lnTo>
                    <a:pt x="170" y="456"/>
                  </a:lnTo>
                  <a:lnTo>
                    <a:pt x="168" y="460"/>
                  </a:lnTo>
                  <a:lnTo>
                    <a:pt x="168" y="462"/>
                  </a:lnTo>
                  <a:lnTo>
                    <a:pt x="168" y="464"/>
                  </a:lnTo>
                  <a:lnTo>
                    <a:pt x="168" y="466"/>
                  </a:lnTo>
                  <a:lnTo>
                    <a:pt x="164" y="470"/>
                  </a:lnTo>
                  <a:lnTo>
                    <a:pt x="162" y="474"/>
                  </a:lnTo>
                  <a:lnTo>
                    <a:pt x="160" y="477"/>
                  </a:lnTo>
                  <a:lnTo>
                    <a:pt x="158" y="479"/>
                  </a:lnTo>
                  <a:lnTo>
                    <a:pt x="158" y="479"/>
                  </a:lnTo>
                  <a:lnTo>
                    <a:pt x="156" y="479"/>
                  </a:lnTo>
                  <a:lnTo>
                    <a:pt x="154" y="481"/>
                  </a:lnTo>
                  <a:lnTo>
                    <a:pt x="154" y="481"/>
                  </a:lnTo>
                  <a:lnTo>
                    <a:pt x="154" y="483"/>
                  </a:lnTo>
                  <a:lnTo>
                    <a:pt x="154" y="485"/>
                  </a:lnTo>
                  <a:lnTo>
                    <a:pt x="153" y="487"/>
                  </a:lnTo>
                  <a:lnTo>
                    <a:pt x="153" y="487"/>
                  </a:lnTo>
                  <a:lnTo>
                    <a:pt x="153" y="489"/>
                  </a:lnTo>
                  <a:lnTo>
                    <a:pt x="154" y="489"/>
                  </a:lnTo>
                  <a:lnTo>
                    <a:pt x="154" y="491"/>
                  </a:lnTo>
                  <a:lnTo>
                    <a:pt x="156" y="493"/>
                  </a:lnTo>
                  <a:lnTo>
                    <a:pt x="156" y="494"/>
                  </a:lnTo>
                  <a:lnTo>
                    <a:pt x="156" y="494"/>
                  </a:lnTo>
                  <a:lnTo>
                    <a:pt x="156" y="496"/>
                  </a:lnTo>
                  <a:lnTo>
                    <a:pt x="156" y="496"/>
                  </a:lnTo>
                  <a:lnTo>
                    <a:pt x="156" y="496"/>
                  </a:lnTo>
                  <a:lnTo>
                    <a:pt x="154" y="496"/>
                  </a:lnTo>
                  <a:lnTo>
                    <a:pt x="153" y="498"/>
                  </a:lnTo>
                  <a:lnTo>
                    <a:pt x="143" y="500"/>
                  </a:lnTo>
                  <a:lnTo>
                    <a:pt x="139" y="502"/>
                  </a:lnTo>
                  <a:lnTo>
                    <a:pt x="139" y="504"/>
                  </a:lnTo>
                  <a:lnTo>
                    <a:pt x="137" y="504"/>
                  </a:lnTo>
                  <a:lnTo>
                    <a:pt x="137" y="504"/>
                  </a:lnTo>
                  <a:lnTo>
                    <a:pt x="135" y="504"/>
                  </a:lnTo>
                  <a:lnTo>
                    <a:pt x="132" y="504"/>
                  </a:lnTo>
                  <a:lnTo>
                    <a:pt x="132" y="504"/>
                  </a:lnTo>
                  <a:lnTo>
                    <a:pt x="128" y="504"/>
                  </a:lnTo>
                  <a:lnTo>
                    <a:pt x="120" y="506"/>
                  </a:lnTo>
                  <a:lnTo>
                    <a:pt x="118" y="508"/>
                  </a:lnTo>
                  <a:lnTo>
                    <a:pt x="118" y="513"/>
                  </a:lnTo>
                  <a:lnTo>
                    <a:pt x="116" y="515"/>
                  </a:lnTo>
                  <a:lnTo>
                    <a:pt x="111" y="521"/>
                  </a:lnTo>
                  <a:lnTo>
                    <a:pt x="111" y="521"/>
                  </a:lnTo>
                  <a:lnTo>
                    <a:pt x="109" y="523"/>
                  </a:lnTo>
                  <a:lnTo>
                    <a:pt x="109" y="523"/>
                  </a:lnTo>
                  <a:lnTo>
                    <a:pt x="111" y="525"/>
                  </a:lnTo>
                  <a:lnTo>
                    <a:pt x="111" y="527"/>
                  </a:lnTo>
                  <a:lnTo>
                    <a:pt x="113" y="527"/>
                  </a:lnTo>
                  <a:lnTo>
                    <a:pt x="114" y="529"/>
                  </a:lnTo>
                  <a:lnTo>
                    <a:pt x="118" y="540"/>
                  </a:lnTo>
                  <a:lnTo>
                    <a:pt x="120" y="542"/>
                  </a:lnTo>
                  <a:lnTo>
                    <a:pt x="120" y="542"/>
                  </a:lnTo>
                  <a:lnTo>
                    <a:pt x="120" y="544"/>
                  </a:lnTo>
                  <a:lnTo>
                    <a:pt x="120" y="546"/>
                  </a:lnTo>
                  <a:lnTo>
                    <a:pt x="118" y="548"/>
                  </a:lnTo>
                  <a:lnTo>
                    <a:pt x="118" y="550"/>
                  </a:lnTo>
                  <a:lnTo>
                    <a:pt x="118" y="551"/>
                  </a:lnTo>
                  <a:lnTo>
                    <a:pt x="116" y="553"/>
                  </a:lnTo>
                  <a:lnTo>
                    <a:pt x="116" y="553"/>
                  </a:lnTo>
                  <a:lnTo>
                    <a:pt x="116" y="555"/>
                  </a:lnTo>
                  <a:lnTo>
                    <a:pt x="118" y="557"/>
                  </a:lnTo>
                  <a:lnTo>
                    <a:pt x="116" y="561"/>
                  </a:lnTo>
                  <a:lnTo>
                    <a:pt x="116" y="563"/>
                  </a:lnTo>
                  <a:lnTo>
                    <a:pt x="114" y="565"/>
                  </a:lnTo>
                  <a:lnTo>
                    <a:pt x="111" y="569"/>
                  </a:lnTo>
                  <a:lnTo>
                    <a:pt x="107" y="571"/>
                  </a:lnTo>
                  <a:lnTo>
                    <a:pt x="103" y="574"/>
                  </a:lnTo>
                  <a:lnTo>
                    <a:pt x="101" y="574"/>
                  </a:lnTo>
                  <a:lnTo>
                    <a:pt x="101" y="576"/>
                  </a:lnTo>
                  <a:lnTo>
                    <a:pt x="103" y="578"/>
                  </a:lnTo>
                  <a:lnTo>
                    <a:pt x="103" y="578"/>
                  </a:lnTo>
                  <a:lnTo>
                    <a:pt x="105" y="578"/>
                  </a:lnTo>
                  <a:lnTo>
                    <a:pt x="105" y="578"/>
                  </a:lnTo>
                  <a:lnTo>
                    <a:pt x="107" y="584"/>
                  </a:lnTo>
                  <a:lnTo>
                    <a:pt x="107" y="586"/>
                  </a:lnTo>
                  <a:lnTo>
                    <a:pt x="107" y="588"/>
                  </a:lnTo>
                  <a:lnTo>
                    <a:pt x="107" y="590"/>
                  </a:lnTo>
                  <a:lnTo>
                    <a:pt x="109" y="591"/>
                  </a:lnTo>
                  <a:lnTo>
                    <a:pt x="109" y="591"/>
                  </a:lnTo>
                  <a:lnTo>
                    <a:pt x="111" y="593"/>
                  </a:lnTo>
                  <a:lnTo>
                    <a:pt x="111" y="597"/>
                  </a:lnTo>
                  <a:lnTo>
                    <a:pt x="111" y="597"/>
                  </a:lnTo>
                  <a:lnTo>
                    <a:pt x="111" y="599"/>
                  </a:lnTo>
                  <a:lnTo>
                    <a:pt x="111" y="599"/>
                  </a:lnTo>
                  <a:lnTo>
                    <a:pt x="111" y="601"/>
                  </a:lnTo>
                  <a:lnTo>
                    <a:pt x="111" y="601"/>
                  </a:lnTo>
                  <a:lnTo>
                    <a:pt x="111" y="603"/>
                  </a:lnTo>
                  <a:lnTo>
                    <a:pt x="111" y="605"/>
                  </a:lnTo>
                  <a:lnTo>
                    <a:pt x="109" y="607"/>
                  </a:lnTo>
                  <a:lnTo>
                    <a:pt x="107" y="610"/>
                  </a:lnTo>
                  <a:lnTo>
                    <a:pt x="107" y="612"/>
                  </a:lnTo>
                  <a:lnTo>
                    <a:pt x="107" y="612"/>
                  </a:lnTo>
                  <a:lnTo>
                    <a:pt x="109" y="614"/>
                  </a:lnTo>
                  <a:lnTo>
                    <a:pt x="109" y="614"/>
                  </a:lnTo>
                  <a:lnTo>
                    <a:pt x="109" y="614"/>
                  </a:lnTo>
                  <a:lnTo>
                    <a:pt x="111" y="616"/>
                  </a:lnTo>
                  <a:lnTo>
                    <a:pt x="111" y="616"/>
                  </a:lnTo>
                  <a:lnTo>
                    <a:pt x="111" y="616"/>
                  </a:lnTo>
                  <a:lnTo>
                    <a:pt x="113" y="618"/>
                  </a:lnTo>
                  <a:lnTo>
                    <a:pt x="113" y="620"/>
                  </a:lnTo>
                  <a:lnTo>
                    <a:pt x="114" y="620"/>
                  </a:lnTo>
                  <a:lnTo>
                    <a:pt x="116" y="622"/>
                  </a:lnTo>
                  <a:lnTo>
                    <a:pt x="118" y="622"/>
                  </a:lnTo>
                  <a:lnTo>
                    <a:pt x="118" y="622"/>
                  </a:lnTo>
                  <a:lnTo>
                    <a:pt x="118" y="624"/>
                  </a:lnTo>
                  <a:lnTo>
                    <a:pt x="118" y="624"/>
                  </a:lnTo>
                  <a:lnTo>
                    <a:pt x="116" y="628"/>
                  </a:lnTo>
                  <a:lnTo>
                    <a:pt x="116" y="628"/>
                  </a:lnTo>
                  <a:lnTo>
                    <a:pt x="116" y="629"/>
                  </a:lnTo>
                  <a:lnTo>
                    <a:pt x="116" y="631"/>
                  </a:lnTo>
                  <a:lnTo>
                    <a:pt x="118" y="631"/>
                  </a:lnTo>
                  <a:lnTo>
                    <a:pt x="118" y="633"/>
                  </a:lnTo>
                  <a:lnTo>
                    <a:pt x="120" y="633"/>
                  </a:lnTo>
                  <a:lnTo>
                    <a:pt x="122" y="633"/>
                  </a:lnTo>
                  <a:lnTo>
                    <a:pt x="124" y="633"/>
                  </a:lnTo>
                  <a:lnTo>
                    <a:pt x="126" y="631"/>
                  </a:lnTo>
                  <a:lnTo>
                    <a:pt x="126" y="631"/>
                  </a:lnTo>
                  <a:lnTo>
                    <a:pt x="128" y="629"/>
                  </a:lnTo>
                  <a:lnTo>
                    <a:pt x="128" y="629"/>
                  </a:lnTo>
                  <a:lnTo>
                    <a:pt x="128" y="628"/>
                  </a:lnTo>
                  <a:lnTo>
                    <a:pt x="128" y="628"/>
                  </a:lnTo>
                  <a:lnTo>
                    <a:pt x="128" y="626"/>
                  </a:lnTo>
                  <a:lnTo>
                    <a:pt x="128" y="626"/>
                  </a:lnTo>
                  <a:lnTo>
                    <a:pt x="128" y="624"/>
                  </a:lnTo>
                  <a:lnTo>
                    <a:pt x="130" y="624"/>
                  </a:lnTo>
                  <a:lnTo>
                    <a:pt x="130" y="622"/>
                  </a:lnTo>
                  <a:lnTo>
                    <a:pt x="130" y="622"/>
                  </a:lnTo>
                  <a:lnTo>
                    <a:pt x="132" y="622"/>
                  </a:lnTo>
                  <a:lnTo>
                    <a:pt x="133" y="624"/>
                  </a:lnTo>
                  <a:lnTo>
                    <a:pt x="135" y="624"/>
                  </a:lnTo>
                  <a:lnTo>
                    <a:pt x="141" y="629"/>
                  </a:lnTo>
                  <a:lnTo>
                    <a:pt x="143" y="629"/>
                  </a:lnTo>
                  <a:lnTo>
                    <a:pt x="145" y="633"/>
                  </a:lnTo>
                  <a:lnTo>
                    <a:pt x="147" y="633"/>
                  </a:lnTo>
                  <a:lnTo>
                    <a:pt x="149" y="635"/>
                  </a:lnTo>
                  <a:lnTo>
                    <a:pt x="151" y="635"/>
                  </a:lnTo>
                  <a:lnTo>
                    <a:pt x="153" y="635"/>
                  </a:lnTo>
                  <a:lnTo>
                    <a:pt x="154" y="635"/>
                  </a:lnTo>
                  <a:lnTo>
                    <a:pt x="154" y="635"/>
                  </a:lnTo>
                  <a:lnTo>
                    <a:pt x="156" y="635"/>
                  </a:lnTo>
                  <a:lnTo>
                    <a:pt x="156" y="637"/>
                  </a:lnTo>
                  <a:lnTo>
                    <a:pt x="156" y="637"/>
                  </a:lnTo>
                  <a:lnTo>
                    <a:pt x="156" y="639"/>
                  </a:lnTo>
                  <a:lnTo>
                    <a:pt x="156" y="641"/>
                  </a:lnTo>
                  <a:lnTo>
                    <a:pt x="158" y="641"/>
                  </a:lnTo>
                  <a:lnTo>
                    <a:pt x="160" y="643"/>
                  </a:lnTo>
                  <a:lnTo>
                    <a:pt x="160" y="641"/>
                  </a:lnTo>
                  <a:lnTo>
                    <a:pt x="162" y="641"/>
                  </a:lnTo>
                  <a:lnTo>
                    <a:pt x="164" y="639"/>
                  </a:lnTo>
                  <a:lnTo>
                    <a:pt x="166" y="637"/>
                  </a:lnTo>
                  <a:lnTo>
                    <a:pt x="168" y="633"/>
                  </a:lnTo>
                  <a:lnTo>
                    <a:pt x="168" y="631"/>
                  </a:lnTo>
                  <a:lnTo>
                    <a:pt x="170" y="629"/>
                  </a:lnTo>
                  <a:lnTo>
                    <a:pt x="174" y="626"/>
                  </a:lnTo>
                  <a:lnTo>
                    <a:pt x="174" y="626"/>
                  </a:lnTo>
                  <a:lnTo>
                    <a:pt x="174" y="624"/>
                  </a:lnTo>
                  <a:lnTo>
                    <a:pt x="175" y="624"/>
                  </a:lnTo>
                  <a:lnTo>
                    <a:pt x="175" y="622"/>
                  </a:lnTo>
                  <a:lnTo>
                    <a:pt x="177" y="620"/>
                  </a:lnTo>
                  <a:lnTo>
                    <a:pt x="177" y="616"/>
                  </a:lnTo>
                  <a:lnTo>
                    <a:pt x="175" y="616"/>
                  </a:lnTo>
                  <a:lnTo>
                    <a:pt x="174" y="616"/>
                  </a:lnTo>
                  <a:lnTo>
                    <a:pt x="172" y="616"/>
                  </a:lnTo>
                  <a:lnTo>
                    <a:pt x="172" y="614"/>
                  </a:lnTo>
                  <a:lnTo>
                    <a:pt x="172" y="614"/>
                  </a:lnTo>
                  <a:lnTo>
                    <a:pt x="170" y="614"/>
                  </a:lnTo>
                  <a:lnTo>
                    <a:pt x="170" y="614"/>
                  </a:lnTo>
                  <a:lnTo>
                    <a:pt x="170" y="614"/>
                  </a:lnTo>
                  <a:lnTo>
                    <a:pt x="170" y="612"/>
                  </a:lnTo>
                  <a:lnTo>
                    <a:pt x="170" y="612"/>
                  </a:lnTo>
                  <a:lnTo>
                    <a:pt x="172" y="610"/>
                  </a:lnTo>
                  <a:lnTo>
                    <a:pt x="172" y="610"/>
                  </a:lnTo>
                  <a:lnTo>
                    <a:pt x="170" y="609"/>
                  </a:lnTo>
                  <a:lnTo>
                    <a:pt x="168" y="607"/>
                  </a:lnTo>
                  <a:lnTo>
                    <a:pt x="168" y="605"/>
                  </a:lnTo>
                  <a:lnTo>
                    <a:pt x="168" y="603"/>
                  </a:lnTo>
                  <a:lnTo>
                    <a:pt x="168" y="603"/>
                  </a:lnTo>
                  <a:lnTo>
                    <a:pt x="166" y="601"/>
                  </a:lnTo>
                  <a:lnTo>
                    <a:pt x="166" y="599"/>
                  </a:lnTo>
                  <a:lnTo>
                    <a:pt x="164" y="599"/>
                  </a:lnTo>
                  <a:lnTo>
                    <a:pt x="162" y="599"/>
                  </a:lnTo>
                  <a:lnTo>
                    <a:pt x="162" y="599"/>
                  </a:lnTo>
                  <a:lnTo>
                    <a:pt x="160" y="599"/>
                  </a:lnTo>
                  <a:lnTo>
                    <a:pt x="156" y="599"/>
                  </a:lnTo>
                  <a:lnTo>
                    <a:pt x="156" y="601"/>
                  </a:lnTo>
                  <a:lnTo>
                    <a:pt x="154" y="601"/>
                  </a:lnTo>
                  <a:lnTo>
                    <a:pt x="154" y="599"/>
                  </a:lnTo>
                  <a:lnTo>
                    <a:pt x="153" y="599"/>
                  </a:lnTo>
                  <a:lnTo>
                    <a:pt x="153" y="597"/>
                  </a:lnTo>
                  <a:lnTo>
                    <a:pt x="153" y="597"/>
                  </a:lnTo>
                  <a:lnTo>
                    <a:pt x="153" y="595"/>
                  </a:lnTo>
                  <a:lnTo>
                    <a:pt x="153" y="593"/>
                  </a:lnTo>
                  <a:lnTo>
                    <a:pt x="154" y="591"/>
                  </a:lnTo>
                  <a:lnTo>
                    <a:pt x="154" y="591"/>
                  </a:lnTo>
                  <a:lnTo>
                    <a:pt x="154" y="591"/>
                  </a:lnTo>
                  <a:lnTo>
                    <a:pt x="154" y="590"/>
                  </a:lnTo>
                  <a:lnTo>
                    <a:pt x="154" y="586"/>
                  </a:lnTo>
                  <a:lnTo>
                    <a:pt x="154" y="582"/>
                  </a:lnTo>
                  <a:lnTo>
                    <a:pt x="154" y="580"/>
                  </a:lnTo>
                  <a:lnTo>
                    <a:pt x="153" y="578"/>
                  </a:lnTo>
                  <a:lnTo>
                    <a:pt x="153" y="576"/>
                  </a:lnTo>
                  <a:lnTo>
                    <a:pt x="151" y="574"/>
                  </a:lnTo>
                  <a:lnTo>
                    <a:pt x="147" y="571"/>
                  </a:lnTo>
                  <a:lnTo>
                    <a:pt x="147" y="569"/>
                  </a:lnTo>
                  <a:lnTo>
                    <a:pt x="145" y="567"/>
                  </a:lnTo>
                  <a:lnTo>
                    <a:pt x="143" y="555"/>
                  </a:lnTo>
                  <a:lnTo>
                    <a:pt x="143" y="551"/>
                  </a:lnTo>
                  <a:lnTo>
                    <a:pt x="143" y="550"/>
                  </a:lnTo>
                  <a:lnTo>
                    <a:pt x="139" y="542"/>
                  </a:lnTo>
                  <a:lnTo>
                    <a:pt x="137" y="540"/>
                  </a:lnTo>
                  <a:lnTo>
                    <a:pt x="137" y="538"/>
                  </a:lnTo>
                  <a:lnTo>
                    <a:pt x="135" y="536"/>
                  </a:lnTo>
                  <a:lnTo>
                    <a:pt x="133" y="536"/>
                  </a:lnTo>
                  <a:lnTo>
                    <a:pt x="133" y="536"/>
                  </a:lnTo>
                  <a:lnTo>
                    <a:pt x="133" y="534"/>
                  </a:lnTo>
                  <a:lnTo>
                    <a:pt x="133" y="534"/>
                  </a:lnTo>
                  <a:lnTo>
                    <a:pt x="133" y="532"/>
                  </a:lnTo>
                  <a:lnTo>
                    <a:pt x="133" y="532"/>
                  </a:lnTo>
                  <a:lnTo>
                    <a:pt x="135" y="531"/>
                  </a:lnTo>
                  <a:lnTo>
                    <a:pt x="137" y="527"/>
                  </a:lnTo>
                  <a:lnTo>
                    <a:pt x="137" y="527"/>
                  </a:lnTo>
                  <a:lnTo>
                    <a:pt x="139" y="525"/>
                  </a:lnTo>
                  <a:lnTo>
                    <a:pt x="139" y="525"/>
                  </a:lnTo>
                  <a:lnTo>
                    <a:pt x="139" y="525"/>
                  </a:lnTo>
                  <a:lnTo>
                    <a:pt x="139" y="523"/>
                  </a:lnTo>
                  <a:lnTo>
                    <a:pt x="139" y="523"/>
                  </a:lnTo>
                  <a:lnTo>
                    <a:pt x="139" y="523"/>
                  </a:lnTo>
                  <a:lnTo>
                    <a:pt x="139" y="521"/>
                  </a:lnTo>
                  <a:lnTo>
                    <a:pt x="139" y="521"/>
                  </a:lnTo>
                  <a:lnTo>
                    <a:pt x="141" y="521"/>
                  </a:lnTo>
                  <a:lnTo>
                    <a:pt x="141" y="521"/>
                  </a:lnTo>
                  <a:lnTo>
                    <a:pt x="143" y="521"/>
                  </a:lnTo>
                  <a:lnTo>
                    <a:pt x="145" y="521"/>
                  </a:lnTo>
                  <a:lnTo>
                    <a:pt x="147" y="521"/>
                  </a:lnTo>
                  <a:lnTo>
                    <a:pt x="147" y="521"/>
                  </a:lnTo>
                  <a:lnTo>
                    <a:pt x="147" y="521"/>
                  </a:lnTo>
                  <a:lnTo>
                    <a:pt x="149" y="523"/>
                  </a:lnTo>
                  <a:lnTo>
                    <a:pt x="149" y="523"/>
                  </a:lnTo>
                  <a:lnTo>
                    <a:pt x="151" y="525"/>
                  </a:lnTo>
                  <a:lnTo>
                    <a:pt x="151" y="525"/>
                  </a:lnTo>
                  <a:lnTo>
                    <a:pt x="153" y="527"/>
                  </a:lnTo>
                  <a:lnTo>
                    <a:pt x="153" y="527"/>
                  </a:lnTo>
                  <a:lnTo>
                    <a:pt x="153" y="527"/>
                  </a:lnTo>
                  <a:lnTo>
                    <a:pt x="154" y="527"/>
                  </a:lnTo>
                  <a:lnTo>
                    <a:pt x="154" y="527"/>
                  </a:lnTo>
                  <a:lnTo>
                    <a:pt x="154" y="525"/>
                  </a:lnTo>
                  <a:lnTo>
                    <a:pt x="154" y="523"/>
                  </a:lnTo>
                  <a:lnTo>
                    <a:pt x="154" y="523"/>
                  </a:lnTo>
                  <a:lnTo>
                    <a:pt x="154" y="523"/>
                  </a:lnTo>
                  <a:lnTo>
                    <a:pt x="154" y="521"/>
                  </a:lnTo>
                  <a:lnTo>
                    <a:pt x="154" y="521"/>
                  </a:lnTo>
                  <a:lnTo>
                    <a:pt x="154" y="519"/>
                  </a:lnTo>
                  <a:lnTo>
                    <a:pt x="154" y="519"/>
                  </a:lnTo>
                  <a:lnTo>
                    <a:pt x="154" y="517"/>
                  </a:lnTo>
                  <a:lnTo>
                    <a:pt x="153" y="515"/>
                  </a:lnTo>
                  <a:lnTo>
                    <a:pt x="153" y="515"/>
                  </a:lnTo>
                  <a:lnTo>
                    <a:pt x="153" y="513"/>
                  </a:lnTo>
                  <a:lnTo>
                    <a:pt x="153" y="512"/>
                  </a:lnTo>
                  <a:lnTo>
                    <a:pt x="154" y="512"/>
                  </a:lnTo>
                  <a:lnTo>
                    <a:pt x="154" y="512"/>
                  </a:lnTo>
                  <a:lnTo>
                    <a:pt x="156" y="512"/>
                  </a:lnTo>
                  <a:lnTo>
                    <a:pt x="156" y="510"/>
                  </a:lnTo>
                  <a:lnTo>
                    <a:pt x="158" y="510"/>
                  </a:lnTo>
                  <a:lnTo>
                    <a:pt x="160" y="512"/>
                  </a:lnTo>
                  <a:lnTo>
                    <a:pt x="160" y="512"/>
                  </a:lnTo>
                  <a:lnTo>
                    <a:pt x="160" y="512"/>
                  </a:lnTo>
                  <a:lnTo>
                    <a:pt x="160" y="513"/>
                  </a:lnTo>
                  <a:lnTo>
                    <a:pt x="160" y="517"/>
                  </a:lnTo>
                  <a:lnTo>
                    <a:pt x="160" y="519"/>
                  </a:lnTo>
                  <a:lnTo>
                    <a:pt x="160" y="519"/>
                  </a:lnTo>
                  <a:lnTo>
                    <a:pt x="162" y="521"/>
                  </a:lnTo>
                  <a:lnTo>
                    <a:pt x="164" y="519"/>
                  </a:lnTo>
                  <a:lnTo>
                    <a:pt x="164" y="519"/>
                  </a:lnTo>
                  <a:lnTo>
                    <a:pt x="166" y="519"/>
                  </a:lnTo>
                  <a:lnTo>
                    <a:pt x="166" y="517"/>
                  </a:lnTo>
                  <a:lnTo>
                    <a:pt x="164" y="513"/>
                  </a:lnTo>
                  <a:lnTo>
                    <a:pt x="164" y="513"/>
                  </a:lnTo>
                  <a:lnTo>
                    <a:pt x="166" y="512"/>
                  </a:lnTo>
                  <a:lnTo>
                    <a:pt x="166" y="512"/>
                  </a:lnTo>
                  <a:lnTo>
                    <a:pt x="166" y="510"/>
                  </a:lnTo>
                  <a:lnTo>
                    <a:pt x="166" y="510"/>
                  </a:lnTo>
                  <a:lnTo>
                    <a:pt x="168" y="508"/>
                  </a:lnTo>
                  <a:lnTo>
                    <a:pt x="168" y="508"/>
                  </a:lnTo>
                  <a:lnTo>
                    <a:pt x="170" y="508"/>
                  </a:lnTo>
                  <a:lnTo>
                    <a:pt x="170" y="510"/>
                  </a:lnTo>
                  <a:lnTo>
                    <a:pt x="172" y="510"/>
                  </a:lnTo>
                  <a:lnTo>
                    <a:pt x="172" y="512"/>
                  </a:lnTo>
                  <a:lnTo>
                    <a:pt x="172" y="513"/>
                  </a:lnTo>
                  <a:lnTo>
                    <a:pt x="172" y="513"/>
                  </a:lnTo>
                  <a:lnTo>
                    <a:pt x="170" y="515"/>
                  </a:lnTo>
                  <a:lnTo>
                    <a:pt x="170" y="517"/>
                  </a:lnTo>
                  <a:lnTo>
                    <a:pt x="170" y="517"/>
                  </a:lnTo>
                  <a:lnTo>
                    <a:pt x="170" y="517"/>
                  </a:lnTo>
                  <a:lnTo>
                    <a:pt x="172" y="517"/>
                  </a:lnTo>
                  <a:lnTo>
                    <a:pt x="172" y="517"/>
                  </a:lnTo>
                  <a:lnTo>
                    <a:pt x="174" y="517"/>
                  </a:lnTo>
                  <a:lnTo>
                    <a:pt x="174" y="517"/>
                  </a:lnTo>
                  <a:lnTo>
                    <a:pt x="174" y="517"/>
                  </a:lnTo>
                  <a:lnTo>
                    <a:pt x="175" y="517"/>
                  </a:lnTo>
                  <a:lnTo>
                    <a:pt x="175" y="519"/>
                  </a:lnTo>
                  <a:lnTo>
                    <a:pt x="175" y="519"/>
                  </a:lnTo>
                  <a:lnTo>
                    <a:pt x="175" y="523"/>
                  </a:lnTo>
                  <a:lnTo>
                    <a:pt x="174" y="523"/>
                  </a:lnTo>
                  <a:lnTo>
                    <a:pt x="174" y="527"/>
                  </a:lnTo>
                  <a:lnTo>
                    <a:pt x="172" y="527"/>
                  </a:lnTo>
                  <a:lnTo>
                    <a:pt x="172" y="529"/>
                  </a:lnTo>
                  <a:lnTo>
                    <a:pt x="174" y="531"/>
                  </a:lnTo>
                  <a:lnTo>
                    <a:pt x="174" y="531"/>
                  </a:lnTo>
                  <a:lnTo>
                    <a:pt x="172" y="532"/>
                  </a:lnTo>
                  <a:lnTo>
                    <a:pt x="172" y="532"/>
                  </a:lnTo>
                  <a:lnTo>
                    <a:pt x="172" y="532"/>
                  </a:lnTo>
                  <a:lnTo>
                    <a:pt x="170" y="534"/>
                  </a:lnTo>
                  <a:lnTo>
                    <a:pt x="168" y="536"/>
                  </a:lnTo>
                  <a:lnTo>
                    <a:pt x="168" y="536"/>
                  </a:lnTo>
                  <a:lnTo>
                    <a:pt x="166" y="538"/>
                  </a:lnTo>
                  <a:lnTo>
                    <a:pt x="166" y="540"/>
                  </a:lnTo>
                  <a:lnTo>
                    <a:pt x="166" y="542"/>
                  </a:lnTo>
                  <a:lnTo>
                    <a:pt x="166" y="544"/>
                  </a:lnTo>
                  <a:lnTo>
                    <a:pt x="166" y="544"/>
                  </a:lnTo>
                  <a:lnTo>
                    <a:pt x="168" y="546"/>
                  </a:lnTo>
                  <a:lnTo>
                    <a:pt x="168" y="544"/>
                  </a:lnTo>
                  <a:lnTo>
                    <a:pt x="170" y="544"/>
                  </a:lnTo>
                  <a:lnTo>
                    <a:pt x="172" y="542"/>
                  </a:lnTo>
                  <a:lnTo>
                    <a:pt x="172" y="540"/>
                  </a:lnTo>
                  <a:lnTo>
                    <a:pt x="174" y="540"/>
                  </a:lnTo>
                  <a:lnTo>
                    <a:pt x="174" y="540"/>
                  </a:lnTo>
                  <a:lnTo>
                    <a:pt x="175" y="540"/>
                  </a:lnTo>
                  <a:lnTo>
                    <a:pt x="175" y="540"/>
                  </a:lnTo>
                  <a:lnTo>
                    <a:pt x="177" y="538"/>
                  </a:lnTo>
                  <a:lnTo>
                    <a:pt x="177" y="538"/>
                  </a:lnTo>
                  <a:lnTo>
                    <a:pt x="177" y="536"/>
                  </a:lnTo>
                  <a:lnTo>
                    <a:pt x="177" y="534"/>
                  </a:lnTo>
                  <a:lnTo>
                    <a:pt x="177" y="534"/>
                  </a:lnTo>
                  <a:lnTo>
                    <a:pt x="177" y="534"/>
                  </a:lnTo>
                  <a:lnTo>
                    <a:pt x="179" y="534"/>
                  </a:lnTo>
                  <a:lnTo>
                    <a:pt x="179" y="534"/>
                  </a:lnTo>
                  <a:lnTo>
                    <a:pt x="181" y="534"/>
                  </a:lnTo>
                  <a:lnTo>
                    <a:pt x="181" y="534"/>
                  </a:lnTo>
                  <a:lnTo>
                    <a:pt x="181" y="534"/>
                  </a:lnTo>
                  <a:lnTo>
                    <a:pt x="181" y="536"/>
                  </a:lnTo>
                  <a:lnTo>
                    <a:pt x="183" y="536"/>
                  </a:lnTo>
                  <a:lnTo>
                    <a:pt x="183" y="536"/>
                  </a:lnTo>
                  <a:lnTo>
                    <a:pt x="183" y="536"/>
                  </a:lnTo>
                  <a:lnTo>
                    <a:pt x="183" y="536"/>
                  </a:lnTo>
                  <a:lnTo>
                    <a:pt x="179" y="540"/>
                  </a:lnTo>
                  <a:lnTo>
                    <a:pt x="179" y="540"/>
                  </a:lnTo>
                  <a:lnTo>
                    <a:pt x="179" y="542"/>
                  </a:lnTo>
                  <a:lnTo>
                    <a:pt x="179" y="544"/>
                  </a:lnTo>
                  <a:lnTo>
                    <a:pt x="179" y="544"/>
                  </a:lnTo>
                  <a:lnTo>
                    <a:pt x="179" y="544"/>
                  </a:lnTo>
                  <a:lnTo>
                    <a:pt x="181" y="546"/>
                  </a:lnTo>
                  <a:lnTo>
                    <a:pt x="181" y="544"/>
                  </a:lnTo>
                  <a:lnTo>
                    <a:pt x="183" y="544"/>
                  </a:lnTo>
                  <a:lnTo>
                    <a:pt x="187" y="542"/>
                  </a:lnTo>
                  <a:lnTo>
                    <a:pt x="187" y="542"/>
                  </a:lnTo>
                  <a:lnTo>
                    <a:pt x="189" y="542"/>
                  </a:lnTo>
                  <a:lnTo>
                    <a:pt x="189" y="544"/>
                  </a:lnTo>
                  <a:lnTo>
                    <a:pt x="189" y="548"/>
                  </a:lnTo>
                  <a:lnTo>
                    <a:pt x="189" y="548"/>
                  </a:lnTo>
                  <a:lnTo>
                    <a:pt x="191" y="548"/>
                  </a:lnTo>
                  <a:lnTo>
                    <a:pt x="191" y="548"/>
                  </a:lnTo>
                  <a:lnTo>
                    <a:pt x="193" y="548"/>
                  </a:lnTo>
                  <a:lnTo>
                    <a:pt x="193" y="546"/>
                  </a:lnTo>
                  <a:lnTo>
                    <a:pt x="193" y="546"/>
                  </a:lnTo>
                  <a:lnTo>
                    <a:pt x="194" y="544"/>
                  </a:lnTo>
                  <a:lnTo>
                    <a:pt x="194" y="544"/>
                  </a:lnTo>
                  <a:lnTo>
                    <a:pt x="196" y="544"/>
                  </a:lnTo>
                  <a:lnTo>
                    <a:pt x="198" y="546"/>
                  </a:lnTo>
                  <a:lnTo>
                    <a:pt x="198" y="546"/>
                  </a:lnTo>
                  <a:lnTo>
                    <a:pt x="200" y="544"/>
                  </a:lnTo>
                  <a:lnTo>
                    <a:pt x="200" y="544"/>
                  </a:lnTo>
                  <a:lnTo>
                    <a:pt x="202" y="546"/>
                  </a:lnTo>
                  <a:lnTo>
                    <a:pt x="204" y="546"/>
                  </a:lnTo>
                  <a:lnTo>
                    <a:pt x="204" y="546"/>
                  </a:lnTo>
                  <a:lnTo>
                    <a:pt x="206" y="546"/>
                  </a:lnTo>
                  <a:lnTo>
                    <a:pt x="206" y="544"/>
                  </a:lnTo>
                  <a:lnTo>
                    <a:pt x="206" y="544"/>
                  </a:lnTo>
                  <a:lnTo>
                    <a:pt x="206" y="542"/>
                  </a:lnTo>
                  <a:lnTo>
                    <a:pt x="202" y="534"/>
                  </a:lnTo>
                  <a:lnTo>
                    <a:pt x="202" y="532"/>
                  </a:lnTo>
                  <a:lnTo>
                    <a:pt x="202" y="532"/>
                  </a:lnTo>
                  <a:lnTo>
                    <a:pt x="202" y="531"/>
                  </a:lnTo>
                  <a:lnTo>
                    <a:pt x="204" y="529"/>
                  </a:lnTo>
                  <a:lnTo>
                    <a:pt x="206" y="525"/>
                  </a:lnTo>
                  <a:lnTo>
                    <a:pt x="208" y="525"/>
                  </a:lnTo>
                  <a:lnTo>
                    <a:pt x="208" y="525"/>
                  </a:lnTo>
                  <a:lnTo>
                    <a:pt x="208" y="527"/>
                  </a:lnTo>
                  <a:lnTo>
                    <a:pt x="208" y="527"/>
                  </a:lnTo>
                  <a:lnTo>
                    <a:pt x="208" y="529"/>
                  </a:lnTo>
                  <a:lnTo>
                    <a:pt x="206" y="532"/>
                  </a:lnTo>
                  <a:lnTo>
                    <a:pt x="206" y="532"/>
                  </a:lnTo>
                  <a:lnTo>
                    <a:pt x="206" y="532"/>
                  </a:lnTo>
                  <a:lnTo>
                    <a:pt x="206" y="534"/>
                  </a:lnTo>
                  <a:lnTo>
                    <a:pt x="206" y="534"/>
                  </a:lnTo>
                  <a:lnTo>
                    <a:pt x="206" y="536"/>
                  </a:lnTo>
                  <a:lnTo>
                    <a:pt x="206" y="538"/>
                  </a:lnTo>
                  <a:lnTo>
                    <a:pt x="208" y="538"/>
                  </a:lnTo>
                  <a:lnTo>
                    <a:pt x="208" y="538"/>
                  </a:lnTo>
                  <a:lnTo>
                    <a:pt x="208" y="538"/>
                  </a:lnTo>
                  <a:lnTo>
                    <a:pt x="210" y="538"/>
                  </a:lnTo>
                  <a:lnTo>
                    <a:pt x="210" y="536"/>
                  </a:lnTo>
                  <a:lnTo>
                    <a:pt x="210" y="536"/>
                  </a:lnTo>
                  <a:lnTo>
                    <a:pt x="210" y="536"/>
                  </a:lnTo>
                  <a:lnTo>
                    <a:pt x="210" y="534"/>
                  </a:lnTo>
                  <a:lnTo>
                    <a:pt x="212" y="534"/>
                  </a:lnTo>
                  <a:lnTo>
                    <a:pt x="214" y="534"/>
                  </a:lnTo>
                  <a:lnTo>
                    <a:pt x="214" y="534"/>
                  </a:lnTo>
                  <a:lnTo>
                    <a:pt x="214" y="534"/>
                  </a:lnTo>
                  <a:lnTo>
                    <a:pt x="215" y="534"/>
                  </a:lnTo>
                  <a:lnTo>
                    <a:pt x="215" y="534"/>
                  </a:lnTo>
                  <a:lnTo>
                    <a:pt x="217" y="532"/>
                  </a:lnTo>
                  <a:lnTo>
                    <a:pt x="217" y="532"/>
                  </a:lnTo>
                  <a:lnTo>
                    <a:pt x="219" y="532"/>
                  </a:lnTo>
                  <a:lnTo>
                    <a:pt x="219" y="532"/>
                  </a:lnTo>
                  <a:lnTo>
                    <a:pt x="219" y="534"/>
                  </a:lnTo>
                  <a:lnTo>
                    <a:pt x="217" y="536"/>
                  </a:lnTo>
                  <a:lnTo>
                    <a:pt x="215" y="540"/>
                  </a:lnTo>
                  <a:lnTo>
                    <a:pt x="214" y="544"/>
                  </a:lnTo>
                  <a:lnTo>
                    <a:pt x="212" y="544"/>
                  </a:lnTo>
                  <a:lnTo>
                    <a:pt x="210" y="548"/>
                  </a:lnTo>
                  <a:lnTo>
                    <a:pt x="210" y="548"/>
                  </a:lnTo>
                  <a:lnTo>
                    <a:pt x="210" y="548"/>
                  </a:lnTo>
                  <a:lnTo>
                    <a:pt x="210" y="550"/>
                  </a:lnTo>
                  <a:lnTo>
                    <a:pt x="210" y="551"/>
                  </a:lnTo>
                  <a:lnTo>
                    <a:pt x="210" y="553"/>
                  </a:lnTo>
                  <a:lnTo>
                    <a:pt x="210" y="553"/>
                  </a:lnTo>
                  <a:lnTo>
                    <a:pt x="210" y="555"/>
                  </a:lnTo>
                  <a:lnTo>
                    <a:pt x="210" y="555"/>
                  </a:lnTo>
                  <a:lnTo>
                    <a:pt x="212" y="555"/>
                  </a:lnTo>
                  <a:lnTo>
                    <a:pt x="215" y="555"/>
                  </a:lnTo>
                  <a:lnTo>
                    <a:pt x="215" y="553"/>
                  </a:lnTo>
                  <a:lnTo>
                    <a:pt x="215" y="553"/>
                  </a:lnTo>
                  <a:lnTo>
                    <a:pt x="215" y="551"/>
                  </a:lnTo>
                  <a:lnTo>
                    <a:pt x="215" y="550"/>
                  </a:lnTo>
                  <a:lnTo>
                    <a:pt x="215" y="550"/>
                  </a:lnTo>
                  <a:lnTo>
                    <a:pt x="215" y="548"/>
                  </a:lnTo>
                  <a:lnTo>
                    <a:pt x="215" y="548"/>
                  </a:lnTo>
                  <a:lnTo>
                    <a:pt x="217" y="548"/>
                  </a:lnTo>
                  <a:lnTo>
                    <a:pt x="219" y="548"/>
                  </a:lnTo>
                  <a:lnTo>
                    <a:pt x="219" y="550"/>
                  </a:lnTo>
                  <a:lnTo>
                    <a:pt x="219" y="550"/>
                  </a:lnTo>
                  <a:lnTo>
                    <a:pt x="219" y="550"/>
                  </a:lnTo>
                  <a:lnTo>
                    <a:pt x="219" y="551"/>
                  </a:lnTo>
                  <a:lnTo>
                    <a:pt x="221" y="551"/>
                  </a:lnTo>
                  <a:lnTo>
                    <a:pt x="221" y="551"/>
                  </a:lnTo>
                  <a:lnTo>
                    <a:pt x="221" y="551"/>
                  </a:lnTo>
                  <a:lnTo>
                    <a:pt x="223" y="551"/>
                  </a:lnTo>
                  <a:lnTo>
                    <a:pt x="225" y="551"/>
                  </a:lnTo>
                  <a:lnTo>
                    <a:pt x="225" y="550"/>
                  </a:lnTo>
                  <a:lnTo>
                    <a:pt x="225" y="550"/>
                  </a:lnTo>
                  <a:lnTo>
                    <a:pt x="227" y="546"/>
                  </a:lnTo>
                  <a:lnTo>
                    <a:pt x="227" y="546"/>
                  </a:lnTo>
                  <a:lnTo>
                    <a:pt x="229" y="544"/>
                  </a:lnTo>
                  <a:lnTo>
                    <a:pt x="229" y="544"/>
                  </a:lnTo>
                  <a:lnTo>
                    <a:pt x="231" y="544"/>
                  </a:lnTo>
                  <a:lnTo>
                    <a:pt x="231" y="544"/>
                  </a:lnTo>
                  <a:lnTo>
                    <a:pt x="233" y="546"/>
                  </a:lnTo>
                  <a:lnTo>
                    <a:pt x="236" y="546"/>
                  </a:lnTo>
                  <a:lnTo>
                    <a:pt x="238" y="548"/>
                  </a:lnTo>
                  <a:lnTo>
                    <a:pt x="240" y="548"/>
                  </a:lnTo>
                  <a:lnTo>
                    <a:pt x="246" y="548"/>
                  </a:lnTo>
                  <a:lnTo>
                    <a:pt x="250" y="546"/>
                  </a:lnTo>
                  <a:lnTo>
                    <a:pt x="250" y="548"/>
                  </a:lnTo>
                  <a:lnTo>
                    <a:pt x="250" y="548"/>
                  </a:lnTo>
                  <a:lnTo>
                    <a:pt x="250" y="548"/>
                  </a:lnTo>
                  <a:lnTo>
                    <a:pt x="252" y="550"/>
                  </a:lnTo>
                  <a:lnTo>
                    <a:pt x="252" y="550"/>
                  </a:lnTo>
                  <a:lnTo>
                    <a:pt x="254" y="550"/>
                  </a:lnTo>
                  <a:lnTo>
                    <a:pt x="255" y="548"/>
                  </a:lnTo>
                  <a:lnTo>
                    <a:pt x="257" y="548"/>
                  </a:lnTo>
                  <a:lnTo>
                    <a:pt x="257" y="548"/>
                  </a:lnTo>
                  <a:lnTo>
                    <a:pt x="259" y="548"/>
                  </a:lnTo>
                  <a:lnTo>
                    <a:pt x="259" y="546"/>
                  </a:lnTo>
                  <a:lnTo>
                    <a:pt x="259" y="546"/>
                  </a:lnTo>
                  <a:lnTo>
                    <a:pt x="257" y="544"/>
                  </a:lnTo>
                  <a:lnTo>
                    <a:pt x="257" y="542"/>
                  </a:lnTo>
                  <a:lnTo>
                    <a:pt x="255" y="542"/>
                  </a:lnTo>
                  <a:lnTo>
                    <a:pt x="255" y="542"/>
                  </a:lnTo>
                  <a:lnTo>
                    <a:pt x="255" y="540"/>
                  </a:lnTo>
                  <a:lnTo>
                    <a:pt x="255" y="540"/>
                  </a:lnTo>
                  <a:lnTo>
                    <a:pt x="255" y="540"/>
                  </a:lnTo>
                  <a:lnTo>
                    <a:pt x="255" y="538"/>
                  </a:lnTo>
                  <a:lnTo>
                    <a:pt x="255" y="538"/>
                  </a:lnTo>
                  <a:lnTo>
                    <a:pt x="257" y="538"/>
                  </a:lnTo>
                  <a:lnTo>
                    <a:pt x="259" y="536"/>
                  </a:lnTo>
                  <a:lnTo>
                    <a:pt x="261" y="536"/>
                  </a:lnTo>
                  <a:lnTo>
                    <a:pt x="263" y="536"/>
                  </a:lnTo>
                  <a:lnTo>
                    <a:pt x="265" y="534"/>
                  </a:lnTo>
                  <a:lnTo>
                    <a:pt x="269" y="532"/>
                  </a:lnTo>
                  <a:lnTo>
                    <a:pt x="271" y="531"/>
                  </a:lnTo>
                  <a:lnTo>
                    <a:pt x="273" y="529"/>
                  </a:lnTo>
                  <a:lnTo>
                    <a:pt x="278" y="525"/>
                  </a:lnTo>
                  <a:lnTo>
                    <a:pt x="280" y="527"/>
                  </a:lnTo>
                  <a:lnTo>
                    <a:pt x="282" y="527"/>
                  </a:lnTo>
                  <a:lnTo>
                    <a:pt x="282" y="527"/>
                  </a:lnTo>
                  <a:lnTo>
                    <a:pt x="282" y="527"/>
                  </a:lnTo>
                  <a:lnTo>
                    <a:pt x="286" y="523"/>
                  </a:lnTo>
                  <a:lnTo>
                    <a:pt x="288" y="523"/>
                  </a:lnTo>
                  <a:lnTo>
                    <a:pt x="288" y="523"/>
                  </a:lnTo>
                  <a:lnTo>
                    <a:pt x="288" y="521"/>
                  </a:lnTo>
                  <a:lnTo>
                    <a:pt x="288" y="521"/>
                  </a:lnTo>
                  <a:lnTo>
                    <a:pt x="290" y="521"/>
                  </a:lnTo>
                  <a:lnTo>
                    <a:pt x="290" y="521"/>
                  </a:lnTo>
                  <a:lnTo>
                    <a:pt x="292" y="521"/>
                  </a:lnTo>
                  <a:lnTo>
                    <a:pt x="292" y="521"/>
                  </a:lnTo>
                  <a:lnTo>
                    <a:pt x="292" y="521"/>
                  </a:lnTo>
                  <a:lnTo>
                    <a:pt x="294" y="521"/>
                  </a:lnTo>
                  <a:lnTo>
                    <a:pt x="295" y="521"/>
                  </a:lnTo>
                  <a:lnTo>
                    <a:pt x="295" y="521"/>
                  </a:lnTo>
                  <a:lnTo>
                    <a:pt x="297" y="521"/>
                  </a:lnTo>
                  <a:lnTo>
                    <a:pt x="297" y="521"/>
                  </a:lnTo>
                  <a:lnTo>
                    <a:pt x="299" y="523"/>
                  </a:lnTo>
                  <a:lnTo>
                    <a:pt x="299" y="525"/>
                  </a:lnTo>
                  <a:lnTo>
                    <a:pt x="299" y="525"/>
                  </a:lnTo>
                  <a:lnTo>
                    <a:pt x="299" y="529"/>
                  </a:lnTo>
                  <a:lnTo>
                    <a:pt x="301" y="532"/>
                  </a:lnTo>
                  <a:lnTo>
                    <a:pt x="301" y="532"/>
                  </a:lnTo>
                  <a:lnTo>
                    <a:pt x="301" y="534"/>
                  </a:lnTo>
                  <a:lnTo>
                    <a:pt x="303" y="534"/>
                  </a:lnTo>
                  <a:lnTo>
                    <a:pt x="303" y="534"/>
                  </a:lnTo>
                  <a:lnTo>
                    <a:pt x="305" y="536"/>
                  </a:lnTo>
                  <a:lnTo>
                    <a:pt x="305" y="536"/>
                  </a:lnTo>
                  <a:lnTo>
                    <a:pt x="305" y="538"/>
                  </a:lnTo>
                  <a:lnTo>
                    <a:pt x="305" y="538"/>
                  </a:lnTo>
                  <a:lnTo>
                    <a:pt x="305" y="538"/>
                  </a:lnTo>
                  <a:lnTo>
                    <a:pt x="307" y="538"/>
                  </a:lnTo>
                  <a:lnTo>
                    <a:pt x="307" y="538"/>
                  </a:lnTo>
                  <a:lnTo>
                    <a:pt x="307" y="538"/>
                  </a:lnTo>
                  <a:lnTo>
                    <a:pt x="307" y="538"/>
                  </a:lnTo>
                  <a:lnTo>
                    <a:pt x="309" y="538"/>
                  </a:lnTo>
                  <a:lnTo>
                    <a:pt x="309" y="538"/>
                  </a:lnTo>
                  <a:lnTo>
                    <a:pt x="309" y="540"/>
                  </a:lnTo>
                  <a:lnTo>
                    <a:pt x="309" y="542"/>
                  </a:lnTo>
                  <a:lnTo>
                    <a:pt x="309" y="542"/>
                  </a:lnTo>
                  <a:lnTo>
                    <a:pt x="309" y="544"/>
                  </a:lnTo>
                  <a:lnTo>
                    <a:pt x="311" y="544"/>
                  </a:lnTo>
                  <a:lnTo>
                    <a:pt x="311" y="544"/>
                  </a:lnTo>
                  <a:lnTo>
                    <a:pt x="309" y="544"/>
                  </a:lnTo>
                  <a:lnTo>
                    <a:pt x="309" y="546"/>
                  </a:lnTo>
                  <a:lnTo>
                    <a:pt x="309" y="546"/>
                  </a:lnTo>
                  <a:lnTo>
                    <a:pt x="307" y="546"/>
                  </a:lnTo>
                  <a:lnTo>
                    <a:pt x="305" y="548"/>
                  </a:lnTo>
                  <a:lnTo>
                    <a:pt x="305" y="548"/>
                  </a:lnTo>
                  <a:lnTo>
                    <a:pt x="305" y="548"/>
                  </a:lnTo>
                  <a:lnTo>
                    <a:pt x="303" y="548"/>
                  </a:lnTo>
                  <a:lnTo>
                    <a:pt x="303" y="548"/>
                  </a:lnTo>
                  <a:lnTo>
                    <a:pt x="303" y="550"/>
                  </a:lnTo>
                  <a:lnTo>
                    <a:pt x="303" y="550"/>
                  </a:lnTo>
                  <a:lnTo>
                    <a:pt x="301" y="551"/>
                  </a:lnTo>
                  <a:lnTo>
                    <a:pt x="299" y="553"/>
                  </a:lnTo>
                  <a:lnTo>
                    <a:pt x="299" y="553"/>
                  </a:lnTo>
                  <a:lnTo>
                    <a:pt x="297" y="553"/>
                  </a:lnTo>
                  <a:lnTo>
                    <a:pt x="297" y="553"/>
                  </a:lnTo>
                  <a:lnTo>
                    <a:pt x="295" y="553"/>
                  </a:lnTo>
                  <a:lnTo>
                    <a:pt x="295" y="553"/>
                  </a:lnTo>
                  <a:lnTo>
                    <a:pt x="295" y="553"/>
                  </a:lnTo>
                  <a:lnTo>
                    <a:pt x="295" y="553"/>
                  </a:lnTo>
                  <a:lnTo>
                    <a:pt x="295" y="555"/>
                  </a:lnTo>
                  <a:lnTo>
                    <a:pt x="295" y="555"/>
                  </a:lnTo>
                  <a:lnTo>
                    <a:pt x="295" y="559"/>
                  </a:lnTo>
                  <a:lnTo>
                    <a:pt x="295" y="559"/>
                  </a:lnTo>
                  <a:lnTo>
                    <a:pt x="297" y="561"/>
                  </a:lnTo>
                  <a:lnTo>
                    <a:pt x="297" y="561"/>
                  </a:lnTo>
                  <a:lnTo>
                    <a:pt x="299" y="561"/>
                  </a:lnTo>
                  <a:lnTo>
                    <a:pt x="301" y="561"/>
                  </a:lnTo>
                  <a:lnTo>
                    <a:pt x="303" y="561"/>
                  </a:lnTo>
                  <a:lnTo>
                    <a:pt x="305" y="561"/>
                  </a:lnTo>
                  <a:lnTo>
                    <a:pt x="305" y="561"/>
                  </a:lnTo>
                  <a:lnTo>
                    <a:pt x="307" y="561"/>
                  </a:lnTo>
                  <a:lnTo>
                    <a:pt x="307" y="561"/>
                  </a:lnTo>
                  <a:lnTo>
                    <a:pt x="307" y="561"/>
                  </a:lnTo>
                  <a:lnTo>
                    <a:pt x="309" y="561"/>
                  </a:lnTo>
                  <a:lnTo>
                    <a:pt x="309" y="561"/>
                  </a:lnTo>
                  <a:lnTo>
                    <a:pt x="309" y="559"/>
                  </a:lnTo>
                  <a:lnTo>
                    <a:pt x="309" y="557"/>
                  </a:lnTo>
                  <a:lnTo>
                    <a:pt x="309" y="557"/>
                  </a:lnTo>
                  <a:lnTo>
                    <a:pt x="309" y="557"/>
                  </a:lnTo>
                  <a:lnTo>
                    <a:pt x="309" y="555"/>
                  </a:lnTo>
                  <a:lnTo>
                    <a:pt x="309" y="557"/>
                  </a:lnTo>
                  <a:lnTo>
                    <a:pt x="311" y="557"/>
                  </a:lnTo>
                  <a:lnTo>
                    <a:pt x="313" y="561"/>
                  </a:lnTo>
                  <a:lnTo>
                    <a:pt x="313" y="561"/>
                  </a:lnTo>
                  <a:lnTo>
                    <a:pt x="313" y="561"/>
                  </a:lnTo>
                  <a:lnTo>
                    <a:pt x="315" y="561"/>
                  </a:lnTo>
                  <a:lnTo>
                    <a:pt x="315" y="561"/>
                  </a:lnTo>
                  <a:lnTo>
                    <a:pt x="318" y="559"/>
                  </a:lnTo>
                  <a:lnTo>
                    <a:pt x="318" y="557"/>
                  </a:lnTo>
                  <a:lnTo>
                    <a:pt x="318" y="557"/>
                  </a:lnTo>
                  <a:lnTo>
                    <a:pt x="318" y="557"/>
                  </a:lnTo>
                  <a:lnTo>
                    <a:pt x="315" y="555"/>
                  </a:lnTo>
                  <a:lnTo>
                    <a:pt x="315" y="555"/>
                  </a:lnTo>
                  <a:lnTo>
                    <a:pt x="315" y="555"/>
                  </a:lnTo>
                  <a:lnTo>
                    <a:pt x="313" y="553"/>
                  </a:lnTo>
                  <a:lnTo>
                    <a:pt x="313" y="553"/>
                  </a:lnTo>
                  <a:lnTo>
                    <a:pt x="313" y="551"/>
                  </a:lnTo>
                  <a:lnTo>
                    <a:pt x="313" y="551"/>
                  </a:lnTo>
                  <a:lnTo>
                    <a:pt x="313" y="551"/>
                  </a:lnTo>
                  <a:lnTo>
                    <a:pt x="313" y="551"/>
                  </a:lnTo>
                  <a:lnTo>
                    <a:pt x="315" y="551"/>
                  </a:lnTo>
                  <a:lnTo>
                    <a:pt x="316" y="551"/>
                  </a:lnTo>
                  <a:lnTo>
                    <a:pt x="318" y="551"/>
                  </a:lnTo>
                  <a:lnTo>
                    <a:pt x="320" y="551"/>
                  </a:lnTo>
                  <a:lnTo>
                    <a:pt x="320" y="551"/>
                  </a:lnTo>
                  <a:lnTo>
                    <a:pt x="322" y="551"/>
                  </a:lnTo>
                  <a:lnTo>
                    <a:pt x="322" y="551"/>
                  </a:lnTo>
                  <a:lnTo>
                    <a:pt x="322" y="551"/>
                  </a:lnTo>
                  <a:lnTo>
                    <a:pt x="322" y="550"/>
                  </a:lnTo>
                  <a:lnTo>
                    <a:pt x="322" y="550"/>
                  </a:lnTo>
                  <a:lnTo>
                    <a:pt x="322" y="548"/>
                  </a:lnTo>
                  <a:lnTo>
                    <a:pt x="322" y="548"/>
                  </a:lnTo>
                  <a:lnTo>
                    <a:pt x="322" y="548"/>
                  </a:lnTo>
                  <a:lnTo>
                    <a:pt x="322" y="548"/>
                  </a:lnTo>
                  <a:lnTo>
                    <a:pt x="324" y="548"/>
                  </a:lnTo>
                  <a:lnTo>
                    <a:pt x="324" y="548"/>
                  </a:lnTo>
                  <a:lnTo>
                    <a:pt x="324" y="548"/>
                  </a:lnTo>
                  <a:lnTo>
                    <a:pt x="326" y="550"/>
                  </a:lnTo>
                  <a:lnTo>
                    <a:pt x="326" y="551"/>
                  </a:lnTo>
                  <a:lnTo>
                    <a:pt x="326" y="551"/>
                  </a:lnTo>
                  <a:lnTo>
                    <a:pt x="330" y="555"/>
                  </a:lnTo>
                  <a:lnTo>
                    <a:pt x="330" y="555"/>
                  </a:lnTo>
                  <a:lnTo>
                    <a:pt x="330" y="555"/>
                  </a:lnTo>
                  <a:lnTo>
                    <a:pt x="332" y="555"/>
                  </a:lnTo>
                  <a:lnTo>
                    <a:pt x="334" y="555"/>
                  </a:lnTo>
                  <a:lnTo>
                    <a:pt x="334" y="555"/>
                  </a:lnTo>
                  <a:lnTo>
                    <a:pt x="335" y="555"/>
                  </a:lnTo>
                  <a:lnTo>
                    <a:pt x="337" y="553"/>
                  </a:lnTo>
                  <a:lnTo>
                    <a:pt x="337" y="553"/>
                  </a:lnTo>
                  <a:lnTo>
                    <a:pt x="337" y="553"/>
                  </a:lnTo>
                  <a:lnTo>
                    <a:pt x="337" y="551"/>
                  </a:lnTo>
                  <a:lnTo>
                    <a:pt x="337" y="551"/>
                  </a:lnTo>
                  <a:lnTo>
                    <a:pt x="334" y="548"/>
                  </a:lnTo>
                  <a:lnTo>
                    <a:pt x="332" y="548"/>
                  </a:lnTo>
                  <a:lnTo>
                    <a:pt x="332" y="548"/>
                  </a:lnTo>
                  <a:lnTo>
                    <a:pt x="332" y="548"/>
                  </a:lnTo>
                  <a:lnTo>
                    <a:pt x="334" y="548"/>
                  </a:lnTo>
                  <a:lnTo>
                    <a:pt x="334" y="548"/>
                  </a:lnTo>
                  <a:lnTo>
                    <a:pt x="334" y="548"/>
                  </a:lnTo>
                  <a:lnTo>
                    <a:pt x="341" y="546"/>
                  </a:lnTo>
                  <a:lnTo>
                    <a:pt x="341" y="546"/>
                  </a:lnTo>
                  <a:lnTo>
                    <a:pt x="343" y="546"/>
                  </a:lnTo>
                  <a:lnTo>
                    <a:pt x="343" y="546"/>
                  </a:lnTo>
                  <a:lnTo>
                    <a:pt x="343" y="546"/>
                  </a:lnTo>
                  <a:lnTo>
                    <a:pt x="345" y="542"/>
                  </a:lnTo>
                  <a:lnTo>
                    <a:pt x="345" y="542"/>
                  </a:lnTo>
                  <a:lnTo>
                    <a:pt x="345" y="542"/>
                  </a:lnTo>
                  <a:lnTo>
                    <a:pt x="345" y="542"/>
                  </a:lnTo>
                  <a:lnTo>
                    <a:pt x="345" y="542"/>
                  </a:lnTo>
                  <a:lnTo>
                    <a:pt x="345" y="540"/>
                  </a:lnTo>
                  <a:lnTo>
                    <a:pt x="347" y="540"/>
                  </a:lnTo>
                  <a:lnTo>
                    <a:pt x="347" y="540"/>
                  </a:lnTo>
                  <a:lnTo>
                    <a:pt x="349" y="540"/>
                  </a:lnTo>
                  <a:lnTo>
                    <a:pt x="349" y="540"/>
                  </a:lnTo>
                  <a:lnTo>
                    <a:pt x="349" y="540"/>
                  </a:lnTo>
                  <a:lnTo>
                    <a:pt x="351" y="542"/>
                  </a:lnTo>
                  <a:lnTo>
                    <a:pt x="351" y="542"/>
                  </a:lnTo>
                  <a:lnTo>
                    <a:pt x="351" y="544"/>
                  </a:lnTo>
                  <a:lnTo>
                    <a:pt x="347" y="550"/>
                  </a:lnTo>
                  <a:lnTo>
                    <a:pt x="347" y="551"/>
                  </a:lnTo>
                  <a:lnTo>
                    <a:pt x="347" y="553"/>
                  </a:lnTo>
                  <a:lnTo>
                    <a:pt x="347" y="553"/>
                  </a:lnTo>
                  <a:lnTo>
                    <a:pt x="345" y="555"/>
                  </a:lnTo>
                  <a:lnTo>
                    <a:pt x="345" y="555"/>
                  </a:lnTo>
                  <a:lnTo>
                    <a:pt x="345" y="557"/>
                  </a:lnTo>
                  <a:lnTo>
                    <a:pt x="345" y="557"/>
                  </a:lnTo>
                  <a:lnTo>
                    <a:pt x="343" y="557"/>
                  </a:lnTo>
                  <a:lnTo>
                    <a:pt x="343" y="559"/>
                  </a:lnTo>
                  <a:lnTo>
                    <a:pt x="343" y="559"/>
                  </a:lnTo>
                  <a:lnTo>
                    <a:pt x="343" y="561"/>
                  </a:lnTo>
                  <a:lnTo>
                    <a:pt x="343" y="561"/>
                  </a:lnTo>
                  <a:lnTo>
                    <a:pt x="343" y="561"/>
                  </a:lnTo>
                  <a:lnTo>
                    <a:pt x="341" y="563"/>
                  </a:lnTo>
                  <a:lnTo>
                    <a:pt x="341" y="563"/>
                  </a:lnTo>
                  <a:lnTo>
                    <a:pt x="341" y="563"/>
                  </a:lnTo>
                  <a:lnTo>
                    <a:pt x="341" y="565"/>
                  </a:lnTo>
                  <a:lnTo>
                    <a:pt x="341" y="565"/>
                  </a:lnTo>
                  <a:lnTo>
                    <a:pt x="343" y="565"/>
                  </a:lnTo>
                  <a:lnTo>
                    <a:pt x="345" y="567"/>
                  </a:lnTo>
                  <a:lnTo>
                    <a:pt x="347" y="565"/>
                  </a:lnTo>
                  <a:lnTo>
                    <a:pt x="349" y="565"/>
                  </a:lnTo>
                  <a:lnTo>
                    <a:pt x="353" y="565"/>
                  </a:lnTo>
                  <a:lnTo>
                    <a:pt x="355" y="565"/>
                  </a:lnTo>
                  <a:lnTo>
                    <a:pt x="355" y="565"/>
                  </a:lnTo>
                  <a:lnTo>
                    <a:pt x="355" y="565"/>
                  </a:lnTo>
                  <a:lnTo>
                    <a:pt x="356" y="567"/>
                  </a:lnTo>
                  <a:lnTo>
                    <a:pt x="356" y="567"/>
                  </a:lnTo>
                  <a:lnTo>
                    <a:pt x="358" y="567"/>
                  </a:lnTo>
                  <a:lnTo>
                    <a:pt x="360" y="567"/>
                  </a:lnTo>
                  <a:lnTo>
                    <a:pt x="360" y="567"/>
                  </a:lnTo>
                  <a:lnTo>
                    <a:pt x="362" y="567"/>
                  </a:lnTo>
                  <a:lnTo>
                    <a:pt x="364" y="567"/>
                  </a:lnTo>
                  <a:lnTo>
                    <a:pt x="364" y="567"/>
                  </a:lnTo>
                  <a:lnTo>
                    <a:pt x="366" y="567"/>
                  </a:lnTo>
                  <a:lnTo>
                    <a:pt x="370" y="571"/>
                  </a:lnTo>
                  <a:lnTo>
                    <a:pt x="372" y="572"/>
                  </a:lnTo>
                  <a:lnTo>
                    <a:pt x="376" y="569"/>
                  </a:lnTo>
                  <a:lnTo>
                    <a:pt x="376" y="569"/>
                  </a:lnTo>
                  <a:lnTo>
                    <a:pt x="376" y="569"/>
                  </a:lnTo>
                  <a:lnTo>
                    <a:pt x="377" y="567"/>
                  </a:lnTo>
                  <a:lnTo>
                    <a:pt x="379" y="567"/>
                  </a:lnTo>
                  <a:lnTo>
                    <a:pt x="379" y="567"/>
                  </a:lnTo>
                  <a:lnTo>
                    <a:pt x="379" y="567"/>
                  </a:lnTo>
                  <a:lnTo>
                    <a:pt x="379" y="567"/>
                  </a:lnTo>
                  <a:lnTo>
                    <a:pt x="379" y="565"/>
                  </a:lnTo>
                  <a:lnTo>
                    <a:pt x="379" y="565"/>
                  </a:lnTo>
                  <a:lnTo>
                    <a:pt x="379" y="565"/>
                  </a:lnTo>
                  <a:lnTo>
                    <a:pt x="379" y="563"/>
                  </a:lnTo>
                  <a:lnTo>
                    <a:pt x="379" y="563"/>
                  </a:lnTo>
                  <a:lnTo>
                    <a:pt x="379" y="563"/>
                  </a:lnTo>
                  <a:lnTo>
                    <a:pt x="379" y="563"/>
                  </a:lnTo>
                  <a:lnTo>
                    <a:pt x="379" y="561"/>
                  </a:lnTo>
                  <a:lnTo>
                    <a:pt x="379" y="561"/>
                  </a:lnTo>
                  <a:lnTo>
                    <a:pt x="379" y="561"/>
                  </a:lnTo>
                  <a:lnTo>
                    <a:pt x="383" y="557"/>
                  </a:lnTo>
                  <a:lnTo>
                    <a:pt x="383" y="555"/>
                  </a:lnTo>
                  <a:lnTo>
                    <a:pt x="385" y="553"/>
                  </a:lnTo>
                  <a:lnTo>
                    <a:pt x="385" y="553"/>
                  </a:lnTo>
                  <a:lnTo>
                    <a:pt x="385" y="551"/>
                  </a:lnTo>
                  <a:lnTo>
                    <a:pt x="385" y="551"/>
                  </a:lnTo>
                  <a:lnTo>
                    <a:pt x="385" y="550"/>
                  </a:lnTo>
                  <a:lnTo>
                    <a:pt x="385" y="546"/>
                  </a:lnTo>
                  <a:lnTo>
                    <a:pt x="385" y="546"/>
                  </a:lnTo>
                  <a:lnTo>
                    <a:pt x="385" y="546"/>
                  </a:lnTo>
                  <a:lnTo>
                    <a:pt x="387" y="546"/>
                  </a:lnTo>
                  <a:lnTo>
                    <a:pt x="389" y="546"/>
                  </a:lnTo>
                  <a:lnTo>
                    <a:pt x="389" y="546"/>
                  </a:lnTo>
                  <a:lnTo>
                    <a:pt x="391" y="546"/>
                  </a:lnTo>
                  <a:lnTo>
                    <a:pt x="393" y="546"/>
                  </a:lnTo>
                  <a:lnTo>
                    <a:pt x="393" y="546"/>
                  </a:lnTo>
                  <a:lnTo>
                    <a:pt x="395" y="546"/>
                  </a:lnTo>
                  <a:lnTo>
                    <a:pt x="396" y="546"/>
                  </a:lnTo>
                  <a:lnTo>
                    <a:pt x="396" y="548"/>
                  </a:lnTo>
                  <a:lnTo>
                    <a:pt x="396" y="548"/>
                  </a:lnTo>
                  <a:lnTo>
                    <a:pt x="398" y="548"/>
                  </a:lnTo>
                  <a:lnTo>
                    <a:pt x="396" y="548"/>
                  </a:lnTo>
                  <a:lnTo>
                    <a:pt x="396" y="550"/>
                  </a:lnTo>
                  <a:lnTo>
                    <a:pt x="396" y="550"/>
                  </a:lnTo>
                  <a:lnTo>
                    <a:pt x="396" y="551"/>
                  </a:lnTo>
                  <a:lnTo>
                    <a:pt x="396" y="551"/>
                  </a:lnTo>
                  <a:lnTo>
                    <a:pt x="398" y="551"/>
                  </a:lnTo>
                  <a:lnTo>
                    <a:pt x="398" y="551"/>
                  </a:lnTo>
                  <a:lnTo>
                    <a:pt x="402" y="551"/>
                  </a:lnTo>
                  <a:lnTo>
                    <a:pt x="404" y="551"/>
                  </a:lnTo>
                  <a:lnTo>
                    <a:pt x="406" y="551"/>
                  </a:lnTo>
                  <a:lnTo>
                    <a:pt x="406" y="551"/>
                  </a:lnTo>
                  <a:lnTo>
                    <a:pt x="406" y="550"/>
                  </a:lnTo>
                  <a:lnTo>
                    <a:pt x="406" y="550"/>
                  </a:lnTo>
                  <a:lnTo>
                    <a:pt x="406" y="548"/>
                  </a:lnTo>
                  <a:lnTo>
                    <a:pt x="404" y="546"/>
                  </a:lnTo>
                  <a:lnTo>
                    <a:pt x="402" y="546"/>
                  </a:lnTo>
                  <a:lnTo>
                    <a:pt x="402" y="546"/>
                  </a:lnTo>
                  <a:lnTo>
                    <a:pt x="404" y="546"/>
                  </a:lnTo>
                  <a:lnTo>
                    <a:pt x="414" y="542"/>
                  </a:lnTo>
                  <a:lnTo>
                    <a:pt x="416" y="546"/>
                  </a:lnTo>
                  <a:lnTo>
                    <a:pt x="416" y="548"/>
                  </a:lnTo>
                  <a:lnTo>
                    <a:pt x="416" y="550"/>
                  </a:lnTo>
                  <a:lnTo>
                    <a:pt x="416" y="550"/>
                  </a:lnTo>
                  <a:lnTo>
                    <a:pt x="417" y="551"/>
                  </a:lnTo>
                  <a:lnTo>
                    <a:pt x="417" y="551"/>
                  </a:lnTo>
                  <a:lnTo>
                    <a:pt x="417" y="551"/>
                  </a:lnTo>
                  <a:lnTo>
                    <a:pt x="416" y="551"/>
                  </a:lnTo>
                  <a:lnTo>
                    <a:pt x="416" y="553"/>
                  </a:lnTo>
                  <a:lnTo>
                    <a:pt x="416" y="553"/>
                  </a:lnTo>
                  <a:lnTo>
                    <a:pt x="417" y="553"/>
                  </a:lnTo>
                  <a:lnTo>
                    <a:pt x="417" y="555"/>
                  </a:lnTo>
                  <a:lnTo>
                    <a:pt x="419" y="555"/>
                  </a:lnTo>
                  <a:lnTo>
                    <a:pt x="421" y="555"/>
                  </a:lnTo>
                  <a:lnTo>
                    <a:pt x="425" y="555"/>
                  </a:lnTo>
                  <a:lnTo>
                    <a:pt x="429" y="555"/>
                  </a:lnTo>
                  <a:lnTo>
                    <a:pt x="429" y="557"/>
                  </a:lnTo>
                  <a:lnTo>
                    <a:pt x="429" y="557"/>
                  </a:lnTo>
                  <a:lnTo>
                    <a:pt x="429" y="559"/>
                  </a:lnTo>
                  <a:lnTo>
                    <a:pt x="431" y="559"/>
                  </a:lnTo>
                  <a:lnTo>
                    <a:pt x="431" y="561"/>
                  </a:lnTo>
                  <a:lnTo>
                    <a:pt x="433" y="561"/>
                  </a:lnTo>
                  <a:lnTo>
                    <a:pt x="435" y="561"/>
                  </a:lnTo>
                  <a:lnTo>
                    <a:pt x="435" y="561"/>
                  </a:lnTo>
                  <a:lnTo>
                    <a:pt x="436" y="559"/>
                  </a:lnTo>
                  <a:lnTo>
                    <a:pt x="436" y="559"/>
                  </a:lnTo>
                  <a:lnTo>
                    <a:pt x="438" y="559"/>
                  </a:lnTo>
                  <a:lnTo>
                    <a:pt x="438" y="559"/>
                  </a:lnTo>
                  <a:lnTo>
                    <a:pt x="440" y="559"/>
                  </a:lnTo>
                  <a:lnTo>
                    <a:pt x="440" y="559"/>
                  </a:lnTo>
                  <a:lnTo>
                    <a:pt x="442" y="561"/>
                  </a:lnTo>
                  <a:lnTo>
                    <a:pt x="442" y="563"/>
                  </a:lnTo>
                  <a:lnTo>
                    <a:pt x="442" y="563"/>
                  </a:lnTo>
                  <a:lnTo>
                    <a:pt x="442" y="563"/>
                  </a:lnTo>
                  <a:lnTo>
                    <a:pt x="444" y="565"/>
                  </a:lnTo>
                  <a:lnTo>
                    <a:pt x="444" y="565"/>
                  </a:lnTo>
                  <a:lnTo>
                    <a:pt x="444" y="567"/>
                  </a:lnTo>
                  <a:lnTo>
                    <a:pt x="444" y="567"/>
                  </a:lnTo>
                  <a:lnTo>
                    <a:pt x="444" y="569"/>
                  </a:lnTo>
                  <a:lnTo>
                    <a:pt x="444" y="569"/>
                  </a:lnTo>
                  <a:lnTo>
                    <a:pt x="444" y="569"/>
                  </a:lnTo>
                  <a:lnTo>
                    <a:pt x="444" y="571"/>
                  </a:lnTo>
                  <a:lnTo>
                    <a:pt x="444" y="571"/>
                  </a:lnTo>
                  <a:lnTo>
                    <a:pt x="452" y="576"/>
                  </a:lnTo>
                  <a:lnTo>
                    <a:pt x="452" y="576"/>
                  </a:lnTo>
                  <a:lnTo>
                    <a:pt x="454" y="576"/>
                  </a:lnTo>
                  <a:lnTo>
                    <a:pt x="456" y="576"/>
                  </a:lnTo>
                  <a:lnTo>
                    <a:pt x="457" y="576"/>
                  </a:lnTo>
                  <a:lnTo>
                    <a:pt x="459" y="576"/>
                  </a:lnTo>
                  <a:lnTo>
                    <a:pt x="461" y="578"/>
                  </a:lnTo>
                  <a:lnTo>
                    <a:pt x="465" y="582"/>
                  </a:lnTo>
                  <a:lnTo>
                    <a:pt x="467" y="582"/>
                  </a:lnTo>
                  <a:lnTo>
                    <a:pt x="467" y="582"/>
                  </a:lnTo>
                  <a:lnTo>
                    <a:pt x="467" y="582"/>
                  </a:lnTo>
                  <a:lnTo>
                    <a:pt x="469" y="582"/>
                  </a:lnTo>
                  <a:lnTo>
                    <a:pt x="469" y="582"/>
                  </a:lnTo>
                  <a:lnTo>
                    <a:pt x="469" y="582"/>
                  </a:lnTo>
                  <a:lnTo>
                    <a:pt x="473" y="578"/>
                  </a:lnTo>
                  <a:lnTo>
                    <a:pt x="475" y="578"/>
                  </a:lnTo>
                  <a:lnTo>
                    <a:pt x="475" y="578"/>
                  </a:lnTo>
                  <a:lnTo>
                    <a:pt x="475" y="578"/>
                  </a:lnTo>
                  <a:lnTo>
                    <a:pt x="475" y="580"/>
                  </a:lnTo>
                  <a:lnTo>
                    <a:pt x="475" y="580"/>
                  </a:lnTo>
                  <a:lnTo>
                    <a:pt x="475" y="582"/>
                  </a:lnTo>
                  <a:lnTo>
                    <a:pt x="475" y="584"/>
                  </a:lnTo>
                  <a:lnTo>
                    <a:pt x="475" y="584"/>
                  </a:lnTo>
                  <a:lnTo>
                    <a:pt x="475" y="586"/>
                  </a:lnTo>
                  <a:lnTo>
                    <a:pt x="475" y="586"/>
                  </a:lnTo>
                  <a:lnTo>
                    <a:pt x="475" y="586"/>
                  </a:lnTo>
                  <a:lnTo>
                    <a:pt x="476" y="588"/>
                  </a:lnTo>
                  <a:lnTo>
                    <a:pt x="476" y="588"/>
                  </a:lnTo>
                  <a:lnTo>
                    <a:pt x="476" y="588"/>
                  </a:lnTo>
                  <a:lnTo>
                    <a:pt x="478" y="586"/>
                  </a:lnTo>
                  <a:lnTo>
                    <a:pt x="478" y="586"/>
                  </a:lnTo>
                  <a:lnTo>
                    <a:pt x="478" y="584"/>
                  </a:lnTo>
                  <a:lnTo>
                    <a:pt x="478" y="584"/>
                  </a:lnTo>
                  <a:lnTo>
                    <a:pt x="478" y="584"/>
                  </a:lnTo>
                  <a:lnTo>
                    <a:pt x="480" y="584"/>
                  </a:lnTo>
                  <a:lnTo>
                    <a:pt x="480" y="584"/>
                  </a:lnTo>
                  <a:lnTo>
                    <a:pt x="480" y="586"/>
                  </a:lnTo>
                  <a:lnTo>
                    <a:pt x="480" y="591"/>
                  </a:lnTo>
                  <a:lnTo>
                    <a:pt x="480" y="591"/>
                  </a:lnTo>
                  <a:lnTo>
                    <a:pt x="480" y="591"/>
                  </a:lnTo>
                  <a:lnTo>
                    <a:pt x="480" y="593"/>
                  </a:lnTo>
                  <a:lnTo>
                    <a:pt x="482" y="593"/>
                  </a:lnTo>
                  <a:lnTo>
                    <a:pt x="482" y="593"/>
                  </a:lnTo>
                  <a:lnTo>
                    <a:pt x="482" y="591"/>
                  </a:lnTo>
                  <a:lnTo>
                    <a:pt x="482" y="591"/>
                  </a:lnTo>
                  <a:lnTo>
                    <a:pt x="484" y="591"/>
                  </a:lnTo>
                  <a:lnTo>
                    <a:pt x="484" y="593"/>
                  </a:lnTo>
                  <a:lnTo>
                    <a:pt x="484" y="593"/>
                  </a:lnTo>
                  <a:lnTo>
                    <a:pt x="486" y="593"/>
                  </a:lnTo>
                  <a:lnTo>
                    <a:pt x="486" y="595"/>
                  </a:lnTo>
                  <a:lnTo>
                    <a:pt x="484" y="599"/>
                  </a:lnTo>
                  <a:lnTo>
                    <a:pt x="484" y="599"/>
                  </a:lnTo>
                  <a:lnTo>
                    <a:pt x="484" y="599"/>
                  </a:lnTo>
                  <a:lnTo>
                    <a:pt x="488" y="599"/>
                  </a:lnTo>
                  <a:lnTo>
                    <a:pt x="492" y="599"/>
                  </a:lnTo>
                  <a:lnTo>
                    <a:pt x="494" y="599"/>
                  </a:lnTo>
                  <a:lnTo>
                    <a:pt x="494" y="599"/>
                  </a:lnTo>
                  <a:lnTo>
                    <a:pt x="496" y="597"/>
                  </a:lnTo>
                  <a:lnTo>
                    <a:pt x="496" y="597"/>
                  </a:lnTo>
                  <a:lnTo>
                    <a:pt x="496" y="595"/>
                  </a:lnTo>
                  <a:lnTo>
                    <a:pt x="494" y="593"/>
                  </a:lnTo>
                  <a:lnTo>
                    <a:pt x="494" y="593"/>
                  </a:lnTo>
                  <a:lnTo>
                    <a:pt x="496" y="591"/>
                  </a:lnTo>
                  <a:lnTo>
                    <a:pt x="496" y="591"/>
                  </a:lnTo>
                  <a:lnTo>
                    <a:pt x="496" y="591"/>
                  </a:lnTo>
                  <a:lnTo>
                    <a:pt x="497" y="591"/>
                  </a:lnTo>
                  <a:lnTo>
                    <a:pt x="507" y="593"/>
                  </a:lnTo>
                  <a:lnTo>
                    <a:pt x="511" y="595"/>
                  </a:lnTo>
                  <a:lnTo>
                    <a:pt x="513" y="593"/>
                  </a:lnTo>
                  <a:lnTo>
                    <a:pt x="513" y="593"/>
                  </a:lnTo>
                  <a:lnTo>
                    <a:pt x="520" y="591"/>
                  </a:lnTo>
                  <a:lnTo>
                    <a:pt x="520" y="591"/>
                  </a:lnTo>
                  <a:lnTo>
                    <a:pt x="520" y="591"/>
                  </a:lnTo>
                  <a:lnTo>
                    <a:pt x="522" y="591"/>
                  </a:lnTo>
                  <a:lnTo>
                    <a:pt x="522" y="591"/>
                  </a:lnTo>
                  <a:lnTo>
                    <a:pt x="522" y="595"/>
                  </a:lnTo>
                  <a:lnTo>
                    <a:pt x="522" y="595"/>
                  </a:lnTo>
                  <a:lnTo>
                    <a:pt x="522" y="595"/>
                  </a:lnTo>
                  <a:lnTo>
                    <a:pt x="522" y="595"/>
                  </a:lnTo>
                  <a:lnTo>
                    <a:pt x="526" y="595"/>
                  </a:lnTo>
                  <a:lnTo>
                    <a:pt x="526" y="597"/>
                  </a:lnTo>
                  <a:lnTo>
                    <a:pt x="528" y="597"/>
                  </a:lnTo>
                  <a:lnTo>
                    <a:pt x="528" y="597"/>
                  </a:lnTo>
                  <a:lnTo>
                    <a:pt x="528" y="601"/>
                  </a:lnTo>
                  <a:lnTo>
                    <a:pt x="528" y="601"/>
                  </a:lnTo>
                  <a:lnTo>
                    <a:pt x="530" y="603"/>
                  </a:lnTo>
                  <a:lnTo>
                    <a:pt x="530" y="603"/>
                  </a:lnTo>
                  <a:lnTo>
                    <a:pt x="532" y="605"/>
                  </a:lnTo>
                  <a:lnTo>
                    <a:pt x="532" y="605"/>
                  </a:lnTo>
                  <a:lnTo>
                    <a:pt x="530" y="607"/>
                  </a:lnTo>
                  <a:lnTo>
                    <a:pt x="530" y="607"/>
                  </a:lnTo>
                  <a:lnTo>
                    <a:pt x="528" y="607"/>
                  </a:lnTo>
                  <a:lnTo>
                    <a:pt x="526" y="607"/>
                  </a:lnTo>
                  <a:lnTo>
                    <a:pt x="524" y="607"/>
                  </a:lnTo>
                  <a:lnTo>
                    <a:pt x="524" y="607"/>
                  </a:lnTo>
                  <a:lnTo>
                    <a:pt x="524" y="607"/>
                  </a:lnTo>
                  <a:lnTo>
                    <a:pt x="524" y="609"/>
                  </a:lnTo>
                  <a:lnTo>
                    <a:pt x="524" y="609"/>
                  </a:lnTo>
                  <a:lnTo>
                    <a:pt x="524" y="610"/>
                  </a:lnTo>
                  <a:lnTo>
                    <a:pt x="524" y="612"/>
                  </a:lnTo>
                  <a:lnTo>
                    <a:pt x="524" y="614"/>
                  </a:lnTo>
                  <a:lnTo>
                    <a:pt x="522" y="620"/>
                  </a:lnTo>
                  <a:lnTo>
                    <a:pt x="522" y="620"/>
                  </a:lnTo>
                  <a:lnTo>
                    <a:pt x="524" y="622"/>
                  </a:lnTo>
                  <a:lnTo>
                    <a:pt x="524" y="622"/>
                  </a:lnTo>
                  <a:lnTo>
                    <a:pt x="526" y="622"/>
                  </a:lnTo>
                  <a:lnTo>
                    <a:pt x="526" y="624"/>
                  </a:lnTo>
                  <a:lnTo>
                    <a:pt x="526" y="626"/>
                  </a:lnTo>
                  <a:lnTo>
                    <a:pt x="526" y="631"/>
                  </a:lnTo>
                  <a:lnTo>
                    <a:pt x="526" y="631"/>
                  </a:lnTo>
                  <a:lnTo>
                    <a:pt x="526" y="633"/>
                  </a:lnTo>
                  <a:lnTo>
                    <a:pt x="524" y="635"/>
                  </a:lnTo>
                  <a:lnTo>
                    <a:pt x="522" y="643"/>
                  </a:lnTo>
                  <a:lnTo>
                    <a:pt x="522" y="643"/>
                  </a:lnTo>
                  <a:lnTo>
                    <a:pt x="520" y="645"/>
                  </a:lnTo>
                  <a:lnTo>
                    <a:pt x="518" y="645"/>
                  </a:lnTo>
                  <a:lnTo>
                    <a:pt x="518" y="645"/>
                  </a:lnTo>
                  <a:lnTo>
                    <a:pt x="518" y="645"/>
                  </a:lnTo>
                  <a:lnTo>
                    <a:pt x="518" y="647"/>
                  </a:lnTo>
                  <a:lnTo>
                    <a:pt x="518" y="647"/>
                  </a:lnTo>
                  <a:lnTo>
                    <a:pt x="518" y="648"/>
                  </a:lnTo>
                  <a:lnTo>
                    <a:pt x="520" y="650"/>
                  </a:lnTo>
                  <a:lnTo>
                    <a:pt x="522" y="650"/>
                  </a:lnTo>
                  <a:lnTo>
                    <a:pt x="522" y="652"/>
                  </a:lnTo>
                  <a:lnTo>
                    <a:pt x="524" y="652"/>
                  </a:lnTo>
                  <a:lnTo>
                    <a:pt x="524" y="652"/>
                  </a:lnTo>
                  <a:lnTo>
                    <a:pt x="524" y="654"/>
                  </a:lnTo>
                  <a:lnTo>
                    <a:pt x="524" y="656"/>
                  </a:lnTo>
                  <a:lnTo>
                    <a:pt x="522" y="656"/>
                  </a:lnTo>
                  <a:lnTo>
                    <a:pt x="524" y="658"/>
                  </a:lnTo>
                  <a:lnTo>
                    <a:pt x="524" y="658"/>
                  </a:lnTo>
                  <a:lnTo>
                    <a:pt x="524" y="658"/>
                  </a:lnTo>
                  <a:lnTo>
                    <a:pt x="526" y="660"/>
                  </a:lnTo>
                  <a:lnTo>
                    <a:pt x="530" y="664"/>
                  </a:lnTo>
                  <a:lnTo>
                    <a:pt x="534" y="666"/>
                  </a:lnTo>
                  <a:lnTo>
                    <a:pt x="537" y="669"/>
                  </a:lnTo>
                  <a:lnTo>
                    <a:pt x="539" y="671"/>
                  </a:lnTo>
                  <a:lnTo>
                    <a:pt x="541" y="671"/>
                  </a:lnTo>
                  <a:lnTo>
                    <a:pt x="545" y="673"/>
                  </a:lnTo>
                  <a:lnTo>
                    <a:pt x="545" y="673"/>
                  </a:lnTo>
                  <a:lnTo>
                    <a:pt x="549" y="671"/>
                  </a:lnTo>
                  <a:lnTo>
                    <a:pt x="551" y="673"/>
                  </a:lnTo>
                  <a:lnTo>
                    <a:pt x="557" y="673"/>
                  </a:lnTo>
                  <a:lnTo>
                    <a:pt x="557" y="673"/>
                  </a:lnTo>
                  <a:lnTo>
                    <a:pt x="558" y="673"/>
                  </a:lnTo>
                  <a:lnTo>
                    <a:pt x="560" y="671"/>
                  </a:lnTo>
                  <a:lnTo>
                    <a:pt x="562" y="671"/>
                  </a:lnTo>
                  <a:lnTo>
                    <a:pt x="564" y="669"/>
                  </a:lnTo>
                  <a:lnTo>
                    <a:pt x="566" y="669"/>
                  </a:lnTo>
                  <a:lnTo>
                    <a:pt x="568" y="669"/>
                  </a:lnTo>
                  <a:lnTo>
                    <a:pt x="568" y="669"/>
                  </a:lnTo>
                  <a:lnTo>
                    <a:pt x="568" y="668"/>
                  </a:lnTo>
                  <a:lnTo>
                    <a:pt x="570" y="664"/>
                  </a:lnTo>
                  <a:lnTo>
                    <a:pt x="572" y="664"/>
                  </a:lnTo>
                  <a:lnTo>
                    <a:pt x="572" y="664"/>
                  </a:lnTo>
                  <a:lnTo>
                    <a:pt x="572" y="660"/>
                  </a:lnTo>
                  <a:lnTo>
                    <a:pt x="572" y="660"/>
                  </a:lnTo>
                  <a:lnTo>
                    <a:pt x="572" y="658"/>
                  </a:lnTo>
                  <a:lnTo>
                    <a:pt x="576" y="656"/>
                  </a:lnTo>
                  <a:lnTo>
                    <a:pt x="576" y="656"/>
                  </a:lnTo>
                  <a:lnTo>
                    <a:pt x="577" y="654"/>
                  </a:lnTo>
                  <a:lnTo>
                    <a:pt x="577" y="650"/>
                  </a:lnTo>
                  <a:lnTo>
                    <a:pt x="579" y="650"/>
                  </a:lnTo>
                  <a:lnTo>
                    <a:pt x="581" y="645"/>
                  </a:lnTo>
                  <a:lnTo>
                    <a:pt x="581" y="643"/>
                  </a:lnTo>
                  <a:lnTo>
                    <a:pt x="583" y="641"/>
                  </a:lnTo>
                  <a:lnTo>
                    <a:pt x="585" y="637"/>
                  </a:lnTo>
                  <a:lnTo>
                    <a:pt x="585" y="637"/>
                  </a:lnTo>
                  <a:lnTo>
                    <a:pt x="587" y="635"/>
                  </a:lnTo>
                  <a:lnTo>
                    <a:pt x="587" y="635"/>
                  </a:lnTo>
                  <a:lnTo>
                    <a:pt x="587" y="633"/>
                  </a:lnTo>
                  <a:lnTo>
                    <a:pt x="587" y="633"/>
                  </a:lnTo>
                  <a:lnTo>
                    <a:pt x="587" y="631"/>
                  </a:lnTo>
                  <a:lnTo>
                    <a:pt x="589" y="629"/>
                  </a:lnTo>
                  <a:lnTo>
                    <a:pt x="589" y="628"/>
                  </a:lnTo>
                  <a:lnTo>
                    <a:pt x="589" y="628"/>
                  </a:lnTo>
                  <a:lnTo>
                    <a:pt x="589" y="626"/>
                  </a:lnTo>
                  <a:lnTo>
                    <a:pt x="589" y="626"/>
                  </a:lnTo>
                  <a:lnTo>
                    <a:pt x="589" y="624"/>
                  </a:lnTo>
                  <a:lnTo>
                    <a:pt x="587" y="622"/>
                  </a:lnTo>
                  <a:lnTo>
                    <a:pt x="587" y="622"/>
                  </a:lnTo>
                  <a:lnTo>
                    <a:pt x="585" y="620"/>
                  </a:lnTo>
                  <a:lnTo>
                    <a:pt x="585" y="618"/>
                  </a:lnTo>
                  <a:lnTo>
                    <a:pt x="585" y="616"/>
                  </a:lnTo>
                  <a:lnTo>
                    <a:pt x="585" y="616"/>
                  </a:lnTo>
                  <a:lnTo>
                    <a:pt x="585" y="616"/>
                  </a:lnTo>
                  <a:lnTo>
                    <a:pt x="585" y="614"/>
                  </a:lnTo>
                  <a:lnTo>
                    <a:pt x="585" y="614"/>
                  </a:lnTo>
                  <a:lnTo>
                    <a:pt x="585" y="614"/>
                  </a:lnTo>
                  <a:lnTo>
                    <a:pt x="585" y="612"/>
                  </a:lnTo>
                  <a:lnTo>
                    <a:pt x="587" y="612"/>
                  </a:lnTo>
                  <a:lnTo>
                    <a:pt x="589" y="610"/>
                  </a:lnTo>
                  <a:lnTo>
                    <a:pt x="597" y="610"/>
                  </a:lnTo>
                  <a:lnTo>
                    <a:pt x="597" y="607"/>
                  </a:lnTo>
                  <a:lnTo>
                    <a:pt x="597" y="605"/>
                  </a:lnTo>
                  <a:lnTo>
                    <a:pt x="597" y="601"/>
                  </a:lnTo>
                  <a:lnTo>
                    <a:pt x="597" y="601"/>
                  </a:lnTo>
                  <a:lnTo>
                    <a:pt x="597" y="599"/>
                  </a:lnTo>
                  <a:lnTo>
                    <a:pt x="595" y="597"/>
                  </a:lnTo>
                  <a:lnTo>
                    <a:pt x="595" y="597"/>
                  </a:lnTo>
                  <a:lnTo>
                    <a:pt x="595" y="595"/>
                  </a:lnTo>
                  <a:lnTo>
                    <a:pt x="597" y="593"/>
                  </a:lnTo>
                  <a:lnTo>
                    <a:pt x="597" y="591"/>
                  </a:lnTo>
                  <a:lnTo>
                    <a:pt x="597" y="590"/>
                  </a:lnTo>
                  <a:lnTo>
                    <a:pt x="597" y="588"/>
                  </a:lnTo>
                  <a:lnTo>
                    <a:pt x="597" y="588"/>
                  </a:lnTo>
                  <a:lnTo>
                    <a:pt x="595" y="588"/>
                  </a:lnTo>
                  <a:lnTo>
                    <a:pt x="591" y="586"/>
                  </a:lnTo>
                  <a:lnTo>
                    <a:pt x="591" y="586"/>
                  </a:lnTo>
                  <a:lnTo>
                    <a:pt x="589" y="584"/>
                  </a:lnTo>
                  <a:lnTo>
                    <a:pt x="587" y="584"/>
                  </a:lnTo>
                  <a:lnTo>
                    <a:pt x="587" y="582"/>
                  </a:lnTo>
                  <a:lnTo>
                    <a:pt x="585" y="580"/>
                  </a:lnTo>
                  <a:lnTo>
                    <a:pt x="585" y="580"/>
                  </a:lnTo>
                  <a:lnTo>
                    <a:pt x="583" y="578"/>
                  </a:lnTo>
                  <a:lnTo>
                    <a:pt x="583" y="578"/>
                  </a:lnTo>
                  <a:lnTo>
                    <a:pt x="581" y="576"/>
                  </a:lnTo>
                  <a:lnTo>
                    <a:pt x="581" y="576"/>
                  </a:lnTo>
                  <a:lnTo>
                    <a:pt x="581" y="574"/>
                  </a:lnTo>
                  <a:lnTo>
                    <a:pt x="581" y="572"/>
                  </a:lnTo>
                  <a:lnTo>
                    <a:pt x="581" y="572"/>
                  </a:lnTo>
                  <a:lnTo>
                    <a:pt x="581" y="571"/>
                  </a:lnTo>
                  <a:lnTo>
                    <a:pt x="581" y="571"/>
                  </a:lnTo>
                  <a:lnTo>
                    <a:pt x="581" y="567"/>
                  </a:lnTo>
                  <a:lnTo>
                    <a:pt x="581" y="563"/>
                  </a:lnTo>
                  <a:lnTo>
                    <a:pt x="581" y="563"/>
                  </a:lnTo>
                  <a:lnTo>
                    <a:pt x="581" y="561"/>
                  </a:lnTo>
                  <a:lnTo>
                    <a:pt x="579" y="559"/>
                  </a:lnTo>
                  <a:lnTo>
                    <a:pt x="577" y="557"/>
                  </a:lnTo>
                  <a:lnTo>
                    <a:pt x="577" y="555"/>
                  </a:lnTo>
                  <a:lnTo>
                    <a:pt x="577" y="555"/>
                  </a:lnTo>
                  <a:lnTo>
                    <a:pt x="577" y="553"/>
                  </a:lnTo>
                  <a:lnTo>
                    <a:pt x="577" y="548"/>
                  </a:lnTo>
                  <a:lnTo>
                    <a:pt x="579" y="546"/>
                  </a:lnTo>
                  <a:lnTo>
                    <a:pt x="579" y="544"/>
                  </a:lnTo>
                  <a:lnTo>
                    <a:pt x="579" y="544"/>
                  </a:lnTo>
                  <a:lnTo>
                    <a:pt x="579" y="542"/>
                  </a:lnTo>
                  <a:lnTo>
                    <a:pt x="581" y="540"/>
                  </a:lnTo>
                  <a:lnTo>
                    <a:pt x="581" y="540"/>
                  </a:lnTo>
                  <a:lnTo>
                    <a:pt x="583" y="538"/>
                  </a:lnTo>
                  <a:lnTo>
                    <a:pt x="587" y="536"/>
                  </a:lnTo>
                  <a:lnTo>
                    <a:pt x="591" y="534"/>
                  </a:lnTo>
                  <a:lnTo>
                    <a:pt x="593" y="534"/>
                  </a:lnTo>
                  <a:lnTo>
                    <a:pt x="595" y="531"/>
                  </a:lnTo>
                  <a:lnTo>
                    <a:pt x="597" y="531"/>
                  </a:lnTo>
                  <a:lnTo>
                    <a:pt x="610" y="523"/>
                  </a:lnTo>
                  <a:lnTo>
                    <a:pt x="619" y="517"/>
                  </a:lnTo>
                  <a:lnTo>
                    <a:pt x="621" y="515"/>
                  </a:lnTo>
                  <a:lnTo>
                    <a:pt x="621" y="513"/>
                  </a:lnTo>
                  <a:lnTo>
                    <a:pt x="623" y="513"/>
                  </a:lnTo>
                  <a:lnTo>
                    <a:pt x="623" y="513"/>
                  </a:lnTo>
                  <a:lnTo>
                    <a:pt x="627" y="512"/>
                  </a:lnTo>
                  <a:lnTo>
                    <a:pt x="629" y="510"/>
                  </a:lnTo>
                  <a:lnTo>
                    <a:pt x="631" y="508"/>
                  </a:lnTo>
                  <a:lnTo>
                    <a:pt x="631" y="508"/>
                  </a:lnTo>
                  <a:lnTo>
                    <a:pt x="633" y="506"/>
                  </a:lnTo>
                  <a:lnTo>
                    <a:pt x="638" y="502"/>
                  </a:lnTo>
                  <a:lnTo>
                    <a:pt x="640" y="500"/>
                  </a:lnTo>
                  <a:lnTo>
                    <a:pt x="646" y="494"/>
                  </a:lnTo>
                  <a:lnTo>
                    <a:pt x="654" y="487"/>
                  </a:lnTo>
                  <a:lnTo>
                    <a:pt x="658" y="487"/>
                  </a:lnTo>
                  <a:lnTo>
                    <a:pt x="659" y="489"/>
                  </a:lnTo>
                  <a:lnTo>
                    <a:pt x="659" y="489"/>
                  </a:lnTo>
                  <a:lnTo>
                    <a:pt x="659" y="491"/>
                  </a:lnTo>
                  <a:lnTo>
                    <a:pt x="659" y="491"/>
                  </a:lnTo>
                  <a:lnTo>
                    <a:pt x="659" y="493"/>
                  </a:lnTo>
                  <a:lnTo>
                    <a:pt x="659" y="493"/>
                  </a:lnTo>
                  <a:lnTo>
                    <a:pt x="659" y="493"/>
                  </a:lnTo>
                  <a:lnTo>
                    <a:pt x="659" y="494"/>
                  </a:lnTo>
                  <a:lnTo>
                    <a:pt x="659" y="494"/>
                  </a:lnTo>
                  <a:lnTo>
                    <a:pt x="661" y="494"/>
                  </a:lnTo>
                  <a:lnTo>
                    <a:pt x="661" y="494"/>
                  </a:lnTo>
                  <a:lnTo>
                    <a:pt x="661" y="496"/>
                  </a:lnTo>
                  <a:lnTo>
                    <a:pt x="661" y="496"/>
                  </a:lnTo>
                  <a:lnTo>
                    <a:pt x="661" y="496"/>
                  </a:lnTo>
                  <a:lnTo>
                    <a:pt x="663" y="496"/>
                  </a:lnTo>
                  <a:lnTo>
                    <a:pt x="663" y="496"/>
                  </a:lnTo>
                  <a:lnTo>
                    <a:pt x="663" y="496"/>
                  </a:lnTo>
                  <a:lnTo>
                    <a:pt x="665" y="496"/>
                  </a:lnTo>
                  <a:lnTo>
                    <a:pt x="667" y="496"/>
                  </a:lnTo>
                  <a:lnTo>
                    <a:pt x="669" y="496"/>
                  </a:lnTo>
                  <a:lnTo>
                    <a:pt x="669" y="496"/>
                  </a:lnTo>
                  <a:lnTo>
                    <a:pt x="671" y="496"/>
                  </a:lnTo>
                  <a:lnTo>
                    <a:pt x="671" y="494"/>
                  </a:lnTo>
                  <a:lnTo>
                    <a:pt x="671" y="494"/>
                  </a:lnTo>
                  <a:lnTo>
                    <a:pt x="671" y="494"/>
                  </a:lnTo>
                  <a:lnTo>
                    <a:pt x="671" y="493"/>
                  </a:lnTo>
                  <a:lnTo>
                    <a:pt x="671" y="493"/>
                  </a:lnTo>
                  <a:lnTo>
                    <a:pt x="671" y="493"/>
                  </a:lnTo>
                  <a:lnTo>
                    <a:pt x="669" y="489"/>
                  </a:lnTo>
                  <a:lnTo>
                    <a:pt x="669" y="487"/>
                  </a:lnTo>
                  <a:lnTo>
                    <a:pt x="671" y="487"/>
                  </a:lnTo>
                  <a:lnTo>
                    <a:pt x="671" y="485"/>
                  </a:lnTo>
                  <a:lnTo>
                    <a:pt x="673" y="485"/>
                  </a:lnTo>
                  <a:lnTo>
                    <a:pt x="675" y="485"/>
                  </a:lnTo>
                  <a:lnTo>
                    <a:pt x="677" y="485"/>
                  </a:lnTo>
                  <a:lnTo>
                    <a:pt x="678" y="489"/>
                  </a:lnTo>
                  <a:lnTo>
                    <a:pt x="680" y="489"/>
                  </a:lnTo>
                  <a:lnTo>
                    <a:pt x="682" y="491"/>
                  </a:lnTo>
                  <a:lnTo>
                    <a:pt x="684" y="491"/>
                  </a:lnTo>
                  <a:lnTo>
                    <a:pt x="684" y="491"/>
                  </a:lnTo>
                  <a:lnTo>
                    <a:pt x="686" y="491"/>
                  </a:lnTo>
                  <a:lnTo>
                    <a:pt x="688" y="491"/>
                  </a:lnTo>
                  <a:lnTo>
                    <a:pt x="690" y="491"/>
                  </a:lnTo>
                  <a:lnTo>
                    <a:pt x="690" y="491"/>
                  </a:lnTo>
                  <a:lnTo>
                    <a:pt x="694" y="487"/>
                  </a:lnTo>
                  <a:lnTo>
                    <a:pt x="696" y="487"/>
                  </a:lnTo>
                  <a:lnTo>
                    <a:pt x="696" y="487"/>
                  </a:lnTo>
                  <a:lnTo>
                    <a:pt x="696" y="485"/>
                  </a:lnTo>
                  <a:lnTo>
                    <a:pt x="696" y="483"/>
                  </a:lnTo>
                  <a:lnTo>
                    <a:pt x="698" y="48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9" name="Freeform 11">
              <a:extLst>
                <a:ext uri="{FF2B5EF4-FFF2-40B4-BE49-F238E27FC236}">
                  <a16:creationId xmlns:a16="http://schemas.microsoft.com/office/drawing/2014/main" id="{B99043CE-ABDF-CE01-DF40-4AA4AD562851}"/>
                </a:ext>
              </a:extLst>
            </p:cNvPr>
            <p:cNvSpPr>
              <a:spLocks/>
            </p:cNvSpPr>
            <p:nvPr/>
          </p:nvSpPr>
          <p:spPr bwMode="auto">
            <a:xfrm>
              <a:off x="5084763" y="2569376"/>
              <a:ext cx="1108075" cy="1068388"/>
            </a:xfrm>
            <a:custGeom>
              <a:avLst/>
              <a:gdLst>
                <a:gd name="T0" fmla="*/ 652 w 698"/>
                <a:gd name="T1" fmla="*/ 453 h 673"/>
                <a:gd name="T2" fmla="*/ 656 w 698"/>
                <a:gd name="T3" fmla="*/ 426 h 673"/>
                <a:gd name="T4" fmla="*/ 635 w 698"/>
                <a:gd name="T5" fmla="*/ 405 h 673"/>
                <a:gd name="T6" fmla="*/ 677 w 698"/>
                <a:gd name="T7" fmla="*/ 392 h 673"/>
                <a:gd name="T8" fmla="*/ 642 w 698"/>
                <a:gd name="T9" fmla="*/ 354 h 673"/>
                <a:gd name="T10" fmla="*/ 610 w 698"/>
                <a:gd name="T11" fmla="*/ 312 h 673"/>
                <a:gd name="T12" fmla="*/ 517 w 698"/>
                <a:gd name="T13" fmla="*/ 285 h 673"/>
                <a:gd name="T14" fmla="*/ 404 w 698"/>
                <a:gd name="T15" fmla="*/ 243 h 673"/>
                <a:gd name="T16" fmla="*/ 355 w 698"/>
                <a:gd name="T17" fmla="*/ 207 h 673"/>
                <a:gd name="T18" fmla="*/ 307 w 698"/>
                <a:gd name="T19" fmla="*/ 188 h 673"/>
                <a:gd name="T20" fmla="*/ 263 w 698"/>
                <a:gd name="T21" fmla="*/ 171 h 673"/>
                <a:gd name="T22" fmla="*/ 217 w 698"/>
                <a:gd name="T23" fmla="*/ 162 h 673"/>
                <a:gd name="T24" fmla="*/ 153 w 698"/>
                <a:gd name="T25" fmla="*/ 116 h 673"/>
                <a:gd name="T26" fmla="*/ 118 w 698"/>
                <a:gd name="T27" fmla="*/ 65 h 673"/>
                <a:gd name="T28" fmla="*/ 63 w 698"/>
                <a:gd name="T29" fmla="*/ 46 h 673"/>
                <a:gd name="T30" fmla="*/ 21 w 698"/>
                <a:gd name="T31" fmla="*/ 40 h 673"/>
                <a:gd name="T32" fmla="*/ 0 w 698"/>
                <a:gd name="T33" fmla="*/ 89 h 673"/>
                <a:gd name="T34" fmla="*/ 6 w 698"/>
                <a:gd name="T35" fmla="*/ 137 h 673"/>
                <a:gd name="T36" fmla="*/ 23 w 698"/>
                <a:gd name="T37" fmla="*/ 192 h 673"/>
                <a:gd name="T38" fmla="*/ 38 w 698"/>
                <a:gd name="T39" fmla="*/ 224 h 673"/>
                <a:gd name="T40" fmla="*/ 38 w 698"/>
                <a:gd name="T41" fmla="*/ 262 h 673"/>
                <a:gd name="T42" fmla="*/ 23 w 698"/>
                <a:gd name="T43" fmla="*/ 293 h 673"/>
                <a:gd name="T44" fmla="*/ 52 w 698"/>
                <a:gd name="T45" fmla="*/ 329 h 673"/>
                <a:gd name="T46" fmla="*/ 52 w 698"/>
                <a:gd name="T47" fmla="*/ 354 h 673"/>
                <a:gd name="T48" fmla="*/ 31 w 698"/>
                <a:gd name="T49" fmla="*/ 380 h 673"/>
                <a:gd name="T50" fmla="*/ 86 w 698"/>
                <a:gd name="T51" fmla="*/ 369 h 673"/>
                <a:gd name="T52" fmla="*/ 105 w 698"/>
                <a:gd name="T53" fmla="*/ 369 h 673"/>
                <a:gd name="T54" fmla="*/ 139 w 698"/>
                <a:gd name="T55" fmla="*/ 382 h 673"/>
                <a:gd name="T56" fmla="*/ 175 w 698"/>
                <a:gd name="T57" fmla="*/ 401 h 673"/>
                <a:gd name="T58" fmla="*/ 172 w 698"/>
                <a:gd name="T59" fmla="*/ 447 h 673"/>
                <a:gd name="T60" fmla="*/ 153 w 698"/>
                <a:gd name="T61" fmla="*/ 498 h 673"/>
                <a:gd name="T62" fmla="*/ 118 w 698"/>
                <a:gd name="T63" fmla="*/ 557 h 673"/>
                <a:gd name="T64" fmla="*/ 109 w 698"/>
                <a:gd name="T65" fmla="*/ 614 h 673"/>
                <a:gd name="T66" fmla="*/ 130 w 698"/>
                <a:gd name="T67" fmla="*/ 622 h 673"/>
                <a:gd name="T68" fmla="*/ 177 w 698"/>
                <a:gd name="T69" fmla="*/ 616 h 673"/>
                <a:gd name="T70" fmla="*/ 154 w 698"/>
                <a:gd name="T71" fmla="*/ 591 h 673"/>
                <a:gd name="T72" fmla="*/ 139 w 698"/>
                <a:gd name="T73" fmla="*/ 523 h 673"/>
                <a:gd name="T74" fmla="*/ 154 w 698"/>
                <a:gd name="T75" fmla="*/ 512 h 673"/>
                <a:gd name="T76" fmla="*/ 170 w 698"/>
                <a:gd name="T77" fmla="*/ 517 h 673"/>
                <a:gd name="T78" fmla="*/ 174 w 698"/>
                <a:gd name="T79" fmla="*/ 540 h 673"/>
                <a:gd name="T80" fmla="*/ 189 w 698"/>
                <a:gd name="T81" fmla="*/ 548 h 673"/>
                <a:gd name="T82" fmla="*/ 206 w 698"/>
                <a:gd name="T83" fmla="*/ 532 h 673"/>
                <a:gd name="T84" fmla="*/ 210 w 698"/>
                <a:gd name="T85" fmla="*/ 551 h 673"/>
                <a:gd name="T86" fmla="*/ 233 w 698"/>
                <a:gd name="T87" fmla="*/ 546 h 673"/>
                <a:gd name="T88" fmla="*/ 271 w 698"/>
                <a:gd name="T89" fmla="*/ 531 h 673"/>
                <a:gd name="T90" fmla="*/ 305 w 698"/>
                <a:gd name="T91" fmla="*/ 538 h 673"/>
                <a:gd name="T92" fmla="*/ 295 w 698"/>
                <a:gd name="T93" fmla="*/ 553 h 673"/>
                <a:gd name="T94" fmla="*/ 318 w 698"/>
                <a:gd name="T95" fmla="*/ 557 h 673"/>
                <a:gd name="T96" fmla="*/ 332 w 698"/>
                <a:gd name="T97" fmla="*/ 555 h 673"/>
                <a:gd name="T98" fmla="*/ 351 w 698"/>
                <a:gd name="T99" fmla="*/ 542 h 673"/>
                <a:gd name="T100" fmla="*/ 360 w 698"/>
                <a:gd name="T101" fmla="*/ 567 h 673"/>
                <a:gd name="T102" fmla="*/ 385 w 698"/>
                <a:gd name="T103" fmla="*/ 546 h 673"/>
                <a:gd name="T104" fmla="*/ 416 w 698"/>
                <a:gd name="T105" fmla="*/ 548 h 673"/>
                <a:gd name="T106" fmla="*/ 444 w 698"/>
                <a:gd name="T107" fmla="*/ 565 h 673"/>
                <a:gd name="T108" fmla="*/ 475 w 698"/>
                <a:gd name="T109" fmla="*/ 586 h 673"/>
                <a:gd name="T110" fmla="*/ 496 w 698"/>
                <a:gd name="T111" fmla="*/ 597 h 673"/>
                <a:gd name="T112" fmla="*/ 530 w 698"/>
                <a:gd name="T113" fmla="*/ 607 h 673"/>
                <a:gd name="T114" fmla="*/ 522 w 698"/>
                <a:gd name="T115" fmla="*/ 652 h 673"/>
                <a:gd name="T116" fmla="*/ 572 w 698"/>
                <a:gd name="T117" fmla="*/ 660 h 673"/>
                <a:gd name="T118" fmla="*/ 585 w 698"/>
                <a:gd name="T119" fmla="*/ 612 h 673"/>
                <a:gd name="T120" fmla="*/ 581 w 698"/>
                <a:gd name="T121" fmla="*/ 571 h 673"/>
                <a:gd name="T122" fmla="*/ 633 w 698"/>
                <a:gd name="T123" fmla="*/ 506 h 673"/>
                <a:gd name="T124" fmla="*/ 671 w 698"/>
                <a:gd name="T125" fmla="*/ 49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8" h="673">
                  <a:moveTo>
                    <a:pt x="698" y="483"/>
                  </a:moveTo>
                  <a:lnTo>
                    <a:pt x="696" y="481"/>
                  </a:lnTo>
                  <a:lnTo>
                    <a:pt x="696" y="481"/>
                  </a:lnTo>
                  <a:lnTo>
                    <a:pt x="690" y="475"/>
                  </a:lnTo>
                  <a:lnTo>
                    <a:pt x="688" y="474"/>
                  </a:lnTo>
                  <a:lnTo>
                    <a:pt x="686" y="474"/>
                  </a:lnTo>
                  <a:lnTo>
                    <a:pt x="684" y="474"/>
                  </a:lnTo>
                  <a:lnTo>
                    <a:pt x="682" y="474"/>
                  </a:lnTo>
                  <a:lnTo>
                    <a:pt x="678" y="472"/>
                  </a:lnTo>
                  <a:lnTo>
                    <a:pt x="678" y="472"/>
                  </a:lnTo>
                  <a:lnTo>
                    <a:pt x="678" y="470"/>
                  </a:lnTo>
                  <a:lnTo>
                    <a:pt x="677" y="468"/>
                  </a:lnTo>
                  <a:lnTo>
                    <a:pt x="675" y="468"/>
                  </a:lnTo>
                  <a:lnTo>
                    <a:pt x="675" y="466"/>
                  </a:lnTo>
                  <a:lnTo>
                    <a:pt x="673" y="466"/>
                  </a:lnTo>
                  <a:lnTo>
                    <a:pt x="671" y="466"/>
                  </a:lnTo>
                  <a:lnTo>
                    <a:pt x="667" y="468"/>
                  </a:lnTo>
                  <a:lnTo>
                    <a:pt x="665" y="468"/>
                  </a:lnTo>
                  <a:lnTo>
                    <a:pt x="665" y="468"/>
                  </a:lnTo>
                  <a:lnTo>
                    <a:pt x="663" y="466"/>
                  </a:lnTo>
                  <a:lnTo>
                    <a:pt x="661" y="466"/>
                  </a:lnTo>
                  <a:lnTo>
                    <a:pt x="661" y="464"/>
                  </a:lnTo>
                  <a:lnTo>
                    <a:pt x="661" y="464"/>
                  </a:lnTo>
                  <a:lnTo>
                    <a:pt x="659" y="460"/>
                  </a:lnTo>
                  <a:lnTo>
                    <a:pt x="659" y="458"/>
                  </a:lnTo>
                  <a:lnTo>
                    <a:pt x="658" y="458"/>
                  </a:lnTo>
                  <a:lnTo>
                    <a:pt x="658" y="458"/>
                  </a:lnTo>
                  <a:lnTo>
                    <a:pt x="656" y="458"/>
                  </a:lnTo>
                  <a:lnTo>
                    <a:pt x="656" y="456"/>
                  </a:lnTo>
                  <a:lnTo>
                    <a:pt x="656" y="454"/>
                  </a:lnTo>
                  <a:lnTo>
                    <a:pt x="654" y="454"/>
                  </a:lnTo>
                  <a:lnTo>
                    <a:pt x="654" y="453"/>
                  </a:lnTo>
                  <a:lnTo>
                    <a:pt x="652" y="453"/>
                  </a:lnTo>
                  <a:lnTo>
                    <a:pt x="650" y="451"/>
                  </a:lnTo>
                  <a:lnTo>
                    <a:pt x="650" y="451"/>
                  </a:lnTo>
                  <a:lnTo>
                    <a:pt x="648" y="451"/>
                  </a:lnTo>
                  <a:lnTo>
                    <a:pt x="646" y="451"/>
                  </a:lnTo>
                  <a:lnTo>
                    <a:pt x="646" y="451"/>
                  </a:lnTo>
                  <a:lnTo>
                    <a:pt x="644" y="443"/>
                  </a:lnTo>
                  <a:lnTo>
                    <a:pt x="642" y="441"/>
                  </a:lnTo>
                  <a:lnTo>
                    <a:pt x="640" y="439"/>
                  </a:lnTo>
                  <a:lnTo>
                    <a:pt x="638" y="439"/>
                  </a:lnTo>
                  <a:lnTo>
                    <a:pt x="638" y="437"/>
                  </a:lnTo>
                  <a:lnTo>
                    <a:pt x="638" y="437"/>
                  </a:lnTo>
                  <a:lnTo>
                    <a:pt x="638" y="435"/>
                  </a:lnTo>
                  <a:lnTo>
                    <a:pt x="640" y="435"/>
                  </a:lnTo>
                  <a:lnTo>
                    <a:pt x="640" y="435"/>
                  </a:lnTo>
                  <a:lnTo>
                    <a:pt x="640" y="435"/>
                  </a:lnTo>
                  <a:lnTo>
                    <a:pt x="640" y="435"/>
                  </a:lnTo>
                  <a:lnTo>
                    <a:pt x="642" y="434"/>
                  </a:lnTo>
                  <a:lnTo>
                    <a:pt x="648" y="434"/>
                  </a:lnTo>
                  <a:lnTo>
                    <a:pt x="648" y="434"/>
                  </a:lnTo>
                  <a:lnTo>
                    <a:pt x="650" y="434"/>
                  </a:lnTo>
                  <a:lnTo>
                    <a:pt x="650" y="432"/>
                  </a:lnTo>
                  <a:lnTo>
                    <a:pt x="650" y="432"/>
                  </a:lnTo>
                  <a:lnTo>
                    <a:pt x="652" y="432"/>
                  </a:lnTo>
                  <a:lnTo>
                    <a:pt x="652" y="432"/>
                  </a:lnTo>
                  <a:lnTo>
                    <a:pt x="654" y="432"/>
                  </a:lnTo>
                  <a:lnTo>
                    <a:pt x="654" y="432"/>
                  </a:lnTo>
                  <a:lnTo>
                    <a:pt x="656" y="432"/>
                  </a:lnTo>
                  <a:lnTo>
                    <a:pt x="658" y="432"/>
                  </a:lnTo>
                  <a:lnTo>
                    <a:pt x="658" y="432"/>
                  </a:lnTo>
                  <a:lnTo>
                    <a:pt x="658" y="430"/>
                  </a:lnTo>
                  <a:lnTo>
                    <a:pt x="656" y="428"/>
                  </a:lnTo>
                  <a:lnTo>
                    <a:pt x="656" y="426"/>
                  </a:lnTo>
                  <a:lnTo>
                    <a:pt x="656" y="426"/>
                  </a:lnTo>
                  <a:lnTo>
                    <a:pt x="656" y="426"/>
                  </a:lnTo>
                  <a:lnTo>
                    <a:pt x="658" y="422"/>
                  </a:lnTo>
                  <a:lnTo>
                    <a:pt x="658" y="420"/>
                  </a:lnTo>
                  <a:lnTo>
                    <a:pt x="658" y="420"/>
                  </a:lnTo>
                  <a:lnTo>
                    <a:pt x="658" y="420"/>
                  </a:lnTo>
                  <a:lnTo>
                    <a:pt x="656" y="418"/>
                  </a:lnTo>
                  <a:lnTo>
                    <a:pt x="650" y="418"/>
                  </a:lnTo>
                  <a:lnTo>
                    <a:pt x="648" y="416"/>
                  </a:lnTo>
                  <a:lnTo>
                    <a:pt x="646" y="416"/>
                  </a:lnTo>
                  <a:lnTo>
                    <a:pt x="644" y="413"/>
                  </a:lnTo>
                  <a:lnTo>
                    <a:pt x="642" y="413"/>
                  </a:lnTo>
                  <a:lnTo>
                    <a:pt x="642" y="413"/>
                  </a:lnTo>
                  <a:lnTo>
                    <a:pt x="640" y="413"/>
                  </a:lnTo>
                  <a:lnTo>
                    <a:pt x="640" y="413"/>
                  </a:lnTo>
                  <a:lnTo>
                    <a:pt x="640" y="413"/>
                  </a:lnTo>
                  <a:lnTo>
                    <a:pt x="640" y="413"/>
                  </a:lnTo>
                  <a:lnTo>
                    <a:pt x="638" y="413"/>
                  </a:lnTo>
                  <a:lnTo>
                    <a:pt x="638" y="415"/>
                  </a:lnTo>
                  <a:lnTo>
                    <a:pt x="637" y="415"/>
                  </a:lnTo>
                  <a:lnTo>
                    <a:pt x="637" y="415"/>
                  </a:lnTo>
                  <a:lnTo>
                    <a:pt x="635" y="413"/>
                  </a:lnTo>
                  <a:lnTo>
                    <a:pt x="633" y="413"/>
                  </a:lnTo>
                  <a:lnTo>
                    <a:pt x="633" y="413"/>
                  </a:lnTo>
                  <a:lnTo>
                    <a:pt x="633" y="411"/>
                  </a:lnTo>
                  <a:lnTo>
                    <a:pt x="633" y="409"/>
                  </a:lnTo>
                  <a:lnTo>
                    <a:pt x="633" y="409"/>
                  </a:lnTo>
                  <a:lnTo>
                    <a:pt x="633" y="405"/>
                  </a:lnTo>
                  <a:lnTo>
                    <a:pt x="633" y="405"/>
                  </a:lnTo>
                  <a:lnTo>
                    <a:pt x="633" y="405"/>
                  </a:lnTo>
                  <a:lnTo>
                    <a:pt x="635" y="403"/>
                  </a:lnTo>
                  <a:lnTo>
                    <a:pt x="635" y="403"/>
                  </a:lnTo>
                  <a:lnTo>
                    <a:pt x="635" y="403"/>
                  </a:lnTo>
                  <a:lnTo>
                    <a:pt x="635" y="405"/>
                  </a:lnTo>
                  <a:lnTo>
                    <a:pt x="635" y="405"/>
                  </a:lnTo>
                  <a:lnTo>
                    <a:pt x="637" y="405"/>
                  </a:lnTo>
                  <a:lnTo>
                    <a:pt x="637" y="407"/>
                  </a:lnTo>
                  <a:lnTo>
                    <a:pt x="637" y="407"/>
                  </a:lnTo>
                  <a:lnTo>
                    <a:pt x="637" y="407"/>
                  </a:lnTo>
                  <a:lnTo>
                    <a:pt x="637" y="407"/>
                  </a:lnTo>
                  <a:lnTo>
                    <a:pt x="637" y="407"/>
                  </a:lnTo>
                  <a:lnTo>
                    <a:pt x="637" y="407"/>
                  </a:lnTo>
                  <a:lnTo>
                    <a:pt x="638" y="405"/>
                  </a:lnTo>
                  <a:lnTo>
                    <a:pt x="638" y="405"/>
                  </a:lnTo>
                  <a:lnTo>
                    <a:pt x="638" y="405"/>
                  </a:lnTo>
                  <a:lnTo>
                    <a:pt x="640" y="405"/>
                  </a:lnTo>
                  <a:lnTo>
                    <a:pt x="644" y="403"/>
                  </a:lnTo>
                  <a:lnTo>
                    <a:pt x="644" y="403"/>
                  </a:lnTo>
                  <a:lnTo>
                    <a:pt x="644" y="403"/>
                  </a:lnTo>
                  <a:lnTo>
                    <a:pt x="646" y="401"/>
                  </a:lnTo>
                  <a:lnTo>
                    <a:pt x="646" y="401"/>
                  </a:lnTo>
                  <a:lnTo>
                    <a:pt x="646" y="399"/>
                  </a:lnTo>
                  <a:lnTo>
                    <a:pt x="648" y="396"/>
                  </a:lnTo>
                  <a:lnTo>
                    <a:pt x="648" y="396"/>
                  </a:lnTo>
                  <a:lnTo>
                    <a:pt x="648" y="394"/>
                  </a:lnTo>
                  <a:lnTo>
                    <a:pt x="650" y="394"/>
                  </a:lnTo>
                  <a:lnTo>
                    <a:pt x="650" y="394"/>
                  </a:lnTo>
                  <a:lnTo>
                    <a:pt x="654" y="394"/>
                  </a:lnTo>
                  <a:lnTo>
                    <a:pt x="654" y="394"/>
                  </a:lnTo>
                  <a:lnTo>
                    <a:pt x="656" y="394"/>
                  </a:lnTo>
                  <a:lnTo>
                    <a:pt x="658" y="394"/>
                  </a:lnTo>
                  <a:lnTo>
                    <a:pt x="661" y="396"/>
                  </a:lnTo>
                  <a:lnTo>
                    <a:pt x="675" y="394"/>
                  </a:lnTo>
                  <a:lnTo>
                    <a:pt x="677" y="394"/>
                  </a:lnTo>
                  <a:lnTo>
                    <a:pt x="677" y="394"/>
                  </a:lnTo>
                  <a:lnTo>
                    <a:pt x="677" y="392"/>
                  </a:lnTo>
                  <a:lnTo>
                    <a:pt x="677" y="392"/>
                  </a:lnTo>
                  <a:lnTo>
                    <a:pt x="675" y="392"/>
                  </a:lnTo>
                  <a:lnTo>
                    <a:pt x="669" y="384"/>
                  </a:lnTo>
                  <a:lnTo>
                    <a:pt x="667" y="384"/>
                  </a:lnTo>
                  <a:lnTo>
                    <a:pt x="667" y="382"/>
                  </a:lnTo>
                  <a:lnTo>
                    <a:pt x="665" y="382"/>
                  </a:lnTo>
                  <a:lnTo>
                    <a:pt x="663" y="382"/>
                  </a:lnTo>
                  <a:lnTo>
                    <a:pt x="663" y="382"/>
                  </a:lnTo>
                  <a:lnTo>
                    <a:pt x="663" y="382"/>
                  </a:lnTo>
                  <a:lnTo>
                    <a:pt x="663" y="380"/>
                  </a:lnTo>
                  <a:lnTo>
                    <a:pt x="663" y="377"/>
                  </a:lnTo>
                  <a:lnTo>
                    <a:pt x="663" y="375"/>
                  </a:lnTo>
                  <a:lnTo>
                    <a:pt x="663" y="373"/>
                  </a:lnTo>
                  <a:lnTo>
                    <a:pt x="663" y="371"/>
                  </a:lnTo>
                  <a:lnTo>
                    <a:pt x="661" y="369"/>
                  </a:lnTo>
                  <a:lnTo>
                    <a:pt x="661" y="369"/>
                  </a:lnTo>
                  <a:lnTo>
                    <a:pt x="659" y="369"/>
                  </a:lnTo>
                  <a:lnTo>
                    <a:pt x="659" y="369"/>
                  </a:lnTo>
                  <a:lnTo>
                    <a:pt x="658" y="369"/>
                  </a:lnTo>
                  <a:lnTo>
                    <a:pt x="658" y="369"/>
                  </a:lnTo>
                  <a:lnTo>
                    <a:pt x="658" y="369"/>
                  </a:lnTo>
                  <a:lnTo>
                    <a:pt x="656" y="369"/>
                  </a:lnTo>
                  <a:lnTo>
                    <a:pt x="656" y="371"/>
                  </a:lnTo>
                  <a:lnTo>
                    <a:pt x="656" y="371"/>
                  </a:lnTo>
                  <a:lnTo>
                    <a:pt x="654" y="371"/>
                  </a:lnTo>
                  <a:lnTo>
                    <a:pt x="652" y="369"/>
                  </a:lnTo>
                  <a:lnTo>
                    <a:pt x="650" y="367"/>
                  </a:lnTo>
                  <a:lnTo>
                    <a:pt x="650" y="367"/>
                  </a:lnTo>
                  <a:lnTo>
                    <a:pt x="648" y="367"/>
                  </a:lnTo>
                  <a:lnTo>
                    <a:pt x="646" y="365"/>
                  </a:lnTo>
                  <a:lnTo>
                    <a:pt x="646" y="363"/>
                  </a:lnTo>
                  <a:lnTo>
                    <a:pt x="642" y="358"/>
                  </a:lnTo>
                  <a:lnTo>
                    <a:pt x="642" y="358"/>
                  </a:lnTo>
                  <a:lnTo>
                    <a:pt x="642" y="354"/>
                  </a:lnTo>
                  <a:lnTo>
                    <a:pt x="642" y="354"/>
                  </a:lnTo>
                  <a:lnTo>
                    <a:pt x="642" y="352"/>
                  </a:lnTo>
                  <a:lnTo>
                    <a:pt x="642" y="350"/>
                  </a:lnTo>
                  <a:lnTo>
                    <a:pt x="640" y="350"/>
                  </a:lnTo>
                  <a:lnTo>
                    <a:pt x="638" y="348"/>
                  </a:lnTo>
                  <a:lnTo>
                    <a:pt x="638" y="346"/>
                  </a:lnTo>
                  <a:lnTo>
                    <a:pt x="638" y="344"/>
                  </a:lnTo>
                  <a:lnTo>
                    <a:pt x="635" y="342"/>
                  </a:lnTo>
                  <a:lnTo>
                    <a:pt x="635" y="342"/>
                  </a:lnTo>
                  <a:lnTo>
                    <a:pt x="635" y="340"/>
                  </a:lnTo>
                  <a:lnTo>
                    <a:pt x="635" y="338"/>
                  </a:lnTo>
                  <a:lnTo>
                    <a:pt x="635" y="337"/>
                  </a:lnTo>
                  <a:lnTo>
                    <a:pt x="635" y="335"/>
                  </a:lnTo>
                  <a:lnTo>
                    <a:pt x="633" y="333"/>
                  </a:lnTo>
                  <a:lnTo>
                    <a:pt x="633" y="333"/>
                  </a:lnTo>
                  <a:lnTo>
                    <a:pt x="633" y="331"/>
                  </a:lnTo>
                  <a:lnTo>
                    <a:pt x="631" y="331"/>
                  </a:lnTo>
                  <a:lnTo>
                    <a:pt x="631" y="329"/>
                  </a:lnTo>
                  <a:lnTo>
                    <a:pt x="629" y="329"/>
                  </a:lnTo>
                  <a:lnTo>
                    <a:pt x="629" y="327"/>
                  </a:lnTo>
                  <a:lnTo>
                    <a:pt x="631" y="325"/>
                  </a:lnTo>
                  <a:lnTo>
                    <a:pt x="631" y="323"/>
                  </a:lnTo>
                  <a:lnTo>
                    <a:pt x="631" y="323"/>
                  </a:lnTo>
                  <a:lnTo>
                    <a:pt x="629" y="323"/>
                  </a:lnTo>
                  <a:lnTo>
                    <a:pt x="627" y="323"/>
                  </a:lnTo>
                  <a:lnTo>
                    <a:pt x="627" y="323"/>
                  </a:lnTo>
                  <a:lnTo>
                    <a:pt x="627" y="323"/>
                  </a:lnTo>
                  <a:lnTo>
                    <a:pt x="627" y="323"/>
                  </a:lnTo>
                  <a:lnTo>
                    <a:pt x="627" y="321"/>
                  </a:lnTo>
                  <a:lnTo>
                    <a:pt x="627" y="321"/>
                  </a:lnTo>
                  <a:lnTo>
                    <a:pt x="627" y="321"/>
                  </a:lnTo>
                  <a:lnTo>
                    <a:pt x="621" y="319"/>
                  </a:lnTo>
                  <a:lnTo>
                    <a:pt x="610" y="312"/>
                  </a:lnTo>
                  <a:lnTo>
                    <a:pt x="602" y="310"/>
                  </a:lnTo>
                  <a:lnTo>
                    <a:pt x="593" y="308"/>
                  </a:lnTo>
                  <a:lnTo>
                    <a:pt x="583" y="308"/>
                  </a:lnTo>
                  <a:lnTo>
                    <a:pt x="581" y="310"/>
                  </a:lnTo>
                  <a:lnTo>
                    <a:pt x="581" y="310"/>
                  </a:lnTo>
                  <a:lnTo>
                    <a:pt x="581" y="312"/>
                  </a:lnTo>
                  <a:lnTo>
                    <a:pt x="581" y="314"/>
                  </a:lnTo>
                  <a:lnTo>
                    <a:pt x="581" y="316"/>
                  </a:lnTo>
                  <a:lnTo>
                    <a:pt x="581" y="316"/>
                  </a:lnTo>
                  <a:lnTo>
                    <a:pt x="581" y="318"/>
                  </a:lnTo>
                  <a:lnTo>
                    <a:pt x="579" y="321"/>
                  </a:lnTo>
                  <a:lnTo>
                    <a:pt x="577" y="321"/>
                  </a:lnTo>
                  <a:lnTo>
                    <a:pt x="576" y="323"/>
                  </a:lnTo>
                  <a:lnTo>
                    <a:pt x="574" y="323"/>
                  </a:lnTo>
                  <a:lnTo>
                    <a:pt x="572" y="323"/>
                  </a:lnTo>
                  <a:lnTo>
                    <a:pt x="572" y="321"/>
                  </a:lnTo>
                  <a:lnTo>
                    <a:pt x="570" y="319"/>
                  </a:lnTo>
                  <a:lnTo>
                    <a:pt x="570" y="318"/>
                  </a:lnTo>
                  <a:lnTo>
                    <a:pt x="568" y="318"/>
                  </a:lnTo>
                  <a:lnTo>
                    <a:pt x="564" y="314"/>
                  </a:lnTo>
                  <a:lnTo>
                    <a:pt x="560" y="312"/>
                  </a:lnTo>
                  <a:lnTo>
                    <a:pt x="549" y="312"/>
                  </a:lnTo>
                  <a:lnTo>
                    <a:pt x="543" y="310"/>
                  </a:lnTo>
                  <a:lnTo>
                    <a:pt x="539" y="308"/>
                  </a:lnTo>
                  <a:lnTo>
                    <a:pt x="536" y="306"/>
                  </a:lnTo>
                  <a:lnTo>
                    <a:pt x="524" y="306"/>
                  </a:lnTo>
                  <a:lnTo>
                    <a:pt x="522" y="304"/>
                  </a:lnTo>
                  <a:lnTo>
                    <a:pt x="522" y="300"/>
                  </a:lnTo>
                  <a:lnTo>
                    <a:pt x="520" y="293"/>
                  </a:lnTo>
                  <a:lnTo>
                    <a:pt x="520" y="289"/>
                  </a:lnTo>
                  <a:lnTo>
                    <a:pt x="518" y="285"/>
                  </a:lnTo>
                  <a:lnTo>
                    <a:pt x="518" y="285"/>
                  </a:lnTo>
                  <a:lnTo>
                    <a:pt x="517" y="285"/>
                  </a:lnTo>
                  <a:lnTo>
                    <a:pt x="503" y="287"/>
                  </a:lnTo>
                  <a:lnTo>
                    <a:pt x="496" y="289"/>
                  </a:lnTo>
                  <a:lnTo>
                    <a:pt x="492" y="287"/>
                  </a:lnTo>
                  <a:lnTo>
                    <a:pt x="488" y="281"/>
                  </a:lnTo>
                  <a:lnTo>
                    <a:pt x="480" y="280"/>
                  </a:lnTo>
                  <a:lnTo>
                    <a:pt x="469" y="270"/>
                  </a:lnTo>
                  <a:lnTo>
                    <a:pt x="465" y="268"/>
                  </a:lnTo>
                  <a:lnTo>
                    <a:pt x="463" y="266"/>
                  </a:lnTo>
                  <a:lnTo>
                    <a:pt x="461" y="264"/>
                  </a:lnTo>
                  <a:lnTo>
                    <a:pt x="459" y="264"/>
                  </a:lnTo>
                  <a:lnTo>
                    <a:pt x="459" y="264"/>
                  </a:lnTo>
                  <a:lnTo>
                    <a:pt x="457" y="262"/>
                  </a:lnTo>
                  <a:lnTo>
                    <a:pt x="454" y="262"/>
                  </a:lnTo>
                  <a:lnTo>
                    <a:pt x="450" y="264"/>
                  </a:lnTo>
                  <a:lnTo>
                    <a:pt x="446" y="268"/>
                  </a:lnTo>
                  <a:lnTo>
                    <a:pt x="444" y="270"/>
                  </a:lnTo>
                  <a:lnTo>
                    <a:pt x="442" y="270"/>
                  </a:lnTo>
                  <a:lnTo>
                    <a:pt x="440" y="268"/>
                  </a:lnTo>
                  <a:lnTo>
                    <a:pt x="436" y="266"/>
                  </a:lnTo>
                  <a:lnTo>
                    <a:pt x="433" y="262"/>
                  </a:lnTo>
                  <a:lnTo>
                    <a:pt x="429" y="259"/>
                  </a:lnTo>
                  <a:lnTo>
                    <a:pt x="427" y="257"/>
                  </a:lnTo>
                  <a:lnTo>
                    <a:pt x="425" y="257"/>
                  </a:lnTo>
                  <a:lnTo>
                    <a:pt x="419" y="255"/>
                  </a:lnTo>
                  <a:lnTo>
                    <a:pt x="417" y="255"/>
                  </a:lnTo>
                  <a:lnTo>
                    <a:pt x="417" y="255"/>
                  </a:lnTo>
                  <a:lnTo>
                    <a:pt x="417" y="255"/>
                  </a:lnTo>
                  <a:lnTo>
                    <a:pt x="417" y="253"/>
                  </a:lnTo>
                  <a:lnTo>
                    <a:pt x="416" y="251"/>
                  </a:lnTo>
                  <a:lnTo>
                    <a:pt x="406" y="247"/>
                  </a:lnTo>
                  <a:lnTo>
                    <a:pt x="406" y="245"/>
                  </a:lnTo>
                  <a:lnTo>
                    <a:pt x="406" y="245"/>
                  </a:lnTo>
                  <a:lnTo>
                    <a:pt x="404" y="243"/>
                  </a:lnTo>
                  <a:lnTo>
                    <a:pt x="404" y="241"/>
                  </a:lnTo>
                  <a:lnTo>
                    <a:pt x="404" y="240"/>
                  </a:lnTo>
                  <a:lnTo>
                    <a:pt x="402" y="238"/>
                  </a:lnTo>
                  <a:lnTo>
                    <a:pt x="400" y="238"/>
                  </a:lnTo>
                  <a:lnTo>
                    <a:pt x="398" y="236"/>
                  </a:lnTo>
                  <a:lnTo>
                    <a:pt x="396" y="236"/>
                  </a:lnTo>
                  <a:lnTo>
                    <a:pt x="396" y="238"/>
                  </a:lnTo>
                  <a:lnTo>
                    <a:pt x="395" y="238"/>
                  </a:lnTo>
                  <a:lnTo>
                    <a:pt x="395" y="240"/>
                  </a:lnTo>
                  <a:lnTo>
                    <a:pt x="393" y="240"/>
                  </a:lnTo>
                  <a:lnTo>
                    <a:pt x="391" y="241"/>
                  </a:lnTo>
                  <a:lnTo>
                    <a:pt x="391" y="240"/>
                  </a:lnTo>
                  <a:lnTo>
                    <a:pt x="391" y="240"/>
                  </a:lnTo>
                  <a:lnTo>
                    <a:pt x="389" y="238"/>
                  </a:lnTo>
                  <a:lnTo>
                    <a:pt x="389" y="238"/>
                  </a:lnTo>
                  <a:lnTo>
                    <a:pt x="389" y="238"/>
                  </a:lnTo>
                  <a:lnTo>
                    <a:pt x="391" y="236"/>
                  </a:lnTo>
                  <a:lnTo>
                    <a:pt x="389" y="234"/>
                  </a:lnTo>
                  <a:lnTo>
                    <a:pt x="383" y="228"/>
                  </a:lnTo>
                  <a:lnTo>
                    <a:pt x="383" y="224"/>
                  </a:lnTo>
                  <a:lnTo>
                    <a:pt x="381" y="219"/>
                  </a:lnTo>
                  <a:lnTo>
                    <a:pt x="379" y="217"/>
                  </a:lnTo>
                  <a:lnTo>
                    <a:pt x="377" y="215"/>
                  </a:lnTo>
                  <a:lnTo>
                    <a:pt x="368" y="213"/>
                  </a:lnTo>
                  <a:lnTo>
                    <a:pt x="364" y="213"/>
                  </a:lnTo>
                  <a:lnTo>
                    <a:pt x="362" y="211"/>
                  </a:lnTo>
                  <a:lnTo>
                    <a:pt x="362" y="209"/>
                  </a:lnTo>
                  <a:lnTo>
                    <a:pt x="362" y="209"/>
                  </a:lnTo>
                  <a:lnTo>
                    <a:pt x="360" y="207"/>
                  </a:lnTo>
                  <a:lnTo>
                    <a:pt x="360" y="209"/>
                  </a:lnTo>
                  <a:lnTo>
                    <a:pt x="358" y="209"/>
                  </a:lnTo>
                  <a:lnTo>
                    <a:pt x="356" y="207"/>
                  </a:lnTo>
                  <a:lnTo>
                    <a:pt x="355" y="207"/>
                  </a:lnTo>
                  <a:lnTo>
                    <a:pt x="353" y="207"/>
                  </a:lnTo>
                  <a:lnTo>
                    <a:pt x="353" y="205"/>
                  </a:lnTo>
                  <a:lnTo>
                    <a:pt x="353" y="203"/>
                  </a:lnTo>
                  <a:lnTo>
                    <a:pt x="351" y="202"/>
                  </a:lnTo>
                  <a:lnTo>
                    <a:pt x="351" y="202"/>
                  </a:lnTo>
                  <a:lnTo>
                    <a:pt x="347" y="202"/>
                  </a:lnTo>
                  <a:lnTo>
                    <a:pt x="345" y="202"/>
                  </a:lnTo>
                  <a:lnTo>
                    <a:pt x="343" y="200"/>
                  </a:lnTo>
                  <a:lnTo>
                    <a:pt x="339" y="196"/>
                  </a:lnTo>
                  <a:lnTo>
                    <a:pt x="337" y="196"/>
                  </a:lnTo>
                  <a:lnTo>
                    <a:pt x="335" y="194"/>
                  </a:lnTo>
                  <a:lnTo>
                    <a:pt x="334" y="194"/>
                  </a:lnTo>
                  <a:lnTo>
                    <a:pt x="332" y="192"/>
                  </a:lnTo>
                  <a:lnTo>
                    <a:pt x="330" y="188"/>
                  </a:lnTo>
                  <a:lnTo>
                    <a:pt x="330" y="188"/>
                  </a:lnTo>
                  <a:lnTo>
                    <a:pt x="326" y="188"/>
                  </a:lnTo>
                  <a:lnTo>
                    <a:pt x="324" y="186"/>
                  </a:lnTo>
                  <a:lnTo>
                    <a:pt x="322" y="186"/>
                  </a:lnTo>
                  <a:lnTo>
                    <a:pt x="322" y="184"/>
                  </a:lnTo>
                  <a:lnTo>
                    <a:pt x="322" y="184"/>
                  </a:lnTo>
                  <a:lnTo>
                    <a:pt x="322" y="183"/>
                  </a:lnTo>
                  <a:lnTo>
                    <a:pt x="322" y="183"/>
                  </a:lnTo>
                  <a:lnTo>
                    <a:pt x="320" y="183"/>
                  </a:lnTo>
                  <a:lnTo>
                    <a:pt x="318" y="183"/>
                  </a:lnTo>
                  <a:lnTo>
                    <a:pt x="316" y="184"/>
                  </a:lnTo>
                  <a:lnTo>
                    <a:pt x="316" y="184"/>
                  </a:lnTo>
                  <a:lnTo>
                    <a:pt x="316" y="186"/>
                  </a:lnTo>
                  <a:lnTo>
                    <a:pt x="316" y="194"/>
                  </a:lnTo>
                  <a:lnTo>
                    <a:pt x="316" y="194"/>
                  </a:lnTo>
                  <a:lnTo>
                    <a:pt x="315" y="194"/>
                  </a:lnTo>
                  <a:lnTo>
                    <a:pt x="311" y="188"/>
                  </a:lnTo>
                  <a:lnTo>
                    <a:pt x="309" y="188"/>
                  </a:lnTo>
                  <a:lnTo>
                    <a:pt x="307" y="188"/>
                  </a:lnTo>
                  <a:lnTo>
                    <a:pt x="305" y="188"/>
                  </a:lnTo>
                  <a:lnTo>
                    <a:pt x="303" y="188"/>
                  </a:lnTo>
                  <a:lnTo>
                    <a:pt x="301" y="188"/>
                  </a:lnTo>
                  <a:lnTo>
                    <a:pt x="299" y="186"/>
                  </a:lnTo>
                  <a:lnTo>
                    <a:pt x="297" y="181"/>
                  </a:lnTo>
                  <a:lnTo>
                    <a:pt x="297" y="181"/>
                  </a:lnTo>
                  <a:lnTo>
                    <a:pt x="295" y="181"/>
                  </a:lnTo>
                  <a:lnTo>
                    <a:pt x="295" y="181"/>
                  </a:lnTo>
                  <a:lnTo>
                    <a:pt x="294" y="179"/>
                  </a:lnTo>
                  <a:lnTo>
                    <a:pt x="294" y="177"/>
                  </a:lnTo>
                  <a:lnTo>
                    <a:pt x="292" y="177"/>
                  </a:lnTo>
                  <a:lnTo>
                    <a:pt x="292" y="177"/>
                  </a:lnTo>
                  <a:lnTo>
                    <a:pt x="288" y="175"/>
                  </a:lnTo>
                  <a:lnTo>
                    <a:pt x="286" y="175"/>
                  </a:lnTo>
                  <a:lnTo>
                    <a:pt x="284" y="173"/>
                  </a:lnTo>
                  <a:lnTo>
                    <a:pt x="282" y="169"/>
                  </a:lnTo>
                  <a:lnTo>
                    <a:pt x="278" y="167"/>
                  </a:lnTo>
                  <a:lnTo>
                    <a:pt x="278" y="167"/>
                  </a:lnTo>
                  <a:lnTo>
                    <a:pt x="276" y="169"/>
                  </a:lnTo>
                  <a:lnTo>
                    <a:pt x="276" y="171"/>
                  </a:lnTo>
                  <a:lnTo>
                    <a:pt x="276" y="173"/>
                  </a:lnTo>
                  <a:lnTo>
                    <a:pt x="273" y="175"/>
                  </a:lnTo>
                  <a:lnTo>
                    <a:pt x="273" y="175"/>
                  </a:lnTo>
                  <a:lnTo>
                    <a:pt x="271" y="177"/>
                  </a:lnTo>
                  <a:lnTo>
                    <a:pt x="269" y="177"/>
                  </a:lnTo>
                  <a:lnTo>
                    <a:pt x="269" y="177"/>
                  </a:lnTo>
                  <a:lnTo>
                    <a:pt x="267" y="177"/>
                  </a:lnTo>
                  <a:lnTo>
                    <a:pt x="265" y="175"/>
                  </a:lnTo>
                  <a:lnTo>
                    <a:pt x="265" y="175"/>
                  </a:lnTo>
                  <a:lnTo>
                    <a:pt x="265" y="173"/>
                  </a:lnTo>
                  <a:lnTo>
                    <a:pt x="265" y="173"/>
                  </a:lnTo>
                  <a:lnTo>
                    <a:pt x="265" y="171"/>
                  </a:lnTo>
                  <a:lnTo>
                    <a:pt x="263" y="171"/>
                  </a:lnTo>
                  <a:lnTo>
                    <a:pt x="263" y="173"/>
                  </a:lnTo>
                  <a:lnTo>
                    <a:pt x="261" y="173"/>
                  </a:lnTo>
                  <a:lnTo>
                    <a:pt x="261" y="171"/>
                  </a:lnTo>
                  <a:lnTo>
                    <a:pt x="261" y="171"/>
                  </a:lnTo>
                  <a:lnTo>
                    <a:pt x="261" y="169"/>
                  </a:lnTo>
                  <a:lnTo>
                    <a:pt x="261" y="169"/>
                  </a:lnTo>
                  <a:lnTo>
                    <a:pt x="261" y="167"/>
                  </a:lnTo>
                  <a:lnTo>
                    <a:pt x="259" y="167"/>
                  </a:lnTo>
                  <a:lnTo>
                    <a:pt x="257" y="169"/>
                  </a:lnTo>
                  <a:lnTo>
                    <a:pt x="255" y="169"/>
                  </a:lnTo>
                  <a:lnTo>
                    <a:pt x="255" y="169"/>
                  </a:lnTo>
                  <a:lnTo>
                    <a:pt x="255" y="167"/>
                  </a:lnTo>
                  <a:lnTo>
                    <a:pt x="255" y="165"/>
                  </a:lnTo>
                  <a:lnTo>
                    <a:pt x="255" y="164"/>
                  </a:lnTo>
                  <a:lnTo>
                    <a:pt x="255" y="164"/>
                  </a:lnTo>
                  <a:lnTo>
                    <a:pt x="254" y="162"/>
                  </a:lnTo>
                  <a:lnTo>
                    <a:pt x="250" y="162"/>
                  </a:lnTo>
                  <a:lnTo>
                    <a:pt x="248" y="162"/>
                  </a:lnTo>
                  <a:lnTo>
                    <a:pt x="246" y="162"/>
                  </a:lnTo>
                  <a:lnTo>
                    <a:pt x="246" y="162"/>
                  </a:lnTo>
                  <a:lnTo>
                    <a:pt x="246" y="164"/>
                  </a:lnTo>
                  <a:lnTo>
                    <a:pt x="246" y="164"/>
                  </a:lnTo>
                  <a:lnTo>
                    <a:pt x="244" y="165"/>
                  </a:lnTo>
                  <a:lnTo>
                    <a:pt x="236" y="164"/>
                  </a:lnTo>
                  <a:lnTo>
                    <a:pt x="234" y="164"/>
                  </a:lnTo>
                  <a:lnTo>
                    <a:pt x="234" y="165"/>
                  </a:lnTo>
                  <a:lnTo>
                    <a:pt x="233" y="165"/>
                  </a:lnTo>
                  <a:lnTo>
                    <a:pt x="233" y="164"/>
                  </a:lnTo>
                  <a:lnTo>
                    <a:pt x="231" y="162"/>
                  </a:lnTo>
                  <a:lnTo>
                    <a:pt x="231" y="162"/>
                  </a:lnTo>
                  <a:lnTo>
                    <a:pt x="227" y="162"/>
                  </a:lnTo>
                  <a:lnTo>
                    <a:pt x="219" y="165"/>
                  </a:lnTo>
                  <a:lnTo>
                    <a:pt x="217" y="162"/>
                  </a:lnTo>
                  <a:lnTo>
                    <a:pt x="217" y="158"/>
                  </a:lnTo>
                  <a:lnTo>
                    <a:pt x="215" y="156"/>
                  </a:lnTo>
                  <a:lnTo>
                    <a:pt x="215" y="156"/>
                  </a:lnTo>
                  <a:lnTo>
                    <a:pt x="214" y="154"/>
                  </a:lnTo>
                  <a:lnTo>
                    <a:pt x="214" y="152"/>
                  </a:lnTo>
                  <a:lnTo>
                    <a:pt x="214" y="152"/>
                  </a:lnTo>
                  <a:lnTo>
                    <a:pt x="212" y="152"/>
                  </a:lnTo>
                  <a:lnTo>
                    <a:pt x="212" y="152"/>
                  </a:lnTo>
                  <a:lnTo>
                    <a:pt x="210" y="152"/>
                  </a:lnTo>
                  <a:lnTo>
                    <a:pt x="208" y="152"/>
                  </a:lnTo>
                  <a:lnTo>
                    <a:pt x="206" y="152"/>
                  </a:lnTo>
                  <a:lnTo>
                    <a:pt x="194" y="143"/>
                  </a:lnTo>
                  <a:lnTo>
                    <a:pt x="193" y="143"/>
                  </a:lnTo>
                  <a:lnTo>
                    <a:pt x="193" y="141"/>
                  </a:lnTo>
                  <a:lnTo>
                    <a:pt x="193" y="139"/>
                  </a:lnTo>
                  <a:lnTo>
                    <a:pt x="193" y="139"/>
                  </a:lnTo>
                  <a:lnTo>
                    <a:pt x="191" y="137"/>
                  </a:lnTo>
                  <a:lnTo>
                    <a:pt x="191" y="137"/>
                  </a:lnTo>
                  <a:lnTo>
                    <a:pt x="183" y="133"/>
                  </a:lnTo>
                  <a:lnTo>
                    <a:pt x="183" y="133"/>
                  </a:lnTo>
                  <a:lnTo>
                    <a:pt x="181" y="133"/>
                  </a:lnTo>
                  <a:lnTo>
                    <a:pt x="179" y="133"/>
                  </a:lnTo>
                  <a:lnTo>
                    <a:pt x="174" y="135"/>
                  </a:lnTo>
                  <a:lnTo>
                    <a:pt x="170" y="137"/>
                  </a:lnTo>
                  <a:lnTo>
                    <a:pt x="170" y="131"/>
                  </a:lnTo>
                  <a:lnTo>
                    <a:pt x="170" y="129"/>
                  </a:lnTo>
                  <a:lnTo>
                    <a:pt x="168" y="127"/>
                  </a:lnTo>
                  <a:lnTo>
                    <a:pt x="166" y="125"/>
                  </a:lnTo>
                  <a:lnTo>
                    <a:pt x="153" y="120"/>
                  </a:lnTo>
                  <a:lnTo>
                    <a:pt x="153" y="118"/>
                  </a:lnTo>
                  <a:lnTo>
                    <a:pt x="153" y="118"/>
                  </a:lnTo>
                  <a:lnTo>
                    <a:pt x="153" y="118"/>
                  </a:lnTo>
                  <a:lnTo>
                    <a:pt x="153" y="116"/>
                  </a:lnTo>
                  <a:lnTo>
                    <a:pt x="153" y="116"/>
                  </a:lnTo>
                  <a:lnTo>
                    <a:pt x="153" y="116"/>
                  </a:lnTo>
                  <a:lnTo>
                    <a:pt x="154" y="116"/>
                  </a:lnTo>
                  <a:lnTo>
                    <a:pt x="154" y="114"/>
                  </a:lnTo>
                  <a:lnTo>
                    <a:pt x="156" y="114"/>
                  </a:lnTo>
                  <a:lnTo>
                    <a:pt x="156" y="114"/>
                  </a:lnTo>
                  <a:lnTo>
                    <a:pt x="156" y="114"/>
                  </a:lnTo>
                  <a:lnTo>
                    <a:pt x="158" y="114"/>
                  </a:lnTo>
                  <a:lnTo>
                    <a:pt x="158" y="116"/>
                  </a:lnTo>
                  <a:lnTo>
                    <a:pt x="160" y="114"/>
                  </a:lnTo>
                  <a:lnTo>
                    <a:pt x="160" y="112"/>
                  </a:lnTo>
                  <a:lnTo>
                    <a:pt x="162" y="112"/>
                  </a:lnTo>
                  <a:lnTo>
                    <a:pt x="162" y="112"/>
                  </a:lnTo>
                  <a:lnTo>
                    <a:pt x="162" y="112"/>
                  </a:lnTo>
                  <a:lnTo>
                    <a:pt x="164" y="112"/>
                  </a:lnTo>
                  <a:lnTo>
                    <a:pt x="164" y="112"/>
                  </a:lnTo>
                  <a:lnTo>
                    <a:pt x="166" y="112"/>
                  </a:lnTo>
                  <a:lnTo>
                    <a:pt x="170" y="108"/>
                  </a:lnTo>
                  <a:lnTo>
                    <a:pt x="172" y="106"/>
                  </a:lnTo>
                  <a:lnTo>
                    <a:pt x="172" y="105"/>
                  </a:lnTo>
                  <a:lnTo>
                    <a:pt x="172" y="105"/>
                  </a:lnTo>
                  <a:lnTo>
                    <a:pt x="170" y="103"/>
                  </a:lnTo>
                  <a:lnTo>
                    <a:pt x="164" y="103"/>
                  </a:lnTo>
                  <a:lnTo>
                    <a:pt x="160" y="101"/>
                  </a:lnTo>
                  <a:lnTo>
                    <a:pt x="145" y="91"/>
                  </a:lnTo>
                  <a:lnTo>
                    <a:pt x="141" y="87"/>
                  </a:lnTo>
                  <a:lnTo>
                    <a:pt x="137" y="84"/>
                  </a:lnTo>
                  <a:lnTo>
                    <a:pt x="135" y="80"/>
                  </a:lnTo>
                  <a:lnTo>
                    <a:pt x="133" y="76"/>
                  </a:lnTo>
                  <a:lnTo>
                    <a:pt x="130" y="72"/>
                  </a:lnTo>
                  <a:lnTo>
                    <a:pt x="122" y="68"/>
                  </a:lnTo>
                  <a:lnTo>
                    <a:pt x="120" y="67"/>
                  </a:lnTo>
                  <a:lnTo>
                    <a:pt x="118" y="65"/>
                  </a:lnTo>
                  <a:lnTo>
                    <a:pt x="116" y="59"/>
                  </a:lnTo>
                  <a:lnTo>
                    <a:pt x="113" y="55"/>
                  </a:lnTo>
                  <a:lnTo>
                    <a:pt x="107" y="49"/>
                  </a:lnTo>
                  <a:lnTo>
                    <a:pt x="107" y="47"/>
                  </a:lnTo>
                  <a:lnTo>
                    <a:pt x="105" y="47"/>
                  </a:lnTo>
                  <a:lnTo>
                    <a:pt x="105" y="47"/>
                  </a:lnTo>
                  <a:lnTo>
                    <a:pt x="103" y="47"/>
                  </a:lnTo>
                  <a:lnTo>
                    <a:pt x="101" y="49"/>
                  </a:lnTo>
                  <a:lnTo>
                    <a:pt x="101" y="49"/>
                  </a:lnTo>
                  <a:lnTo>
                    <a:pt x="101" y="51"/>
                  </a:lnTo>
                  <a:lnTo>
                    <a:pt x="101" y="53"/>
                  </a:lnTo>
                  <a:lnTo>
                    <a:pt x="101" y="55"/>
                  </a:lnTo>
                  <a:lnTo>
                    <a:pt x="103" y="65"/>
                  </a:lnTo>
                  <a:lnTo>
                    <a:pt x="105" y="70"/>
                  </a:lnTo>
                  <a:lnTo>
                    <a:pt x="103" y="74"/>
                  </a:lnTo>
                  <a:lnTo>
                    <a:pt x="101" y="78"/>
                  </a:lnTo>
                  <a:lnTo>
                    <a:pt x="95" y="80"/>
                  </a:lnTo>
                  <a:lnTo>
                    <a:pt x="93" y="80"/>
                  </a:lnTo>
                  <a:lnTo>
                    <a:pt x="93" y="78"/>
                  </a:lnTo>
                  <a:lnTo>
                    <a:pt x="90" y="76"/>
                  </a:lnTo>
                  <a:lnTo>
                    <a:pt x="84" y="72"/>
                  </a:lnTo>
                  <a:lnTo>
                    <a:pt x="84" y="72"/>
                  </a:lnTo>
                  <a:lnTo>
                    <a:pt x="82" y="72"/>
                  </a:lnTo>
                  <a:lnTo>
                    <a:pt x="78" y="74"/>
                  </a:lnTo>
                  <a:lnTo>
                    <a:pt x="71" y="80"/>
                  </a:lnTo>
                  <a:lnTo>
                    <a:pt x="67" y="70"/>
                  </a:lnTo>
                  <a:lnTo>
                    <a:pt x="65" y="68"/>
                  </a:lnTo>
                  <a:lnTo>
                    <a:pt x="65" y="63"/>
                  </a:lnTo>
                  <a:lnTo>
                    <a:pt x="63" y="57"/>
                  </a:lnTo>
                  <a:lnTo>
                    <a:pt x="63" y="55"/>
                  </a:lnTo>
                  <a:lnTo>
                    <a:pt x="63" y="51"/>
                  </a:lnTo>
                  <a:lnTo>
                    <a:pt x="63" y="47"/>
                  </a:lnTo>
                  <a:lnTo>
                    <a:pt x="63" y="46"/>
                  </a:lnTo>
                  <a:lnTo>
                    <a:pt x="67" y="38"/>
                  </a:lnTo>
                  <a:lnTo>
                    <a:pt x="71" y="28"/>
                  </a:lnTo>
                  <a:lnTo>
                    <a:pt x="74" y="25"/>
                  </a:lnTo>
                  <a:lnTo>
                    <a:pt x="78" y="21"/>
                  </a:lnTo>
                  <a:lnTo>
                    <a:pt x="80" y="21"/>
                  </a:lnTo>
                  <a:lnTo>
                    <a:pt x="82" y="19"/>
                  </a:lnTo>
                  <a:lnTo>
                    <a:pt x="80" y="17"/>
                  </a:lnTo>
                  <a:lnTo>
                    <a:pt x="69" y="11"/>
                  </a:lnTo>
                  <a:lnTo>
                    <a:pt x="63" y="8"/>
                  </a:lnTo>
                  <a:lnTo>
                    <a:pt x="55" y="0"/>
                  </a:lnTo>
                  <a:lnTo>
                    <a:pt x="53" y="0"/>
                  </a:lnTo>
                  <a:lnTo>
                    <a:pt x="52" y="0"/>
                  </a:lnTo>
                  <a:lnTo>
                    <a:pt x="48" y="2"/>
                  </a:lnTo>
                  <a:lnTo>
                    <a:pt x="48" y="2"/>
                  </a:lnTo>
                  <a:lnTo>
                    <a:pt x="48" y="4"/>
                  </a:lnTo>
                  <a:lnTo>
                    <a:pt x="48" y="8"/>
                  </a:lnTo>
                  <a:lnTo>
                    <a:pt x="46" y="13"/>
                  </a:lnTo>
                  <a:lnTo>
                    <a:pt x="44" y="15"/>
                  </a:lnTo>
                  <a:lnTo>
                    <a:pt x="40" y="19"/>
                  </a:lnTo>
                  <a:lnTo>
                    <a:pt x="34" y="25"/>
                  </a:lnTo>
                  <a:lnTo>
                    <a:pt x="33" y="27"/>
                  </a:lnTo>
                  <a:lnTo>
                    <a:pt x="31" y="28"/>
                  </a:lnTo>
                  <a:lnTo>
                    <a:pt x="31" y="30"/>
                  </a:lnTo>
                  <a:lnTo>
                    <a:pt x="29" y="32"/>
                  </a:lnTo>
                  <a:lnTo>
                    <a:pt x="25" y="36"/>
                  </a:lnTo>
                  <a:lnTo>
                    <a:pt x="23" y="36"/>
                  </a:lnTo>
                  <a:lnTo>
                    <a:pt x="23" y="36"/>
                  </a:lnTo>
                  <a:lnTo>
                    <a:pt x="23" y="38"/>
                  </a:lnTo>
                  <a:lnTo>
                    <a:pt x="23" y="38"/>
                  </a:lnTo>
                  <a:lnTo>
                    <a:pt x="23" y="38"/>
                  </a:lnTo>
                  <a:lnTo>
                    <a:pt x="23" y="38"/>
                  </a:lnTo>
                  <a:lnTo>
                    <a:pt x="23" y="38"/>
                  </a:lnTo>
                  <a:lnTo>
                    <a:pt x="21" y="40"/>
                  </a:lnTo>
                  <a:lnTo>
                    <a:pt x="21" y="38"/>
                  </a:lnTo>
                  <a:lnTo>
                    <a:pt x="21" y="38"/>
                  </a:lnTo>
                  <a:lnTo>
                    <a:pt x="19" y="40"/>
                  </a:lnTo>
                  <a:lnTo>
                    <a:pt x="19" y="40"/>
                  </a:lnTo>
                  <a:lnTo>
                    <a:pt x="19" y="40"/>
                  </a:lnTo>
                  <a:lnTo>
                    <a:pt x="19" y="42"/>
                  </a:lnTo>
                  <a:lnTo>
                    <a:pt x="15" y="46"/>
                  </a:lnTo>
                  <a:lnTo>
                    <a:pt x="15" y="46"/>
                  </a:lnTo>
                  <a:lnTo>
                    <a:pt x="13" y="47"/>
                  </a:lnTo>
                  <a:lnTo>
                    <a:pt x="13" y="51"/>
                  </a:lnTo>
                  <a:lnTo>
                    <a:pt x="10" y="65"/>
                  </a:lnTo>
                  <a:lnTo>
                    <a:pt x="10" y="67"/>
                  </a:lnTo>
                  <a:lnTo>
                    <a:pt x="8" y="68"/>
                  </a:lnTo>
                  <a:lnTo>
                    <a:pt x="8" y="67"/>
                  </a:lnTo>
                  <a:lnTo>
                    <a:pt x="8" y="67"/>
                  </a:lnTo>
                  <a:lnTo>
                    <a:pt x="6" y="68"/>
                  </a:lnTo>
                  <a:lnTo>
                    <a:pt x="6" y="68"/>
                  </a:lnTo>
                  <a:lnTo>
                    <a:pt x="6" y="70"/>
                  </a:lnTo>
                  <a:lnTo>
                    <a:pt x="6" y="70"/>
                  </a:lnTo>
                  <a:lnTo>
                    <a:pt x="8" y="72"/>
                  </a:lnTo>
                  <a:lnTo>
                    <a:pt x="6" y="72"/>
                  </a:lnTo>
                  <a:lnTo>
                    <a:pt x="6" y="74"/>
                  </a:lnTo>
                  <a:lnTo>
                    <a:pt x="4" y="74"/>
                  </a:lnTo>
                  <a:lnTo>
                    <a:pt x="4" y="76"/>
                  </a:lnTo>
                  <a:lnTo>
                    <a:pt x="2" y="80"/>
                  </a:lnTo>
                  <a:lnTo>
                    <a:pt x="2" y="82"/>
                  </a:lnTo>
                  <a:lnTo>
                    <a:pt x="2" y="84"/>
                  </a:lnTo>
                  <a:lnTo>
                    <a:pt x="2" y="84"/>
                  </a:lnTo>
                  <a:lnTo>
                    <a:pt x="2" y="86"/>
                  </a:lnTo>
                  <a:lnTo>
                    <a:pt x="4" y="87"/>
                  </a:lnTo>
                  <a:lnTo>
                    <a:pt x="2" y="87"/>
                  </a:lnTo>
                  <a:lnTo>
                    <a:pt x="2" y="87"/>
                  </a:lnTo>
                  <a:lnTo>
                    <a:pt x="0" y="89"/>
                  </a:lnTo>
                  <a:lnTo>
                    <a:pt x="0" y="89"/>
                  </a:lnTo>
                  <a:lnTo>
                    <a:pt x="0" y="91"/>
                  </a:lnTo>
                  <a:lnTo>
                    <a:pt x="0" y="91"/>
                  </a:lnTo>
                  <a:lnTo>
                    <a:pt x="0" y="93"/>
                  </a:lnTo>
                  <a:lnTo>
                    <a:pt x="0" y="95"/>
                  </a:lnTo>
                  <a:lnTo>
                    <a:pt x="0" y="95"/>
                  </a:lnTo>
                  <a:lnTo>
                    <a:pt x="0" y="95"/>
                  </a:lnTo>
                  <a:lnTo>
                    <a:pt x="0" y="97"/>
                  </a:lnTo>
                  <a:lnTo>
                    <a:pt x="4" y="97"/>
                  </a:lnTo>
                  <a:lnTo>
                    <a:pt x="6" y="97"/>
                  </a:lnTo>
                  <a:lnTo>
                    <a:pt x="4" y="99"/>
                  </a:lnTo>
                  <a:lnTo>
                    <a:pt x="0" y="103"/>
                  </a:lnTo>
                  <a:lnTo>
                    <a:pt x="0" y="105"/>
                  </a:lnTo>
                  <a:lnTo>
                    <a:pt x="0" y="105"/>
                  </a:lnTo>
                  <a:lnTo>
                    <a:pt x="4" y="105"/>
                  </a:lnTo>
                  <a:lnTo>
                    <a:pt x="6" y="105"/>
                  </a:lnTo>
                  <a:lnTo>
                    <a:pt x="8" y="105"/>
                  </a:lnTo>
                  <a:lnTo>
                    <a:pt x="8" y="106"/>
                  </a:lnTo>
                  <a:lnTo>
                    <a:pt x="8" y="106"/>
                  </a:lnTo>
                  <a:lnTo>
                    <a:pt x="6" y="108"/>
                  </a:lnTo>
                  <a:lnTo>
                    <a:pt x="6" y="108"/>
                  </a:lnTo>
                  <a:lnTo>
                    <a:pt x="6" y="110"/>
                  </a:lnTo>
                  <a:lnTo>
                    <a:pt x="6" y="112"/>
                  </a:lnTo>
                  <a:lnTo>
                    <a:pt x="6" y="114"/>
                  </a:lnTo>
                  <a:lnTo>
                    <a:pt x="8" y="114"/>
                  </a:lnTo>
                  <a:lnTo>
                    <a:pt x="8" y="116"/>
                  </a:lnTo>
                  <a:lnTo>
                    <a:pt x="8" y="118"/>
                  </a:lnTo>
                  <a:lnTo>
                    <a:pt x="6" y="118"/>
                  </a:lnTo>
                  <a:lnTo>
                    <a:pt x="6" y="120"/>
                  </a:lnTo>
                  <a:lnTo>
                    <a:pt x="8" y="135"/>
                  </a:lnTo>
                  <a:lnTo>
                    <a:pt x="8" y="135"/>
                  </a:lnTo>
                  <a:lnTo>
                    <a:pt x="6" y="137"/>
                  </a:lnTo>
                  <a:lnTo>
                    <a:pt x="6" y="137"/>
                  </a:lnTo>
                  <a:lnTo>
                    <a:pt x="6" y="137"/>
                  </a:lnTo>
                  <a:lnTo>
                    <a:pt x="6" y="137"/>
                  </a:lnTo>
                  <a:lnTo>
                    <a:pt x="8" y="137"/>
                  </a:lnTo>
                  <a:lnTo>
                    <a:pt x="8" y="139"/>
                  </a:lnTo>
                  <a:lnTo>
                    <a:pt x="8" y="139"/>
                  </a:lnTo>
                  <a:lnTo>
                    <a:pt x="10" y="144"/>
                  </a:lnTo>
                  <a:lnTo>
                    <a:pt x="12" y="148"/>
                  </a:lnTo>
                  <a:lnTo>
                    <a:pt x="12" y="150"/>
                  </a:lnTo>
                  <a:lnTo>
                    <a:pt x="10" y="150"/>
                  </a:lnTo>
                  <a:lnTo>
                    <a:pt x="10" y="152"/>
                  </a:lnTo>
                  <a:lnTo>
                    <a:pt x="13" y="154"/>
                  </a:lnTo>
                  <a:lnTo>
                    <a:pt x="13" y="156"/>
                  </a:lnTo>
                  <a:lnTo>
                    <a:pt x="13" y="158"/>
                  </a:lnTo>
                  <a:lnTo>
                    <a:pt x="13" y="158"/>
                  </a:lnTo>
                  <a:lnTo>
                    <a:pt x="13" y="158"/>
                  </a:lnTo>
                  <a:lnTo>
                    <a:pt x="13" y="160"/>
                  </a:lnTo>
                  <a:lnTo>
                    <a:pt x="12" y="162"/>
                  </a:lnTo>
                  <a:lnTo>
                    <a:pt x="13" y="165"/>
                  </a:lnTo>
                  <a:lnTo>
                    <a:pt x="13" y="167"/>
                  </a:lnTo>
                  <a:lnTo>
                    <a:pt x="13" y="169"/>
                  </a:lnTo>
                  <a:lnTo>
                    <a:pt x="15" y="171"/>
                  </a:lnTo>
                  <a:lnTo>
                    <a:pt x="23" y="179"/>
                  </a:lnTo>
                  <a:lnTo>
                    <a:pt x="23" y="179"/>
                  </a:lnTo>
                  <a:lnTo>
                    <a:pt x="23" y="181"/>
                  </a:lnTo>
                  <a:lnTo>
                    <a:pt x="23" y="183"/>
                  </a:lnTo>
                  <a:lnTo>
                    <a:pt x="23" y="183"/>
                  </a:lnTo>
                  <a:lnTo>
                    <a:pt x="25" y="186"/>
                  </a:lnTo>
                  <a:lnTo>
                    <a:pt x="25" y="188"/>
                  </a:lnTo>
                  <a:lnTo>
                    <a:pt x="25" y="188"/>
                  </a:lnTo>
                  <a:lnTo>
                    <a:pt x="25" y="188"/>
                  </a:lnTo>
                  <a:lnTo>
                    <a:pt x="25" y="190"/>
                  </a:lnTo>
                  <a:lnTo>
                    <a:pt x="25" y="190"/>
                  </a:lnTo>
                  <a:lnTo>
                    <a:pt x="23" y="192"/>
                  </a:lnTo>
                  <a:lnTo>
                    <a:pt x="23" y="192"/>
                  </a:lnTo>
                  <a:lnTo>
                    <a:pt x="21" y="192"/>
                  </a:lnTo>
                  <a:lnTo>
                    <a:pt x="21" y="194"/>
                  </a:lnTo>
                  <a:lnTo>
                    <a:pt x="21" y="194"/>
                  </a:lnTo>
                  <a:lnTo>
                    <a:pt x="25" y="200"/>
                  </a:lnTo>
                  <a:lnTo>
                    <a:pt x="25" y="200"/>
                  </a:lnTo>
                  <a:lnTo>
                    <a:pt x="25" y="202"/>
                  </a:lnTo>
                  <a:lnTo>
                    <a:pt x="27" y="202"/>
                  </a:lnTo>
                  <a:lnTo>
                    <a:pt x="27" y="202"/>
                  </a:lnTo>
                  <a:lnTo>
                    <a:pt x="29" y="203"/>
                  </a:lnTo>
                  <a:lnTo>
                    <a:pt x="29" y="203"/>
                  </a:lnTo>
                  <a:lnTo>
                    <a:pt x="29" y="205"/>
                  </a:lnTo>
                  <a:lnTo>
                    <a:pt x="29" y="205"/>
                  </a:lnTo>
                  <a:lnTo>
                    <a:pt x="29" y="205"/>
                  </a:lnTo>
                  <a:lnTo>
                    <a:pt x="31" y="205"/>
                  </a:lnTo>
                  <a:lnTo>
                    <a:pt x="31" y="205"/>
                  </a:lnTo>
                  <a:lnTo>
                    <a:pt x="33" y="205"/>
                  </a:lnTo>
                  <a:lnTo>
                    <a:pt x="33" y="205"/>
                  </a:lnTo>
                  <a:lnTo>
                    <a:pt x="33" y="205"/>
                  </a:lnTo>
                  <a:lnTo>
                    <a:pt x="33" y="207"/>
                  </a:lnTo>
                  <a:lnTo>
                    <a:pt x="33" y="207"/>
                  </a:lnTo>
                  <a:lnTo>
                    <a:pt x="33" y="209"/>
                  </a:lnTo>
                  <a:lnTo>
                    <a:pt x="34" y="209"/>
                  </a:lnTo>
                  <a:lnTo>
                    <a:pt x="36" y="209"/>
                  </a:lnTo>
                  <a:lnTo>
                    <a:pt x="36" y="209"/>
                  </a:lnTo>
                  <a:lnTo>
                    <a:pt x="36" y="209"/>
                  </a:lnTo>
                  <a:lnTo>
                    <a:pt x="36" y="213"/>
                  </a:lnTo>
                  <a:lnTo>
                    <a:pt x="38" y="213"/>
                  </a:lnTo>
                  <a:lnTo>
                    <a:pt x="40" y="213"/>
                  </a:lnTo>
                  <a:lnTo>
                    <a:pt x="38" y="219"/>
                  </a:lnTo>
                  <a:lnTo>
                    <a:pt x="36" y="221"/>
                  </a:lnTo>
                  <a:lnTo>
                    <a:pt x="38" y="222"/>
                  </a:lnTo>
                  <a:lnTo>
                    <a:pt x="38" y="224"/>
                  </a:lnTo>
                  <a:lnTo>
                    <a:pt x="38" y="224"/>
                  </a:lnTo>
                  <a:lnTo>
                    <a:pt x="40" y="226"/>
                  </a:lnTo>
                  <a:lnTo>
                    <a:pt x="40" y="226"/>
                  </a:lnTo>
                  <a:lnTo>
                    <a:pt x="42" y="226"/>
                  </a:lnTo>
                  <a:lnTo>
                    <a:pt x="44" y="228"/>
                  </a:lnTo>
                  <a:lnTo>
                    <a:pt x="44" y="228"/>
                  </a:lnTo>
                  <a:lnTo>
                    <a:pt x="42" y="228"/>
                  </a:lnTo>
                  <a:lnTo>
                    <a:pt x="42" y="230"/>
                  </a:lnTo>
                  <a:lnTo>
                    <a:pt x="42" y="230"/>
                  </a:lnTo>
                  <a:lnTo>
                    <a:pt x="42" y="230"/>
                  </a:lnTo>
                  <a:lnTo>
                    <a:pt x="40" y="232"/>
                  </a:lnTo>
                  <a:lnTo>
                    <a:pt x="40" y="232"/>
                  </a:lnTo>
                  <a:lnTo>
                    <a:pt x="40" y="232"/>
                  </a:lnTo>
                  <a:lnTo>
                    <a:pt x="40" y="234"/>
                  </a:lnTo>
                  <a:lnTo>
                    <a:pt x="42" y="234"/>
                  </a:lnTo>
                  <a:lnTo>
                    <a:pt x="44" y="234"/>
                  </a:lnTo>
                  <a:lnTo>
                    <a:pt x="40" y="236"/>
                  </a:lnTo>
                  <a:lnTo>
                    <a:pt x="40" y="238"/>
                  </a:lnTo>
                  <a:lnTo>
                    <a:pt x="40" y="241"/>
                  </a:lnTo>
                  <a:lnTo>
                    <a:pt x="40" y="243"/>
                  </a:lnTo>
                  <a:lnTo>
                    <a:pt x="36" y="241"/>
                  </a:lnTo>
                  <a:lnTo>
                    <a:pt x="38" y="243"/>
                  </a:lnTo>
                  <a:lnTo>
                    <a:pt x="38" y="245"/>
                  </a:lnTo>
                  <a:lnTo>
                    <a:pt x="36" y="249"/>
                  </a:lnTo>
                  <a:lnTo>
                    <a:pt x="38" y="249"/>
                  </a:lnTo>
                  <a:lnTo>
                    <a:pt x="40" y="251"/>
                  </a:lnTo>
                  <a:lnTo>
                    <a:pt x="40" y="251"/>
                  </a:lnTo>
                  <a:lnTo>
                    <a:pt x="42" y="253"/>
                  </a:lnTo>
                  <a:lnTo>
                    <a:pt x="42" y="257"/>
                  </a:lnTo>
                  <a:lnTo>
                    <a:pt x="42" y="259"/>
                  </a:lnTo>
                  <a:lnTo>
                    <a:pt x="40" y="261"/>
                  </a:lnTo>
                  <a:lnTo>
                    <a:pt x="40" y="261"/>
                  </a:lnTo>
                  <a:lnTo>
                    <a:pt x="38" y="262"/>
                  </a:lnTo>
                  <a:lnTo>
                    <a:pt x="38" y="264"/>
                  </a:lnTo>
                  <a:lnTo>
                    <a:pt x="36" y="266"/>
                  </a:lnTo>
                  <a:lnTo>
                    <a:pt x="36" y="266"/>
                  </a:lnTo>
                  <a:lnTo>
                    <a:pt x="34" y="264"/>
                  </a:lnTo>
                  <a:lnTo>
                    <a:pt x="34" y="264"/>
                  </a:lnTo>
                  <a:lnTo>
                    <a:pt x="33" y="264"/>
                  </a:lnTo>
                  <a:lnTo>
                    <a:pt x="31" y="268"/>
                  </a:lnTo>
                  <a:lnTo>
                    <a:pt x="31" y="268"/>
                  </a:lnTo>
                  <a:lnTo>
                    <a:pt x="27" y="268"/>
                  </a:lnTo>
                  <a:lnTo>
                    <a:pt x="25" y="270"/>
                  </a:lnTo>
                  <a:lnTo>
                    <a:pt x="25" y="270"/>
                  </a:lnTo>
                  <a:lnTo>
                    <a:pt x="25" y="270"/>
                  </a:lnTo>
                  <a:lnTo>
                    <a:pt x="23" y="270"/>
                  </a:lnTo>
                  <a:lnTo>
                    <a:pt x="23" y="270"/>
                  </a:lnTo>
                  <a:lnTo>
                    <a:pt x="23" y="272"/>
                  </a:lnTo>
                  <a:lnTo>
                    <a:pt x="19" y="274"/>
                  </a:lnTo>
                  <a:lnTo>
                    <a:pt x="21" y="278"/>
                  </a:lnTo>
                  <a:lnTo>
                    <a:pt x="21" y="280"/>
                  </a:lnTo>
                  <a:lnTo>
                    <a:pt x="21" y="283"/>
                  </a:lnTo>
                  <a:lnTo>
                    <a:pt x="21" y="283"/>
                  </a:lnTo>
                  <a:lnTo>
                    <a:pt x="21" y="283"/>
                  </a:lnTo>
                  <a:lnTo>
                    <a:pt x="21" y="283"/>
                  </a:lnTo>
                  <a:lnTo>
                    <a:pt x="23" y="283"/>
                  </a:lnTo>
                  <a:lnTo>
                    <a:pt x="23" y="285"/>
                  </a:lnTo>
                  <a:lnTo>
                    <a:pt x="23" y="285"/>
                  </a:lnTo>
                  <a:lnTo>
                    <a:pt x="25" y="285"/>
                  </a:lnTo>
                  <a:lnTo>
                    <a:pt x="25" y="287"/>
                  </a:lnTo>
                  <a:lnTo>
                    <a:pt x="25" y="289"/>
                  </a:lnTo>
                  <a:lnTo>
                    <a:pt x="25" y="291"/>
                  </a:lnTo>
                  <a:lnTo>
                    <a:pt x="25" y="291"/>
                  </a:lnTo>
                  <a:lnTo>
                    <a:pt x="23" y="291"/>
                  </a:lnTo>
                  <a:lnTo>
                    <a:pt x="23" y="293"/>
                  </a:lnTo>
                  <a:lnTo>
                    <a:pt x="23" y="293"/>
                  </a:lnTo>
                  <a:lnTo>
                    <a:pt x="23" y="293"/>
                  </a:lnTo>
                  <a:lnTo>
                    <a:pt x="23" y="295"/>
                  </a:lnTo>
                  <a:lnTo>
                    <a:pt x="25" y="295"/>
                  </a:lnTo>
                  <a:lnTo>
                    <a:pt x="25" y="295"/>
                  </a:lnTo>
                  <a:lnTo>
                    <a:pt x="25" y="297"/>
                  </a:lnTo>
                  <a:lnTo>
                    <a:pt x="25" y="297"/>
                  </a:lnTo>
                  <a:lnTo>
                    <a:pt x="25" y="299"/>
                  </a:lnTo>
                  <a:lnTo>
                    <a:pt x="25" y="299"/>
                  </a:lnTo>
                  <a:lnTo>
                    <a:pt x="25" y="300"/>
                  </a:lnTo>
                  <a:lnTo>
                    <a:pt x="25" y="302"/>
                  </a:lnTo>
                  <a:lnTo>
                    <a:pt x="31" y="306"/>
                  </a:lnTo>
                  <a:lnTo>
                    <a:pt x="31" y="308"/>
                  </a:lnTo>
                  <a:lnTo>
                    <a:pt x="33" y="310"/>
                  </a:lnTo>
                  <a:lnTo>
                    <a:pt x="33" y="314"/>
                  </a:lnTo>
                  <a:lnTo>
                    <a:pt x="34" y="316"/>
                  </a:lnTo>
                  <a:lnTo>
                    <a:pt x="34" y="316"/>
                  </a:lnTo>
                  <a:lnTo>
                    <a:pt x="36" y="318"/>
                  </a:lnTo>
                  <a:lnTo>
                    <a:pt x="36" y="318"/>
                  </a:lnTo>
                  <a:lnTo>
                    <a:pt x="36" y="318"/>
                  </a:lnTo>
                  <a:lnTo>
                    <a:pt x="38" y="318"/>
                  </a:lnTo>
                  <a:lnTo>
                    <a:pt x="40" y="318"/>
                  </a:lnTo>
                  <a:lnTo>
                    <a:pt x="40" y="319"/>
                  </a:lnTo>
                  <a:lnTo>
                    <a:pt x="46" y="323"/>
                  </a:lnTo>
                  <a:lnTo>
                    <a:pt x="46" y="323"/>
                  </a:lnTo>
                  <a:lnTo>
                    <a:pt x="46" y="323"/>
                  </a:lnTo>
                  <a:lnTo>
                    <a:pt x="48" y="323"/>
                  </a:lnTo>
                  <a:lnTo>
                    <a:pt x="50" y="323"/>
                  </a:lnTo>
                  <a:lnTo>
                    <a:pt x="50" y="323"/>
                  </a:lnTo>
                  <a:lnTo>
                    <a:pt x="50" y="325"/>
                  </a:lnTo>
                  <a:lnTo>
                    <a:pt x="50" y="325"/>
                  </a:lnTo>
                  <a:lnTo>
                    <a:pt x="50" y="327"/>
                  </a:lnTo>
                  <a:lnTo>
                    <a:pt x="50" y="329"/>
                  </a:lnTo>
                  <a:lnTo>
                    <a:pt x="52" y="329"/>
                  </a:lnTo>
                  <a:lnTo>
                    <a:pt x="52" y="331"/>
                  </a:lnTo>
                  <a:lnTo>
                    <a:pt x="52" y="333"/>
                  </a:lnTo>
                  <a:lnTo>
                    <a:pt x="53" y="335"/>
                  </a:lnTo>
                  <a:lnTo>
                    <a:pt x="53" y="335"/>
                  </a:lnTo>
                  <a:lnTo>
                    <a:pt x="53" y="335"/>
                  </a:lnTo>
                  <a:lnTo>
                    <a:pt x="53" y="335"/>
                  </a:lnTo>
                  <a:lnTo>
                    <a:pt x="55" y="337"/>
                  </a:lnTo>
                  <a:lnTo>
                    <a:pt x="53" y="338"/>
                  </a:lnTo>
                  <a:lnTo>
                    <a:pt x="52" y="340"/>
                  </a:lnTo>
                  <a:lnTo>
                    <a:pt x="50" y="340"/>
                  </a:lnTo>
                  <a:lnTo>
                    <a:pt x="50" y="342"/>
                  </a:lnTo>
                  <a:lnTo>
                    <a:pt x="50" y="342"/>
                  </a:lnTo>
                  <a:lnTo>
                    <a:pt x="48" y="344"/>
                  </a:lnTo>
                  <a:lnTo>
                    <a:pt x="48" y="344"/>
                  </a:lnTo>
                  <a:lnTo>
                    <a:pt x="42" y="346"/>
                  </a:lnTo>
                  <a:lnTo>
                    <a:pt x="40" y="346"/>
                  </a:lnTo>
                  <a:lnTo>
                    <a:pt x="40" y="348"/>
                  </a:lnTo>
                  <a:lnTo>
                    <a:pt x="40" y="348"/>
                  </a:lnTo>
                  <a:lnTo>
                    <a:pt x="40" y="348"/>
                  </a:lnTo>
                  <a:lnTo>
                    <a:pt x="40" y="348"/>
                  </a:lnTo>
                  <a:lnTo>
                    <a:pt x="40" y="350"/>
                  </a:lnTo>
                  <a:lnTo>
                    <a:pt x="40" y="350"/>
                  </a:lnTo>
                  <a:lnTo>
                    <a:pt x="42" y="350"/>
                  </a:lnTo>
                  <a:lnTo>
                    <a:pt x="42" y="350"/>
                  </a:lnTo>
                  <a:lnTo>
                    <a:pt x="42" y="350"/>
                  </a:lnTo>
                  <a:lnTo>
                    <a:pt x="44" y="350"/>
                  </a:lnTo>
                  <a:lnTo>
                    <a:pt x="44" y="350"/>
                  </a:lnTo>
                  <a:lnTo>
                    <a:pt x="44" y="352"/>
                  </a:lnTo>
                  <a:lnTo>
                    <a:pt x="44" y="354"/>
                  </a:lnTo>
                  <a:lnTo>
                    <a:pt x="44" y="354"/>
                  </a:lnTo>
                  <a:lnTo>
                    <a:pt x="46" y="354"/>
                  </a:lnTo>
                  <a:lnTo>
                    <a:pt x="50" y="354"/>
                  </a:lnTo>
                  <a:lnTo>
                    <a:pt x="52" y="354"/>
                  </a:lnTo>
                  <a:lnTo>
                    <a:pt x="52" y="354"/>
                  </a:lnTo>
                  <a:lnTo>
                    <a:pt x="52" y="354"/>
                  </a:lnTo>
                  <a:lnTo>
                    <a:pt x="52" y="354"/>
                  </a:lnTo>
                  <a:lnTo>
                    <a:pt x="52" y="354"/>
                  </a:lnTo>
                  <a:lnTo>
                    <a:pt x="53" y="354"/>
                  </a:lnTo>
                  <a:lnTo>
                    <a:pt x="53" y="354"/>
                  </a:lnTo>
                  <a:lnTo>
                    <a:pt x="53" y="354"/>
                  </a:lnTo>
                  <a:lnTo>
                    <a:pt x="53" y="354"/>
                  </a:lnTo>
                  <a:lnTo>
                    <a:pt x="55" y="356"/>
                  </a:lnTo>
                  <a:lnTo>
                    <a:pt x="55" y="358"/>
                  </a:lnTo>
                  <a:lnTo>
                    <a:pt x="57" y="358"/>
                  </a:lnTo>
                  <a:lnTo>
                    <a:pt x="57" y="358"/>
                  </a:lnTo>
                  <a:lnTo>
                    <a:pt x="57" y="356"/>
                  </a:lnTo>
                  <a:lnTo>
                    <a:pt x="57" y="356"/>
                  </a:lnTo>
                  <a:lnTo>
                    <a:pt x="59" y="356"/>
                  </a:lnTo>
                  <a:lnTo>
                    <a:pt x="59" y="356"/>
                  </a:lnTo>
                  <a:lnTo>
                    <a:pt x="59" y="356"/>
                  </a:lnTo>
                  <a:lnTo>
                    <a:pt x="61" y="356"/>
                  </a:lnTo>
                  <a:lnTo>
                    <a:pt x="61" y="358"/>
                  </a:lnTo>
                  <a:lnTo>
                    <a:pt x="59" y="358"/>
                  </a:lnTo>
                  <a:lnTo>
                    <a:pt x="59" y="359"/>
                  </a:lnTo>
                  <a:lnTo>
                    <a:pt x="53" y="359"/>
                  </a:lnTo>
                  <a:lnTo>
                    <a:pt x="52" y="359"/>
                  </a:lnTo>
                  <a:lnTo>
                    <a:pt x="36" y="367"/>
                  </a:lnTo>
                  <a:lnTo>
                    <a:pt x="33" y="369"/>
                  </a:lnTo>
                  <a:lnTo>
                    <a:pt x="33" y="371"/>
                  </a:lnTo>
                  <a:lnTo>
                    <a:pt x="31" y="371"/>
                  </a:lnTo>
                  <a:lnTo>
                    <a:pt x="31" y="373"/>
                  </a:lnTo>
                  <a:lnTo>
                    <a:pt x="31" y="373"/>
                  </a:lnTo>
                  <a:lnTo>
                    <a:pt x="31" y="375"/>
                  </a:lnTo>
                  <a:lnTo>
                    <a:pt x="31" y="377"/>
                  </a:lnTo>
                  <a:lnTo>
                    <a:pt x="31" y="380"/>
                  </a:lnTo>
                  <a:lnTo>
                    <a:pt x="31" y="380"/>
                  </a:lnTo>
                  <a:lnTo>
                    <a:pt x="31" y="380"/>
                  </a:lnTo>
                  <a:lnTo>
                    <a:pt x="31" y="380"/>
                  </a:lnTo>
                  <a:lnTo>
                    <a:pt x="34" y="380"/>
                  </a:lnTo>
                  <a:lnTo>
                    <a:pt x="34" y="378"/>
                  </a:lnTo>
                  <a:lnTo>
                    <a:pt x="36" y="378"/>
                  </a:lnTo>
                  <a:lnTo>
                    <a:pt x="36" y="375"/>
                  </a:lnTo>
                  <a:lnTo>
                    <a:pt x="38" y="375"/>
                  </a:lnTo>
                  <a:lnTo>
                    <a:pt x="38" y="375"/>
                  </a:lnTo>
                  <a:lnTo>
                    <a:pt x="40" y="375"/>
                  </a:lnTo>
                  <a:lnTo>
                    <a:pt x="40" y="375"/>
                  </a:lnTo>
                  <a:lnTo>
                    <a:pt x="40" y="375"/>
                  </a:lnTo>
                  <a:lnTo>
                    <a:pt x="53" y="369"/>
                  </a:lnTo>
                  <a:lnTo>
                    <a:pt x="55" y="369"/>
                  </a:lnTo>
                  <a:lnTo>
                    <a:pt x="57" y="365"/>
                  </a:lnTo>
                  <a:lnTo>
                    <a:pt x="59" y="365"/>
                  </a:lnTo>
                  <a:lnTo>
                    <a:pt x="61" y="365"/>
                  </a:lnTo>
                  <a:lnTo>
                    <a:pt x="61" y="365"/>
                  </a:lnTo>
                  <a:lnTo>
                    <a:pt x="65" y="365"/>
                  </a:lnTo>
                  <a:lnTo>
                    <a:pt x="71" y="365"/>
                  </a:lnTo>
                  <a:lnTo>
                    <a:pt x="71" y="367"/>
                  </a:lnTo>
                  <a:lnTo>
                    <a:pt x="71" y="367"/>
                  </a:lnTo>
                  <a:lnTo>
                    <a:pt x="73" y="367"/>
                  </a:lnTo>
                  <a:lnTo>
                    <a:pt x="73" y="367"/>
                  </a:lnTo>
                  <a:lnTo>
                    <a:pt x="73" y="367"/>
                  </a:lnTo>
                  <a:lnTo>
                    <a:pt x="73" y="367"/>
                  </a:lnTo>
                  <a:lnTo>
                    <a:pt x="74" y="367"/>
                  </a:lnTo>
                  <a:lnTo>
                    <a:pt x="74" y="367"/>
                  </a:lnTo>
                  <a:lnTo>
                    <a:pt x="76" y="367"/>
                  </a:lnTo>
                  <a:lnTo>
                    <a:pt x="78" y="367"/>
                  </a:lnTo>
                  <a:lnTo>
                    <a:pt x="84" y="367"/>
                  </a:lnTo>
                  <a:lnTo>
                    <a:pt x="86" y="367"/>
                  </a:lnTo>
                  <a:lnTo>
                    <a:pt x="86" y="369"/>
                  </a:lnTo>
                  <a:lnTo>
                    <a:pt x="86" y="369"/>
                  </a:lnTo>
                  <a:lnTo>
                    <a:pt x="86" y="371"/>
                  </a:lnTo>
                  <a:lnTo>
                    <a:pt x="86" y="371"/>
                  </a:lnTo>
                  <a:lnTo>
                    <a:pt x="88" y="371"/>
                  </a:lnTo>
                  <a:lnTo>
                    <a:pt x="88" y="371"/>
                  </a:lnTo>
                  <a:lnTo>
                    <a:pt x="88" y="371"/>
                  </a:lnTo>
                  <a:lnTo>
                    <a:pt x="88" y="371"/>
                  </a:lnTo>
                  <a:lnTo>
                    <a:pt x="88" y="369"/>
                  </a:lnTo>
                  <a:lnTo>
                    <a:pt x="88" y="367"/>
                  </a:lnTo>
                  <a:lnTo>
                    <a:pt x="88" y="367"/>
                  </a:lnTo>
                  <a:lnTo>
                    <a:pt x="90" y="367"/>
                  </a:lnTo>
                  <a:lnTo>
                    <a:pt x="90" y="367"/>
                  </a:lnTo>
                  <a:lnTo>
                    <a:pt x="92" y="367"/>
                  </a:lnTo>
                  <a:lnTo>
                    <a:pt x="92" y="367"/>
                  </a:lnTo>
                  <a:lnTo>
                    <a:pt x="93" y="367"/>
                  </a:lnTo>
                  <a:lnTo>
                    <a:pt x="93" y="365"/>
                  </a:lnTo>
                  <a:lnTo>
                    <a:pt x="93" y="365"/>
                  </a:lnTo>
                  <a:lnTo>
                    <a:pt x="93" y="365"/>
                  </a:lnTo>
                  <a:lnTo>
                    <a:pt x="95" y="363"/>
                  </a:lnTo>
                  <a:lnTo>
                    <a:pt x="95" y="363"/>
                  </a:lnTo>
                  <a:lnTo>
                    <a:pt x="97" y="363"/>
                  </a:lnTo>
                  <a:lnTo>
                    <a:pt x="101" y="363"/>
                  </a:lnTo>
                  <a:lnTo>
                    <a:pt x="101" y="363"/>
                  </a:lnTo>
                  <a:lnTo>
                    <a:pt x="103" y="363"/>
                  </a:lnTo>
                  <a:lnTo>
                    <a:pt x="103" y="363"/>
                  </a:lnTo>
                  <a:lnTo>
                    <a:pt x="105" y="363"/>
                  </a:lnTo>
                  <a:lnTo>
                    <a:pt x="107" y="363"/>
                  </a:lnTo>
                  <a:lnTo>
                    <a:pt x="107" y="365"/>
                  </a:lnTo>
                  <a:lnTo>
                    <a:pt x="109" y="365"/>
                  </a:lnTo>
                  <a:lnTo>
                    <a:pt x="109" y="365"/>
                  </a:lnTo>
                  <a:lnTo>
                    <a:pt x="109" y="365"/>
                  </a:lnTo>
                  <a:lnTo>
                    <a:pt x="109" y="367"/>
                  </a:lnTo>
                  <a:lnTo>
                    <a:pt x="109" y="367"/>
                  </a:lnTo>
                  <a:lnTo>
                    <a:pt x="105" y="369"/>
                  </a:lnTo>
                  <a:lnTo>
                    <a:pt x="105" y="371"/>
                  </a:lnTo>
                  <a:lnTo>
                    <a:pt x="103" y="371"/>
                  </a:lnTo>
                  <a:lnTo>
                    <a:pt x="103" y="371"/>
                  </a:lnTo>
                  <a:lnTo>
                    <a:pt x="103" y="371"/>
                  </a:lnTo>
                  <a:lnTo>
                    <a:pt x="103" y="371"/>
                  </a:lnTo>
                  <a:lnTo>
                    <a:pt x="103" y="371"/>
                  </a:lnTo>
                  <a:lnTo>
                    <a:pt x="103" y="373"/>
                  </a:lnTo>
                  <a:lnTo>
                    <a:pt x="103" y="373"/>
                  </a:lnTo>
                  <a:lnTo>
                    <a:pt x="105" y="375"/>
                  </a:lnTo>
                  <a:lnTo>
                    <a:pt x="105" y="375"/>
                  </a:lnTo>
                  <a:lnTo>
                    <a:pt x="105" y="377"/>
                  </a:lnTo>
                  <a:lnTo>
                    <a:pt x="107" y="377"/>
                  </a:lnTo>
                  <a:lnTo>
                    <a:pt x="109" y="377"/>
                  </a:lnTo>
                  <a:lnTo>
                    <a:pt x="111" y="377"/>
                  </a:lnTo>
                  <a:lnTo>
                    <a:pt x="111" y="377"/>
                  </a:lnTo>
                  <a:lnTo>
                    <a:pt x="111" y="373"/>
                  </a:lnTo>
                  <a:lnTo>
                    <a:pt x="113" y="373"/>
                  </a:lnTo>
                  <a:lnTo>
                    <a:pt x="113" y="373"/>
                  </a:lnTo>
                  <a:lnTo>
                    <a:pt x="116" y="373"/>
                  </a:lnTo>
                  <a:lnTo>
                    <a:pt x="118" y="373"/>
                  </a:lnTo>
                  <a:lnTo>
                    <a:pt x="120" y="373"/>
                  </a:lnTo>
                  <a:lnTo>
                    <a:pt x="122" y="375"/>
                  </a:lnTo>
                  <a:lnTo>
                    <a:pt x="122" y="377"/>
                  </a:lnTo>
                  <a:lnTo>
                    <a:pt x="124" y="377"/>
                  </a:lnTo>
                  <a:lnTo>
                    <a:pt x="126" y="377"/>
                  </a:lnTo>
                  <a:lnTo>
                    <a:pt x="126" y="377"/>
                  </a:lnTo>
                  <a:lnTo>
                    <a:pt x="126" y="377"/>
                  </a:lnTo>
                  <a:lnTo>
                    <a:pt x="128" y="378"/>
                  </a:lnTo>
                  <a:lnTo>
                    <a:pt x="130" y="378"/>
                  </a:lnTo>
                  <a:lnTo>
                    <a:pt x="132" y="380"/>
                  </a:lnTo>
                  <a:lnTo>
                    <a:pt x="133" y="380"/>
                  </a:lnTo>
                  <a:lnTo>
                    <a:pt x="137" y="382"/>
                  </a:lnTo>
                  <a:lnTo>
                    <a:pt x="139" y="382"/>
                  </a:lnTo>
                  <a:lnTo>
                    <a:pt x="141" y="382"/>
                  </a:lnTo>
                  <a:lnTo>
                    <a:pt x="141" y="382"/>
                  </a:lnTo>
                  <a:lnTo>
                    <a:pt x="143" y="380"/>
                  </a:lnTo>
                  <a:lnTo>
                    <a:pt x="143" y="380"/>
                  </a:lnTo>
                  <a:lnTo>
                    <a:pt x="143" y="380"/>
                  </a:lnTo>
                  <a:lnTo>
                    <a:pt x="145" y="380"/>
                  </a:lnTo>
                  <a:lnTo>
                    <a:pt x="147" y="380"/>
                  </a:lnTo>
                  <a:lnTo>
                    <a:pt x="151" y="378"/>
                  </a:lnTo>
                  <a:lnTo>
                    <a:pt x="153" y="378"/>
                  </a:lnTo>
                  <a:lnTo>
                    <a:pt x="153" y="380"/>
                  </a:lnTo>
                  <a:lnTo>
                    <a:pt x="154" y="380"/>
                  </a:lnTo>
                  <a:lnTo>
                    <a:pt x="154" y="378"/>
                  </a:lnTo>
                  <a:lnTo>
                    <a:pt x="156" y="380"/>
                  </a:lnTo>
                  <a:lnTo>
                    <a:pt x="156" y="380"/>
                  </a:lnTo>
                  <a:lnTo>
                    <a:pt x="156" y="382"/>
                  </a:lnTo>
                  <a:lnTo>
                    <a:pt x="158" y="382"/>
                  </a:lnTo>
                  <a:lnTo>
                    <a:pt x="158" y="382"/>
                  </a:lnTo>
                  <a:lnTo>
                    <a:pt x="160" y="382"/>
                  </a:lnTo>
                  <a:lnTo>
                    <a:pt x="162" y="384"/>
                  </a:lnTo>
                  <a:lnTo>
                    <a:pt x="164" y="388"/>
                  </a:lnTo>
                  <a:lnTo>
                    <a:pt x="166" y="388"/>
                  </a:lnTo>
                  <a:lnTo>
                    <a:pt x="166" y="388"/>
                  </a:lnTo>
                  <a:lnTo>
                    <a:pt x="170" y="388"/>
                  </a:lnTo>
                  <a:lnTo>
                    <a:pt x="172" y="388"/>
                  </a:lnTo>
                  <a:lnTo>
                    <a:pt x="172" y="388"/>
                  </a:lnTo>
                  <a:lnTo>
                    <a:pt x="174" y="390"/>
                  </a:lnTo>
                  <a:lnTo>
                    <a:pt x="174" y="390"/>
                  </a:lnTo>
                  <a:lnTo>
                    <a:pt x="174" y="392"/>
                  </a:lnTo>
                  <a:lnTo>
                    <a:pt x="174" y="392"/>
                  </a:lnTo>
                  <a:lnTo>
                    <a:pt x="174" y="392"/>
                  </a:lnTo>
                  <a:lnTo>
                    <a:pt x="174" y="396"/>
                  </a:lnTo>
                  <a:lnTo>
                    <a:pt x="175" y="399"/>
                  </a:lnTo>
                  <a:lnTo>
                    <a:pt x="175" y="401"/>
                  </a:lnTo>
                  <a:lnTo>
                    <a:pt x="181" y="409"/>
                  </a:lnTo>
                  <a:lnTo>
                    <a:pt x="183" y="413"/>
                  </a:lnTo>
                  <a:lnTo>
                    <a:pt x="183" y="415"/>
                  </a:lnTo>
                  <a:lnTo>
                    <a:pt x="183" y="418"/>
                  </a:lnTo>
                  <a:lnTo>
                    <a:pt x="183" y="422"/>
                  </a:lnTo>
                  <a:lnTo>
                    <a:pt x="183" y="422"/>
                  </a:lnTo>
                  <a:lnTo>
                    <a:pt x="183" y="424"/>
                  </a:lnTo>
                  <a:lnTo>
                    <a:pt x="183" y="424"/>
                  </a:lnTo>
                  <a:lnTo>
                    <a:pt x="185" y="424"/>
                  </a:lnTo>
                  <a:lnTo>
                    <a:pt x="185" y="424"/>
                  </a:lnTo>
                  <a:lnTo>
                    <a:pt x="183" y="426"/>
                  </a:lnTo>
                  <a:lnTo>
                    <a:pt x="181" y="428"/>
                  </a:lnTo>
                  <a:lnTo>
                    <a:pt x="181" y="430"/>
                  </a:lnTo>
                  <a:lnTo>
                    <a:pt x="181" y="430"/>
                  </a:lnTo>
                  <a:lnTo>
                    <a:pt x="179" y="432"/>
                  </a:lnTo>
                  <a:lnTo>
                    <a:pt x="177" y="432"/>
                  </a:lnTo>
                  <a:lnTo>
                    <a:pt x="175" y="432"/>
                  </a:lnTo>
                  <a:lnTo>
                    <a:pt x="175" y="432"/>
                  </a:lnTo>
                  <a:lnTo>
                    <a:pt x="174" y="432"/>
                  </a:lnTo>
                  <a:lnTo>
                    <a:pt x="174" y="434"/>
                  </a:lnTo>
                  <a:lnTo>
                    <a:pt x="174" y="434"/>
                  </a:lnTo>
                  <a:lnTo>
                    <a:pt x="174" y="435"/>
                  </a:lnTo>
                  <a:lnTo>
                    <a:pt x="174" y="437"/>
                  </a:lnTo>
                  <a:lnTo>
                    <a:pt x="174" y="437"/>
                  </a:lnTo>
                  <a:lnTo>
                    <a:pt x="174" y="439"/>
                  </a:lnTo>
                  <a:lnTo>
                    <a:pt x="175" y="441"/>
                  </a:lnTo>
                  <a:lnTo>
                    <a:pt x="174" y="441"/>
                  </a:lnTo>
                  <a:lnTo>
                    <a:pt x="174" y="441"/>
                  </a:lnTo>
                  <a:lnTo>
                    <a:pt x="172" y="443"/>
                  </a:lnTo>
                  <a:lnTo>
                    <a:pt x="172" y="443"/>
                  </a:lnTo>
                  <a:lnTo>
                    <a:pt x="172" y="443"/>
                  </a:lnTo>
                  <a:lnTo>
                    <a:pt x="172" y="445"/>
                  </a:lnTo>
                  <a:lnTo>
                    <a:pt x="172" y="447"/>
                  </a:lnTo>
                  <a:lnTo>
                    <a:pt x="172" y="447"/>
                  </a:lnTo>
                  <a:lnTo>
                    <a:pt x="174" y="449"/>
                  </a:lnTo>
                  <a:lnTo>
                    <a:pt x="174" y="449"/>
                  </a:lnTo>
                  <a:lnTo>
                    <a:pt x="174" y="451"/>
                  </a:lnTo>
                  <a:lnTo>
                    <a:pt x="174" y="451"/>
                  </a:lnTo>
                  <a:lnTo>
                    <a:pt x="170" y="456"/>
                  </a:lnTo>
                  <a:lnTo>
                    <a:pt x="168" y="460"/>
                  </a:lnTo>
                  <a:lnTo>
                    <a:pt x="168" y="462"/>
                  </a:lnTo>
                  <a:lnTo>
                    <a:pt x="168" y="464"/>
                  </a:lnTo>
                  <a:lnTo>
                    <a:pt x="168" y="466"/>
                  </a:lnTo>
                  <a:lnTo>
                    <a:pt x="164" y="470"/>
                  </a:lnTo>
                  <a:lnTo>
                    <a:pt x="162" y="474"/>
                  </a:lnTo>
                  <a:lnTo>
                    <a:pt x="160" y="477"/>
                  </a:lnTo>
                  <a:lnTo>
                    <a:pt x="158" y="479"/>
                  </a:lnTo>
                  <a:lnTo>
                    <a:pt x="158" y="479"/>
                  </a:lnTo>
                  <a:lnTo>
                    <a:pt x="156" y="479"/>
                  </a:lnTo>
                  <a:lnTo>
                    <a:pt x="154" y="481"/>
                  </a:lnTo>
                  <a:lnTo>
                    <a:pt x="154" y="481"/>
                  </a:lnTo>
                  <a:lnTo>
                    <a:pt x="154" y="483"/>
                  </a:lnTo>
                  <a:lnTo>
                    <a:pt x="154" y="485"/>
                  </a:lnTo>
                  <a:lnTo>
                    <a:pt x="153" y="487"/>
                  </a:lnTo>
                  <a:lnTo>
                    <a:pt x="153" y="487"/>
                  </a:lnTo>
                  <a:lnTo>
                    <a:pt x="153" y="489"/>
                  </a:lnTo>
                  <a:lnTo>
                    <a:pt x="154" y="489"/>
                  </a:lnTo>
                  <a:lnTo>
                    <a:pt x="154" y="491"/>
                  </a:lnTo>
                  <a:lnTo>
                    <a:pt x="156" y="493"/>
                  </a:lnTo>
                  <a:lnTo>
                    <a:pt x="156" y="494"/>
                  </a:lnTo>
                  <a:lnTo>
                    <a:pt x="156" y="494"/>
                  </a:lnTo>
                  <a:lnTo>
                    <a:pt x="156" y="496"/>
                  </a:lnTo>
                  <a:lnTo>
                    <a:pt x="156" y="496"/>
                  </a:lnTo>
                  <a:lnTo>
                    <a:pt x="156" y="496"/>
                  </a:lnTo>
                  <a:lnTo>
                    <a:pt x="154" y="496"/>
                  </a:lnTo>
                  <a:lnTo>
                    <a:pt x="153" y="498"/>
                  </a:lnTo>
                  <a:lnTo>
                    <a:pt x="143" y="500"/>
                  </a:lnTo>
                  <a:lnTo>
                    <a:pt x="139" y="502"/>
                  </a:lnTo>
                  <a:lnTo>
                    <a:pt x="139" y="504"/>
                  </a:lnTo>
                  <a:lnTo>
                    <a:pt x="137" y="504"/>
                  </a:lnTo>
                  <a:lnTo>
                    <a:pt x="137" y="504"/>
                  </a:lnTo>
                  <a:lnTo>
                    <a:pt x="135" y="504"/>
                  </a:lnTo>
                  <a:lnTo>
                    <a:pt x="132" y="504"/>
                  </a:lnTo>
                  <a:lnTo>
                    <a:pt x="132" y="504"/>
                  </a:lnTo>
                  <a:lnTo>
                    <a:pt x="128" y="504"/>
                  </a:lnTo>
                  <a:lnTo>
                    <a:pt x="120" y="506"/>
                  </a:lnTo>
                  <a:lnTo>
                    <a:pt x="118" y="508"/>
                  </a:lnTo>
                  <a:lnTo>
                    <a:pt x="118" y="513"/>
                  </a:lnTo>
                  <a:lnTo>
                    <a:pt x="116" y="515"/>
                  </a:lnTo>
                  <a:lnTo>
                    <a:pt x="111" y="521"/>
                  </a:lnTo>
                  <a:lnTo>
                    <a:pt x="111" y="521"/>
                  </a:lnTo>
                  <a:lnTo>
                    <a:pt x="109" y="523"/>
                  </a:lnTo>
                  <a:lnTo>
                    <a:pt x="109" y="523"/>
                  </a:lnTo>
                  <a:lnTo>
                    <a:pt x="111" y="525"/>
                  </a:lnTo>
                  <a:lnTo>
                    <a:pt x="111" y="527"/>
                  </a:lnTo>
                  <a:lnTo>
                    <a:pt x="113" y="527"/>
                  </a:lnTo>
                  <a:lnTo>
                    <a:pt x="114" y="529"/>
                  </a:lnTo>
                  <a:lnTo>
                    <a:pt x="118" y="540"/>
                  </a:lnTo>
                  <a:lnTo>
                    <a:pt x="120" y="542"/>
                  </a:lnTo>
                  <a:lnTo>
                    <a:pt x="120" y="542"/>
                  </a:lnTo>
                  <a:lnTo>
                    <a:pt x="120" y="544"/>
                  </a:lnTo>
                  <a:lnTo>
                    <a:pt x="120" y="546"/>
                  </a:lnTo>
                  <a:lnTo>
                    <a:pt x="118" y="548"/>
                  </a:lnTo>
                  <a:lnTo>
                    <a:pt x="118" y="550"/>
                  </a:lnTo>
                  <a:lnTo>
                    <a:pt x="118" y="551"/>
                  </a:lnTo>
                  <a:lnTo>
                    <a:pt x="116" y="553"/>
                  </a:lnTo>
                  <a:lnTo>
                    <a:pt x="116" y="553"/>
                  </a:lnTo>
                  <a:lnTo>
                    <a:pt x="116" y="555"/>
                  </a:lnTo>
                  <a:lnTo>
                    <a:pt x="118" y="557"/>
                  </a:lnTo>
                  <a:lnTo>
                    <a:pt x="116" y="561"/>
                  </a:lnTo>
                  <a:lnTo>
                    <a:pt x="116" y="563"/>
                  </a:lnTo>
                  <a:lnTo>
                    <a:pt x="114" y="565"/>
                  </a:lnTo>
                  <a:lnTo>
                    <a:pt x="111" y="569"/>
                  </a:lnTo>
                  <a:lnTo>
                    <a:pt x="107" y="571"/>
                  </a:lnTo>
                  <a:lnTo>
                    <a:pt x="103" y="574"/>
                  </a:lnTo>
                  <a:lnTo>
                    <a:pt x="101" y="574"/>
                  </a:lnTo>
                  <a:lnTo>
                    <a:pt x="101" y="576"/>
                  </a:lnTo>
                  <a:lnTo>
                    <a:pt x="103" y="578"/>
                  </a:lnTo>
                  <a:lnTo>
                    <a:pt x="103" y="578"/>
                  </a:lnTo>
                  <a:lnTo>
                    <a:pt x="105" y="578"/>
                  </a:lnTo>
                  <a:lnTo>
                    <a:pt x="105" y="578"/>
                  </a:lnTo>
                  <a:lnTo>
                    <a:pt x="107" y="584"/>
                  </a:lnTo>
                  <a:lnTo>
                    <a:pt x="107" y="586"/>
                  </a:lnTo>
                  <a:lnTo>
                    <a:pt x="107" y="588"/>
                  </a:lnTo>
                  <a:lnTo>
                    <a:pt x="107" y="590"/>
                  </a:lnTo>
                  <a:lnTo>
                    <a:pt x="109" y="591"/>
                  </a:lnTo>
                  <a:lnTo>
                    <a:pt x="109" y="591"/>
                  </a:lnTo>
                  <a:lnTo>
                    <a:pt x="111" y="593"/>
                  </a:lnTo>
                  <a:lnTo>
                    <a:pt x="111" y="597"/>
                  </a:lnTo>
                  <a:lnTo>
                    <a:pt x="111" y="597"/>
                  </a:lnTo>
                  <a:lnTo>
                    <a:pt x="111" y="599"/>
                  </a:lnTo>
                  <a:lnTo>
                    <a:pt x="111" y="599"/>
                  </a:lnTo>
                  <a:lnTo>
                    <a:pt x="111" y="601"/>
                  </a:lnTo>
                  <a:lnTo>
                    <a:pt x="111" y="601"/>
                  </a:lnTo>
                  <a:lnTo>
                    <a:pt x="111" y="603"/>
                  </a:lnTo>
                  <a:lnTo>
                    <a:pt x="111" y="605"/>
                  </a:lnTo>
                  <a:lnTo>
                    <a:pt x="109" y="607"/>
                  </a:lnTo>
                  <a:lnTo>
                    <a:pt x="107" y="610"/>
                  </a:lnTo>
                  <a:lnTo>
                    <a:pt x="107" y="612"/>
                  </a:lnTo>
                  <a:lnTo>
                    <a:pt x="107" y="612"/>
                  </a:lnTo>
                  <a:lnTo>
                    <a:pt x="109" y="614"/>
                  </a:lnTo>
                  <a:lnTo>
                    <a:pt x="109" y="614"/>
                  </a:lnTo>
                  <a:lnTo>
                    <a:pt x="109" y="614"/>
                  </a:lnTo>
                  <a:lnTo>
                    <a:pt x="111" y="616"/>
                  </a:lnTo>
                  <a:lnTo>
                    <a:pt x="111" y="616"/>
                  </a:lnTo>
                  <a:lnTo>
                    <a:pt x="111" y="616"/>
                  </a:lnTo>
                  <a:lnTo>
                    <a:pt x="113" y="618"/>
                  </a:lnTo>
                  <a:lnTo>
                    <a:pt x="113" y="620"/>
                  </a:lnTo>
                  <a:lnTo>
                    <a:pt x="114" y="620"/>
                  </a:lnTo>
                  <a:lnTo>
                    <a:pt x="116" y="622"/>
                  </a:lnTo>
                  <a:lnTo>
                    <a:pt x="118" y="622"/>
                  </a:lnTo>
                  <a:lnTo>
                    <a:pt x="118" y="622"/>
                  </a:lnTo>
                  <a:lnTo>
                    <a:pt x="118" y="624"/>
                  </a:lnTo>
                  <a:lnTo>
                    <a:pt x="118" y="624"/>
                  </a:lnTo>
                  <a:lnTo>
                    <a:pt x="116" y="628"/>
                  </a:lnTo>
                  <a:lnTo>
                    <a:pt x="116" y="628"/>
                  </a:lnTo>
                  <a:lnTo>
                    <a:pt x="116" y="629"/>
                  </a:lnTo>
                  <a:lnTo>
                    <a:pt x="116" y="631"/>
                  </a:lnTo>
                  <a:lnTo>
                    <a:pt x="118" y="631"/>
                  </a:lnTo>
                  <a:lnTo>
                    <a:pt x="118" y="633"/>
                  </a:lnTo>
                  <a:lnTo>
                    <a:pt x="120" y="633"/>
                  </a:lnTo>
                  <a:lnTo>
                    <a:pt x="122" y="633"/>
                  </a:lnTo>
                  <a:lnTo>
                    <a:pt x="124" y="633"/>
                  </a:lnTo>
                  <a:lnTo>
                    <a:pt x="126" y="631"/>
                  </a:lnTo>
                  <a:lnTo>
                    <a:pt x="126" y="631"/>
                  </a:lnTo>
                  <a:lnTo>
                    <a:pt x="128" y="629"/>
                  </a:lnTo>
                  <a:lnTo>
                    <a:pt x="128" y="629"/>
                  </a:lnTo>
                  <a:lnTo>
                    <a:pt x="128" y="628"/>
                  </a:lnTo>
                  <a:lnTo>
                    <a:pt x="128" y="628"/>
                  </a:lnTo>
                  <a:lnTo>
                    <a:pt x="128" y="626"/>
                  </a:lnTo>
                  <a:lnTo>
                    <a:pt x="128" y="626"/>
                  </a:lnTo>
                  <a:lnTo>
                    <a:pt x="128" y="624"/>
                  </a:lnTo>
                  <a:lnTo>
                    <a:pt x="130" y="624"/>
                  </a:lnTo>
                  <a:lnTo>
                    <a:pt x="130" y="622"/>
                  </a:lnTo>
                  <a:lnTo>
                    <a:pt x="130" y="622"/>
                  </a:lnTo>
                  <a:lnTo>
                    <a:pt x="132" y="622"/>
                  </a:lnTo>
                  <a:lnTo>
                    <a:pt x="133" y="624"/>
                  </a:lnTo>
                  <a:lnTo>
                    <a:pt x="135" y="624"/>
                  </a:lnTo>
                  <a:lnTo>
                    <a:pt x="141" y="629"/>
                  </a:lnTo>
                  <a:lnTo>
                    <a:pt x="143" y="629"/>
                  </a:lnTo>
                  <a:lnTo>
                    <a:pt x="145" y="633"/>
                  </a:lnTo>
                  <a:lnTo>
                    <a:pt x="147" y="633"/>
                  </a:lnTo>
                  <a:lnTo>
                    <a:pt x="149" y="635"/>
                  </a:lnTo>
                  <a:lnTo>
                    <a:pt x="151" y="635"/>
                  </a:lnTo>
                  <a:lnTo>
                    <a:pt x="153" y="635"/>
                  </a:lnTo>
                  <a:lnTo>
                    <a:pt x="154" y="635"/>
                  </a:lnTo>
                  <a:lnTo>
                    <a:pt x="154" y="635"/>
                  </a:lnTo>
                  <a:lnTo>
                    <a:pt x="156" y="635"/>
                  </a:lnTo>
                  <a:lnTo>
                    <a:pt x="156" y="637"/>
                  </a:lnTo>
                  <a:lnTo>
                    <a:pt x="156" y="637"/>
                  </a:lnTo>
                  <a:lnTo>
                    <a:pt x="156" y="639"/>
                  </a:lnTo>
                  <a:lnTo>
                    <a:pt x="156" y="641"/>
                  </a:lnTo>
                  <a:lnTo>
                    <a:pt x="158" y="641"/>
                  </a:lnTo>
                  <a:lnTo>
                    <a:pt x="160" y="643"/>
                  </a:lnTo>
                  <a:lnTo>
                    <a:pt x="160" y="641"/>
                  </a:lnTo>
                  <a:lnTo>
                    <a:pt x="162" y="641"/>
                  </a:lnTo>
                  <a:lnTo>
                    <a:pt x="164" y="639"/>
                  </a:lnTo>
                  <a:lnTo>
                    <a:pt x="166" y="637"/>
                  </a:lnTo>
                  <a:lnTo>
                    <a:pt x="168" y="633"/>
                  </a:lnTo>
                  <a:lnTo>
                    <a:pt x="168" y="631"/>
                  </a:lnTo>
                  <a:lnTo>
                    <a:pt x="170" y="629"/>
                  </a:lnTo>
                  <a:lnTo>
                    <a:pt x="174" y="626"/>
                  </a:lnTo>
                  <a:lnTo>
                    <a:pt x="174" y="626"/>
                  </a:lnTo>
                  <a:lnTo>
                    <a:pt x="174" y="624"/>
                  </a:lnTo>
                  <a:lnTo>
                    <a:pt x="175" y="624"/>
                  </a:lnTo>
                  <a:lnTo>
                    <a:pt x="175" y="622"/>
                  </a:lnTo>
                  <a:lnTo>
                    <a:pt x="177" y="620"/>
                  </a:lnTo>
                  <a:lnTo>
                    <a:pt x="177" y="616"/>
                  </a:lnTo>
                  <a:lnTo>
                    <a:pt x="175" y="616"/>
                  </a:lnTo>
                  <a:lnTo>
                    <a:pt x="174" y="616"/>
                  </a:lnTo>
                  <a:lnTo>
                    <a:pt x="172" y="616"/>
                  </a:lnTo>
                  <a:lnTo>
                    <a:pt x="172" y="614"/>
                  </a:lnTo>
                  <a:lnTo>
                    <a:pt x="172" y="614"/>
                  </a:lnTo>
                  <a:lnTo>
                    <a:pt x="170" y="614"/>
                  </a:lnTo>
                  <a:lnTo>
                    <a:pt x="170" y="614"/>
                  </a:lnTo>
                  <a:lnTo>
                    <a:pt x="170" y="614"/>
                  </a:lnTo>
                  <a:lnTo>
                    <a:pt x="170" y="612"/>
                  </a:lnTo>
                  <a:lnTo>
                    <a:pt x="170" y="612"/>
                  </a:lnTo>
                  <a:lnTo>
                    <a:pt x="172" y="610"/>
                  </a:lnTo>
                  <a:lnTo>
                    <a:pt x="172" y="610"/>
                  </a:lnTo>
                  <a:lnTo>
                    <a:pt x="170" y="609"/>
                  </a:lnTo>
                  <a:lnTo>
                    <a:pt x="168" y="607"/>
                  </a:lnTo>
                  <a:lnTo>
                    <a:pt x="168" y="605"/>
                  </a:lnTo>
                  <a:lnTo>
                    <a:pt x="168" y="603"/>
                  </a:lnTo>
                  <a:lnTo>
                    <a:pt x="168" y="603"/>
                  </a:lnTo>
                  <a:lnTo>
                    <a:pt x="166" y="601"/>
                  </a:lnTo>
                  <a:lnTo>
                    <a:pt x="166" y="599"/>
                  </a:lnTo>
                  <a:lnTo>
                    <a:pt x="164" y="599"/>
                  </a:lnTo>
                  <a:lnTo>
                    <a:pt x="162" y="599"/>
                  </a:lnTo>
                  <a:lnTo>
                    <a:pt x="162" y="599"/>
                  </a:lnTo>
                  <a:lnTo>
                    <a:pt x="160" y="599"/>
                  </a:lnTo>
                  <a:lnTo>
                    <a:pt x="156" y="599"/>
                  </a:lnTo>
                  <a:lnTo>
                    <a:pt x="156" y="601"/>
                  </a:lnTo>
                  <a:lnTo>
                    <a:pt x="154" y="601"/>
                  </a:lnTo>
                  <a:lnTo>
                    <a:pt x="154" y="599"/>
                  </a:lnTo>
                  <a:lnTo>
                    <a:pt x="153" y="599"/>
                  </a:lnTo>
                  <a:lnTo>
                    <a:pt x="153" y="597"/>
                  </a:lnTo>
                  <a:lnTo>
                    <a:pt x="153" y="597"/>
                  </a:lnTo>
                  <a:lnTo>
                    <a:pt x="153" y="595"/>
                  </a:lnTo>
                  <a:lnTo>
                    <a:pt x="153" y="593"/>
                  </a:lnTo>
                  <a:lnTo>
                    <a:pt x="154" y="591"/>
                  </a:lnTo>
                  <a:lnTo>
                    <a:pt x="154" y="591"/>
                  </a:lnTo>
                  <a:lnTo>
                    <a:pt x="154" y="591"/>
                  </a:lnTo>
                  <a:lnTo>
                    <a:pt x="154" y="590"/>
                  </a:lnTo>
                  <a:lnTo>
                    <a:pt x="154" y="586"/>
                  </a:lnTo>
                  <a:lnTo>
                    <a:pt x="154" y="582"/>
                  </a:lnTo>
                  <a:lnTo>
                    <a:pt x="154" y="580"/>
                  </a:lnTo>
                  <a:lnTo>
                    <a:pt x="153" y="578"/>
                  </a:lnTo>
                  <a:lnTo>
                    <a:pt x="153" y="576"/>
                  </a:lnTo>
                  <a:lnTo>
                    <a:pt x="151" y="574"/>
                  </a:lnTo>
                  <a:lnTo>
                    <a:pt x="147" y="571"/>
                  </a:lnTo>
                  <a:lnTo>
                    <a:pt x="147" y="569"/>
                  </a:lnTo>
                  <a:lnTo>
                    <a:pt x="145" y="567"/>
                  </a:lnTo>
                  <a:lnTo>
                    <a:pt x="143" y="555"/>
                  </a:lnTo>
                  <a:lnTo>
                    <a:pt x="143" y="551"/>
                  </a:lnTo>
                  <a:lnTo>
                    <a:pt x="143" y="550"/>
                  </a:lnTo>
                  <a:lnTo>
                    <a:pt x="139" y="542"/>
                  </a:lnTo>
                  <a:lnTo>
                    <a:pt x="137" y="540"/>
                  </a:lnTo>
                  <a:lnTo>
                    <a:pt x="137" y="538"/>
                  </a:lnTo>
                  <a:lnTo>
                    <a:pt x="135" y="536"/>
                  </a:lnTo>
                  <a:lnTo>
                    <a:pt x="133" y="536"/>
                  </a:lnTo>
                  <a:lnTo>
                    <a:pt x="133" y="536"/>
                  </a:lnTo>
                  <a:lnTo>
                    <a:pt x="133" y="534"/>
                  </a:lnTo>
                  <a:lnTo>
                    <a:pt x="133" y="534"/>
                  </a:lnTo>
                  <a:lnTo>
                    <a:pt x="133" y="532"/>
                  </a:lnTo>
                  <a:lnTo>
                    <a:pt x="133" y="532"/>
                  </a:lnTo>
                  <a:lnTo>
                    <a:pt x="135" y="531"/>
                  </a:lnTo>
                  <a:lnTo>
                    <a:pt x="137" y="527"/>
                  </a:lnTo>
                  <a:lnTo>
                    <a:pt x="137" y="527"/>
                  </a:lnTo>
                  <a:lnTo>
                    <a:pt x="139" y="525"/>
                  </a:lnTo>
                  <a:lnTo>
                    <a:pt x="139" y="525"/>
                  </a:lnTo>
                  <a:lnTo>
                    <a:pt x="139" y="525"/>
                  </a:lnTo>
                  <a:lnTo>
                    <a:pt x="139" y="523"/>
                  </a:lnTo>
                  <a:lnTo>
                    <a:pt x="139" y="523"/>
                  </a:lnTo>
                  <a:lnTo>
                    <a:pt x="139" y="523"/>
                  </a:lnTo>
                  <a:lnTo>
                    <a:pt x="139" y="521"/>
                  </a:lnTo>
                  <a:lnTo>
                    <a:pt x="139" y="521"/>
                  </a:lnTo>
                  <a:lnTo>
                    <a:pt x="141" y="521"/>
                  </a:lnTo>
                  <a:lnTo>
                    <a:pt x="141" y="521"/>
                  </a:lnTo>
                  <a:lnTo>
                    <a:pt x="143" y="521"/>
                  </a:lnTo>
                  <a:lnTo>
                    <a:pt x="145" y="521"/>
                  </a:lnTo>
                  <a:lnTo>
                    <a:pt x="147" y="521"/>
                  </a:lnTo>
                  <a:lnTo>
                    <a:pt x="147" y="521"/>
                  </a:lnTo>
                  <a:lnTo>
                    <a:pt x="147" y="521"/>
                  </a:lnTo>
                  <a:lnTo>
                    <a:pt x="149" y="523"/>
                  </a:lnTo>
                  <a:lnTo>
                    <a:pt x="149" y="523"/>
                  </a:lnTo>
                  <a:lnTo>
                    <a:pt x="151" y="525"/>
                  </a:lnTo>
                  <a:lnTo>
                    <a:pt x="151" y="525"/>
                  </a:lnTo>
                  <a:lnTo>
                    <a:pt x="153" y="527"/>
                  </a:lnTo>
                  <a:lnTo>
                    <a:pt x="153" y="527"/>
                  </a:lnTo>
                  <a:lnTo>
                    <a:pt x="153" y="527"/>
                  </a:lnTo>
                  <a:lnTo>
                    <a:pt x="154" y="527"/>
                  </a:lnTo>
                  <a:lnTo>
                    <a:pt x="154" y="527"/>
                  </a:lnTo>
                  <a:lnTo>
                    <a:pt x="154" y="525"/>
                  </a:lnTo>
                  <a:lnTo>
                    <a:pt x="154" y="523"/>
                  </a:lnTo>
                  <a:lnTo>
                    <a:pt x="154" y="523"/>
                  </a:lnTo>
                  <a:lnTo>
                    <a:pt x="154" y="523"/>
                  </a:lnTo>
                  <a:lnTo>
                    <a:pt x="154" y="521"/>
                  </a:lnTo>
                  <a:lnTo>
                    <a:pt x="154" y="521"/>
                  </a:lnTo>
                  <a:lnTo>
                    <a:pt x="154" y="519"/>
                  </a:lnTo>
                  <a:lnTo>
                    <a:pt x="154" y="519"/>
                  </a:lnTo>
                  <a:lnTo>
                    <a:pt x="154" y="517"/>
                  </a:lnTo>
                  <a:lnTo>
                    <a:pt x="153" y="515"/>
                  </a:lnTo>
                  <a:lnTo>
                    <a:pt x="153" y="515"/>
                  </a:lnTo>
                  <a:lnTo>
                    <a:pt x="153" y="513"/>
                  </a:lnTo>
                  <a:lnTo>
                    <a:pt x="153" y="512"/>
                  </a:lnTo>
                  <a:lnTo>
                    <a:pt x="154" y="512"/>
                  </a:lnTo>
                  <a:lnTo>
                    <a:pt x="154" y="512"/>
                  </a:lnTo>
                  <a:lnTo>
                    <a:pt x="156" y="512"/>
                  </a:lnTo>
                  <a:lnTo>
                    <a:pt x="156" y="510"/>
                  </a:lnTo>
                  <a:lnTo>
                    <a:pt x="158" y="510"/>
                  </a:lnTo>
                  <a:lnTo>
                    <a:pt x="160" y="512"/>
                  </a:lnTo>
                  <a:lnTo>
                    <a:pt x="160" y="512"/>
                  </a:lnTo>
                  <a:lnTo>
                    <a:pt x="160" y="512"/>
                  </a:lnTo>
                  <a:lnTo>
                    <a:pt x="160" y="513"/>
                  </a:lnTo>
                  <a:lnTo>
                    <a:pt x="160" y="517"/>
                  </a:lnTo>
                  <a:lnTo>
                    <a:pt x="160" y="519"/>
                  </a:lnTo>
                  <a:lnTo>
                    <a:pt x="160" y="519"/>
                  </a:lnTo>
                  <a:lnTo>
                    <a:pt x="162" y="521"/>
                  </a:lnTo>
                  <a:lnTo>
                    <a:pt x="164" y="519"/>
                  </a:lnTo>
                  <a:lnTo>
                    <a:pt x="164" y="519"/>
                  </a:lnTo>
                  <a:lnTo>
                    <a:pt x="166" y="519"/>
                  </a:lnTo>
                  <a:lnTo>
                    <a:pt x="166" y="517"/>
                  </a:lnTo>
                  <a:lnTo>
                    <a:pt x="164" y="513"/>
                  </a:lnTo>
                  <a:lnTo>
                    <a:pt x="164" y="513"/>
                  </a:lnTo>
                  <a:lnTo>
                    <a:pt x="166" y="512"/>
                  </a:lnTo>
                  <a:lnTo>
                    <a:pt x="166" y="512"/>
                  </a:lnTo>
                  <a:lnTo>
                    <a:pt x="166" y="510"/>
                  </a:lnTo>
                  <a:lnTo>
                    <a:pt x="166" y="510"/>
                  </a:lnTo>
                  <a:lnTo>
                    <a:pt x="168" y="508"/>
                  </a:lnTo>
                  <a:lnTo>
                    <a:pt x="168" y="508"/>
                  </a:lnTo>
                  <a:lnTo>
                    <a:pt x="170" y="508"/>
                  </a:lnTo>
                  <a:lnTo>
                    <a:pt x="170" y="510"/>
                  </a:lnTo>
                  <a:lnTo>
                    <a:pt x="172" y="510"/>
                  </a:lnTo>
                  <a:lnTo>
                    <a:pt x="172" y="512"/>
                  </a:lnTo>
                  <a:lnTo>
                    <a:pt x="172" y="513"/>
                  </a:lnTo>
                  <a:lnTo>
                    <a:pt x="172" y="513"/>
                  </a:lnTo>
                  <a:lnTo>
                    <a:pt x="170" y="515"/>
                  </a:lnTo>
                  <a:lnTo>
                    <a:pt x="170" y="517"/>
                  </a:lnTo>
                  <a:lnTo>
                    <a:pt x="170" y="517"/>
                  </a:lnTo>
                  <a:lnTo>
                    <a:pt x="170" y="517"/>
                  </a:lnTo>
                  <a:lnTo>
                    <a:pt x="172" y="517"/>
                  </a:lnTo>
                  <a:lnTo>
                    <a:pt x="172" y="517"/>
                  </a:lnTo>
                  <a:lnTo>
                    <a:pt x="174" y="517"/>
                  </a:lnTo>
                  <a:lnTo>
                    <a:pt x="174" y="517"/>
                  </a:lnTo>
                  <a:lnTo>
                    <a:pt x="174" y="517"/>
                  </a:lnTo>
                  <a:lnTo>
                    <a:pt x="175" y="517"/>
                  </a:lnTo>
                  <a:lnTo>
                    <a:pt x="175" y="519"/>
                  </a:lnTo>
                  <a:lnTo>
                    <a:pt x="175" y="519"/>
                  </a:lnTo>
                  <a:lnTo>
                    <a:pt x="175" y="523"/>
                  </a:lnTo>
                  <a:lnTo>
                    <a:pt x="174" y="523"/>
                  </a:lnTo>
                  <a:lnTo>
                    <a:pt x="174" y="527"/>
                  </a:lnTo>
                  <a:lnTo>
                    <a:pt x="172" y="527"/>
                  </a:lnTo>
                  <a:lnTo>
                    <a:pt x="172" y="529"/>
                  </a:lnTo>
                  <a:lnTo>
                    <a:pt x="174" y="531"/>
                  </a:lnTo>
                  <a:lnTo>
                    <a:pt x="174" y="531"/>
                  </a:lnTo>
                  <a:lnTo>
                    <a:pt x="172" y="532"/>
                  </a:lnTo>
                  <a:lnTo>
                    <a:pt x="172" y="532"/>
                  </a:lnTo>
                  <a:lnTo>
                    <a:pt x="172" y="532"/>
                  </a:lnTo>
                  <a:lnTo>
                    <a:pt x="170" y="534"/>
                  </a:lnTo>
                  <a:lnTo>
                    <a:pt x="168" y="536"/>
                  </a:lnTo>
                  <a:lnTo>
                    <a:pt x="168" y="536"/>
                  </a:lnTo>
                  <a:lnTo>
                    <a:pt x="166" y="538"/>
                  </a:lnTo>
                  <a:lnTo>
                    <a:pt x="166" y="540"/>
                  </a:lnTo>
                  <a:lnTo>
                    <a:pt x="166" y="542"/>
                  </a:lnTo>
                  <a:lnTo>
                    <a:pt x="166" y="544"/>
                  </a:lnTo>
                  <a:lnTo>
                    <a:pt x="166" y="544"/>
                  </a:lnTo>
                  <a:lnTo>
                    <a:pt x="168" y="546"/>
                  </a:lnTo>
                  <a:lnTo>
                    <a:pt x="168" y="544"/>
                  </a:lnTo>
                  <a:lnTo>
                    <a:pt x="170" y="544"/>
                  </a:lnTo>
                  <a:lnTo>
                    <a:pt x="172" y="542"/>
                  </a:lnTo>
                  <a:lnTo>
                    <a:pt x="172" y="540"/>
                  </a:lnTo>
                  <a:lnTo>
                    <a:pt x="174" y="540"/>
                  </a:lnTo>
                  <a:lnTo>
                    <a:pt x="174" y="540"/>
                  </a:lnTo>
                  <a:lnTo>
                    <a:pt x="175" y="540"/>
                  </a:lnTo>
                  <a:lnTo>
                    <a:pt x="175" y="540"/>
                  </a:lnTo>
                  <a:lnTo>
                    <a:pt x="177" y="538"/>
                  </a:lnTo>
                  <a:lnTo>
                    <a:pt x="177" y="538"/>
                  </a:lnTo>
                  <a:lnTo>
                    <a:pt x="177" y="536"/>
                  </a:lnTo>
                  <a:lnTo>
                    <a:pt x="177" y="534"/>
                  </a:lnTo>
                  <a:lnTo>
                    <a:pt x="177" y="534"/>
                  </a:lnTo>
                  <a:lnTo>
                    <a:pt x="177" y="534"/>
                  </a:lnTo>
                  <a:lnTo>
                    <a:pt x="179" y="534"/>
                  </a:lnTo>
                  <a:lnTo>
                    <a:pt x="179" y="534"/>
                  </a:lnTo>
                  <a:lnTo>
                    <a:pt x="181" y="534"/>
                  </a:lnTo>
                  <a:lnTo>
                    <a:pt x="181" y="534"/>
                  </a:lnTo>
                  <a:lnTo>
                    <a:pt x="181" y="534"/>
                  </a:lnTo>
                  <a:lnTo>
                    <a:pt x="181" y="536"/>
                  </a:lnTo>
                  <a:lnTo>
                    <a:pt x="183" y="536"/>
                  </a:lnTo>
                  <a:lnTo>
                    <a:pt x="183" y="536"/>
                  </a:lnTo>
                  <a:lnTo>
                    <a:pt x="183" y="536"/>
                  </a:lnTo>
                  <a:lnTo>
                    <a:pt x="183" y="536"/>
                  </a:lnTo>
                  <a:lnTo>
                    <a:pt x="179" y="540"/>
                  </a:lnTo>
                  <a:lnTo>
                    <a:pt x="179" y="540"/>
                  </a:lnTo>
                  <a:lnTo>
                    <a:pt x="179" y="542"/>
                  </a:lnTo>
                  <a:lnTo>
                    <a:pt x="179" y="544"/>
                  </a:lnTo>
                  <a:lnTo>
                    <a:pt x="179" y="544"/>
                  </a:lnTo>
                  <a:lnTo>
                    <a:pt x="179" y="544"/>
                  </a:lnTo>
                  <a:lnTo>
                    <a:pt x="181" y="546"/>
                  </a:lnTo>
                  <a:lnTo>
                    <a:pt x="181" y="544"/>
                  </a:lnTo>
                  <a:lnTo>
                    <a:pt x="183" y="544"/>
                  </a:lnTo>
                  <a:lnTo>
                    <a:pt x="187" y="542"/>
                  </a:lnTo>
                  <a:lnTo>
                    <a:pt x="187" y="542"/>
                  </a:lnTo>
                  <a:lnTo>
                    <a:pt x="189" y="542"/>
                  </a:lnTo>
                  <a:lnTo>
                    <a:pt x="189" y="544"/>
                  </a:lnTo>
                  <a:lnTo>
                    <a:pt x="189" y="548"/>
                  </a:lnTo>
                  <a:lnTo>
                    <a:pt x="189" y="548"/>
                  </a:lnTo>
                  <a:lnTo>
                    <a:pt x="191" y="548"/>
                  </a:lnTo>
                  <a:lnTo>
                    <a:pt x="191" y="548"/>
                  </a:lnTo>
                  <a:lnTo>
                    <a:pt x="193" y="548"/>
                  </a:lnTo>
                  <a:lnTo>
                    <a:pt x="193" y="546"/>
                  </a:lnTo>
                  <a:lnTo>
                    <a:pt x="193" y="546"/>
                  </a:lnTo>
                  <a:lnTo>
                    <a:pt x="194" y="544"/>
                  </a:lnTo>
                  <a:lnTo>
                    <a:pt x="194" y="544"/>
                  </a:lnTo>
                  <a:lnTo>
                    <a:pt x="196" y="544"/>
                  </a:lnTo>
                  <a:lnTo>
                    <a:pt x="198" y="546"/>
                  </a:lnTo>
                  <a:lnTo>
                    <a:pt x="198" y="546"/>
                  </a:lnTo>
                  <a:lnTo>
                    <a:pt x="200" y="544"/>
                  </a:lnTo>
                  <a:lnTo>
                    <a:pt x="200" y="544"/>
                  </a:lnTo>
                  <a:lnTo>
                    <a:pt x="202" y="546"/>
                  </a:lnTo>
                  <a:lnTo>
                    <a:pt x="204" y="546"/>
                  </a:lnTo>
                  <a:lnTo>
                    <a:pt x="204" y="546"/>
                  </a:lnTo>
                  <a:lnTo>
                    <a:pt x="206" y="546"/>
                  </a:lnTo>
                  <a:lnTo>
                    <a:pt x="206" y="544"/>
                  </a:lnTo>
                  <a:lnTo>
                    <a:pt x="206" y="544"/>
                  </a:lnTo>
                  <a:lnTo>
                    <a:pt x="206" y="542"/>
                  </a:lnTo>
                  <a:lnTo>
                    <a:pt x="202" y="534"/>
                  </a:lnTo>
                  <a:lnTo>
                    <a:pt x="202" y="532"/>
                  </a:lnTo>
                  <a:lnTo>
                    <a:pt x="202" y="532"/>
                  </a:lnTo>
                  <a:lnTo>
                    <a:pt x="202" y="531"/>
                  </a:lnTo>
                  <a:lnTo>
                    <a:pt x="204" y="529"/>
                  </a:lnTo>
                  <a:lnTo>
                    <a:pt x="206" y="525"/>
                  </a:lnTo>
                  <a:lnTo>
                    <a:pt x="208" y="525"/>
                  </a:lnTo>
                  <a:lnTo>
                    <a:pt x="208" y="525"/>
                  </a:lnTo>
                  <a:lnTo>
                    <a:pt x="208" y="527"/>
                  </a:lnTo>
                  <a:lnTo>
                    <a:pt x="208" y="527"/>
                  </a:lnTo>
                  <a:lnTo>
                    <a:pt x="208" y="529"/>
                  </a:lnTo>
                  <a:lnTo>
                    <a:pt x="206" y="532"/>
                  </a:lnTo>
                  <a:lnTo>
                    <a:pt x="206" y="532"/>
                  </a:lnTo>
                  <a:lnTo>
                    <a:pt x="206" y="532"/>
                  </a:lnTo>
                  <a:lnTo>
                    <a:pt x="206" y="534"/>
                  </a:lnTo>
                  <a:lnTo>
                    <a:pt x="206" y="534"/>
                  </a:lnTo>
                  <a:lnTo>
                    <a:pt x="206" y="536"/>
                  </a:lnTo>
                  <a:lnTo>
                    <a:pt x="206" y="538"/>
                  </a:lnTo>
                  <a:lnTo>
                    <a:pt x="208" y="538"/>
                  </a:lnTo>
                  <a:lnTo>
                    <a:pt x="208" y="538"/>
                  </a:lnTo>
                  <a:lnTo>
                    <a:pt x="208" y="538"/>
                  </a:lnTo>
                  <a:lnTo>
                    <a:pt x="210" y="538"/>
                  </a:lnTo>
                  <a:lnTo>
                    <a:pt x="210" y="536"/>
                  </a:lnTo>
                  <a:lnTo>
                    <a:pt x="210" y="536"/>
                  </a:lnTo>
                  <a:lnTo>
                    <a:pt x="210" y="536"/>
                  </a:lnTo>
                  <a:lnTo>
                    <a:pt x="210" y="534"/>
                  </a:lnTo>
                  <a:lnTo>
                    <a:pt x="212" y="534"/>
                  </a:lnTo>
                  <a:lnTo>
                    <a:pt x="214" y="534"/>
                  </a:lnTo>
                  <a:lnTo>
                    <a:pt x="214" y="534"/>
                  </a:lnTo>
                  <a:lnTo>
                    <a:pt x="214" y="534"/>
                  </a:lnTo>
                  <a:lnTo>
                    <a:pt x="215" y="534"/>
                  </a:lnTo>
                  <a:lnTo>
                    <a:pt x="215" y="534"/>
                  </a:lnTo>
                  <a:lnTo>
                    <a:pt x="217" y="532"/>
                  </a:lnTo>
                  <a:lnTo>
                    <a:pt x="217" y="532"/>
                  </a:lnTo>
                  <a:lnTo>
                    <a:pt x="219" y="532"/>
                  </a:lnTo>
                  <a:lnTo>
                    <a:pt x="219" y="532"/>
                  </a:lnTo>
                  <a:lnTo>
                    <a:pt x="219" y="534"/>
                  </a:lnTo>
                  <a:lnTo>
                    <a:pt x="217" y="536"/>
                  </a:lnTo>
                  <a:lnTo>
                    <a:pt x="215" y="540"/>
                  </a:lnTo>
                  <a:lnTo>
                    <a:pt x="214" y="544"/>
                  </a:lnTo>
                  <a:lnTo>
                    <a:pt x="212" y="544"/>
                  </a:lnTo>
                  <a:lnTo>
                    <a:pt x="210" y="548"/>
                  </a:lnTo>
                  <a:lnTo>
                    <a:pt x="210" y="548"/>
                  </a:lnTo>
                  <a:lnTo>
                    <a:pt x="210" y="548"/>
                  </a:lnTo>
                  <a:lnTo>
                    <a:pt x="210" y="550"/>
                  </a:lnTo>
                  <a:lnTo>
                    <a:pt x="210" y="551"/>
                  </a:lnTo>
                  <a:lnTo>
                    <a:pt x="210" y="553"/>
                  </a:lnTo>
                  <a:lnTo>
                    <a:pt x="210" y="553"/>
                  </a:lnTo>
                  <a:lnTo>
                    <a:pt x="210" y="555"/>
                  </a:lnTo>
                  <a:lnTo>
                    <a:pt x="210" y="555"/>
                  </a:lnTo>
                  <a:lnTo>
                    <a:pt x="212" y="555"/>
                  </a:lnTo>
                  <a:lnTo>
                    <a:pt x="215" y="555"/>
                  </a:lnTo>
                  <a:lnTo>
                    <a:pt x="215" y="553"/>
                  </a:lnTo>
                  <a:lnTo>
                    <a:pt x="215" y="553"/>
                  </a:lnTo>
                  <a:lnTo>
                    <a:pt x="215" y="551"/>
                  </a:lnTo>
                  <a:lnTo>
                    <a:pt x="215" y="550"/>
                  </a:lnTo>
                  <a:lnTo>
                    <a:pt x="215" y="550"/>
                  </a:lnTo>
                  <a:lnTo>
                    <a:pt x="215" y="548"/>
                  </a:lnTo>
                  <a:lnTo>
                    <a:pt x="215" y="548"/>
                  </a:lnTo>
                  <a:lnTo>
                    <a:pt x="217" y="548"/>
                  </a:lnTo>
                  <a:lnTo>
                    <a:pt x="219" y="548"/>
                  </a:lnTo>
                  <a:lnTo>
                    <a:pt x="219" y="550"/>
                  </a:lnTo>
                  <a:lnTo>
                    <a:pt x="219" y="550"/>
                  </a:lnTo>
                  <a:lnTo>
                    <a:pt x="219" y="550"/>
                  </a:lnTo>
                  <a:lnTo>
                    <a:pt x="219" y="551"/>
                  </a:lnTo>
                  <a:lnTo>
                    <a:pt x="221" y="551"/>
                  </a:lnTo>
                  <a:lnTo>
                    <a:pt x="221" y="551"/>
                  </a:lnTo>
                  <a:lnTo>
                    <a:pt x="221" y="551"/>
                  </a:lnTo>
                  <a:lnTo>
                    <a:pt x="223" y="551"/>
                  </a:lnTo>
                  <a:lnTo>
                    <a:pt x="225" y="551"/>
                  </a:lnTo>
                  <a:lnTo>
                    <a:pt x="225" y="550"/>
                  </a:lnTo>
                  <a:lnTo>
                    <a:pt x="225" y="550"/>
                  </a:lnTo>
                  <a:lnTo>
                    <a:pt x="227" y="546"/>
                  </a:lnTo>
                  <a:lnTo>
                    <a:pt x="227" y="546"/>
                  </a:lnTo>
                  <a:lnTo>
                    <a:pt x="229" y="544"/>
                  </a:lnTo>
                  <a:lnTo>
                    <a:pt x="229" y="544"/>
                  </a:lnTo>
                  <a:lnTo>
                    <a:pt x="231" y="544"/>
                  </a:lnTo>
                  <a:lnTo>
                    <a:pt x="231" y="544"/>
                  </a:lnTo>
                  <a:lnTo>
                    <a:pt x="233" y="546"/>
                  </a:lnTo>
                  <a:lnTo>
                    <a:pt x="236" y="546"/>
                  </a:lnTo>
                  <a:lnTo>
                    <a:pt x="238" y="548"/>
                  </a:lnTo>
                  <a:lnTo>
                    <a:pt x="240" y="548"/>
                  </a:lnTo>
                  <a:lnTo>
                    <a:pt x="246" y="548"/>
                  </a:lnTo>
                  <a:lnTo>
                    <a:pt x="250" y="546"/>
                  </a:lnTo>
                  <a:lnTo>
                    <a:pt x="250" y="548"/>
                  </a:lnTo>
                  <a:lnTo>
                    <a:pt x="250" y="548"/>
                  </a:lnTo>
                  <a:lnTo>
                    <a:pt x="250" y="548"/>
                  </a:lnTo>
                  <a:lnTo>
                    <a:pt x="252" y="550"/>
                  </a:lnTo>
                  <a:lnTo>
                    <a:pt x="252" y="550"/>
                  </a:lnTo>
                  <a:lnTo>
                    <a:pt x="254" y="550"/>
                  </a:lnTo>
                  <a:lnTo>
                    <a:pt x="255" y="548"/>
                  </a:lnTo>
                  <a:lnTo>
                    <a:pt x="257" y="548"/>
                  </a:lnTo>
                  <a:lnTo>
                    <a:pt x="257" y="548"/>
                  </a:lnTo>
                  <a:lnTo>
                    <a:pt x="259" y="548"/>
                  </a:lnTo>
                  <a:lnTo>
                    <a:pt x="259" y="546"/>
                  </a:lnTo>
                  <a:lnTo>
                    <a:pt x="259" y="546"/>
                  </a:lnTo>
                  <a:lnTo>
                    <a:pt x="257" y="544"/>
                  </a:lnTo>
                  <a:lnTo>
                    <a:pt x="257" y="542"/>
                  </a:lnTo>
                  <a:lnTo>
                    <a:pt x="255" y="542"/>
                  </a:lnTo>
                  <a:lnTo>
                    <a:pt x="255" y="542"/>
                  </a:lnTo>
                  <a:lnTo>
                    <a:pt x="255" y="540"/>
                  </a:lnTo>
                  <a:lnTo>
                    <a:pt x="255" y="540"/>
                  </a:lnTo>
                  <a:lnTo>
                    <a:pt x="255" y="540"/>
                  </a:lnTo>
                  <a:lnTo>
                    <a:pt x="255" y="538"/>
                  </a:lnTo>
                  <a:lnTo>
                    <a:pt x="255" y="538"/>
                  </a:lnTo>
                  <a:lnTo>
                    <a:pt x="257" y="538"/>
                  </a:lnTo>
                  <a:lnTo>
                    <a:pt x="259" y="536"/>
                  </a:lnTo>
                  <a:lnTo>
                    <a:pt x="261" y="536"/>
                  </a:lnTo>
                  <a:lnTo>
                    <a:pt x="263" y="536"/>
                  </a:lnTo>
                  <a:lnTo>
                    <a:pt x="265" y="534"/>
                  </a:lnTo>
                  <a:lnTo>
                    <a:pt x="269" y="532"/>
                  </a:lnTo>
                  <a:lnTo>
                    <a:pt x="271" y="531"/>
                  </a:lnTo>
                  <a:lnTo>
                    <a:pt x="273" y="529"/>
                  </a:lnTo>
                  <a:lnTo>
                    <a:pt x="278" y="525"/>
                  </a:lnTo>
                  <a:lnTo>
                    <a:pt x="280" y="527"/>
                  </a:lnTo>
                  <a:lnTo>
                    <a:pt x="282" y="527"/>
                  </a:lnTo>
                  <a:lnTo>
                    <a:pt x="282" y="527"/>
                  </a:lnTo>
                  <a:lnTo>
                    <a:pt x="282" y="527"/>
                  </a:lnTo>
                  <a:lnTo>
                    <a:pt x="286" y="523"/>
                  </a:lnTo>
                  <a:lnTo>
                    <a:pt x="288" y="523"/>
                  </a:lnTo>
                  <a:lnTo>
                    <a:pt x="288" y="523"/>
                  </a:lnTo>
                  <a:lnTo>
                    <a:pt x="288" y="521"/>
                  </a:lnTo>
                  <a:lnTo>
                    <a:pt x="288" y="521"/>
                  </a:lnTo>
                  <a:lnTo>
                    <a:pt x="290" y="521"/>
                  </a:lnTo>
                  <a:lnTo>
                    <a:pt x="290" y="521"/>
                  </a:lnTo>
                  <a:lnTo>
                    <a:pt x="292" y="521"/>
                  </a:lnTo>
                  <a:lnTo>
                    <a:pt x="292" y="521"/>
                  </a:lnTo>
                  <a:lnTo>
                    <a:pt x="292" y="521"/>
                  </a:lnTo>
                  <a:lnTo>
                    <a:pt x="294" y="521"/>
                  </a:lnTo>
                  <a:lnTo>
                    <a:pt x="295" y="521"/>
                  </a:lnTo>
                  <a:lnTo>
                    <a:pt x="295" y="521"/>
                  </a:lnTo>
                  <a:lnTo>
                    <a:pt x="297" y="521"/>
                  </a:lnTo>
                  <a:lnTo>
                    <a:pt x="297" y="521"/>
                  </a:lnTo>
                  <a:lnTo>
                    <a:pt x="299" y="523"/>
                  </a:lnTo>
                  <a:lnTo>
                    <a:pt x="299" y="525"/>
                  </a:lnTo>
                  <a:lnTo>
                    <a:pt x="299" y="525"/>
                  </a:lnTo>
                  <a:lnTo>
                    <a:pt x="299" y="529"/>
                  </a:lnTo>
                  <a:lnTo>
                    <a:pt x="301" y="532"/>
                  </a:lnTo>
                  <a:lnTo>
                    <a:pt x="301" y="532"/>
                  </a:lnTo>
                  <a:lnTo>
                    <a:pt x="301" y="534"/>
                  </a:lnTo>
                  <a:lnTo>
                    <a:pt x="303" y="534"/>
                  </a:lnTo>
                  <a:lnTo>
                    <a:pt x="303" y="534"/>
                  </a:lnTo>
                  <a:lnTo>
                    <a:pt x="305" y="536"/>
                  </a:lnTo>
                  <a:lnTo>
                    <a:pt x="305" y="536"/>
                  </a:lnTo>
                  <a:lnTo>
                    <a:pt x="305" y="538"/>
                  </a:lnTo>
                  <a:lnTo>
                    <a:pt x="305" y="538"/>
                  </a:lnTo>
                  <a:lnTo>
                    <a:pt x="305" y="538"/>
                  </a:lnTo>
                  <a:lnTo>
                    <a:pt x="307" y="538"/>
                  </a:lnTo>
                  <a:lnTo>
                    <a:pt x="307" y="538"/>
                  </a:lnTo>
                  <a:lnTo>
                    <a:pt x="307" y="538"/>
                  </a:lnTo>
                  <a:lnTo>
                    <a:pt x="307" y="538"/>
                  </a:lnTo>
                  <a:lnTo>
                    <a:pt x="309" y="538"/>
                  </a:lnTo>
                  <a:lnTo>
                    <a:pt x="309" y="538"/>
                  </a:lnTo>
                  <a:lnTo>
                    <a:pt x="309" y="540"/>
                  </a:lnTo>
                  <a:lnTo>
                    <a:pt x="309" y="542"/>
                  </a:lnTo>
                  <a:lnTo>
                    <a:pt x="309" y="542"/>
                  </a:lnTo>
                  <a:lnTo>
                    <a:pt x="309" y="544"/>
                  </a:lnTo>
                  <a:lnTo>
                    <a:pt x="311" y="544"/>
                  </a:lnTo>
                  <a:lnTo>
                    <a:pt x="311" y="544"/>
                  </a:lnTo>
                  <a:lnTo>
                    <a:pt x="309" y="544"/>
                  </a:lnTo>
                  <a:lnTo>
                    <a:pt x="309" y="546"/>
                  </a:lnTo>
                  <a:lnTo>
                    <a:pt x="309" y="546"/>
                  </a:lnTo>
                  <a:lnTo>
                    <a:pt x="307" y="546"/>
                  </a:lnTo>
                  <a:lnTo>
                    <a:pt x="305" y="548"/>
                  </a:lnTo>
                  <a:lnTo>
                    <a:pt x="305" y="548"/>
                  </a:lnTo>
                  <a:lnTo>
                    <a:pt x="305" y="548"/>
                  </a:lnTo>
                  <a:lnTo>
                    <a:pt x="303" y="548"/>
                  </a:lnTo>
                  <a:lnTo>
                    <a:pt x="303" y="548"/>
                  </a:lnTo>
                  <a:lnTo>
                    <a:pt x="303" y="550"/>
                  </a:lnTo>
                  <a:lnTo>
                    <a:pt x="303" y="550"/>
                  </a:lnTo>
                  <a:lnTo>
                    <a:pt x="301" y="551"/>
                  </a:lnTo>
                  <a:lnTo>
                    <a:pt x="299" y="553"/>
                  </a:lnTo>
                  <a:lnTo>
                    <a:pt x="299" y="553"/>
                  </a:lnTo>
                  <a:lnTo>
                    <a:pt x="297" y="553"/>
                  </a:lnTo>
                  <a:lnTo>
                    <a:pt x="297" y="553"/>
                  </a:lnTo>
                  <a:lnTo>
                    <a:pt x="295" y="553"/>
                  </a:lnTo>
                  <a:lnTo>
                    <a:pt x="295" y="553"/>
                  </a:lnTo>
                  <a:lnTo>
                    <a:pt x="295" y="553"/>
                  </a:lnTo>
                  <a:lnTo>
                    <a:pt x="295" y="553"/>
                  </a:lnTo>
                  <a:lnTo>
                    <a:pt x="295" y="555"/>
                  </a:lnTo>
                  <a:lnTo>
                    <a:pt x="295" y="555"/>
                  </a:lnTo>
                  <a:lnTo>
                    <a:pt x="295" y="559"/>
                  </a:lnTo>
                  <a:lnTo>
                    <a:pt x="295" y="559"/>
                  </a:lnTo>
                  <a:lnTo>
                    <a:pt x="297" y="561"/>
                  </a:lnTo>
                  <a:lnTo>
                    <a:pt x="297" y="561"/>
                  </a:lnTo>
                  <a:lnTo>
                    <a:pt x="299" y="561"/>
                  </a:lnTo>
                  <a:lnTo>
                    <a:pt x="301" y="561"/>
                  </a:lnTo>
                  <a:lnTo>
                    <a:pt x="303" y="561"/>
                  </a:lnTo>
                  <a:lnTo>
                    <a:pt x="305" y="561"/>
                  </a:lnTo>
                  <a:lnTo>
                    <a:pt x="305" y="561"/>
                  </a:lnTo>
                  <a:lnTo>
                    <a:pt x="307" y="561"/>
                  </a:lnTo>
                  <a:lnTo>
                    <a:pt x="307" y="561"/>
                  </a:lnTo>
                  <a:lnTo>
                    <a:pt x="307" y="561"/>
                  </a:lnTo>
                  <a:lnTo>
                    <a:pt x="309" y="561"/>
                  </a:lnTo>
                  <a:lnTo>
                    <a:pt x="309" y="561"/>
                  </a:lnTo>
                  <a:lnTo>
                    <a:pt x="309" y="559"/>
                  </a:lnTo>
                  <a:lnTo>
                    <a:pt x="309" y="557"/>
                  </a:lnTo>
                  <a:lnTo>
                    <a:pt x="309" y="557"/>
                  </a:lnTo>
                  <a:lnTo>
                    <a:pt x="309" y="557"/>
                  </a:lnTo>
                  <a:lnTo>
                    <a:pt x="309" y="555"/>
                  </a:lnTo>
                  <a:lnTo>
                    <a:pt x="309" y="557"/>
                  </a:lnTo>
                  <a:lnTo>
                    <a:pt x="311" y="557"/>
                  </a:lnTo>
                  <a:lnTo>
                    <a:pt x="313" y="561"/>
                  </a:lnTo>
                  <a:lnTo>
                    <a:pt x="313" y="561"/>
                  </a:lnTo>
                  <a:lnTo>
                    <a:pt x="313" y="561"/>
                  </a:lnTo>
                  <a:lnTo>
                    <a:pt x="315" y="561"/>
                  </a:lnTo>
                  <a:lnTo>
                    <a:pt x="315" y="561"/>
                  </a:lnTo>
                  <a:lnTo>
                    <a:pt x="318" y="559"/>
                  </a:lnTo>
                  <a:lnTo>
                    <a:pt x="318" y="557"/>
                  </a:lnTo>
                  <a:lnTo>
                    <a:pt x="318" y="557"/>
                  </a:lnTo>
                  <a:lnTo>
                    <a:pt x="318" y="557"/>
                  </a:lnTo>
                  <a:lnTo>
                    <a:pt x="315" y="555"/>
                  </a:lnTo>
                  <a:lnTo>
                    <a:pt x="315" y="555"/>
                  </a:lnTo>
                  <a:lnTo>
                    <a:pt x="315" y="555"/>
                  </a:lnTo>
                  <a:lnTo>
                    <a:pt x="313" y="553"/>
                  </a:lnTo>
                  <a:lnTo>
                    <a:pt x="313" y="553"/>
                  </a:lnTo>
                  <a:lnTo>
                    <a:pt x="313" y="551"/>
                  </a:lnTo>
                  <a:lnTo>
                    <a:pt x="313" y="551"/>
                  </a:lnTo>
                  <a:lnTo>
                    <a:pt x="313" y="551"/>
                  </a:lnTo>
                  <a:lnTo>
                    <a:pt x="313" y="551"/>
                  </a:lnTo>
                  <a:lnTo>
                    <a:pt x="315" y="551"/>
                  </a:lnTo>
                  <a:lnTo>
                    <a:pt x="316" y="551"/>
                  </a:lnTo>
                  <a:lnTo>
                    <a:pt x="318" y="551"/>
                  </a:lnTo>
                  <a:lnTo>
                    <a:pt x="320" y="551"/>
                  </a:lnTo>
                  <a:lnTo>
                    <a:pt x="320" y="551"/>
                  </a:lnTo>
                  <a:lnTo>
                    <a:pt x="322" y="551"/>
                  </a:lnTo>
                  <a:lnTo>
                    <a:pt x="322" y="551"/>
                  </a:lnTo>
                  <a:lnTo>
                    <a:pt x="322" y="551"/>
                  </a:lnTo>
                  <a:lnTo>
                    <a:pt x="322" y="550"/>
                  </a:lnTo>
                  <a:lnTo>
                    <a:pt x="322" y="550"/>
                  </a:lnTo>
                  <a:lnTo>
                    <a:pt x="322" y="548"/>
                  </a:lnTo>
                  <a:lnTo>
                    <a:pt x="322" y="548"/>
                  </a:lnTo>
                  <a:lnTo>
                    <a:pt x="322" y="548"/>
                  </a:lnTo>
                  <a:lnTo>
                    <a:pt x="322" y="548"/>
                  </a:lnTo>
                  <a:lnTo>
                    <a:pt x="324" y="548"/>
                  </a:lnTo>
                  <a:lnTo>
                    <a:pt x="324" y="548"/>
                  </a:lnTo>
                  <a:lnTo>
                    <a:pt x="324" y="548"/>
                  </a:lnTo>
                  <a:lnTo>
                    <a:pt x="326" y="550"/>
                  </a:lnTo>
                  <a:lnTo>
                    <a:pt x="326" y="551"/>
                  </a:lnTo>
                  <a:lnTo>
                    <a:pt x="326" y="551"/>
                  </a:lnTo>
                  <a:lnTo>
                    <a:pt x="330" y="555"/>
                  </a:lnTo>
                  <a:lnTo>
                    <a:pt x="330" y="555"/>
                  </a:lnTo>
                  <a:lnTo>
                    <a:pt x="330" y="555"/>
                  </a:lnTo>
                  <a:lnTo>
                    <a:pt x="332" y="555"/>
                  </a:lnTo>
                  <a:lnTo>
                    <a:pt x="334" y="555"/>
                  </a:lnTo>
                  <a:lnTo>
                    <a:pt x="334" y="555"/>
                  </a:lnTo>
                  <a:lnTo>
                    <a:pt x="335" y="555"/>
                  </a:lnTo>
                  <a:lnTo>
                    <a:pt x="337" y="553"/>
                  </a:lnTo>
                  <a:lnTo>
                    <a:pt x="337" y="553"/>
                  </a:lnTo>
                  <a:lnTo>
                    <a:pt x="337" y="553"/>
                  </a:lnTo>
                  <a:lnTo>
                    <a:pt x="337" y="551"/>
                  </a:lnTo>
                  <a:lnTo>
                    <a:pt x="337" y="551"/>
                  </a:lnTo>
                  <a:lnTo>
                    <a:pt x="334" y="548"/>
                  </a:lnTo>
                  <a:lnTo>
                    <a:pt x="332" y="548"/>
                  </a:lnTo>
                  <a:lnTo>
                    <a:pt x="332" y="548"/>
                  </a:lnTo>
                  <a:lnTo>
                    <a:pt x="332" y="548"/>
                  </a:lnTo>
                  <a:lnTo>
                    <a:pt x="334" y="548"/>
                  </a:lnTo>
                  <a:lnTo>
                    <a:pt x="334" y="548"/>
                  </a:lnTo>
                  <a:lnTo>
                    <a:pt x="334" y="548"/>
                  </a:lnTo>
                  <a:lnTo>
                    <a:pt x="341" y="546"/>
                  </a:lnTo>
                  <a:lnTo>
                    <a:pt x="341" y="546"/>
                  </a:lnTo>
                  <a:lnTo>
                    <a:pt x="343" y="546"/>
                  </a:lnTo>
                  <a:lnTo>
                    <a:pt x="343" y="546"/>
                  </a:lnTo>
                  <a:lnTo>
                    <a:pt x="343" y="546"/>
                  </a:lnTo>
                  <a:lnTo>
                    <a:pt x="345" y="542"/>
                  </a:lnTo>
                  <a:lnTo>
                    <a:pt x="345" y="542"/>
                  </a:lnTo>
                  <a:lnTo>
                    <a:pt x="345" y="542"/>
                  </a:lnTo>
                  <a:lnTo>
                    <a:pt x="345" y="542"/>
                  </a:lnTo>
                  <a:lnTo>
                    <a:pt x="345" y="542"/>
                  </a:lnTo>
                  <a:lnTo>
                    <a:pt x="345" y="540"/>
                  </a:lnTo>
                  <a:lnTo>
                    <a:pt x="347" y="540"/>
                  </a:lnTo>
                  <a:lnTo>
                    <a:pt x="347" y="540"/>
                  </a:lnTo>
                  <a:lnTo>
                    <a:pt x="349" y="540"/>
                  </a:lnTo>
                  <a:lnTo>
                    <a:pt x="349" y="540"/>
                  </a:lnTo>
                  <a:lnTo>
                    <a:pt x="349" y="540"/>
                  </a:lnTo>
                  <a:lnTo>
                    <a:pt x="351" y="542"/>
                  </a:lnTo>
                  <a:lnTo>
                    <a:pt x="351" y="542"/>
                  </a:lnTo>
                  <a:lnTo>
                    <a:pt x="351" y="544"/>
                  </a:lnTo>
                  <a:lnTo>
                    <a:pt x="347" y="550"/>
                  </a:lnTo>
                  <a:lnTo>
                    <a:pt x="347" y="551"/>
                  </a:lnTo>
                  <a:lnTo>
                    <a:pt x="347" y="553"/>
                  </a:lnTo>
                  <a:lnTo>
                    <a:pt x="347" y="553"/>
                  </a:lnTo>
                  <a:lnTo>
                    <a:pt x="345" y="555"/>
                  </a:lnTo>
                  <a:lnTo>
                    <a:pt x="345" y="555"/>
                  </a:lnTo>
                  <a:lnTo>
                    <a:pt x="345" y="557"/>
                  </a:lnTo>
                  <a:lnTo>
                    <a:pt x="345" y="557"/>
                  </a:lnTo>
                  <a:lnTo>
                    <a:pt x="343" y="557"/>
                  </a:lnTo>
                  <a:lnTo>
                    <a:pt x="343" y="559"/>
                  </a:lnTo>
                  <a:lnTo>
                    <a:pt x="343" y="559"/>
                  </a:lnTo>
                  <a:lnTo>
                    <a:pt x="343" y="561"/>
                  </a:lnTo>
                  <a:lnTo>
                    <a:pt x="343" y="561"/>
                  </a:lnTo>
                  <a:lnTo>
                    <a:pt x="343" y="561"/>
                  </a:lnTo>
                  <a:lnTo>
                    <a:pt x="341" y="563"/>
                  </a:lnTo>
                  <a:lnTo>
                    <a:pt x="341" y="563"/>
                  </a:lnTo>
                  <a:lnTo>
                    <a:pt x="341" y="563"/>
                  </a:lnTo>
                  <a:lnTo>
                    <a:pt x="341" y="565"/>
                  </a:lnTo>
                  <a:lnTo>
                    <a:pt x="341" y="565"/>
                  </a:lnTo>
                  <a:lnTo>
                    <a:pt x="343" y="565"/>
                  </a:lnTo>
                  <a:lnTo>
                    <a:pt x="345" y="567"/>
                  </a:lnTo>
                  <a:lnTo>
                    <a:pt x="347" y="565"/>
                  </a:lnTo>
                  <a:lnTo>
                    <a:pt x="349" y="565"/>
                  </a:lnTo>
                  <a:lnTo>
                    <a:pt x="353" y="565"/>
                  </a:lnTo>
                  <a:lnTo>
                    <a:pt x="355" y="565"/>
                  </a:lnTo>
                  <a:lnTo>
                    <a:pt x="355" y="565"/>
                  </a:lnTo>
                  <a:lnTo>
                    <a:pt x="355" y="565"/>
                  </a:lnTo>
                  <a:lnTo>
                    <a:pt x="356" y="567"/>
                  </a:lnTo>
                  <a:lnTo>
                    <a:pt x="356" y="567"/>
                  </a:lnTo>
                  <a:lnTo>
                    <a:pt x="358" y="567"/>
                  </a:lnTo>
                  <a:lnTo>
                    <a:pt x="360" y="567"/>
                  </a:lnTo>
                  <a:lnTo>
                    <a:pt x="360" y="567"/>
                  </a:lnTo>
                  <a:lnTo>
                    <a:pt x="362" y="567"/>
                  </a:lnTo>
                  <a:lnTo>
                    <a:pt x="364" y="567"/>
                  </a:lnTo>
                  <a:lnTo>
                    <a:pt x="364" y="567"/>
                  </a:lnTo>
                  <a:lnTo>
                    <a:pt x="366" y="567"/>
                  </a:lnTo>
                  <a:lnTo>
                    <a:pt x="370" y="571"/>
                  </a:lnTo>
                  <a:lnTo>
                    <a:pt x="372" y="572"/>
                  </a:lnTo>
                  <a:lnTo>
                    <a:pt x="376" y="569"/>
                  </a:lnTo>
                  <a:lnTo>
                    <a:pt x="376" y="569"/>
                  </a:lnTo>
                  <a:lnTo>
                    <a:pt x="376" y="569"/>
                  </a:lnTo>
                  <a:lnTo>
                    <a:pt x="377" y="567"/>
                  </a:lnTo>
                  <a:lnTo>
                    <a:pt x="379" y="567"/>
                  </a:lnTo>
                  <a:lnTo>
                    <a:pt x="379" y="567"/>
                  </a:lnTo>
                  <a:lnTo>
                    <a:pt x="379" y="567"/>
                  </a:lnTo>
                  <a:lnTo>
                    <a:pt x="379" y="567"/>
                  </a:lnTo>
                  <a:lnTo>
                    <a:pt x="379" y="565"/>
                  </a:lnTo>
                  <a:lnTo>
                    <a:pt x="379" y="565"/>
                  </a:lnTo>
                  <a:lnTo>
                    <a:pt x="379" y="565"/>
                  </a:lnTo>
                  <a:lnTo>
                    <a:pt x="379" y="563"/>
                  </a:lnTo>
                  <a:lnTo>
                    <a:pt x="379" y="563"/>
                  </a:lnTo>
                  <a:lnTo>
                    <a:pt x="379" y="563"/>
                  </a:lnTo>
                  <a:lnTo>
                    <a:pt x="379" y="563"/>
                  </a:lnTo>
                  <a:lnTo>
                    <a:pt x="379" y="561"/>
                  </a:lnTo>
                  <a:lnTo>
                    <a:pt x="379" y="561"/>
                  </a:lnTo>
                  <a:lnTo>
                    <a:pt x="379" y="561"/>
                  </a:lnTo>
                  <a:lnTo>
                    <a:pt x="383" y="557"/>
                  </a:lnTo>
                  <a:lnTo>
                    <a:pt x="383" y="555"/>
                  </a:lnTo>
                  <a:lnTo>
                    <a:pt x="385" y="553"/>
                  </a:lnTo>
                  <a:lnTo>
                    <a:pt x="385" y="553"/>
                  </a:lnTo>
                  <a:lnTo>
                    <a:pt x="385" y="551"/>
                  </a:lnTo>
                  <a:lnTo>
                    <a:pt x="385" y="551"/>
                  </a:lnTo>
                  <a:lnTo>
                    <a:pt x="385" y="550"/>
                  </a:lnTo>
                  <a:lnTo>
                    <a:pt x="385" y="546"/>
                  </a:lnTo>
                  <a:lnTo>
                    <a:pt x="385" y="546"/>
                  </a:lnTo>
                  <a:lnTo>
                    <a:pt x="385" y="546"/>
                  </a:lnTo>
                  <a:lnTo>
                    <a:pt x="387" y="546"/>
                  </a:lnTo>
                  <a:lnTo>
                    <a:pt x="389" y="546"/>
                  </a:lnTo>
                  <a:lnTo>
                    <a:pt x="389" y="546"/>
                  </a:lnTo>
                  <a:lnTo>
                    <a:pt x="391" y="546"/>
                  </a:lnTo>
                  <a:lnTo>
                    <a:pt x="393" y="546"/>
                  </a:lnTo>
                  <a:lnTo>
                    <a:pt x="393" y="546"/>
                  </a:lnTo>
                  <a:lnTo>
                    <a:pt x="395" y="546"/>
                  </a:lnTo>
                  <a:lnTo>
                    <a:pt x="396" y="546"/>
                  </a:lnTo>
                  <a:lnTo>
                    <a:pt x="396" y="548"/>
                  </a:lnTo>
                  <a:lnTo>
                    <a:pt x="396" y="548"/>
                  </a:lnTo>
                  <a:lnTo>
                    <a:pt x="398" y="548"/>
                  </a:lnTo>
                  <a:lnTo>
                    <a:pt x="396" y="548"/>
                  </a:lnTo>
                  <a:lnTo>
                    <a:pt x="396" y="550"/>
                  </a:lnTo>
                  <a:lnTo>
                    <a:pt x="396" y="550"/>
                  </a:lnTo>
                  <a:lnTo>
                    <a:pt x="396" y="551"/>
                  </a:lnTo>
                  <a:lnTo>
                    <a:pt x="396" y="551"/>
                  </a:lnTo>
                  <a:lnTo>
                    <a:pt x="398" y="551"/>
                  </a:lnTo>
                  <a:lnTo>
                    <a:pt x="398" y="551"/>
                  </a:lnTo>
                  <a:lnTo>
                    <a:pt x="402" y="551"/>
                  </a:lnTo>
                  <a:lnTo>
                    <a:pt x="404" y="551"/>
                  </a:lnTo>
                  <a:lnTo>
                    <a:pt x="406" y="551"/>
                  </a:lnTo>
                  <a:lnTo>
                    <a:pt x="406" y="551"/>
                  </a:lnTo>
                  <a:lnTo>
                    <a:pt x="406" y="550"/>
                  </a:lnTo>
                  <a:lnTo>
                    <a:pt x="406" y="550"/>
                  </a:lnTo>
                  <a:lnTo>
                    <a:pt x="406" y="548"/>
                  </a:lnTo>
                  <a:lnTo>
                    <a:pt x="404" y="546"/>
                  </a:lnTo>
                  <a:lnTo>
                    <a:pt x="402" y="546"/>
                  </a:lnTo>
                  <a:lnTo>
                    <a:pt x="402" y="546"/>
                  </a:lnTo>
                  <a:lnTo>
                    <a:pt x="404" y="546"/>
                  </a:lnTo>
                  <a:lnTo>
                    <a:pt x="414" y="542"/>
                  </a:lnTo>
                  <a:lnTo>
                    <a:pt x="416" y="546"/>
                  </a:lnTo>
                  <a:lnTo>
                    <a:pt x="416" y="548"/>
                  </a:lnTo>
                  <a:lnTo>
                    <a:pt x="416" y="550"/>
                  </a:lnTo>
                  <a:lnTo>
                    <a:pt x="416" y="550"/>
                  </a:lnTo>
                  <a:lnTo>
                    <a:pt x="417" y="551"/>
                  </a:lnTo>
                  <a:lnTo>
                    <a:pt x="417" y="551"/>
                  </a:lnTo>
                  <a:lnTo>
                    <a:pt x="417" y="551"/>
                  </a:lnTo>
                  <a:lnTo>
                    <a:pt x="416" y="551"/>
                  </a:lnTo>
                  <a:lnTo>
                    <a:pt x="416" y="553"/>
                  </a:lnTo>
                  <a:lnTo>
                    <a:pt x="416" y="553"/>
                  </a:lnTo>
                  <a:lnTo>
                    <a:pt x="417" y="553"/>
                  </a:lnTo>
                  <a:lnTo>
                    <a:pt x="417" y="555"/>
                  </a:lnTo>
                  <a:lnTo>
                    <a:pt x="419" y="555"/>
                  </a:lnTo>
                  <a:lnTo>
                    <a:pt x="421" y="555"/>
                  </a:lnTo>
                  <a:lnTo>
                    <a:pt x="425" y="555"/>
                  </a:lnTo>
                  <a:lnTo>
                    <a:pt x="429" y="555"/>
                  </a:lnTo>
                  <a:lnTo>
                    <a:pt x="429" y="557"/>
                  </a:lnTo>
                  <a:lnTo>
                    <a:pt x="429" y="557"/>
                  </a:lnTo>
                  <a:lnTo>
                    <a:pt x="429" y="559"/>
                  </a:lnTo>
                  <a:lnTo>
                    <a:pt x="431" y="559"/>
                  </a:lnTo>
                  <a:lnTo>
                    <a:pt x="431" y="561"/>
                  </a:lnTo>
                  <a:lnTo>
                    <a:pt x="433" y="561"/>
                  </a:lnTo>
                  <a:lnTo>
                    <a:pt x="435" y="561"/>
                  </a:lnTo>
                  <a:lnTo>
                    <a:pt x="435" y="561"/>
                  </a:lnTo>
                  <a:lnTo>
                    <a:pt x="436" y="559"/>
                  </a:lnTo>
                  <a:lnTo>
                    <a:pt x="436" y="559"/>
                  </a:lnTo>
                  <a:lnTo>
                    <a:pt x="438" y="559"/>
                  </a:lnTo>
                  <a:lnTo>
                    <a:pt x="438" y="559"/>
                  </a:lnTo>
                  <a:lnTo>
                    <a:pt x="440" y="559"/>
                  </a:lnTo>
                  <a:lnTo>
                    <a:pt x="440" y="559"/>
                  </a:lnTo>
                  <a:lnTo>
                    <a:pt x="442" y="561"/>
                  </a:lnTo>
                  <a:lnTo>
                    <a:pt x="442" y="563"/>
                  </a:lnTo>
                  <a:lnTo>
                    <a:pt x="442" y="563"/>
                  </a:lnTo>
                  <a:lnTo>
                    <a:pt x="442" y="563"/>
                  </a:lnTo>
                  <a:lnTo>
                    <a:pt x="444" y="565"/>
                  </a:lnTo>
                  <a:lnTo>
                    <a:pt x="444" y="565"/>
                  </a:lnTo>
                  <a:lnTo>
                    <a:pt x="444" y="567"/>
                  </a:lnTo>
                  <a:lnTo>
                    <a:pt x="444" y="567"/>
                  </a:lnTo>
                  <a:lnTo>
                    <a:pt x="444" y="569"/>
                  </a:lnTo>
                  <a:lnTo>
                    <a:pt x="444" y="569"/>
                  </a:lnTo>
                  <a:lnTo>
                    <a:pt x="444" y="569"/>
                  </a:lnTo>
                  <a:lnTo>
                    <a:pt x="444" y="571"/>
                  </a:lnTo>
                  <a:lnTo>
                    <a:pt x="444" y="571"/>
                  </a:lnTo>
                  <a:lnTo>
                    <a:pt x="452" y="576"/>
                  </a:lnTo>
                  <a:lnTo>
                    <a:pt x="452" y="576"/>
                  </a:lnTo>
                  <a:lnTo>
                    <a:pt x="454" y="576"/>
                  </a:lnTo>
                  <a:lnTo>
                    <a:pt x="456" y="576"/>
                  </a:lnTo>
                  <a:lnTo>
                    <a:pt x="457" y="576"/>
                  </a:lnTo>
                  <a:lnTo>
                    <a:pt x="459" y="576"/>
                  </a:lnTo>
                  <a:lnTo>
                    <a:pt x="461" y="578"/>
                  </a:lnTo>
                  <a:lnTo>
                    <a:pt x="465" y="582"/>
                  </a:lnTo>
                  <a:lnTo>
                    <a:pt x="467" y="582"/>
                  </a:lnTo>
                  <a:lnTo>
                    <a:pt x="467" y="582"/>
                  </a:lnTo>
                  <a:lnTo>
                    <a:pt x="467" y="582"/>
                  </a:lnTo>
                  <a:lnTo>
                    <a:pt x="469" y="582"/>
                  </a:lnTo>
                  <a:lnTo>
                    <a:pt x="469" y="582"/>
                  </a:lnTo>
                  <a:lnTo>
                    <a:pt x="469" y="582"/>
                  </a:lnTo>
                  <a:lnTo>
                    <a:pt x="473" y="578"/>
                  </a:lnTo>
                  <a:lnTo>
                    <a:pt x="475" y="578"/>
                  </a:lnTo>
                  <a:lnTo>
                    <a:pt x="475" y="578"/>
                  </a:lnTo>
                  <a:lnTo>
                    <a:pt x="475" y="578"/>
                  </a:lnTo>
                  <a:lnTo>
                    <a:pt x="475" y="580"/>
                  </a:lnTo>
                  <a:lnTo>
                    <a:pt x="475" y="580"/>
                  </a:lnTo>
                  <a:lnTo>
                    <a:pt x="475" y="582"/>
                  </a:lnTo>
                  <a:lnTo>
                    <a:pt x="475" y="584"/>
                  </a:lnTo>
                  <a:lnTo>
                    <a:pt x="475" y="584"/>
                  </a:lnTo>
                  <a:lnTo>
                    <a:pt x="475" y="586"/>
                  </a:lnTo>
                  <a:lnTo>
                    <a:pt x="475" y="586"/>
                  </a:lnTo>
                  <a:lnTo>
                    <a:pt x="475" y="586"/>
                  </a:lnTo>
                  <a:lnTo>
                    <a:pt x="476" y="588"/>
                  </a:lnTo>
                  <a:lnTo>
                    <a:pt x="476" y="588"/>
                  </a:lnTo>
                  <a:lnTo>
                    <a:pt x="476" y="588"/>
                  </a:lnTo>
                  <a:lnTo>
                    <a:pt x="478" y="586"/>
                  </a:lnTo>
                  <a:lnTo>
                    <a:pt x="478" y="586"/>
                  </a:lnTo>
                  <a:lnTo>
                    <a:pt x="478" y="584"/>
                  </a:lnTo>
                  <a:lnTo>
                    <a:pt x="478" y="584"/>
                  </a:lnTo>
                  <a:lnTo>
                    <a:pt x="478" y="584"/>
                  </a:lnTo>
                  <a:lnTo>
                    <a:pt x="480" y="584"/>
                  </a:lnTo>
                  <a:lnTo>
                    <a:pt x="480" y="584"/>
                  </a:lnTo>
                  <a:lnTo>
                    <a:pt x="480" y="586"/>
                  </a:lnTo>
                  <a:lnTo>
                    <a:pt x="480" y="591"/>
                  </a:lnTo>
                  <a:lnTo>
                    <a:pt x="480" y="591"/>
                  </a:lnTo>
                  <a:lnTo>
                    <a:pt x="480" y="591"/>
                  </a:lnTo>
                  <a:lnTo>
                    <a:pt x="480" y="593"/>
                  </a:lnTo>
                  <a:lnTo>
                    <a:pt x="482" y="593"/>
                  </a:lnTo>
                  <a:lnTo>
                    <a:pt x="482" y="593"/>
                  </a:lnTo>
                  <a:lnTo>
                    <a:pt x="482" y="591"/>
                  </a:lnTo>
                  <a:lnTo>
                    <a:pt x="482" y="591"/>
                  </a:lnTo>
                  <a:lnTo>
                    <a:pt x="484" y="591"/>
                  </a:lnTo>
                  <a:lnTo>
                    <a:pt x="484" y="593"/>
                  </a:lnTo>
                  <a:lnTo>
                    <a:pt x="484" y="593"/>
                  </a:lnTo>
                  <a:lnTo>
                    <a:pt x="486" y="593"/>
                  </a:lnTo>
                  <a:lnTo>
                    <a:pt x="486" y="595"/>
                  </a:lnTo>
                  <a:lnTo>
                    <a:pt x="484" y="599"/>
                  </a:lnTo>
                  <a:lnTo>
                    <a:pt x="484" y="599"/>
                  </a:lnTo>
                  <a:lnTo>
                    <a:pt x="484" y="599"/>
                  </a:lnTo>
                  <a:lnTo>
                    <a:pt x="488" y="599"/>
                  </a:lnTo>
                  <a:lnTo>
                    <a:pt x="492" y="599"/>
                  </a:lnTo>
                  <a:lnTo>
                    <a:pt x="494" y="599"/>
                  </a:lnTo>
                  <a:lnTo>
                    <a:pt x="494" y="599"/>
                  </a:lnTo>
                  <a:lnTo>
                    <a:pt x="496" y="597"/>
                  </a:lnTo>
                  <a:lnTo>
                    <a:pt x="496" y="597"/>
                  </a:lnTo>
                  <a:lnTo>
                    <a:pt x="496" y="595"/>
                  </a:lnTo>
                  <a:lnTo>
                    <a:pt x="494" y="593"/>
                  </a:lnTo>
                  <a:lnTo>
                    <a:pt x="494" y="593"/>
                  </a:lnTo>
                  <a:lnTo>
                    <a:pt x="496" y="591"/>
                  </a:lnTo>
                  <a:lnTo>
                    <a:pt x="496" y="591"/>
                  </a:lnTo>
                  <a:lnTo>
                    <a:pt x="496" y="591"/>
                  </a:lnTo>
                  <a:lnTo>
                    <a:pt x="497" y="591"/>
                  </a:lnTo>
                  <a:lnTo>
                    <a:pt x="507" y="593"/>
                  </a:lnTo>
                  <a:lnTo>
                    <a:pt x="511" y="595"/>
                  </a:lnTo>
                  <a:lnTo>
                    <a:pt x="513" y="593"/>
                  </a:lnTo>
                  <a:lnTo>
                    <a:pt x="513" y="593"/>
                  </a:lnTo>
                  <a:lnTo>
                    <a:pt x="520" y="591"/>
                  </a:lnTo>
                  <a:lnTo>
                    <a:pt x="520" y="591"/>
                  </a:lnTo>
                  <a:lnTo>
                    <a:pt x="520" y="591"/>
                  </a:lnTo>
                  <a:lnTo>
                    <a:pt x="522" y="591"/>
                  </a:lnTo>
                  <a:lnTo>
                    <a:pt x="522" y="591"/>
                  </a:lnTo>
                  <a:lnTo>
                    <a:pt x="522" y="595"/>
                  </a:lnTo>
                  <a:lnTo>
                    <a:pt x="522" y="595"/>
                  </a:lnTo>
                  <a:lnTo>
                    <a:pt x="522" y="595"/>
                  </a:lnTo>
                  <a:lnTo>
                    <a:pt x="522" y="595"/>
                  </a:lnTo>
                  <a:lnTo>
                    <a:pt x="526" y="595"/>
                  </a:lnTo>
                  <a:lnTo>
                    <a:pt x="526" y="597"/>
                  </a:lnTo>
                  <a:lnTo>
                    <a:pt x="528" y="597"/>
                  </a:lnTo>
                  <a:lnTo>
                    <a:pt x="528" y="597"/>
                  </a:lnTo>
                  <a:lnTo>
                    <a:pt x="528" y="601"/>
                  </a:lnTo>
                  <a:lnTo>
                    <a:pt x="528" y="601"/>
                  </a:lnTo>
                  <a:lnTo>
                    <a:pt x="530" y="603"/>
                  </a:lnTo>
                  <a:lnTo>
                    <a:pt x="530" y="603"/>
                  </a:lnTo>
                  <a:lnTo>
                    <a:pt x="532" y="605"/>
                  </a:lnTo>
                  <a:lnTo>
                    <a:pt x="532" y="605"/>
                  </a:lnTo>
                  <a:lnTo>
                    <a:pt x="530" y="607"/>
                  </a:lnTo>
                  <a:lnTo>
                    <a:pt x="530" y="607"/>
                  </a:lnTo>
                  <a:lnTo>
                    <a:pt x="528" y="607"/>
                  </a:lnTo>
                  <a:lnTo>
                    <a:pt x="526" y="607"/>
                  </a:lnTo>
                  <a:lnTo>
                    <a:pt x="524" y="607"/>
                  </a:lnTo>
                  <a:lnTo>
                    <a:pt x="524" y="607"/>
                  </a:lnTo>
                  <a:lnTo>
                    <a:pt x="524" y="607"/>
                  </a:lnTo>
                  <a:lnTo>
                    <a:pt x="524" y="609"/>
                  </a:lnTo>
                  <a:lnTo>
                    <a:pt x="524" y="609"/>
                  </a:lnTo>
                  <a:lnTo>
                    <a:pt x="524" y="610"/>
                  </a:lnTo>
                  <a:lnTo>
                    <a:pt x="524" y="612"/>
                  </a:lnTo>
                  <a:lnTo>
                    <a:pt x="524" y="614"/>
                  </a:lnTo>
                  <a:lnTo>
                    <a:pt x="522" y="620"/>
                  </a:lnTo>
                  <a:lnTo>
                    <a:pt x="522" y="620"/>
                  </a:lnTo>
                  <a:lnTo>
                    <a:pt x="524" y="622"/>
                  </a:lnTo>
                  <a:lnTo>
                    <a:pt x="524" y="622"/>
                  </a:lnTo>
                  <a:lnTo>
                    <a:pt x="526" y="622"/>
                  </a:lnTo>
                  <a:lnTo>
                    <a:pt x="526" y="624"/>
                  </a:lnTo>
                  <a:lnTo>
                    <a:pt x="526" y="626"/>
                  </a:lnTo>
                  <a:lnTo>
                    <a:pt x="526" y="631"/>
                  </a:lnTo>
                  <a:lnTo>
                    <a:pt x="526" y="631"/>
                  </a:lnTo>
                  <a:lnTo>
                    <a:pt x="526" y="633"/>
                  </a:lnTo>
                  <a:lnTo>
                    <a:pt x="524" y="635"/>
                  </a:lnTo>
                  <a:lnTo>
                    <a:pt x="522" y="643"/>
                  </a:lnTo>
                  <a:lnTo>
                    <a:pt x="522" y="643"/>
                  </a:lnTo>
                  <a:lnTo>
                    <a:pt x="520" y="645"/>
                  </a:lnTo>
                  <a:lnTo>
                    <a:pt x="518" y="645"/>
                  </a:lnTo>
                  <a:lnTo>
                    <a:pt x="518" y="645"/>
                  </a:lnTo>
                  <a:lnTo>
                    <a:pt x="518" y="645"/>
                  </a:lnTo>
                  <a:lnTo>
                    <a:pt x="518" y="647"/>
                  </a:lnTo>
                  <a:lnTo>
                    <a:pt x="518" y="647"/>
                  </a:lnTo>
                  <a:lnTo>
                    <a:pt x="518" y="648"/>
                  </a:lnTo>
                  <a:lnTo>
                    <a:pt x="520" y="650"/>
                  </a:lnTo>
                  <a:lnTo>
                    <a:pt x="522" y="650"/>
                  </a:lnTo>
                  <a:lnTo>
                    <a:pt x="522" y="652"/>
                  </a:lnTo>
                  <a:lnTo>
                    <a:pt x="524" y="652"/>
                  </a:lnTo>
                  <a:lnTo>
                    <a:pt x="524" y="652"/>
                  </a:lnTo>
                  <a:lnTo>
                    <a:pt x="524" y="654"/>
                  </a:lnTo>
                  <a:lnTo>
                    <a:pt x="524" y="656"/>
                  </a:lnTo>
                  <a:lnTo>
                    <a:pt x="522" y="656"/>
                  </a:lnTo>
                  <a:lnTo>
                    <a:pt x="524" y="658"/>
                  </a:lnTo>
                  <a:lnTo>
                    <a:pt x="524" y="658"/>
                  </a:lnTo>
                  <a:lnTo>
                    <a:pt x="524" y="658"/>
                  </a:lnTo>
                  <a:lnTo>
                    <a:pt x="526" y="660"/>
                  </a:lnTo>
                  <a:lnTo>
                    <a:pt x="530" y="664"/>
                  </a:lnTo>
                  <a:lnTo>
                    <a:pt x="534" y="666"/>
                  </a:lnTo>
                  <a:lnTo>
                    <a:pt x="537" y="669"/>
                  </a:lnTo>
                  <a:lnTo>
                    <a:pt x="539" y="671"/>
                  </a:lnTo>
                  <a:lnTo>
                    <a:pt x="541" y="671"/>
                  </a:lnTo>
                  <a:lnTo>
                    <a:pt x="545" y="673"/>
                  </a:lnTo>
                  <a:lnTo>
                    <a:pt x="545" y="673"/>
                  </a:lnTo>
                  <a:lnTo>
                    <a:pt x="549" y="671"/>
                  </a:lnTo>
                  <a:lnTo>
                    <a:pt x="551" y="673"/>
                  </a:lnTo>
                  <a:lnTo>
                    <a:pt x="557" y="673"/>
                  </a:lnTo>
                  <a:lnTo>
                    <a:pt x="557" y="673"/>
                  </a:lnTo>
                  <a:lnTo>
                    <a:pt x="558" y="673"/>
                  </a:lnTo>
                  <a:lnTo>
                    <a:pt x="560" y="671"/>
                  </a:lnTo>
                  <a:lnTo>
                    <a:pt x="562" y="671"/>
                  </a:lnTo>
                  <a:lnTo>
                    <a:pt x="564" y="669"/>
                  </a:lnTo>
                  <a:lnTo>
                    <a:pt x="566" y="669"/>
                  </a:lnTo>
                  <a:lnTo>
                    <a:pt x="568" y="669"/>
                  </a:lnTo>
                  <a:lnTo>
                    <a:pt x="568" y="669"/>
                  </a:lnTo>
                  <a:lnTo>
                    <a:pt x="568" y="668"/>
                  </a:lnTo>
                  <a:lnTo>
                    <a:pt x="570" y="664"/>
                  </a:lnTo>
                  <a:lnTo>
                    <a:pt x="572" y="664"/>
                  </a:lnTo>
                  <a:lnTo>
                    <a:pt x="572" y="664"/>
                  </a:lnTo>
                  <a:lnTo>
                    <a:pt x="572" y="660"/>
                  </a:lnTo>
                  <a:lnTo>
                    <a:pt x="572" y="660"/>
                  </a:lnTo>
                  <a:lnTo>
                    <a:pt x="572" y="658"/>
                  </a:lnTo>
                  <a:lnTo>
                    <a:pt x="576" y="656"/>
                  </a:lnTo>
                  <a:lnTo>
                    <a:pt x="576" y="656"/>
                  </a:lnTo>
                  <a:lnTo>
                    <a:pt x="577" y="654"/>
                  </a:lnTo>
                  <a:lnTo>
                    <a:pt x="577" y="650"/>
                  </a:lnTo>
                  <a:lnTo>
                    <a:pt x="579" y="650"/>
                  </a:lnTo>
                  <a:lnTo>
                    <a:pt x="581" y="645"/>
                  </a:lnTo>
                  <a:lnTo>
                    <a:pt x="581" y="643"/>
                  </a:lnTo>
                  <a:lnTo>
                    <a:pt x="583" y="641"/>
                  </a:lnTo>
                  <a:lnTo>
                    <a:pt x="585" y="637"/>
                  </a:lnTo>
                  <a:lnTo>
                    <a:pt x="585" y="637"/>
                  </a:lnTo>
                  <a:lnTo>
                    <a:pt x="587" y="635"/>
                  </a:lnTo>
                  <a:lnTo>
                    <a:pt x="587" y="635"/>
                  </a:lnTo>
                  <a:lnTo>
                    <a:pt x="587" y="633"/>
                  </a:lnTo>
                  <a:lnTo>
                    <a:pt x="587" y="633"/>
                  </a:lnTo>
                  <a:lnTo>
                    <a:pt x="587" y="631"/>
                  </a:lnTo>
                  <a:lnTo>
                    <a:pt x="589" y="629"/>
                  </a:lnTo>
                  <a:lnTo>
                    <a:pt x="589" y="628"/>
                  </a:lnTo>
                  <a:lnTo>
                    <a:pt x="589" y="628"/>
                  </a:lnTo>
                  <a:lnTo>
                    <a:pt x="589" y="626"/>
                  </a:lnTo>
                  <a:lnTo>
                    <a:pt x="589" y="626"/>
                  </a:lnTo>
                  <a:lnTo>
                    <a:pt x="589" y="624"/>
                  </a:lnTo>
                  <a:lnTo>
                    <a:pt x="587" y="622"/>
                  </a:lnTo>
                  <a:lnTo>
                    <a:pt x="587" y="622"/>
                  </a:lnTo>
                  <a:lnTo>
                    <a:pt x="585" y="620"/>
                  </a:lnTo>
                  <a:lnTo>
                    <a:pt x="585" y="618"/>
                  </a:lnTo>
                  <a:lnTo>
                    <a:pt x="585" y="616"/>
                  </a:lnTo>
                  <a:lnTo>
                    <a:pt x="585" y="616"/>
                  </a:lnTo>
                  <a:lnTo>
                    <a:pt x="585" y="616"/>
                  </a:lnTo>
                  <a:lnTo>
                    <a:pt x="585" y="614"/>
                  </a:lnTo>
                  <a:lnTo>
                    <a:pt x="585" y="614"/>
                  </a:lnTo>
                  <a:lnTo>
                    <a:pt x="585" y="614"/>
                  </a:lnTo>
                  <a:lnTo>
                    <a:pt x="585" y="612"/>
                  </a:lnTo>
                  <a:lnTo>
                    <a:pt x="587" y="612"/>
                  </a:lnTo>
                  <a:lnTo>
                    <a:pt x="589" y="610"/>
                  </a:lnTo>
                  <a:lnTo>
                    <a:pt x="597" y="610"/>
                  </a:lnTo>
                  <a:lnTo>
                    <a:pt x="597" y="607"/>
                  </a:lnTo>
                  <a:lnTo>
                    <a:pt x="597" y="605"/>
                  </a:lnTo>
                  <a:lnTo>
                    <a:pt x="597" y="601"/>
                  </a:lnTo>
                  <a:lnTo>
                    <a:pt x="597" y="601"/>
                  </a:lnTo>
                  <a:lnTo>
                    <a:pt x="597" y="599"/>
                  </a:lnTo>
                  <a:lnTo>
                    <a:pt x="595" y="597"/>
                  </a:lnTo>
                  <a:lnTo>
                    <a:pt x="595" y="597"/>
                  </a:lnTo>
                  <a:lnTo>
                    <a:pt x="595" y="595"/>
                  </a:lnTo>
                  <a:lnTo>
                    <a:pt x="597" y="593"/>
                  </a:lnTo>
                  <a:lnTo>
                    <a:pt x="597" y="591"/>
                  </a:lnTo>
                  <a:lnTo>
                    <a:pt x="597" y="590"/>
                  </a:lnTo>
                  <a:lnTo>
                    <a:pt x="597" y="588"/>
                  </a:lnTo>
                  <a:lnTo>
                    <a:pt x="597" y="588"/>
                  </a:lnTo>
                  <a:lnTo>
                    <a:pt x="595" y="588"/>
                  </a:lnTo>
                  <a:lnTo>
                    <a:pt x="591" y="586"/>
                  </a:lnTo>
                  <a:lnTo>
                    <a:pt x="591" y="586"/>
                  </a:lnTo>
                  <a:lnTo>
                    <a:pt x="589" y="584"/>
                  </a:lnTo>
                  <a:lnTo>
                    <a:pt x="587" y="584"/>
                  </a:lnTo>
                  <a:lnTo>
                    <a:pt x="587" y="582"/>
                  </a:lnTo>
                  <a:lnTo>
                    <a:pt x="585" y="580"/>
                  </a:lnTo>
                  <a:lnTo>
                    <a:pt x="585" y="580"/>
                  </a:lnTo>
                  <a:lnTo>
                    <a:pt x="583" y="578"/>
                  </a:lnTo>
                  <a:lnTo>
                    <a:pt x="583" y="578"/>
                  </a:lnTo>
                  <a:lnTo>
                    <a:pt x="581" y="576"/>
                  </a:lnTo>
                  <a:lnTo>
                    <a:pt x="581" y="576"/>
                  </a:lnTo>
                  <a:lnTo>
                    <a:pt x="581" y="574"/>
                  </a:lnTo>
                  <a:lnTo>
                    <a:pt x="581" y="572"/>
                  </a:lnTo>
                  <a:lnTo>
                    <a:pt x="581" y="572"/>
                  </a:lnTo>
                  <a:lnTo>
                    <a:pt x="581" y="571"/>
                  </a:lnTo>
                  <a:lnTo>
                    <a:pt x="581" y="571"/>
                  </a:lnTo>
                  <a:lnTo>
                    <a:pt x="581" y="567"/>
                  </a:lnTo>
                  <a:lnTo>
                    <a:pt x="581" y="563"/>
                  </a:lnTo>
                  <a:lnTo>
                    <a:pt x="581" y="563"/>
                  </a:lnTo>
                  <a:lnTo>
                    <a:pt x="581" y="561"/>
                  </a:lnTo>
                  <a:lnTo>
                    <a:pt x="579" y="559"/>
                  </a:lnTo>
                  <a:lnTo>
                    <a:pt x="577" y="557"/>
                  </a:lnTo>
                  <a:lnTo>
                    <a:pt x="577" y="555"/>
                  </a:lnTo>
                  <a:lnTo>
                    <a:pt x="577" y="555"/>
                  </a:lnTo>
                  <a:lnTo>
                    <a:pt x="577" y="553"/>
                  </a:lnTo>
                  <a:lnTo>
                    <a:pt x="577" y="548"/>
                  </a:lnTo>
                  <a:lnTo>
                    <a:pt x="579" y="546"/>
                  </a:lnTo>
                  <a:lnTo>
                    <a:pt x="579" y="544"/>
                  </a:lnTo>
                  <a:lnTo>
                    <a:pt x="579" y="544"/>
                  </a:lnTo>
                  <a:lnTo>
                    <a:pt x="579" y="542"/>
                  </a:lnTo>
                  <a:lnTo>
                    <a:pt x="581" y="540"/>
                  </a:lnTo>
                  <a:lnTo>
                    <a:pt x="581" y="540"/>
                  </a:lnTo>
                  <a:lnTo>
                    <a:pt x="583" y="538"/>
                  </a:lnTo>
                  <a:lnTo>
                    <a:pt x="587" y="536"/>
                  </a:lnTo>
                  <a:lnTo>
                    <a:pt x="591" y="534"/>
                  </a:lnTo>
                  <a:lnTo>
                    <a:pt x="593" y="534"/>
                  </a:lnTo>
                  <a:lnTo>
                    <a:pt x="595" y="531"/>
                  </a:lnTo>
                  <a:lnTo>
                    <a:pt x="597" y="531"/>
                  </a:lnTo>
                  <a:lnTo>
                    <a:pt x="610" y="523"/>
                  </a:lnTo>
                  <a:lnTo>
                    <a:pt x="619" y="517"/>
                  </a:lnTo>
                  <a:lnTo>
                    <a:pt x="621" y="515"/>
                  </a:lnTo>
                  <a:lnTo>
                    <a:pt x="621" y="513"/>
                  </a:lnTo>
                  <a:lnTo>
                    <a:pt x="623" y="513"/>
                  </a:lnTo>
                  <a:lnTo>
                    <a:pt x="623" y="513"/>
                  </a:lnTo>
                  <a:lnTo>
                    <a:pt x="627" y="512"/>
                  </a:lnTo>
                  <a:lnTo>
                    <a:pt x="629" y="510"/>
                  </a:lnTo>
                  <a:lnTo>
                    <a:pt x="631" y="508"/>
                  </a:lnTo>
                  <a:lnTo>
                    <a:pt x="631" y="508"/>
                  </a:lnTo>
                  <a:lnTo>
                    <a:pt x="633" y="506"/>
                  </a:lnTo>
                  <a:lnTo>
                    <a:pt x="638" y="502"/>
                  </a:lnTo>
                  <a:lnTo>
                    <a:pt x="640" y="500"/>
                  </a:lnTo>
                  <a:lnTo>
                    <a:pt x="646" y="494"/>
                  </a:lnTo>
                  <a:lnTo>
                    <a:pt x="654" y="487"/>
                  </a:lnTo>
                  <a:lnTo>
                    <a:pt x="658" y="487"/>
                  </a:lnTo>
                  <a:lnTo>
                    <a:pt x="659" y="489"/>
                  </a:lnTo>
                  <a:lnTo>
                    <a:pt x="659" y="489"/>
                  </a:lnTo>
                  <a:lnTo>
                    <a:pt x="659" y="491"/>
                  </a:lnTo>
                  <a:lnTo>
                    <a:pt x="659" y="491"/>
                  </a:lnTo>
                  <a:lnTo>
                    <a:pt x="659" y="493"/>
                  </a:lnTo>
                  <a:lnTo>
                    <a:pt x="659" y="493"/>
                  </a:lnTo>
                  <a:lnTo>
                    <a:pt x="659" y="493"/>
                  </a:lnTo>
                  <a:lnTo>
                    <a:pt x="659" y="494"/>
                  </a:lnTo>
                  <a:lnTo>
                    <a:pt x="659" y="494"/>
                  </a:lnTo>
                  <a:lnTo>
                    <a:pt x="661" y="494"/>
                  </a:lnTo>
                  <a:lnTo>
                    <a:pt x="661" y="494"/>
                  </a:lnTo>
                  <a:lnTo>
                    <a:pt x="661" y="496"/>
                  </a:lnTo>
                  <a:lnTo>
                    <a:pt x="661" y="496"/>
                  </a:lnTo>
                  <a:lnTo>
                    <a:pt x="661" y="496"/>
                  </a:lnTo>
                  <a:lnTo>
                    <a:pt x="663" y="496"/>
                  </a:lnTo>
                  <a:lnTo>
                    <a:pt x="663" y="496"/>
                  </a:lnTo>
                  <a:lnTo>
                    <a:pt x="663" y="496"/>
                  </a:lnTo>
                  <a:lnTo>
                    <a:pt x="665" y="496"/>
                  </a:lnTo>
                  <a:lnTo>
                    <a:pt x="667" y="496"/>
                  </a:lnTo>
                  <a:lnTo>
                    <a:pt x="669" y="496"/>
                  </a:lnTo>
                  <a:lnTo>
                    <a:pt x="669" y="496"/>
                  </a:lnTo>
                  <a:lnTo>
                    <a:pt x="671" y="496"/>
                  </a:lnTo>
                  <a:lnTo>
                    <a:pt x="671" y="494"/>
                  </a:lnTo>
                  <a:lnTo>
                    <a:pt x="671" y="494"/>
                  </a:lnTo>
                  <a:lnTo>
                    <a:pt x="671" y="494"/>
                  </a:lnTo>
                  <a:lnTo>
                    <a:pt x="671" y="493"/>
                  </a:lnTo>
                  <a:lnTo>
                    <a:pt x="671" y="493"/>
                  </a:lnTo>
                  <a:lnTo>
                    <a:pt x="671" y="493"/>
                  </a:lnTo>
                  <a:lnTo>
                    <a:pt x="669" y="489"/>
                  </a:lnTo>
                  <a:lnTo>
                    <a:pt x="669" y="487"/>
                  </a:lnTo>
                  <a:lnTo>
                    <a:pt x="671" y="487"/>
                  </a:lnTo>
                  <a:lnTo>
                    <a:pt x="671" y="485"/>
                  </a:lnTo>
                  <a:lnTo>
                    <a:pt x="673" y="485"/>
                  </a:lnTo>
                  <a:lnTo>
                    <a:pt x="675" y="485"/>
                  </a:lnTo>
                  <a:lnTo>
                    <a:pt x="677" y="485"/>
                  </a:lnTo>
                  <a:lnTo>
                    <a:pt x="678" y="489"/>
                  </a:lnTo>
                  <a:lnTo>
                    <a:pt x="680" y="489"/>
                  </a:lnTo>
                  <a:lnTo>
                    <a:pt x="682" y="491"/>
                  </a:lnTo>
                  <a:lnTo>
                    <a:pt x="684" y="491"/>
                  </a:lnTo>
                  <a:lnTo>
                    <a:pt x="684" y="491"/>
                  </a:lnTo>
                  <a:lnTo>
                    <a:pt x="686" y="491"/>
                  </a:lnTo>
                  <a:lnTo>
                    <a:pt x="688" y="491"/>
                  </a:lnTo>
                  <a:lnTo>
                    <a:pt x="690" y="491"/>
                  </a:lnTo>
                  <a:lnTo>
                    <a:pt x="690" y="491"/>
                  </a:lnTo>
                  <a:lnTo>
                    <a:pt x="694" y="487"/>
                  </a:lnTo>
                  <a:lnTo>
                    <a:pt x="696" y="487"/>
                  </a:lnTo>
                  <a:lnTo>
                    <a:pt x="696" y="487"/>
                  </a:lnTo>
                  <a:lnTo>
                    <a:pt x="696" y="485"/>
                  </a:lnTo>
                  <a:lnTo>
                    <a:pt x="696" y="483"/>
                  </a:lnTo>
                  <a:lnTo>
                    <a:pt x="698" y="48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0" name="Freeform 12">
              <a:extLst>
                <a:ext uri="{FF2B5EF4-FFF2-40B4-BE49-F238E27FC236}">
                  <a16:creationId xmlns:a16="http://schemas.microsoft.com/office/drawing/2014/main" id="{1A3EA0C9-9B15-98D8-808E-BC76E32D14B1}"/>
                </a:ext>
              </a:extLst>
            </p:cNvPr>
            <p:cNvSpPr>
              <a:spLocks/>
            </p:cNvSpPr>
            <p:nvPr/>
          </p:nvSpPr>
          <p:spPr bwMode="auto">
            <a:xfrm>
              <a:off x="7145338" y="3536163"/>
              <a:ext cx="177800" cy="255588"/>
            </a:xfrm>
            <a:custGeom>
              <a:avLst/>
              <a:gdLst>
                <a:gd name="T0" fmla="*/ 112 w 112"/>
                <a:gd name="T1" fmla="*/ 55 h 161"/>
                <a:gd name="T2" fmla="*/ 110 w 112"/>
                <a:gd name="T3" fmla="*/ 51 h 161"/>
                <a:gd name="T4" fmla="*/ 110 w 112"/>
                <a:gd name="T5" fmla="*/ 36 h 161"/>
                <a:gd name="T6" fmla="*/ 108 w 112"/>
                <a:gd name="T7" fmla="*/ 32 h 161"/>
                <a:gd name="T8" fmla="*/ 105 w 112"/>
                <a:gd name="T9" fmla="*/ 20 h 161"/>
                <a:gd name="T10" fmla="*/ 103 w 112"/>
                <a:gd name="T11" fmla="*/ 11 h 161"/>
                <a:gd name="T12" fmla="*/ 103 w 112"/>
                <a:gd name="T13" fmla="*/ 5 h 161"/>
                <a:gd name="T14" fmla="*/ 91 w 112"/>
                <a:gd name="T15" fmla="*/ 1 h 161"/>
                <a:gd name="T16" fmla="*/ 89 w 112"/>
                <a:gd name="T17" fmla="*/ 17 h 161"/>
                <a:gd name="T18" fmla="*/ 78 w 112"/>
                <a:gd name="T19" fmla="*/ 22 h 161"/>
                <a:gd name="T20" fmla="*/ 72 w 112"/>
                <a:gd name="T21" fmla="*/ 20 h 161"/>
                <a:gd name="T22" fmla="*/ 70 w 112"/>
                <a:gd name="T23" fmla="*/ 39 h 161"/>
                <a:gd name="T24" fmla="*/ 63 w 112"/>
                <a:gd name="T25" fmla="*/ 34 h 161"/>
                <a:gd name="T26" fmla="*/ 55 w 112"/>
                <a:gd name="T27" fmla="*/ 34 h 161"/>
                <a:gd name="T28" fmla="*/ 51 w 112"/>
                <a:gd name="T29" fmla="*/ 39 h 161"/>
                <a:gd name="T30" fmla="*/ 46 w 112"/>
                <a:gd name="T31" fmla="*/ 34 h 161"/>
                <a:gd name="T32" fmla="*/ 40 w 112"/>
                <a:gd name="T33" fmla="*/ 45 h 161"/>
                <a:gd name="T34" fmla="*/ 21 w 112"/>
                <a:gd name="T35" fmla="*/ 47 h 161"/>
                <a:gd name="T36" fmla="*/ 17 w 112"/>
                <a:gd name="T37" fmla="*/ 55 h 161"/>
                <a:gd name="T38" fmla="*/ 11 w 112"/>
                <a:gd name="T39" fmla="*/ 59 h 161"/>
                <a:gd name="T40" fmla="*/ 9 w 112"/>
                <a:gd name="T41" fmla="*/ 70 h 161"/>
                <a:gd name="T42" fmla="*/ 4 w 112"/>
                <a:gd name="T43" fmla="*/ 81 h 161"/>
                <a:gd name="T44" fmla="*/ 4 w 112"/>
                <a:gd name="T45" fmla="*/ 87 h 161"/>
                <a:gd name="T46" fmla="*/ 2 w 112"/>
                <a:gd name="T47" fmla="*/ 93 h 161"/>
                <a:gd name="T48" fmla="*/ 6 w 112"/>
                <a:gd name="T49" fmla="*/ 106 h 161"/>
                <a:gd name="T50" fmla="*/ 9 w 112"/>
                <a:gd name="T51" fmla="*/ 112 h 161"/>
                <a:gd name="T52" fmla="*/ 15 w 112"/>
                <a:gd name="T53" fmla="*/ 119 h 161"/>
                <a:gd name="T54" fmla="*/ 13 w 112"/>
                <a:gd name="T55" fmla="*/ 123 h 161"/>
                <a:gd name="T56" fmla="*/ 23 w 112"/>
                <a:gd name="T57" fmla="*/ 150 h 161"/>
                <a:gd name="T58" fmla="*/ 23 w 112"/>
                <a:gd name="T59" fmla="*/ 129 h 161"/>
                <a:gd name="T60" fmla="*/ 28 w 112"/>
                <a:gd name="T61" fmla="*/ 135 h 161"/>
                <a:gd name="T62" fmla="*/ 30 w 112"/>
                <a:gd name="T63" fmla="*/ 135 h 161"/>
                <a:gd name="T64" fmla="*/ 32 w 112"/>
                <a:gd name="T65" fmla="*/ 140 h 161"/>
                <a:gd name="T66" fmla="*/ 36 w 112"/>
                <a:gd name="T67" fmla="*/ 152 h 161"/>
                <a:gd name="T68" fmla="*/ 40 w 112"/>
                <a:gd name="T69" fmla="*/ 157 h 161"/>
                <a:gd name="T70" fmla="*/ 44 w 112"/>
                <a:gd name="T71" fmla="*/ 159 h 161"/>
                <a:gd name="T72" fmla="*/ 47 w 112"/>
                <a:gd name="T73" fmla="*/ 157 h 161"/>
                <a:gd name="T74" fmla="*/ 53 w 112"/>
                <a:gd name="T75" fmla="*/ 157 h 161"/>
                <a:gd name="T76" fmla="*/ 59 w 112"/>
                <a:gd name="T77" fmla="*/ 150 h 161"/>
                <a:gd name="T78" fmla="*/ 59 w 112"/>
                <a:gd name="T79" fmla="*/ 148 h 161"/>
                <a:gd name="T80" fmla="*/ 61 w 112"/>
                <a:gd name="T81" fmla="*/ 146 h 161"/>
                <a:gd name="T82" fmla="*/ 59 w 112"/>
                <a:gd name="T83" fmla="*/ 123 h 161"/>
                <a:gd name="T84" fmla="*/ 72 w 112"/>
                <a:gd name="T85" fmla="*/ 110 h 161"/>
                <a:gd name="T86" fmla="*/ 72 w 112"/>
                <a:gd name="T87" fmla="*/ 87 h 161"/>
                <a:gd name="T88" fmla="*/ 78 w 112"/>
                <a:gd name="T89" fmla="*/ 85 h 161"/>
                <a:gd name="T90" fmla="*/ 89 w 112"/>
                <a:gd name="T91" fmla="*/ 85 h 161"/>
                <a:gd name="T92" fmla="*/ 99 w 112"/>
                <a:gd name="T93" fmla="*/ 91 h 161"/>
                <a:gd name="T94" fmla="*/ 105 w 112"/>
                <a:gd name="T95" fmla="*/ 85 h 161"/>
                <a:gd name="T96" fmla="*/ 107 w 112"/>
                <a:gd name="T97" fmla="*/ 74 h 161"/>
                <a:gd name="T98" fmla="*/ 107 w 112"/>
                <a:gd name="T99" fmla="*/ 70 h 161"/>
                <a:gd name="T100" fmla="*/ 108 w 112"/>
                <a:gd name="T101" fmla="*/ 70 h 161"/>
                <a:gd name="T102" fmla="*/ 110 w 112"/>
                <a:gd name="T103" fmla="*/ 70 h 161"/>
                <a:gd name="T104" fmla="*/ 110 w 112"/>
                <a:gd name="T105" fmla="*/ 68 h 161"/>
                <a:gd name="T106" fmla="*/ 110 w 112"/>
                <a:gd name="T107" fmla="*/ 6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1">
                  <a:moveTo>
                    <a:pt x="110" y="60"/>
                  </a:moveTo>
                  <a:lnTo>
                    <a:pt x="110" y="60"/>
                  </a:lnTo>
                  <a:lnTo>
                    <a:pt x="110" y="57"/>
                  </a:lnTo>
                  <a:lnTo>
                    <a:pt x="112" y="55"/>
                  </a:lnTo>
                  <a:lnTo>
                    <a:pt x="112" y="55"/>
                  </a:lnTo>
                  <a:lnTo>
                    <a:pt x="110" y="55"/>
                  </a:lnTo>
                  <a:lnTo>
                    <a:pt x="110" y="53"/>
                  </a:lnTo>
                  <a:lnTo>
                    <a:pt x="110" y="53"/>
                  </a:lnTo>
                  <a:lnTo>
                    <a:pt x="110" y="53"/>
                  </a:lnTo>
                  <a:lnTo>
                    <a:pt x="110" y="51"/>
                  </a:lnTo>
                  <a:lnTo>
                    <a:pt x="110" y="49"/>
                  </a:lnTo>
                  <a:lnTo>
                    <a:pt x="110" y="45"/>
                  </a:lnTo>
                  <a:lnTo>
                    <a:pt x="110" y="45"/>
                  </a:lnTo>
                  <a:lnTo>
                    <a:pt x="110" y="36"/>
                  </a:lnTo>
                  <a:lnTo>
                    <a:pt x="110" y="36"/>
                  </a:lnTo>
                  <a:lnTo>
                    <a:pt x="110" y="34"/>
                  </a:lnTo>
                  <a:lnTo>
                    <a:pt x="110" y="34"/>
                  </a:lnTo>
                  <a:lnTo>
                    <a:pt x="110" y="34"/>
                  </a:lnTo>
                  <a:lnTo>
                    <a:pt x="108" y="34"/>
                  </a:lnTo>
                  <a:lnTo>
                    <a:pt x="108" y="32"/>
                  </a:lnTo>
                  <a:lnTo>
                    <a:pt x="108" y="30"/>
                  </a:lnTo>
                  <a:lnTo>
                    <a:pt x="103" y="30"/>
                  </a:lnTo>
                  <a:lnTo>
                    <a:pt x="101" y="30"/>
                  </a:lnTo>
                  <a:lnTo>
                    <a:pt x="101" y="28"/>
                  </a:lnTo>
                  <a:lnTo>
                    <a:pt x="105" y="20"/>
                  </a:lnTo>
                  <a:lnTo>
                    <a:pt x="105" y="19"/>
                  </a:lnTo>
                  <a:lnTo>
                    <a:pt x="105" y="19"/>
                  </a:lnTo>
                  <a:lnTo>
                    <a:pt x="105" y="17"/>
                  </a:lnTo>
                  <a:lnTo>
                    <a:pt x="105" y="15"/>
                  </a:lnTo>
                  <a:lnTo>
                    <a:pt x="103" y="11"/>
                  </a:lnTo>
                  <a:lnTo>
                    <a:pt x="103" y="11"/>
                  </a:lnTo>
                  <a:lnTo>
                    <a:pt x="103" y="9"/>
                  </a:lnTo>
                  <a:lnTo>
                    <a:pt x="103" y="7"/>
                  </a:lnTo>
                  <a:lnTo>
                    <a:pt x="103" y="5"/>
                  </a:lnTo>
                  <a:lnTo>
                    <a:pt x="103" y="5"/>
                  </a:lnTo>
                  <a:lnTo>
                    <a:pt x="101" y="5"/>
                  </a:lnTo>
                  <a:lnTo>
                    <a:pt x="95" y="0"/>
                  </a:lnTo>
                  <a:lnTo>
                    <a:pt x="95" y="0"/>
                  </a:lnTo>
                  <a:lnTo>
                    <a:pt x="93" y="1"/>
                  </a:lnTo>
                  <a:lnTo>
                    <a:pt x="91" y="1"/>
                  </a:lnTo>
                  <a:lnTo>
                    <a:pt x="91" y="3"/>
                  </a:lnTo>
                  <a:lnTo>
                    <a:pt x="91" y="5"/>
                  </a:lnTo>
                  <a:lnTo>
                    <a:pt x="91" y="11"/>
                  </a:lnTo>
                  <a:lnTo>
                    <a:pt x="91" y="15"/>
                  </a:lnTo>
                  <a:lnTo>
                    <a:pt x="89" y="17"/>
                  </a:lnTo>
                  <a:lnTo>
                    <a:pt x="87" y="17"/>
                  </a:lnTo>
                  <a:lnTo>
                    <a:pt x="84" y="19"/>
                  </a:lnTo>
                  <a:lnTo>
                    <a:pt x="76" y="17"/>
                  </a:lnTo>
                  <a:lnTo>
                    <a:pt x="76" y="19"/>
                  </a:lnTo>
                  <a:lnTo>
                    <a:pt x="78" y="22"/>
                  </a:lnTo>
                  <a:lnTo>
                    <a:pt x="78" y="22"/>
                  </a:lnTo>
                  <a:lnTo>
                    <a:pt x="76" y="22"/>
                  </a:lnTo>
                  <a:lnTo>
                    <a:pt x="74" y="20"/>
                  </a:lnTo>
                  <a:lnTo>
                    <a:pt x="74" y="20"/>
                  </a:lnTo>
                  <a:lnTo>
                    <a:pt x="72" y="20"/>
                  </a:lnTo>
                  <a:lnTo>
                    <a:pt x="70" y="22"/>
                  </a:lnTo>
                  <a:lnTo>
                    <a:pt x="72" y="26"/>
                  </a:lnTo>
                  <a:lnTo>
                    <a:pt x="72" y="28"/>
                  </a:lnTo>
                  <a:lnTo>
                    <a:pt x="70" y="38"/>
                  </a:lnTo>
                  <a:lnTo>
                    <a:pt x="70" y="39"/>
                  </a:lnTo>
                  <a:lnTo>
                    <a:pt x="68" y="39"/>
                  </a:lnTo>
                  <a:lnTo>
                    <a:pt x="66" y="39"/>
                  </a:lnTo>
                  <a:lnTo>
                    <a:pt x="63" y="36"/>
                  </a:lnTo>
                  <a:lnTo>
                    <a:pt x="63" y="36"/>
                  </a:lnTo>
                  <a:lnTo>
                    <a:pt x="63" y="34"/>
                  </a:lnTo>
                  <a:lnTo>
                    <a:pt x="63" y="32"/>
                  </a:lnTo>
                  <a:lnTo>
                    <a:pt x="63" y="32"/>
                  </a:lnTo>
                  <a:lnTo>
                    <a:pt x="57" y="32"/>
                  </a:lnTo>
                  <a:lnTo>
                    <a:pt x="55" y="32"/>
                  </a:lnTo>
                  <a:lnTo>
                    <a:pt x="55" y="34"/>
                  </a:lnTo>
                  <a:lnTo>
                    <a:pt x="55" y="36"/>
                  </a:lnTo>
                  <a:lnTo>
                    <a:pt x="57" y="38"/>
                  </a:lnTo>
                  <a:lnTo>
                    <a:pt x="55" y="39"/>
                  </a:lnTo>
                  <a:lnTo>
                    <a:pt x="53" y="41"/>
                  </a:lnTo>
                  <a:lnTo>
                    <a:pt x="51" y="39"/>
                  </a:lnTo>
                  <a:lnTo>
                    <a:pt x="49" y="39"/>
                  </a:lnTo>
                  <a:lnTo>
                    <a:pt x="49" y="38"/>
                  </a:lnTo>
                  <a:lnTo>
                    <a:pt x="47" y="34"/>
                  </a:lnTo>
                  <a:lnTo>
                    <a:pt x="46" y="34"/>
                  </a:lnTo>
                  <a:lnTo>
                    <a:pt x="46" y="34"/>
                  </a:lnTo>
                  <a:lnTo>
                    <a:pt x="46" y="41"/>
                  </a:lnTo>
                  <a:lnTo>
                    <a:pt x="44" y="43"/>
                  </a:lnTo>
                  <a:lnTo>
                    <a:pt x="44" y="45"/>
                  </a:lnTo>
                  <a:lnTo>
                    <a:pt x="42" y="45"/>
                  </a:lnTo>
                  <a:lnTo>
                    <a:pt x="40" y="45"/>
                  </a:lnTo>
                  <a:lnTo>
                    <a:pt x="36" y="47"/>
                  </a:lnTo>
                  <a:lnTo>
                    <a:pt x="32" y="45"/>
                  </a:lnTo>
                  <a:lnTo>
                    <a:pt x="26" y="45"/>
                  </a:lnTo>
                  <a:lnTo>
                    <a:pt x="23" y="45"/>
                  </a:lnTo>
                  <a:lnTo>
                    <a:pt x="21" y="47"/>
                  </a:lnTo>
                  <a:lnTo>
                    <a:pt x="21" y="51"/>
                  </a:lnTo>
                  <a:lnTo>
                    <a:pt x="19" y="55"/>
                  </a:lnTo>
                  <a:lnTo>
                    <a:pt x="19" y="57"/>
                  </a:lnTo>
                  <a:lnTo>
                    <a:pt x="17" y="57"/>
                  </a:lnTo>
                  <a:lnTo>
                    <a:pt x="17" y="55"/>
                  </a:lnTo>
                  <a:lnTo>
                    <a:pt x="17" y="55"/>
                  </a:lnTo>
                  <a:lnTo>
                    <a:pt x="15" y="55"/>
                  </a:lnTo>
                  <a:lnTo>
                    <a:pt x="13" y="57"/>
                  </a:lnTo>
                  <a:lnTo>
                    <a:pt x="13" y="57"/>
                  </a:lnTo>
                  <a:lnTo>
                    <a:pt x="11" y="59"/>
                  </a:lnTo>
                  <a:lnTo>
                    <a:pt x="7" y="64"/>
                  </a:lnTo>
                  <a:lnTo>
                    <a:pt x="7" y="66"/>
                  </a:lnTo>
                  <a:lnTo>
                    <a:pt x="7" y="66"/>
                  </a:lnTo>
                  <a:lnTo>
                    <a:pt x="9" y="70"/>
                  </a:lnTo>
                  <a:lnTo>
                    <a:pt x="9" y="70"/>
                  </a:lnTo>
                  <a:lnTo>
                    <a:pt x="9" y="72"/>
                  </a:lnTo>
                  <a:lnTo>
                    <a:pt x="7" y="78"/>
                  </a:lnTo>
                  <a:lnTo>
                    <a:pt x="6" y="79"/>
                  </a:lnTo>
                  <a:lnTo>
                    <a:pt x="6" y="81"/>
                  </a:lnTo>
                  <a:lnTo>
                    <a:pt x="4" y="81"/>
                  </a:lnTo>
                  <a:lnTo>
                    <a:pt x="2" y="81"/>
                  </a:lnTo>
                  <a:lnTo>
                    <a:pt x="0" y="83"/>
                  </a:lnTo>
                  <a:lnTo>
                    <a:pt x="2" y="85"/>
                  </a:lnTo>
                  <a:lnTo>
                    <a:pt x="2" y="85"/>
                  </a:lnTo>
                  <a:lnTo>
                    <a:pt x="4" y="87"/>
                  </a:lnTo>
                  <a:lnTo>
                    <a:pt x="6" y="89"/>
                  </a:lnTo>
                  <a:lnTo>
                    <a:pt x="4" y="89"/>
                  </a:lnTo>
                  <a:lnTo>
                    <a:pt x="2" y="89"/>
                  </a:lnTo>
                  <a:lnTo>
                    <a:pt x="2" y="89"/>
                  </a:lnTo>
                  <a:lnTo>
                    <a:pt x="2" y="93"/>
                  </a:lnTo>
                  <a:lnTo>
                    <a:pt x="2" y="95"/>
                  </a:lnTo>
                  <a:lnTo>
                    <a:pt x="4" y="98"/>
                  </a:lnTo>
                  <a:lnTo>
                    <a:pt x="6" y="100"/>
                  </a:lnTo>
                  <a:lnTo>
                    <a:pt x="6" y="104"/>
                  </a:lnTo>
                  <a:lnTo>
                    <a:pt x="6" y="106"/>
                  </a:lnTo>
                  <a:lnTo>
                    <a:pt x="7" y="106"/>
                  </a:lnTo>
                  <a:lnTo>
                    <a:pt x="9" y="108"/>
                  </a:lnTo>
                  <a:lnTo>
                    <a:pt x="9" y="108"/>
                  </a:lnTo>
                  <a:lnTo>
                    <a:pt x="9" y="110"/>
                  </a:lnTo>
                  <a:lnTo>
                    <a:pt x="9" y="112"/>
                  </a:lnTo>
                  <a:lnTo>
                    <a:pt x="11" y="116"/>
                  </a:lnTo>
                  <a:lnTo>
                    <a:pt x="13" y="117"/>
                  </a:lnTo>
                  <a:lnTo>
                    <a:pt x="13" y="119"/>
                  </a:lnTo>
                  <a:lnTo>
                    <a:pt x="15" y="119"/>
                  </a:lnTo>
                  <a:lnTo>
                    <a:pt x="15" y="119"/>
                  </a:lnTo>
                  <a:lnTo>
                    <a:pt x="15" y="121"/>
                  </a:lnTo>
                  <a:lnTo>
                    <a:pt x="13" y="121"/>
                  </a:lnTo>
                  <a:lnTo>
                    <a:pt x="13" y="123"/>
                  </a:lnTo>
                  <a:lnTo>
                    <a:pt x="13" y="123"/>
                  </a:lnTo>
                  <a:lnTo>
                    <a:pt x="13" y="123"/>
                  </a:lnTo>
                  <a:lnTo>
                    <a:pt x="13" y="125"/>
                  </a:lnTo>
                  <a:lnTo>
                    <a:pt x="17" y="140"/>
                  </a:lnTo>
                  <a:lnTo>
                    <a:pt x="17" y="146"/>
                  </a:lnTo>
                  <a:lnTo>
                    <a:pt x="19" y="148"/>
                  </a:lnTo>
                  <a:lnTo>
                    <a:pt x="23" y="150"/>
                  </a:lnTo>
                  <a:lnTo>
                    <a:pt x="23" y="146"/>
                  </a:lnTo>
                  <a:lnTo>
                    <a:pt x="21" y="136"/>
                  </a:lnTo>
                  <a:lnTo>
                    <a:pt x="21" y="133"/>
                  </a:lnTo>
                  <a:lnTo>
                    <a:pt x="23" y="131"/>
                  </a:lnTo>
                  <a:lnTo>
                    <a:pt x="23" y="129"/>
                  </a:lnTo>
                  <a:lnTo>
                    <a:pt x="25" y="129"/>
                  </a:lnTo>
                  <a:lnTo>
                    <a:pt x="26" y="131"/>
                  </a:lnTo>
                  <a:lnTo>
                    <a:pt x="28" y="133"/>
                  </a:lnTo>
                  <a:lnTo>
                    <a:pt x="28" y="135"/>
                  </a:lnTo>
                  <a:lnTo>
                    <a:pt x="28" y="135"/>
                  </a:lnTo>
                  <a:lnTo>
                    <a:pt x="28" y="133"/>
                  </a:lnTo>
                  <a:lnTo>
                    <a:pt x="28" y="133"/>
                  </a:lnTo>
                  <a:lnTo>
                    <a:pt x="30" y="135"/>
                  </a:lnTo>
                  <a:lnTo>
                    <a:pt x="30" y="135"/>
                  </a:lnTo>
                  <a:lnTo>
                    <a:pt x="30" y="135"/>
                  </a:lnTo>
                  <a:lnTo>
                    <a:pt x="30" y="136"/>
                  </a:lnTo>
                  <a:lnTo>
                    <a:pt x="30" y="136"/>
                  </a:lnTo>
                  <a:lnTo>
                    <a:pt x="30" y="136"/>
                  </a:lnTo>
                  <a:lnTo>
                    <a:pt x="32" y="140"/>
                  </a:lnTo>
                  <a:lnTo>
                    <a:pt x="32" y="140"/>
                  </a:lnTo>
                  <a:lnTo>
                    <a:pt x="34" y="148"/>
                  </a:lnTo>
                  <a:lnTo>
                    <a:pt x="34" y="152"/>
                  </a:lnTo>
                  <a:lnTo>
                    <a:pt x="36" y="152"/>
                  </a:lnTo>
                  <a:lnTo>
                    <a:pt x="36" y="152"/>
                  </a:lnTo>
                  <a:lnTo>
                    <a:pt x="36" y="152"/>
                  </a:lnTo>
                  <a:lnTo>
                    <a:pt x="36" y="155"/>
                  </a:lnTo>
                  <a:lnTo>
                    <a:pt x="36" y="155"/>
                  </a:lnTo>
                  <a:lnTo>
                    <a:pt x="38" y="157"/>
                  </a:lnTo>
                  <a:lnTo>
                    <a:pt x="40" y="157"/>
                  </a:lnTo>
                  <a:lnTo>
                    <a:pt x="40" y="157"/>
                  </a:lnTo>
                  <a:lnTo>
                    <a:pt x="42" y="159"/>
                  </a:lnTo>
                  <a:lnTo>
                    <a:pt x="42" y="159"/>
                  </a:lnTo>
                  <a:lnTo>
                    <a:pt x="42" y="161"/>
                  </a:lnTo>
                  <a:lnTo>
                    <a:pt x="42" y="161"/>
                  </a:lnTo>
                  <a:lnTo>
                    <a:pt x="44" y="159"/>
                  </a:lnTo>
                  <a:lnTo>
                    <a:pt x="44" y="159"/>
                  </a:lnTo>
                  <a:lnTo>
                    <a:pt x="46" y="159"/>
                  </a:lnTo>
                  <a:lnTo>
                    <a:pt x="46" y="157"/>
                  </a:lnTo>
                  <a:lnTo>
                    <a:pt x="46" y="157"/>
                  </a:lnTo>
                  <a:lnTo>
                    <a:pt x="47" y="157"/>
                  </a:lnTo>
                  <a:lnTo>
                    <a:pt x="47" y="157"/>
                  </a:lnTo>
                  <a:lnTo>
                    <a:pt x="47" y="157"/>
                  </a:lnTo>
                  <a:lnTo>
                    <a:pt x="49" y="157"/>
                  </a:lnTo>
                  <a:lnTo>
                    <a:pt x="49" y="157"/>
                  </a:lnTo>
                  <a:lnTo>
                    <a:pt x="53" y="157"/>
                  </a:lnTo>
                  <a:lnTo>
                    <a:pt x="53" y="155"/>
                  </a:lnTo>
                  <a:lnTo>
                    <a:pt x="55" y="155"/>
                  </a:lnTo>
                  <a:lnTo>
                    <a:pt x="55" y="154"/>
                  </a:lnTo>
                  <a:lnTo>
                    <a:pt x="57" y="154"/>
                  </a:lnTo>
                  <a:lnTo>
                    <a:pt x="59" y="150"/>
                  </a:lnTo>
                  <a:lnTo>
                    <a:pt x="59" y="150"/>
                  </a:lnTo>
                  <a:lnTo>
                    <a:pt x="59" y="150"/>
                  </a:lnTo>
                  <a:lnTo>
                    <a:pt x="59" y="150"/>
                  </a:lnTo>
                  <a:lnTo>
                    <a:pt x="59" y="148"/>
                  </a:lnTo>
                  <a:lnTo>
                    <a:pt x="59" y="148"/>
                  </a:lnTo>
                  <a:lnTo>
                    <a:pt x="61" y="150"/>
                  </a:lnTo>
                  <a:lnTo>
                    <a:pt x="61" y="148"/>
                  </a:lnTo>
                  <a:lnTo>
                    <a:pt x="61" y="148"/>
                  </a:lnTo>
                  <a:lnTo>
                    <a:pt x="63" y="146"/>
                  </a:lnTo>
                  <a:lnTo>
                    <a:pt x="61" y="146"/>
                  </a:lnTo>
                  <a:lnTo>
                    <a:pt x="61" y="142"/>
                  </a:lnTo>
                  <a:lnTo>
                    <a:pt x="59" y="135"/>
                  </a:lnTo>
                  <a:lnTo>
                    <a:pt x="57" y="133"/>
                  </a:lnTo>
                  <a:lnTo>
                    <a:pt x="57" y="129"/>
                  </a:lnTo>
                  <a:lnTo>
                    <a:pt x="59" y="123"/>
                  </a:lnTo>
                  <a:lnTo>
                    <a:pt x="61" y="119"/>
                  </a:lnTo>
                  <a:lnTo>
                    <a:pt x="65" y="116"/>
                  </a:lnTo>
                  <a:lnTo>
                    <a:pt x="65" y="114"/>
                  </a:lnTo>
                  <a:lnTo>
                    <a:pt x="70" y="112"/>
                  </a:lnTo>
                  <a:lnTo>
                    <a:pt x="72" y="110"/>
                  </a:lnTo>
                  <a:lnTo>
                    <a:pt x="72" y="110"/>
                  </a:lnTo>
                  <a:lnTo>
                    <a:pt x="76" y="106"/>
                  </a:lnTo>
                  <a:lnTo>
                    <a:pt x="76" y="102"/>
                  </a:lnTo>
                  <a:lnTo>
                    <a:pt x="72" y="91"/>
                  </a:lnTo>
                  <a:lnTo>
                    <a:pt x="72" y="87"/>
                  </a:lnTo>
                  <a:lnTo>
                    <a:pt x="72" y="83"/>
                  </a:lnTo>
                  <a:lnTo>
                    <a:pt x="74" y="83"/>
                  </a:lnTo>
                  <a:lnTo>
                    <a:pt x="74" y="83"/>
                  </a:lnTo>
                  <a:lnTo>
                    <a:pt x="76" y="83"/>
                  </a:lnTo>
                  <a:lnTo>
                    <a:pt x="78" y="85"/>
                  </a:lnTo>
                  <a:lnTo>
                    <a:pt x="82" y="91"/>
                  </a:lnTo>
                  <a:lnTo>
                    <a:pt x="82" y="91"/>
                  </a:lnTo>
                  <a:lnTo>
                    <a:pt x="86" y="91"/>
                  </a:lnTo>
                  <a:lnTo>
                    <a:pt x="86" y="89"/>
                  </a:lnTo>
                  <a:lnTo>
                    <a:pt x="89" y="85"/>
                  </a:lnTo>
                  <a:lnTo>
                    <a:pt x="91" y="83"/>
                  </a:lnTo>
                  <a:lnTo>
                    <a:pt x="95" y="81"/>
                  </a:lnTo>
                  <a:lnTo>
                    <a:pt x="97" y="85"/>
                  </a:lnTo>
                  <a:lnTo>
                    <a:pt x="97" y="89"/>
                  </a:lnTo>
                  <a:lnTo>
                    <a:pt x="99" y="91"/>
                  </a:lnTo>
                  <a:lnTo>
                    <a:pt x="101" y="89"/>
                  </a:lnTo>
                  <a:lnTo>
                    <a:pt x="101" y="85"/>
                  </a:lnTo>
                  <a:lnTo>
                    <a:pt x="103" y="83"/>
                  </a:lnTo>
                  <a:lnTo>
                    <a:pt x="105" y="85"/>
                  </a:lnTo>
                  <a:lnTo>
                    <a:pt x="105" y="85"/>
                  </a:lnTo>
                  <a:lnTo>
                    <a:pt x="105" y="83"/>
                  </a:lnTo>
                  <a:lnTo>
                    <a:pt x="105" y="78"/>
                  </a:lnTo>
                  <a:lnTo>
                    <a:pt x="105" y="76"/>
                  </a:lnTo>
                  <a:lnTo>
                    <a:pt x="107" y="74"/>
                  </a:lnTo>
                  <a:lnTo>
                    <a:pt x="107" y="74"/>
                  </a:lnTo>
                  <a:lnTo>
                    <a:pt x="105" y="74"/>
                  </a:lnTo>
                  <a:lnTo>
                    <a:pt x="105" y="74"/>
                  </a:lnTo>
                  <a:lnTo>
                    <a:pt x="107" y="72"/>
                  </a:lnTo>
                  <a:lnTo>
                    <a:pt x="107" y="72"/>
                  </a:lnTo>
                  <a:lnTo>
                    <a:pt x="107" y="70"/>
                  </a:lnTo>
                  <a:lnTo>
                    <a:pt x="107" y="70"/>
                  </a:lnTo>
                  <a:lnTo>
                    <a:pt x="107" y="70"/>
                  </a:lnTo>
                  <a:lnTo>
                    <a:pt x="108" y="70"/>
                  </a:lnTo>
                  <a:lnTo>
                    <a:pt x="108" y="70"/>
                  </a:lnTo>
                  <a:lnTo>
                    <a:pt x="108" y="70"/>
                  </a:lnTo>
                  <a:lnTo>
                    <a:pt x="108" y="70"/>
                  </a:lnTo>
                  <a:lnTo>
                    <a:pt x="108" y="70"/>
                  </a:lnTo>
                  <a:lnTo>
                    <a:pt x="108" y="70"/>
                  </a:lnTo>
                  <a:lnTo>
                    <a:pt x="108" y="70"/>
                  </a:lnTo>
                  <a:lnTo>
                    <a:pt x="110" y="70"/>
                  </a:lnTo>
                  <a:lnTo>
                    <a:pt x="110" y="70"/>
                  </a:lnTo>
                  <a:lnTo>
                    <a:pt x="110" y="70"/>
                  </a:lnTo>
                  <a:lnTo>
                    <a:pt x="110" y="70"/>
                  </a:lnTo>
                  <a:lnTo>
                    <a:pt x="110" y="68"/>
                  </a:lnTo>
                  <a:lnTo>
                    <a:pt x="110" y="68"/>
                  </a:lnTo>
                  <a:lnTo>
                    <a:pt x="110" y="66"/>
                  </a:lnTo>
                  <a:lnTo>
                    <a:pt x="110" y="66"/>
                  </a:lnTo>
                  <a:lnTo>
                    <a:pt x="110" y="66"/>
                  </a:lnTo>
                  <a:lnTo>
                    <a:pt x="110" y="64"/>
                  </a:lnTo>
                  <a:lnTo>
                    <a:pt x="110" y="64"/>
                  </a:lnTo>
                  <a:lnTo>
                    <a:pt x="110" y="64"/>
                  </a:lnTo>
                  <a:lnTo>
                    <a:pt x="110" y="60"/>
                  </a:lnTo>
                  <a:lnTo>
                    <a:pt x="110" y="6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1" name="Freeform 13">
              <a:extLst>
                <a:ext uri="{FF2B5EF4-FFF2-40B4-BE49-F238E27FC236}">
                  <a16:creationId xmlns:a16="http://schemas.microsoft.com/office/drawing/2014/main" id="{90B4476C-4BA8-8AE1-6DE0-34A621EEAD03}"/>
                </a:ext>
              </a:extLst>
            </p:cNvPr>
            <p:cNvSpPr>
              <a:spLocks/>
            </p:cNvSpPr>
            <p:nvPr/>
          </p:nvSpPr>
          <p:spPr bwMode="auto">
            <a:xfrm>
              <a:off x="7145338" y="3536163"/>
              <a:ext cx="177800" cy="255588"/>
            </a:xfrm>
            <a:custGeom>
              <a:avLst/>
              <a:gdLst>
                <a:gd name="T0" fmla="*/ 112 w 112"/>
                <a:gd name="T1" fmla="*/ 55 h 161"/>
                <a:gd name="T2" fmla="*/ 110 w 112"/>
                <a:gd name="T3" fmla="*/ 51 h 161"/>
                <a:gd name="T4" fmla="*/ 110 w 112"/>
                <a:gd name="T5" fmla="*/ 36 h 161"/>
                <a:gd name="T6" fmla="*/ 108 w 112"/>
                <a:gd name="T7" fmla="*/ 32 h 161"/>
                <a:gd name="T8" fmla="*/ 105 w 112"/>
                <a:gd name="T9" fmla="*/ 20 h 161"/>
                <a:gd name="T10" fmla="*/ 103 w 112"/>
                <a:gd name="T11" fmla="*/ 11 h 161"/>
                <a:gd name="T12" fmla="*/ 103 w 112"/>
                <a:gd name="T13" fmla="*/ 5 h 161"/>
                <a:gd name="T14" fmla="*/ 91 w 112"/>
                <a:gd name="T15" fmla="*/ 1 h 161"/>
                <a:gd name="T16" fmla="*/ 89 w 112"/>
                <a:gd name="T17" fmla="*/ 17 h 161"/>
                <a:gd name="T18" fmla="*/ 78 w 112"/>
                <a:gd name="T19" fmla="*/ 22 h 161"/>
                <a:gd name="T20" fmla="*/ 72 w 112"/>
                <a:gd name="T21" fmla="*/ 20 h 161"/>
                <a:gd name="T22" fmla="*/ 70 w 112"/>
                <a:gd name="T23" fmla="*/ 39 h 161"/>
                <a:gd name="T24" fmla="*/ 63 w 112"/>
                <a:gd name="T25" fmla="*/ 34 h 161"/>
                <a:gd name="T26" fmla="*/ 55 w 112"/>
                <a:gd name="T27" fmla="*/ 34 h 161"/>
                <a:gd name="T28" fmla="*/ 51 w 112"/>
                <a:gd name="T29" fmla="*/ 39 h 161"/>
                <a:gd name="T30" fmla="*/ 46 w 112"/>
                <a:gd name="T31" fmla="*/ 34 h 161"/>
                <a:gd name="T32" fmla="*/ 40 w 112"/>
                <a:gd name="T33" fmla="*/ 45 h 161"/>
                <a:gd name="T34" fmla="*/ 21 w 112"/>
                <a:gd name="T35" fmla="*/ 47 h 161"/>
                <a:gd name="T36" fmla="*/ 17 w 112"/>
                <a:gd name="T37" fmla="*/ 55 h 161"/>
                <a:gd name="T38" fmla="*/ 11 w 112"/>
                <a:gd name="T39" fmla="*/ 59 h 161"/>
                <a:gd name="T40" fmla="*/ 9 w 112"/>
                <a:gd name="T41" fmla="*/ 70 h 161"/>
                <a:gd name="T42" fmla="*/ 4 w 112"/>
                <a:gd name="T43" fmla="*/ 81 h 161"/>
                <a:gd name="T44" fmla="*/ 4 w 112"/>
                <a:gd name="T45" fmla="*/ 87 h 161"/>
                <a:gd name="T46" fmla="*/ 2 w 112"/>
                <a:gd name="T47" fmla="*/ 93 h 161"/>
                <a:gd name="T48" fmla="*/ 6 w 112"/>
                <a:gd name="T49" fmla="*/ 106 h 161"/>
                <a:gd name="T50" fmla="*/ 9 w 112"/>
                <a:gd name="T51" fmla="*/ 112 h 161"/>
                <a:gd name="T52" fmla="*/ 15 w 112"/>
                <a:gd name="T53" fmla="*/ 119 h 161"/>
                <a:gd name="T54" fmla="*/ 13 w 112"/>
                <a:gd name="T55" fmla="*/ 123 h 161"/>
                <a:gd name="T56" fmla="*/ 23 w 112"/>
                <a:gd name="T57" fmla="*/ 150 h 161"/>
                <a:gd name="T58" fmla="*/ 23 w 112"/>
                <a:gd name="T59" fmla="*/ 129 h 161"/>
                <a:gd name="T60" fmla="*/ 28 w 112"/>
                <a:gd name="T61" fmla="*/ 135 h 161"/>
                <a:gd name="T62" fmla="*/ 30 w 112"/>
                <a:gd name="T63" fmla="*/ 135 h 161"/>
                <a:gd name="T64" fmla="*/ 32 w 112"/>
                <a:gd name="T65" fmla="*/ 140 h 161"/>
                <a:gd name="T66" fmla="*/ 36 w 112"/>
                <a:gd name="T67" fmla="*/ 152 h 161"/>
                <a:gd name="T68" fmla="*/ 40 w 112"/>
                <a:gd name="T69" fmla="*/ 157 h 161"/>
                <a:gd name="T70" fmla="*/ 44 w 112"/>
                <a:gd name="T71" fmla="*/ 159 h 161"/>
                <a:gd name="T72" fmla="*/ 47 w 112"/>
                <a:gd name="T73" fmla="*/ 157 h 161"/>
                <a:gd name="T74" fmla="*/ 53 w 112"/>
                <a:gd name="T75" fmla="*/ 157 h 161"/>
                <a:gd name="T76" fmla="*/ 59 w 112"/>
                <a:gd name="T77" fmla="*/ 150 h 161"/>
                <a:gd name="T78" fmla="*/ 59 w 112"/>
                <a:gd name="T79" fmla="*/ 148 h 161"/>
                <a:gd name="T80" fmla="*/ 61 w 112"/>
                <a:gd name="T81" fmla="*/ 146 h 161"/>
                <a:gd name="T82" fmla="*/ 59 w 112"/>
                <a:gd name="T83" fmla="*/ 123 h 161"/>
                <a:gd name="T84" fmla="*/ 72 w 112"/>
                <a:gd name="T85" fmla="*/ 110 h 161"/>
                <a:gd name="T86" fmla="*/ 72 w 112"/>
                <a:gd name="T87" fmla="*/ 87 h 161"/>
                <a:gd name="T88" fmla="*/ 78 w 112"/>
                <a:gd name="T89" fmla="*/ 85 h 161"/>
                <a:gd name="T90" fmla="*/ 89 w 112"/>
                <a:gd name="T91" fmla="*/ 85 h 161"/>
                <a:gd name="T92" fmla="*/ 99 w 112"/>
                <a:gd name="T93" fmla="*/ 91 h 161"/>
                <a:gd name="T94" fmla="*/ 105 w 112"/>
                <a:gd name="T95" fmla="*/ 85 h 161"/>
                <a:gd name="T96" fmla="*/ 107 w 112"/>
                <a:gd name="T97" fmla="*/ 74 h 161"/>
                <a:gd name="T98" fmla="*/ 107 w 112"/>
                <a:gd name="T99" fmla="*/ 70 h 161"/>
                <a:gd name="T100" fmla="*/ 108 w 112"/>
                <a:gd name="T101" fmla="*/ 70 h 161"/>
                <a:gd name="T102" fmla="*/ 110 w 112"/>
                <a:gd name="T103" fmla="*/ 70 h 161"/>
                <a:gd name="T104" fmla="*/ 110 w 112"/>
                <a:gd name="T105" fmla="*/ 68 h 161"/>
                <a:gd name="T106" fmla="*/ 110 w 112"/>
                <a:gd name="T107" fmla="*/ 6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1">
                  <a:moveTo>
                    <a:pt x="110" y="60"/>
                  </a:moveTo>
                  <a:lnTo>
                    <a:pt x="110" y="60"/>
                  </a:lnTo>
                  <a:lnTo>
                    <a:pt x="110" y="57"/>
                  </a:lnTo>
                  <a:lnTo>
                    <a:pt x="112" y="55"/>
                  </a:lnTo>
                  <a:lnTo>
                    <a:pt x="112" y="55"/>
                  </a:lnTo>
                  <a:lnTo>
                    <a:pt x="110" y="55"/>
                  </a:lnTo>
                  <a:lnTo>
                    <a:pt x="110" y="53"/>
                  </a:lnTo>
                  <a:lnTo>
                    <a:pt x="110" y="53"/>
                  </a:lnTo>
                  <a:lnTo>
                    <a:pt x="110" y="53"/>
                  </a:lnTo>
                  <a:lnTo>
                    <a:pt x="110" y="51"/>
                  </a:lnTo>
                  <a:lnTo>
                    <a:pt x="110" y="49"/>
                  </a:lnTo>
                  <a:lnTo>
                    <a:pt x="110" y="45"/>
                  </a:lnTo>
                  <a:lnTo>
                    <a:pt x="110" y="45"/>
                  </a:lnTo>
                  <a:lnTo>
                    <a:pt x="110" y="36"/>
                  </a:lnTo>
                  <a:lnTo>
                    <a:pt x="110" y="36"/>
                  </a:lnTo>
                  <a:lnTo>
                    <a:pt x="110" y="34"/>
                  </a:lnTo>
                  <a:lnTo>
                    <a:pt x="110" y="34"/>
                  </a:lnTo>
                  <a:lnTo>
                    <a:pt x="110" y="34"/>
                  </a:lnTo>
                  <a:lnTo>
                    <a:pt x="108" y="34"/>
                  </a:lnTo>
                  <a:lnTo>
                    <a:pt x="108" y="32"/>
                  </a:lnTo>
                  <a:lnTo>
                    <a:pt x="108" y="30"/>
                  </a:lnTo>
                  <a:lnTo>
                    <a:pt x="103" y="30"/>
                  </a:lnTo>
                  <a:lnTo>
                    <a:pt x="101" y="30"/>
                  </a:lnTo>
                  <a:lnTo>
                    <a:pt x="101" y="28"/>
                  </a:lnTo>
                  <a:lnTo>
                    <a:pt x="105" y="20"/>
                  </a:lnTo>
                  <a:lnTo>
                    <a:pt x="105" y="19"/>
                  </a:lnTo>
                  <a:lnTo>
                    <a:pt x="105" y="19"/>
                  </a:lnTo>
                  <a:lnTo>
                    <a:pt x="105" y="17"/>
                  </a:lnTo>
                  <a:lnTo>
                    <a:pt x="105" y="15"/>
                  </a:lnTo>
                  <a:lnTo>
                    <a:pt x="103" y="11"/>
                  </a:lnTo>
                  <a:lnTo>
                    <a:pt x="103" y="11"/>
                  </a:lnTo>
                  <a:lnTo>
                    <a:pt x="103" y="9"/>
                  </a:lnTo>
                  <a:lnTo>
                    <a:pt x="103" y="7"/>
                  </a:lnTo>
                  <a:lnTo>
                    <a:pt x="103" y="5"/>
                  </a:lnTo>
                  <a:lnTo>
                    <a:pt x="103" y="5"/>
                  </a:lnTo>
                  <a:lnTo>
                    <a:pt x="101" y="5"/>
                  </a:lnTo>
                  <a:lnTo>
                    <a:pt x="95" y="0"/>
                  </a:lnTo>
                  <a:lnTo>
                    <a:pt x="95" y="0"/>
                  </a:lnTo>
                  <a:lnTo>
                    <a:pt x="93" y="1"/>
                  </a:lnTo>
                  <a:lnTo>
                    <a:pt x="91" y="1"/>
                  </a:lnTo>
                  <a:lnTo>
                    <a:pt x="91" y="3"/>
                  </a:lnTo>
                  <a:lnTo>
                    <a:pt x="91" y="5"/>
                  </a:lnTo>
                  <a:lnTo>
                    <a:pt x="91" y="11"/>
                  </a:lnTo>
                  <a:lnTo>
                    <a:pt x="91" y="15"/>
                  </a:lnTo>
                  <a:lnTo>
                    <a:pt x="89" y="17"/>
                  </a:lnTo>
                  <a:lnTo>
                    <a:pt x="87" y="17"/>
                  </a:lnTo>
                  <a:lnTo>
                    <a:pt x="84" y="19"/>
                  </a:lnTo>
                  <a:lnTo>
                    <a:pt x="76" y="17"/>
                  </a:lnTo>
                  <a:lnTo>
                    <a:pt x="76" y="19"/>
                  </a:lnTo>
                  <a:lnTo>
                    <a:pt x="78" y="22"/>
                  </a:lnTo>
                  <a:lnTo>
                    <a:pt x="78" y="22"/>
                  </a:lnTo>
                  <a:lnTo>
                    <a:pt x="76" y="22"/>
                  </a:lnTo>
                  <a:lnTo>
                    <a:pt x="74" y="20"/>
                  </a:lnTo>
                  <a:lnTo>
                    <a:pt x="74" y="20"/>
                  </a:lnTo>
                  <a:lnTo>
                    <a:pt x="72" y="20"/>
                  </a:lnTo>
                  <a:lnTo>
                    <a:pt x="70" y="22"/>
                  </a:lnTo>
                  <a:lnTo>
                    <a:pt x="72" y="26"/>
                  </a:lnTo>
                  <a:lnTo>
                    <a:pt x="72" y="28"/>
                  </a:lnTo>
                  <a:lnTo>
                    <a:pt x="70" y="38"/>
                  </a:lnTo>
                  <a:lnTo>
                    <a:pt x="70" y="39"/>
                  </a:lnTo>
                  <a:lnTo>
                    <a:pt x="68" y="39"/>
                  </a:lnTo>
                  <a:lnTo>
                    <a:pt x="66" y="39"/>
                  </a:lnTo>
                  <a:lnTo>
                    <a:pt x="63" y="36"/>
                  </a:lnTo>
                  <a:lnTo>
                    <a:pt x="63" y="36"/>
                  </a:lnTo>
                  <a:lnTo>
                    <a:pt x="63" y="34"/>
                  </a:lnTo>
                  <a:lnTo>
                    <a:pt x="63" y="32"/>
                  </a:lnTo>
                  <a:lnTo>
                    <a:pt x="63" y="32"/>
                  </a:lnTo>
                  <a:lnTo>
                    <a:pt x="57" y="32"/>
                  </a:lnTo>
                  <a:lnTo>
                    <a:pt x="55" y="32"/>
                  </a:lnTo>
                  <a:lnTo>
                    <a:pt x="55" y="34"/>
                  </a:lnTo>
                  <a:lnTo>
                    <a:pt x="55" y="36"/>
                  </a:lnTo>
                  <a:lnTo>
                    <a:pt x="57" y="38"/>
                  </a:lnTo>
                  <a:lnTo>
                    <a:pt x="55" y="39"/>
                  </a:lnTo>
                  <a:lnTo>
                    <a:pt x="53" y="41"/>
                  </a:lnTo>
                  <a:lnTo>
                    <a:pt x="51" y="39"/>
                  </a:lnTo>
                  <a:lnTo>
                    <a:pt x="49" y="39"/>
                  </a:lnTo>
                  <a:lnTo>
                    <a:pt x="49" y="38"/>
                  </a:lnTo>
                  <a:lnTo>
                    <a:pt x="47" y="34"/>
                  </a:lnTo>
                  <a:lnTo>
                    <a:pt x="46" y="34"/>
                  </a:lnTo>
                  <a:lnTo>
                    <a:pt x="46" y="34"/>
                  </a:lnTo>
                  <a:lnTo>
                    <a:pt x="46" y="41"/>
                  </a:lnTo>
                  <a:lnTo>
                    <a:pt x="44" y="43"/>
                  </a:lnTo>
                  <a:lnTo>
                    <a:pt x="44" y="45"/>
                  </a:lnTo>
                  <a:lnTo>
                    <a:pt x="42" y="45"/>
                  </a:lnTo>
                  <a:lnTo>
                    <a:pt x="40" y="45"/>
                  </a:lnTo>
                  <a:lnTo>
                    <a:pt x="36" y="47"/>
                  </a:lnTo>
                  <a:lnTo>
                    <a:pt x="32" y="45"/>
                  </a:lnTo>
                  <a:lnTo>
                    <a:pt x="26" y="45"/>
                  </a:lnTo>
                  <a:lnTo>
                    <a:pt x="23" y="45"/>
                  </a:lnTo>
                  <a:lnTo>
                    <a:pt x="21" y="47"/>
                  </a:lnTo>
                  <a:lnTo>
                    <a:pt x="21" y="51"/>
                  </a:lnTo>
                  <a:lnTo>
                    <a:pt x="19" y="55"/>
                  </a:lnTo>
                  <a:lnTo>
                    <a:pt x="19" y="57"/>
                  </a:lnTo>
                  <a:lnTo>
                    <a:pt x="17" y="57"/>
                  </a:lnTo>
                  <a:lnTo>
                    <a:pt x="17" y="55"/>
                  </a:lnTo>
                  <a:lnTo>
                    <a:pt x="17" y="55"/>
                  </a:lnTo>
                  <a:lnTo>
                    <a:pt x="15" y="55"/>
                  </a:lnTo>
                  <a:lnTo>
                    <a:pt x="13" y="57"/>
                  </a:lnTo>
                  <a:lnTo>
                    <a:pt x="13" y="57"/>
                  </a:lnTo>
                  <a:lnTo>
                    <a:pt x="11" y="59"/>
                  </a:lnTo>
                  <a:lnTo>
                    <a:pt x="7" y="64"/>
                  </a:lnTo>
                  <a:lnTo>
                    <a:pt x="7" y="66"/>
                  </a:lnTo>
                  <a:lnTo>
                    <a:pt x="7" y="66"/>
                  </a:lnTo>
                  <a:lnTo>
                    <a:pt x="9" y="70"/>
                  </a:lnTo>
                  <a:lnTo>
                    <a:pt x="9" y="70"/>
                  </a:lnTo>
                  <a:lnTo>
                    <a:pt x="9" y="72"/>
                  </a:lnTo>
                  <a:lnTo>
                    <a:pt x="7" y="78"/>
                  </a:lnTo>
                  <a:lnTo>
                    <a:pt x="6" y="79"/>
                  </a:lnTo>
                  <a:lnTo>
                    <a:pt x="6" y="81"/>
                  </a:lnTo>
                  <a:lnTo>
                    <a:pt x="4" y="81"/>
                  </a:lnTo>
                  <a:lnTo>
                    <a:pt x="2" y="81"/>
                  </a:lnTo>
                  <a:lnTo>
                    <a:pt x="0" y="83"/>
                  </a:lnTo>
                  <a:lnTo>
                    <a:pt x="2" y="85"/>
                  </a:lnTo>
                  <a:lnTo>
                    <a:pt x="2" y="85"/>
                  </a:lnTo>
                  <a:lnTo>
                    <a:pt x="4" y="87"/>
                  </a:lnTo>
                  <a:lnTo>
                    <a:pt x="6" y="89"/>
                  </a:lnTo>
                  <a:lnTo>
                    <a:pt x="4" y="89"/>
                  </a:lnTo>
                  <a:lnTo>
                    <a:pt x="2" y="89"/>
                  </a:lnTo>
                  <a:lnTo>
                    <a:pt x="2" y="89"/>
                  </a:lnTo>
                  <a:lnTo>
                    <a:pt x="2" y="93"/>
                  </a:lnTo>
                  <a:lnTo>
                    <a:pt x="2" y="95"/>
                  </a:lnTo>
                  <a:lnTo>
                    <a:pt x="4" y="98"/>
                  </a:lnTo>
                  <a:lnTo>
                    <a:pt x="6" y="100"/>
                  </a:lnTo>
                  <a:lnTo>
                    <a:pt x="6" y="104"/>
                  </a:lnTo>
                  <a:lnTo>
                    <a:pt x="6" y="106"/>
                  </a:lnTo>
                  <a:lnTo>
                    <a:pt x="7" y="106"/>
                  </a:lnTo>
                  <a:lnTo>
                    <a:pt x="9" y="108"/>
                  </a:lnTo>
                  <a:lnTo>
                    <a:pt x="9" y="108"/>
                  </a:lnTo>
                  <a:lnTo>
                    <a:pt x="9" y="110"/>
                  </a:lnTo>
                  <a:lnTo>
                    <a:pt x="9" y="112"/>
                  </a:lnTo>
                  <a:lnTo>
                    <a:pt x="11" y="116"/>
                  </a:lnTo>
                  <a:lnTo>
                    <a:pt x="13" y="117"/>
                  </a:lnTo>
                  <a:lnTo>
                    <a:pt x="13" y="119"/>
                  </a:lnTo>
                  <a:lnTo>
                    <a:pt x="15" y="119"/>
                  </a:lnTo>
                  <a:lnTo>
                    <a:pt x="15" y="119"/>
                  </a:lnTo>
                  <a:lnTo>
                    <a:pt x="15" y="121"/>
                  </a:lnTo>
                  <a:lnTo>
                    <a:pt x="13" y="121"/>
                  </a:lnTo>
                  <a:lnTo>
                    <a:pt x="13" y="123"/>
                  </a:lnTo>
                  <a:lnTo>
                    <a:pt x="13" y="123"/>
                  </a:lnTo>
                  <a:lnTo>
                    <a:pt x="13" y="123"/>
                  </a:lnTo>
                  <a:lnTo>
                    <a:pt x="13" y="125"/>
                  </a:lnTo>
                  <a:lnTo>
                    <a:pt x="17" y="140"/>
                  </a:lnTo>
                  <a:lnTo>
                    <a:pt x="17" y="146"/>
                  </a:lnTo>
                  <a:lnTo>
                    <a:pt x="19" y="148"/>
                  </a:lnTo>
                  <a:lnTo>
                    <a:pt x="23" y="150"/>
                  </a:lnTo>
                  <a:lnTo>
                    <a:pt x="23" y="146"/>
                  </a:lnTo>
                  <a:lnTo>
                    <a:pt x="21" y="136"/>
                  </a:lnTo>
                  <a:lnTo>
                    <a:pt x="21" y="133"/>
                  </a:lnTo>
                  <a:lnTo>
                    <a:pt x="23" y="131"/>
                  </a:lnTo>
                  <a:lnTo>
                    <a:pt x="23" y="129"/>
                  </a:lnTo>
                  <a:lnTo>
                    <a:pt x="25" y="129"/>
                  </a:lnTo>
                  <a:lnTo>
                    <a:pt x="26" y="131"/>
                  </a:lnTo>
                  <a:lnTo>
                    <a:pt x="28" y="133"/>
                  </a:lnTo>
                  <a:lnTo>
                    <a:pt x="28" y="135"/>
                  </a:lnTo>
                  <a:lnTo>
                    <a:pt x="28" y="135"/>
                  </a:lnTo>
                  <a:lnTo>
                    <a:pt x="28" y="133"/>
                  </a:lnTo>
                  <a:lnTo>
                    <a:pt x="28" y="133"/>
                  </a:lnTo>
                  <a:lnTo>
                    <a:pt x="30" y="135"/>
                  </a:lnTo>
                  <a:lnTo>
                    <a:pt x="30" y="135"/>
                  </a:lnTo>
                  <a:lnTo>
                    <a:pt x="30" y="135"/>
                  </a:lnTo>
                  <a:lnTo>
                    <a:pt x="30" y="136"/>
                  </a:lnTo>
                  <a:lnTo>
                    <a:pt x="30" y="136"/>
                  </a:lnTo>
                  <a:lnTo>
                    <a:pt x="30" y="136"/>
                  </a:lnTo>
                  <a:lnTo>
                    <a:pt x="32" y="140"/>
                  </a:lnTo>
                  <a:lnTo>
                    <a:pt x="32" y="140"/>
                  </a:lnTo>
                  <a:lnTo>
                    <a:pt x="34" y="148"/>
                  </a:lnTo>
                  <a:lnTo>
                    <a:pt x="34" y="152"/>
                  </a:lnTo>
                  <a:lnTo>
                    <a:pt x="36" y="152"/>
                  </a:lnTo>
                  <a:lnTo>
                    <a:pt x="36" y="152"/>
                  </a:lnTo>
                  <a:lnTo>
                    <a:pt x="36" y="152"/>
                  </a:lnTo>
                  <a:lnTo>
                    <a:pt x="36" y="155"/>
                  </a:lnTo>
                  <a:lnTo>
                    <a:pt x="36" y="155"/>
                  </a:lnTo>
                  <a:lnTo>
                    <a:pt x="38" y="157"/>
                  </a:lnTo>
                  <a:lnTo>
                    <a:pt x="40" y="157"/>
                  </a:lnTo>
                  <a:lnTo>
                    <a:pt x="40" y="157"/>
                  </a:lnTo>
                  <a:lnTo>
                    <a:pt x="42" y="159"/>
                  </a:lnTo>
                  <a:lnTo>
                    <a:pt x="42" y="159"/>
                  </a:lnTo>
                  <a:lnTo>
                    <a:pt x="42" y="161"/>
                  </a:lnTo>
                  <a:lnTo>
                    <a:pt x="42" y="161"/>
                  </a:lnTo>
                  <a:lnTo>
                    <a:pt x="44" y="159"/>
                  </a:lnTo>
                  <a:lnTo>
                    <a:pt x="44" y="159"/>
                  </a:lnTo>
                  <a:lnTo>
                    <a:pt x="46" y="159"/>
                  </a:lnTo>
                  <a:lnTo>
                    <a:pt x="46" y="157"/>
                  </a:lnTo>
                  <a:lnTo>
                    <a:pt x="46" y="157"/>
                  </a:lnTo>
                  <a:lnTo>
                    <a:pt x="47" y="157"/>
                  </a:lnTo>
                  <a:lnTo>
                    <a:pt x="47" y="157"/>
                  </a:lnTo>
                  <a:lnTo>
                    <a:pt x="47" y="157"/>
                  </a:lnTo>
                  <a:lnTo>
                    <a:pt x="49" y="157"/>
                  </a:lnTo>
                  <a:lnTo>
                    <a:pt x="49" y="157"/>
                  </a:lnTo>
                  <a:lnTo>
                    <a:pt x="53" y="157"/>
                  </a:lnTo>
                  <a:lnTo>
                    <a:pt x="53" y="155"/>
                  </a:lnTo>
                  <a:lnTo>
                    <a:pt x="55" y="155"/>
                  </a:lnTo>
                  <a:lnTo>
                    <a:pt x="55" y="154"/>
                  </a:lnTo>
                  <a:lnTo>
                    <a:pt x="57" y="154"/>
                  </a:lnTo>
                  <a:lnTo>
                    <a:pt x="59" y="150"/>
                  </a:lnTo>
                  <a:lnTo>
                    <a:pt x="59" y="150"/>
                  </a:lnTo>
                  <a:lnTo>
                    <a:pt x="59" y="150"/>
                  </a:lnTo>
                  <a:lnTo>
                    <a:pt x="59" y="150"/>
                  </a:lnTo>
                  <a:lnTo>
                    <a:pt x="59" y="148"/>
                  </a:lnTo>
                  <a:lnTo>
                    <a:pt x="59" y="148"/>
                  </a:lnTo>
                  <a:lnTo>
                    <a:pt x="61" y="150"/>
                  </a:lnTo>
                  <a:lnTo>
                    <a:pt x="61" y="148"/>
                  </a:lnTo>
                  <a:lnTo>
                    <a:pt x="61" y="148"/>
                  </a:lnTo>
                  <a:lnTo>
                    <a:pt x="63" y="146"/>
                  </a:lnTo>
                  <a:lnTo>
                    <a:pt x="61" y="146"/>
                  </a:lnTo>
                  <a:lnTo>
                    <a:pt x="61" y="142"/>
                  </a:lnTo>
                  <a:lnTo>
                    <a:pt x="59" y="135"/>
                  </a:lnTo>
                  <a:lnTo>
                    <a:pt x="57" y="133"/>
                  </a:lnTo>
                  <a:lnTo>
                    <a:pt x="57" y="129"/>
                  </a:lnTo>
                  <a:lnTo>
                    <a:pt x="59" y="123"/>
                  </a:lnTo>
                  <a:lnTo>
                    <a:pt x="61" y="119"/>
                  </a:lnTo>
                  <a:lnTo>
                    <a:pt x="65" y="116"/>
                  </a:lnTo>
                  <a:lnTo>
                    <a:pt x="65" y="114"/>
                  </a:lnTo>
                  <a:lnTo>
                    <a:pt x="70" y="112"/>
                  </a:lnTo>
                  <a:lnTo>
                    <a:pt x="72" y="110"/>
                  </a:lnTo>
                  <a:lnTo>
                    <a:pt x="72" y="110"/>
                  </a:lnTo>
                  <a:lnTo>
                    <a:pt x="76" y="106"/>
                  </a:lnTo>
                  <a:lnTo>
                    <a:pt x="76" y="102"/>
                  </a:lnTo>
                  <a:lnTo>
                    <a:pt x="72" y="91"/>
                  </a:lnTo>
                  <a:lnTo>
                    <a:pt x="72" y="87"/>
                  </a:lnTo>
                  <a:lnTo>
                    <a:pt x="72" y="83"/>
                  </a:lnTo>
                  <a:lnTo>
                    <a:pt x="74" y="83"/>
                  </a:lnTo>
                  <a:lnTo>
                    <a:pt x="74" y="83"/>
                  </a:lnTo>
                  <a:lnTo>
                    <a:pt x="76" y="83"/>
                  </a:lnTo>
                  <a:lnTo>
                    <a:pt x="78" y="85"/>
                  </a:lnTo>
                  <a:lnTo>
                    <a:pt x="82" y="91"/>
                  </a:lnTo>
                  <a:lnTo>
                    <a:pt x="82" y="91"/>
                  </a:lnTo>
                  <a:lnTo>
                    <a:pt x="86" y="91"/>
                  </a:lnTo>
                  <a:lnTo>
                    <a:pt x="86" y="89"/>
                  </a:lnTo>
                  <a:lnTo>
                    <a:pt x="89" y="85"/>
                  </a:lnTo>
                  <a:lnTo>
                    <a:pt x="91" y="83"/>
                  </a:lnTo>
                  <a:lnTo>
                    <a:pt x="95" y="81"/>
                  </a:lnTo>
                  <a:lnTo>
                    <a:pt x="97" y="85"/>
                  </a:lnTo>
                  <a:lnTo>
                    <a:pt x="97" y="89"/>
                  </a:lnTo>
                  <a:lnTo>
                    <a:pt x="99" y="91"/>
                  </a:lnTo>
                  <a:lnTo>
                    <a:pt x="101" y="89"/>
                  </a:lnTo>
                  <a:lnTo>
                    <a:pt x="101" y="85"/>
                  </a:lnTo>
                  <a:lnTo>
                    <a:pt x="103" y="83"/>
                  </a:lnTo>
                  <a:lnTo>
                    <a:pt x="105" y="85"/>
                  </a:lnTo>
                  <a:lnTo>
                    <a:pt x="105" y="85"/>
                  </a:lnTo>
                  <a:lnTo>
                    <a:pt x="105" y="83"/>
                  </a:lnTo>
                  <a:lnTo>
                    <a:pt x="105" y="78"/>
                  </a:lnTo>
                  <a:lnTo>
                    <a:pt x="105" y="76"/>
                  </a:lnTo>
                  <a:lnTo>
                    <a:pt x="107" y="74"/>
                  </a:lnTo>
                  <a:lnTo>
                    <a:pt x="107" y="74"/>
                  </a:lnTo>
                  <a:lnTo>
                    <a:pt x="105" y="74"/>
                  </a:lnTo>
                  <a:lnTo>
                    <a:pt x="105" y="74"/>
                  </a:lnTo>
                  <a:lnTo>
                    <a:pt x="107" y="72"/>
                  </a:lnTo>
                  <a:lnTo>
                    <a:pt x="107" y="72"/>
                  </a:lnTo>
                  <a:lnTo>
                    <a:pt x="107" y="70"/>
                  </a:lnTo>
                  <a:lnTo>
                    <a:pt x="107" y="70"/>
                  </a:lnTo>
                  <a:lnTo>
                    <a:pt x="107" y="70"/>
                  </a:lnTo>
                  <a:lnTo>
                    <a:pt x="108" y="70"/>
                  </a:lnTo>
                  <a:lnTo>
                    <a:pt x="108" y="70"/>
                  </a:lnTo>
                  <a:lnTo>
                    <a:pt x="108" y="70"/>
                  </a:lnTo>
                  <a:lnTo>
                    <a:pt x="108" y="70"/>
                  </a:lnTo>
                  <a:lnTo>
                    <a:pt x="108" y="70"/>
                  </a:lnTo>
                  <a:lnTo>
                    <a:pt x="108" y="70"/>
                  </a:lnTo>
                  <a:lnTo>
                    <a:pt x="108" y="70"/>
                  </a:lnTo>
                  <a:lnTo>
                    <a:pt x="110" y="70"/>
                  </a:lnTo>
                  <a:lnTo>
                    <a:pt x="110" y="70"/>
                  </a:lnTo>
                  <a:lnTo>
                    <a:pt x="110" y="70"/>
                  </a:lnTo>
                  <a:lnTo>
                    <a:pt x="110" y="70"/>
                  </a:lnTo>
                  <a:lnTo>
                    <a:pt x="110" y="68"/>
                  </a:lnTo>
                  <a:lnTo>
                    <a:pt x="110" y="68"/>
                  </a:lnTo>
                  <a:lnTo>
                    <a:pt x="110" y="66"/>
                  </a:lnTo>
                  <a:lnTo>
                    <a:pt x="110" y="66"/>
                  </a:lnTo>
                  <a:lnTo>
                    <a:pt x="110" y="66"/>
                  </a:lnTo>
                  <a:lnTo>
                    <a:pt x="110" y="64"/>
                  </a:lnTo>
                  <a:lnTo>
                    <a:pt x="110" y="64"/>
                  </a:lnTo>
                  <a:lnTo>
                    <a:pt x="110" y="64"/>
                  </a:lnTo>
                  <a:lnTo>
                    <a:pt x="110" y="60"/>
                  </a:lnTo>
                  <a:lnTo>
                    <a:pt x="110" y="6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2" name="Freeform 14">
              <a:extLst>
                <a:ext uri="{FF2B5EF4-FFF2-40B4-BE49-F238E27FC236}">
                  <a16:creationId xmlns:a16="http://schemas.microsoft.com/office/drawing/2014/main" id="{DDB640C2-2990-00A9-57F5-E315BF4DD6A4}"/>
                </a:ext>
              </a:extLst>
            </p:cNvPr>
            <p:cNvSpPr>
              <a:spLocks/>
            </p:cNvSpPr>
            <p:nvPr/>
          </p:nvSpPr>
          <p:spPr bwMode="auto">
            <a:xfrm>
              <a:off x="5111750" y="4272763"/>
              <a:ext cx="665163" cy="623888"/>
            </a:xfrm>
            <a:custGeom>
              <a:avLst/>
              <a:gdLst>
                <a:gd name="T0" fmla="*/ 395 w 419"/>
                <a:gd name="T1" fmla="*/ 201 h 393"/>
                <a:gd name="T2" fmla="*/ 359 w 419"/>
                <a:gd name="T3" fmla="*/ 199 h 393"/>
                <a:gd name="T4" fmla="*/ 343 w 419"/>
                <a:gd name="T5" fmla="*/ 169 h 393"/>
                <a:gd name="T6" fmla="*/ 328 w 419"/>
                <a:gd name="T7" fmla="*/ 167 h 393"/>
                <a:gd name="T8" fmla="*/ 318 w 419"/>
                <a:gd name="T9" fmla="*/ 144 h 393"/>
                <a:gd name="T10" fmla="*/ 288 w 419"/>
                <a:gd name="T11" fmla="*/ 125 h 393"/>
                <a:gd name="T12" fmla="*/ 261 w 419"/>
                <a:gd name="T13" fmla="*/ 116 h 393"/>
                <a:gd name="T14" fmla="*/ 246 w 419"/>
                <a:gd name="T15" fmla="*/ 70 h 393"/>
                <a:gd name="T16" fmla="*/ 250 w 419"/>
                <a:gd name="T17" fmla="*/ 43 h 393"/>
                <a:gd name="T18" fmla="*/ 229 w 419"/>
                <a:gd name="T19" fmla="*/ 28 h 393"/>
                <a:gd name="T20" fmla="*/ 212 w 419"/>
                <a:gd name="T21" fmla="*/ 34 h 393"/>
                <a:gd name="T22" fmla="*/ 179 w 419"/>
                <a:gd name="T23" fmla="*/ 22 h 393"/>
                <a:gd name="T24" fmla="*/ 155 w 419"/>
                <a:gd name="T25" fmla="*/ 26 h 393"/>
                <a:gd name="T26" fmla="*/ 132 w 419"/>
                <a:gd name="T27" fmla="*/ 9 h 393"/>
                <a:gd name="T28" fmla="*/ 107 w 419"/>
                <a:gd name="T29" fmla="*/ 5 h 393"/>
                <a:gd name="T30" fmla="*/ 105 w 419"/>
                <a:gd name="T31" fmla="*/ 19 h 393"/>
                <a:gd name="T32" fmla="*/ 86 w 419"/>
                <a:gd name="T33" fmla="*/ 47 h 393"/>
                <a:gd name="T34" fmla="*/ 73 w 419"/>
                <a:gd name="T35" fmla="*/ 60 h 393"/>
                <a:gd name="T36" fmla="*/ 59 w 419"/>
                <a:gd name="T37" fmla="*/ 59 h 393"/>
                <a:gd name="T38" fmla="*/ 46 w 419"/>
                <a:gd name="T39" fmla="*/ 81 h 393"/>
                <a:gd name="T40" fmla="*/ 52 w 419"/>
                <a:gd name="T41" fmla="*/ 91 h 393"/>
                <a:gd name="T42" fmla="*/ 54 w 419"/>
                <a:gd name="T43" fmla="*/ 106 h 393"/>
                <a:gd name="T44" fmla="*/ 38 w 419"/>
                <a:gd name="T45" fmla="*/ 129 h 393"/>
                <a:gd name="T46" fmla="*/ 25 w 419"/>
                <a:gd name="T47" fmla="*/ 144 h 393"/>
                <a:gd name="T48" fmla="*/ 31 w 419"/>
                <a:gd name="T49" fmla="*/ 173 h 393"/>
                <a:gd name="T50" fmla="*/ 25 w 419"/>
                <a:gd name="T51" fmla="*/ 197 h 393"/>
                <a:gd name="T52" fmla="*/ 16 w 419"/>
                <a:gd name="T53" fmla="*/ 218 h 393"/>
                <a:gd name="T54" fmla="*/ 40 w 419"/>
                <a:gd name="T55" fmla="*/ 226 h 393"/>
                <a:gd name="T56" fmla="*/ 12 w 419"/>
                <a:gd name="T57" fmla="*/ 264 h 393"/>
                <a:gd name="T58" fmla="*/ 16 w 419"/>
                <a:gd name="T59" fmla="*/ 302 h 393"/>
                <a:gd name="T60" fmla="*/ 17 w 419"/>
                <a:gd name="T61" fmla="*/ 317 h 393"/>
                <a:gd name="T62" fmla="*/ 21 w 419"/>
                <a:gd name="T63" fmla="*/ 340 h 393"/>
                <a:gd name="T64" fmla="*/ 21 w 419"/>
                <a:gd name="T65" fmla="*/ 367 h 393"/>
                <a:gd name="T66" fmla="*/ 36 w 419"/>
                <a:gd name="T67" fmla="*/ 388 h 393"/>
                <a:gd name="T68" fmla="*/ 54 w 419"/>
                <a:gd name="T69" fmla="*/ 388 h 393"/>
                <a:gd name="T70" fmla="*/ 73 w 419"/>
                <a:gd name="T71" fmla="*/ 386 h 393"/>
                <a:gd name="T72" fmla="*/ 86 w 419"/>
                <a:gd name="T73" fmla="*/ 386 h 393"/>
                <a:gd name="T74" fmla="*/ 99 w 419"/>
                <a:gd name="T75" fmla="*/ 372 h 393"/>
                <a:gd name="T76" fmla="*/ 130 w 419"/>
                <a:gd name="T77" fmla="*/ 369 h 393"/>
                <a:gd name="T78" fmla="*/ 145 w 419"/>
                <a:gd name="T79" fmla="*/ 361 h 393"/>
                <a:gd name="T80" fmla="*/ 157 w 419"/>
                <a:gd name="T81" fmla="*/ 355 h 393"/>
                <a:gd name="T82" fmla="*/ 183 w 419"/>
                <a:gd name="T83" fmla="*/ 348 h 393"/>
                <a:gd name="T84" fmla="*/ 193 w 419"/>
                <a:gd name="T85" fmla="*/ 321 h 393"/>
                <a:gd name="T86" fmla="*/ 223 w 419"/>
                <a:gd name="T87" fmla="*/ 310 h 393"/>
                <a:gd name="T88" fmla="*/ 252 w 419"/>
                <a:gd name="T89" fmla="*/ 313 h 393"/>
                <a:gd name="T90" fmla="*/ 254 w 419"/>
                <a:gd name="T91" fmla="*/ 292 h 393"/>
                <a:gd name="T92" fmla="*/ 267 w 419"/>
                <a:gd name="T93" fmla="*/ 279 h 393"/>
                <a:gd name="T94" fmla="*/ 282 w 419"/>
                <a:gd name="T95" fmla="*/ 289 h 393"/>
                <a:gd name="T96" fmla="*/ 290 w 419"/>
                <a:gd name="T97" fmla="*/ 296 h 393"/>
                <a:gd name="T98" fmla="*/ 307 w 419"/>
                <a:gd name="T99" fmla="*/ 302 h 393"/>
                <a:gd name="T100" fmla="*/ 307 w 419"/>
                <a:gd name="T101" fmla="*/ 289 h 393"/>
                <a:gd name="T102" fmla="*/ 290 w 419"/>
                <a:gd name="T103" fmla="*/ 285 h 393"/>
                <a:gd name="T104" fmla="*/ 288 w 419"/>
                <a:gd name="T105" fmla="*/ 273 h 393"/>
                <a:gd name="T106" fmla="*/ 299 w 419"/>
                <a:gd name="T107" fmla="*/ 273 h 393"/>
                <a:gd name="T108" fmla="*/ 313 w 419"/>
                <a:gd name="T109" fmla="*/ 270 h 393"/>
                <a:gd name="T110" fmla="*/ 322 w 419"/>
                <a:gd name="T111" fmla="*/ 275 h 393"/>
                <a:gd name="T112" fmla="*/ 334 w 419"/>
                <a:gd name="T113" fmla="*/ 266 h 393"/>
                <a:gd name="T114" fmla="*/ 341 w 419"/>
                <a:gd name="T115" fmla="*/ 262 h 393"/>
                <a:gd name="T116" fmla="*/ 362 w 419"/>
                <a:gd name="T117" fmla="*/ 254 h 393"/>
                <a:gd name="T118" fmla="*/ 378 w 419"/>
                <a:gd name="T119" fmla="*/ 243 h 393"/>
                <a:gd name="T120" fmla="*/ 393 w 419"/>
                <a:gd name="T121" fmla="*/ 235 h 393"/>
                <a:gd name="T122" fmla="*/ 393 w 419"/>
                <a:gd name="T123" fmla="*/ 222 h 393"/>
                <a:gd name="T124" fmla="*/ 408 w 419"/>
                <a:gd name="T125" fmla="*/ 20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393">
                  <a:moveTo>
                    <a:pt x="419" y="197"/>
                  </a:moveTo>
                  <a:lnTo>
                    <a:pt x="419" y="197"/>
                  </a:lnTo>
                  <a:lnTo>
                    <a:pt x="418" y="195"/>
                  </a:lnTo>
                  <a:lnTo>
                    <a:pt x="418" y="195"/>
                  </a:lnTo>
                  <a:lnTo>
                    <a:pt x="418" y="194"/>
                  </a:lnTo>
                  <a:lnTo>
                    <a:pt x="416" y="192"/>
                  </a:lnTo>
                  <a:lnTo>
                    <a:pt x="416" y="192"/>
                  </a:lnTo>
                  <a:lnTo>
                    <a:pt x="416" y="192"/>
                  </a:lnTo>
                  <a:lnTo>
                    <a:pt x="414" y="194"/>
                  </a:lnTo>
                  <a:lnTo>
                    <a:pt x="414" y="195"/>
                  </a:lnTo>
                  <a:lnTo>
                    <a:pt x="412" y="195"/>
                  </a:lnTo>
                  <a:lnTo>
                    <a:pt x="412" y="197"/>
                  </a:lnTo>
                  <a:lnTo>
                    <a:pt x="410" y="197"/>
                  </a:lnTo>
                  <a:lnTo>
                    <a:pt x="406" y="197"/>
                  </a:lnTo>
                  <a:lnTo>
                    <a:pt x="406" y="199"/>
                  </a:lnTo>
                  <a:lnTo>
                    <a:pt x="404" y="199"/>
                  </a:lnTo>
                  <a:lnTo>
                    <a:pt x="402" y="201"/>
                  </a:lnTo>
                  <a:lnTo>
                    <a:pt x="400" y="203"/>
                  </a:lnTo>
                  <a:lnTo>
                    <a:pt x="399" y="203"/>
                  </a:lnTo>
                  <a:lnTo>
                    <a:pt x="395" y="201"/>
                  </a:lnTo>
                  <a:lnTo>
                    <a:pt x="393" y="201"/>
                  </a:lnTo>
                  <a:lnTo>
                    <a:pt x="393" y="201"/>
                  </a:lnTo>
                  <a:lnTo>
                    <a:pt x="393" y="201"/>
                  </a:lnTo>
                  <a:lnTo>
                    <a:pt x="391" y="203"/>
                  </a:lnTo>
                  <a:lnTo>
                    <a:pt x="391" y="203"/>
                  </a:lnTo>
                  <a:lnTo>
                    <a:pt x="391" y="203"/>
                  </a:lnTo>
                  <a:lnTo>
                    <a:pt x="389" y="203"/>
                  </a:lnTo>
                  <a:lnTo>
                    <a:pt x="389" y="203"/>
                  </a:lnTo>
                  <a:lnTo>
                    <a:pt x="387" y="203"/>
                  </a:lnTo>
                  <a:lnTo>
                    <a:pt x="383" y="203"/>
                  </a:lnTo>
                  <a:lnTo>
                    <a:pt x="376" y="201"/>
                  </a:lnTo>
                  <a:lnTo>
                    <a:pt x="372" y="203"/>
                  </a:lnTo>
                  <a:lnTo>
                    <a:pt x="368" y="203"/>
                  </a:lnTo>
                  <a:lnTo>
                    <a:pt x="366" y="201"/>
                  </a:lnTo>
                  <a:lnTo>
                    <a:pt x="364" y="201"/>
                  </a:lnTo>
                  <a:lnTo>
                    <a:pt x="362" y="199"/>
                  </a:lnTo>
                  <a:lnTo>
                    <a:pt x="362" y="199"/>
                  </a:lnTo>
                  <a:lnTo>
                    <a:pt x="360" y="199"/>
                  </a:lnTo>
                  <a:lnTo>
                    <a:pt x="360" y="199"/>
                  </a:lnTo>
                  <a:lnTo>
                    <a:pt x="359" y="199"/>
                  </a:lnTo>
                  <a:lnTo>
                    <a:pt x="357" y="201"/>
                  </a:lnTo>
                  <a:lnTo>
                    <a:pt x="355" y="203"/>
                  </a:lnTo>
                  <a:lnTo>
                    <a:pt x="351" y="205"/>
                  </a:lnTo>
                  <a:lnTo>
                    <a:pt x="351" y="205"/>
                  </a:lnTo>
                  <a:lnTo>
                    <a:pt x="349" y="205"/>
                  </a:lnTo>
                  <a:lnTo>
                    <a:pt x="347" y="205"/>
                  </a:lnTo>
                  <a:lnTo>
                    <a:pt x="347" y="201"/>
                  </a:lnTo>
                  <a:lnTo>
                    <a:pt x="345" y="199"/>
                  </a:lnTo>
                  <a:lnTo>
                    <a:pt x="345" y="186"/>
                  </a:lnTo>
                  <a:lnTo>
                    <a:pt x="343" y="186"/>
                  </a:lnTo>
                  <a:lnTo>
                    <a:pt x="341" y="182"/>
                  </a:lnTo>
                  <a:lnTo>
                    <a:pt x="341" y="180"/>
                  </a:lnTo>
                  <a:lnTo>
                    <a:pt x="341" y="178"/>
                  </a:lnTo>
                  <a:lnTo>
                    <a:pt x="341" y="176"/>
                  </a:lnTo>
                  <a:lnTo>
                    <a:pt x="339" y="175"/>
                  </a:lnTo>
                  <a:lnTo>
                    <a:pt x="341" y="173"/>
                  </a:lnTo>
                  <a:lnTo>
                    <a:pt x="341" y="173"/>
                  </a:lnTo>
                  <a:lnTo>
                    <a:pt x="341" y="171"/>
                  </a:lnTo>
                  <a:lnTo>
                    <a:pt x="343" y="171"/>
                  </a:lnTo>
                  <a:lnTo>
                    <a:pt x="343" y="169"/>
                  </a:lnTo>
                  <a:lnTo>
                    <a:pt x="341" y="169"/>
                  </a:lnTo>
                  <a:lnTo>
                    <a:pt x="339" y="169"/>
                  </a:lnTo>
                  <a:lnTo>
                    <a:pt x="339" y="169"/>
                  </a:lnTo>
                  <a:lnTo>
                    <a:pt x="338" y="169"/>
                  </a:lnTo>
                  <a:lnTo>
                    <a:pt x="336" y="171"/>
                  </a:lnTo>
                  <a:lnTo>
                    <a:pt x="334" y="171"/>
                  </a:lnTo>
                  <a:lnTo>
                    <a:pt x="334" y="169"/>
                  </a:lnTo>
                  <a:lnTo>
                    <a:pt x="334" y="169"/>
                  </a:lnTo>
                  <a:lnTo>
                    <a:pt x="332" y="167"/>
                  </a:lnTo>
                  <a:lnTo>
                    <a:pt x="332" y="165"/>
                  </a:lnTo>
                  <a:lnTo>
                    <a:pt x="332" y="165"/>
                  </a:lnTo>
                  <a:lnTo>
                    <a:pt x="332" y="163"/>
                  </a:lnTo>
                  <a:lnTo>
                    <a:pt x="332" y="163"/>
                  </a:lnTo>
                  <a:lnTo>
                    <a:pt x="330" y="163"/>
                  </a:lnTo>
                  <a:lnTo>
                    <a:pt x="330" y="163"/>
                  </a:lnTo>
                  <a:lnTo>
                    <a:pt x="330" y="163"/>
                  </a:lnTo>
                  <a:lnTo>
                    <a:pt x="328" y="163"/>
                  </a:lnTo>
                  <a:lnTo>
                    <a:pt x="328" y="165"/>
                  </a:lnTo>
                  <a:lnTo>
                    <a:pt x="328" y="167"/>
                  </a:lnTo>
                  <a:lnTo>
                    <a:pt x="328" y="167"/>
                  </a:lnTo>
                  <a:lnTo>
                    <a:pt x="328" y="167"/>
                  </a:lnTo>
                  <a:lnTo>
                    <a:pt x="326" y="167"/>
                  </a:lnTo>
                  <a:lnTo>
                    <a:pt x="326" y="167"/>
                  </a:lnTo>
                  <a:lnTo>
                    <a:pt x="324" y="167"/>
                  </a:lnTo>
                  <a:lnTo>
                    <a:pt x="322" y="167"/>
                  </a:lnTo>
                  <a:lnTo>
                    <a:pt x="322" y="167"/>
                  </a:lnTo>
                  <a:lnTo>
                    <a:pt x="320" y="165"/>
                  </a:lnTo>
                  <a:lnTo>
                    <a:pt x="320" y="165"/>
                  </a:lnTo>
                  <a:lnTo>
                    <a:pt x="322" y="163"/>
                  </a:lnTo>
                  <a:lnTo>
                    <a:pt x="322" y="163"/>
                  </a:lnTo>
                  <a:lnTo>
                    <a:pt x="322" y="161"/>
                  </a:lnTo>
                  <a:lnTo>
                    <a:pt x="324" y="161"/>
                  </a:lnTo>
                  <a:lnTo>
                    <a:pt x="324" y="161"/>
                  </a:lnTo>
                  <a:lnTo>
                    <a:pt x="326" y="159"/>
                  </a:lnTo>
                  <a:lnTo>
                    <a:pt x="326" y="159"/>
                  </a:lnTo>
                  <a:lnTo>
                    <a:pt x="324" y="157"/>
                  </a:lnTo>
                  <a:lnTo>
                    <a:pt x="322" y="156"/>
                  </a:lnTo>
                  <a:lnTo>
                    <a:pt x="320" y="150"/>
                  </a:lnTo>
                  <a:lnTo>
                    <a:pt x="320" y="146"/>
                  </a:lnTo>
                  <a:lnTo>
                    <a:pt x="318" y="144"/>
                  </a:lnTo>
                  <a:lnTo>
                    <a:pt x="318" y="144"/>
                  </a:lnTo>
                  <a:lnTo>
                    <a:pt x="317" y="142"/>
                  </a:lnTo>
                  <a:lnTo>
                    <a:pt x="315" y="140"/>
                  </a:lnTo>
                  <a:lnTo>
                    <a:pt x="313" y="138"/>
                  </a:lnTo>
                  <a:lnTo>
                    <a:pt x="313" y="137"/>
                  </a:lnTo>
                  <a:lnTo>
                    <a:pt x="307" y="131"/>
                  </a:lnTo>
                  <a:lnTo>
                    <a:pt x="305" y="129"/>
                  </a:lnTo>
                  <a:lnTo>
                    <a:pt x="305" y="129"/>
                  </a:lnTo>
                  <a:lnTo>
                    <a:pt x="303" y="127"/>
                  </a:lnTo>
                  <a:lnTo>
                    <a:pt x="301" y="127"/>
                  </a:lnTo>
                  <a:lnTo>
                    <a:pt x="299" y="125"/>
                  </a:lnTo>
                  <a:lnTo>
                    <a:pt x="299" y="125"/>
                  </a:lnTo>
                  <a:lnTo>
                    <a:pt x="298" y="125"/>
                  </a:lnTo>
                  <a:lnTo>
                    <a:pt x="294" y="125"/>
                  </a:lnTo>
                  <a:lnTo>
                    <a:pt x="292" y="127"/>
                  </a:lnTo>
                  <a:lnTo>
                    <a:pt x="290" y="125"/>
                  </a:lnTo>
                  <a:lnTo>
                    <a:pt x="290" y="125"/>
                  </a:lnTo>
                  <a:lnTo>
                    <a:pt x="290" y="123"/>
                  </a:lnTo>
                  <a:lnTo>
                    <a:pt x="288" y="123"/>
                  </a:lnTo>
                  <a:lnTo>
                    <a:pt x="288" y="125"/>
                  </a:lnTo>
                  <a:lnTo>
                    <a:pt x="288" y="125"/>
                  </a:lnTo>
                  <a:lnTo>
                    <a:pt x="286" y="125"/>
                  </a:lnTo>
                  <a:lnTo>
                    <a:pt x="286" y="125"/>
                  </a:lnTo>
                  <a:lnTo>
                    <a:pt x="286" y="123"/>
                  </a:lnTo>
                  <a:lnTo>
                    <a:pt x="284" y="123"/>
                  </a:lnTo>
                  <a:lnTo>
                    <a:pt x="284" y="121"/>
                  </a:lnTo>
                  <a:lnTo>
                    <a:pt x="284" y="121"/>
                  </a:lnTo>
                  <a:lnTo>
                    <a:pt x="282" y="119"/>
                  </a:lnTo>
                  <a:lnTo>
                    <a:pt x="282" y="118"/>
                  </a:lnTo>
                  <a:lnTo>
                    <a:pt x="282" y="118"/>
                  </a:lnTo>
                  <a:lnTo>
                    <a:pt x="282" y="116"/>
                  </a:lnTo>
                  <a:lnTo>
                    <a:pt x="282" y="116"/>
                  </a:lnTo>
                  <a:lnTo>
                    <a:pt x="280" y="114"/>
                  </a:lnTo>
                  <a:lnTo>
                    <a:pt x="280" y="114"/>
                  </a:lnTo>
                  <a:lnTo>
                    <a:pt x="278" y="114"/>
                  </a:lnTo>
                  <a:lnTo>
                    <a:pt x="277" y="116"/>
                  </a:lnTo>
                  <a:lnTo>
                    <a:pt x="277" y="116"/>
                  </a:lnTo>
                  <a:lnTo>
                    <a:pt x="269" y="116"/>
                  </a:lnTo>
                  <a:lnTo>
                    <a:pt x="261" y="116"/>
                  </a:lnTo>
                  <a:lnTo>
                    <a:pt x="261" y="116"/>
                  </a:lnTo>
                  <a:lnTo>
                    <a:pt x="259" y="112"/>
                  </a:lnTo>
                  <a:lnTo>
                    <a:pt x="259" y="112"/>
                  </a:lnTo>
                  <a:lnTo>
                    <a:pt x="258" y="110"/>
                  </a:lnTo>
                  <a:lnTo>
                    <a:pt x="254" y="108"/>
                  </a:lnTo>
                  <a:lnTo>
                    <a:pt x="252" y="106"/>
                  </a:lnTo>
                  <a:lnTo>
                    <a:pt x="246" y="104"/>
                  </a:lnTo>
                  <a:lnTo>
                    <a:pt x="246" y="102"/>
                  </a:lnTo>
                  <a:lnTo>
                    <a:pt x="250" y="100"/>
                  </a:lnTo>
                  <a:lnTo>
                    <a:pt x="250" y="98"/>
                  </a:lnTo>
                  <a:lnTo>
                    <a:pt x="250" y="97"/>
                  </a:lnTo>
                  <a:lnTo>
                    <a:pt x="250" y="93"/>
                  </a:lnTo>
                  <a:lnTo>
                    <a:pt x="250" y="89"/>
                  </a:lnTo>
                  <a:lnTo>
                    <a:pt x="248" y="83"/>
                  </a:lnTo>
                  <a:lnTo>
                    <a:pt x="248" y="81"/>
                  </a:lnTo>
                  <a:lnTo>
                    <a:pt x="242" y="81"/>
                  </a:lnTo>
                  <a:lnTo>
                    <a:pt x="242" y="81"/>
                  </a:lnTo>
                  <a:lnTo>
                    <a:pt x="240" y="78"/>
                  </a:lnTo>
                  <a:lnTo>
                    <a:pt x="242" y="76"/>
                  </a:lnTo>
                  <a:lnTo>
                    <a:pt x="244" y="74"/>
                  </a:lnTo>
                  <a:lnTo>
                    <a:pt x="246" y="70"/>
                  </a:lnTo>
                  <a:lnTo>
                    <a:pt x="248" y="70"/>
                  </a:lnTo>
                  <a:lnTo>
                    <a:pt x="248" y="68"/>
                  </a:lnTo>
                  <a:lnTo>
                    <a:pt x="248" y="66"/>
                  </a:lnTo>
                  <a:lnTo>
                    <a:pt x="248" y="64"/>
                  </a:lnTo>
                  <a:lnTo>
                    <a:pt x="248" y="62"/>
                  </a:lnTo>
                  <a:lnTo>
                    <a:pt x="248" y="60"/>
                  </a:lnTo>
                  <a:lnTo>
                    <a:pt x="248" y="60"/>
                  </a:lnTo>
                  <a:lnTo>
                    <a:pt x="248" y="60"/>
                  </a:lnTo>
                  <a:lnTo>
                    <a:pt x="248" y="60"/>
                  </a:lnTo>
                  <a:lnTo>
                    <a:pt x="248" y="59"/>
                  </a:lnTo>
                  <a:lnTo>
                    <a:pt x="250" y="59"/>
                  </a:lnTo>
                  <a:lnTo>
                    <a:pt x="250" y="57"/>
                  </a:lnTo>
                  <a:lnTo>
                    <a:pt x="250" y="55"/>
                  </a:lnTo>
                  <a:lnTo>
                    <a:pt x="250" y="53"/>
                  </a:lnTo>
                  <a:lnTo>
                    <a:pt x="250" y="53"/>
                  </a:lnTo>
                  <a:lnTo>
                    <a:pt x="250" y="51"/>
                  </a:lnTo>
                  <a:lnTo>
                    <a:pt x="250" y="47"/>
                  </a:lnTo>
                  <a:lnTo>
                    <a:pt x="250" y="45"/>
                  </a:lnTo>
                  <a:lnTo>
                    <a:pt x="250" y="45"/>
                  </a:lnTo>
                  <a:lnTo>
                    <a:pt x="250" y="43"/>
                  </a:lnTo>
                  <a:lnTo>
                    <a:pt x="250" y="41"/>
                  </a:lnTo>
                  <a:lnTo>
                    <a:pt x="250" y="41"/>
                  </a:lnTo>
                  <a:lnTo>
                    <a:pt x="248" y="41"/>
                  </a:lnTo>
                  <a:lnTo>
                    <a:pt x="248" y="40"/>
                  </a:lnTo>
                  <a:lnTo>
                    <a:pt x="248" y="40"/>
                  </a:lnTo>
                  <a:lnTo>
                    <a:pt x="246" y="38"/>
                  </a:lnTo>
                  <a:lnTo>
                    <a:pt x="246" y="38"/>
                  </a:lnTo>
                  <a:lnTo>
                    <a:pt x="246" y="38"/>
                  </a:lnTo>
                  <a:lnTo>
                    <a:pt x="244" y="38"/>
                  </a:lnTo>
                  <a:lnTo>
                    <a:pt x="242" y="38"/>
                  </a:lnTo>
                  <a:lnTo>
                    <a:pt x="242" y="38"/>
                  </a:lnTo>
                  <a:lnTo>
                    <a:pt x="242" y="36"/>
                  </a:lnTo>
                  <a:lnTo>
                    <a:pt x="240" y="36"/>
                  </a:lnTo>
                  <a:lnTo>
                    <a:pt x="240" y="36"/>
                  </a:lnTo>
                  <a:lnTo>
                    <a:pt x="238" y="34"/>
                  </a:lnTo>
                  <a:lnTo>
                    <a:pt x="238" y="32"/>
                  </a:lnTo>
                  <a:lnTo>
                    <a:pt x="237" y="30"/>
                  </a:lnTo>
                  <a:lnTo>
                    <a:pt x="237" y="30"/>
                  </a:lnTo>
                  <a:lnTo>
                    <a:pt x="235" y="28"/>
                  </a:lnTo>
                  <a:lnTo>
                    <a:pt x="229" y="28"/>
                  </a:lnTo>
                  <a:lnTo>
                    <a:pt x="227" y="28"/>
                  </a:lnTo>
                  <a:lnTo>
                    <a:pt x="227" y="28"/>
                  </a:lnTo>
                  <a:lnTo>
                    <a:pt x="227" y="28"/>
                  </a:lnTo>
                  <a:lnTo>
                    <a:pt x="219" y="30"/>
                  </a:lnTo>
                  <a:lnTo>
                    <a:pt x="219" y="32"/>
                  </a:lnTo>
                  <a:lnTo>
                    <a:pt x="217" y="32"/>
                  </a:lnTo>
                  <a:lnTo>
                    <a:pt x="217" y="32"/>
                  </a:lnTo>
                  <a:lnTo>
                    <a:pt x="217" y="34"/>
                  </a:lnTo>
                  <a:lnTo>
                    <a:pt x="217" y="34"/>
                  </a:lnTo>
                  <a:lnTo>
                    <a:pt x="217" y="36"/>
                  </a:lnTo>
                  <a:lnTo>
                    <a:pt x="217" y="36"/>
                  </a:lnTo>
                  <a:lnTo>
                    <a:pt x="216" y="36"/>
                  </a:lnTo>
                  <a:lnTo>
                    <a:pt x="216" y="36"/>
                  </a:lnTo>
                  <a:lnTo>
                    <a:pt x="216" y="36"/>
                  </a:lnTo>
                  <a:lnTo>
                    <a:pt x="214" y="36"/>
                  </a:lnTo>
                  <a:lnTo>
                    <a:pt x="214" y="36"/>
                  </a:lnTo>
                  <a:lnTo>
                    <a:pt x="214" y="36"/>
                  </a:lnTo>
                  <a:lnTo>
                    <a:pt x="214" y="36"/>
                  </a:lnTo>
                  <a:lnTo>
                    <a:pt x="212" y="36"/>
                  </a:lnTo>
                  <a:lnTo>
                    <a:pt x="212" y="34"/>
                  </a:lnTo>
                  <a:lnTo>
                    <a:pt x="212" y="34"/>
                  </a:lnTo>
                  <a:lnTo>
                    <a:pt x="208" y="34"/>
                  </a:lnTo>
                  <a:lnTo>
                    <a:pt x="208" y="34"/>
                  </a:lnTo>
                  <a:lnTo>
                    <a:pt x="208" y="34"/>
                  </a:lnTo>
                  <a:lnTo>
                    <a:pt x="200" y="34"/>
                  </a:lnTo>
                  <a:lnTo>
                    <a:pt x="198" y="34"/>
                  </a:lnTo>
                  <a:lnTo>
                    <a:pt x="198" y="34"/>
                  </a:lnTo>
                  <a:lnTo>
                    <a:pt x="197" y="34"/>
                  </a:lnTo>
                  <a:lnTo>
                    <a:pt x="197" y="32"/>
                  </a:lnTo>
                  <a:lnTo>
                    <a:pt x="197" y="30"/>
                  </a:lnTo>
                  <a:lnTo>
                    <a:pt x="195" y="30"/>
                  </a:lnTo>
                  <a:lnTo>
                    <a:pt x="195" y="30"/>
                  </a:lnTo>
                  <a:lnTo>
                    <a:pt x="185" y="28"/>
                  </a:lnTo>
                  <a:lnTo>
                    <a:pt x="185" y="28"/>
                  </a:lnTo>
                  <a:lnTo>
                    <a:pt x="185" y="28"/>
                  </a:lnTo>
                  <a:lnTo>
                    <a:pt x="183" y="28"/>
                  </a:lnTo>
                  <a:lnTo>
                    <a:pt x="183" y="24"/>
                  </a:lnTo>
                  <a:lnTo>
                    <a:pt x="181" y="24"/>
                  </a:lnTo>
                  <a:lnTo>
                    <a:pt x="181" y="24"/>
                  </a:lnTo>
                  <a:lnTo>
                    <a:pt x="179" y="22"/>
                  </a:lnTo>
                  <a:lnTo>
                    <a:pt x="177" y="22"/>
                  </a:lnTo>
                  <a:lnTo>
                    <a:pt x="177" y="22"/>
                  </a:lnTo>
                  <a:lnTo>
                    <a:pt x="172" y="24"/>
                  </a:lnTo>
                  <a:lnTo>
                    <a:pt x="168" y="26"/>
                  </a:lnTo>
                  <a:lnTo>
                    <a:pt x="168" y="26"/>
                  </a:lnTo>
                  <a:lnTo>
                    <a:pt x="166" y="26"/>
                  </a:lnTo>
                  <a:lnTo>
                    <a:pt x="166" y="28"/>
                  </a:lnTo>
                  <a:lnTo>
                    <a:pt x="164" y="30"/>
                  </a:lnTo>
                  <a:lnTo>
                    <a:pt x="164" y="30"/>
                  </a:lnTo>
                  <a:lnTo>
                    <a:pt x="162" y="30"/>
                  </a:lnTo>
                  <a:lnTo>
                    <a:pt x="160" y="30"/>
                  </a:lnTo>
                  <a:lnTo>
                    <a:pt x="160" y="30"/>
                  </a:lnTo>
                  <a:lnTo>
                    <a:pt x="160" y="30"/>
                  </a:lnTo>
                  <a:lnTo>
                    <a:pt x="160" y="30"/>
                  </a:lnTo>
                  <a:lnTo>
                    <a:pt x="158" y="30"/>
                  </a:lnTo>
                  <a:lnTo>
                    <a:pt x="158" y="28"/>
                  </a:lnTo>
                  <a:lnTo>
                    <a:pt x="157" y="28"/>
                  </a:lnTo>
                  <a:lnTo>
                    <a:pt x="155" y="28"/>
                  </a:lnTo>
                  <a:lnTo>
                    <a:pt x="155" y="28"/>
                  </a:lnTo>
                  <a:lnTo>
                    <a:pt x="155" y="26"/>
                  </a:lnTo>
                  <a:lnTo>
                    <a:pt x="155" y="26"/>
                  </a:lnTo>
                  <a:lnTo>
                    <a:pt x="155" y="26"/>
                  </a:lnTo>
                  <a:lnTo>
                    <a:pt x="153" y="24"/>
                  </a:lnTo>
                  <a:lnTo>
                    <a:pt x="151" y="24"/>
                  </a:lnTo>
                  <a:lnTo>
                    <a:pt x="151" y="24"/>
                  </a:lnTo>
                  <a:lnTo>
                    <a:pt x="151" y="22"/>
                  </a:lnTo>
                  <a:lnTo>
                    <a:pt x="149" y="22"/>
                  </a:lnTo>
                  <a:lnTo>
                    <a:pt x="147" y="15"/>
                  </a:lnTo>
                  <a:lnTo>
                    <a:pt x="147" y="15"/>
                  </a:lnTo>
                  <a:lnTo>
                    <a:pt x="147" y="15"/>
                  </a:lnTo>
                  <a:lnTo>
                    <a:pt x="147" y="15"/>
                  </a:lnTo>
                  <a:lnTo>
                    <a:pt x="145" y="13"/>
                  </a:lnTo>
                  <a:lnTo>
                    <a:pt x="145" y="13"/>
                  </a:lnTo>
                  <a:lnTo>
                    <a:pt x="145" y="13"/>
                  </a:lnTo>
                  <a:lnTo>
                    <a:pt x="143" y="11"/>
                  </a:lnTo>
                  <a:lnTo>
                    <a:pt x="141" y="11"/>
                  </a:lnTo>
                  <a:lnTo>
                    <a:pt x="137" y="11"/>
                  </a:lnTo>
                  <a:lnTo>
                    <a:pt x="136" y="11"/>
                  </a:lnTo>
                  <a:lnTo>
                    <a:pt x="136" y="11"/>
                  </a:lnTo>
                  <a:lnTo>
                    <a:pt x="132" y="9"/>
                  </a:lnTo>
                  <a:lnTo>
                    <a:pt x="126" y="7"/>
                  </a:lnTo>
                  <a:lnTo>
                    <a:pt x="124" y="7"/>
                  </a:lnTo>
                  <a:lnTo>
                    <a:pt x="124" y="7"/>
                  </a:lnTo>
                  <a:lnTo>
                    <a:pt x="122" y="7"/>
                  </a:lnTo>
                  <a:lnTo>
                    <a:pt x="120" y="7"/>
                  </a:lnTo>
                  <a:lnTo>
                    <a:pt x="120" y="7"/>
                  </a:lnTo>
                  <a:lnTo>
                    <a:pt x="118" y="5"/>
                  </a:lnTo>
                  <a:lnTo>
                    <a:pt x="118" y="5"/>
                  </a:lnTo>
                  <a:lnTo>
                    <a:pt x="118" y="5"/>
                  </a:lnTo>
                  <a:lnTo>
                    <a:pt x="116" y="5"/>
                  </a:lnTo>
                  <a:lnTo>
                    <a:pt x="116" y="5"/>
                  </a:lnTo>
                  <a:lnTo>
                    <a:pt x="116" y="7"/>
                  </a:lnTo>
                  <a:lnTo>
                    <a:pt x="116" y="7"/>
                  </a:lnTo>
                  <a:lnTo>
                    <a:pt x="115" y="7"/>
                  </a:lnTo>
                  <a:lnTo>
                    <a:pt x="115" y="7"/>
                  </a:lnTo>
                  <a:lnTo>
                    <a:pt x="115" y="7"/>
                  </a:lnTo>
                  <a:lnTo>
                    <a:pt x="115" y="7"/>
                  </a:lnTo>
                  <a:lnTo>
                    <a:pt x="115" y="9"/>
                  </a:lnTo>
                  <a:lnTo>
                    <a:pt x="113" y="9"/>
                  </a:lnTo>
                  <a:lnTo>
                    <a:pt x="107" y="5"/>
                  </a:lnTo>
                  <a:lnTo>
                    <a:pt x="107" y="5"/>
                  </a:lnTo>
                  <a:lnTo>
                    <a:pt x="107" y="5"/>
                  </a:lnTo>
                  <a:lnTo>
                    <a:pt x="107" y="5"/>
                  </a:lnTo>
                  <a:lnTo>
                    <a:pt x="105" y="3"/>
                  </a:lnTo>
                  <a:lnTo>
                    <a:pt x="105" y="1"/>
                  </a:lnTo>
                  <a:lnTo>
                    <a:pt x="105" y="1"/>
                  </a:lnTo>
                  <a:lnTo>
                    <a:pt x="103" y="1"/>
                  </a:lnTo>
                  <a:lnTo>
                    <a:pt x="99" y="0"/>
                  </a:lnTo>
                  <a:lnTo>
                    <a:pt x="99" y="1"/>
                  </a:lnTo>
                  <a:lnTo>
                    <a:pt x="99" y="3"/>
                  </a:lnTo>
                  <a:lnTo>
                    <a:pt x="103" y="13"/>
                  </a:lnTo>
                  <a:lnTo>
                    <a:pt x="103" y="13"/>
                  </a:lnTo>
                  <a:lnTo>
                    <a:pt x="105" y="13"/>
                  </a:lnTo>
                  <a:lnTo>
                    <a:pt x="105" y="13"/>
                  </a:lnTo>
                  <a:lnTo>
                    <a:pt x="107" y="15"/>
                  </a:lnTo>
                  <a:lnTo>
                    <a:pt x="107" y="15"/>
                  </a:lnTo>
                  <a:lnTo>
                    <a:pt x="107" y="17"/>
                  </a:lnTo>
                  <a:lnTo>
                    <a:pt x="107" y="17"/>
                  </a:lnTo>
                  <a:lnTo>
                    <a:pt x="105" y="19"/>
                  </a:lnTo>
                  <a:lnTo>
                    <a:pt x="105" y="19"/>
                  </a:lnTo>
                  <a:lnTo>
                    <a:pt x="105" y="19"/>
                  </a:lnTo>
                  <a:lnTo>
                    <a:pt x="101" y="21"/>
                  </a:lnTo>
                  <a:lnTo>
                    <a:pt x="101" y="22"/>
                  </a:lnTo>
                  <a:lnTo>
                    <a:pt x="99" y="24"/>
                  </a:lnTo>
                  <a:lnTo>
                    <a:pt x="99" y="26"/>
                  </a:lnTo>
                  <a:lnTo>
                    <a:pt x="97" y="28"/>
                  </a:lnTo>
                  <a:lnTo>
                    <a:pt x="97" y="30"/>
                  </a:lnTo>
                  <a:lnTo>
                    <a:pt x="97" y="32"/>
                  </a:lnTo>
                  <a:lnTo>
                    <a:pt x="97" y="38"/>
                  </a:lnTo>
                  <a:lnTo>
                    <a:pt x="97" y="38"/>
                  </a:lnTo>
                  <a:lnTo>
                    <a:pt x="97" y="40"/>
                  </a:lnTo>
                  <a:lnTo>
                    <a:pt x="97" y="40"/>
                  </a:lnTo>
                  <a:lnTo>
                    <a:pt x="96" y="40"/>
                  </a:lnTo>
                  <a:lnTo>
                    <a:pt x="96" y="41"/>
                  </a:lnTo>
                  <a:lnTo>
                    <a:pt x="92" y="41"/>
                  </a:lnTo>
                  <a:lnTo>
                    <a:pt x="90" y="41"/>
                  </a:lnTo>
                  <a:lnTo>
                    <a:pt x="90" y="41"/>
                  </a:lnTo>
                  <a:lnTo>
                    <a:pt x="88" y="43"/>
                  </a:lnTo>
                  <a:lnTo>
                    <a:pt x="88" y="45"/>
                  </a:lnTo>
                  <a:lnTo>
                    <a:pt x="86" y="47"/>
                  </a:lnTo>
                  <a:lnTo>
                    <a:pt x="86" y="49"/>
                  </a:lnTo>
                  <a:lnTo>
                    <a:pt x="86" y="49"/>
                  </a:lnTo>
                  <a:lnTo>
                    <a:pt x="86" y="49"/>
                  </a:lnTo>
                  <a:lnTo>
                    <a:pt x="86" y="51"/>
                  </a:lnTo>
                  <a:lnTo>
                    <a:pt x="86" y="51"/>
                  </a:lnTo>
                  <a:lnTo>
                    <a:pt x="86" y="57"/>
                  </a:lnTo>
                  <a:lnTo>
                    <a:pt x="86" y="57"/>
                  </a:lnTo>
                  <a:lnTo>
                    <a:pt x="86" y="59"/>
                  </a:lnTo>
                  <a:lnTo>
                    <a:pt x="86" y="60"/>
                  </a:lnTo>
                  <a:lnTo>
                    <a:pt x="84" y="60"/>
                  </a:lnTo>
                  <a:lnTo>
                    <a:pt x="84" y="60"/>
                  </a:lnTo>
                  <a:lnTo>
                    <a:pt x="80" y="60"/>
                  </a:lnTo>
                  <a:lnTo>
                    <a:pt x="80" y="60"/>
                  </a:lnTo>
                  <a:lnTo>
                    <a:pt x="78" y="60"/>
                  </a:lnTo>
                  <a:lnTo>
                    <a:pt x="78" y="60"/>
                  </a:lnTo>
                  <a:lnTo>
                    <a:pt x="78" y="60"/>
                  </a:lnTo>
                  <a:lnTo>
                    <a:pt x="76" y="60"/>
                  </a:lnTo>
                  <a:lnTo>
                    <a:pt x="75" y="60"/>
                  </a:lnTo>
                  <a:lnTo>
                    <a:pt x="75" y="60"/>
                  </a:lnTo>
                  <a:lnTo>
                    <a:pt x="73" y="60"/>
                  </a:lnTo>
                  <a:lnTo>
                    <a:pt x="71" y="59"/>
                  </a:lnTo>
                  <a:lnTo>
                    <a:pt x="71" y="59"/>
                  </a:lnTo>
                  <a:lnTo>
                    <a:pt x="69" y="55"/>
                  </a:lnTo>
                  <a:lnTo>
                    <a:pt x="69" y="55"/>
                  </a:lnTo>
                  <a:lnTo>
                    <a:pt x="67" y="55"/>
                  </a:lnTo>
                  <a:lnTo>
                    <a:pt x="65" y="55"/>
                  </a:lnTo>
                  <a:lnTo>
                    <a:pt x="65" y="55"/>
                  </a:lnTo>
                  <a:lnTo>
                    <a:pt x="63" y="55"/>
                  </a:lnTo>
                  <a:lnTo>
                    <a:pt x="63" y="55"/>
                  </a:lnTo>
                  <a:lnTo>
                    <a:pt x="61" y="55"/>
                  </a:lnTo>
                  <a:lnTo>
                    <a:pt x="61" y="55"/>
                  </a:lnTo>
                  <a:lnTo>
                    <a:pt x="59" y="55"/>
                  </a:lnTo>
                  <a:lnTo>
                    <a:pt x="59" y="55"/>
                  </a:lnTo>
                  <a:lnTo>
                    <a:pt x="59" y="55"/>
                  </a:lnTo>
                  <a:lnTo>
                    <a:pt x="57" y="57"/>
                  </a:lnTo>
                  <a:lnTo>
                    <a:pt x="57" y="57"/>
                  </a:lnTo>
                  <a:lnTo>
                    <a:pt x="57" y="59"/>
                  </a:lnTo>
                  <a:lnTo>
                    <a:pt x="57" y="59"/>
                  </a:lnTo>
                  <a:lnTo>
                    <a:pt x="59" y="59"/>
                  </a:lnTo>
                  <a:lnTo>
                    <a:pt x="59" y="59"/>
                  </a:lnTo>
                  <a:lnTo>
                    <a:pt x="59" y="60"/>
                  </a:lnTo>
                  <a:lnTo>
                    <a:pt x="57" y="62"/>
                  </a:lnTo>
                  <a:lnTo>
                    <a:pt x="56" y="62"/>
                  </a:lnTo>
                  <a:lnTo>
                    <a:pt x="56" y="64"/>
                  </a:lnTo>
                  <a:lnTo>
                    <a:pt x="56" y="68"/>
                  </a:lnTo>
                  <a:lnTo>
                    <a:pt x="54" y="70"/>
                  </a:lnTo>
                  <a:lnTo>
                    <a:pt x="54" y="70"/>
                  </a:lnTo>
                  <a:lnTo>
                    <a:pt x="54" y="72"/>
                  </a:lnTo>
                  <a:lnTo>
                    <a:pt x="54" y="72"/>
                  </a:lnTo>
                  <a:lnTo>
                    <a:pt x="54" y="74"/>
                  </a:lnTo>
                  <a:lnTo>
                    <a:pt x="54" y="74"/>
                  </a:lnTo>
                  <a:lnTo>
                    <a:pt x="54" y="74"/>
                  </a:lnTo>
                  <a:lnTo>
                    <a:pt x="54" y="76"/>
                  </a:lnTo>
                  <a:lnTo>
                    <a:pt x="52" y="76"/>
                  </a:lnTo>
                  <a:lnTo>
                    <a:pt x="52" y="76"/>
                  </a:lnTo>
                  <a:lnTo>
                    <a:pt x="52" y="76"/>
                  </a:lnTo>
                  <a:lnTo>
                    <a:pt x="50" y="78"/>
                  </a:lnTo>
                  <a:lnTo>
                    <a:pt x="48" y="79"/>
                  </a:lnTo>
                  <a:lnTo>
                    <a:pt x="48" y="79"/>
                  </a:lnTo>
                  <a:lnTo>
                    <a:pt x="46" y="81"/>
                  </a:lnTo>
                  <a:lnTo>
                    <a:pt x="46" y="81"/>
                  </a:lnTo>
                  <a:lnTo>
                    <a:pt x="46" y="81"/>
                  </a:lnTo>
                  <a:lnTo>
                    <a:pt x="46" y="83"/>
                  </a:lnTo>
                  <a:lnTo>
                    <a:pt x="48" y="85"/>
                  </a:lnTo>
                  <a:lnTo>
                    <a:pt x="48" y="85"/>
                  </a:lnTo>
                  <a:lnTo>
                    <a:pt x="48" y="87"/>
                  </a:lnTo>
                  <a:lnTo>
                    <a:pt x="48" y="87"/>
                  </a:lnTo>
                  <a:lnTo>
                    <a:pt x="48" y="87"/>
                  </a:lnTo>
                  <a:lnTo>
                    <a:pt x="48" y="87"/>
                  </a:lnTo>
                  <a:lnTo>
                    <a:pt x="48" y="87"/>
                  </a:lnTo>
                  <a:lnTo>
                    <a:pt x="50" y="87"/>
                  </a:lnTo>
                  <a:lnTo>
                    <a:pt x="50" y="87"/>
                  </a:lnTo>
                  <a:lnTo>
                    <a:pt x="52" y="87"/>
                  </a:lnTo>
                  <a:lnTo>
                    <a:pt x="52" y="89"/>
                  </a:lnTo>
                  <a:lnTo>
                    <a:pt x="52" y="89"/>
                  </a:lnTo>
                  <a:lnTo>
                    <a:pt x="52" y="89"/>
                  </a:lnTo>
                  <a:lnTo>
                    <a:pt x="52" y="91"/>
                  </a:lnTo>
                  <a:lnTo>
                    <a:pt x="52" y="91"/>
                  </a:lnTo>
                  <a:lnTo>
                    <a:pt x="52" y="91"/>
                  </a:lnTo>
                  <a:lnTo>
                    <a:pt x="52" y="91"/>
                  </a:lnTo>
                  <a:lnTo>
                    <a:pt x="54" y="91"/>
                  </a:lnTo>
                  <a:lnTo>
                    <a:pt x="54" y="91"/>
                  </a:lnTo>
                  <a:lnTo>
                    <a:pt x="54" y="91"/>
                  </a:lnTo>
                  <a:lnTo>
                    <a:pt x="54" y="93"/>
                  </a:lnTo>
                  <a:lnTo>
                    <a:pt x="54" y="93"/>
                  </a:lnTo>
                  <a:lnTo>
                    <a:pt x="54" y="95"/>
                  </a:lnTo>
                  <a:lnTo>
                    <a:pt x="56" y="95"/>
                  </a:lnTo>
                  <a:lnTo>
                    <a:pt x="56" y="97"/>
                  </a:lnTo>
                  <a:lnTo>
                    <a:pt x="59" y="98"/>
                  </a:lnTo>
                  <a:lnTo>
                    <a:pt x="61" y="100"/>
                  </a:lnTo>
                  <a:lnTo>
                    <a:pt x="61" y="100"/>
                  </a:lnTo>
                  <a:lnTo>
                    <a:pt x="61" y="100"/>
                  </a:lnTo>
                  <a:lnTo>
                    <a:pt x="61" y="102"/>
                  </a:lnTo>
                  <a:lnTo>
                    <a:pt x="61" y="102"/>
                  </a:lnTo>
                  <a:lnTo>
                    <a:pt x="59" y="102"/>
                  </a:lnTo>
                  <a:lnTo>
                    <a:pt x="57" y="102"/>
                  </a:lnTo>
                  <a:lnTo>
                    <a:pt x="57" y="104"/>
                  </a:lnTo>
                  <a:lnTo>
                    <a:pt x="56" y="104"/>
                  </a:lnTo>
                  <a:lnTo>
                    <a:pt x="54" y="104"/>
                  </a:lnTo>
                  <a:lnTo>
                    <a:pt x="54" y="106"/>
                  </a:lnTo>
                  <a:lnTo>
                    <a:pt x="52" y="108"/>
                  </a:lnTo>
                  <a:lnTo>
                    <a:pt x="50" y="114"/>
                  </a:lnTo>
                  <a:lnTo>
                    <a:pt x="50" y="116"/>
                  </a:lnTo>
                  <a:lnTo>
                    <a:pt x="48" y="116"/>
                  </a:lnTo>
                  <a:lnTo>
                    <a:pt x="48" y="116"/>
                  </a:lnTo>
                  <a:lnTo>
                    <a:pt x="46" y="116"/>
                  </a:lnTo>
                  <a:lnTo>
                    <a:pt x="44" y="116"/>
                  </a:lnTo>
                  <a:lnTo>
                    <a:pt x="44" y="116"/>
                  </a:lnTo>
                  <a:lnTo>
                    <a:pt x="42" y="116"/>
                  </a:lnTo>
                  <a:lnTo>
                    <a:pt x="42" y="118"/>
                  </a:lnTo>
                  <a:lnTo>
                    <a:pt x="42" y="119"/>
                  </a:lnTo>
                  <a:lnTo>
                    <a:pt x="42" y="119"/>
                  </a:lnTo>
                  <a:lnTo>
                    <a:pt x="42" y="119"/>
                  </a:lnTo>
                  <a:lnTo>
                    <a:pt x="42" y="121"/>
                  </a:lnTo>
                  <a:lnTo>
                    <a:pt x="42" y="123"/>
                  </a:lnTo>
                  <a:lnTo>
                    <a:pt x="42" y="125"/>
                  </a:lnTo>
                  <a:lnTo>
                    <a:pt x="40" y="127"/>
                  </a:lnTo>
                  <a:lnTo>
                    <a:pt x="40" y="127"/>
                  </a:lnTo>
                  <a:lnTo>
                    <a:pt x="40" y="129"/>
                  </a:lnTo>
                  <a:lnTo>
                    <a:pt x="38" y="129"/>
                  </a:lnTo>
                  <a:lnTo>
                    <a:pt x="38" y="129"/>
                  </a:lnTo>
                  <a:lnTo>
                    <a:pt x="35" y="129"/>
                  </a:lnTo>
                  <a:lnTo>
                    <a:pt x="33" y="129"/>
                  </a:lnTo>
                  <a:lnTo>
                    <a:pt x="33" y="129"/>
                  </a:lnTo>
                  <a:lnTo>
                    <a:pt x="31" y="131"/>
                  </a:lnTo>
                  <a:lnTo>
                    <a:pt x="31" y="131"/>
                  </a:lnTo>
                  <a:lnTo>
                    <a:pt x="31" y="133"/>
                  </a:lnTo>
                  <a:lnTo>
                    <a:pt x="31" y="133"/>
                  </a:lnTo>
                  <a:lnTo>
                    <a:pt x="29" y="135"/>
                  </a:lnTo>
                  <a:lnTo>
                    <a:pt x="29" y="135"/>
                  </a:lnTo>
                  <a:lnTo>
                    <a:pt x="29" y="137"/>
                  </a:lnTo>
                  <a:lnTo>
                    <a:pt x="29" y="137"/>
                  </a:lnTo>
                  <a:lnTo>
                    <a:pt x="29" y="137"/>
                  </a:lnTo>
                  <a:lnTo>
                    <a:pt x="29" y="138"/>
                  </a:lnTo>
                  <a:lnTo>
                    <a:pt x="27" y="138"/>
                  </a:lnTo>
                  <a:lnTo>
                    <a:pt x="27" y="140"/>
                  </a:lnTo>
                  <a:lnTo>
                    <a:pt x="27" y="142"/>
                  </a:lnTo>
                  <a:lnTo>
                    <a:pt x="27" y="142"/>
                  </a:lnTo>
                  <a:lnTo>
                    <a:pt x="25" y="144"/>
                  </a:lnTo>
                  <a:lnTo>
                    <a:pt x="25" y="144"/>
                  </a:lnTo>
                  <a:lnTo>
                    <a:pt x="23" y="146"/>
                  </a:lnTo>
                  <a:lnTo>
                    <a:pt x="23" y="146"/>
                  </a:lnTo>
                  <a:lnTo>
                    <a:pt x="23" y="146"/>
                  </a:lnTo>
                  <a:lnTo>
                    <a:pt x="27" y="150"/>
                  </a:lnTo>
                  <a:lnTo>
                    <a:pt x="29" y="150"/>
                  </a:lnTo>
                  <a:lnTo>
                    <a:pt x="29" y="150"/>
                  </a:lnTo>
                  <a:lnTo>
                    <a:pt x="29" y="152"/>
                  </a:lnTo>
                  <a:lnTo>
                    <a:pt x="27" y="154"/>
                  </a:lnTo>
                  <a:lnTo>
                    <a:pt x="31" y="156"/>
                  </a:lnTo>
                  <a:lnTo>
                    <a:pt x="31" y="156"/>
                  </a:lnTo>
                  <a:lnTo>
                    <a:pt x="31" y="157"/>
                  </a:lnTo>
                  <a:lnTo>
                    <a:pt x="31" y="157"/>
                  </a:lnTo>
                  <a:lnTo>
                    <a:pt x="29" y="159"/>
                  </a:lnTo>
                  <a:lnTo>
                    <a:pt x="29" y="161"/>
                  </a:lnTo>
                  <a:lnTo>
                    <a:pt x="29" y="161"/>
                  </a:lnTo>
                  <a:lnTo>
                    <a:pt x="31" y="167"/>
                  </a:lnTo>
                  <a:lnTo>
                    <a:pt x="33" y="171"/>
                  </a:lnTo>
                  <a:lnTo>
                    <a:pt x="33" y="173"/>
                  </a:lnTo>
                  <a:lnTo>
                    <a:pt x="33" y="173"/>
                  </a:lnTo>
                  <a:lnTo>
                    <a:pt x="31" y="173"/>
                  </a:lnTo>
                  <a:lnTo>
                    <a:pt x="31" y="173"/>
                  </a:lnTo>
                  <a:lnTo>
                    <a:pt x="29" y="173"/>
                  </a:lnTo>
                  <a:lnTo>
                    <a:pt x="29" y="175"/>
                  </a:lnTo>
                  <a:lnTo>
                    <a:pt x="29" y="175"/>
                  </a:lnTo>
                  <a:lnTo>
                    <a:pt x="29" y="175"/>
                  </a:lnTo>
                  <a:lnTo>
                    <a:pt x="29" y="176"/>
                  </a:lnTo>
                  <a:lnTo>
                    <a:pt x="29" y="176"/>
                  </a:lnTo>
                  <a:lnTo>
                    <a:pt x="33" y="178"/>
                  </a:lnTo>
                  <a:lnTo>
                    <a:pt x="33" y="180"/>
                  </a:lnTo>
                  <a:lnTo>
                    <a:pt x="33" y="182"/>
                  </a:lnTo>
                  <a:lnTo>
                    <a:pt x="35" y="184"/>
                  </a:lnTo>
                  <a:lnTo>
                    <a:pt x="35" y="188"/>
                  </a:lnTo>
                  <a:lnTo>
                    <a:pt x="35" y="190"/>
                  </a:lnTo>
                  <a:lnTo>
                    <a:pt x="35" y="190"/>
                  </a:lnTo>
                  <a:lnTo>
                    <a:pt x="35" y="190"/>
                  </a:lnTo>
                  <a:lnTo>
                    <a:pt x="29" y="195"/>
                  </a:lnTo>
                  <a:lnTo>
                    <a:pt x="27" y="197"/>
                  </a:lnTo>
                  <a:lnTo>
                    <a:pt x="27" y="197"/>
                  </a:lnTo>
                  <a:lnTo>
                    <a:pt x="25" y="197"/>
                  </a:lnTo>
                  <a:lnTo>
                    <a:pt x="25" y="197"/>
                  </a:lnTo>
                  <a:lnTo>
                    <a:pt x="25" y="199"/>
                  </a:lnTo>
                  <a:lnTo>
                    <a:pt x="23" y="199"/>
                  </a:lnTo>
                  <a:lnTo>
                    <a:pt x="23" y="201"/>
                  </a:lnTo>
                  <a:lnTo>
                    <a:pt x="23" y="201"/>
                  </a:lnTo>
                  <a:lnTo>
                    <a:pt x="23" y="201"/>
                  </a:lnTo>
                  <a:lnTo>
                    <a:pt x="23" y="201"/>
                  </a:lnTo>
                  <a:lnTo>
                    <a:pt x="23" y="203"/>
                  </a:lnTo>
                  <a:lnTo>
                    <a:pt x="25" y="203"/>
                  </a:lnTo>
                  <a:lnTo>
                    <a:pt x="25" y="205"/>
                  </a:lnTo>
                  <a:lnTo>
                    <a:pt x="25" y="205"/>
                  </a:lnTo>
                  <a:lnTo>
                    <a:pt x="27" y="207"/>
                  </a:lnTo>
                  <a:lnTo>
                    <a:pt x="25" y="207"/>
                  </a:lnTo>
                  <a:lnTo>
                    <a:pt x="25" y="209"/>
                  </a:lnTo>
                  <a:lnTo>
                    <a:pt x="25" y="209"/>
                  </a:lnTo>
                  <a:lnTo>
                    <a:pt x="21" y="211"/>
                  </a:lnTo>
                  <a:lnTo>
                    <a:pt x="21" y="211"/>
                  </a:lnTo>
                  <a:lnTo>
                    <a:pt x="19" y="211"/>
                  </a:lnTo>
                  <a:lnTo>
                    <a:pt x="19" y="213"/>
                  </a:lnTo>
                  <a:lnTo>
                    <a:pt x="16" y="216"/>
                  </a:lnTo>
                  <a:lnTo>
                    <a:pt x="16" y="218"/>
                  </a:lnTo>
                  <a:lnTo>
                    <a:pt x="16" y="220"/>
                  </a:lnTo>
                  <a:lnTo>
                    <a:pt x="19" y="222"/>
                  </a:lnTo>
                  <a:lnTo>
                    <a:pt x="19" y="222"/>
                  </a:lnTo>
                  <a:lnTo>
                    <a:pt x="21" y="224"/>
                  </a:lnTo>
                  <a:lnTo>
                    <a:pt x="23" y="224"/>
                  </a:lnTo>
                  <a:lnTo>
                    <a:pt x="23" y="224"/>
                  </a:lnTo>
                  <a:lnTo>
                    <a:pt x="25" y="224"/>
                  </a:lnTo>
                  <a:lnTo>
                    <a:pt x="27" y="224"/>
                  </a:lnTo>
                  <a:lnTo>
                    <a:pt x="27" y="224"/>
                  </a:lnTo>
                  <a:lnTo>
                    <a:pt x="31" y="224"/>
                  </a:lnTo>
                  <a:lnTo>
                    <a:pt x="31" y="226"/>
                  </a:lnTo>
                  <a:lnTo>
                    <a:pt x="31" y="228"/>
                  </a:lnTo>
                  <a:lnTo>
                    <a:pt x="33" y="228"/>
                  </a:lnTo>
                  <a:lnTo>
                    <a:pt x="33" y="228"/>
                  </a:lnTo>
                  <a:lnTo>
                    <a:pt x="35" y="226"/>
                  </a:lnTo>
                  <a:lnTo>
                    <a:pt x="36" y="226"/>
                  </a:lnTo>
                  <a:lnTo>
                    <a:pt x="36" y="224"/>
                  </a:lnTo>
                  <a:lnTo>
                    <a:pt x="38" y="224"/>
                  </a:lnTo>
                  <a:lnTo>
                    <a:pt x="40" y="224"/>
                  </a:lnTo>
                  <a:lnTo>
                    <a:pt x="40" y="226"/>
                  </a:lnTo>
                  <a:lnTo>
                    <a:pt x="40" y="226"/>
                  </a:lnTo>
                  <a:lnTo>
                    <a:pt x="36" y="232"/>
                  </a:lnTo>
                  <a:lnTo>
                    <a:pt x="36" y="232"/>
                  </a:lnTo>
                  <a:lnTo>
                    <a:pt x="36" y="232"/>
                  </a:lnTo>
                  <a:lnTo>
                    <a:pt x="33" y="234"/>
                  </a:lnTo>
                  <a:lnTo>
                    <a:pt x="31" y="234"/>
                  </a:lnTo>
                  <a:lnTo>
                    <a:pt x="31" y="235"/>
                  </a:lnTo>
                  <a:lnTo>
                    <a:pt x="31" y="235"/>
                  </a:lnTo>
                  <a:lnTo>
                    <a:pt x="29" y="237"/>
                  </a:lnTo>
                  <a:lnTo>
                    <a:pt x="29" y="237"/>
                  </a:lnTo>
                  <a:lnTo>
                    <a:pt x="27" y="237"/>
                  </a:lnTo>
                  <a:lnTo>
                    <a:pt x="27" y="237"/>
                  </a:lnTo>
                  <a:lnTo>
                    <a:pt x="25" y="239"/>
                  </a:lnTo>
                  <a:lnTo>
                    <a:pt x="25" y="239"/>
                  </a:lnTo>
                  <a:lnTo>
                    <a:pt x="23" y="241"/>
                  </a:lnTo>
                  <a:lnTo>
                    <a:pt x="23" y="243"/>
                  </a:lnTo>
                  <a:lnTo>
                    <a:pt x="12" y="258"/>
                  </a:lnTo>
                  <a:lnTo>
                    <a:pt x="10" y="262"/>
                  </a:lnTo>
                  <a:lnTo>
                    <a:pt x="10" y="262"/>
                  </a:lnTo>
                  <a:lnTo>
                    <a:pt x="12" y="264"/>
                  </a:lnTo>
                  <a:lnTo>
                    <a:pt x="12" y="264"/>
                  </a:lnTo>
                  <a:lnTo>
                    <a:pt x="12" y="264"/>
                  </a:lnTo>
                  <a:lnTo>
                    <a:pt x="14" y="266"/>
                  </a:lnTo>
                  <a:lnTo>
                    <a:pt x="16" y="266"/>
                  </a:lnTo>
                  <a:lnTo>
                    <a:pt x="16" y="266"/>
                  </a:lnTo>
                  <a:lnTo>
                    <a:pt x="16" y="268"/>
                  </a:lnTo>
                  <a:lnTo>
                    <a:pt x="17" y="272"/>
                  </a:lnTo>
                  <a:lnTo>
                    <a:pt x="17" y="272"/>
                  </a:lnTo>
                  <a:lnTo>
                    <a:pt x="19" y="275"/>
                  </a:lnTo>
                  <a:lnTo>
                    <a:pt x="19" y="277"/>
                  </a:lnTo>
                  <a:lnTo>
                    <a:pt x="19" y="279"/>
                  </a:lnTo>
                  <a:lnTo>
                    <a:pt x="19" y="281"/>
                  </a:lnTo>
                  <a:lnTo>
                    <a:pt x="17" y="283"/>
                  </a:lnTo>
                  <a:lnTo>
                    <a:pt x="17" y="285"/>
                  </a:lnTo>
                  <a:lnTo>
                    <a:pt x="17" y="287"/>
                  </a:lnTo>
                  <a:lnTo>
                    <a:pt x="17" y="298"/>
                  </a:lnTo>
                  <a:lnTo>
                    <a:pt x="17" y="300"/>
                  </a:lnTo>
                  <a:lnTo>
                    <a:pt x="16" y="300"/>
                  </a:lnTo>
                  <a:lnTo>
                    <a:pt x="16" y="300"/>
                  </a:lnTo>
                  <a:lnTo>
                    <a:pt x="16" y="302"/>
                  </a:lnTo>
                  <a:lnTo>
                    <a:pt x="16" y="306"/>
                  </a:lnTo>
                  <a:lnTo>
                    <a:pt x="16" y="306"/>
                  </a:lnTo>
                  <a:lnTo>
                    <a:pt x="16" y="308"/>
                  </a:lnTo>
                  <a:lnTo>
                    <a:pt x="16" y="308"/>
                  </a:lnTo>
                  <a:lnTo>
                    <a:pt x="17" y="308"/>
                  </a:lnTo>
                  <a:lnTo>
                    <a:pt x="17" y="310"/>
                  </a:lnTo>
                  <a:lnTo>
                    <a:pt x="17" y="310"/>
                  </a:lnTo>
                  <a:lnTo>
                    <a:pt x="17" y="310"/>
                  </a:lnTo>
                  <a:lnTo>
                    <a:pt x="16" y="312"/>
                  </a:lnTo>
                  <a:lnTo>
                    <a:pt x="16" y="312"/>
                  </a:lnTo>
                  <a:lnTo>
                    <a:pt x="16" y="313"/>
                  </a:lnTo>
                  <a:lnTo>
                    <a:pt x="16" y="313"/>
                  </a:lnTo>
                  <a:lnTo>
                    <a:pt x="16" y="313"/>
                  </a:lnTo>
                  <a:lnTo>
                    <a:pt x="16" y="313"/>
                  </a:lnTo>
                  <a:lnTo>
                    <a:pt x="17" y="313"/>
                  </a:lnTo>
                  <a:lnTo>
                    <a:pt x="17" y="313"/>
                  </a:lnTo>
                  <a:lnTo>
                    <a:pt x="17" y="313"/>
                  </a:lnTo>
                  <a:lnTo>
                    <a:pt x="17" y="315"/>
                  </a:lnTo>
                  <a:lnTo>
                    <a:pt x="17" y="315"/>
                  </a:lnTo>
                  <a:lnTo>
                    <a:pt x="17" y="317"/>
                  </a:lnTo>
                  <a:lnTo>
                    <a:pt x="17" y="317"/>
                  </a:lnTo>
                  <a:lnTo>
                    <a:pt x="17" y="319"/>
                  </a:lnTo>
                  <a:lnTo>
                    <a:pt x="16" y="319"/>
                  </a:lnTo>
                  <a:lnTo>
                    <a:pt x="16" y="321"/>
                  </a:lnTo>
                  <a:lnTo>
                    <a:pt x="14" y="321"/>
                  </a:lnTo>
                  <a:lnTo>
                    <a:pt x="14" y="321"/>
                  </a:lnTo>
                  <a:lnTo>
                    <a:pt x="12" y="323"/>
                  </a:lnTo>
                  <a:lnTo>
                    <a:pt x="12" y="325"/>
                  </a:lnTo>
                  <a:lnTo>
                    <a:pt x="12" y="325"/>
                  </a:lnTo>
                  <a:lnTo>
                    <a:pt x="12" y="327"/>
                  </a:lnTo>
                  <a:lnTo>
                    <a:pt x="8" y="327"/>
                  </a:lnTo>
                  <a:lnTo>
                    <a:pt x="6" y="329"/>
                  </a:lnTo>
                  <a:lnTo>
                    <a:pt x="2" y="332"/>
                  </a:lnTo>
                  <a:lnTo>
                    <a:pt x="0" y="332"/>
                  </a:lnTo>
                  <a:lnTo>
                    <a:pt x="0" y="332"/>
                  </a:lnTo>
                  <a:lnTo>
                    <a:pt x="4" y="336"/>
                  </a:lnTo>
                  <a:lnTo>
                    <a:pt x="4" y="336"/>
                  </a:lnTo>
                  <a:lnTo>
                    <a:pt x="14" y="340"/>
                  </a:lnTo>
                  <a:lnTo>
                    <a:pt x="16" y="340"/>
                  </a:lnTo>
                  <a:lnTo>
                    <a:pt x="21" y="340"/>
                  </a:lnTo>
                  <a:lnTo>
                    <a:pt x="23" y="340"/>
                  </a:lnTo>
                  <a:lnTo>
                    <a:pt x="27" y="342"/>
                  </a:lnTo>
                  <a:lnTo>
                    <a:pt x="27" y="342"/>
                  </a:lnTo>
                  <a:lnTo>
                    <a:pt x="27" y="344"/>
                  </a:lnTo>
                  <a:lnTo>
                    <a:pt x="29" y="344"/>
                  </a:lnTo>
                  <a:lnTo>
                    <a:pt x="27" y="346"/>
                  </a:lnTo>
                  <a:lnTo>
                    <a:pt x="27" y="346"/>
                  </a:lnTo>
                  <a:lnTo>
                    <a:pt x="27" y="348"/>
                  </a:lnTo>
                  <a:lnTo>
                    <a:pt x="25" y="348"/>
                  </a:lnTo>
                  <a:lnTo>
                    <a:pt x="23" y="350"/>
                  </a:lnTo>
                  <a:lnTo>
                    <a:pt x="23" y="350"/>
                  </a:lnTo>
                  <a:lnTo>
                    <a:pt x="23" y="351"/>
                  </a:lnTo>
                  <a:lnTo>
                    <a:pt x="21" y="351"/>
                  </a:lnTo>
                  <a:lnTo>
                    <a:pt x="21" y="355"/>
                  </a:lnTo>
                  <a:lnTo>
                    <a:pt x="21" y="355"/>
                  </a:lnTo>
                  <a:lnTo>
                    <a:pt x="21" y="357"/>
                  </a:lnTo>
                  <a:lnTo>
                    <a:pt x="21" y="359"/>
                  </a:lnTo>
                  <a:lnTo>
                    <a:pt x="21" y="361"/>
                  </a:lnTo>
                  <a:lnTo>
                    <a:pt x="21" y="365"/>
                  </a:lnTo>
                  <a:lnTo>
                    <a:pt x="21" y="367"/>
                  </a:lnTo>
                  <a:lnTo>
                    <a:pt x="21" y="370"/>
                  </a:lnTo>
                  <a:lnTo>
                    <a:pt x="21" y="372"/>
                  </a:lnTo>
                  <a:lnTo>
                    <a:pt x="21" y="376"/>
                  </a:lnTo>
                  <a:lnTo>
                    <a:pt x="21" y="376"/>
                  </a:lnTo>
                  <a:lnTo>
                    <a:pt x="21" y="378"/>
                  </a:lnTo>
                  <a:lnTo>
                    <a:pt x="19" y="380"/>
                  </a:lnTo>
                  <a:lnTo>
                    <a:pt x="17" y="380"/>
                  </a:lnTo>
                  <a:lnTo>
                    <a:pt x="17" y="380"/>
                  </a:lnTo>
                  <a:lnTo>
                    <a:pt x="21" y="384"/>
                  </a:lnTo>
                  <a:lnTo>
                    <a:pt x="27" y="384"/>
                  </a:lnTo>
                  <a:lnTo>
                    <a:pt x="29" y="386"/>
                  </a:lnTo>
                  <a:lnTo>
                    <a:pt x="31" y="386"/>
                  </a:lnTo>
                  <a:lnTo>
                    <a:pt x="31" y="386"/>
                  </a:lnTo>
                  <a:lnTo>
                    <a:pt x="33" y="386"/>
                  </a:lnTo>
                  <a:lnTo>
                    <a:pt x="33" y="384"/>
                  </a:lnTo>
                  <a:lnTo>
                    <a:pt x="33" y="386"/>
                  </a:lnTo>
                  <a:lnTo>
                    <a:pt x="35" y="386"/>
                  </a:lnTo>
                  <a:lnTo>
                    <a:pt x="35" y="386"/>
                  </a:lnTo>
                  <a:lnTo>
                    <a:pt x="35" y="386"/>
                  </a:lnTo>
                  <a:lnTo>
                    <a:pt x="36" y="388"/>
                  </a:lnTo>
                  <a:lnTo>
                    <a:pt x="36" y="388"/>
                  </a:lnTo>
                  <a:lnTo>
                    <a:pt x="38" y="388"/>
                  </a:lnTo>
                  <a:lnTo>
                    <a:pt x="40" y="388"/>
                  </a:lnTo>
                  <a:lnTo>
                    <a:pt x="40" y="388"/>
                  </a:lnTo>
                  <a:lnTo>
                    <a:pt x="42" y="388"/>
                  </a:lnTo>
                  <a:lnTo>
                    <a:pt x="42" y="388"/>
                  </a:lnTo>
                  <a:lnTo>
                    <a:pt x="42" y="388"/>
                  </a:lnTo>
                  <a:lnTo>
                    <a:pt x="44" y="388"/>
                  </a:lnTo>
                  <a:lnTo>
                    <a:pt x="44" y="388"/>
                  </a:lnTo>
                  <a:lnTo>
                    <a:pt x="46" y="388"/>
                  </a:lnTo>
                  <a:lnTo>
                    <a:pt x="46" y="388"/>
                  </a:lnTo>
                  <a:lnTo>
                    <a:pt x="48" y="388"/>
                  </a:lnTo>
                  <a:lnTo>
                    <a:pt x="48" y="388"/>
                  </a:lnTo>
                  <a:lnTo>
                    <a:pt x="48" y="389"/>
                  </a:lnTo>
                  <a:lnTo>
                    <a:pt x="50" y="389"/>
                  </a:lnTo>
                  <a:lnTo>
                    <a:pt x="50" y="389"/>
                  </a:lnTo>
                  <a:lnTo>
                    <a:pt x="52" y="389"/>
                  </a:lnTo>
                  <a:lnTo>
                    <a:pt x="52" y="389"/>
                  </a:lnTo>
                  <a:lnTo>
                    <a:pt x="54" y="388"/>
                  </a:lnTo>
                  <a:lnTo>
                    <a:pt x="54" y="388"/>
                  </a:lnTo>
                  <a:lnTo>
                    <a:pt x="54" y="388"/>
                  </a:lnTo>
                  <a:lnTo>
                    <a:pt x="56" y="388"/>
                  </a:lnTo>
                  <a:lnTo>
                    <a:pt x="56" y="388"/>
                  </a:lnTo>
                  <a:lnTo>
                    <a:pt x="57" y="386"/>
                  </a:lnTo>
                  <a:lnTo>
                    <a:pt x="57" y="386"/>
                  </a:lnTo>
                  <a:lnTo>
                    <a:pt x="59" y="386"/>
                  </a:lnTo>
                  <a:lnTo>
                    <a:pt x="61" y="388"/>
                  </a:lnTo>
                  <a:lnTo>
                    <a:pt x="63" y="388"/>
                  </a:lnTo>
                  <a:lnTo>
                    <a:pt x="63" y="388"/>
                  </a:lnTo>
                  <a:lnTo>
                    <a:pt x="65" y="388"/>
                  </a:lnTo>
                  <a:lnTo>
                    <a:pt x="67" y="388"/>
                  </a:lnTo>
                  <a:lnTo>
                    <a:pt x="69" y="389"/>
                  </a:lnTo>
                  <a:lnTo>
                    <a:pt x="69" y="389"/>
                  </a:lnTo>
                  <a:lnTo>
                    <a:pt x="71" y="388"/>
                  </a:lnTo>
                  <a:lnTo>
                    <a:pt x="71" y="388"/>
                  </a:lnTo>
                  <a:lnTo>
                    <a:pt x="71" y="386"/>
                  </a:lnTo>
                  <a:lnTo>
                    <a:pt x="71" y="386"/>
                  </a:lnTo>
                  <a:lnTo>
                    <a:pt x="73" y="386"/>
                  </a:lnTo>
                  <a:lnTo>
                    <a:pt x="73" y="386"/>
                  </a:lnTo>
                  <a:lnTo>
                    <a:pt x="73" y="386"/>
                  </a:lnTo>
                  <a:lnTo>
                    <a:pt x="73" y="388"/>
                  </a:lnTo>
                  <a:lnTo>
                    <a:pt x="75" y="389"/>
                  </a:lnTo>
                  <a:lnTo>
                    <a:pt x="75" y="391"/>
                  </a:lnTo>
                  <a:lnTo>
                    <a:pt x="75" y="391"/>
                  </a:lnTo>
                  <a:lnTo>
                    <a:pt x="78" y="393"/>
                  </a:lnTo>
                  <a:lnTo>
                    <a:pt x="78" y="393"/>
                  </a:lnTo>
                  <a:lnTo>
                    <a:pt x="80" y="393"/>
                  </a:lnTo>
                  <a:lnTo>
                    <a:pt x="80" y="391"/>
                  </a:lnTo>
                  <a:lnTo>
                    <a:pt x="80" y="391"/>
                  </a:lnTo>
                  <a:lnTo>
                    <a:pt x="82" y="391"/>
                  </a:lnTo>
                  <a:lnTo>
                    <a:pt x="82" y="391"/>
                  </a:lnTo>
                  <a:lnTo>
                    <a:pt x="82" y="391"/>
                  </a:lnTo>
                  <a:lnTo>
                    <a:pt x="84" y="391"/>
                  </a:lnTo>
                  <a:lnTo>
                    <a:pt x="84" y="389"/>
                  </a:lnTo>
                  <a:lnTo>
                    <a:pt x="84" y="389"/>
                  </a:lnTo>
                  <a:lnTo>
                    <a:pt x="86" y="388"/>
                  </a:lnTo>
                  <a:lnTo>
                    <a:pt x="86" y="388"/>
                  </a:lnTo>
                  <a:lnTo>
                    <a:pt x="86" y="388"/>
                  </a:lnTo>
                  <a:lnTo>
                    <a:pt x="86" y="386"/>
                  </a:lnTo>
                  <a:lnTo>
                    <a:pt x="86" y="386"/>
                  </a:lnTo>
                  <a:lnTo>
                    <a:pt x="88" y="384"/>
                  </a:lnTo>
                  <a:lnTo>
                    <a:pt x="88" y="384"/>
                  </a:lnTo>
                  <a:lnTo>
                    <a:pt x="90" y="384"/>
                  </a:lnTo>
                  <a:lnTo>
                    <a:pt x="92" y="384"/>
                  </a:lnTo>
                  <a:lnTo>
                    <a:pt x="92" y="382"/>
                  </a:lnTo>
                  <a:lnTo>
                    <a:pt x="92" y="382"/>
                  </a:lnTo>
                  <a:lnTo>
                    <a:pt x="92" y="380"/>
                  </a:lnTo>
                  <a:lnTo>
                    <a:pt x="92" y="380"/>
                  </a:lnTo>
                  <a:lnTo>
                    <a:pt x="92" y="378"/>
                  </a:lnTo>
                  <a:lnTo>
                    <a:pt x="92" y="378"/>
                  </a:lnTo>
                  <a:lnTo>
                    <a:pt x="94" y="376"/>
                  </a:lnTo>
                  <a:lnTo>
                    <a:pt x="94" y="376"/>
                  </a:lnTo>
                  <a:lnTo>
                    <a:pt x="92" y="374"/>
                  </a:lnTo>
                  <a:lnTo>
                    <a:pt x="94" y="372"/>
                  </a:lnTo>
                  <a:lnTo>
                    <a:pt x="94" y="372"/>
                  </a:lnTo>
                  <a:lnTo>
                    <a:pt x="96" y="372"/>
                  </a:lnTo>
                  <a:lnTo>
                    <a:pt x="96" y="374"/>
                  </a:lnTo>
                  <a:lnTo>
                    <a:pt x="97" y="374"/>
                  </a:lnTo>
                  <a:lnTo>
                    <a:pt x="99" y="372"/>
                  </a:lnTo>
                  <a:lnTo>
                    <a:pt x="99" y="372"/>
                  </a:lnTo>
                  <a:lnTo>
                    <a:pt x="101" y="370"/>
                  </a:lnTo>
                  <a:lnTo>
                    <a:pt x="101" y="370"/>
                  </a:lnTo>
                  <a:lnTo>
                    <a:pt x="103" y="370"/>
                  </a:lnTo>
                  <a:lnTo>
                    <a:pt x="105" y="369"/>
                  </a:lnTo>
                  <a:lnTo>
                    <a:pt x="107" y="369"/>
                  </a:lnTo>
                  <a:lnTo>
                    <a:pt x="109" y="369"/>
                  </a:lnTo>
                  <a:lnTo>
                    <a:pt x="111" y="369"/>
                  </a:lnTo>
                  <a:lnTo>
                    <a:pt x="115" y="369"/>
                  </a:lnTo>
                  <a:lnTo>
                    <a:pt x="116" y="370"/>
                  </a:lnTo>
                  <a:lnTo>
                    <a:pt x="118" y="370"/>
                  </a:lnTo>
                  <a:lnTo>
                    <a:pt x="120" y="370"/>
                  </a:lnTo>
                  <a:lnTo>
                    <a:pt x="120" y="370"/>
                  </a:lnTo>
                  <a:lnTo>
                    <a:pt x="122" y="370"/>
                  </a:lnTo>
                  <a:lnTo>
                    <a:pt x="122" y="369"/>
                  </a:lnTo>
                  <a:lnTo>
                    <a:pt x="124" y="369"/>
                  </a:lnTo>
                  <a:lnTo>
                    <a:pt x="124" y="367"/>
                  </a:lnTo>
                  <a:lnTo>
                    <a:pt x="126" y="367"/>
                  </a:lnTo>
                  <a:lnTo>
                    <a:pt x="128" y="367"/>
                  </a:lnTo>
                  <a:lnTo>
                    <a:pt x="130" y="369"/>
                  </a:lnTo>
                  <a:lnTo>
                    <a:pt x="130" y="369"/>
                  </a:lnTo>
                  <a:lnTo>
                    <a:pt x="132" y="370"/>
                  </a:lnTo>
                  <a:lnTo>
                    <a:pt x="132" y="372"/>
                  </a:lnTo>
                  <a:lnTo>
                    <a:pt x="132" y="372"/>
                  </a:lnTo>
                  <a:lnTo>
                    <a:pt x="136" y="374"/>
                  </a:lnTo>
                  <a:lnTo>
                    <a:pt x="136" y="374"/>
                  </a:lnTo>
                  <a:lnTo>
                    <a:pt x="137" y="374"/>
                  </a:lnTo>
                  <a:lnTo>
                    <a:pt x="139" y="374"/>
                  </a:lnTo>
                  <a:lnTo>
                    <a:pt x="141" y="374"/>
                  </a:lnTo>
                  <a:lnTo>
                    <a:pt x="141" y="372"/>
                  </a:lnTo>
                  <a:lnTo>
                    <a:pt x="143" y="372"/>
                  </a:lnTo>
                  <a:lnTo>
                    <a:pt x="145" y="370"/>
                  </a:lnTo>
                  <a:lnTo>
                    <a:pt x="145" y="370"/>
                  </a:lnTo>
                  <a:lnTo>
                    <a:pt x="147" y="369"/>
                  </a:lnTo>
                  <a:lnTo>
                    <a:pt x="147" y="367"/>
                  </a:lnTo>
                  <a:lnTo>
                    <a:pt x="147" y="367"/>
                  </a:lnTo>
                  <a:lnTo>
                    <a:pt x="147" y="365"/>
                  </a:lnTo>
                  <a:lnTo>
                    <a:pt x="147" y="365"/>
                  </a:lnTo>
                  <a:lnTo>
                    <a:pt x="145" y="363"/>
                  </a:lnTo>
                  <a:lnTo>
                    <a:pt x="145" y="363"/>
                  </a:lnTo>
                  <a:lnTo>
                    <a:pt x="145" y="361"/>
                  </a:lnTo>
                  <a:lnTo>
                    <a:pt x="147" y="361"/>
                  </a:lnTo>
                  <a:lnTo>
                    <a:pt x="147" y="361"/>
                  </a:lnTo>
                  <a:lnTo>
                    <a:pt x="149" y="361"/>
                  </a:lnTo>
                  <a:lnTo>
                    <a:pt x="149" y="361"/>
                  </a:lnTo>
                  <a:lnTo>
                    <a:pt x="149" y="363"/>
                  </a:lnTo>
                  <a:lnTo>
                    <a:pt x="149" y="363"/>
                  </a:lnTo>
                  <a:lnTo>
                    <a:pt x="149" y="365"/>
                  </a:lnTo>
                  <a:lnTo>
                    <a:pt x="149" y="365"/>
                  </a:lnTo>
                  <a:lnTo>
                    <a:pt x="151" y="367"/>
                  </a:lnTo>
                  <a:lnTo>
                    <a:pt x="153" y="367"/>
                  </a:lnTo>
                  <a:lnTo>
                    <a:pt x="153" y="367"/>
                  </a:lnTo>
                  <a:lnTo>
                    <a:pt x="153" y="367"/>
                  </a:lnTo>
                  <a:lnTo>
                    <a:pt x="155" y="365"/>
                  </a:lnTo>
                  <a:lnTo>
                    <a:pt x="155" y="365"/>
                  </a:lnTo>
                  <a:lnTo>
                    <a:pt x="155" y="363"/>
                  </a:lnTo>
                  <a:lnTo>
                    <a:pt x="153" y="361"/>
                  </a:lnTo>
                  <a:lnTo>
                    <a:pt x="153" y="359"/>
                  </a:lnTo>
                  <a:lnTo>
                    <a:pt x="153" y="357"/>
                  </a:lnTo>
                  <a:lnTo>
                    <a:pt x="155" y="357"/>
                  </a:lnTo>
                  <a:lnTo>
                    <a:pt x="157" y="355"/>
                  </a:lnTo>
                  <a:lnTo>
                    <a:pt x="158" y="355"/>
                  </a:lnTo>
                  <a:lnTo>
                    <a:pt x="160" y="355"/>
                  </a:lnTo>
                  <a:lnTo>
                    <a:pt x="160" y="353"/>
                  </a:lnTo>
                  <a:lnTo>
                    <a:pt x="162" y="353"/>
                  </a:lnTo>
                  <a:lnTo>
                    <a:pt x="164" y="353"/>
                  </a:lnTo>
                  <a:lnTo>
                    <a:pt x="164" y="353"/>
                  </a:lnTo>
                  <a:lnTo>
                    <a:pt x="166" y="353"/>
                  </a:lnTo>
                  <a:lnTo>
                    <a:pt x="166" y="353"/>
                  </a:lnTo>
                  <a:lnTo>
                    <a:pt x="168" y="353"/>
                  </a:lnTo>
                  <a:lnTo>
                    <a:pt x="174" y="353"/>
                  </a:lnTo>
                  <a:lnTo>
                    <a:pt x="174" y="353"/>
                  </a:lnTo>
                  <a:lnTo>
                    <a:pt x="176" y="353"/>
                  </a:lnTo>
                  <a:lnTo>
                    <a:pt x="176" y="355"/>
                  </a:lnTo>
                  <a:lnTo>
                    <a:pt x="177" y="355"/>
                  </a:lnTo>
                  <a:lnTo>
                    <a:pt x="177" y="355"/>
                  </a:lnTo>
                  <a:lnTo>
                    <a:pt x="179" y="355"/>
                  </a:lnTo>
                  <a:lnTo>
                    <a:pt x="181" y="353"/>
                  </a:lnTo>
                  <a:lnTo>
                    <a:pt x="181" y="353"/>
                  </a:lnTo>
                  <a:lnTo>
                    <a:pt x="183" y="351"/>
                  </a:lnTo>
                  <a:lnTo>
                    <a:pt x="183" y="348"/>
                  </a:lnTo>
                  <a:lnTo>
                    <a:pt x="183" y="344"/>
                  </a:lnTo>
                  <a:lnTo>
                    <a:pt x="181" y="342"/>
                  </a:lnTo>
                  <a:lnTo>
                    <a:pt x="181" y="342"/>
                  </a:lnTo>
                  <a:lnTo>
                    <a:pt x="181" y="340"/>
                  </a:lnTo>
                  <a:lnTo>
                    <a:pt x="181" y="338"/>
                  </a:lnTo>
                  <a:lnTo>
                    <a:pt x="181" y="336"/>
                  </a:lnTo>
                  <a:lnTo>
                    <a:pt x="181" y="334"/>
                  </a:lnTo>
                  <a:lnTo>
                    <a:pt x="183" y="332"/>
                  </a:lnTo>
                  <a:lnTo>
                    <a:pt x="183" y="332"/>
                  </a:lnTo>
                  <a:lnTo>
                    <a:pt x="183" y="331"/>
                  </a:lnTo>
                  <a:lnTo>
                    <a:pt x="183" y="331"/>
                  </a:lnTo>
                  <a:lnTo>
                    <a:pt x="181" y="329"/>
                  </a:lnTo>
                  <a:lnTo>
                    <a:pt x="183" y="327"/>
                  </a:lnTo>
                  <a:lnTo>
                    <a:pt x="183" y="327"/>
                  </a:lnTo>
                  <a:lnTo>
                    <a:pt x="185" y="323"/>
                  </a:lnTo>
                  <a:lnTo>
                    <a:pt x="187" y="323"/>
                  </a:lnTo>
                  <a:lnTo>
                    <a:pt x="187" y="321"/>
                  </a:lnTo>
                  <a:lnTo>
                    <a:pt x="189" y="321"/>
                  </a:lnTo>
                  <a:lnTo>
                    <a:pt x="191" y="321"/>
                  </a:lnTo>
                  <a:lnTo>
                    <a:pt x="193" y="321"/>
                  </a:lnTo>
                  <a:lnTo>
                    <a:pt x="193" y="321"/>
                  </a:lnTo>
                  <a:lnTo>
                    <a:pt x="198" y="321"/>
                  </a:lnTo>
                  <a:lnTo>
                    <a:pt x="200" y="321"/>
                  </a:lnTo>
                  <a:lnTo>
                    <a:pt x="202" y="319"/>
                  </a:lnTo>
                  <a:lnTo>
                    <a:pt x="202" y="319"/>
                  </a:lnTo>
                  <a:lnTo>
                    <a:pt x="202" y="317"/>
                  </a:lnTo>
                  <a:lnTo>
                    <a:pt x="204" y="317"/>
                  </a:lnTo>
                  <a:lnTo>
                    <a:pt x="208" y="315"/>
                  </a:lnTo>
                  <a:lnTo>
                    <a:pt x="208" y="315"/>
                  </a:lnTo>
                  <a:lnTo>
                    <a:pt x="212" y="315"/>
                  </a:lnTo>
                  <a:lnTo>
                    <a:pt x="212" y="315"/>
                  </a:lnTo>
                  <a:lnTo>
                    <a:pt x="214" y="315"/>
                  </a:lnTo>
                  <a:lnTo>
                    <a:pt x="214" y="315"/>
                  </a:lnTo>
                  <a:lnTo>
                    <a:pt x="216" y="313"/>
                  </a:lnTo>
                  <a:lnTo>
                    <a:pt x="217" y="313"/>
                  </a:lnTo>
                  <a:lnTo>
                    <a:pt x="219" y="312"/>
                  </a:lnTo>
                  <a:lnTo>
                    <a:pt x="219" y="313"/>
                  </a:lnTo>
                  <a:lnTo>
                    <a:pt x="221" y="313"/>
                  </a:lnTo>
                  <a:lnTo>
                    <a:pt x="221" y="312"/>
                  </a:lnTo>
                  <a:lnTo>
                    <a:pt x="223" y="310"/>
                  </a:lnTo>
                  <a:lnTo>
                    <a:pt x="225" y="310"/>
                  </a:lnTo>
                  <a:lnTo>
                    <a:pt x="229" y="310"/>
                  </a:lnTo>
                  <a:lnTo>
                    <a:pt x="229" y="310"/>
                  </a:lnTo>
                  <a:lnTo>
                    <a:pt x="231" y="308"/>
                  </a:lnTo>
                  <a:lnTo>
                    <a:pt x="233" y="306"/>
                  </a:lnTo>
                  <a:lnTo>
                    <a:pt x="233" y="306"/>
                  </a:lnTo>
                  <a:lnTo>
                    <a:pt x="235" y="306"/>
                  </a:lnTo>
                  <a:lnTo>
                    <a:pt x="237" y="310"/>
                  </a:lnTo>
                  <a:lnTo>
                    <a:pt x="238" y="310"/>
                  </a:lnTo>
                  <a:lnTo>
                    <a:pt x="240" y="310"/>
                  </a:lnTo>
                  <a:lnTo>
                    <a:pt x="240" y="310"/>
                  </a:lnTo>
                  <a:lnTo>
                    <a:pt x="242" y="310"/>
                  </a:lnTo>
                  <a:lnTo>
                    <a:pt x="242" y="312"/>
                  </a:lnTo>
                  <a:lnTo>
                    <a:pt x="244" y="313"/>
                  </a:lnTo>
                  <a:lnTo>
                    <a:pt x="244" y="315"/>
                  </a:lnTo>
                  <a:lnTo>
                    <a:pt x="246" y="315"/>
                  </a:lnTo>
                  <a:lnTo>
                    <a:pt x="246" y="315"/>
                  </a:lnTo>
                  <a:lnTo>
                    <a:pt x="248" y="315"/>
                  </a:lnTo>
                  <a:lnTo>
                    <a:pt x="250" y="315"/>
                  </a:lnTo>
                  <a:lnTo>
                    <a:pt x="252" y="313"/>
                  </a:lnTo>
                  <a:lnTo>
                    <a:pt x="254" y="310"/>
                  </a:lnTo>
                  <a:lnTo>
                    <a:pt x="254" y="310"/>
                  </a:lnTo>
                  <a:lnTo>
                    <a:pt x="254" y="308"/>
                  </a:lnTo>
                  <a:lnTo>
                    <a:pt x="256" y="308"/>
                  </a:lnTo>
                  <a:lnTo>
                    <a:pt x="256" y="308"/>
                  </a:lnTo>
                  <a:lnTo>
                    <a:pt x="258" y="306"/>
                  </a:lnTo>
                  <a:lnTo>
                    <a:pt x="258" y="306"/>
                  </a:lnTo>
                  <a:lnTo>
                    <a:pt x="258" y="304"/>
                  </a:lnTo>
                  <a:lnTo>
                    <a:pt x="259" y="302"/>
                  </a:lnTo>
                  <a:lnTo>
                    <a:pt x="259" y="302"/>
                  </a:lnTo>
                  <a:lnTo>
                    <a:pt x="259" y="298"/>
                  </a:lnTo>
                  <a:lnTo>
                    <a:pt x="259" y="298"/>
                  </a:lnTo>
                  <a:lnTo>
                    <a:pt x="258" y="296"/>
                  </a:lnTo>
                  <a:lnTo>
                    <a:pt x="258" y="296"/>
                  </a:lnTo>
                  <a:lnTo>
                    <a:pt x="258" y="296"/>
                  </a:lnTo>
                  <a:lnTo>
                    <a:pt x="258" y="294"/>
                  </a:lnTo>
                  <a:lnTo>
                    <a:pt x="258" y="294"/>
                  </a:lnTo>
                  <a:lnTo>
                    <a:pt x="256" y="294"/>
                  </a:lnTo>
                  <a:lnTo>
                    <a:pt x="254" y="292"/>
                  </a:lnTo>
                  <a:lnTo>
                    <a:pt x="254" y="292"/>
                  </a:lnTo>
                  <a:lnTo>
                    <a:pt x="254" y="292"/>
                  </a:lnTo>
                  <a:lnTo>
                    <a:pt x="254" y="291"/>
                  </a:lnTo>
                  <a:lnTo>
                    <a:pt x="256" y="289"/>
                  </a:lnTo>
                  <a:lnTo>
                    <a:pt x="256" y="289"/>
                  </a:lnTo>
                  <a:lnTo>
                    <a:pt x="256" y="287"/>
                  </a:lnTo>
                  <a:lnTo>
                    <a:pt x="258" y="287"/>
                  </a:lnTo>
                  <a:lnTo>
                    <a:pt x="258" y="283"/>
                  </a:lnTo>
                  <a:lnTo>
                    <a:pt x="261" y="283"/>
                  </a:lnTo>
                  <a:lnTo>
                    <a:pt x="261" y="283"/>
                  </a:lnTo>
                  <a:lnTo>
                    <a:pt x="261" y="281"/>
                  </a:lnTo>
                  <a:lnTo>
                    <a:pt x="263" y="281"/>
                  </a:lnTo>
                  <a:lnTo>
                    <a:pt x="263" y="281"/>
                  </a:lnTo>
                  <a:lnTo>
                    <a:pt x="265" y="281"/>
                  </a:lnTo>
                  <a:lnTo>
                    <a:pt x="265" y="281"/>
                  </a:lnTo>
                  <a:lnTo>
                    <a:pt x="265" y="281"/>
                  </a:lnTo>
                  <a:lnTo>
                    <a:pt x="265" y="281"/>
                  </a:lnTo>
                  <a:lnTo>
                    <a:pt x="267" y="281"/>
                  </a:lnTo>
                  <a:lnTo>
                    <a:pt x="267" y="281"/>
                  </a:lnTo>
                  <a:lnTo>
                    <a:pt x="267" y="279"/>
                  </a:lnTo>
                  <a:lnTo>
                    <a:pt x="267" y="279"/>
                  </a:lnTo>
                  <a:lnTo>
                    <a:pt x="269" y="277"/>
                  </a:lnTo>
                  <a:lnTo>
                    <a:pt x="269" y="277"/>
                  </a:lnTo>
                  <a:lnTo>
                    <a:pt x="271" y="275"/>
                  </a:lnTo>
                  <a:lnTo>
                    <a:pt x="271" y="275"/>
                  </a:lnTo>
                  <a:lnTo>
                    <a:pt x="273" y="277"/>
                  </a:lnTo>
                  <a:lnTo>
                    <a:pt x="273" y="279"/>
                  </a:lnTo>
                  <a:lnTo>
                    <a:pt x="273" y="279"/>
                  </a:lnTo>
                  <a:lnTo>
                    <a:pt x="273" y="277"/>
                  </a:lnTo>
                  <a:lnTo>
                    <a:pt x="275" y="277"/>
                  </a:lnTo>
                  <a:lnTo>
                    <a:pt x="275" y="279"/>
                  </a:lnTo>
                  <a:lnTo>
                    <a:pt x="275" y="279"/>
                  </a:lnTo>
                  <a:lnTo>
                    <a:pt x="277" y="279"/>
                  </a:lnTo>
                  <a:lnTo>
                    <a:pt x="277" y="279"/>
                  </a:lnTo>
                  <a:lnTo>
                    <a:pt x="278" y="279"/>
                  </a:lnTo>
                  <a:lnTo>
                    <a:pt x="278" y="281"/>
                  </a:lnTo>
                  <a:lnTo>
                    <a:pt x="280" y="283"/>
                  </a:lnTo>
                  <a:lnTo>
                    <a:pt x="282" y="285"/>
                  </a:lnTo>
                  <a:lnTo>
                    <a:pt x="282" y="287"/>
                  </a:lnTo>
                  <a:lnTo>
                    <a:pt x="282" y="287"/>
                  </a:lnTo>
                  <a:lnTo>
                    <a:pt x="282" y="289"/>
                  </a:lnTo>
                  <a:lnTo>
                    <a:pt x="282" y="289"/>
                  </a:lnTo>
                  <a:lnTo>
                    <a:pt x="282" y="291"/>
                  </a:lnTo>
                  <a:lnTo>
                    <a:pt x="282" y="291"/>
                  </a:lnTo>
                  <a:lnTo>
                    <a:pt x="284" y="292"/>
                  </a:lnTo>
                  <a:lnTo>
                    <a:pt x="284" y="292"/>
                  </a:lnTo>
                  <a:lnTo>
                    <a:pt x="284" y="292"/>
                  </a:lnTo>
                  <a:lnTo>
                    <a:pt x="284" y="292"/>
                  </a:lnTo>
                  <a:lnTo>
                    <a:pt x="284" y="294"/>
                  </a:lnTo>
                  <a:lnTo>
                    <a:pt x="286" y="294"/>
                  </a:lnTo>
                  <a:lnTo>
                    <a:pt x="286" y="294"/>
                  </a:lnTo>
                  <a:lnTo>
                    <a:pt x="288" y="294"/>
                  </a:lnTo>
                  <a:lnTo>
                    <a:pt x="288" y="296"/>
                  </a:lnTo>
                  <a:lnTo>
                    <a:pt x="288" y="296"/>
                  </a:lnTo>
                  <a:lnTo>
                    <a:pt x="288" y="298"/>
                  </a:lnTo>
                  <a:lnTo>
                    <a:pt x="288" y="298"/>
                  </a:lnTo>
                  <a:lnTo>
                    <a:pt x="288" y="298"/>
                  </a:lnTo>
                  <a:lnTo>
                    <a:pt x="288" y="298"/>
                  </a:lnTo>
                  <a:lnTo>
                    <a:pt x="290" y="296"/>
                  </a:lnTo>
                  <a:lnTo>
                    <a:pt x="290" y="296"/>
                  </a:lnTo>
                  <a:lnTo>
                    <a:pt x="290" y="296"/>
                  </a:lnTo>
                  <a:lnTo>
                    <a:pt x="290" y="294"/>
                  </a:lnTo>
                  <a:lnTo>
                    <a:pt x="292" y="294"/>
                  </a:lnTo>
                  <a:lnTo>
                    <a:pt x="292" y="296"/>
                  </a:lnTo>
                  <a:lnTo>
                    <a:pt x="294" y="296"/>
                  </a:lnTo>
                  <a:lnTo>
                    <a:pt x="294" y="296"/>
                  </a:lnTo>
                  <a:lnTo>
                    <a:pt x="294" y="296"/>
                  </a:lnTo>
                  <a:lnTo>
                    <a:pt x="296" y="298"/>
                  </a:lnTo>
                  <a:lnTo>
                    <a:pt x="296" y="298"/>
                  </a:lnTo>
                  <a:lnTo>
                    <a:pt x="296" y="298"/>
                  </a:lnTo>
                  <a:lnTo>
                    <a:pt x="296" y="300"/>
                  </a:lnTo>
                  <a:lnTo>
                    <a:pt x="298" y="300"/>
                  </a:lnTo>
                  <a:lnTo>
                    <a:pt x="298" y="300"/>
                  </a:lnTo>
                  <a:lnTo>
                    <a:pt x="299" y="302"/>
                  </a:lnTo>
                  <a:lnTo>
                    <a:pt x="299" y="302"/>
                  </a:lnTo>
                  <a:lnTo>
                    <a:pt x="301" y="302"/>
                  </a:lnTo>
                  <a:lnTo>
                    <a:pt x="301" y="302"/>
                  </a:lnTo>
                  <a:lnTo>
                    <a:pt x="303" y="302"/>
                  </a:lnTo>
                  <a:lnTo>
                    <a:pt x="305" y="302"/>
                  </a:lnTo>
                  <a:lnTo>
                    <a:pt x="305" y="302"/>
                  </a:lnTo>
                  <a:lnTo>
                    <a:pt x="307" y="302"/>
                  </a:lnTo>
                  <a:lnTo>
                    <a:pt x="309" y="300"/>
                  </a:lnTo>
                  <a:lnTo>
                    <a:pt x="309" y="300"/>
                  </a:lnTo>
                  <a:lnTo>
                    <a:pt x="309" y="300"/>
                  </a:lnTo>
                  <a:lnTo>
                    <a:pt x="309" y="300"/>
                  </a:lnTo>
                  <a:lnTo>
                    <a:pt x="307" y="298"/>
                  </a:lnTo>
                  <a:lnTo>
                    <a:pt x="307" y="298"/>
                  </a:lnTo>
                  <a:lnTo>
                    <a:pt x="307" y="298"/>
                  </a:lnTo>
                  <a:lnTo>
                    <a:pt x="305" y="298"/>
                  </a:lnTo>
                  <a:lnTo>
                    <a:pt x="305" y="298"/>
                  </a:lnTo>
                  <a:lnTo>
                    <a:pt x="305" y="296"/>
                  </a:lnTo>
                  <a:lnTo>
                    <a:pt x="305" y="296"/>
                  </a:lnTo>
                  <a:lnTo>
                    <a:pt x="305" y="294"/>
                  </a:lnTo>
                  <a:lnTo>
                    <a:pt x="305" y="294"/>
                  </a:lnTo>
                  <a:lnTo>
                    <a:pt x="305" y="292"/>
                  </a:lnTo>
                  <a:lnTo>
                    <a:pt x="307" y="292"/>
                  </a:lnTo>
                  <a:lnTo>
                    <a:pt x="309" y="292"/>
                  </a:lnTo>
                  <a:lnTo>
                    <a:pt x="307" y="291"/>
                  </a:lnTo>
                  <a:lnTo>
                    <a:pt x="307" y="291"/>
                  </a:lnTo>
                  <a:lnTo>
                    <a:pt x="307" y="291"/>
                  </a:lnTo>
                  <a:lnTo>
                    <a:pt x="307" y="289"/>
                  </a:lnTo>
                  <a:lnTo>
                    <a:pt x="307" y="289"/>
                  </a:lnTo>
                  <a:lnTo>
                    <a:pt x="309" y="289"/>
                  </a:lnTo>
                  <a:lnTo>
                    <a:pt x="309" y="289"/>
                  </a:lnTo>
                  <a:lnTo>
                    <a:pt x="309" y="289"/>
                  </a:lnTo>
                  <a:lnTo>
                    <a:pt x="307" y="287"/>
                  </a:lnTo>
                  <a:lnTo>
                    <a:pt x="307" y="287"/>
                  </a:lnTo>
                  <a:lnTo>
                    <a:pt x="303" y="285"/>
                  </a:lnTo>
                  <a:lnTo>
                    <a:pt x="301" y="287"/>
                  </a:lnTo>
                  <a:lnTo>
                    <a:pt x="301" y="285"/>
                  </a:lnTo>
                  <a:lnTo>
                    <a:pt x="299" y="285"/>
                  </a:lnTo>
                  <a:lnTo>
                    <a:pt x="299" y="287"/>
                  </a:lnTo>
                  <a:lnTo>
                    <a:pt x="299" y="287"/>
                  </a:lnTo>
                  <a:lnTo>
                    <a:pt x="299" y="289"/>
                  </a:lnTo>
                  <a:lnTo>
                    <a:pt x="298" y="287"/>
                  </a:lnTo>
                  <a:lnTo>
                    <a:pt x="298" y="287"/>
                  </a:lnTo>
                  <a:lnTo>
                    <a:pt x="298" y="287"/>
                  </a:lnTo>
                  <a:lnTo>
                    <a:pt x="296" y="287"/>
                  </a:lnTo>
                  <a:lnTo>
                    <a:pt x="296" y="285"/>
                  </a:lnTo>
                  <a:lnTo>
                    <a:pt x="292" y="285"/>
                  </a:lnTo>
                  <a:lnTo>
                    <a:pt x="290" y="285"/>
                  </a:lnTo>
                  <a:lnTo>
                    <a:pt x="290" y="283"/>
                  </a:lnTo>
                  <a:lnTo>
                    <a:pt x="288" y="283"/>
                  </a:lnTo>
                  <a:lnTo>
                    <a:pt x="286" y="283"/>
                  </a:lnTo>
                  <a:lnTo>
                    <a:pt x="288" y="283"/>
                  </a:lnTo>
                  <a:lnTo>
                    <a:pt x="288" y="281"/>
                  </a:lnTo>
                  <a:lnTo>
                    <a:pt x="288" y="281"/>
                  </a:lnTo>
                  <a:lnTo>
                    <a:pt x="288" y="281"/>
                  </a:lnTo>
                  <a:lnTo>
                    <a:pt x="288" y="281"/>
                  </a:lnTo>
                  <a:lnTo>
                    <a:pt x="290" y="279"/>
                  </a:lnTo>
                  <a:lnTo>
                    <a:pt x="290" y="279"/>
                  </a:lnTo>
                  <a:lnTo>
                    <a:pt x="290" y="279"/>
                  </a:lnTo>
                  <a:lnTo>
                    <a:pt x="290" y="279"/>
                  </a:lnTo>
                  <a:lnTo>
                    <a:pt x="290" y="277"/>
                  </a:lnTo>
                  <a:lnTo>
                    <a:pt x="288" y="277"/>
                  </a:lnTo>
                  <a:lnTo>
                    <a:pt x="288" y="277"/>
                  </a:lnTo>
                  <a:lnTo>
                    <a:pt x="288" y="277"/>
                  </a:lnTo>
                  <a:lnTo>
                    <a:pt x="288" y="275"/>
                  </a:lnTo>
                  <a:lnTo>
                    <a:pt x="288" y="275"/>
                  </a:lnTo>
                  <a:lnTo>
                    <a:pt x="288" y="275"/>
                  </a:lnTo>
                  <a:lnTo>
                    <a:pt x="288" y="273"/>
                  </a:lnTo>
                  <a:lnTo>
                    <a:pt x="288" y="273"/>
                  </a:lnTo>
                  <a:lnTo>
                    <a:pt x="290" y="273"/>
                  </a:lnTo>
                  <a:lnTo>
                    <a:pt x="290" y="273"/>
                  </a:lnTo>
                  <a:lnTo>
                    <a:pt x="290" y="273"/>
                  </a:lnTo>
                  <a:lnTo>
                    <a:pt x="290" y="273"/>
                  </a:lnTo>
                  <a:lnTo>
                    <a:pt x="290" y="273"/>
                  </a:lnTo>
                  <a:lnTo>
                    <a:pt x="290" y="273"/>
                  </a:lnTo>
                  <a:lnTo>
                    <a:pt x="290" y="275"/>
                  </a:lnTo>
                  <a:lnTo>
                    <a:pt x="292" y="275"/>
                  </a:lnTo>
                  <a:lnTo>
                    <a:pt x="292" y="277"/>
                  </a:lnTo>
                  <a:lnTo>
                    <a:pt x="292" y="277"/>
                  </a:lnTo>
                  <a:lnTo>
                    <a:pt x="294" y="277"/>
                  </a:lnTo>
                  <a:lnTo>
                    <a:pt x="296" y="279"/>
                  </a:lnTo>
                  <a:lnTo>
                    <a:pt x="296" y="277"/>
                  </a:lnTo>
                  <a:lnTo>
                    <a:pt x="298" y="277"/>
                  </a:lnTo>
                  <a:lnTo>
                    <a:pt x="298" y="277"/>
                  </a:lnTo>
                  <a:lnTo>
                    <a:pt x="298" y="275"/>
                  </a:lnTo>
                  <a:lnTo>
                    <a:pt x="298" y="275"/>
                  </a:lnTo>
                  <a:lnTo>
                    <a:pt x="299" y="275"/>
                  </a:lnTo>
                  <a:lnTo>
                    <a:pt x="299" y="273"/>
                  </a:lnTo>
                  <a:lnTo>
                    <a:pt x="299" y="272"/>
                  </a:lnTo>
                  <a:lnTo>
                    <a:pt x="299" y="272"/>
                  </a:lnTo>
                  <a:lnTo>
                    <a:pt x="299" y="272"/>
                  </a:lnTo>
                  <a:lnTo>
                    <a:pt x="299" y="270"/>
                  </a:lnTo>
                  <a:lnTo>
                    <a:pt x="299" y="270"/>
                  </a:lnTo>
                  <a:lnTo>
                    <a:pt x="301" y="270"/>
                  </a:lnTo>
                  <a:lnTo>
                    <a:pt x="301" y="270"/>
                  </a:lnTo>
                  <a:lnTo>
                    <a:pt x="303" y="270"/>
                  </a:lnTo>
                  <a:lnTo>
                    <a:pt x="303" y="268"/>
                  </a:lnTo>
                  <a:lnTo>
                    <a:pt x="303" y="268"/>
                  </a:lnTo>
                  <a:lnTo>
                    <a:pt x="305" y="268"/>
                  </a:lnTo>
                  <a:lnTo>
                    <a:pt x="305" y="266"/>
                  </a:lnTo>
                  <a:lnTo>
                    <a:pt x="307" y="268"/>
                  </a:lnTo>
                  <a:lnTo>
                    <a:pt x="307" y="268"/>
                  </a:lnTo>
                  <a:lnTo>
                    <a:pt x="309" y="268"/>
                  </a:lnTo>
                  <a:lnTo>
                    <a:pt x="309" y="270"/>
                  </a:lnTo>
                  <a:lnTo>
                    <a:pt x="311" y="270"/>
                  </a:lnTo>
                  <a:lnTo>
                    <a:pt x="311" y="270"/>
                  </a:lnTo>
                  <a:lnTo>
                    <a:pt x="311" y="270"/>
                  </a:lnTo>
                  <a:lnTo>
                    <a:pt x="313" y="270"/>
                  </a:lnTo>
                  <a:lnTo>
                    <a:pt x="311" y="270"/>
                  </a:lnTo>
                  <a:lnTo>
                    <a:pt x="313" y="272"/>
                  </a:lnTo>
                  <a:lnTo>
                    <a:pt x="313" y="272"/>
                  </a:lnTo>
                  <a:lnTo>
                    <a:pt x="315" y="272"/>
                  </a:lnTo>
                  <a:lnTo>
                    <a:pt x="315" y="272"/>
                  </a:lnTo>
                  <a:lnTo>
                    <a:pt x="313" y="273"/>
                  </a:lnTo>
                  <a:lnTo>
                    <a:pt x="313" y="273"/>
                  </a:lnTo>
                  <a:lnTo>
                    <a:pt x="313" y="273"/>
                  </a:lnTo>
                  <a:lnTo>
                    <a:pt x="313" y="273"/>
                  </a:lnTo>
                  <a:lnTo>
                    <a:pt x="313" y="275"/>
                  </a:lnTo>
                  <a:lnTo>
                    <a:pt x="315" y="275"/>
                  </a:lnTo>
                  <a:lnTo>
                    <a:pt x="315" y="275"/>
                  </a:lnTo>
                  <a:lnTo>
                    <a:pt x="315" y="273"/>
                  </a:lnTo>
                  <a:lnTo>
                    <a:pt x="317" y="273"/>
                  </a:lnTo>
                  <a:lnTo>
                    <a:pt x="317" y="273"/>
                  </a:lnTo>
                  <a:lnTo>
                    <a:pt x="317" y="273"/>
                  </a:lnTo>
                  <a:lnTo>
                    <a:pt x="318" y="273"/>
                  </a:lnTo>
                  <a:lnTo>
                    <a:pt x="320" y="273"/>
                  </a:lnTo>
                  <a:lnTo>
                    <a:pt x="320" y="273"/>
                  </a:lnTo>
                  <a:lnTo>
                    <a:pt x="322" y="275"/>
                  </a:lnTo>
                  <a:lnTo>
                    <a:pt x="324" y="275"/>
                  </a:lnTo>
                  <a:lnTo>
                    <a:pt x="326" y="275"/>
                  </a:lnTo>
                  <a:lnTo>
                    <a:pt x="326" y="275"/>
                  </a:lnTo>
                  <a:lnTo>
                    <a:pt x="326" y="275"/>
                  </a:lnTo>
                  <a:lnTo>
                    <a:pt x="328" y="275"/>
                  </a:lnTo>
                  <a:lnTo>
                    <a:pt x="330" y="277"/>
                  </a:lnTo>
                  <a:lnTo>
                    <a:pt x="330" y="277"/>
                  </a:lnTo>
                  <a:lnTo>
                    <a:pt x="330" y="277"/>
                  </a:lnTo>
                  <a:lnTo>
                    <a:pt x="332" y="277"/>
                  </a:lnTo>
                  <a:lnTo>
                    <a:pt x="332" y="275"/>
                  </a:lnTo>
                  <a:lnTo>
                    <a:pt x="332" y="275"/>
                  </a:lnTo>
                  <a:lnTo>
                    <a:pt x="334" y="275"/>
                  </a:lnTo>
                  <a:lnTo>
                    <a:pt x="334" y="273"/>
                  </a:lnTo>
                  <a:lnTo>
                    <a:pt x="334" y="272"/>
                  </a:lnTo>
                  <a:lnTo>
                    <a:pt x="334" y="272"/>
                  </a:lnTo>
                  <a:lnTo>
                    <a:pt x="334" y="272"/>
                  </a:lnTo>
                  <a:lnTo>
                    <a:pt x="334" y="270"/>
                  </a:lnTo>
                  <a:lnTo>
                    <a:pt x="334" y="268"/>
                  </a:lnTo>
                  <a:lnTo>
                    <a:pt x="334" y="268"/>
                  </a:lnTo>
                  <a:lnTo>
                    <a:pt x="334" y="266"/>
                  </a:lnTo>
                  <a:lnTo>
                    <a:pt x="336" y="266"/>
                  </a:lnTo>
                  <a:lnTo>
                    <a:pt x="336" y="266"/>
                  </a:lnTo>
                  <a:lnTo>
                    <a:pt x="336" y="266"/>
                  </a:lnTo>
                  <a:lnTo>
                    <a:pt x="338" y="266"/>
                  </a:lnTo>
                  <a:lnTo>
                    <a:pt x="338" y="266"/>
                  </a:lnTo>
                  <a:lnTo>
                    <a:pt x="338" y="266"/>
                  </a:lnTo>
                  <a:lnTo>
                    <a:pt x="338" y="266"/>
                  </a:lnTo>
                  <a:lnTo>
                    <a:pt x="338" y="264"/>
                  </a:lnTo>
                  <a:lnTo>
                    <a:pt x="338" y="264"/>
                  </a:lnTo>
                  <a:lnTo>
                    <a:pt x="338" y="264"/>
                  </a:lnTo>
                  <a:lnTo>
                    <a:pt x="338" y="262"/>
                  </a:lnTo>
                  <a:lnTo>
                    <a:pt x="338" y="262"/>
                  </a:lnTo>
                  <a:lnTo>
                    <a:pt x="338" y="262"/>
                  </a:lnTo>
                  <a:lnTo>
                    <a:pt x="338" y="260"/>
                  </a:lnTo>
                  <a:lnTo>
                    <a:pt x="338" y="260"/>
                  </a:lnTo>
                  <a:lnTo>
                    <a:pt x="339" y="260"/>
                  </a:lnTo>
                  <a:lnTo>
                    <a:pt x="339" y="260"/>
                  </a:lnTo>
                  <a:lnTo>
                    <a:pt x="341" y="260"/>
                  </a:lnTo>
                  <a:lnTo>
                    <a:pt x="341" y="262"/>
                  </a:lnTo>
                  <a:lnTo>
                    <a:pt x="341" y="262"/>
                  </a:lnTo>
                  <a:lnTo>
                    <a:pt x="343" y="262"/>
                  </a:lnTo>
                  <a:lnTo>
                    <a:pt x="345" y="262"/>
                  </a:lnTo>
                  <a:lnTo>
                    <a:pt x="345" y="262"/>
                  </a:lnTo>
                  <a:lnTo>
                    <a:pt x="345" y="262"/>
                  </a:lnTo>
                  <a:lnTo>
                    <a:pt x="347" y="262"/>
                  </a:lnTo>
                  <a:lnTo>
                    <a:pt x="349" y="262"/>
                  </a:lnTo>
                  <a:lnTo>
                    <a:pt x="349" y="262"/>
                  </a:lnTo>
                  <a:lnTo>
                    <a:pt x="349" y="260"/>
                  </a:lnTo>
                  <a:lnTo>
                    <a:pt x="349" y="260"/>
                  </a:lnTo>
                  <a:lnTo>
                    <a:pt x="351" y="260"/>
                  </a:lnTo>
                  <a:lnTo>
                    <a:pt x="351" y="260"/>
                  </a:lnTo>
                  <a:lnTo>
                    <a:pt x="351" y="260"/>
                  </a:lnTo>
                  <a:lnTo>
                    <a:pt x="353" y="260"/>
                  </a:lnTo>
                  <a:lnTo>
                    <a:pt x="355" y="260"/>
                  </a:lnTo>
                  <a:lnTo>
                    <a:pt x="357" y="258"/>
                  </a:lnTo>
                  <a:lnTo>
                    <a:pt x="360" y="258"/>
                  </a:lnTo>
                  <a:lnTo>
                    <a:pt x="360" y="258"/>
                  </a:lnTo>
                  <a:lnTo>
                    <a:pt x="362" y="256"/>
                  </a:lnTo>
                  <a:lnTo>
                    <a:pt x="362" y="256"/>
                  </a:lnTo>
                  <a:lnTo>
                    <a:pt x="362" y="254"/>
                  </a:lnTo>
                  <a:lnTo>
                    <a:pt x="362" y="254"/>
                  </a:lnTo>
                  <a:lnTo>
                    <a:pt x="362" y="251"/>
                  </a:lnTo>
                  <a:lnTo>
                    <a:pt x="362" y="251"/>
                  </a:lnTo>
                  <a:lnTo>
                    <a:pt x="362" y="251"/>
                  </a:lnTo>
                  <a:lnTo>
                    <a:pt x="362" y="249"/>
                  </a:lnTo>
                  <a:lnTo>
                    <a:pt x="364" y="249"/>
                  </a:lnTo>
                  <a:lnTo>
                    <a:pt x="366" y="249"/>
                  </a:lnTo>
                  <a:lnTo>
                    <a:pt x="368" y="249"/>
                  </a:lnTo>
                  <a:lnTo>
                    <a:pt x="370" y="249"/>
                  </a:lnTo>
                  <a:lnTo>
                    <a:pt x="370" y="249"/>
                  </a:lnTo>
                  <a:lnTo>
                    <a:pt x="370" y="249"/>
                  </a:lnTo>
                  <a:lnTo>
                    <a:pt x="372" y="249"/>
                  </a:lnTo>
                  <a:lnTo>
                    <a:pt x="374" y="247"/>
                  </a:lnTo>
                  <a:lnTo>
                    <a:pt x="374" y="247"/>
                  </a:lnTo>
                  <a:lnTo>
                    <a:pt x="374" y="245"/>
                  </a:lnTo>
                  <a:lnTo>
                    <a:pt x="376" y="243"/>
                  </a:lnTo>
                  <a:lnTo>
                    <a:pt x="376" y="243"/>
                  </a:lnTo>
                  <a:lnTo>
                    <a:pt x="376" y="243"/>
                  </a:lnTo>
                  <a:lnTo>
                    <a:pt x="378" y="243"/>
                  </a:lnTo>
                  <a:lnTo>
                    <a:pt x="378" y="243"/>
                  </a:lnTo>
                  <a:lnTo>
                    <a:pt x="378" y="243"/>
                  </a:lnTo>
                  <a:lnTo>
                    <a:pt x="378" y="243"/>
                  </a:lnTo>
                  <a:lnTo>
                    <a:pt x="378" y="245"/>
                  </a:lnTo>
                  <a:lnTo>
                    <a:pt x="379" y="245"/>
                  </a:lnTo>
                  <a:lnTo>
                    <a:pt x="381" y="245"/>
                  </a:lnTo>
                  <a:lnTo>
                    <a:pt x="381" y="245"/>
                  </a:lnTo>
                  <a:lnTo>
                    <a:pt x="381" y="245"/>
                  </a:lnTo>
                  <a:lnTo>
                    <a:pt x="383" y="245"/>
                  </a:lnTo>
                  <a:lnTo>
                    <a:pt x="385" y="245"/>
                  </a:lnTo>
                  <a:lnTo>
                    <a:pt x="385" y="245"/>
                  </a:lnTo>
                  <a:lnTo>
                    <a:pt x="385" y="245"/>
                  </a:lnTo>
                  <a:lnTo>
                    <a:pt x="387" y="243"/>
                  </a:lnTo>
                  <a:lnTo>
                    <a:pt x="387" y="243"/>
                  </a:lnTo>
                  <a:lnTo>
                    <a:pt x="387" y="243"/>
                  </a:lnTo>
                  <a:lnTo>
                    <a:pt x="387" y="241"/>
                  </a:lnTo>
                  <a:lnTo>
                    <a:pt x="389" y="241"/>
                  </a:lnTo>
                  <a:lnTo>
                    <a:pt x="389" y="239"/>
                  </a:lnTo>
                  <a:lnTo>
                    <a:pt x="391" y="239"/>
                  </a:lnTo>
                  <a:lnTo>
                    <a:pt x="391" y="237"/>
                  </a:lnTo>
                  <a:lnTo>
                    <a:pt x="393" y="235"/>
                  </a:lnTo>
                  <a:lnTo>
                    <a:pt x="393" y="235"/>
                  </a:lnTo>
                  <a:lnTo>
                    <a:pt x="391" y="235"/>
                  </a:lnTo>
                  <a:lnTo>
                    <a:pt x="391" y="234"/>
                  </a:lnTo>
                  <a:lnTo>
                    <a:pt x="393" y="234"/>
                  </a:lnTo>
                  <a:lnTo>
                    <a:pt x="393" y="232"/>
                  </a:lnTo>
                  <a:lnTo>
                    <a:pt x="393" y="232"/>
                  </a:lnTo>
                  <a:lnTo>
                    <a:pt x="393" y="228"/>
                  </a:lnTo>
                  <a:lnTo>
                    <a:pt x="393" y="228"/>
                  </a:lnTo>
                  <a:lnTo>
                    <a:pt x="393" y="228"/>
                  </a:lnTo>
                  <a:lnTo>
                    <a:pt x="393" y="226"/>
                  </a:lnTo>
                  <a:lnTo>
                    <a:pt x="395" y="226"/>
                  </a:lnTo>
                  <a:lnTo>
                    <a:pt x="395" y="226"/>
                  </a:lnTo>
                  <a:lnTo>
                    <a:pt x="395" y="224"/>
                  </a:lnTo>
                  <a:lnTo>
                    <a:pt x="395" y="224"/>
                  </a:lnTo>
                  <a:lnTo>
                    <a:pt x="393" y="224"/>
                  </a:lnTo>
                  <a:lnTo>
                    <a:pt x="393" y="224"/>
                  </a:lnTo>
                  <a:lnTo>
                    <a:pt x="393" y="222"/>
                  </a:lnTo>
                  <a:lnTo>
                    <a:pt x="393" y="222"/>
                  </a:lnTo>
                  <a:lnTo>
                    <a:pt x="393" y="222"/>
                  </a:lnTo>
                  <a:lnTo>
                    <a:pt x="393" y="222"/>
                  </a:lnTo>
                  <a:lnTo>
                    <a:pt x="395" y="220"/>
                  </a:lnTo>
                  <a:lnTo>
                    <a:pt x="395" y="218"/>
                  </a:lnTo>
                  <a:lnTo>
                    <a:pt x="397" y="218"/>
                  </a:lnTo>
                  <a:lnTo>
                    <a:pt x="397" y="216"/>
                  </a:lnTo>
                  <a:lnTo>
                    <a:pt x="397" y="216"/>
                  </a:lnTo>
                  <a:lnTo>
                    <a:pt x="399" y="215"/>
                  </a:lnTo>
                  <a:lnTo>
                    <a:pt x="399" y="215"/>
                  </a:lnTo>
                  <a:lnTo>
                    <a:pt x="399" y="215"/>
                  </a:lnTo>
                  <a:lnTo>
                    <a:pt x="399" y="213"/>
                  </a:lnTo>
                  <a:lnTo>
                    <a:pt x="399" y="211"/>
                  </a:lnTo>
                  <a:lnTo>
                    <a:pt x="399" y="211"/>
                  </a:lnTo>
                  <a:lnTo>
                    <a:pt x="399" y="211"/>
                  </a:lnTo>
                  <a:lnTo>
                    <a:pt x="400" y="209"/>
                  </a:lnTo>
                  <a:lnTo>
                    <a:pt x="402" y="209"/>
                  </a:lnTo>
                  <a:lnTo>
                    <a:pt x="402" y="209"/>
                  </a:lnTo>
                  <a:lnTo>
                    <a:pt x="402" y="207"/>
                  </a:lnTo>
                  <a:lnTo>
                    <a:pt x="404" y="207"/>
                  </a:lnTo>
                  <a:lnTo>
                    <a:pt x="406" y="207"/>
                  </a:lnTo>
                  <a:lnTo>
                    <a:pt x="406" y="207"/>
                  </a:lnTo>
                  <a:lnTo>
                    <a:pt x="408" y="207"/>
                  </a:lnTo>
                  <a:lnTo>
                    <a:pt x="410" y="205"/>
                  </a:lnTo>
                  <a:lnTo>
                    <a:pt x="410" y="205"/>
                  </a:lnTo>
                  <a:lnTo>
                    <a:pt x="410" y="205"/>
                  </a:lnTo>
                  <a:lnTo>
                    <a:pt x="412" y="203"/>
                  </a:lnTo>
                  <a:lnTo>
                    <a:pt x="412" y="203"/>
                  </a:lnTo>
                  <a:lnTo>
                    <a:pt x="414" y="201"/>
                  </a:lnTo>
                  <a:lnTo>
                    <a:pt x="414" y="201"/>
                  </a:lnTo>
                  <a:lnTo>
                    <a:pt x="414" y="201"/>
                  </a:lnTo>
                  <a:lnTo>
                    <a:pt x="416" y="201"/>
                  </a:lnTo>
                  <a:lnTo>
                    <a:pt x="418" y="199"/>
                  </a:lnTo>
                  <a:lnTo>
                    <a:pt x="418" y="199"/>
                  </a:lnTo>
                  <a:lnTo>
                    <a:pt x="419" y="199"/>
                  </a:lnTo>
                  <a:lnTo>
                    <a:pt x="419" y="199"/>
                  </a:lnTo>
                  <a:lnTo>
                    <a:pt x="419" y="19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3" name="Freeform 15">
              <a:extLst>
                <a:ext uri="{FF2B5EF4-FFF2-40B4-BE49-F238E27FC236}">
                  <a16:creationId xmlns:a16="http://schemas.microsoft.com/office/drawing/2014/main" id="{E72AD758-DF5E-6C33-EC5C-CDEEB258CA40}"/>
                </a:ext>
              </a:extLst>
            </p:cNvPr>
            <p:cNvSpPr>
              <a:spLocks/>
            </p:cNvSpPr>
            <p:nvPr/>
          </p:nvSpPr>
          <p:spPr bwMode="auto">
            <a:xfrm>
              <a:off x="5111750" y="4272763"/>
              <a:ext cx="665163" cy="623888"/>
            </a:xfrm>
            <a:custGeom>
              <a:avLst/>
              <a:gdLst>
                <a:gd name="T0" fmla="*/ 395 w 419"/>
                <a:gd name="T1" fmla="*/ 201 h 393"/>
                <a:gd name="T2" fmla="*/ 359 w 419"/>
                <a:gd name="T3" fmla="*/ 199 h 393"/>
                <a:gd name="T4" fmla="*/ 343 w 419"/>
                <a:gd name="T5" fmla="*/ 169 h 393"/>
                <a:gd name="T6" fmla="*/ 328 w 419"/>
                <a:gd name="T7" fmla="*/ 167 h 393"/>
                <a:gd name="T8" fmla="*/ 318 w 419"/>
                <a:gd name="T9" fmla="*/ 144 h 393"/>
                <a:gd name="T10" fmla="*/ 288 w 419"/>
                <a:gd name="T11" fmla="*/ 125 h 393"/>
                <a:gd name="T12" fmla="*/ 261 w 419"/>
                <a:gd name="T13" fmla="*/ 116 h 393"/>
                <a:gd name="T14" fmla="*/ 246 w 419"/>
                <a:gd name="T15" fmla="*/ 70 h 393"/>
                <a:gd name="T16" fmla="*/ 250 w 419"/>
                <a:gd name="T17" fmla="*/ 43 h 393"/>
                <a:gd name="T18" fmla="*/ 229 w 419"/>
                <a:gd name="T19" fmla="*/ 28 h 393"/>
                <a:gd name="T20" fmla="*/ 212 w 419"/>
                <a:gd name="T21" fmla="*/ 34 h 393"/>
                <a:gd name="T22" fmla="*/ 179 w 419"/>
                <a:gd name="T23" fmla="*/ 22 h 393"/>
                <a:gd name="T24" fmla="*/ 155 w 419"/>
                <a:gd name="T25" fmla="*/ 26 h 393"/>
                <a:gd name="T26" fmla="*/ 132 w 419"/>
                <a:gd name="T27" fmla="*/ 9 h 393"/>
                <a:gd name="T28" fmla="*/ 107 w 419"/>
                <a:gd name="T29" fmla="*/ 5 h 393"/>
                <a:gd name="T30" fmla="*/ 105 w 419"/>
                <a:gd name="T31" fmla="*/ 19 h 393"/>
                <a:gd name="T32" fmla="*/ 86 w 419"/>
                <a:gd name="T33" fmla="*/ 47 h 393"/>
                <a:gd name="T34" fmla="*/ 73 w 419"/>
                <a:gd name="T35" fmla="*/ 60 h 393"/>
                <a:gd name="T36" fmla="*/ 59 w 419"/>
                <a:gd name="T37" fmla="*/ 59 h 393"/>
                <a:gd name="T38" fmla="*/ 46 w 419"/>
                <a:gd name="T39" fmla="*/ 81 h 393"/>
                <a:gd name="T40" fmla="*/ 52 w 419"/>
                <a:gd name="T41" fmla="*/ 91 h 393"/>
                <a:gd name="T42" fmla="*/ 54 w 419"/>
                <a:gd name="T43" fmla="*/ 106 h 393"/>
                <a:gd name="T44" fmla="*/ 38 w 419"/>
                <a:gd name="T45" fmla="*/ 129 h 393"/>
                <a:gd name="T46" fmla="*/ 25 w 419"/>
                <a:gd name="T47" fmla="*/ 144 h 393"/>
                <a:gd name="T48" fmla="*/ 31 w 419"/>
                <a:gd name="T49" fmla="*/ 173 h 393"/>
                <a:gd name="T50" fmla="*/ 25 w 419"/>
                <a:gd name="T51" fmla="*/ 197 h 393"/>
                <a:gd name="T52" fmla="*/ 16 w 419"/>
                <a:gd name="T53" fmla="*/ 218 h 393"/>
                <a:gd name="T54" fmla="*/ 40 w 419"/>
                <a:gd name="T55" fmla="*/ 226 h 393"/>
                <a:gd name="T56" fmla="*/ 12 w 419"/>
                <a:gd name="T57" fmla="*/ 264 h 393"/>
                <a:gd name="T58" fmla="*/ 16 w 419"/>
                <a:gd name="T59" fmla="*/ 302 h 393"/>
                <a:gd name="T60" fmla="*/ 17 w 419"/>
                <a:gd name="T61" fmla="*/ 317 h 393"/>
                <a:gd name="T62" fmla="*/ 21 w 419"/>
                <a:gd name="T63" fmla="*/ 340 h 393"/>
                <a:gd name="T64" fmla="*/ 21 w 419"/>
                <a:gd name="T65" fmla="*/ 367 h 393"/>
                <a:gd name="T66" fmla="*/ 36 w 419"/>
                <a:gd name="T67" fmla="*/ 388 h 393"/>
                <a:gd name="T68" fmla="*/ 54 w 419"/>
                <a:gd name="T69" fmla="*/ 388 h 393"/>
                <a:gd name="T70" fmla="*/ 73 w 419"/>
                <a:gd name="T71" fmla="*/ 386 h 393"/>
                <a:gd name="T72" fmla="*/ 86 w 419"/>
                <a:gd name="T73" fmla="*/ 386 h 393"/>
                <a:gd name="T74" fmla="*/ 99 w 419"/>
                <a:gd name="T75" fmla="*/ 372 h 393"/>
                <a:gd name="T76" fmla="*/ 130 w 419"/>
                <a:gd name="T77" fmla="*/ 369 h 393"/>
                <a:gd name="T78" fmla="*/ 145 w 419"/>
                <a:gd name="T79" fmla="*/ 361 h 393"/>
                <a:gd name="T80" fmla="*/ 157 w 419"/>
                <a:gd name="T81" fmla="*/ 355 h 393"/>
                <a:gd name="T82" fmla="*/ 183 w 419"/>
                <a:gd name="T83" fmla="*/ 348 h 393"/>
                <a:gd name="T84" fmla="*/ 193 w 419"/>
                <a:gd name="T85" fmla="*/ 321 h 393"/>
                <a:gd name="T86" fmla="*/ 223 w 419"/>
                <a:gd name="T87" fmla="*/ 310 h 393"/>
                <a:gd name="T88" fmla="*/ 252 w 419"/>
                <a:gd name="T89" fmla="*/ 313 h 393"/>
                <a:gd name="T90" fmla="*/ 254 w 419"/>
                <a:gd name="T91" fmla="*/ 292 h 393"/>
                <a:gd name="T92" fmla="*/ 267 w 419"/>
                <a:gd name="T93" fmla="*/ 279 h 393"/>
                <a:gd name="T94" fmla="*/ 282 w 419"/>
                <a:gd name="T95" fmla="*/ 289 h 393"/>
                <a:gd name="T96" fmla="*/ 290 w 419"/>
                <a:gd name="T97" fmla="*/ 296 h 393"/>
                <a:gd name="T98" fmla="*/ 307 w 419"/>
                <a:gd name="T99" fmla="*/ 302 h 393"/>
                <a:gd name="T100" fmla="*/ 307 w 419"/>
                <a:gd name="T101" fmla="*/ 289 h 393"/>
                <a:gd name="T102" fmla="*/ 290 w 419"/>
                <a:gd name="T103" fmla="*/ 285 h 393"/>
                <a:gd name="T104" fmla="*/ 288 w 419"/>
                <a:gd name="T105" fmla="*/ 273 h 393"/>
                <a:gd name="T106" fmla="*/ 299 w 419"/>
                <a:gd name="T107" fmla="*/ 273 h 393"/>
                <a:gd name="T108" fmla="*/ 313 w 419"/>
                <a:gd name="T109" fmla="*/ 270 h 393"/>
                <a:gd name="T110" fmla="*/ 322 w 419"/>
                <a:gd name="T111" fmla="*/ 275 h 393"/>
                <a:gd name="T112" fmla="*/ 334 w 419"/>
                <a:gd name="T113" fmla="*/ 266 h 393"/>
                <a:gd name="T114" fmla="*/ 341 w 419"/>
                <a:gd name="T115" fmla="*/ 262 h 393"/>
                <a:gd name="T116" fmla="*/ 362 w 419"/>
                <a:gd name="T117" fmla="*/ 254 h 393"/>
                <a:gd name="T118" fmla="*/ 378 w 419"/>
                <a:gd name="T119" fmla="*/ 243 h 393"/>
                <a:gd name="T120" fmla="*/ 393 w 419"/>
                <a:gd name="T121" fmla="*/ 235 h 393"/>
                <a:gd name="T122" fmla="*/ 393 w 419"/>
                <a:gd name="T123" fmla="*/ 222 h 393"/>
                <a:gd name="T124" fmla="*/ 408 w 419"/>
                <a:gd name="T125" fmla="*/ 20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393">
                  <a:moveTo>
                    <a:pt x="419" y="197"/>
                  </a:moveTo>
                  <a:lnTo>
                    <a:pt x="419" y="197"/>
                  </a:lnTo>
                  <a:lnTo>
                    <a:pt x="418" y="195"/>
                  </a:lnTo>
                  <a:lnTo>
                    <a:pt x="418" y="195"/>
                  </a:lnTo>
                  <a:lnTo>
                    <a:pt x="418" y="194"/>
                  </a:lnTo>
                  <a:lnTo>
                    <a:pt x="416" y="192"/>
                  </a:lnTo>
                  <a:lnTo>
                    <a:pt x="416" y="192"/>
                  </a:lnTo>
                  <a:lnTo>
                    <a:pt x="416" y="192"/>
                  </a:lnTo>
                  <a:lnTo>
                    <a:pt x="414" y="194"/>
                  </a:lnTo>
                  <a:lnTo>
                    <a:pt x="414" y="195"/>
                  </a:lnTo>
                  <a:lnTo>
                    <a:pt x="412" y="195"/>
                  </a:lnTo>
                  <a:lnTo>
                    <a:pt x="412" y="197"/>
                  </a:lnTo>
                  <a:lnTo>
                    <a:pt x="410" y="197"/>
                  </a:lnTo>
                  <a:lnTo>
                    <a:pt x="406" y="197"/>
                  </a:lnTo>
                  <a:lnTo>
                    <a:pt x="406" y="199"/>
                  </a:lnTo>
                  <a:lnTo>
                    <a:pt x="404" y="199"/>
                  </a:lnTo>
                  <a:lnTo>
                    <a:pt x="402" y="201"/>
                  </a:lnTo>
                  <a:lnTo>
                    <a:pt x="400" y="203"/>
                  </a:lnTo>
                  <a:lnTo>
                    <a:pt x="399" y="203"/>
                  </a:lnTo>
                  <a:lnTo>
                    <a:pt x="395" y="201"/>
                  </a:lnTo>
                  <a:lnTo>
                    <a:pt x="393" y="201"/>
                  </a:lnTo>
                  <a:lnTo>
                    <a:pt x="393" y="201"/>
                  </a:lnTo>
                  <a:lnTo>
                    <a:pt x="393" y="201"/>
                  </a:lnTo>
                  <a:lnTo>
                    <a:pt x="391" y="203"/>
                  </a:lnTo>
                  <a:lnTo>
                    <a:pt x="391" y="203"/>
                  </a:lnTo>
                  <a:lnTo>
                    <a:pt x="391" y="203"/>
                  </a:lnTo>
                  <a:lnTo>
                    <a:pt x="389" y="203"/>
                  </a:lnTo>
                  <a:lnTo>
                    <a:pt x="389" y="203"/>
                  </a:lnTo>
                  <a:lnTo>
                    <a:pt x="387" y="203"/>
                  </a:lnTo>
                  <a:lnTo>
                    <a:pt x="383" y="203"/>
                  </a:lnTo>
                  <a:lnTo>
                    <a:pt x="376" y="201"/>
                  </a:lnTo>
                  <a:lnTo>
                    <a:pt x="372" y="203"/>
                  </a:lnTo>
                  <a:lnTo>
                    <a:pt x="368" y="203"/>
                  </a:lnTo>
                  <a:lnTo>
                    <a:pt x="366" y="201"/>
                  </a:lnTo>
                  <a:lnTo>
                    <a:pt x="364" y="201"/>
                  </a:lnTo>
                  <a:lnTo>
                    <a:pt x="362" y="199"/>
                  </a:lnTo>
                  <a:lnTo>
                    <a:pt x="362" y="199"/>
                  </a:lnTo>
                  <a:lnTo>
                    <a:pt x="360" y="199"/>
                  </a:lnTo>
                  <a:lnTo>
                    <a:pt x="360" y="199"/>
                  </a:lnTo>
                  <a:lnTo>
                    <a:pt x="359" y="199"/>
                  </a:lnTo>
                  <a:lnTo>
                    <a:pt x="357" y="201"/>
                  </a:lnTo>
                  <a:lnTo>
                    <a:pt x="355" y="203"/>
                  </a:lnTo>
                  <a:lnTo>
                    <a:pt x="351" y="205"/>
                  </a:lnTo>
                  <a:lnTo>
                    <a:pt x="351" y="205"/>
                  </a:lnTo>
                  <a:lnTo>
                    <a:pt x="349" y="205"/>
                  </a:lnTo>
                  <a:lnTo>
                    <a:pt x="347" y="205"/>
                  </a:lnTo>
                  <a:lnTo>
                    <a:pt x="347" y="201"/>
                  </a:lnTo>
                  <a:lnTo>
                    <a:pt x="345" y="199"/>
                  </a:lnTo>
                  <a:lnTo>
                    <a:pt x="345" y="186"/>
                  </a:lnTo>
                  <a:lnTo>
                    <a:pt x="343" y="186"/>
                  </a:lnTo>
                  <a:lnTo>
                    <a:pt x="341" y="182"/>
                  </a:lnTo>
                  <a:lnTo>
                    <a:pt x="341" y="180"/>
                  </a:lnTo>
                  <a:lnTo>
                    <a:pt x="341" y="178"/>
                  </a:lnTo>
                  <a:lnTo>
                    <a:pt x="341" y="176"/>
                  </a:lnTo>
                  <a:lnTo>
                    <a:pt x="339" y="175"/>
                  </a:lnTo>
                  <a:lnTo>
                    <a:pt x="341" y="173"/>
                  </a:lnTo>
                  <a:lnTo>
                    <a:pt x="341" y="173"/>
                  </a:lnTo>
                  <a:lnTo>
                    <a:pt x="341" y="171"/>
                  </a:lnTo>
                  <a:lnTo>
                    <a:pt x="343" y="171"/>
                  </a:lnTo>
                  <a:lnTo>
                    <a:pt x="343" y="169"/>
                  </a:lnTo>
                  <a:lnTo>
                    <a:pt x="341" y="169"/>
                  </a:lnTo>
                  <a:lnTo>
                    <a:pt x="339" y="169"/>
                  </a:lnTo>
                  <a:lnTo>
                    <a:pt x="339" y="169"/>
                  </a:lnTo>
                  <a:lnTo>
                    <a:pt x="338" y="169"/>
                  </a:lnTo>
                  <a:lnTo>
                    <a:pt x="336" y="171"/>
                  </a:lnTo>
                  <a:lnTo>
                    <a:pt x="334" y="171"/>
                  </a:lnTo>
                  <a:lnTo>
                    <a:pt x="334" y="169"/>
                  </a:lnTo>
                  <a:lnTo>
                    <a:pt x="334" y="169"/>
                  </a:lnTo>
                  <a:lnTo>
                    <a:pt x="332" y="167"/>
                  </a:lnTo>
                  <a:lnTo>
                    <a:pt x="332" y="165"/>
                  </a:lnTo>
                  <a:lnTo>
                    <a:pt x="332" y="165"/>
                  </a:lnTo>
                  <a:lnTo>
                    <a:pt x="332" y="163"/>
                  </a:lnTo>
                  <a:lnTo>
                    <a:pt x="332" y="163"/>
                  </a:lnTo>
                  <a:lnTo>
                    <a:pt x="330" y="163"/>
                  </a:lnTo>
                  <a:lnTo>
                    <a:pt x="330" y="163"/>
                  </a:lnTo>
                  <a:lnTo>
                    <a:pt x="330" y="163"/>
                  </a:lnTo>
                  <a:lnTo>
                    <a:pt x="328" y="163"/>
                  </a:lnTo>
                  <a:lnTo>
                    <a:pt x="328" y="165"/>
                  </a:lnTo>
                  <a:lnTo>
                    <a:pt x="328" y="167"/>
                  </a:lnTo>
                  <a:lnTo>
                    <a:pt x="328" y="167"/>
                  </a:lnTo>
                  <a:lnTo>
                    <a:pt x="328" y="167"/>
                  </a:lnTo>
                  <a:lnTo>
                    <a:pt x="326" y="167"/>
                  </a:lnTo>
                  <a:lnTo>
                    <a:pt x="326" y="167"/>
                  </a:lnTo>
                  <a:lnTo>
                    <a:pt x="324" y="167"/>
                  </a:lnTo>
                  <a:lnTo>
                    <a:pt x="322" y="167"/>
                  </a:lnTo>
                  <a:lnTo>
                    <a:pt x="322" y="167"/>
                  </a:lnTo>
                  <a:lnTo>
                    <a:pt x="320" y="165"/>
                  </a:lnTo>
                  <a:lnTo>
                    <a:pt x="320" y="165"/>
                  </a:lnTo>
                  <a:lnTo>
                    <a:pt x="322" y="163"/>
                  </a:lnTo>
                  <a:lnTo>
                    <a:pt x="322" y="163"/>
                  </a:lnTo>
                  <a:lnTo>
                    <a:pt x="322" y="161"/>
                  </a:lnTo>
                  <a:lnTo>
                    <a:pt x="324" y="161"/>
                  </a:lnTo>
                  <a:lnTo>
                    <a:pt x="324" y="161"/>
                  </a:lnTo>
                  <a:lnTo>
                    <a:pt x="326" y="159"/>
                  </a:lnTo>
                  <a:lnTo>
                    <a:pt x="326" y="159"/>
                  </a:lnTo>
                  <a:lnTo>
                    <a:pt x="324" y="157"/>
                  </a:lnTo>
                  <a:lnTo>
                    <a:pt x="322" y="156"/>
                  </a:lnTo>
                  <a:lnTo>
                    <a:pt x="320" y="150"/>
                  </a:lnTo>
                  <a:lnTo>
                    <a:pt x="320" y="146"/>
                  </a:lnTo>
                  <a:lnTo>
                    <a:pt x="318" y="144"/>
                  </a:lnTo>
                  <a:lnTo>
                    <a:pt x="318" y="144"/>
                  </a:lnTo>
                  <a:lnTo>
                    <a:pt x="317" y="142"/>
                  </a:lnTo>
                  <a:lnTo>
                    <a:pt x="315" y="140"/>
                  </a:lnTo>
                  <a:lnTo>
                    <a:pt x="313" y="138"/>
                  </a:lnTo>
                  <a:lnTo>
                    <a:pt x="313" y="137"/>
                  </a:lnTo>
                  <a:lnTo>
                    <a:pt x="307" y="131"/>
                  </a:lnTo>
                  <a:lnTo>
                    <a:pt x="305" y="129"/>
                  </a:lnTo>
                  <a:lnTo>
                    <a:pt x="305" y="129"/>
                  </a:lnTo>
                  <a:lnTo>
                    <a:pt x="303" y="127"/>
                  </a:lnTo>
                  <a:lnTo>
                    <a:pt x="301" y="127"/>
                  </a:lnTo>
                  <a:lnTo>
                    <a:pt x="299" y="125"/>
                  </a:lnTo>
                  <a:lnTo>
                    <a:pt x="299" y="125"/>
                  </a:lnTo>
                  <a:lnTo>
                    <a:pt x="298" y="125"/>
                  </a:lnTo>
                  <a:lnTo>
                    <a:pt x="294" y="125"/>
                  </a:lnTo>
                  <a:lnTo>
                    <a:pt x="292" y="127"/>
                  </a:lnTo>
                  <a:lnTo>
                    <a:pt x="290" y="125"/>
                  </a:lnTo>
                  <a:lnTo>
                    <a:pt x="290" y="125"/>
                  </a:lnTo>
                  <a:lnTo>
                    <a:pt x="290" y="123"/>
                  </a:lnTo>
                  <a:lnTo>
                    <a:pt x="288" y="123"/>
                  </a:lnTo>
                  <a:lnTo>
                    <a:pt x="288" y="125"/>
                  </a:lnTo>
                  <a:lnTo>
                    <a:pt x="288" y="125"/>
                  </a:lnTo>
                  <a:lnTo>
                    <a:pt x="286" y="125"/>
                  </a:lnTo>
                  <a:lnTo>
                    <a:pt x="286" y="125"/>
                  </a:lnTo>
                  <a:lnTo>
                    <a:pt x="286" y="123"/>
                  </a:lnTo>
                  <a:lnTo>
                    <a:pt x="284" y="123"/>
                  </a:lnTo>
                  <a:lnTo>
                    <a:pt x="284" y="121"/>
                  </a:lnTo>
                  <a:lnTo>
                    <a:pt x="284" y="121"/>
                  </a:lnTo>
                  <a:lnTo>
                    <a:pt x="282" y="119"/>
                  </a:lnTo>
                  <a:lnTo>
                    <a:pt x="282" y="118"/>
                  </a:lnTo>
                  <a:lnTo>
                    <a:pt x="282" y="118"/>
                  </a:lnTo>
                  <a:lnTo>
                    <a:pt x="282" y="116"/>
                  </a:lnTo>
                  <a:lnTo>
                    <a:pt x="282" y="116"/>
                  </a:lnTo>
                  <a:lnTo>
                    <a:pt x="280" y="114"/>
                  </a:lnTo>
                  <a:lnTo>
                    <a:pt x="280" y="114"/>
                  </a:lnTo>
                  <a:lnTo>
                    <a:pt x="278" y="114"/>
                  </a:lnTo>
                  <a:lnTo>
                    <a:pt x="277" y="116"/>
                  </a:lnTo>
                  <a:lnTo>
                    <a:pt x="277" y="116"/>
                  </a:lnTo>
                  <a:lnTo>
                    <a:pt x="269" y="116"/>
                  </a:lnTo>
                  <a:lnTo>
                    <a:pt x="261" y="116"/>
                  </a:lnTo>
                  <a:lnTo>
                    <a:pt x="261" y="116"/>
                  </a:lnTo>
                  <a:lnTo>
                    <a:pt x="259" y="112"/>
                  </a:lnTo>
                  <a:lnTo>
                    <a:pt x="259" y="112"/>
                  </a:lnTo>
                  <a:lnTo>
                    <a:pt x="258" y="110"/>
                  </a:lnTo>
                  <a:lnTo>
                    <a:pt x="254" y="108"/>
                  </a:lnTo>
                  <a:lnTo>
                    <a:pt x="252" y="106"/>
                  </a:lnTo>
                  <a:lnTo>
                    <a:pt x="246" y="104"/>
                  </a:lnTo>
                  <a:lnTo>
                    <a:pt x="246" y="102"/>
                  </a:lnTo>
                  <a:lnTo>
                    <a:pt x="250" y="100"/>
                  </a:lnTo>
                  <a:lnTo>
                    <a:pt x="250" y="98"/>
                  </a:lnTo>
                  <a:lnTo>
                    <a:pt x="250" y="97"/>
                  </a:lnTo>
                  <a:lnTo>
                    <a:pt x="250" y="93"/>
                  </a:lnTo>
                  <a:lnTo>
                    <a:pt x="250" y="89"/>
                  </a:lnTo>
                  <a:lnTo>
                    <a:pt x="248" y="83"/>
                  </a:lnTo>
                  <a:lnTo>
                    <a:pt x="248" y="81"/>
                  </a:lnTo>
                  <a:lnTo>
                    <a:pt x="242" y="81"/>
                  </a:lnTo>
                  <a:lnTo>
                    <a:pt x="242" y="81"/>
                  </a:lnTo>
                  <a:lnTo>
                    <a:pt x="240" y="78"/>
                  </a:lnTo>
                  <a:lnTo>
                    <a:pt x="242" y="76"/>
                  </a:lnTo>
                  <a:lnTo>
                    <a:pt x="244" y="74"/>
                  </a:lnTo>
                  <a:lnTo>
                    <a:pt x="246" y="70"/>
                  </a:lnTo>
                  <a:lnTo>
                    <a:pt x="248" y="70"/>
                  </a:lnTo>
                  <a:lnTo>
                    <a:pt x="248" y="68"/>
                  </a:lnTo>
                  <a:lnTo>
                    <a:pt x="248" y="66"/>
                  </a:lnTo>
                  <a:lnTo>
                    <a:pt x="248" y="64"/>
                  </a:lnTo>
                  <a:lnTo>
                    <a:pt x="248" y="62"/>
                  </a:lnTo>
                  <a:lnTo>
                    <a:pt x="248" y="60"/>
                  </a:lnTo>
                  <a:lnTo>
                    <a:pt x="248" y="60"/>
                  </a:lnTo>
                  <a:lnTo>
                    <a:pt x="248" y="60"/>
                  </a:lnTo>
                  <a:lnTo>
                    <a:pt x="248" y="60"/>
                  </a:lnTo>
                  <a:lnTo>
                    <a:pt x="248" y="59"/>
                  </a:lnTo>
                  <a:lnTo>
                    <a:pt x="250" y="59"/>
                  </a:lnTo>
                  <a:lnTo>
                    <a:pt x="250" y="57"/>
                  </a:lnTo>
                  <a:lnTo>
                    <a:pt x="250" y="55"/>
                  </a:lnTo>
                  <a:lnTo>
                    <a:pt x="250" y="53"/>
                  </a:lnTo>
                  <a:lnTo>
                    <a:pt x="250" y="53"/>
                  </a:lnTo>
                  <a:lnTo>
                    <a:pt x="250" y="51"/>
                  </a:lnTo>
                  <a:lnTo>
                    <a:pt x="250" y="47"/>
                  </a:lnTo>
                  <a:lnTo>
                    <a:pt x="250" y="45"/>
                  </a:lnTo>
                  <a:lnTo>
                    <a:pt x="250" y="45"/>
                  </a:lnTo>
                  <a:lnTo>
                    <a:pt x="250" y="43"/>
                  </a:lnTo>
                  <a:lnTo>
                    <a:pt x="250" y="41"/>
                  </a:lnTo>
                  <a:lnTo>
                    <a:pt x="250" y="41"/>
                  </a:lnTo>
                  <a:lnTo>
                    <a:pt x="248" y="41"/>
                  </a:lnTo>
                  <a:lnTo>
                    <a:pt x="248" y="40"/>
                  </a:lnTo>
                  <a:lnTo>
                    <a:pt x="248" y="40"/>
                  </a:lnTo>
                  <a:lnTo>
                    <a:pt x="246" y="38"/>
                  </a:lnTo>
                  <a:lnTo>
                    <a:pt x="246" y="38"/>
                  </a:lnTo>
                  <a:lnTo>
                    <a:pt x="246" y="38"/>
                  </a:lnTo>
                  <a:lnTo>
                    <a:pt x="244" y="38"/>
                  </a:lnTo>
                  <a:lnTo>
                    <a:pt x="242" y="38"/>
                  </a:lnTo>
                  <a:lnTo>
                    <a:pt x="242" y="38"/>
                  </a:lnTo>
                  <a:lnTo>
                    <a:pt x="242" y="36"/>
                  </a:lnTo>
                  <a:lnTo>
                    <a:pt x="240" y="36"/>
                  </a:lnTo>
                  <a:lnTo>
                    <a:pt x="240" y="36"/>
                  </a:lnTo>
                  <a:lnTo>
                    <a:pt x="238" y="34"/>
                  </a:lnTo>
                  <a:lnTo>
                    <a:pt x="238" y="32"/>
                  </a:lnTo>
                  <a:lnTo>
                    <a:pt x="237" y="30"/>
                  </a:lnTo>
                  <a:lnTo>
                    <a:pt x="237" y="30"/>
                  </a:lnTo>
                  <a:lnTo>
                    <a:pt x="235" y="28"/>
                  </a:lnTo>
                  <a:lnTo>
                    <a:pt x="229" y="28"/>
                  </a:lnTo>
                  <a:lnTo>
                    <a:pt x="227" y="28"/>
                  </a:lnTo>
                  <a:lnTo>
                    <a:pt x="227" y="28"/>
                  </a:lnTo>
                  <a:lnTo>
                    <a:pt x="227" y="28"/>
                  </a:lnTo>
                  <a:lnTo>
                    <a:pt x="219" y="30"/>
                  </a:lnTo>
                  <a:lnTo>
                    <a:pt x="219" y="32"/>
                  </a:lnTo>
                  <a:lnTo>
                    <a:pt x="217" y="32"/>
                  </a:lnTo>
                  <a:lnTo>
                    <a:pt x="217" y="32"/>
                  </a:lnTo>
                  <a:lnTo>
                    <a:pt x="217" y="34"/>
                  </a:lnTo>
                  <a:lnTo>
                    <a:pt x="217" y="34"/>
                  </a:lnTo>
                  <a:lnTo>
                    <a:pt x="217" y="36"/>
                  </a:lnTo>
                  <a:lnTo>
                    <a:pt x="217" y="36"/>
                  </a:lnTo>
                  <a:lnTo>
                    <a:pt x="216" y="36"/>
                  </a:lnTo>
                  <a:lnTo>
                    <a:pt x="216" y="36"/>
                  </a:lnTo>
                  <a:lnTo>
                    <a:pt x="216" y="36"/>
                  </a:lnTo>
                  <a:lnTo>
                    <a:pt x="214" y="36"/>
                  </a:lnTo>
                  <a:lnTo>
                    <a:pt x="214" y="36"/>
                  </a:lnTo>
                  <a:lnTo>
                    <a:pt x="214" y="36"/>
                  </a:lnTo>
                  <a:lnTo>
                    <a:pt x="214" y="36"/>
                  </a:lnTo>
                  <a:lnTo>
                    <a:pt x="212" y="36"/>
                  </a:lnTo>
                  <a:lnTo>
                    <a:pt x="212" y="34"/>
                  </a:lnTo>
                  <a:lnTo>
                    <a:pt x="212" y="34"/>
                  </a:lnTo>
                  <a:lnTo>
                    <a:pt x="208" y="34"/>
                  </a:lnTo>
                  <a:lnTo>
                    <a:pt x="208" y="34"/>
                  </a:lnTo>
                  <a:lnTo>
                    <a:pt x="208" y="34"/>
                  </a:lnTo>
                  <a:lnTo>
                    <a:pt x="200" y="34"/>
                  </a:lnTo>
                  <a:lnTo>
                    <a:pt x="198" y="34"/>
                  </a:lnTo>
                  <a:lnTo>
                    <a:pt x="198" y="34"/>
                  </a:lnTo>
                  <a:lnTo>
                    <a:pt x="197" y="34"/>
                  </a:lnTo>
                  <a:lnTo>
                    <a:pt x="197" y="32"/>
                  </a:lnTo>
                  <a:lnTo>
                    <a:pt x="197" y="30"/>
                  </a:lnTo>
                  <a:lnTo>
                    <a:pt x="195" y="30"/>
                  </a:lnTo>
                  <a:lnTo>
                    <a:pt x="195" y="30"/>
                  </a:lnTo>
                  <a:lnTo>
                    <a:pt x="185" y="28"/>
                  </a:lnTo>
                  <a:lnTo>
                    <a:pt x="185" y="28"/>
                  </a:lnTo>
                  <a:lnTo>
                    <a:pt x="185" y="28"/>
                  </a:lnTo>
                  <a:lnTo>
                    <a:pt x="183" y="28"/>
                  </a:lnTo>
                  <a:lnTo>
                    <a:pt x="183" y="24"/>
                  </a:lnTo>
                  <a:lnTo>
                    <a:pt x="181" y="24"/>
                  </a:lnTo>
                  <a:lnTo>
                    <a:pt x="181" y="24"/>
                  </a:lnTo>
                  <a:lnTo>
                    <a:pt x="179" y="22"/>
                  </a:lnTo>
                  <a:lnTo>
                    <a:pt x="177" y="22"/>
                  </a:lnTo>
                  <a:lnTo>
                    <a:pt x="177" y="22"/>
                  </a:lnTo>
                  <a:lnTo>
                    <a:pt x="172" y="24"/>
                  </a:lnTo>
                  <a:lnTo>
                    <a:pt x="168" y="26"/>
                  </a:lnTo>
                  <a:lnTo>
                    <a:pt x="168" y="26"/>
                  </a:lnTo>
                  <a:lnTo>
                    <a:pt x="166" y="26"/>
                  </a:lnTo>
                  <a:lnTo>
                    <a:pt x="166" y="28"/>
                  </a:lnTo>
                  <a:lnTo>
                    <a:pt x="164" y="30"/>
                  </a:lnTo>
                  <a:lnTo>
                    <a:pt x="164" y="30"/>
                  </a:lnTo>
                  <a:lnTo>
                    <a:pt x="162" y="30"/>
                  </a:lnTo>
                  <a:lnTo>
                    <a:pt x="160" y="30"/>
                  </a:lnTo>
                  <a:lnTo>
                    <a:pt x="160" y="30"/>
                  </a:lnTo>
                  <a:lnTo>
                    <a:pt x="160" y="30"/>
                  </a:lnTo>
                  <a:lnTo>
                    <a:pt x="160" y="30"/>
                  </a:lnTo>
                  <a:lnTo>
                    <a:pt x="158" y="30"/>
                  </a:lnTo>
                  <a:lnTo>
                    <a:pt x="158" y="28"/>
                  </a:lnTo>
                  <a:lnTo>
                    <a:pt x="157" y="28"/>
                  </a:lnTo>
                  <a:lnTo>
                    <a:pt x="155" y="28"/>
                  </a:lnTo>
                  <a:lnTo>
                    <a:pt x="155" y="28"/>
                  </a:lnTo>
                  <a:lnTo>
                    <a:pt x="155" y="26"/>
                  </a:lnTo>
                  <a:lnTo>
                    <a:pt x="155" y="26"/>
                  </a:lnTo>
                  <a:lnTo>
                    <a:pt x="155" y="26"/>
                  </a:lnTo>
                  <a:lnTo>
                    <a:pt x="153" y="24"/>
                  </a:lnTo>
                  <a:lnTo>
                    <a:pt x="151" y="24"/>
                  </a:lnTo>
                  <a:lnTo>
                    <a:pt x="151" y="24"/>
                  </a:lnTo>
                  <a:lnTo>
                    <a:pt x="151" y="22"/>
                  </a:lnTo>
                  <a:lnTo>
                    <a:pt x="149" y="22"/>
                  </a:lnTo>
                  <a:lnTo>
                    <a:pt x="147" y="15"/>
                  </a:lnTo>
                  <a:lnTo>
                    <a:pt x="147" y="15"/>
                  </a:lnTo>
                  <a:lnTo>
                    <a:pt x="147" y="15"/>
                  </a:lnTo>
                  <a:lnTo>
                    <a:pt x="147" y="15"/>
                  </a:lnTo>
                  <a:lnTo>
                    <a:pt x="145" y="13"/>
                  </a:lnTo>
                  <a:lnTo>
                    <a:pt x="145" y="13"/>
                  </a:lnTo>
                  <a:lnTo>
                    <a:pt x="145" y="13"/>
                  </a:lnTo>
                  <a:lnTo>
                    <a:pt x="143" y="11"/>
                  </a:lnTo>
                  <a:lnTo>
                    <a:pt x="141" y="11"/>
                  </a:lnTo>
                  <a:lnTo>
                    <a:pt x="137" y="11"/>
                  </a:lnTo>
                  <a:lnTo>
                    <a:pt x="136" y="11"/>
                  </a:lnTo>
                  <a:lnTo>
                    <a:pt x="136" y="11"/>
                  </a:lnTo>
                  <a:lnTo>
                    <a:pt x="132" y="9"/>
                  </a:lnTo>
                  <a:lnTo>
                    <a:pt x="126" y="7"/>
                  </a:lnTo>
                  <a:lnTo>
                    <a:pt x="124" y="7"/>
                  </a:lnTo>
                  <a:lnTo>
                    <a:pt x="124" y="7"/>
                  </a:lnTo>
                  <a:lnTo>
                    <a:pt x="122" y="7"/>
                  </a:lnTo>
                  <a:lnTo>
                    <a:pt x="120" y="7"/>
                  </a:lnTo>
                  <a:lnTo>
                    <a:pt x="120" y="7"/>
                  </a:lnTo>
                  <a:lnTo>
                    <a:pt x="118" y="5"/>
                  </a:lnTo>
                  <a:lnTo>
                    <a:pt x="118" y="5"/>
                  </a:lnTo>
                  <a:lnTo>
                    <a:pt x="118" y="5"/>
                  </a:lnTo>
                  <a:lnTo>
                    <a:pt x="116" y="5"/>
                  </a:lnTo>
                  <a:lnTo>
                    <a:pt x="116" y="5"/>
                  </a:lnTo>
                  <a:lnTo>
                    <a:pt x="116" y="7"/>
                  </a:lnTo>
                  <a:lnTo>
                    <a:pt x="116" y="7"/>
                  </a:lnTo>
                  <a:lnTo>
                    <a:pt x="115" y="7"/>
                  </a:lnTo>
                  <a:lnTo>
                    <a:pt x="115" y="7"/>
                  </a:lnTo>
                  <a:lnTo>
                    <a:pt x="115" y="7"/>
                  </a:lnTo>
                  <a:lnTo>
                    <a:pt x="115" y="7"/>
                  </a:lnTo>
                  <a:lnTo>
                    <a:pt x="115" y="9"/>
                  </a:lnTo>
                  <a:lnTo>
                    <a:pt x="113" y="9"/>
                  </a:lnTo>
                  <a:lnTo>
                    <a:pt x="107" y="5"/>
                  </a:lnTo>
                  <a:lnTo>
                    <a:pt x="107" y="5"/>
                  </a:lnTo>
                  <a:lnTo>
                    <a:pt x="107" y="5"/>
                  </a:lnTo>
                  <a:lnTo>
                    <a:pt x="107" y="5"/>
                  </a:lnTo>
                  <a:lnTo>
                    <a:pt x="105" y="3"/>
                  </a:lnTo>
                  <a:lnTo>
                    <a:pt x="105" y="1"/>
                  </a:lnTo>
                  <a:lnTo>
                    <a:pt x="105" y="1"/>
                  </a:lnTo>
                  <a:lnTo>
                    <a:pt x="103" y="1"/>
                  </a:lnTo>
                  <a:lnTo>
                    <a:pt x="99" y="0"/>
                  </a:lnTo>
                  <a:lnTo>
                    <a:pt x="99" y="1"/>
                  </a:lnTo>
                  <a:lnTo>
                    <a:pt x="99" y="3"/>
                  </a:lnTo>
                  <a:lnTo>
                    <a:pt x="103" y="13"/>
                  </a:lnTo>
                  <a:lnTo>
                    <a:pt x="103" y="13"/>
                  </a:lnTo>
                  <a:lnTo>
                    <a:pt x="105" y="13"/>
                  </a:lnTo>
                  <a:lnTo>
                    <a:pt x="105" y="13"/>
                  </a:lnTo>
                  <a:lnTo>
                    <a:pt x="107" y="15"/>
                  </a:lnTo>
                  <a:lnTo>
                    <a:pt x="107" y="15"/>
                  </a:lnTo>
                  <a:lnTo>
                    <a:pt x="107" y="17"/>
                  </a:lnTo>
                  <a:lnTo>
                    <a:pt x="107" y="17"/>
                  </a:lnTo>
                  <a:lnTo>
                    <a:pt x="105" y="19"/>
                  </a:lnTo>
                  <a:lnTo>
                    <a:pt x="105" y="19"/>
                  </a:lnTo>
                  <a:lnTo>
                    <a:pt x="105" y="19"/>
                  </a:lnTo>
                  <a:lnTo>
                    <a:pt x="101" y="21"/>
                  </a:lnTo>
                  <a:lnTo>
                    <a:pt x="101" y="22"/>
                  </a:lnTo>
                  <a:lnTo>
                    <a:pt x="99" y="24"/>
                  </a:lnTo>
                  <a:lnTo>
                    <a:pt x="99" y="26"/>
                  </a:lnTo>
                  <a:lnTo>
                    <a:pt x="97" y="28"/>
                  </a:lnTo>
                  <a:lnTo>
                    <a:pt x="97" y="30"/>
                  </a:lnTo>
                  <a:lnTo>
                    <a:pt x="97" y="32"/>
                  </a:lnTo>
                  <a:lnTo>
                    <a:pt x="97" y="38"/>
                  </a:lnTo>
                  <a:lnTo>
                    <a:pt x="97" y="38"/>
                  </a:lnTo>
                  <a:lnTo>
                    <a:pt x="97" y="40"/>
                  </a:lnTo>
                  <a:lnTo>
                    <a:pt x="97" y="40"/>
                  </a:lnTo>
                  <a:lnTo>
                    <a:pt x="96" y="40"/>
                  </a:lnTo>
                  <a:lnTo>
                    <a:pt x="96" y="41"/>
                  </a:lnTo>
                  <a:lnTo>
                    <a:pt x="92" y="41"/>
                  </a:lnTo>
                  <a:lnTo>
                    <a:pt x="90" y="41"/>
                  </a:lnTo>
                  <a:lnTo>
                    <a:pt x="90" y="41"/>
                  </a:lnTo>
                  <a:lnTo>
                    <a:pt x="88" y="43"/>
                  </a:lnTo>
                  <a:lnTo>
                    <a:pt x="88" y="45"/>
                  </a:lnTo>
                  <a:lnTo>
                    <a:pt x="86" y="47"/>
                  </a:lnTo>
                  <a:lnTo>
                    <a:pt x="86" y="49"/>
                  </a:lnTo>
                  <a:lnTo>
                    <a:pt x="86" y="49"/>
                  </a:lnTo>
                  <a:lnTo>
                    <a:pt x="86" y="49"/>
                  </a:lnTo>
                  <a:lnTo>
                    <a:pt x="86" y="51"/>
                  </a:lnTo>
                  <a:lnTo>
                    <a:pt x="86" y="51"/>
                  </a:lnTo>
                  <a:lnTo>
                    <a:pt x="86" y="57"/>
                  </a:lnTo>
                  <a:lnTo>
                    <a:pt x="86" y="57"/>
                  </a:lnTo>
                  <a:lnTo>
                    <a:pt x="86" y="59"/>
                  </a:lnTo>
                  <a:lnTo>
                    <a:pt x="86" y="60"/>
                  </a:lnTo>
                  <a:lnTo>
                    <a:pt x="84" y="60"/>
                  </a:lnTo>
                  <a:lnTo>
                    <a:pt x="84" y="60"/>
                  </a:lnTo>
                  <a:lnTo>
                    <a:pt x="80" y="60"/>
                  </a:lnTo>
                  <a:lnTo>
                    <a:pt x="80" y="60"/>
                  </a:lnTo>
                  <a:lnTo>
                    <a:pt x="78" y="60"/>
                  </a:lnTo>
                  <a:lnTo>
                    <a:pt x="78" y="60"/>
                  </a:lnTo>
                  <a:lnTo>
                    <a:pt x="78" y="60"/>
                  </a:lnTo>
                  <a:lnTo>
                    <a:pt x="76" y="60"/>
                  </a:lnTo>
                  <a:lnTo>
                    <a:pt x="75" y="60"/>
                  </a:lnTo>
                  <a:lnTo>
                    <a:pt x="75" y="60"/>
                  </a:lnTo>
                  <a:lnTo>
                    <a:pt x="73" y="60"/>
                  </a:lnTo>
                  <a:lnTo>
                    <a:pt x="71" y="59"/>
                  </a:lnTo>
                  <a:lnTo>
                    <a:pt x="71" y="59"/>
                  </a:lnTo>
                  <a:lnTo>
                    <a:pt x="69" y="55"/>
                  </a:lnTo>
                  <a:lnTo>
                    <a:pt x="69" y="55"/>
                  </a:lnTo>
                  <a:lnTo>
                    <a:pt x="67" y="55"/>
                  </a:lnTo>
                  <a:lnTo>
                    <a:pt x="65" y="55"/>
                  </a:lnTo>
                  <a:lnTo>
                    <a:pt x="65" y="55"/>
                  </a:lnTo>
                  <a:lnTo>
                    <a:pt x="63" y="55"/>
                  </a:lnTo>
                  <a:lnTo>
                    <a:pt x="63" y="55"/>
                  </a:lnTo>
                  <a:lnTo>
                    <a:pt x="61" y="55"/>
                  </a:lnTo>
                  <a:lnTo>
                    <a:pt x="61" y="55"/>
                  </a:lnTo>
                  <a:lnTo>
                    <a:pt x="59" y="55"/>
                  </a:lnTo>
                  <a:lnTo>
                    <a:pt x="59" y="55"/>
                  </a:lnTo>
                  <a:lnTo>
                    <a:pt x="59" y="55"/>
                  </a:lnTo>
                  <a:lnTo>
                    <a:pt x="57" y="57"/>
                  </a:lnTo>
                  <a:lnTo>
                    <a:pt x="57" y="57"/>
                  </a:lnTo>
                  <a:lnTo>
                    <a:pt x="57" y="59"/>
                  </a:lnTo>
                  <a:lnTo>
                    <a:pt x="57" y="59"/>
                  </a:lnTo>
                  <a:lnTo>
                    <a:pt x="59" y="59"/>
                  </a:lnTo>
                  <a:lnTo>
                    <a:pt x="59" y="59"/>
                  </a:lnTo>
                  <a:lnTo>
                    <a:pt x="59" y="60"/>
                  </a:lnTo>
                  <a:lnTo>
                    <a:pt x="57" y="62"/>
                  </a:lnTo>
                  <a:lnTo>
                    <a:pt x="56" y="62"/>
                  </a:lnTo>
                  <a:lnTo>
                    <a:pt x="56" y="64"/>
                  </a:lnTo>
                  <a:lnTo>
                    <a:pt x="56" y="68"/>
                  </a:lnTo>
                  <a:lnTo>
                    <a:pt x="54" y="70"/>
                  </a:lnTo>
                  <a:lnTo>
                    <a:pt x="54" y="70"/>
                  </a:lnTo>
                  <a:lnTo>
                    <a:pt x="54" y="72"/>
                  </a:lnTo>
                  <a:lnTo>
                    <a:pt x="54" y="72"/>
                  </a:lnTo>
                  <a:lnTo>
                    <a:pt x="54" y="74"/>
                  </a:lnTo>
                  <a:lnTo>
                    <a:pt x="54" y="74"/>
                  </a:lnTo>
                  <a:lnTo>
                    <a:pt x="54" y="74"/>
                  </a:lnTo>
                  <a:lnTo>
                    <a:pt x="54" y="76"/>
                  </a:lnTo>
                  <a:lnTo>
                    <a:pt x="52" y="76"/>
                  </a:lnTo>
                  <a:lnTo>
                    <a:pt x="52" y="76"/>
                  </a:lnTo>
                  <a:lnTo>
                    <a:pt x="52" y="76"/>
                  </a:lnTo>
                  <a:lnTo>
                    <a:pt x="50" y="78"/>
                  </a:lnTo>
                  <a:lnTo>
                    <a:pt x="48" y="79"/>
                  </a:lnTo>
                  <a:lnTo>
                    <a:pt x="48" y="79"/>
                  </a:lnTo>
                  <a:lnTo>
                    <a:pt x="46" y="81"/>
                  </a:lnTo>
                  <a:lnTo>
                    <a:pt x="46" y="81"/>
                  </a:lnTo>
                  <a:lnTo>
                    <a:pt x="46" y="81"/>
                  </a:lnTo>
                  <a:lnTo>
                    <a:pt x="46" y="83"/>
                  </a:lnTo>
                  <a:lnTo>
                    <a:pt x="48" y="85"/>
                  </a:lnTo>
                  <a:lnTo>
                    <a:pt x="48" y="85"/>
                  </a:lnTo>
                  <a:lnTo>
                    <a:pt x="48" y="87"/>
                  </a:lnTo>
                  <a:lnTo>
                    <a:pt x="48" y="87"/>
                  </a:lnTo>
                  <a:lnTo>
                    <a:pt x="48" y="87"/>
                  </a:lnTo>
                  <a:lnTo>
                    <a:pt x="48" y="87"/>
                  </a:lnTo>
                  <a:lnTo>
                    <a:pt x="48" y="87"/>
                  </a:lnTo>
                  <a:lnTo>
                    <a:pt x="50" y="87"/>
                  </a:lnTo>
                  <a:lnTo>
                    <a:pt x="50" y="87"/>
                  </a:lnTo>
                  <a:lnTo>
                    <a:pt x="52" y="87"/>
                  </a:lnTo>
                  <a:lnTo>
                    <a:pt x="52" y="89"/>
                  </a:lnTo>
                  <a:lnTo>
                    <a:pt x="52" y="89"/>
                  </a:lnTo>
                  <a:lnTo>
                    <a:pt x="52" y="89"/>
                  </a:lnTo>
                  <a:lnTo>
                    <a:pt x="52" y="91"/>
                  </a:lnTo>
                  <a:lnTo>
                    <a:pt x="52" y="91"/>
                  </a:lnTo>
                  <a:lnTo>
                    <a:pt x="52" y="91"/>
                  </a:lnTo>
                  <a:lnTo>
                    <a:pt x="52" y="91"/>
                  </a:lnTo>
                  <a:lnTo>
                    <a:pt x="54" y="91"/>
                  </a:lnTo>
                  <a:lnTo>
                    <a:pt x="54" y="91"/>
                  </a:lnTo>
                  <a:lnTo>
                    <a:pt x="54" y="91"/>
                  </a:lnTo>
                  <a:lnTo>
                    <a:pt x="54" y="93"/>
                  </a:lnTo>
                  <a:lnTo>
                    <a:pt x="54" y="93"/>
                  </a:lnTo>
                  <a:lnTo>
                    <a:pt x="54" y="95"/>
                  </a:lnTo>
                  <a:lnTo>
                    <a:pt x="56" y="95"/>
                  </a:lnTo>
                  <a:lnTo>
                    <a:pt x="56" y="97"/>
                  </a:lnTo>
                  <a:lnTo>
                    <a:pt x="59" y="98"/>
                  </a:lnTo>
                  <a:lnTo>
                    <a:pt x="61" y="100"/>
                  </a:lnTo>
                  <a:lnTo>
                    <a:pt x="61" y="100"/>
                  </a:lnTo>
                  <a:lnTo>
                    <a:pt x="61" y="100"/>
                  </a:lnTo>
                  <a:lnTo>
                    <a:pt x="61" y="102"/>
                  </a:lnTo>
                  <a:lnTo>
                    <a:pt x="61" y="102"/>
                  </a:lnTo>
                  <a:lnTo>
                    <a:pt x="59" y="102"/>
                  </a:lnTo>
                  <a:lnTo>
                    <a:pt x="57" y="102"/>
                  </a:lnTo>
                  <a:lnTo>
                    <a:pt x="57" y="104"/>
                  </a:lnTo>
                  <a:lnTo>
                    <a:pt x="56" y="104"/>
                  </a:lnTo>
                  <a:lnTo>
                    <a:pt x="54" y="104"/>
                  </a:lnTo>
                  <a:lnTo>
                    <a:pt x="54" y="106"/>
                  </a:lnTo>
                  <a:lnTo>
                    <a:pt x="52" y="108"/>
                  </a:lnTo>
                  <a:lnTo>
                    <a:pt x="50" y="114"/>
                  </a:lnTo>
                  <a:lnTo>
                    <a:pt x="50" y="116"/>
                  </a:lnTo>
                  <a:lnTo>
                    <a:pt x="48" y="116"/>
                  </a:lnTo>
                  <a:lnTo>
                    <a:pt x="48" y="116"/>
                  </a:lnTo>
                  <a:lnTo>
                    <a:pt x="46" y="116"/>
                  </a:lnTo>
                  <a:lnTo>
                    <a:pt x="44" y="116"/>
                  </a:lnTo>
                  <a:lnTo>
                    <a:pt x="44" y="116"/>
                  </a:lnTo>
                  <a:lnTo>
                    <a:pt x="42" y="116"/>
                  </a:lnTo>
                  <a:lnTo>
                    <a:pt x="42" y="118"/>
                  </a:lnTo>
                  <a:lnTo>
                    <a:pt x="42" y="119"/>
                  </a:lnTo>
                  <a:lnTo>
                    <a:pt x="42" y="119"/>
                  </a:lnTo>
                  <a:lnTo>
                    <a:pt x="42" y="119"/>
                  </a:lnTo>
                  <a:lnTo>
                    <a:pt x="42" y="121"/>
                  </a:lnTo>
                  <a:lnTo>
                    <a:pt x="42" y="123"/>
                  </a:lnTo>
                  <a:lnTo>
                    <a:pt x="42" y="125"/>
                  </a:lnTo>
                  <a:lnTo>
                    <a:pt x="40" y="127"/>
                  </a:lnTo>
                  <a:lnTo>
                    <a:pt x="40" y="127"/>
                  </a:lnTo>
                  <a:lnTo>
                    <a:pt x="40" y="129"/>
                  </a:lnTo>
                  <a:lnTo>
                    <a:pt x="38" y="129"/>
                  </a:lnTo>
                  <a:lnTo>
                    <a:pt x="38" y="129"/>
                  </a:lnTo>
                  <a:lnTo>
                    <a:pt x="35" y="129"/>
                  </a:lnTo>
                  <a:lnTo>
                    <a:pt x="33" y="129"/>
                  </a:lnTo>
                  <a:lnTo>
                    <a:pt x="33" y="129"/>
                  </a:lnTo>
                  <a:lnTo>
                    <a:pt x="31" y="131"/>
                  </a:lnTo>
                  <a:lnTo>
                    <a:pt x="31" y="131"/>
                  </a:lnTo>
                  <a:lnTo>
                    <a:pt x="31" y="133"/>
                  </a:lnTo>
                  <a:lnTo>
                    <a:pt x="31" y="133"/>
                  </a:lnTo>
                  <a:lnTo>
                    <a:pt x="29" y="135"/>
                  </a:lnTo>
                  <a:lnTo>
                    <a:pt x="29" y="135"/>
                  </a:lnTo>
                  <a:lnTo>
                    <a:pt x="29" y="137"/>
                  </a:lnTo>
                  <a:lnTo>
                    <a:pt x="29" y="137"/>
                  </a:lnTo>
                  <a:lnTo>
                    <a:pt x="29" y="137"/>
                  </a:lnTo>
                  <a:lnTo>
                    <a:pt x="29" y="138"/>
                  </a:lnTo>
                  <a:lnTo>
                    <a:pt x="27" y="138"/>
                  </a:lnTo>
                  <a:lnTo>
                    <a:pt x="27" y="140"/>
                  </a:lnTo>
                  <a:lnTo>
                    <a:pt x="27" y="142"/>
                  </a:lnTo>
                  <a:lnTo>
                    <a:pt x="27" y="142"/>
                  </a:lnTo>
                  <a:lnTo>
                    <a:pt x="25" y="144"/>
                  </a:lnTo>
                  <a:lnTo>
                    <a:pt x="25" y="144"/>
                  </a:lnTo>
                  <a:lnTo>
                    <a:pt x="23" y="146"/>
                  </a:lnTo>
                  <a:lnTo>
                    <a:pt x="23" y="146"/>
                  </a:lnTo>
                  <a:lnTo>
                    <a:pt x="23" y="146"/>
                  </a:lnTo>
                  <a:lnTo>
                    <a:pt x="27" y="150"/>
                  </a:lnTo>
                  <a:lnTo>
                    <a:pt x="29" y="150"/>
                  </a:lnTo>
                  <a:lnTo>
                    <a:pt x="29" y="150"/>
                  </a:lnTo>
                  <a:lnTo>
                    <a:pt x="29" y="152"/>
                  </a:lnTo>
                  <a:lnTo>
                    <a:pt x="27" y="154"/>
                  </a:lnTo>
                  <a:lnTo>
                    <a:pt x="31" y="156"/>
                  </a:lnTo>
                  <a:lnTo>
                    <a:pt x="31" y="156"/>
                  </a:lnTo>
                  <a:lnTo>
                    <a:pt x="31" y="157"/>
                  </a:lnTo>
                  <a:lnTo>
                    <a:pt x="31" y="157"/>
                  </a:lnTo>
                  <a:lnTo>
                    <a:pt x="29" y="159"/>
                  </a:lnTo>
                  <a:lnTo>
                    <a:pt x="29" y="161"/>
                  </a:lnTo>
                  <a:lnTo>
                    <a:pt x="29" y="161"/>
                  </a:lnTo>
                  <a:lnTo>
                    <a:pt x="31" y="167"/>
                  </a:lnTo>
                  <a:lnTo>
                    <a:pt x="33" y="171"/>
                  </a:lnTo>
                  <a:lnTo>
                    <a:pt x="33" y="173"/>
                  </a:lnTo>
                  <a:lnTo>
                    <a:pt x="33" y="173"/>
                  </a:lnTo>
                  <a:lnTo>
                    <a:pt x="31" y="173"/>
                  </a:lnTo>
                  <a:lnTo>
                    <a:pt x="31" y="173"/>
                  </a:lnTo>
                  <a:lnTo>
                    <a:pt x="29" y="173"/>
                  </a:lnTo>
                  <a:lnTo>
                    <a:pt x="29" y="175"/>
                  </a:lnTo>
                  <a:lnTo>
                    <a:pt x="29" y="175"/>
                  </a:lnTo>
                  <a:lnTo>
                    <a:pt x="29" y="175"/>
                  </a:lnTo>
                  <a:lnTo>
                    <a:pt x="29" y="176"/>
                  </a:lnTo>
                  <a:lnTo>
                    <a:pt x="29" y="176"/>
                  </a:lnTo>
                  <a:lnTo>
                    <a:pt x="33" y="178"/>
                  </a:lnTo>
                  <a:lnTo>
                    <a:pt x="33" y="180"/>
                  </a:lnTo>
                  <a:lnTo>
                    <a:pt x="33" y="182"/>
                  </a:lnTo>
                  <a:lnTo>
                    <a:pt x="35" y="184"/>
                  </a:lnTo>
                  <a:lnTo>
                    <a:pt x="35" y="188"/>
                  </a:lnTo>
                  <a:lnTo>
                    <a:pt x="35" y="190"/>
                  </a:lnTo>
                  <a:lnTo>
                    <a:pt x="35" y="190"/>
                  </a:lnTo>
                  <a:lnTo>
                    <a:pt x="35" y="190"/>
                  </a:lnTo>
                  <a:lnTo>
                    <a:pt x="29" y="195"/>
                  </a:lnTo>
                  <a:lnTo>
                    <a:pt x="27" y="197"/>
                  </a:lnTo>
                  <a:lnTo>
                    <a:pt x="27" y="197"/>
                  </a:lnTo>
                  <a:lnTo>
                    <a:pt x="25" y="197"/>
                  </a:lnTo>
                  <a:lnTo>
                    <a:pt x="25" y="197"/>
                  </a:lnTo>
                  <a:lnTo>
                    <a:pt x="25" y="199"/>
                  </a:lnTo>
                  <a:lnTo>
                    <a:pt x="23" y="199"/>
                  </a:lnTo>
                  <a:lnTo>
                    <a:pt x="23" y="201"/>
                  </a:lnTo>
                  <a:lnTo>
                    <a:pt x="23" y="201"/>
                  </a:lnTo>
                  <a:lnTo>
                    <a:pt x="23" y="201"/>
                  </a:lnTo>
                  <a:lnTo>
                    <a:pt x="23" y="201"/>
                  </a:lnTo>
                  <a:lnTo>
                    <a:pt x="23" y="203"/>
                  </a:lnTo>
                  <a:lnTo>
                    <a:pt x="25" y="203"/>
                  </a:lnTo>
                  <a:lnTo>
                    <a:pt x="25" y="205"/>
                  </a:lnTo>
                  <a:lnTo>
                    <a:pt x="25" y="205"/>
                  </a:lnTo>
                  <a:lnTo>
                    <a:pt x="27" y="207"/>
                  </a:lnTo>
                  <a:lnTo>
                    <a:pt x="25" y="207"/>
                  </a:lnTo>
                  <a:lnTo>
                    <a:pt x="25" y="209"/>
                  </a:lnTo>
                  <a:lnTo>
                    <a:pt x="25" y="209"/>
                  </a:lnTo>
                  <a:lnTo>
                    <a:pt x="21" y="211"/>
                  </a:lnTo>
                  <a:lnTo>
                    <a:pt x="21" y="211"/>
                  </a:lnTo>
                  <a:lnTo>
                    <a:pt x="19" y="211"/>
                  </a:lnTo>
                  <a:lnTo>
                    <a:pt x="19" y="213"/>
                  </a:lnTo>
                  <a:lnTo>
                    <a:pt x="16" y="216"/>
                  </a:lnTo>
                  <a:lnTo>
                    <a:pt x="16" y="218"/>
                  </a:lnTo>
                  <a:lnTo>
                    <a:pt x="16" y="220"/>
                  </a:lnTo>
                  <a:lnTo>
                    <a:pt x="19" y="222"/>
                  </a:lnTo>
                  <a:lnTo>
                    <a:pt x="19" y="222"/>
                  </a:lnTo>
                  <a:lnTo>
                    <a:pt x="21" y="224"/>
                  </a:lnTo>
                  <a:lnTo>
                    <a:pt x="23" y="224"/>
                  </a:lnTo>
                  <a:lnTo>
                    <a:pt x="23" y="224"/>
                  </a:lnTo>
                  <a:lnTo>
                    <a:pt x="25" y="224"/>
                  </a:lnTo>
                  <a:lnTo>
                    <a:pt x="27" y="224"/>
                  </a:lnTo>
                  <a:lnTo>
                    <a:pt x="27" y="224"/>
                  </a:lnTo>
                  <a:lnTo>
                    <a:pt x="31" y="224"/>
                  </a:lnTo>
                  <a:lnTo>
                    <a:pt x="31" y="226"/>
                  </a:lnTo>
                  <a:lnTo>
                    <a:pt x="31" y="228"/>
                  </a:lnTo>
                  <a:lnTo>
                    <a:pt x="33" y="228"/>
                  </a:lnTo>
                  <a:lnTo>
                    <a:pt x="33" y="228"/>
                  </a:lnTo>
                  <a:lnTo>
                    <a:pt x="35" y="226"/>
                  </a:lnTo>
                  <a:lnTo>
                    <a:pt x="36" y="226"/>
                  </a:lnTo>
                  <a:lnTo>
                    <a:pt x="36" y="224"/>
                  </a:lnTo>
                  <a:lnTo>
                    <a:pt x="38" y="224"/>
                  </a:lnTo>
                  <a:lnTo>
                    <a:pt x="40" y="224"/>
                  </a:lnTo>
                  <a:lnTo>
                    <a:pt x="40" y="226"/>
                  </a:lnTo>
                  <a:lnTo>
                    <a:pt x="40" y="226"/>
                  </a:lnTo>
                  <a:lnTo>
                    <a:pt x="36" y="232"/>
                  </a:lnTo>
                  <a:lnTo>
                    <a:pt x="36" y="232"/>
                  </a:lnTo>
                  <a:lnTo>
                    <a:pt x="36" y="232"/>
                  </a:lnTo>
                  <a:lnTo>
                    <a:pt x="33" y="234"/>
                  </a:lnTo>
                  <a:lnTo>
                    <a:pt x="31" y="234"/>
                  </a:lnTo>
                  <a:lnTo>
                    <a:pt x="31" y="235"/>
                  </a:lnTo>
                  <a:lnTo>
                    <a:pt x="31" y="235"/>
                  </a:lnTo>
                  <a:lnTo>
                    <a:pt x="29" y="237"/>
                  </a:lnTo>
                  <a:lnTo>
                    <a:pt x="29" y="237"/>
                  </a:lnTo>
                  <a:lnTo>
                    <a:pt x="27" y="237"/>
                  </a:lnTo>
                  <a:lnTo>
                    <a:pt x="27" y="237"/>
                  </a:lnTo>
                  <a:lnTo>
                    <a:pt x="25" y="239"/>
                  </a:lnTo>
                  <a:lnTo>
                    <a:pt x="25" y="239"/>
                  </a:lnTo>
                  <a:lnTo>
                    <a:pt x="23" y="241"/>
                  </a:lnTo>
                  <a:lnTo>
                    <a:pt x="23" y="243"/>
                  </a:lnTo>
                  <a:lnTo>
                    <a:pt x="12" y="258"/>
                  </a:lnTo>
                  <a:lnTo>
                    <a:pt x="10" y="262"/>
                  </a:lnTo>
                  <a:lnTo>
                    <a:pt x="10" y="262"/>
                  </a:lnTo>
                  <a:lnTo>
                    <a:pt x="12" y="264"/>
                  </a:lnTo>
                  <a:lnTo>
                    <a:pt x="12" y="264"/>
                  </a:lnTo>
                  <a:lnTo>
                    <a:pt x="12" y="264"/>
                  </a:lnTo>
                  <a:lnTo>
                    <a:pt x="14" y="266"/>
                  </a:lnTo>
                  <a:lnTo>
                    <a:pt x="16" y="266"/>
                  </a:lnTo>
                  <a:lnTo>
                    <a:pt x="16" y="266"/>
                  </a:lnTo>
                  <a:lnTo>
                    <a:pt x="16" y="268"/>
                  </a:lnTo>
                  <a:lnTo>
                    <a:pt x="17" y="272"/>
                  </a:lnTo>
                  <a:lnTo>
                    <a:pt x="17" y="272"/>
                  </a:lnTo>
                  <a:lnTo>
                    <a:pt x="19" y="275"/>
                  </a:lnTo>
                  <a:lnTo>
                    <a:pt x="19" y="277"/>
                  </a:lnTo>
                  <a:lnTo>
                    <a:pt x="19" y="279"/>
                  </a:lnTo>
                  <a:lnTo>
                    <a:pt x="19" y="281"/>
                  </a:lnTo>
                  <a:lnTo>
                    <a:pt x="17" y="283"/>
                  </a:lnTo>
                  <a:lnTo>
                    <a:pt x="17" y="285"/>
                  </a:lnTo>
                  <a:lnTo>
                    <a:pt x="17" y="287"/>
                  </a:lnTo>
                  <a:lnTo>
                    <a:pt x="17" y="298"/>
                  </a:lnTo>
                  <a:lnTo>
                    <a:pt x="17" y="300"/>
                  </a:lnTo>
                  <a:lnTo>
                    <a:pt x="16" y="300"/>
                  </a:lnTo>
                  <a:lnTo>
                    <a:pt x="16" y="300"/>
                  </a:lnTo>
                  <a:lnTo>
                    <a:pt x="16" y="302"/>
                  </a:lnTo>
                  <a:lnTo>
                    <a:pt x="16" y="306"/>
                  </a:lnTo>
                  <a:lnTo>
                    <a:pt x="16" y="306"/>
                  </a:lnTo>
                  <a:lnTo>
                    <a:pt x="16" y="308"/>
                  </a:lnTo>
                  <a:lnTo>
                    <a:pt x="16" y="308"/>
                  </a:lnTo>
                  <a:lnTo>
                    <a:pt x="17" y="308"/>
                  </a:lnTo>
                  <a:lnTo>
                    <a:pt x="17" y="310"/>
                  </a:lnTo>
                  <a:lnTo>
                    <a:pt x="17" y="310"/>
                  </a:lnTo>
                  <a:lnTo>
                    <a:pt x="17" y="310"/>
                  </a:lnTo>
                  <a:lnTo>
                    <a:pt x="16" y="312"/>
                  </a:lnTo>
                  <a:lnTo>
                    <a:pt x="16" y="312"/>
                  </a:lnTo>
                  <a:lnTo>
                    <a:pt x="16" y="313"/>
                  </a:lnTo>
                  <a:lnTo>
                    <a:pt x="16" y="313"/>
                  </a:lnTo>
                  <a:lnTo>
                    <a:pt x="16" y="313"/>
                  </a:lnTo>
                  <a:lnTo>
                    <a:pt x="16" y="313"/>
                  </a:lnTo>
                  <a:lnTo>
                    <a:pt x="17" y="313"/>
                  </a:lnTo>
                  <a:lnTo>
                    <a:pt x="17" y="313"/>
                  </a:lnTo>
                  <a:lnTo>
                    <a:pt x="17" y="313"/>
                  </a:lnTo>
                  <a:lnTo>
                    <a:pt x="17" y="315"/>
                  </a:lnTo>
                  <a:lnTo>
                    <a:pt x="17" y="315"/>
                  </a:lnTo>
                  <a:lnTo>
                    <a:pt x="17" y="317"/>
                  </a:lnTo>
                  <a:lnTo>
                    <a:pt x="17" y="317"/>
                  </a:lnTo>
                  <a:lnTo>
                    <a:pt x="17" y="319"/>
                  </a:lnTo>
                  <a:lnTo>
                    <a:pt x="16" y="319"/>
                  </a:lnTo>
                  <a:lnTo>
                    <a:pt x="16" y="321"/>
                  </a:lnTo>
                  <a:lnTo>
                    <a:pt x="14" y="321"/>
                  </a:lnTo>
                  <a:lnTo>
                    <a:pt x="14" y="321"/>
                  </a:lnTo>
                  <a:lnTo>
                    <a:pt x="12" y="323"/>
                  </a:lnTo>
                  <a:lnTo>
                    <a:pt x="12" y="325"/>
                  </a:lnTo>
                  <a:lnTo>
                    <a:pt x="12" y="325"/>
                  </a:lnTo>
                  <a:lnTo>
                    <a:pt x="12" y="327"/>
                  </a:lnTo>
                  <a:lnTo>
                    <a:pt x="8" y="327"/>
                  </a:lnTo>
                  <a:lnTo>
                    <a:pt x="6" y="329"/>
                  </a:lnTo>
                  <a:lnTo>
                    <a:pt x="2" y="332"/>
                  </a:lnTo>
                  <a:lnTo>
                    <a:pt x="0" y="332"/>
                  </a:lnTo>
                  <a:lnTo>
                    <a:pt x="0" y="332"/>
                  </a:lnTo>
                  <a:lnTo>
                    <a:pt x="4" y="336"/>
                  </a:lnTo>
                  <a:lnTo>
                    <a:pt x="4" y="336"/>
                  </a:lnTo>
                  <a:lnTo>
                    <a:pt x="14" y="340"/>
                  </a:lnTo>
                  <a:lnTo>
                    <a:pt x="16" y="340"/>
                  </a:lnTo>
                  <a:lnTo>
                    <a:pt x="21" y="340"/>
                  </a:lnTo>
                  <a:lnTo>
                    <a:pt x="23" y="340"/>
                  </a:lnTo>
                  <a:lnTo>
                    <a:pt x="27" y="342"/>
                  </a:lnTo>
                  <a:lnTo>
                    <a:pt x="27" y="342"/>
                  </a:lnTo>
                  <a:lnTo>
                    <a:pt x="27" y="344"/>
                  </a:lnTo>
                  <a:lnTo>
                    <a:pt x="29" y="344"/>
                  </a:lnTo>
                  <a:lnTo>
                    <a:pt x="27" y="346"/>
                  </a:lnTo>
                  <a:lnTo>
                    <a:pt x="27" y="346"/>
                  </a:lnTo>
                  <a:lnTo>
                    <a:pt x="27" y="348"/>
                  </a:lnTo>
                  <a:lnTo>
                    <a:pt x="25" y="348"/>
                  </a:lnTo>
                  <a:lnTo>
                    <a:pt x="23" y="350"/>
                  </a:lnTo>
                  <a:lnTo>
                    <a:pt x="23" y="350"/>
                  </a:lnTo>
                  <a:lnTo>
                    <a:pt x="23" y="351"/>
                  </a:lnTo>
                  <a:lnTo>
                    <a:pt x="21" y="351"/>
                  </a:lnTo>
                  <a:lnTo>
                    <a:pt x="21" y="355"/>
                  </a:lnTo>
                  <a:lnTo>
                    <a:pt x="21" y="355"/>
                  </a:lnTo>
                  <a:lnTo>
                    <a:pt x="21" y="357"/>
                  </a:lnTo>
                  <a:lnTo>
                    <a:pt x="21" y="359"/>
                  </a:lnTo>
                  <a:lnTo>
                    <a:pt x="21" y="361"/>
                  </a:lnTo>
                  <a:lnTo>
                    <a:pt x="21" y="365"/>
                  </a:lnTo>
                  <a:lnTo>
                    <a:pt x="21" y="367"/>
                  </a:lnTo>
                  <a:lnTo>
                    <a:pt x="21" y="370"/>
                  </a:lnTo>
                  <a:lnTo>
                    <a:pt x="21" y="372"/>
                  </a:lnTo>
                  <a:lnTo>
                    <a:pt x="21" y="376"/>
                  </a:lnTo>
                  <a:lnTo>
                    <a:pt x="21" y="376"/>
                  </a:lnTo>
                  <a:lnTo>
                    <a:pt x="21" y="378"/>
                  </a:lnTo>
                  <a:lnTo>
                    <a:pt x="19" y="380"/>
                  </a:lnTo>
                  <a:lnTo>
                    <a:pt x="17" y="380"/>
                  </a:lnTo>
                  <a:lnTo>
                    <a:pt x="17" y="380"/>
                  </a:lnTo>
                  <a:lnTo>
                    <a:pt x="21" y="384"/>
                  </a:lnTo>
                  <a:lnTo>
                    <a:pt x="27" y="384"/>
                  </a:lnTo>
                  <a:lnTo>
                    <a:pt x="29" y="386"/>
                  </a:lnTo>
                  <a:lnTo>
                    <a:pt x="31" y="386"/>
                  </a:lnTo>
                  <a:lnTo>
                    <a:pt x="31" y="386"/>
                  </a:lnTo>
                  <a:lnTo>
                    <a:pt x="33" y="386"/>
                  </a:lnTo>
                  <a:lnTo>
                    <a:pt x="33" y="384"/>
                  </a:lnTo>
                  <a:lnTo>
                    <a:pt x="33" y="386"/>
                  </a:lnTo>
                  <a:lnTo>
                    <a:pt x="35" y="386"/>
                  </a:lnTo>
                  <a:lnTo>
                    <a:pt x="35" y="386"/>
                  </a:lnTo>
                  <a:lnTo>
                    <a:pt x="35" y="386"/>
                  </a:lnTo>
                  <a:lnTo>
                    <a:pt x="36" y="388"/>
                  </a:lnTo>
                  <a:lnTo>
                    <a:pt x="36" y="388"/>
                  </a:lnTo>
                  <a:lnTo>
                    <a:pt x="38" y="388"/>
                  </a:lnTo>
                  <a:lnTo>
                    <a:pt x="40" y="388"/>
                  </a:lnTo>
                  <a:lnTo>
                    <a:pt x="40" y="388"/>
                  </a:lnTo>
                  <a:lnTo>
                    <a:pt x="42" y="388"/>
                  </a:lnTo>
                  <a:lnTo>
                    <a:pt x="42" y="388"/>
                  </a:lnTo>
                  <a:lnTo>
                    <a:pt x="42" y="388"/>
                  </a:lnTo>
                  <a:lnTo>
                    <a:pt x="44" y="388"/>
                  </a:lnTo>
                  <a:lnTo>
                    <a:pt x="44" y="388"/>
                  </a:lnTo>
                  <a:lnTo>
                    <a:pt x="46" y="388"/>
                  </a:lnTo>
                  <a:lnTo>
                    <a:pt x="46" y="388"/>
                  </a:lnTo>
                  <a:lnTo>
                    <a:pt x="48" y="388"/>
                  </a:lnTo>
                  <a:lnTo>
                    <a:pt x="48" y="388"/>
                  </a:lnTo>
                  <a:lnTo>
                    <a:pt x="48" y="389"/>
                  </a:lnTo>
                  <a:lnTo>
                    <a:pt x="50" y="389"/>
                  </a:lnTo>
                  <a:lnTo>
                    <a:pt x="50" y="389"/>
                  </a:lnTo>
                  <a:lnTo>
                    <a:pt x="52" y="389"/>
                  </a:lnTo>
                  <a:lnTo>
                    <a:pt x="52" y="389"/>
                  </a:lnTo>
                  <a:lnTo>
                    <a:pt x="54" y="388"/>
                  </a:lnTo>
                  <a:lnTo>
                    <a:pt x="54" y="388"/>
                  </a:lnTo>
                  <a:lnTo>
                    <a:pt x="54" y="388"/>
                  </a:lnTo>
                  <a:lnTo>
                    <a:pt x="56" y="388"/>
                  </a:lnTo>
                  <a:lnTo>
                    <a:pt x="56" y="388"/>
                  </a:lnTo>
                  <a:lnTo>
                    <a:pt x="57" y="386"/>
                  </a:lnTo>
                  <a:lnTo>
                    <a:pt x="57" y="386"/>
                  </a:lnTo>
                  <a:lnTo>
                    <a:pt x="59" y="386"/>
                  </a:lnTo>
                  <a:lnTo>
                    <a:pt x="61" y="388"/>
                  </a:lnTo>
                  <a:lnTo>
                    <a:pt x="63" y="388"/>
                  </a:lnTo>
                  <a:lnTo>
                    <a:pt x="63" y="388"/>
                  </a:lnTo>
                  <a:lnTo>
                    <a:pt x="65" y="388"/>
                  </a:lnTo>
                  <a:lnTo>
                    <a:pt x="67" y="388"/>
                  </a:lnTo>
                  <a:lnTo>
                    <a:pt x="69" y="389"/>
                  </a:lnTo>
                  <a:lnTo>
                    <a:pt x="69" y="389"/>
                  </a:lnTo>
                  <a:lnTo>
                    <a:pt x="71" y="388"/>
                  </a:lnTo>
                  <a:lnTo>
                    <a:pt x="71" y="388"/>
                  </a:lnTo>
                  <a:lnTo>
                    <a:pt x="71" y="386"/>
                  </a:lnTo>
                  <a:lnTo>
                    <a:pt x="71" y="386"/>
                  </a:lnTo>
                  <a:lnTo>
                    <a:pt x="73" y="386"/>
                  </a:lnTo>
                  <a:lnTo>
                    <a:pt x="73" y="386"/>
                  </a:lnTo>
                  <a:lnTo>
                    <a:pt x="73" y="386"/>
                  </a:lnTo>
                  <a:lnTo>
                    <a:pt x="73" y="388"/>
                  </a:lnTo>
                  <a:lnTo>
                    <a:pt x="75" y="389"/>
                  </a:lnTo>
                  <a:lnTo>
                    <a:pt x="75" y="391"/>
                  </a:lnTo>
                  <a:lnTo>
                    <a:pt x="75" y="391"/>
                  </a:lnTo>
                  <a:lnTo>
                    <a:pt x="78" y="393"/>
                  </a:lnTo>
                  <a:lnTo>
                    <a:pt x="78" y="393"/>
                  </a:lnTo>
                  <a:lnTo>
                    <a:pt x="80" y="393"/>
                  </a:lnTo>
                  <a:lnTo>
                    <a:pt x="80" y="391"/>
                  </a:lnTo>
                  <a:lnTo>
                    <a:pt x="80" y="391"/>
                  </a:lnTo>
                  <a:lnTo>
                    <a:pt x="82" y="391"/>
                  </a:lnTo>
                  <a:lnTo>
                    <a:pt x="82" y="391"/>
                  </a:lnTo>
                  <a:lnTo>
                    <a:pt x="82" y="391"/>
                  </a:lnTo>
                  <a:lnTo>
                    <a:pt x="84" y="391"/>
                  </a:lnTo>
                  <a:lnTo>
                    <a:pt x="84" y="389"/>
                  </a:lnTo>
                  <a:lnTo>
                    <a:pt x="84" y="389"/>
                  </a:lnTo>
                  <a:lnTo>
                    <a:pt x="86" y="388"/>
                  </a:lnTo>
                  <a:lnTo>
                    <a:pt x="86" y="388"/>
                  </a:lnTo>
                  <a:lnTo>
                    <a:pt x="86" y="388"/>
                  </a:lnTo>
                  <a:lnTo>
                    <a:pt x="86" y="386"/>
                  </a:lnTo>
                  <a:lnTo>
                    <a:pt x="86" y="386"/>
                  </a:lnTo>
                  <a:lnTo>
                    <a:pt x="88" y="384"/>
                  </a:lnTo>
                  <a:lnTo>
                    <a:pt x="88" y="384"/>
                  </a:lnTo>
                  <a:lnTo>
                    <a:pt x="90" y="384"/>
                  </a:lnTo>
                  <a:lnTo>
                    <a:pt x="92" y="384"/>
                  </a:lnTo>
                  <a:lnTo>
                    <a:pt x="92" y="382"/>
                  </a:lnTo>
                  <a:lnTo>
                    <a:pt x="92" y="382"/>
                  </a:lnTo>
                  <a:lnTo>
                    <a:pt x="92" y="380"/>
                  </a:lnTo>
                  <a:lnTo>
                    <a:pt x="92" y="380"/>
                  </a:lnTo>
                  <a:lnTo>
                    <a:pt x="92" y="378"/>
                  </a:lnTo>
                  <a:lnTo>
                    <a:pt x="92" y="378"/>
                  </a:lnTo>
                  <a:lnTo>
                    <a:pt x="94" y="376"/>
                  </a:lnTo>
                  <a:lnTo>
                    <a:pt x="94" y="376"/>
                  </a:lnTo>
                  <a:lnTo>
                    <a:pt x="92" y="374"/>
                  </a:lnTo>
                  <a:lnTo>
                    <a:pt x="94" y="372"/>
                  </a:lnTo>
                  <a:lnTo>
                    <a:pt x="94" y="372"/>
                  </a:lnTo>
                  <a:lnTo>
                    <a:pt x="96" y="372"/>
                  </a:lnTo>
                  <a:lnTo>
                    <a:pt x="96" y="374"/>
                  </a:lnTo>
                  <a:lnTo>
                    <a:pt x="97" y="374"/>
                  </a:lnTo>
                  <a:lnTo>
                    <a:pt x="99" y="372"/>
                  </a:lnTo>
                  <a:lnTo>
                    <a:pt x="99" y="372"/>
                  </a:lnTo>
                  <a:lnTo>
                    <a:pt x="101" y="370"/>
                  </a:lnTo>
                  <a:lnTo>
                    <a:pt x="101" y="370"/>
                  </a:lnTo>
                  <a:lnTo>
                    <a:pt x="103" y="370"/>
                  </a:lnTo>
                  <a:lnTo>
                    <a:pt x="105" y="369"/>
                  </a:lnTo>
                  <a:lnTo>
                    <a:pt x="107" y="369"/>
                  </a:lnTo>
                  <a:lnTo>
                    <a:pt x="109" y="369"/>
                  </a:lnTo>
                  <a:lnTo>
                    <a:pt x="111" y="369"/>
                  </a:lnTo>
                  <a:lnTo>
                    <a:pt x="115" y="369"/>
                  </a:lnTo>
                  <a:lnTo>
                    <a:pt x="116" y="370"/>
                  </a:lnTo>
                  <a:lnTo>
                    <a:pt x="118" y="370"/>
                  </a:lnTo>
                  <a:lnTo>
                    <a:pt x="120" y="370"/>
                  </a:lnTo>
                  <a:lnTo>
                    <a:pt x="120" y="370"/>
                  </a:lnTo>
                  <a:lnTo>
                    <a:pt x="122" y="370"/>
                  </a:lnTo>
                  <a:lnTo>
                    <a:pt x="122" y="369"/>
                  </a:lnTo>
                  <a:lnTo>
                    <a:pt x="124" y="369"/>
                  </a:lnTo>
                  <a:lnTo>
                    <a:pt x="124" y="367"/>
                  </a:lnTo>
                  <a:lnTo>
                    <a:pt x="126" y="367"/>
                  </a:lnTo>
                  <a:lnTo>
                    <a:pt x="128" y="367"/>
                  </a:lnTo>
                  <a:lnTo>
                    <a:pt x="130" y="369"/>
                  </a:lnTo>
                  <a:lnTo>
                    <a:pt x="130" y="369"/>
                  </a:lnTo>
                  <a:lnTo>
                    <a:pt x="132" y="370"/>
                  </a:lnTo>
                  <a:lnTo>
                    <a:pt x="132" y="372"/>
                  </a:lnTo>
                  <a:lnTo>
                    <a:pt x="132" y="372"/>
                  </a:lnTo>
                  <a:lnTo>
                    <a:pt x="136" y="374"/>
                  </a:lnTo>
                  <a:lnTo>
                    <a:pt x="136" y="374"/>
                  </a:lnTo>
                  <a:lnTo>
                    <a:pt x="137" y="374"/>
                  </a:lnTo>
                  <a:lnTo>
                    <a:pt x="139" y="374"/>
                  </a:lnTo>
                  <a:lnTo>
                    <a:pt x="141" y="374"/>
                  </a:lnTo>
                  <a:lnTo>
                    <a:pt x="141" y="372"/>
                  </a:lnTo>
                  <a:lnTo>
                    <a:pt x="143" y="372"/>
                  </a:lnTo>
                  <a:lnTo>
                    <a:pt x="145" y="370"/>
                  </a:lnTo>
                  <a:lnTo>
                    <a:pt x="145" y="370"/>
                  </a:lnTo>
                  <a:lnTo>
                    <a:pt x="147" y="369"/>
                  </a:lnTo>
                  <a:lnTo>
                    <a:pt x="147" y="367"/>
                  </a:lnTo>
                  <a:lnTo>
                    <a:pt x="147" y="367"/>
                  </a:lnTo>
                  <a:lnTo>
                    <a:pt x="147" y="365"/>
                  </a:lnTo>
                  <a:lnTo>
                    <a:pt x="147" y="365"/>
                  </a:lnTo>
                  <a:lnTo>
                    <a:pt x="145" y="363"/>
                  </a:lnTo>
                  <a:lnTo>
                    <a:pt x="145" y="363"/>
                  </a:lnTo>
                  <a:lnTo>
                    <a:pt x="145" y="361"/>
                  </a:lnTo>
                  <a:lnTo>
                    <a:pt x="147" y="361"/>
                  </a:lnTo>
                  <a:lnTo>
                    <a:pt x="147" y="361"/>
                  </a:lnTo>
                  <a:lnTo>
                    <a:pt x="149" y="361"/>
                  </a:lnTo>
                  <a:lnTo>
                    <a:pt x="149" y="361"/>
                  </a:lnTo>
                  <a:lnTo>
                    <a:pt x="149" y="363"/>
                  </a:lnTo>
                  <a:lnTo>
                    <a:pt x="149" y="363"/>
                  </a:lnTo>
                  <a:lnTo>
                    <a:pt x="149" y="365"/>
                  </a:lnTo>
                  <a:lnTo>
                    <a:pt x="149" y="365"/>
                  </a:lnTo>
                  <a:lnTo>
                    <a:pt x="151" y="367"/>
                  </a:lnTo>
                  <a:lnTo>
                    <a:pt x="153" y="367"/>
                  </a:lnTo>
                  <a:lnTo>
                    <a:pt x="153" y="367"/>
                  </a:lnTo>
                  <a:lnTo>
                    <a:pt x="153" y="367"/>
                  </a:lnTo>
                  <a:lnTo>
                    <a:pt x="155" y="365"/>
                  </a:lnTo>
                  <a:lnTo>
                    <a:pt x="155" y="365"/>
                  </a:lnTo>
                  <a:lnTo>
                    <a:pt x="155" y="363"/>
                  </a:lnTo>
                  <a:lnTo>
                    <a:pt x="153" y="361"/>
                  </a:lnTo>
                  <a:lnTo>
                    <a:pt x="153" y="359"/>
                  </a:lnTo>
                  <a:lnTo>
                    <a:pt x="153" y="357"/>
                  </a:lnTo>
                  <a:lnTo>
                    <a:pt x="155" y="357"/>
                  </a:lnTo>
                  <a:lnTo>
                    <a:pt x="157" y="355"/>
                  </a:lnTo>
                  <a:lnTo>
                    <a:pt x="158" y="355"/>
                  </a:lnTo>
                  <a:lnTo>
                    <a:pt x="160" y="355"/>
                  </a:lnTo>
                  <a:lnTo>
                    <a:pt x="160" y="353"/>
                  </a:lnTo>
                  <a:lnTo>
                    <a:pt x="162" y="353"/>
                  </a:lnTo>
                  <a:lnTo>
                    <a:pt x="164" y="353"/>
                  </a:lnTo>
                  <a:lnTo>
                    <a:pt x="164" y="353"/>
                  </a:lnTo>
                  <a:lnTo>
                    <a:pt x="166" y="353"/>
                  </a:lnTo>
                  <a:lnTo>
                    <a:pt x="166" y="353"/>
                  </a:lnTo>
                  <a:lnTo>
                    <a:pt x="168" y="353"/>
                  </a:lnTo>
                  <a:lnTo>
                    <a:pt x="174" y="353"/>
                  </a:lnTo>
                  <a:lnTo>
                    <a:pt x="174" y="353"/>
                  </a:lnTo>
                  <a:lnTo>
                    <a:pt x="176" y="353"/>
                  </a:lnTo>
                  <a:lnTo>
                    <a:pt x="176" y="355"/>
                  </a:lnTo>
                  <a:lnTo>
                    <a:pt x="177" y="355"/>
                  </a:lnTo>
                  <a:lnTo>
                    <a:pt x="177" y="355"/>
                  </a:lnTo>
                  <a:lnTo>
                    <a:pt x="179" y="355"/>
                  </a:lnTo>
                  <a:lnTo>
                    <a:pt x="181" y="353"/>
                  </a:lnTo>
                  <a:lnTo>
                    <a:pt x="181" y="353"/>
                  </a:lnTo>
                  <a:lnTo>
                    <a:pt x="183" y="351"/>
                  </a:lnTo>
                  <a:lnTo>
                    <a:pt x="183" y="348"/>
                  </a:lnTo>
                  <a:lnTo>
                    <a:pt x="183" y="344"/>
                  </a:lnTo>
                  <a:lnTo>
                    <a:pt x="181" y="342"/>
                  </a:lnTo>
                  <a:lnTo>
                    <a:pt x="181" y="342"/>
                  </a:lnTo>
                  <a:lnTo>
                    <a:pt x="181" y="340"/>
                  </a:lnTo>
                  <a:lnTo>
                    <a:pt x="181" y="338"/>
                  </a:lnTo>
                  <a:lnTo>
                    <a:pt x="181" y="336"/>
                  </a:lnTo>
                  <a:lnTo>
                    <a:pt x="181" y="334"/>
                  </a:lnTo>
                  <a:lnTo>
                    <a:pt x="183" y="332"/>
                  </a:lnTo>
                  <a:lnTo>
                    <a:pt x="183" y="332"/>
                  </a:lnTo>
                  <a:lnTo>
                    <a:pt x="183" y="331"/>
                  </a:lnTo>
                  <a:lnTo>
                    <a:pt x="183" y="331"/>
                  </a:lnTo>
                  <a:lnTo>
                    <a:pt x="181" y="329"/>
                  </a:lnTo>
                  <a:lnTo>
                    <a:pt x="183" y="327"/>
                  </a:lnTo>
                  <a:lnTo>
                    <a:pt x="183" y="327"/>
                  </a:lnTo>
                  <a:lnTo>
                    <a:pt x="185" y="323"/>
                  </a:lnTo>
                  <a:lnTo>
                    <a:pt x="187" y="323"/>
                  </a:lnTo>
                  <a:lnTo>
                    <a:pt x="187" y="321"/>
                  </a:lnTo>
                  <a:lnTo>
                    <a:pt x="189" y="321"/>
                  </a:lnTo>
                  <a:lnTo>
                    <a:pt x="191" y="321"/>
                  </a:lnTo>
                  <a:lnTo>
                    <a:pt x="193" y="321"/>
                  </a:lnTo>
                  <a:lnTo>
                    <a:pt x="193" y="321"/>
                  </a:lnTo>
                  <a:lnTo>
                    <a:pt x="198" y="321"/>
                  </a:lnTo>
                  <a:lnTo>
                    <a:pt x="200" y="321"/>
                  </a:lnTo>
                  <a:lnTo>
                    <a:pt x="202" y="319"/>
                  </a:lnTo>
                  <a:lnTo>
                    <a:pt x="202" y="319"/>
                  </a:lnTo>
                  <a:lnTo>
                    <a:pt x="202" y="317"/>
                  </a:lnTo>
                  <a:lnTo>
                    <a:pt x="204" y="317"/>
                  </a:lnTo>
                  <a:lnTo>
                    <a:pt x="208" y="315"/>
                  </a:lnTo>
                  <a:lnTo>
                    <a:pt x="208" y="315"/>
                  </a:lnTo>
                  <a:lnTo>
                    <a:pt x="212" y="315"/>
                  </a:lnTo>
                  <a:lnTo>
                    <a:pt x="212" y="315"/>
                  </a:lnTo>
                  <a:lnTo>
                    <a:pt x="214" y="315"/>
                  </a:lnTo>
                  <a:lnTo>
                    <a:pt x="214" y="315"/>
                  </a:lnTo>
                  <a:lnTo>
                    <a:pt x="216" y="313"/>
                  </a:lnTo>
                  <a:lnTo>
                    <a:pt x="217" y="313"/>
                  </a:lnTo>
                  <a:lnTo>
                    <a:pt x="219" y="312"/>
                  </a:lnTo>
                  <a:lnTo>
                    <a:pt x="219" y="313"/>
                  </a:lnTo>
                  <a:lnTo>
                    <a:pt x="221" y="313"/>
                  </a:lnTo>
                  <a:lnTo>
                    <a:pt x="221" y="312"/>
                  </a:lnTo>
                  <a:lnTo>
                    <a:pt x="223" y="310"/>
                  </a:lnTo>
                  <a:lnTo>
                    <a:pt x="225" y="310"/>
                  </a:lnTo>
                  <a:lnTo>
                    <a:pt x="229" y="310"/>
                  </a:lnTo>
                  <a:lnTo>
                    <a:pt x="229" y="310"/>
                  </a:lnTo>
                  <a:lnTo>
                    <a:pt x="231" y="308"/>
                  </a:lnTo>
                  <a:lnTo>
                    <a:pt x="233" y="306"/>
                  </a:lnTo>
                  <a:lnTo>
                    <a:pt x="233" y="306"/>
                  </a:lnTo>
                  <a:lnTo>
                    <a:pt x="235" y="306"/>
                  </a:lnTo>
                  <a:lnTo>
                    <a:pt x="237" y="310"/>
                  </a:lnTo>
                  <a:lnTo>
                    <a:pt x="238" y="310"/>
                  </a:lnTo>
                  <a:lnTo>
                    <a:pt x="240" y="310"/>
                  </a:lnTo>
                  <a:lnTo>
                    <a:pt x="240" y="310"/>
                  </a:lnTo>
                  <a:lnTo>
                    <a:pt x="242" y="310"/>
                  </a:lnTo>
                  <a:lnTo>
                    <a:pt x="242" y="312"/>
                  </a:lnTo>
                  <a:lnTo>
                    <a:pt x="244" y="313"/>
                  </a:lnTo>
                  <a:lnTo>
                    <a:pt x="244" y="315"/>
                  </a:lnTo>
                  <a:lnTo>
                    <a:pt x="246" y="315"/>
                  </a:lnTo>
                  <a:lnTo>
                    <a:pt x="246" y="315"/>
                  </a:lnTo>
                  <a:lnTo>
                    <a:pt x="248" y="315"/>
                  </a:lnTo>
                  <a:lnTo>
                    <a:pt x="250" y="315"/>
                  </a:lnTo>
                  <a:lnTo>
                    <a:pt x="252" y="313"/>
                  </a:lnTo>
                  <a:lnTo>
                    <a:pt x="254" y="310"/>
                  </a:lnTo>
                  <a:lnTo>
                    <a:pt x="254" y="310"/>
                  </a:lnTo>
                  <a:lnTo>
                    <a:pt x="254" y="308"/>
                  </a:lnTo>
                  <a:lnTo>
                    <a:pt x="256" y="308"/>
                  </a:lnTo>
                  <a:lnTo>
                    <a:pt x="256" y="308"/>
                  </a:lnTo>
                  <a:lnTo>
                    <a:pt x="258" y="306"/>
                  </a:lnTo>
                  <a:lnTo>
                    <a:pt x="258" y="306"/>
                  </a:lnTo>
                  <a:lnTo>
                    <a:pt x="258" y="304"/>
                  </a:lnTo>
                  <a:lnTo>
                    <a:pt x="259" y="302"/>
                  </a:lnTo>
                  <a:lnTo>
                    <a:pt x="259" y="302"/>
                  </a:lnTo>
                  <a:lnTo>
                    <a:pt x="259" y="298"/>
                  </a:lnTo>
                  <a:lnTo>
                    <a:pt x="259" y="298"/>
                  </a:lnTo>
                  <a:lnTo>
                    <a:pt x="258" y="296"/>
                  </a:lnTo>
                  <a:lnTo>
                    <a:pt x="258" y="296"/>
                  </a:lnTo>
                  <a:lnTo>
                    <a:pt x="258" y="296"/>
                  </a:lnTo>
                  <a:lnTo>
                    <a:pt x="258" y="294"/>
                  </a:lnTo>
                  <a:lnTo>
                    <a:pt x="258" y="294"/>
                  </a:lnTo>
                  <a:lnTo>
                    <a:pt x="256" y="294"/>
                  </a:lnTo>
                  <a:lnTo>
                    <a:pt x="254" y="292"/>
                  </a:lnTo>
                  <a:lnTo>
                    <a:pt x="254" y="292"/>
                  </a:lnTo>
                  <a:lnTo>
                    <a:pt x="254" y="292"/>
                  </a:lnTo>
                  <a:lnTo>
                    <a:pt x="254" y="291"/>
                  </a:lnTo>
                  <a:lnTo>
                    <a:pt x="256" y="289"/>
                  </a:lnTo>
                  <a:lnTo>
                    <a:pt x="256" y="289"/>
                  </a:lnTo>
                  <a:lnTo>
                    <a:pt x="256" y="287"/>
                  </a:lnTo>
                  <a:lnTo>
                    <a:pt x="258" y="287"/>
                  </a:lnTo>
                  <a:lnTo>
                    <a:pt x="258" y="283"/>
                  </a:lnTo>
                  <a:lnTo>
                    <a:pt x="261" y="283"/>
                  </a:lnTo>
                  <a:lnTo>
                    <a:pt x="261" y="283"/>
                  </a:lnTo>
                  <a:lnTo>
                    <a:pt x="261" y="281"/>
                  </a:lnTo>
                  <a:lnTo>
                    <a:pt x="263" y="281"/>
                  </a:lnTo>
                  <a:lnTo>
                    <a:pt x="263" y="281"/>
                  </a:lnTo>
                  <a:lnTo>
                    <a:pt x="265" y="281"/>
                  </a:lnTo>
                  <a:lnTo>
                    <a:pt x="265" y="281"/>
                  </a:lnTo>
                  <a:lnTo>
                    <a:pt x="265" y="281"/>
                  </a:lnTo>
                  <a:lnTo>
                    <a:pt x="265" y="281"/>
                  </a:lnTo>
                  <a:lnTo>
                    <a:pt x="267" y="281"/>
                  </a:lnTo>
                  <a:lnTo>
                    <a:pt x="267" y="281"/>
                  </a:lnTo>
                  <a:lnTo>
                    <a:pt x="267" y="279"/>
                  </a:lnTo>
                  <a:lnTo>
                    <a:pt x="267" y="279"/>
                  </a:lnTo>
                  <a:lnTo>
                    <a:pt x="269" y="277"/>
                  </a:lnTo>
                  <a:lnTo>
                    <a:pt x="269" y="277"/>
                  </a:lnTo>
                  <a:lnTo>
                    <a:pt x="271" y="275"/>
                  </a:lnTo>
                  <a:lnTo>
                    <a:pt x="271" y="275"/>
                  </a:lnTo>
                  <a:lnTo>
                    <a:pt x="273" y="277"/>
                  </a:lnTo>
                  <a:lnTo>
                    <a:pt x="273" y="279"/>
                  </a:lnTo>
                  <a:lnTo>
                    <a:pt x="273" y="279"/>
                  </a:lnTo>
                  <a:lnTo>
                    <a:pt x="273" y="277"/>
                  </a:lnTo>
                  <a:lnTo>
                    <a:pt x="275" y="277"/>
                  </a:lnTo>
                  <a:lnTo>
                    <a:pt x="275" y="279"/>
                  </a:lnTo>
                  <a:lnTo>
                    <a:pt x="275" y="279"/>
                  </a:lnTo>
                  <a:lnTo>
                    <a:pt x="277" y="279"/>
                  </a:lnTo>
                  <a:lnTo>
                    <a:pt x="277" y="279"/>
                  </a:lnTo>
                  <a:lnTo>
                    <a:pt x="278" y="279"/>
                  </a:lnTo>
                  <a:lnTo>
                    <a:pt x="278" y="281"/>
                  </a:lnTo>
                  <a:lnTo>
                    <a:pt x="280" y="283"/>
                  </a:lnTo>
                  <a:lnTo>
                    <a:pt x="282" y="285"/>
                  </a:lnTo>
                  <a:lnTo>
                    <a:pt x="282" y="287"/>
                  </a:lnTo>
                  <a:lnTo>
                    <a:pt x="282" y="287"/>
                  </a:lnTo>
                  <a:lnTo>
                    <a:pt x="282" y="289"/>
                  </a:lnTo>
                  <a:lnTo>
                    <a:pt x="282" y="289"/>
                  </a:lnTo>
                  <a:lnTo>
                    <a:pt x="282" y="291"/>
                  </a:lnTo>
                  <a:lnTo>
                    <a:pt x="282" y="291"/>
                  </a:lnTo>
                  <a:lnTo>
                    <a:pt x="284" y="292"/>
                  </a:lnTo>
                  <a:lnTo>
                    <a:pt x="284" y="292"/>
                  </a:lnTo>
                  <a:lnTo>
                    <a:pt x="284" y="292"/>
                  </a:lnTo>
                  <a:lnTo>
                    <a:pt x="284" y="292"/>
                  </a:lnTo>
                  <a:lnTo>
                    <a:pt x="284" y="294"/>
                  </a:lnTo>
                  <a:lnTo>
                    <a:pt x="286" y="294"/>
                  </a:lnTo>
                  <a:lnTo>
                    <a:pt x="286" y="294"/>
                  </a:lnTo>
                  <a:lnTo>
                    <a:pt x="288" y="294"/>
                  </a:lnTo>
                  <a:lnTo>
                    <a:pt x="288" y="296"/>
                  </a:lnTo>
                  <a:lnTo>
                    <a:pt x="288" y="296"/>
                  </a:lnTo>
                  <a:lnTo>
                    <a:pt x="288" y="298"/>
                  </a:lnTo>
                  <a:lnTo>
                    <a:pt x="288" y="298"/>
                  </a:lnTo>
                  <a:lnTo>
                    <a:pt x="288" y="298"/>
                  </a:lnTo>
                  <a:lnTo>
                    <a:pt x="288" y="298"/>
                  </a:lnTo>
                  <a:lnTo>
                    <a:pt x="290" y="296"/>
                  </a:lnTo>
                  <a:lnTo>
                    <a:pt x="290" y="296"/>
                  </a:lnTo>
                  <a:lnTo>
                    <a:pt x="290" y="296"/>
                  </a:lnTo>
                  <a:lnTo>
                    <a:pt x="290" y="294"/>
                  </a:lnTo>
                  <a:lnTo>
                    <a:pt x="292" y="294"/>
                  </a:lnTo>
                  <a:lnTo>
                    <a:pt x="292" y="296"/>
                  </a:lnTo>
                  <a:lnTo>
                    <a:pt x="294" y="296"/>
                  </a:lnTo>
                  <a:lnTo>
                    <a:pt x="294" y="296"/>
                  </a:lnTo>
                  <a:lnTo>
                    <a:pt x="294" y="296"/>
                  </a:lnTo>
                  <a:lnTo>
                    <a:pt x="296" y="298"/>
                  </a:lnTo>
                  <a:lnTo>
                    <a:pt x="296" y="298"/>
                  </a:lnTo>
                  <a:lnTo>
                    <a:pt x="296" y="298"/>
                  </a:lnTo>
                  <a:lnTo>
                    <a:pt x="296" y="300"/>
                  </a:lnTo>
                  <a:lnTo>
                    <a:pt x="298" y="300"/>
                  </a:lnTo>
                  <a:lnTo>
                    <a:pt x="298" y="300"/>
                  </a:lnTo>
                  <a:lnTo>
                    <a:pt x="299" y="302"/>
                  </a:lnTo>
                  <a:lnTo>
                    <a:pt x="299" y="302"/>
                  </a:lnTo>
                  <a:lnTo>
                    <a:pt x="301" y="302"/>
                  </a:lnTo>
                  <a:lnTo>
                    <a:pt x="301" y="302"/>
                  </a:lnTo>
                  <a:lnTo>
                    <a:pt x="303" y="302"/>
                  </a:lnTo>
                  <a:lnTo>
                    <a:pt x="305" y="302"/>
                  </a:lnTo>
                  <a:lnTo>
                    <a:pt x="305" y="302"/>
                  </a:lnTo>
                  <a:lnTo>
                    <a:pt x="307" y="302"/>
                  </a:lnTo>
                  <a:lnTo>
                    <a:pt x="309" y="300"/>
                  </a:lnTo>
                  <a:lnTo>
                    <a:pt x="309" y="300"/>
                  </a:lnTo>
                  <a:lnTo>
                    <a:pt x="309" y="300"/>
                  </a:lnTo>
                  <a:lnTo>
                    <a:pt x="309" y="300"/>
                  </a:lnTo>
                  <a:lnTo>
                    <a:pt x="307" y="298"/>
                  </a:lnTo>
                  <a:lnTo>
                    <a:pt x="307" y="298"/>
                  </a:lnTo>
                  <a:lnTo>
                    <a:pt x="307" y="298"/>
                  </a:lnTo>
                  <a:lnTo>
                    <a:pt x="305" y="298"/>
                  </a:lnTo>
                  <a:lnTo>
                    <a:pt x="305" y="298"/>
                  </a:lnTo>
                  <a:lnTo>
                    <a:pt x="305" y="296"/>
                  </a:lnTo>
                  <a:lnTo>
                    <a:pt x="305" y="296"/>
                  </a:lnTo>
                  <a:lnTo>
                    <a:pt x="305" y="294"/>
                  </a:lnTo>
                  <a:lnTo>
                    <a:pt x="305" y="294"/>
                  </a:lnTo>
                  <a:lnTo>
                    <a:pt x="305" y="292"/>
                  </a:lnTo>
                  <a:lnTo>
                    <a:pt x="307" y="292"/>
                  </a:lnTo>
                  <a:lnTo>
                    <a:pt x="309" y="292"/>
                  </a:lnTo>
                  <a:lnTo>
                    <a:pt x="307" y="291"/>
                  </a:lnTo>
                  <a:lnTo>
                    <a:pt x="307" y="291"/>
                  </a:lnTo>
                  <a:lnTo>
                    <a:pt x="307" y="291"/>
                  </a:lnTo>
                  <a:lnTo>
                    <a:pt x="307" y="289"/>
                  </a:lnTo>
                  <a:lnTo>
                    <a:pt x="307" y="289"/>
                  </a:lnTo>
                  <a:lnTo>
                    <a:pt x="309" y="289"/>
                  </a:lnTo>
                  <a:lnTo>
                    <a:pt x="309" y="289"/>
                  </a:lnTo>
                  <a:lnTo>
                    <a:pt x="309" y="289"/>
                  </a:lnTo>
                  <a:lnTo>
                    <a:pt x="307" y="287"/>
                  </a:lnTo>
                  <a:lnTo>
                    <a:pt x="307" y="287"/>
                  </a:lnTo>
                  <a:lnTo>
                    <a:pt x="303" y="285"/>
                  </a:lnTo>
                  <a:lnTo>
                    <a:pt x="301" y="287"/>
                  </a:lnTo>
                  <a:lnTo>
                    <a:pt x="301" y="285"/>
                  </a:lnTo>
                  <a:lnTo>
                    <a:pt x="299" y="285"/>
                  </a:lnTo>
                  <a:lnTo>
                    <a:pt x="299" y="287"/>
                  </a:lnTo>
                  <a:lnTo>
                    <a:pt x="299" y="287"/>
                  </a:lnTo>
                  <a:lnTo>
                    <a:pt x="299" y="289"/>
                  </a:lnTo>
                  <a:lnTo>
                    <a:pt x="298" y="287"/>
                  </a:lnTo>
                  <a:lnTo>
                    <a:pt x="298" y="287"/>
                  </a:lnTo>
                  <a:lnTo>
                    <a:pt x="298" y="287"/>
                  </a:lnTo>
                  <a:lnTo>
                    <a:pt x="296" y="287"/>
                  </a:lnTo>
                  <a:lnTo>
                    <a:pt x="296" y="285"/>
                  </a:lnTo>
                  <a:lnTo>
                    <a:pt x="292" y="285"/>
                  </a:lnTo>
                  <a:lnTo>
                    <a:pt x="290" y="285"/>
                  </a:lnTo>
                  <a:lnTo>
                    <a:pt x="290" y="283"/>
                  </a:lnTo>
                  <a:lnTo>
                    <a:pt x="288" y="283"/>
                  </a:lnTo>
                  <a:lnTo>
                    <a:pt x="286" y="283"/>
                  </a:lnTo>
                  <a:lnTo>
                    <a:pt x="288" y="283"/>
                  </a:lnTo>
                  <a:lnTo>
                    <a:pt x="288" y="281"/>
                  </a:lnTo>
                  <a:lnTo>
                    <a:pt x="288" y="281"/>
                  </a:lnTo>
                  <a:lnTo>
                    <a:pt x="288" y="281"/>
                  </a:lnTo>
                  <a:lnTo>
                    <a:pt x="288" y="281"/>
                  </a:lnTo>
                  <a:lnTo>
                    <a:pt x="290" y="279"/>
                  </a:lnTo>
                  <a:lnTo>
                    <a:pt x="290" y="279"/>
                  </a:lnTo>
                  <a:lnTo>
                    <a:pt x="290" y="279"/>
                  </a:lnTo>
                  <a:lnTo>
                    <a:pt x="290" y="279"/>
                  </a:lnTo>
                  <a:lnTo>
                    <a:pt x="290" y="277"/>
                  </a:lnTo>
                  <a:lnTo>
                    <a:pt x="288" y="277"/>
                  </a:lnTo>
                  <a:lnTo>
                    <a:pt x="288" y="277"/>
                  </a:lnTo>
                  <a:lnTo>
                    <a:pt x="288" y="277"/>
                  </a:lnTo>
                  <a:lnTo>
                    <a:pt x="288" y="275"/>
                  </a:lnTo>
                  <a:lnTo>
                    <a:pt x="288" y="275"/>
                  </a:lnTo>
                  <a:lnTo>
                    <a:pt x="288" y="275"/>
                  </a:lnTo>
                  <a:lnTo>
                    <a:pt x="288" y="273"/>
                  </a:lnTo>
                  <a:lnTo>
                    <a:pt x="288" y="273"/>
                  </a:lnTo>
                  <a:lnTo>
                    <a:pt x="290" y="273"/>
                  </a:lnTo>
                  <a:lnTo>
                    <a:pt x="290" y="273"/>
                  </a:lnTo>
                  <a:lnTo>
                    <a:pt x="290" y="273"/>
                  </a:lnTo>
                  <a:lnTo>
                    <a:pt x="290" y="273"/>
                  </a:lnTo>
                  <a:lnTo>
                    <a:pt x="290" y="273"/>
                  </a:lnTo>
                  <a:lnTo>
                    <a:pt x="290" y="273"/>
                  </a:lnTo>
                  <a:lnTo>
                    <a:pt x="290" y="275"/>
                  </a:lnTo>
                  <a:lnTo>
                    <a:pt x="292" y="275"/>
                  </a:lnTo>
                  <a:lnTo>
                    <a:pt x="292" y="277"/>
                  </a:lnTo>
                  <a:lnTo>
                    <a:pt x="292" y="277"/>
                  </a:lnTo>
                  <a:lnTo>
                    <a:pt x="294" y="277"/>
                  </a:lnTo>
                  <a:lnTo>
                    <a:pt x="296" y="279"/>
                  </a:lnTo>
                  <a:lnTo>
                    <a:pt x="296" y="277"/>
                  </a:lnTo>
                  <a:lnTo>
                    <a:pt x="298" y="277"/>
                  </a:lnTo>
                  <a:lnTo>
                    <a:pt x="298" y="277"/>
                  </a:lnTo>
                  <a:lnTo>
                    <a:pt x="298" y="275"/>
                  </a:lnTo>
                  <a:lnTo>
                    <a:pt x="298" y="275"/>
                  </a:lnTo>
                  <a:lnTo>
                    <a:pt x="299" y="275"/>
                  </a:lnTo>
                  <a:lnTo>
                    <a:pt x="299" y="273"/>
                  </a:lnTo>
                  <a:lnTo>
                    <a:pt x="299" y="272"/>
                  </a:lnTo>
                  <a:lnTo>
                    <a:pt x="299" y="272"/>
                  </a:lnTo>
                  <a:lnTo>
                    <a:pt x="299" y="272"/>
                  </a:lnTo>
                  <a:lnTo>
                    <a:pt x="299" y="270"/>
                  </a:lnTo>
                  <a:lnTo>
                    <a:pt x="299" y="270"/>
                  </a:lnTo>
                  <a:lnTo>
                    <a:pt x="301" y="270"/>
                  </a:lnTo>
                  <a:lnTo>
                    <a:pt x="301" y="270"/>
                  </a:lnTo>
                  <a:lnTo>
                    <a:pt x="303" y="270"/>
                  </a:lnTo>
                  <a:lnTo>
                    <a:pt x="303" y="268"/>
                  </a:lnTo>
                  <a:lnTo>
                    <a:pt x="303" y="268"/>
                  </a:lnTo>
                  <a:lnTo>
                    <a:pt x="305" y="268"/>
                  </a:lnTo>
                  <a:lnTo>
                    <a:pt x="305" y="266"/>
                  </a:lnTo>
                  <a:lnTo>
                    <a:pt x="307" y="268"/>
                  </a:lnTo>
                  <a:lnTo>
                    <a:pt x="307" y="268"/>
                  </a:lnTo>
                  <a:lnTo>
                    <a:pt x="309" y="268"/>
                  </a:lnTo>
                  <a:lnTo>
                    <a:pt x="309" y="270"/>
                  </a:lnTo>
                  <a:lnTo>
                    <a:pt x="311" y="270"/>
                  </a:lnTo>
                  <a:lnTo>
                    <a:pt x="311" y="270"/>
                  </a:lnTo>
                  <a:lnTo>
                    <a:pt x="311" y="270"/>
                  </a:lnTo>
                  <a:lnTo>
                    <a:pt x="313" y="270"/>
                  </a:lnTo>
                  <a:lnTo>
                    <a:pt x="311" y="270"/>
                  </a:lnTo>
                  <a:lnTo>
                    <a:pt x="313" y="272"/>
                  </a:lnTo>
                  <a:lnTo>
                    <a:pt x="313" y="272"/>
                  </a:lnTo>
                  <a:lnTo>
                    <a:pt x="315" y="272"/>
                  </a:lnTo>
                  <a:lnTo>
                    <a:pt x="315" y="272"/>
                  </a:lnTo>
                  <a:lnTo>
                    <a:pt x="313" y="273"/>
                  </a:lnTo>
                  <a:lnTo>
                    <a:pt x="313" y="273"/>
                  </a:lnTo>
                  <a:lnTo>
                    <a:pt x="313" y="273"/>
                  </a:lnTo>
                  <a:lnTo>
                    <a:pt x="313" y="273"/>
                  </a:lnTo>
                  <a:lnTo>
                    <a:pt x="313" y="275"/>
                  </a:lnTo>
                  <a:lnTo>
                    <a:pt x="315" y="275"/>
                  </a:lnTo>
                  <a:lnTo>
                    <a:pt x="315" y="275"/>
                  </a:lnTo>
                  <a:lnTo>
                    <a:pt x="315" y="273"/>
                  </a:lnTo>
                  <a:lnTo>
                    <a:pt x="317" y="273"/>
                  </a:lnTo>
                  <a:lnTo>
                    <a:pt x="317" y="273"/>
                  </a:lnTo>
                  <a:lnTo>
                    <a:pt x="317" y="273"/>
                  </a:lnTo>
                  <a:lnTo>
                    <a:pt x="318" y="273"/>
                  </a:lnTo>
                  <a:lnTo>
                    <a:pt x="320" y="273"/>
                  </a:lnTo>
                  <a:lnTo>
                    <a:pt x="320" y="273"/>
                  </a:lnTo>
                  <a:lnTo>
                    <a:pt x="322" y="275"/>
                  </a:lnTo>
                  <a:lnTo>
                    <a:pt x="324" y="275"/>
                  </a:lnTo>
                  <a:lnTo>
                    <a:pt x="326" y="275"/>
                  </a:lnTo>
                  <a:lnTo>
                    <a:pt x="326" y="275"/>
                  </a:lnTo>
                  <a:lnTo>
                    <a:pt x="326" y="275"/>
                  </a:lnTo>
                  <a:lnTo>
                    <a:pt x="328" y="275"/>
                  </a:lnTo>
                  <a:lnTo>
                    <a:pt x="330" y="277"/>
                  </a:lnTo>
                  <a:lnTo>
                    <a:pt x="330" y="277"/>
                  </a:lnTo>
                  <a:lnTo>
                    <a:pt x="330" y="277"/>
                  </a:lnTo>
                  <a:lnTo>
                    <a:pt x="332" y="277"/>
                  </a:lnTo>
                  <a:lnTo>
                    <a:pt x="332" y="275"/>
                  </a:lnTo>
                  <a:lnTo>
                    <a:pt x="332" y="275"/>
                  </a:lnTo>
                  <a:lnTo>
                    <a:pt x="334" y="275"/>
                  </a:lnTo>
                  <a:lnTo>
                    <a:pt x="334" y="273"/>
                  </a:lnTo>
                  <a:lnTo>
                    <a:pt x="334" y="272"/>
                  </a:lnTo>
                  <a:lnTo>
                    <a:pt x="334" y="272"/>
                  </a:lnTo>
                  <a:lnTo>
                    <a:pt x="334" y="272"/>
                  </a:lnTo>
                  <a:lnTo>
                    <a:pt x="334" y="270"/>
                  </a:lnTo>
                  <a:lnTo>
                    <a:pt x="334" y="268"/>
                  </a:lnTo>
                  <a:lnTo>
                    <a:pt x="334" y="268"/>
                  </a:lnTo>
                  <a:lnTo>
                    <a:pt x="334" y="266"/>
                  </a:lnTo>
                  <a:lnTo>
                    <a:pt x="336" y="266"/>
                  </a:lnTo>
                  <a:lnTo>
                    <a:pt x="336" y="266"/>
                  </a:lnTo>
                  <a:lnTo>
                    <a:pt x="336" y="266"/>
                  </a:lnTo>
                  <a:lnTo>
                    <a:pt x="338" y="266"/>
                  </a:lnTo>
                  <a:lnTo>
                    <a:pt x="338" y="266"/>
                  </a:lnTo>
                  <a:lnTo>
                    <a:pt x="338" y="266"/>
                  </a:lnTo>
                  <a:lnTo>
                    <a:pt x="338" y="266"/>
                  </a:lnTo>
                  <a:lnTo>
                    <a:pt x="338" y="264"/>
                  </a:lnTo>
                  <a:lnTo>
                    <a:pt x="338" y="264"/>
                  </a:lnTo>
                  <a:lnTo>
                    <a:pt x="338" y="264"/>
                  </a:lnTo>
                  <a:lnTo>
                    <a:pt x="338" y="262"/>
                  </a:lnTo>
                  <a:lnTo>
                    <a:pt x="338" y="262"/>
                  </a:lnTo>
                  <a:lnTo>
                    <a:pt x="338" y="262"/>
                  </a:lnTo>
                  <a:lnTo>
                    <a:pt x="338" y="260"/>
                  </a:lnTo>
                  <a:lnTo>
                    <a:pt x="338" y="260"/>
                  </a:lnTo>
                  <a:lnTo>
                    <a:pt x="339" y="260"/>
                  </a:lnTo>
                  <a:lnTo>
                    <a:pt x="339" y="260"/>
                  </a:lnTo>
                  <a:lnTo>
                    <a:pt x="341" y="260"/>
                  </a:lnTo>
                  <a:lnTo>
                    <a:pt x="341" y="262"/>
                  </a:lnTo>
                  <a:lnTo>
                    <a:pt x="341" y="262"/>
                  </a:lnTo>
                  <a:lnTo>
                    <a:pt x="343" y="262"/>
                  </a:lnTo>
                  <a:lnTo>
                    <a:pt x="345" y="262"/>
                  </a:lnTo>
                  <a:lnTo>
                    <a:pt x="345" y="262"/>
                  </a:lnTo>
                  <a:lnTo>
                    <a:pt x="345" y="262"/>
                  </a:lnTo>
                  <a:lnTo>
                    <a:pt x="347" y="262"/>
                  </a:lnTo>
                  <a:lnTo>
                    <a:pt x="349" y="262"/>
                  </a:lnTo>
                  <a:lnTo>
                    <a:pt x="349" y="262"/>
                  </a:lnTo>
                  <a:lnTo>
                    <a:pt x="349" y="260"/>
                  </a:lnTo>
                  <a:lnTo>
                    <a:pt x="349" y="260"/>
                  </a:lnTo>
                  <a:lnTo>
                    <a:pt x="351" y="260"/>
                  </a:lnTo>
                  <a:lnTo>
                    <a:pt x="351" y="260"/>
                  </a:lnTo>
                  <a:lnTo>
                    <a:pt x="351" y="260"/>
                  </a:lnTo>
                  <a:lnTo>
                    <a:pt x="353" y="260"/>
                  </a:lnTo>
                  <a:lnTo>
                    <a:pt x="355" y="260"/>
                  </a:lnTo>
                  <a:lnTo>
                    <a:pt x="357" y="258"/>
                  </a:lnTo>
                  <a:lnTo>
                    <a:pt x="360" y="258"/>
                  </a:lnTo>
                  <a:lnTo>
                    <a:pt x="360" y="258"/>
                  </a:lnTo>
                  <a:lnTo>
                    <a:pt x="362" y="256"/>
                  </a:lnTo>
                  <a:lnTo>
                    <a:pt x="362" y="256"/>
                  </a:lnTo>
                  <a:lnTo>
                    <a:pt x="362" y="254"/>
                  </a:lnTo>
                  <a:lnTo>
                    <a:pt x="362" y="254"/>
                  </a:lnTo>
                  <a:lnTo>
                    <a:pt x="362" y="251"/>
                  </a:lnTo>
                  <a:lnTo>
                    <a:pt x="362" y="251"/>
                  </a:lnTo>
                  <a:lnTo>
                    <a:pt x="362" y="251"/>
                  </a:lnTo>
                  <a:lnTo>
                    <a:pt x="362" y="249"/>
                  </a:lnTo>
                  <a:lnTo>
                    <a:pt x="364" y="249"/>
                  </a:lnTo>
                  <a:lnTo>
                    <a:pt x="366" y="249"/>
                  </a:lnTo>
                  <a:lnTo>
                    <a:pt x="368" y="249"/>
                  </a:lnTo>
                  <a:lnTo>
                    <a:pt x="370" y="249"/>
                  </a:lnTo>
                  <a:lnTo>
                    <a:pt x="370" y="249"/>
                  </a:lnTo>
                  <a:lnTo>
                    <a:pt x="370" y="249"/>
                  </a:lnTo>
                  <a:lnTo>
                    <a:pt x="372" y="249"/>
                  </a:lnTo>
                  <a:lnTo>
                    <a:pt x="374" y="247"/>
                  </a:lnTo>
                  <a:lnTo>
                    <a:pt x="374" y="247"/>
                  </a:lnTo>
                  <a:lnTo>
                    <a:pt x="374" y="245"/>
                  </a:lnTo>
                  <a:lnTo>
                    <a:pt x="376" y="243"/>
                  </a:lnTo>
                  <a:lnTo>
                    <a:pt x="376" y="243"/>
                  </a:lnTo>
                  <a:lnTo>
                    <a:pt x="376" y="243"/>
                  </a:lnTo>
                  <a:lnTo>
                    <a:pt x="378" y="243"/>
                  </a:lnTo>
                  <a:lnTo>
                    <a:pt x="378" y="243"/>
                  </a:lnTo>
                  <a:lnTo>
                    <a:pt x="378" y="243"/>
                  </a:lnTo>
                  <a:lnTo>
                    <a:pt x="378" y="243"/>
                  </a:lnTo>
                  <a:lnTo>
                    <a:pt x="378" y="245"/>
                  </a:lnTo>
                  <a:lnTo>
                    <a:pt x="379" y="245"/>
                  </a:lnTo>
                  <a:lnTo>
                    <a:pt x="381" y="245"/>
                  </a:lnTo>
                  <a:lnTo>
                    <a:pt x="381" y="245"/>
                  </a:lnTo>
                  <a:lnTo>
                    <a:pt x="381" y="245"/>
                  </a:lnTo>
                  <a:lnTo>
                    <a:pt x="383" y="245"/>
                  </a:lnTo>
                  <a:lnTo>
                    <a:pt x="385" y="245"/>
                  </a:lnTo>
                  <a:lnTo>
                    <a:pt x="385" y="245"/>
                  </a:lnTo>
                  <a:lnTo>
                    <a:pt x="385" y="245"/>
                  </a:lnTo>
                  <a:lnTo>
                    <a:pt x="387" y="243"/>
                  </a:lnTo>
                  <a:lnTo>
                    <a:pt x="387" y="243"/>
                  </a:lnTo>
                  <a:lnTo>
                    <a:pt x="387" y="243"/>
                  </a:lnTo>
                  <a:lnTo>
                    <a:pt x="387" y="241"/>
                  </a:lnTo>
                  <a:lnTo>
                    <a:pt x="389" y="241"/>
                  </a:lnTo>
                  <a:lnTo>
                    <a:pt x="389" y="239"/>
                  </a:lnTo>
                  <a:lnTo>
                    <a:pt x="391" y="239"/>
                  </a:lnTo>
                  <a:lnTo>
                    <a:pt x="391" y="237"/>
                  </a:lnTo>
                  <a:lnTo>
                    <a:pt x="393" y="235"/>
                  </a:lnTo>
                  <a:lnTo>
                    <a:pt x="393" y="235"/>
                  </a:lnTo>
                  <a:lnTo>
                    <a:pt x="391" y="235"/>
                  </a:lnTo>
                  <a:lnTo>
                    <a:pt x="391" y="234"/>
                  </a:lnTo>
                  <a:lnTo>
                    <a:pt x="393" y="234"/>
                  </a:lnTo>
                  <a:lnTo>
                    <a:pt x="393" y="232"/>
                  </a:lnTo>
                  <a:lnTo>
                    <a:pt x="393" y="232"/>
                  </a:lnTo>
                  <a:lnTo>
                    <a:pt x="393" y="228"/>
                  </a:lnTo>
                  <a:lnTo>
                    <a:pt x="393" y="228"/>
                  </a:lnTo>
                  <a:lnTo>
                    <a:pt x="393" y="228"/>
                  </a:lnTo>
                  <a:lnTo>
                    <a:pt x="393" y="226"/>
                  </a:lnTo>
                  <a:lnTo>
                    <a:pt x="395" y="226"/>
                  </a:lnTo>
                  <a:lnTo>
                    <a:pt x="395" y="226"/>
                  </a:lnTo>
                  <a:lnTo>
                    <a:pt x="395" y="224"/>
                  </a:lnTo>
                  <a:lnTo>
                    <a:pt x="395" y="224"/>
                  </a:lnTo>
                  <a:lnTo>
                    <a:pt x="393" y="224"/>
                  </a:lnTo>
                  <a:lnTo>
                    <a:pt x="393" y="224"/>
                  </a:lnTo>
                  <a:lnTo>
                    <a:pt x="393" y="222"/>
                  </a:lnTo>
                  <a:lnTo>
                    <a:pt x="393" y="222"/>
                  </a:lnTo>
                  <a:lnTo>
                    <a:pt x="393" y="222"/>
                  </a:lnTo>
                  <a:lnTo>
                    <a:pt x="393" y="222"/>
                  </a:lnTo>
                  <a:lnTo>
                    <a:pt x="395" y="220"/>
                  </a:lnTo>
                  <a:lnTo>
                    <a:pt x="395" y="218"/>
                  </a:lnTo>
                  <a:lnTo>
                    <a:pt x="397" y="218"/>
                  </a:lnTo>
                  <a:lnTo>
                    <a:pt x="397" y="216"/>
                  </a:lnTo>
                  <a:lnTo>
                    <a:pt x="397" y="216"/>
                  </a:lnTo>
                  <a:lnTo>
                    <a:pt x="399" y="215"/>
                  </a:lnTo>
                  <a:lnTo>
                    <a:pt x="399" y="215"/>
                  </a:lnTo>
                  <a:lnTo>
                    <a:pt x="399" y="215"/>
                  </a:lnTo>
                  <a:lnTo>
                    <a:pt x="399" y="213"/>
                  </a:lnTo>
                  <a:lnTo>
                    <a:pt x="399" y="211"/>
                  </a:lnTo>
                  <a:lnTo>
                    <a:pt x="399" y="211"/>
                  </a:lnTo>
                  <a:lnTo>
                    <a:pt x="399" y="211"/>
                  </a:lnTo>
                  <a:lnTo>
                    <a:pt x="400" y="209"/>
                  </a:lnTo>
                  <a:lnTo>
                    <a:pt x="402" y="209"/>
                  </a:lnTo>
                  <a:lnTo>
                    <a:pt x="402" y="209"/>
                  </a:lnTo>
                  <a:lnTo>
                    <a:pt x="402" y="207"/>
                  </a:lnTo>
                  <a:lnTo>
                    <a:pt x="404" y="207"/>
                  </a:lnTo>
                  <a:lnTo>
                    <a:pt x="406" y="207"/>
                  </a:lnTo>
                  <a:lnTo>
                    <a:pt x="406" y="207"/>
                  </a:lnTo>
                  <a:lnTo>
                    <a:pt x="408" y="207"/>
                  </a:lnTo>
                  <a:lnTo>
                    <a:pt x="410" y="205"/>
                  </a:lnTo>
                  <a:lnTo>
                    <a:pt x="410" y="205"/>
                  </a:lnTo>
                  <a:lnTo>
                    <a:pt x="410" y="205"/>
                  </a:lnTo>
                  <a:lnTo>
                    <a:pt x="412" y="203"/>
                  </a:lnTo>
                  <a:lnTo>
                    <a:pt x="412" y="203"/>
                  </a:lnTo>
                  <a:lnTo>
                    <a:pt x="414" y="201"/>
                  </a:lnTo>
                  <a:lnTo>
                    <a:pt x="414" y="201"/>
                  </a:lnTo>
                  <a:lnTo>
                    <a:pt x="414" y="201"/>
                  </a:lnTo>
                  <a:lnTo>
                    <a:pt x="416" y="201"/>
                  </a:lnTo>
                  <a:lnTo>
                    <a:pt x="418" y="199"/>
                  </a:lnTo>
                  <a:lnTo>
                    <a:pt x="418" y="199"/>
                  </a:lnTo>
                  <a:lnTo>
                    <a:pt x="419" y="199"/>
                  </a:lnTo>
                  <a:lnTo>
                    <a:pt x="419" y="199"/>
                  </a:lnTo>
                  <a:lnTo>
                    <a:pt x="419" y="19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4" name="Freeform 16">
              <a:extLst>
                <a:ext uri="{FF2B5EF4-FFF2-40B4-BE49-F238E27FC236}">
                  <a16:creationId xmlns:a16="http://schemas.microsoft.com/office/drawing/2014/main" id="{57A6255E-3E61-D6BB-7F75-13D259E9BCA5}"/>
                </a:ext>
              </a:extLst>
            </p:cNvPr>
            <p:cNvSpPr>
              <a:spLocks noEditPoints="1"/>
            </p:cNvSpPr>
            <p:nvPr/>
          </p:nvSpPr>
          <p:spPr bwMode="auto">
            <a:xfrm>
              <a:off x="4960938" y="5241138"/>
              <a:ext cx="604838" cy="815975"/>
            </a:xfrm>
            <a:custGeom>
              <a:avLst/>
              <a:gdLst>
                <a:gd name="T0" fmla="*/ 373 w 381"/>
                <a:gd name="T1" fmla="*/ 10 h 514"/>
                <a:gd name="T2" fmla="*/ 358 w 381"/>
                <a:gd name="T3" fmla="*/ 6 h 514"/>
                <a:gd name="T4" fmla="*/ 354 w 381"/>
                <a:gd name="T5" fmla="*/ 6 h 514"/>
                <a:gd name="T6" fmla="*/ 330 w 381"/>
                <a:gd name="T7" fmla="*/ 25 h 514"/>
                <a:gd name="T8" fmla="*/ 326 w 381"/>
                <a:gd name="T9" fmla="*/ 31 h 514"/>
                <a:gd name="T10" fmla="*/ 305 w 381"/>
                <a:gd name="T11" fmla="*/ 21 h 514"/>
                <a:gd name="T12" fmla="*/ 292 w 381"/>
                <a:gd name="T13" fmla="*/ 32 h 514"/>
                <a:gd name="T14" fmla="*/ 271 w 381"/>
                <a:gd name="T15" fmla="*/ 48 h 514"/>
                <a:gd name="T16" fmla="*/ 252 w 381"/>
                <a:gd name="T17" fmla="*/ 44 h 514"/>
                <a:gd name="T18" fmla="*/ 231 w 381"/>
                <a:gd name="T19" fmla="*/ 46 h 514"/>
                <a:gd name="T20" fmla="*/ 217 w 381"/>
                <a:gd name="T21" fmla="*/ 74 h 514"/>
                <a:gd name="T22" fmla="*/ 200 w 381"/>
                <a:gd name="T23" fmla="*/ 86 h 514"/>
                <a:gd name="T24" fmla="*/ 164 w 381"/>
                <a:gd name="T25" fmla="*/ 70 h 514"/>
                <a:gd name="T26" fmla="*/ 141 w 381"/>
                <a:gd name="T27" fmla="*/ 76 h 514"/>
                <a:gd name="T28" fmla="*/ 124 w 381"/>
                <a:gd name="T29" fmla="*/ 91 h 514"/>
                <a:gd name="T30" fmla="*/ 128 w 381"/>
                <a:gd name="T31" fmla="*/ 108 h 514"/>
                <a:gd name="T32" fmla="*/ 133 w 381"/>
                <a:gd name="T33" fmla="*/ 128 h 514"/>
                <a:gd name="T34" fmla="*/ 139 w 381"/>
                <a:gd name="T35" fmla="*/ 141 h 514"/>
                <a:gd name="T36" fmla="*/ 111 w 381"/>
                <a:gd name="T37" fmla="*/ 166 h 514"/>
                <a:gd name="T38" fmla="*/ 82 w 381"/>
                <a:gd name="T39" fmla="*/ 166 h 514"/>
                <a:gd name="T40" fmla="*/ 55 w 381"/>
                <a:gd name="T41" fmla="*/ 181 h 514"/>
                <a:gd name="T42" fmla="*/ 21 w 381"/>
                <a:gd name="T43" fmla="*/ 173 h 514"/>
                <a:gd name="T44" fmla="*/ 11 w 381"/>
                <a:gd name="T45" fmla="*/ 185 h 514"/>
                <a:gd name="T46" fmla="*/ 2 w 381"/>
                <a:gd name="T47" fmla="*/ 192 h 514"/>
                <a:gd name="T48" fmla="*/ 23 w 381"/>
                <a:gd name="T49" fmla="*/ 215 h 514"/>
                <a:gd name="T50" fmla="*/ 40 w 381"/>
                <a:gd name="T51" fmla="*/ 221 h 514"/>
                <a:gd name="T52" fmla="*/ 48 w 381"/>
                <a:gd name="T53" fmla="*/ 234 h 514"/>
                <a:gd name="T54" fmla="*/ 42 w 381"/>
                <a:gd name="T55" fmla="*/ 242 h 514"/>
                <a:gd name="T56" fmla="*/ 61 w 381"/>
                <a:gd name="T57" fmla="*/ 259 h 514"/>
                <a:gd name="T58" fmla="*/ 55 w 381"/>
                <a:gd name="T59" fmla="*/ 287 h 514"/>
                <a:gd name="T60" fmla="*/ 65 w 381"/>
                <a:gd name="T61" fmla="*/ 310 h 514"/>
                <a:gd name="T62" fmla="*/ 93 w 381"/>
                <a:gd name="T63" fmla="*/ 306 h 514"/>
                <a:gd name="T64" fmla="*/ 95 w 381"/>
                <a:gd name="T65" fmla="*/ 341 h 514"/>
                <a:gd name="T66" fmla="*/ 93 w 381"/>
                <a:gd name="T67" fmla="*/ 373 h 514"/>
                <a:gd name="T68" fmla="*/ 107 w 381"/>
                <a:gd name="T69" fmla="*/ 386 h 514"/>
                <a:gd name="T70" fmla="*/ 95 w 381"/>
                <a:gd name="T71" fmla="*/ 441 h 514"/>
                <a:gd name="T72" fmla="*/ 97 w 381"/>
                <a:gd name="T73" fmla="*/ 468 h 514"/>
                <a:gd name="T74" fmla="*/ 91 w 381"/>
                <a:gd name="T75" fmla="*/ 481 h 514"/>
                <a:gd name="T76" fmla="*/ 82 w 381"/>
                <a:gd name="T77" fmla="*/ 495 h 514"/>
                <a:gd name="T78" fmla="*/ 143 w 381"/>
                <a:gd name="T79" fmla="*/ 504 h 514"/>
                <a:gd name="T80" fmla="*/ 177 w 381"/>
                <a:gd name="T81" fmla="*/ 457 h 514"/>
                <a:gd name="T82" fmla="*/ 187 w 381"/>
                <a:gd name="T83" fmla="*/ 430 h 514"/>
                <a:gd name="T84" fmla="*/ 242 w 381"/>
                <a:gd name="T85" fmla="*/ 405 h 514"/>
                <a:gd name="T86" fmla="*/ 274 w 381"/>
                <a:gd name="T87" fmla="*/ 403 h 514"/>
                <a:gd name="T88" fmla="*/ 288 w 381"/>
                <a:gd name="T89" fmla="*/ 399 h 514"/>
                <a:gd name="T90" fmla="*/ 252 w 381"/>
                <a:gd name="T91" fmla="*/ 371 h 514"/>
                <a:gd name="T92" fmla="*/ 282 w 381"/>
                <a:gd name="T93" fmla="*/ 331 h 514"/>
                <a:gd name="T94" fmla="*/ 295 w 381"/>
                <a:gd name="T95" fmla="*/ 304 h 514"/>
                <a:gd name="T96" fmla="*/ 309 w 381"/>
                <a:gd name="T97" fmla="*/ 306 h 514"/>
                <a:gd name="T98" fmla="*/ 326 w 381"/>
                <a:gd name="T99" fmla="*/ 304 h 514"/>
                <a:gd name="T100" fmla="*/ 330 w 381"/>
                <a:gd name="T101" fmla="*/ 255 h 514"/>
                <a:gd name="T102" fmla="*/ 326 w 381"/>
                <a:gd name="T103" fmla="*/ 251 h 514"/>
                <a:gd name="T104" fmla="*/ 326 w 381"/>
                <a:gd name="T105" fmla="*/ 244 h 514"/>
                <a:gd name="T106" fmla="*/ 333 w 381"/>
                <a:gd name="T107" fmla="*/ 207 h 514"/>
                <a:gd name="T108" fmla="*/ 330 w 381"/>
                <a:gd name="T109" fmla="*/ 204 h 514"/>
                <a:gd name="T110" fmla="*/ 328 w 381"/>
                <a:gd name="T111" fmla="*/ 177 h 514"/>
                <a:gd name="T112" fmla="*/ 322 w 381"/>
                <a:gd name="T113" fmla="*/ 160 h 514"/>
                <a:gd name="T114" fmla="*/ 318 w 381"/>
                <a:gd name="T115" fmla="*/ 148 h 514"/>
                <a:gd name="T116" fmla="*/ 328 w 381"/>
                <a:gd name="T117" fmla="*/ 150 h 514"/>
                <a:gd name="T118" fmla="*/ 335 w 381"/>
                <a:gd name="T119" fmla="*/ 145 h 514"/>
                <a:gd name="T120" fmla="*/ 356 w 381"/>
                <a:gd name="T121" fmla="*/ 112 h 514"/>
                <a:gd name="T122" fmla="*/ 375 w 381"/>
                <a:gd name="T123" fmla="*/ 46 h 514"/>
                <a:gd name="T124" fmla="*/ 381 w 381"/>
                <a:gd name="T125" fmla="*/ 21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1" h="514">
                  <a:moveTo>
                    <a:pt x="377" y="10"/>
                  </a:moveTo>
                  <a:lnTo>
                    <a:pt x="377" y="10"/>
                  </a:lnTo>
                  <a:lnTo>
                    <a:pt x="377" y="6"/>
                  </a:lnTo>
                  <a:lnTo>
                    <a:pt x="375" y="2"/>
                  </a:lnTo>
                  <a:lnTo>
                    <a:pt x="375" y="2"/>
                  </a:lnTo>
                  <a:lnTo>
                    <a:pt x="375" y="4"/>
                  </a:lnTo>
                  <a:lnTo>
                    <a:pt x="375" y="4"/>
                  </a:lnTo>
                  <a:lnTo>
                    <a:pt x="375" y="4"/>
                  </a:lnTo>
                  <a:lnTo>
                    <a:pt x="377" y="10"/>
                  </a:lnTo>
                  <a:close/>
                  <a:moveTo>
                    <a:pt x="381" y="15"/>
                  </a:moveTo>
                  <a:lnTo>
                    <a:pt x="379" y="13"/>
                  </a:lnTo>
                  <a:lnTo>
                    <a:pt x="379" y="12"/>
                  </a:lnTo>
                  <a:lnTo>
                    <a:pt x="377" y="12"/>
                  </a:lnTo>
                  <a:lnTo>
                    <a:pt x="377" y="12"/>
                  </a:lnTo>
                  <a:lnTo>
                    <a:pt x="377" y="13"/>
                  </a:lnTo>
                  <a:lnTo>
                    <a:pt x="375" y="12"/>
                  </a:lnTo>
                  <a:lnTo>
                    <a:pt x="373" y="10"/>
                  </a:lnTo>
                  <a:lnTo>
                    <a:pt x="373" y="10"/>
                  </a:lnTo>
                  <a:lnTo>
                    <a:pt x="373" y="8"/>
                  </a:lnTo>
                  <a:lnTo>
                    <a:pt x="373" y="8"/>
                  </a:lnTo>
                  <a:lnTo>
                    <a:pt x="373" y="8"/>
                  </a:lnTo>
                  <a:lnTo>
                    <a:pt x="373" y="8"/>
                  </a:lnTo>
                  <a:lnTo>
                    <a:pt x="370" y="10"/>
                  </a:lnTo>
                  <a:lnTo>
                    <a:pt x="368" y="10"/>
                  </a:lnTo>
                  <a:lnTo>
                    <a:pt x="362" y="8"/>
                  </a:lnTo>
                  <a:lnTo>
                    <a:pt x="362" y="8"/>
                  </a:lnTo>
                  <a:lnTo>
                    <a:pt x="360" y="8"/>
                  </a:lnTo>
                  <a:lnTo>
                    <a:pt x="358" y="8"/>
                  </a:lnTo>
                  <a:lnTo>
                    <a:pt x="358" y="8"/>
                  </a:lnTo>
                  <a:lnTo>
                    <a:pt x="358" y="8"/>
                  </a:lnTo>
                  <a:lnTo>
                    <a:pt x="358" y="6"/>
                  </a:lnTo>
                  <a:lnTo>
                    <a:pt x="358" y="6"/>
                  </a:lnTo>
                  <a:lnTo>
                    <a:pt x="358" y="6"/>
                  </a:lnTo>
                  <a:lnTo>
                    <a:pt x="358" y="6"/>
                  </a:lnTo>
                  <a:lnTo>
                    <a:pt x="358" y="4"/>
                  </a:lnTo>
                  <a:lnTo>
                    <a:pt x="358" y="4"/>
                  </a:lnTo>
                  <a:lnTo>
                    <a:pt x="358" y="4"/>
                  </a:lnTo>
                  <a:lnTo>
                    <a:pt x="356" y="4"/>
                  </a:lnTo>
                  <a:lnTo>
                    <a:pt x="354" y="2"/>
                  </a:lnTo>
                  <a:lnTo>
                    <a:pt x="353" y="2"/>
                  </a:lnTo>
                  <a:lnTo>
                    <a:pt x="353" y="0"/>
                  </a:lnTo>
                  <a:lnTo>
                    <a:pt x="353" y="2"/>
                  </a:lnTo>
                  <a:lnTo>
                    <a:pt x="353" y="2"/>
                  </a:lnTo>
                  <a:lnTo>
                    <a:pt x="351" y="2"/>
                  </a:lnTo>
                  <a:lnTo>
                    <a:pt x="353" y="2"/>
                  </a:lnTo>
                  <a:lnTo>
                    <a:pt x="353" y="4"/>
                  </a:lnTo>
                  <a:lnTo>
                    <a:pt x="353" y="4"/>
                  </a:lnTo>
                  <a:lnTo>
                    <a:pt x="353" y="4"/>
                  </a:lnTo>
                  <a:lnTo>
                    <a:pt x="354" y="4"/>
                  </a:lnTo>
                  <a:lnTo>
                    <a:pt x="354" y="6"/>
                  </a:lnTo>
                  <a:lnTo>
                    <a:pt x="354" y="6"/>
                  </a:lnTo>
                  <a:lnTo>
                    <a:pt x="353" y="6"/>
                  </a:lnTo>
                  <a:lnTo>
                    <a:pt x="353" y="8"/>
                  </a:lnTo>
                  <a:lnTo>
                    <a:pt x="351" y="8"/>
                  </a:lnTo>
                  <a:lnTo>
                    <a:pt x="349" y="8"/>
                  </a:lnTo>
                  <a:lnTo>
                    <a:pt x="347" y="10"/>
                  </a:lnTo>
                  <a:lnTo>
                    <a:pt x="347" y="12"/>
                  </a:lnTo>
                  <a:lnTo>
                    <a:pt x="345" y="12"/>
                  </a:lnTo>
                  <a:lnTo>
                    <a:pt x="345" y="13"/>
                  </a:lnTo>
                  <a:lnTo>
                    <a:pt x="345" y="13"/>
                  </a:lnTo>
                  <a:lnTo>
                    <a:pt x="345" y="13"/>
                  </a:lnTo>
                  <a:lnTo>
                    <a:pt x="345" y="15"/>
                  </a:lnTo>
                  <a:lnTo>
                    <a:pt x="345" y="15"/>
                  </a:lnTo>
                  <a:lnTo>
                    <a:pt x="345" y="17"/>
                  </a:lnTo>
                  <a:lnTo>
                    <a:pt x="337" y="21"/>
                  </a:lnTo>
                  <a:lnTo>
                    <a:pt x="332" y="23"/>
                  </a:lnTo>
                  <a:lnTo>
                    <a:pt x="330" y="25"/>
                  </a:lnTo>
                  <a:lnTo>
                    <a:pt x="330" y="25"/>
                  </a:lnTo>
                  <a:lnTo>
                    <a:pt x="328" y="23"/>
                  </a:lnTo>
                  <a:lnTo>
                    <a:pt x="328" y="23"/>
                  </a:lnTo>
                  <a:lnTo>
                    <a:pt x="326" y="25"/>
                  </a:lnTo>
                  <a:lnTo>
                    <a:pt x="326" y="25"/>
                  </a:lnTo>
                  <a:lnTo>
                    <a:pt x="326" y="25"/>
                  </a:lnTo>
                  <a:lnTo>
                    <a:pt x="326" y="27"/>
                  </a:lnTo>
                  <a:lnTo>
                    <a:pt x="326" y="27"/>
                  </a:lnTo>
                  <a:lnTo>
                    <a:pt x="328" y="27"/>
                  </a:lnTo>
                  <a:lnTo>
                    <a:pt x="328" y="27"/>
                  </a:lnTo>
                  <a:lnTo>
                    <a:pt x="328" y="29"/>
                  </a:lnTo>
                  <a:lnTo>
                    <a:pt x="330" y="29"/>
                  </a:lnTo>
                  <a:lnTo>
                    <a:pt x="330" y="29"/>
                  </a:lnTo>
                  <a:lnTo>
                    <a:pt x="330" y="29"/>
                  </a:lnTo>
                  <a:lnTo>
                    <a:pt x="330" y="31"/>
                  </a:lnTo>
                  <a:lnTo>
                    <a:pt x="328" y="31"/>
                  </a:lnTo>
                  <a:lnTo>
                    <a:pt x="328" y="31"/>
                  </a:lnTo>
                  <a:lnTo>
                    <a:pt x="326" y="31"/>
                  </a:lnTo>
                  <a:lnTo>
                    <a:pt x="324" y="31"/>
                  </a:lnTo>
                  <a:lnTo>
                    <a:pt x="324" y="31"/>
                  </a:lnTo>
                  <a:lnTo>
                    <a:pt x="320" y="29"/>
                  </a:lnTo>
                  <a:lnTo>
                    <a:pt x="320" y="29"/>
                  </a:lnTo>
                  <a:lnTo>
                    <a:pt x="320" y="29"/>
                  </a:lnTo>
                  <a:lnTo>
                    <a:pt x="320" y="27"/>
                  </a:lnTo>
                  <a:lnTo>
                    <a:pt x="320" y="27"/>
                  </a:lnTo>
                  <a:lnTo>
                    <a:pt x="320" y="25"/>
                  </a:lnTo>
                  <a:lnTo>
                    <a:pt x="320" y="25"/>
                  </a:lnTo>
                  <a:lnTo>
                    <a:pt x="318" y="25"/>
                  </a:lnTo>
                  <a:lnTo>
                    <a:pt x="312" y="25"/>
                  </a:lnTo>
                  <a:lnTo>
                    <a:pt x="311" y="25"/>
                  </a:lnTo>
                  <a:lnTo>
                    <a:pt x="309" y="25"/>
                  </a:lnTo>
                  <a:lnTo>
                    <a:pt x="309" y="25"/>
                  </a:lnTo>
                  <a:lnTo>
                    <a:pt x="309" y="23"/>
                  </a:lnTo>
                  <a:lnTo>
                    <a:pt x="307" y="21"/>
                  </a:lnTo>
                  <a:lnTo>
                    <a:pt x="305" y="21"/>
                  </a:lnTo>
                  <a:lnTo>
                    <a:pt x="305" y="19"/>
                  </a:lnTo>
                  <a:lnTo>
                    <a:pt x="303" y="19"/>
                  </a:lnTo>
                  <a:lnTo>
                    <a:pt x="301" y="19"/>
                  </a:lnTo>
                  <a:lnTo>
                    <a:pt x="299" y="19"/>
                  </a:lnTo>
                  <a:lnTo>
                    <a:pt x="297" y="21"/>
                  </a:lnTo>
                  <a:lnTo>
                    <a:pt x="297" y="21"/>
                  </a:lnTo>
                  <a:lnTo>
                    <a:pt x="297" y="21"/>
                  </a:lnTo>
                  <a:lnTo>
                    <a:pt x="297" y="23"/>
                  </a:lnTo>
                  <a:lnTo>
                    <a:pt x="297" y="23"/>
                  </a:lnTo>
                  <a:lnTo>
                    <a:pt x="297" y="25"/>
                  </a:lnTo>
                  <a:lnTo>
                    <a:pt x="295" y="27"/>
                  </a:lnTo>
                  <a:lnTo>
                    <a:pt x="295" y="27"/>
                  </a:lnTo>
                  <a:lnTo>
                    <a:pt x="295" y="29"/>
                  </a:lnTo>
                  <a:lnTo>
                    <a:pt x="295" y="29"/>
                  </a:lnTo>
                  <a:lnTo>
                    <a:pt x="295" y="31"/>
                  </a:lnTo>
                  <a:lnTo>
                    <a:pt x="295" y="31"/>
                  </a:lnTo>
                  <a:lnTo>
                    <a:pt x="292" y="32"/>
                  </a:lnTo>
                  <a:lnTo>
                    <a:pt x="292" y="32"/>
                  </a:lnTo>
                  <a:lnTo>
                    <a:pt x="292" y="34"/>
                  </a:lnTo>
                  <a:lnTo>
                    <a:pt x="290" y="36"/>
                  </a:lnTo>
                  <a:lnTo>
                    <a:pt x="288" y="38"/>
                  </a:lnTo>
                  <a:lnTo>
                    <a:pt x="286" y="40"/>
                  </a:lnTo>
                  <a:lnTo>
                    <a:pt x="284" y="40"/>
                  </a:lnTo>
                  <a:lnTo>
                    <a:pt x="284" y="40"/>
                  </a:lnTo>
                  <a:lnTo>
                    <a:pt x="284" y="38"/>
                  </a:lnTo>
                  <a:lnTo>
                    <a:pt x="282" y="38"/>
                  </a:lnTo>
                  <a:lnTo>
                    <a:pt x="280" y="38"/>
                  </a:lnTo>
                  <a:lnTo>
                    <a:pt x="280" y="38"/>
                  </a:lnTo>
                  <a:lnTo>
                    <a:pt x="278" y="38"/>
                  </a:lnTo>
                  <a:lnTo>
                    <a:pt x="276" y="44"/>
                  </a:lnTo>
                  <a:lnTo>
                    <a:pt x="272" y="46"/>
                  </a:lnTo>
                  <a:lnTo>
                    <a:pt x="272" y="48"/>
                  </a:lnTo>
                  <a:lnTo>
                    <a:pt x="271" y="48"/>
                  </a:lnTo>
                  <a:lnTo>
                    <a:pt x="271" y="48"/>
                  </a:lnTo>
                  <a:lnTo>
                    <a:pt x="267" y="48"/>
                  </a:lnTo>
                  <a:lnTo>
                    <a:pt x="265" y="48"/>
                  </a:lnTo>
                  <a:lnTo>
                    <a:pt x="263" y="48"/>
                  </a:lnTo>
                  <a:lnTo>
                    <a:pt x="263" y="48"/>
                  </a:lnTo>
                  <a:lnTo>
                    <a:pt x="261" y="48"/>
                  </a:lnTo>
                  <a:lnTo>
                    <a:pt x="261" y="48"/>
                  </a:lnTo>
                  <a:lnTo>
                    <a:pt x="259" y="48"/>
                  </a:lnTo>
                  <a:lnTo>
                    <a:pt x="257" y="46"/>
                  </a:lnTo>
                  <a:lnTo>
                    <a:pt x="257" y="46"/>
                  </a:lnTo>
                  <a:lnTo>
                    <a:pt x="257" y="44"/>
                  </a:lnTo>
                  <a:lnTo>
                    <a:pt x="257" y="44"/>
                  </a:lnTo>
                  <a:lnTo>
                    <a:pt x="257" y="44"/>
                  </a:lnTo>
                  <a:lnTo>
                    <a:pt x="255" y="44"/>
                  </a:lnTo>
                  <a:lnTo>
                    <a:pt x="255" y="44"/>
                  </a:lnTo>
                  <a:lnTo>
                    <a:pt x="253" y="44"/>
                  </a:lnTo>
                  <a:lnTo>
                    <a:pt x="252" y="42"/>
                  </a:lnTo>
                  <a:lnTo>
                    <a:pt x="252" y="44"/>
                  </a:lnTo>
                  <a:lnTo>
                    <a:pt x="250" y="44"/>
                  </a:lnTo>
                  <a:lnTo>
                    <a:pt x="250" y="46"/>
                  </a:lnTo>
                  <a:lnTo>
                    <a:pt x="250" y="46"/>
                  </a:lnTo>
                  <a:lnTo>
                    <a:pt x="250" y="46"/>
                  </a:lnTo>
                  <a:lnTo>
                    <a:pt x="250" y="48"/>
                  </a:lnTo>
                  <a:lnTo>
                    <a:pt x="248" y="48"/>
                  </a:lnTo>
                  <a:lnTo>
                    <a:pt x="246" y="48"/>
                  </a:lnTo>
                  <a:lnTo>
                    <a:pt x="246" y="48"/>
                  </a:lnTo>
                  <a:lnTo>
                    <a:pt x="246" y="48"/>
                  </a:lnTo>
                  <a:lnTo>
                    <a:pt x="246" y="46"/>
                  </a:lnTo>
                  <a:lnTo>
                    <a:pt x="244" y="44"/>
                  </a:lnTo>
                  <a:lnTo>
                    <a:pt x="244" y="44"/>
                  </a:lnTo>
                  <a:lnTo>
                    <a:pt x="240" y="44"/>
                  </a:lnTo>
                  <a:lnTo>
                    <a:pt x="238" y="46"/>
                  </a:lnTo>
                  <a:lnTo>
                    <a:pt x="236" y="46"/>
                  </a:lnTo>
                  <a:lnTo>
                    <a:pt x="232" y="46"/>
                  </a:lnTo>
                  <a:lnTo>
                    <a:pt x="231" y="46"/>
                  </a:lnTo>
                  <a:lnTo>
                    <a:pt x="231" y="48"/>
                  </a:lnTo>
                  <a:lnTo>
                    <a:pt x="231" y="48"/>
                  </a:lnTo>
                  <a:lnTo>
                    <a:pt x="229" y="50"/>
                  </a:lnTo>
                  <a:lnTo>
                    <a:pt x="229" y="50"/>
                  </a:lnTo>
                  <a:lnTo>
                    <a:pt x="227" y="50"/>
                  </a:lnTo>
                  <a:lnTo>
                    <a:pt x="227" y="50"/>
                  </a:lnTo>
                  <a:lnTo>
                    <a:pt x="225" y="50"/>
                  </a:lnTo>
                  <a:lnTo>
                    <a:pt x="225" y="51"/>
                  </a:lnTo>
                  <a:lnTo>
                    <a:pt x="223" y="53"/>
                  </a:lnTo>
                  <a:lnTo>
                    <a:pt x="223" y="53"/>
                  </a:lnTo>
                  <a:lnTo>
                    <a:pt x="223" y="55"/>
                  </a:lnTo>
                  <a:lnTo>
                    <a:pt x="223" y="57"/>
                  </a:lnTo>
                  <a:lnTo>
                    <a:pt x="223" y="57"/>
                  </a:lnTo>
                  <a:lnTo>
                    <a:pt x="223" y="59"/>
                  </a:lnTo>
                  <a:lnTo>
                    <a:pt x="221" y="67"/>
                  </a:lnTo>
                  <a:lnTo>
                    <a:pt x="217" y="72"/>
                  </a:lnTo>
                  <a:lnTo>
                    <a:pt x="217" y="74"/>
                  </a:lnTo>
                  <a:lnTo>
                    <a:pt x="217" y="74"/>
                  </a:lnTo>
                  <a:lnTo>
                    <a:pt x="213" y="76"/>
                  </a:lnTo>
                  <a:lnTo>
                    <a:pt x="213" y="76"/>
                  </a:lnTo>
                  <a:lnTo>
                    <a:pt x="211" y="76"/>
                  </a:lnTo>
                  <a:lnTo>
                    <a:pt x="211" y="76"/>
                  </a:lnTo>
                  <a:lnTo>
                    <a:pt x="211" y="76"/>
                  </a:lnTo>
                  <a:lnTo>
                    <a:pt x="210" y="76"/>
                  </a:lnTo>
                  <a:lnTo>
                    <a:pt x="210" y="76"/>
                  </a:lnTo>
                  <a:lnTo>
                    <a:pt x="210" y="78"/>
                  </a:lnTo>
                  <a:lnTo>
                    <a:pt x="210" y="78"/>
                  </a:lnTo>
                  <a:lnTo>
                    <a:pt x="210" y="80"/>
                  </a:lnTo>
                  <a:lnTo>
                    <a:pt x="210" y="82"/>
                  </a:lnTo>
                  <a:lnTo>
                    <a:pt x="206" y="86"/>
                  </a:lnTo>
                  <a:lnTo>
                    <a:pt x="204" y="86"/>
                  </a:lnTo>
                  <a:lnTo>
                    <a:pt x="204" y="86"/>
                  </a:lnTo>
                  <a:lnTo>
                    <a:pt x="202" y="86"/>
                  </a:lnTo>
                  <a:lnTo>
                    <a:pt x="200" y="86"/>
                  </a:lnTo>
                  <a:lnTo>
                    <a:pt x="200" y="86"/>
                  </a:lnTo>
                  <a:lnTo>
                    <a:pt x="200" y="86"/>
                  </a:lnTo>
                  <a:lnTo>
                    <a:pt x="196" y="86"/>
                  </a:lnTo>
                  <a:lnTo>
                    <a:pt x="192" y="82"/>
                  </a:lnTo>
                  <a:lnTo>
                    <a:pt x="189" y="80"/>
                  </a:lnTo>
                  <a:lnTo>
                    <a:pt x="185" y="74"/>
                  </a:lnTo>
                  <a:lnTo>
                    <a:pt x="179" y="72"/>
                  </a:lnTo>
                  <a:lnTo>
                    <a:pt x="177" y="72"/>
                  </a:lnTo>
                  <a:lnTo>
                    <a:pt x="171" y="69"/>
                  </a:lnTo>
                  <a:lnTo>
                    <a:pt x="170" y="67"/>
                  </a:lnTo>
                  <a:lnTo>
                    <a:pt x="168" y="67"/>
                  </a:lnTo>
                  <a:lnTo>
                    <a:pt x="168" y="67"/>
                  </a:lnTo>
                  <a:lnTo>
                    <a:pt x="166" y="69"/>
                  </a:lnTo>
                  <a:lnTo>
                    <a:pt x="166" y="69"/>
                  </a:lnTo>
                  <a:lnTo>
                    <a:pt x="166" y="69"/>
                  </a:lnTo>
                  <a:lnTo>
                    <a:pt x="166" y="70"/>
                  </a:lnTo>
                  <a:lnTo>
                    <a:pt x="164" y="70"/>
                  </a:lnTo>
                  <a:lnTo>
                    <a:pt x="164" y="70"/>
                  </a:lnTo>
                  <a:lnTo>
                    <a:pt x="162" y="70"/>
                  </a:lnTo>
                  <a:lnTo>
                    <a:pt x="160" y="69"/>
                  </a:lnTo>
                  <a:lnTo>
                    <a:pt x="160" y="67"/>
                  </a:lnTo>
                  <a:lnTo>
                    <a:pt x="158" y="67"/>
                  </a:lnTo>
                  <a:lnTo>
                    <a:pt x="158" y="65"/>
                  </a:lnTo>
                  <a:lnTo>
                    <a:pt x="158" y="65"/>
                  </a:lnTo>
                  <a:lnTo>
                    <a:pt x="156" y="65"/>
                  </a:lnTo>
                  <a:lnTo>
                    <a:pt x="156" y="65"/>
                  </a:lnTo>
                  <a:lnTo>
                    <a:pt x="154" y="63"/>
                  </a:lnTo>
                  <a:lnTo>
                    <a:pt x="151" y="65"/>
                  </a:lnTo>
                  <a:lnTo>
                    <a:pt x="147" y="65"/>
                  </a:lnTo>
                  <a:lnTo>
                    <a:pt x="145" y="70"/>
                  </a:lnTo>
                  <a:lnTo>
                    <a:pt x="143" y="72"/>
                  </a:lnTo>
                  <a:lnTo>
                    <a:pt x="143" y="74"/>
                  </a:lnTo>
                  <a:lnTo>
                    <a:pt x="141" y="74"/>
                  </a:lnTo>
                  <a:lnTo>
                    <a:pt x="141" y="76"/>
                  </a:lnTo>
                  <a:lnTo>
                    <a:pt x="141" y="76"/>
                  </a:lnTo>
                  <a:lnTo>
                    <a:pt x="143" y="76"/>
                  </a:lnTo>
                  <a:lnTo>
                    <a:pt x="143" y="78"/>
                  </a:lnTo>
                  <a:lnTo>
                    <a:pt x="143" y="78"/>
                  </a:lnTo>
                  <a:lnTo>
                    <a:pt x="143" y="78"/>
                  </a:lnTo>
                  <a:lnTo>
                    <a:pt x="141" y="80"/>
                  </a:lnTo>
                  <a:lnTo>
                    <a:pt x="141" y="80"/>
                  </a:lnTo>
                  <a:lnTo>
                    <a:pt x="137" y="82"/>
                  </a:lnTo>
                  <a:lnTo>
                    <a:pt x="135" y="82"/>
                  </a:lnTo>
                  <a:lnTo>
                    <a:pt x="135" y="82"/>
                  </a:lnTo>
                  <a:lnTo>
                    <a:pt x="133" y="82"/>
                  </a:lnTo>
                  <a:lnTo>
                    <a:pt x="131" y="82"/>
                  </a:lnTo>
                  <a:lnTo>
                    <a:pt x="131" y="82"/>
                  </a:lnTo>
                  <a:lnTo>
                    <a:pt x="130" y="82"/>
                  </a:lnTo>
                  <a:lnTo>
                    <a:pt x="128" y="82"/>
                  </a:lnTo>
                  <a:lnTo>
                    <a:pt x="126" y="88"/>
                  </a:lnTo>
                  <a:lnTo>
                    <a:pt x="124" y="91"/>
                  </a:lnTo>
                  <a:lnTo>
                    <a:pt x="124" y="93"/>
                  </a:lnTo>
                  <a:lnTo>
                    <a:pt x="124" y="95"/>
                  </a:lnTo>
                  <a:lnTo>
                    <a:pt x="126" y="95"/>
                  </a:lnTo>
                  <a:lnTo>
                    <a:pt x="126" y="97"/>
                  </a:lnTo>
                  <a:lnTo>
                    <a:pt x="126" y="97"/>
                  </a:lnTo>
                  <a:lnTo>
                    <a:pt x="126" y="99"/>
                  </a:lnTo>
                  <a:lnTo>
                    <a:pt x="126" y="99"/>
                  </a:lnTo>
                  <a:lnTo>
                    <a:pt x="126" y="99"/>
                  </a:lnTo>
                  <a:lnTo>
                    <a:pt x="126" y="99"/>
                  </a:lnTo>
                  <a:lnTo>
                    <a:pt x="126" y="99"/>
                  </a:lnTo>
                  <a:lnTo>
                    <a:pt x="126" y="99"/>
                  </a:lnTo>
                  <a:lnTo>
                    <a:pt x="128" y="99"/>
                  </a:lnTo>
                  <a:lnTo>
                    <a:pt x="128" y="99"/>
                  </a:lnTo>
                  <a:lnTo>
                    <a:pt x="130" y="99"/>
                  </a:lnTo>
                  <a:lnTo>
                    <a:pt x="130" y="101"/>
                  </a:lnTo>
                  <a:lnTo>
                    <a:pt x="130" y="103"/>
                  </a:lnTo>
                  <a:lnTo>
                    <a:pt x="128" y="108"/>
                  </a:lnTo>
                  <a:lnTo>
                    <a:pt x="128" y="108"/>
                  </a:lnTo>
                  <a:lnTo>
                    <a:pt x="126" y="110"/>
                  </a:lnTo>
                  <a:lnTo>
                    <a:pt x="124" y="112"/>
                  </a:lnTo>
                  <a:lnTo>
                    <a:pt x="124" y="114"/>
                  </a:lnTo>
                  <a:lnTo>
                    <a:pt x="120" y="116"/>
                  </a:lnTo>
                  <a:lnTo>
                    <a:pt x="116" y="118"/>
                  </a:lnTo>
                  <a:lnTo>
                    <a:pt x="116" y="120"/>
                  </a:lnTo>
                  <a:lnTo>
                    <a:pt x="116" y="120"/>
                  </a:lnTo>
                  <a:lnTo>
                    <a:pt x="114" y="122"/>
                  </a:lnTo>
                  <a:lnTo>
                    <a:pt x="114" y="122"/>
                  </a:lnTo>
                  <a:lnTo>
                    <a:pt x="114" y="122"/>
                  </a:lnTo>
                  <a:lnTo>
                    <a:pt x="116" y="124"/>
                  </a:lnTo>
                  <a:lnTo>
                    <a:pt x="116" y="124"/>
                  </a:lnTo>
                  <a:lnTo>
                    <a:pt x="116" y="126"/>
                  </a:lnTo>
                  <a:lnTo>
                    <a:pt x="116" y="126"/>
                  </a:lnTo>
                  <a:lnTo>
                    <a:pt x="118" y="128"/>
                  </a:lnTo>
                  <a:lnTo>
                    <a:pt x="133" y="128"/>
                  </a:lnTo>
                  <a:lnTo>
                    <a:pt x="137" y="128"/>
                  </a:lnTo>
                  <a:lnTo>
                    <a:pt x="139" y="129"/>
                  </a:lnTo>
                  <a:lnTo>
                    <a:pt x="139" y="129"/>
                  </a:lnTo>
                  <a:lnTo>
                    <a:pt x="139" y="129"/>
                  </a:lnTo>
                  <a:lnTo>
                    <a:pt x="143" y="133"/>
                  </a:lnTo>
                  <a:lnTo>
                    <a:pt x="143" y="135"/>
                  </a:lnTo>
                  <a:lnTo>
                    <a:pt x="143" y="135"/>
                  </a:lnTo>
                  <a:lnTo>
                    <a:pt x="143" y="135"/>
                  </a:lnTo>
                  <a:lnTo>
                    <a:pt x="143" y="137"/>
                  </a:lnTo>
                  <a:lnTo>
                    <a:pt x="143" y="137"/>
                  </a:lnTo>
                  <a:lnTo>
                    <a:pt x="143" y="137"/>
                  </a:lnTo>
                  <a:lnTo>
                    <a:pt x="143" y="137"/>
                  </a:lnTo>
                  <a:lnTo>
                    <a:pt x="141" y="139"/>
                  </a:lnTo>
                  <a:lnTo>
                    <a:pt x="141" y="139"/>
                  </a:lnTo>
                  <a:lnTo>
                    <a:pt x="141" y="139"/>
                  </a:lnTo>
                  <a:lnTo>
                    <a:pt x="139" y="141"/>
                  </a:lnTo>
                  <a:lnTo>
                    <a:pt x="139" y="141"/>
                  </a:lnTo>
                  <a:lnTo>
                    <a:pt x="137" y="143"/>
                  </a:lnTo>
                  <a:lnTo>
                    <a:pt x="135" y="147"/>
                  </a:lnTo>
                  <a:lnTo>
                    <a:pt x="133" y="148"/>
                  </a:lnTo>
                  <a:lnTo>
                    <a:pt x="133" y="150"/>
                  </a:lnTo>
                  <a:lnTo>
                    <a:pt x="131" y="150"/>
                  </a:lnTo>
                  <a:lnTo>
                    <a:pt x="131" y="150"/>
                  </a:lnTo>
                  <a:lnTo>
                    <a:pt x="130" y="150"/>
                  </a:lnTo>
                  <a:lnTo>
                    <a:pt x="120" y="152"/>
                  </a:lnTo>
                  <a:lnTo>
                    <a:pt x="118" y="152"/>
                  </a:lnTo>
                  <a:lnTo>
                    <a:pt x="116" y="152"/>
                  </a:lnTo>
                  <a:lnTo>
                    <a:pt x="116" y="154"/>
                  </a:lnTo>
                  <a:lnTo>
                    <a:pt x="114" y="156"/>
                  </a:lnTo>
                  <a:lnTo>
                    <a:pt x="114" y="158"/>
                  </a:lnTo>
                  <a:lnTo>
                    <a:pt x="112" y="162"/>
                  </a:lnTo>
                  <a:lnTo>
                    <a:pt x="112" y="164"/>
                  </a:lnTo>
                  <a:lnTo>
                    <a:pt x="111" y="166"/>
                  </a:lnTo>
                  <a:lnTo>
                    <a:pt x="111" y="166"/>
                  </a:lnTo>
                  <a:lnTo>
                    <a:pt x="107" y="166"/>
                  </a:lnTo>
                  <a:lnTo>
                    <a:pt x="105" y="166"/>
                  </a:lnTo>
                  <a:lnTo>
                    <a:pt x="103" y="166"/>
                  </a:lnTo>
                  <a:lnTo>
                    <a:pt x="101" y="166"/>
                  </a:lnTo>
                  <a:lnTo>
                    <a:pt x="101" y="166"/>
                  </a:lnTo>
                  <a:lnTo>
                    <a:pt x="99" y="164"/>
                  </a:lnTo>
                  <a:lnTo>
                    <a:pt x="97" y="164"/>
                  </a:lnTo>
                  <a:lnTo>
                    <a:pt x="97" y="164"/>
                  </a:lnTo>
                  <a:lnTo>
                    <a:pt x="95" y="164"/>
                  </a:lnTo>
                  <a:lnTo>
                    <a:pt x="95" y="164"/>
                  </a:lnTo>
                  <a:lnTo>
                    <a:pt x="93" y="164"/>
                  </a:lnTo>
                  <a:lnTo>
                    <a:pt x="91" y="166"/>
                  </a:lnTo>
                  <a:lnTo>
                    <a:pt x="88" y="164"/>
                  </a:lnTo>
                  <a:lnTo>
                    <a:pt x="86" y="166"/>
                  </a:lnTo>
                  <a:lnTo>
                    <a:pt x="84" y="166"/>
                  </a:lnTo>
                  <a:lnTo>
                    <a:pt x="84" y="166"/>
                  </a:lnTo>
                  <a:lnTo>
                    <a:pt x="82" y="166"/>
                  </a:lnTo>
                  <a:lnTo>
                    <a:pt x="82" y="167"/>
                  </a:lnTo>
                  <a:lnTo>
                    <a:pt x="82" y="169"/>
                  </a:lnTo>
                  <a:lnTo>
                    <a:pt x="80" y="169"/>
                  </a:lnTo>
                  <a:lnTo>
                    <a:pt x="80" y="169"/>
                  </a:lnTo>
                  <a:lnTo>
                    <a:pt x="74" y="164"/>
                  </a:lnTo>
                  <a:lnTo>
                    <a:pt x="72" y="164"/>
                  </a:lnTo>
                  <a:lnTo>
                    <a:pt x="72" y="162"/>
                  </a:lnTo>
                  <a:lnTo>
                    <a:pt x="70" y="164"/>
                  </a:lnTo>
                  <a:lnTo>
                    <a:pt x="69" y="164"/>
                  </a:lnTo>
                  <a:lnTo>
                    <a:pt x="67" y="164"/>
                  </a:lnTo>
                  <a:lnTo>
                    <a:pt x="65" y="164"/>
                  </a:lnTo>
                  <a:lnTo>
                    <a:pt x="65" y="164"/>
                  </a:lnTo>
                  <a:lnTo>
                    <a:pt x="63" y="166"/>
                  </a:lnTo>
                  <a:lnTo>
                    <a:pt x="59" y="169"/>
                  </a:lnTo>
                  <a:lnTo>
                    <a:pt x="57" y="173"/>
                  </a:lnTo>
                  <a:lnTo>
                    <a:pt x="57" y="179"/>
                  </a:lnTo>
                  <a:lnTo>
                    <a:pt x="55" y="181"/>
                  </a:lnTo>
                  <a:lnTo>
                    <a:pt x="55" y="181"/>
                  </a:lnTo>
                  <a:lnTo>
                    <a:pt x="50" y="181"/>
                  </a:lnTo>
                  <a:lnTo>
                    <a:pt x="50" y="179"/>
                  </a:lnTo>
                  <a:lnTo>
                    <a:pt x="36" y="181"/>
                  </a:lnTo>
                  <a:lnTo>
                    <a:pt x="34" y="181"/>
                  </a:lnTo>
                  <a:lnTo>
                    <a:pt x="32" y="181"/>
                  </a:lnTo>
                  <a:lnTo>
                    <a:pt x="30" y="181"/>
                  </a:lnTo>
                  <a:lnTo>
                    <a:pt x="30" y="179"/>
                  </a:lnTo>
                  <a:lnTo>
                    <a:pt x="30" y="179"/>
                  </a:lnTo>
                  <a:lnTo>
                    <a:pt x="30" y="177"/>
                  </a:lnTo>
                  <a:lnTo>
                    <a:pt x="30" y="175"/>
                  </a:lnTo>
                  <a:lnTo>
                    <a:pt x="30" y="175"/>
                  </a:lnTo>
                  <a:lnTo>
                    <a:pt x="29" y="173"/>
                  </a:lnTo>
                  <a:lnTo>
                    <a:pt x="27" y="173"/>
                  </a:lnTo>
                  <a:lnTo>
                    <a:pt x="25" y="173"/>
                  </a:lnTo>
                  <a:lnTo>
                    <a:pt x="23" y="173"/>
                  </a:lnTo>
                  <a:lnTo>
                    <a:pt x="21" y="173"/>
                  </a:lnTo>
                  <a:lnTo>
                    <a:pt x="21" y="175"/>
                  </a:lnTo>
                  <a:lnTo>
                    <a:pt x="19" y="175"/>
                  </a:lnTo>
                  <a:lnTo>
                    <a:pt x="19" y="175"/>
                  </a:lnTo>
                  <a:lnTo>
                    <a:pt x="19" y="177"/>
                  </a:lnTo>
                  <a:lnTo>
                    <a:pt x="17" y="177"/>
                  </a:lnTo>
                  <a:lnTo>
                    <a:pt x="19" y="179"/>
                  </a:lnTo>
                  <a:lnTo>
                    <a:pt x="19" y="179"/>
                  </a:lnTo>
                  <a:lnTo>
                    <a:pt x="19" y="179"/>
                  </a:lnTo>
                  <a:lnTo>
                    <a:pt x="17" y="179"/>
                  </a:lnTo>
                  <a:lnTo>
                    <a:pt x="17" y="179"/>
                  </a:lnTo>
                  <a:lnTo>
                    <a:pt x="17" y="179"/>
                  </a:lnTo>
                  <a:lnTo>
                    <a:pt x="15" y="181"/>
                  </a:lnTo>
                  <a:lnTo>
                    <a:pt x="13" y="181"/>
                  </a:lnTo>
                  <a:lnTo>
                    <a:pt x="13" y="181"/>
                  </a:lnTo>
                  <a:lnTo>
                    <a:pt x="13" y="183"/>
                  </a:lnTo>
                  <a:lnTo>
                    <a:pt x="11" y="185"/>
                  </a:lnTo>
                  <a:lnTo>
                    <a:pt x="11" y="185"/>
                  </a:lnTo>
                  <a:lnTo>
                    <a:pt x="10" y="185"/>
                  </a:lnTo>
                  <a:lnTo>
                    <a:pt x="8" y="185"/>
                  </a:lnTo>
                  <a:lnTo>
                    <a:pt x="6" y="185"/>
                  </a:lnTo>
                  <a:lnTo>
                    <a:pt x="4" y="185"/>
                  </a:lnTo>
                  <a:lnTo>
                    <a:pt x="2" y="183"/>
                  </a:lnTo>
                  <a:lnTo>
                    <a:pt x="2" y="185"/>
                  </a:lnTo>
                  <a:lnTo>
                    <a:pt x="2" y="185"/>
                  </a:lnTo>
                  <a:lnTo>
                    <a:pt x="2" y="186"/>
                  </a:lnTo>
                  <a:lnTo>
                    <a:pt x="2" y="188"/>
                  </a:lnTo>
                  <a:lnTo>
                    <a:pt x="2" y="188"/>
                  </a:lnTo>
                  <a:lnTo>
                    <a:pt x="0" y="190"/>
                  </a:lnTo>
                  <a:lnTo>
                    <a:pt x="0" y="190"/>
                  </a:lnTo>
                  <a:lnTo>
                    <a:pt x="2" y="190"/>
                  </a:lnTo>
                  <a:lnTo>
                    <a:pt x="2" y="192"/>
                  </a:lnTo>
                  <a:lnTo>
                    <a:pt x="2" y="192"/>
                  </a:lnTo>
                  <a:lnTo>
                    <a:pt x="2" y="192"/>
                  </a:lnTo>
                  <a:lnTo>
                    <a:pt x="2" y="192"/>
                  </a:lnTo>
                  <a:lnTo>
                    <a:pt x="2" y="194"/>
                  </a:lnTo>
                  <a:lnTo>
                    <a:pt x="2" y="194"/>
                  </a:lnTo>
                  <a:lnTo>
                    <a:pt x="2" y="194"/>
                  </a:lnTo>
                  <a:lnTo>
                    <a:pt x="4" y="196"/>
                  </a:lnTo>
                  <a:lnTo>
                    <a:pt x="8" y="196"/>
                  </a:lnTo>
                  <a:lnTo>
                    <a:pt x="17" y="200"/>
                  </a:lnTo>
                  <a:lnTo>
                    <a:pt x="19" y="200"/>
                  </a:lnTo>
                  <a:lnTo>
                    <a:pt x="21" y="202"/>
                  </a:lnTo>
                  <a:lnTo>
                    <a:pt x="21" y="202"/>
                  </a:lnTo>
                  <a:lnTo>
                    <a:pt x="23" y="202"/>
                  </a:lnTo>
                  <a:lnTo>
                    <a:pt x="23" y="204"/>
                  </a:lnTo>
                  <a:lnTo>
                    <a:pt x="25" y="204"/>
                  </a:lnTo>
                  <a:lnTo>
                    <a:pt x="25" y="204"/>
                  </a:lnTo>
                  <a:lnTo>
                    <a:pt x="27" y="207"/>
                  </a:lnTo>
                  <a:lnTo>
                    <a:pt x="30" y="209"/>
                  </a:lnTo>
                  <a:lnTo>
                    <a:pt x="29" y="211"/>
                  </a:lnTo>
                  <a:lnTo>
                    <a:pt x="23" y="215"/>
                  </a:lnTo>
                  <a:lnTo>
                    <a:pt x="23" y="215"/>
                  </a:lnTo>
                  <a:lnTo>
                    <a:pt x="21" y="219"/>
                  </a:lnTo>
                  <a:lnTo>
                    <a:pt x="21" y="219"/>
                  </a:lnTo>
                  <a:lnTo>
                    <a:pt x="21" y="221"/>
                  </a:lnTo>
                  <a:lnTo>
                    <a:pt x="21" y="221"/>
                  </a:lnTo>
                  <a:lnTo>
                    <a:pt x="21" y="221"/>
                  </a:lnTo>
                  <a:lnTo>
                    <a:pt x="23" y="221"/>
                  </a:lnTo>
                  <a:lnTo>
                    <a:pt x="25" y="221"/>
                  </a:lnTo>
                  <a:lnTo>
                    <a:pt x="25" y="221"/>
                  </a:lnTo>
                  <a:lnTo>
                    <a:pt x="27" y="221"/>
                  </a:lnTo>
                  <a:lnTo>
                    <a:pt x="27" y="221"/>
                  </a:lnTo>
                  <a:lnTo>
                    <a:pt x="29" y="221"/>
                  </a:lnTo>
                  <a:lnTo>
                    <a:pt x="29" y="221"/>
                  </a:lnTo>
                  <a:lnTo>
                    <a:pt x="30" y="221"/>
                  </a:lnTo>
                  <a:lnTo>
                    <a:pt x="32" y="221"/>
                  </a:lnTo>
                  <a:lnTo>
                    <a:pt x="38" y="221"/>
                  </a:lnTo>
                  <a:lnTo>
                    <a:pt x="40" y="221"/>
                  </a:lnTo>
                  <a:lnTo>
                    <a:pt x="40" y="221"/>
                  </a:lnTo>
                  <a:lnTo>
                    <a:pt x="44" y="219"/>
                  </a:lnTo>
                  <a:lnTo>
                    <a:pt x="44" y="217"/>
                  </a:lnTo>
                  <a:lnTo>
                    <a:pt x="44" y="217"/>
                  </a:lnTo>
                  <a:lnTo>
                    <a:pt x="44" y="219"/>
                  </a:lnTo>
                  <a:lnTo>
                    <a:pt x="44" y="221"/>
                  </a:lnTo>
                  <a:lnTo>
                    <a:pt x="44" y="221"/>
                  </a:lnTo>
                  <a:lnTo>
                    <a:pt x="44" y="223"/>
                  </a:lnTo>
                  <a:lnTo>
                    <a:pt x="44" y="223"/>
                  </a:lnTo>
                  <a:lnTo>
                    <a:pt x="44" y="225"/>
                  </a:lnTo>
                  <a:lnTo>
                    <a:pt x="44" y="225"/>
                  </a:lnTo>
                  <a:lnTo>
                    <a:pt x="44" y="226"/>
                  </a:lnTo>
                  <a:lnTo>
                    <a:pt x="46" y="226"/>
                  </a:lnTo>
                  <a:lnTo>
                    <a:pt x="46" y="226"/>
                  </a:lnTo>
                  <a:lnTo>
                    <a:pt x="46" y="228"/>
                  </a:lnTo>
                  <a:lnTo>
                    <a:pt x="48" y="232"/>
                  </a:lnTo>
                  <a:lnTo>
                    <a:pt x="48" y="234"/>
                  </a:lnTo>
                  <a:lnTo>
                    <a:pt x="50" y="234"/>
                  </a:lnTo>
                  <a:lnTo>
                    <a:pt x="50" y="234"/>
                  </a:lnTo>
                  <a:lnTo>
                    <a:pt x="50" y="236"/>
                  </a:lnTo>
                  <a:lnTo>
                    <a:pt x="50" y="236"/>
                  </a:lnTo>
                  <a:lnTo>
                    <a:pt x="50" y="236"/>
                  </a:lnTo>
                  <a:lnTo>
                    <a:pt x="50" y="238"/>
                  </a:lnTo>
                  <a:lnTo>
                    <a:pt x="48" y="238"/>
                  </a:lnTo>
                  <a:lnTo>
                    <a:pt x="48" y="238"/>
                  </a:lnTo>
                  <a:lnTo>
                    <a:pt x="46" y="236"/>
                  </a:lnTo>
                  <a:lnTo>
                    <a:pt x="46" y="236"/>
                  </a:lnTo>
                  <a:lnTo>
                    <a:pt x="44" y="236"/>
                  </a:lnTo>
                  <a:lnTo>
                    <a:pt x="44" y="236"/>
                  </a:lnTo>
                  <a:lnTo>
                    <a:pt x="44" y="238"/>
                  </a:lnTo>
                  <a:lnTo>
                    <a:pt x="42" y="238"/>
                  </a:lnTo>
                  <a:lnTo>
                    <a:pt x="42" y="238"/>
                  </a:lnTo>
                  <a:lnTo>
                    <a:pt x="42" y="240"/>
                  </a:lnTo>
                  <a:lnTo>
                    <a:pt x="42" y="242"/>
                  </a:lnTo>
                  <a:lnTo>
                    <a:pt x="42" y="242"/>
                  </a:lnTo>
                  <a:lnTo>
                    <a:pt x="42" y="244"/>
                  </a:lnTo>
                  <a:lnTo>
                    <a:pt x="44" y="245"/>
                  </a:lnTo>
                  <a:lnTo>
                    <a:pt x="44" y="247"/>
                  </a:lnTo>
                  <a:lnTo>
                    <a:pt x="46" y="247"/>
                  </a:lnTo>
                  <a:lnTo>
                    <a:pt x="51" y="249"/>
                  </a:lnTo>
                  <a:lnTo>
                    <a:pt x="55" y="251"/>
                  </a:lnTo>
                  <a:lnTo>
                    <a:pt x="55" y="253"/>
                  </a:lnTo>
                  <a:lnTo>
                    <a:pt x="57" y="253"/>
                  </a:lnTo>
                  <a:lnTo>
                    <a:pt x="57" y="255"/>
                  </a:lnTo>
                  <a:lnTo>
                    <a:pt x="57" y="255"/>
                  </a:lnTo>
                  <a:lnTo>
                    <a:pt x="57" y="257"/>
                  </a:lnTo>
                  <a:lnTo>
                    <a:pt x="59" y="257"/>
                  </a:lnTo>
                  <a:lnTo>
                    <a:pt x="59" y="259"/>
                  </a:lnTo>
                  <a:lnTo>
                    <a:pt x="59" y="259"/>
                  </a:lnTo>
                  <a:lnTo>
                    <a:pt x="61" y="259"/>
                  </a:lnTo>
                  <a:lnTo>
                    <a:pt x="61" y="259"/>
                  </a:lnTo>
                  <a:lnTo>
                    <a:pt x="61" y="259"/>
                  </a:lnTo>
                  <a:lnTo>
                    <a:pt x="61" y="261"/>
                  </a:lnTo>
                  <a:lnTo>
                    <a:pt x="61" y="263"/>
                  </a:lnTo>
                  <a:lnTo>
                    <a:pt x="61" y="263"/>
                  </a:lnTo>
                  <a:lnTo>
                    <a:pt x="61" y="264"/>
                  </a:lnTo>
                  <a:lnTo>
                    <a:pt x="61" y="266"/>
                  </a:lnTo>
                  <a:lnTo>
                    <a:pt x="61" y="268"/>
                  </a:lnTo>
                  <a:lnTo>
                    <a:pt x="61" y="270"/>
                  </a:lnTo>
                  <a:lnTo>
                    <a:pt x="59" y="272"/>
                  </a:lnTo>
                  <a:lnTo>
                    <a:pt x="59" y="272"/>
                  </a:lnTo>
                  <a:lnTo>
                    <a:pt x="57" y="272"/>
                  </a:lnTo>
                  <a:lnTo>
                    <a:pt x="55" y="272"/>
                  </a:lnTo>
                  <a:lnTo>
                    <a:pt x="55" y="274"/>
                  </a:lnTo>
                  <a:lnTo>
                    <a:pt x="55" y="274"/>
                  </a:lnTo>
                  <a:lnTo>
                    <a:pt x="55" y="282"/>
                  </a:lnTo>
                  <a:lnTo>
                    <a:pt x="55" y="287"/>
                  </a:lnTo>
                  <a:lnTo>
                    <a:pt x="55" y="287"/>
                  </a:lnTo>
                  <a:lnTo>
                    <a:pt x="55" y="287"/>
                  </a:lnTo>
                  <a:lnTo>
                    <a:pt x="55" y="289"/>
                  </a:lnTo>
                  <a:lnTo>
                    <a:pt x="53" y="293"/>
                  </a:lnTo>
                  <a:lnTo>
                    <a:pt x="55" y="295"/>
                  </a:lnTo>
                  <a:lnTo>
                    <a:pt x="55" y="295"/>
                  </a:lnTo>
                  <a:lnTo>
                    <a:pt x="55" y="297"/>
                  </a:lnTo>
                  <a:lnTo>
                    <a:pt x="57" y="299"/>
                  </a:lnTo>
                  <a:lnTo>
                    <a:pt x="57" y="299"/>
                  </a:lnTo>
                  <a:lnTo>
                    <a:pt x="57" y="301"/>
                  </a:lnTo>
                  <a:lnTo>
                    <a:pt x="57" y="302"/>
                  </a:lnTo>
                  <a:lnTo>
                    <a:pt x="57" y="304"/>
                  </a:lnTo>
                  <a:lnTo>
                    <a:pt x="57" y="304"/>
                  </a:lnTo>
                  <a:lnTo>
                    <a:pt x="57" y="306"/>
                  </a:lnTo>
                  <a:lnTo>
                    <a:pt x="59" y="306"/>
                  </a:lnTo>
                  <a:lnTo>
                    <a:pt x="61" y="308"/>
                  </a:lnTo>
                  <a:lnTo>
                    <a:pt x="63" y="308"/>
                  </a:lnTo>
                  <a:lnTo>
                    <a:pt x="65" y="310"/>
                  </a:lnTo>
                  <a:lnTo>
                    <a:pt x="65" y="312"/>
                  </a:lnTo>
                  <a:lnTo>
                    <a:pt x="65" y="312"/>
                  </a:lnTo>
                  <a:lnTo>
                    <a:pt x="67" y="312"/>
                  </a:lnTo>
                  <a:lnTo>
                    <a:pt x="67" y="312"/>
                  </a:lnTo>
                  <a:lnTo>
                    <a:pt x="69" y="312"/>
                  </a:lnTo>
                  <a:lnTo>
                    <a:pt x="69" y="312"/>
                  </a:lnTo>
                  <a:lnTo>
                    <a:pt x="70" y="312"/>
                  </a:lnTo>
                  <a:lnTo>
                    <a:pt x="74" y="310"/>
                  </a:lnTo>
                  <a:lnTo>
                    <a:pt x="78" y="306"/>
                  </a:lnTo>
                  <a:lnTo>
                    <a:pt x="78" y="306"/>
                  </a:lnTo>
                  <a:lnTo>
                    <a:pt x="80" y="304"/>
                  </a:lnTo>
                  <a:lnTo>
                    <a:pt x="84" y="302"/>
                  </a:lnTo>
                  <a:lnTo>
                    <a:pt x="88" y="302"/>
                  </a:lnTo>
                  <a:lnTo>
                    <a:pt x="90" y="301"/>
                  </a:lnTo>
                  <a:lnTo>
                    <a:pt x="91" y="302"/>
                  </a:lnTo>
                  <a:lnTo>
                    <a:pt x="91" y="302"/>
                  </a:lnTo>
                  <a:lnTo>
                    <a:pt x="93" y="306"/>
                  </a:lnTo>
                  <a:lnTo>
                    <a:pt x="93" y="306"/>
                  </a:lnTo>
                  <a:lnTo>
                    <a:pt x="95" y="308"/>
                  </a:lnTo>
                  <a:lnTo>
                    <a:pt x="95" y="310"/>
                  </a:lnTo>
                  <a:lnTo>
                    <a:pt x="95" y="312"/>
                  </a:lnTo>
                  <a:lnTo>
                    <a:pt x="95" y="314"/>
                  </a:lnTo>
                  <a:lnTo>
                    <a:pt x="97" y="314"/>
                  </a:lnTo>
                  <a:lnTo>
                    <a:pt x="97" y="314"/>
                  </a:lnTo>
                  <a:lnTo>
                    <a:pt x="97" y="314"/>
                  </a:lnTo>
                  <a:lnTo>
                    <a:pt x="97" y="316"/>
                  </a:lnTo>
                  <a:lnTo>
                    <a:pt x="97" y="318"/>
                  </a:lnTo>
                  <a:lnTo>
                    <a:pt x="93" y="327"/>
                  </a:lnTo>
                  <a:lnTo>
                    <a:pt x="93" y="327"/>
                  </a:lnTo>
                  <a:lnTo>
                    <a:pt x="93" y="329"/>
                  </a:lnTo>
                  <a:lnTo>
                    <a:pt x="93" y="331"/>
                  </a:lnTo>
                  <a:lnTo>
                    <a:pt x="95" y="337"/>
                  </a:lnTo>
                  <a:lnTo>
                    <a:pt x="95" y="339"/>
                  </a:lnTo>
                  <a:lnTo>
                    <a:pt x="95" y="341"/>
                  </a:lnTo>
                  <a:lnTo>
                    <a:pt x="93" y="344"/>
                  </a:lnTo>
                  <a:lnTo>
                    <a:pt x="93" y="346"/>
                  </a:lnTo>
                  <a:lnTo>
                    <a:pt x="93" y="346"/>
                  </a:lnTo>
                  <a:lnTo>
                    <a:pt x="93" y="350"/>
                  </a:lnTo>
                  <a:lnTo>
                    <a:pt x="93" y="352"/>
                  </a:lnTo>
                  <a:lnTo>
                    <a:pt x="93" y="354"/>
                  </a:lnTo>
                  <a:lnTo>
                    <a:pt x="93" y="356"/>
                  </a:lnTo>
                  <a:lnTo>
                    <a:pt x="90" y="371"/>
                  </a:lnTo>
                  <a:lnTo>
                    <a:pt x="90" y="371"/>
                  </a:lnTo>
                  <a:lnTo>
                    <a:pt x="90" y="371"/>
                  </a:lnTo>
                  <a:lnTo>
                    <a:pt x="90" y="373"/>
                  </a:lnTo>
                  <a:lnTo>
                    <a:pt x="90" y="373"/>
                  </a:lnTo>
                  <a:lnTo>
                    <a:pt x="90" y="373"/>
                  </a:lnTo>
                  <a:lnTo>
                    <a:pt x="91" y="373"/>
                  </a:lnTo>
                  <a:lnTo>
                    <a:pt x="91" y="373"/>
                  </a:lnTo>
                  <a:lnTo>
                    <a:pt x="91" y="373"/>
                  </a:lnTo>
                  <a:lnTo>
                    <a:pt x="93" y="373"/>
                  </a:lnTo>
                  <a:lnTo>
                    <a:pt x="93" y="375"/>
                  </a:lnTo>
                  <a:lnTo>
                    <a:pt x="93" y="375"/>
                  </a:lnTo>
                  <a:lnTo>
                    <a:pt x="95" y="375"/>
                  </a:lnTo>
                  <a:lnTo>
                    <a:pt x="95" y="375"/>
                  </a:lnTo>
                  <a:lnTo>
                    <a:pt x="95" y="375"/>
                  </a:lnTo>
                  <a:lnTo>
                    <a:pt x="101" y="373"/>
                  </a:lnTo>
                  <a:lnTo>
                    <a:pt x="101" y="373"/>
                  </a:lnTo>
                  <a:lnTo>
                    <a:pt x="103" y="373"/>
                  </a:lnTo>
                  <a:lnTo>
                    <a:pt x="103" y="373"/>
                  </a:lnTo>
                  <a:lnTo>
                    <a:pt x="105" y="373"/>
                  </a:lnTo>
                  <a:lnTo>
                    <a:pt x="105" y="375"/>
                  </a:lnTo>
                  <a:lnTo>
                    <a:pt x="105" y="377"/>
                  </a:lnTo>
                  <a:lnTo>
                    <a:pt x="107" y="377"/>
                  </a:lnTo>
                  <a:lnTo>
                    <a:pt x="109" y="380"/>
                  </a:lnTo>
                  <a:lnTo>
                    <a:pt x="109" y="382"/>
                  </a:lnTo>
                  <a:lnTo>
                    <a:pt x="109" y="384"/>
                  </a:lnTo>
                  <a:lnTo>
                    <a:pt x="107" y="386"/>
                  </a:lnTo>
                  <a:lnTo>
                    <a:pt x="107" y="388"/>
                  </a:lnTo>
                  <a:lnTo>
                    <a:pt x="105" y="388"/>
                  </a:lnTo>
                  <a:lnTo>
                    <a:pt x="103" y="396"/>
                  </a:lnTo>
                  <a:lnTo>
                    <a:pt x="101" y="399"/>
                  </a:lnTo>
                  <a:lnTo>
                    <a:pt x="95" y="417"/>
                  </a:lnTo>
                  <a:lnTo>
                    <a:pt x="93" y="420"/>
                  </a:lnTo>
                  <a:lnTo>
                    <a:pt x="91" y="424"/>
                  </a:lnTo>
                  <a:lnTo>
                    <a:pt x="88" y="426"/>
                  </a:lnTo>
                  <a:lnTo>
                    <a:pt x="88" y="426"/>
                  </a:lnTo>
                  <a:lnTo>
                    <a:pt x="88" y="428"/>
                  </a:lnTo>
                  <a:lnTo>
                    <a:pt x="88" y="428"/>
                  </a:lnTo>
                  <a:lnTo>
                    <a:pt x="90" y="434"/>
                  </a:lnTo>
                  <a:lnTo>
                    <a:pt x="91" y="438"/>
                  </a:lnTo>
                  <a:lnTo>
                    <a:pt x="91" y="438"/>
                  </a:lnTo>
                  <a:lnTo>
                    <a:pt x="93" y="439"/>
                  </a:lnTo>
                  <a:lnTo>
                    <a:pt x="95" y="439"/>
                  </a:lnTo>
                  <a:lnTo>
                    <a:pt x="95" y="441"/>
                  </a:lnTo>
                  <a:lnTo>
                    <a:pt x="95" y="441"/>
                  </a:lnTo>
                  <a:lnTo>
                    <a:pt x="95" y="441"/>
                  </a:lnTo>
                  <a:lnTo>
                    <a:pt x="95" y="441"/>
                  </a:lnTo>
                  <a:lnTo>
                    <a:pt x="93" y="447"/>
                  </a:lnTo>
                  <a:lnTo>
                    <a:pt x="90" y="453"/>
                  </a:lnTo>
                  <a:lnTo>
                    <a:pt x="88" y="455"/>
                  </a:lnTo>
                  <a:lnTo>
                    <a:pt x="88" y="457"/>
                  </a:lnTo>
                  <a:lnTo>
                    <a:pt x="88" y="457"/>
                  </a:lnTo>
                  <a:lnTo>
                    <a:pt x="90" y="458"/>
                  </a:lnTo>
                  <a:lnTo>
                    <a:pt x="90" y="458"/>
                  </a:lnTo>
                  <a:lnTo>
                    <a:pt x="90" y="460"/>
                  </a:lnTo>
                  <a:lnTo>
                    <a:pt x="90" y="460"/>
                  </a:lnTo>
                  <a:lnTo>
                    <a:pt x="90" y="462"/>
                  </a:lnTo>
                  <a:lnTo>
                    <a:pt x="90" y="462"/>
                  </a:lnTo>
                  <a:lnTo>
                    <a:pt x="91" y="464"/>
                  </a:lnTo>
                  <a:lnTo>
                    <a:pt x="95" y="466"/>
                  </a:lnTo>
                  <a:lnTo>
                    <a:pt x="97" y="468"/>
                  </a:lnTo>
                  <a:lnTo>
                    <a:pt x="97" y="470"/>
                  </a:lnTo>
                  <a:lnTo>
                    <a:pt x="97" y="470"/>
                  </a:lnTo>
                  <a:lnTo>
                    <a:pt x="97" y="472"/>
                  </a:lnTo>
                  <a:lnTo>
                    <a:pt x="97" y="474"/>
                  </a:lnTo>
                  <a:lnTo>
                    <a:pt x="95" y="474"/>
                  </a:lnTo>
                  <a:lnTo>
                    <a:pt x="95" y="476"/>
                  </a:lnTo>
                  <a:lnTo>
                    <a:pt x="93" y="477"/>
                  </a:lnTo>
                  <a:lnTo>
                    <a:pt x="93" y="477"/>
                  </a:lnTo>
                  <a:lnTo>
                    <a:pt x="91" y="477"/>
                  </a:lnTo>
                  <a:lnTo>
                    <a:pt x="91" y="476"/>
                  </a:lnTo>
                  <a:lnTo>
                    <a:pt x="91" y="476"/>
                  </a:lnTo>
                  <a:lnTo>
                    <a:pt x="91" y="476"/>
                  </a:lnTo>
                  <a:lnTo>
                    <a:pt x="91" y="476"/>
                  </a:lnTo>
                  <a:lnTo>
                    <a:pt x="91" y="476"/>
                  </a:lnTo>
                  <a:lnTo>
                    <a:pt x="91" y="477"/>
                  </a:lnTo>
                  <a:lnTo>
                    <a:pt x="91" y="477"/>
                  </a:lnTo>
                  <a:lnTo>
                    <a:pt x="91" y="481"/>
                  </a:lnTo>
                  <a:lnTo>
                    <a:pt x="91" y="481"/>
                  </a:lnTo>
                  <a:lnTo>
                    <a:pt x="91" y="483"/>
                  </a:lnTo>
                  <a:lnTo>
                    <a:pt x="91" y="483"/>
                  </a:lnTo>
                  <a:lnTo>
                    <a:pt x="90" y="487"/>
                  </a:lnTo>
                  <a:lnTo>
                    <a:pt x="88" y="489"/>
                  </a:lnTo>
                  <a:lnTo>
                    <a:pt x="88" y="489"/>
                  </a:lnTo>
                  <a:lnTo>
                    <a:pt x="88" y="489"/>
                  </a:lnTo>
                  <a:lnTo>
                    <a:pt x="88" y="491"/>
                  </a:lnTo>
                  <a:lnTo>
                    <a:pt x="88" y="491"/>
                  </a:lnTo>
                  <a:lnTo>
                    <a:pt x="88" y="493"/>
                  </a:lnTo>
                  <a:lnTo>
                    <a:pt x="88" y="493"/>
                  </a:lnTo>
                  <a:lnTo>
                    <a:pt x="86" y="493"/>
                  </a:lnTo>
                  <a:lnTo>
                    <a:pt x="86" y="493"/>
                  </a:lnTo>
                  <a:lnTo>
                    <a:pt x="84" y="493"/>
                  </a:lnTo>
                  <a:lnTo>
                    <a:pt x="84" y="493"/>
                  </a:lnTo>
                  <a:lnTo>
                    <a:pt x="82" y="493"/>
                  </a:lnTo>
                  <a:lnTo>
                    <a:pt x="82" y="495"/>
                  </a:lnTo>
                  <a:lnTo>
                    <a:pt x="82" y="495"/>
                  </a:lnTo>
                  <a:lnTo>
                    <a:pt x="84" y="495"/>
                  </a:lnTo>
                  <a:lnTo>
                    <a:pt x="93" y="504"/>
                  </a:lnTo>
                  <a:lnTo>
                    <a:pt x="93" y="504"/>
                  </a:lnTo>
                  <a:lnTo>
                    <a:pt x="95" y="504"/>
                  </a:lnTo>
                  <a:lnTo>
                    <a:pt x="99" y="506"/>
                  </a:lnTo>
                  <a:lnTo>
                    <a:pt x="99" y="506"/>
                  </a:lnTo>
                  <a:lnTo>
                    <a:pt x="101" y="508"/>
                  </a:lnTo>
                  <a:lnTo>
                    <a:pt x="101" y="508"/>
                  </a:lnTo>
                  <a:lnTo>
                    <a:pt x="114" y="512"/>
                  </a:lnTo>
                  <a:lnTo>
                    <a:pt x="118" y="514"/>
                  </a:lnTo>
                  <a:lnTo>
                    <a:pt x="124" y="514"/>
                  </a:lnTo>
                  <a:lnTo>
                    <a:pt x="124" y="510"/>
                  </a:lnTo>
                  <a:lnTo>
                    <a:pt x="128" y="508"/>
                  </a:lnTo>
                  <a:lnTo>
                    <a:pt x="131" y="506"/>
                  </a:lnTo>
                  <a:lnTo>
                    <a:pt x="141" y="504"/>
                  </a:lnTo>
                  <a:lnTo>
                    <a:pt x="143" y="504"/>
                  </a:lnTo>
                  <a:lnTo>
                    <a:pt x="145" y="500"/>
                  </a:lnTo>
                  <a:lnTo>
                    <a:pt x="147" y="498"/>
                  </a:lnTo>
                  <a:lnTo>
                    <a:pt x="164" y="489"/>
                  </a:lnTo>
                  <a:lnTo>
                    <a:pt x="168" y="487"/>
                  </a:lnTo>
                  <a:lnTo>
                    <a:pt x="170" y="487"/>
                  </a:lnTo>
                  <a:lnTo>
                    <a:pt x="170" y="485"/>
                  </a:lnTo>
                  <a:lnTo>
                    <a:pt x="171" y="479"/>
                  </a:lnTo>
                  <a:lnTo>
                    <a:pt x="171" y="479"/>
                  </a:lnTo>
                  <a:lnTo>
                    <a:pt x="175" y="477"/>
                  </a:lnTo>
                  <a:lnTo>
                    <a:pt x="175" y="476"/>
                  </a:lnTo>
                  <a:lnTo>
                    <a:pt x="175" y="476"/>
                  </a:lnTo>
                  <a:lnTo>
                    <a:pt x="177" y="466"/>
                  </a:lnTo>
                  <a:lnTo>
                    <a:pt x="177" y="462"/>
                  </a:lnTo>
                  <a:lnTo>
                    <a:pt x="175" y="458"/>
                  </a:lnTo>
                  <a:lnTo>
                    <a:pt x="177" y="458"/>
                  </a:lnTo>
                  <a:lnTo>
                    <a:pt x="177" y="458"/>
                  </a:lnTo>
                  <a:lnTo>
                    <a:pt x="177" y="457"/>
                  </a:lnTo>
                  <a:lnTo>
                    <a:pt x="179" y="455"/>
                  </a:lnTo>
                  <a:lnTo>
                    <a:pt x="179" y="453"/>
                  </a:lnTo>
                  <a:lnTo>
                    <a:pt x="179" y="453"/>
                  </a:lnTo>
                  <a:lnTo>
                    <a:pt x="181" y="451"/>
                  </a:lnTo>
                  <a:lnTo>
                    <a:pt x="183" y="451"/>
                  </a:lnTo>
                  <a:lnTo>
                    <a:pt x="185" y="449"/>
                  </a:lnTo>
                  <a:lnTo>
                    <a:pt x="183" y="447"/>
                  </a:lnTo>
                  <a:lnTo>
                    <a:pt x="183" y="449"/>
                  </a:lnTo>
                  <a:lnTo>
                    <a:pt x="181" y="449"/>
                  </a:lnTo>
                  <a:lnTo>
                    <a:pt x="181" y="449"/>
                  </a:lnTo>
                  <a:lnTo>
                    <a:pt x="179" y="451"/>
                  </a:lnTo>
                  <a:lnTo>
                    <a:pt x="179" y="449"/>
                  </a:lnTo>
                  <a:lnTo>
                    <a:pt x="181" y="447"/>
                  </a:lnTo>
                  <a:lnTo>
                    <a:pt x="181" y="439"/>
                  </a:lnTo>
                  <a:lnTo>
                    <a:pt x="181" y="439"/>
                  </a:lnTo>
                  <a:lnTo>
                    <a:pt x="185" y="434"/>
                  </a:lnTo>
                  <a:lnTo>
                    <a:pt x="187" y="430"/>
                  </a:lnTo>
                  <a:lnTo>
                    <a:pt x="198" y="420"/>
                  </a:lnTo>
                  <a:lnTo>
                    <a:pt x="202" y="418"/>
                  </a:lnTo>
                  <a:lnTo>
                    <a:pt x="206" y="417"/>
                  </a:lnTo>
                  <a:lnTo>
                    <a:pt x="210" y="415"/>
                  </a:lnTo>
                  <a:lnTo>
                    <a:pt x="221" y="415"/>
                  </a:lnTo>
                  <a:lnTo>
                    <a:pt x="223" y="415"/>
                  </a:lnTo>
                  <a:lnTo>
                    <a:pt x="225" y="413"/>
                  </a:lnTo>
                  <a:lnTo>
                    <a:pt x="225" y="413"/>
                  </a:lnTo>
                  <a:lnTo>
                    <a:pt x="225" y="411"/>
                  </a:lnTo>
                  <a:lnTo>
                    <a:pt x="227" y="411"/>
                  </a:lnTo>
                  <a:lnTo>
                    <a:pt x="231" y="409"/>
                  </a:lnTo>
                  <a:lnTo>
                    <a:pt x="232" y="409"/>
                  </a:lnTo>
                  <a:lnTo>
                    <a:pt x="234" y="409"/>
                  </a:lnTo>
                  <a:lnTo>
                    <a:pt x="234" y="407"/>
                  </a:lnTo>
                  <a:lnTo>
                    <a:pt x="236" y="407"/>
                  </a:lnTo>
                  <a:lnTo>
                    <a:pt x="240" y="405"/>
                  </a:lnTo>
                  <a:lnTo>
                    <a:pt x="242" y="405"/>
                  </a:lnTo>
                  <a:lnTo>
                    <a:pt x="244" y="403"/>
                  </a:lnTo>
                  <a:lnTo>
                    <a:pt x="248" y="403"/>
                  </a:lnTo>
                  <a:lnTo>
                    <a:pt x="248" y="403"/>
                  </a:lnTo>
                  <a:lnTo>
                    <a:pt x="248" y="403"/>
                  </a:lnTo>
                  <a:lnTo>
                    <a:pt x="250" y="403"/>
                  </a:lnTo>
                  <a:lnTo>
                    <a:pt x="250" y="403"/>
                  </a:lnTo>
                  <a:lnTo>
                    <a:pt x="252" y="401"/>
                  </a:lnTo>
                  <a:lnTo>
                    <a:pt x="253" y="401"/>
                  </a:lnTo>
                  <a:lnTo>
                    <a:pt x="255" y="401"/>
                  </a:lnTo>
                  <a:lnTo>
                    <a:pt x="259" y="401"/>
                  </a:lnTo>
                  <a:lnTo>
                    <a:pt x="263" y="403"/>
                  </a:lnTo>
                  <a:lnTo>
                    <a:pt x="265" y="403"/>
                  </a:lnTo>
                  <a:lnTo>
                    <a:pt x="265" y="403"/>
                  </a:lnTo>
                  <a:lnTo>
                    <a:pt x="269" y="403"/>
                  </a:lnTo>
                  <a:lnTo>
                    <a:pt x="272" y="401"/>
                  </a:lnTo>
                  <a:lnTo>
                    <a:pt x="274" y="401"/>
                  </a:lnTo>
                  <a:lnTo>
                    <a:pt x="274" y="403"/>
                  </a:lnTo>
                  <a:lnTo>
                    <a:pt x="276" y="401"/>
                  </a:lnTo>
                  <a:lnTo>
                    <a:pt x="278" y="403"/>
                  </a:lnTo>
                  <a:lnTo>
                    <a:pt x="284" y="403"/>
                  </a:lnTo>
                  <a:lnTo>
                    <a:pt x="290" y="407"/>
                  </a:lnTo>
                  <a:lnTo>
                    <a:pt x="295" y="413"/>
                  </a:lnTo>
                  <a:lnTo>
                    <a:pt x="297" y="413"/>
                  </a:lnTo>
                  <a:lnTo>
                    <a:pt x="299" y="413"/>
                  </a:lnTo>
                  <a:lnTo>
                    <a:pt x="297" y="411"/>
                  </a:lnTo>
                  <a:lnTo>
                    <a:pt x="290" y="405"/>
                  </a:lnTo>
                  <a:lnTo>
                    <a:pt x="290" y="405"/>
                  </a:lnTo>
                  <a:lnTo>
                    <a:pt x="288" y="403"/>
                  </a:lnTo>
                  <a:lnTo>
                    <a:pt x="288" y="403"/>
                  </a:lnTo>
                  <a:lnTo>
                    <a:pt x="288" y="403"/>
                  </a:lnTo>
                  <a:lnTo>
                    <a:pt x="288" y="401"/>
                  </a:lnTo>
                  <a:lnTo>
                    <a:pt x="288" y="401"/>
                  </a:lnTo>
                  <a:lnTo>
                    <a:pt x="288" y="399"/>
                  </a:lnTo>
                  <a:lnTo>
                    <a:pt x="288" y="399"/>
                  </a:lnTo>
                  <a:lnTo>
                    <a:pt x="288" y="399"/>
                  </a:lnTo>
                  <a:lnTo>
                    <a:pt x="288" y="398"/>
                  </a:lnTo>
                  <a:lnTo>
                    <a:pt x="286" y="398"/>
                  </a:lnTo>
                  <a:lnTo>
                    <a:pt x="284" y="398"/>
                  </a:lnTo>
                  <a:lnTo>
                    <a:pt x="282" y="399"/>
                  </a:lnTo>
                  <a:lnTo>
                    <a:pt x="280" y="399"/>
                  </a:lnTo>
                  <a:lnTo>
                    <a:pt x="267" y="399"/>
                  </a:lnTo>
                  <a:lnTo>
                    <a:pt x="263" y="399"/>
                  </a:lnTo>
                  <a:lnTo>
                    <a:pt x="261" y="398"/>
                  </a:lnTo>
                  <a:lnTo>
                    <a:pt x="253" y="392"/>
                  </a:lnTo>
                  <a:lnTo>
                    <a:pt x="250" y="388"/>
                  </a:lnTo>
                  <a:lnTo>
                    <a:pt x="250" y="384"/>
                  </a:lnTo>
                  <a:lnTo>
                    <a:pt x="248" y="382"/>
                  </a:lnTo>
                  <a:lnTo>
                    <a:pt x="250" y="379"/>
                  </a:lnTo>
                  <a:lnTo>
                    <a:pt x="250" y="375"/>
                  </a:lnTo>
                  <a:lnTo>
                    <a:pt x="252" y="373"/>
                  </a:lnTo>
                  <a:lnTo>
                    <a:pt x="252" y="371"/>
                  </a:lnTo>
                  <a:lnTo>
                    <a:pt x="253" y="369"/>
                  </a:lnTo>
                  <a:lnTo>
                    <a:pt x="253" y="369"/>
                  </a:lnTo>
                  <a:lnTo>
                    <a:pt x="253" y="369"/>
                  </a:lnTo>
                  <a:lnTo>
                    <a:pt x="255" y="367"/>
                  </a:lnTo>
                  <a:lnTo>
                    <a:pt x="255" y="367"/>
                  </a:lnTo>
                  <a:lnTo>
                    <a:pt x="255" y="365"/>
                  </a:lnTo>
                  <a:lnTo>
                    <a:pt x="255" y="365"/>
                  </a:lnTo>
                  <a:lnTo>
                    <a:pt x="261" y="358"/>
                  </a:lnTo>
                  <a:lnTo>
                    <a:pt x="263" y="354"/>
                  </a:lnTo>
                  <a:lnTo>
                    <a:pt x="265" y="352"/>
                  </a:lnTo>
                  <a:lnTo>
                    <a:pt x="267" y="350"/>
                  </a:lnTo>
                  <a:lnTo>
                    <a:pt x="267" y="350"/>
                  </a:lnTo>
                  <a:lnTo>
                    <a:pt x="269" y="348"/>
                  </a:lnTo>
                  <a:lnTo>
                    <a:pt x="269" y="344"/>
                  </a:lnTo>
                  <a:lnTo>
                    <a:pt x="274" y="337"/>
                  </a:lnTo>
                  <a:lnTo>
                    <a:pt x="278" y="333"/>
                  </a:lnTo>
                  <a:lnTo>
                    <a:pt x="282" y="331"/>
                  </a:lnTo>
                  <a:lnTo>
                    <a:pt x="280" y="329"/>
                  </a:lnTo>
                  <a:lnTo>
                    <a:pt x="278" y="325"/>
                  </a:lnTo>
                  <a:lnTo>
                    <a:pt x="278" y="320"/>
                  </a:lnTo>
                  <a:lnTo>
                    <a:pt x="278" y="318"/>
                  </a:lnTo>
                  <a:lnTo>
                    <a:pt x="278" y="318"/>
                  </a:lnTo>
                  <a:lnTo>
                    <a:pt x="280" y="316"/>
                  </a:lnTo>
                  <a:lnTo>
                    <a:pt x="280" y="316"/>
                  </a:lnTo>
                  <a:lnTo>
                    <a:pt x="282" y="316"/>
                  </a:lnTo>
                  <a:lnTo>
                    <a:pt x="282" y="314"/>
                  </a:lnTo>
                  <a:lnTo>
                    <a:pt x="282" y="312"/>
                  </a:lnTo>
                  <a:lnTo>
                    <a:pt x="282" y="312"/>
                  </a:lnTo>
                  <a:lnTo>
                    <a:pt x="282" y="310"/>
                  </a:lnTo>
                  <a:lnTo>
                    <a:pt x="284" y="308"/>
                  </a:lnTo>
                  <a:lnTo>
                    <a:pt x="290" y="306"/>
                  </a:lnTo>
                  <a:lnTo>
                    <a:pt x="292" y="304"/>
                  </a:lnTo>
                  <a:lnTo>
                    <a:pt x="293" y="304"/>
                  </a:lnTo>
                  <a:lnTo>
                    <a:pt x="295" y="304"/>
                  </a:lnTo>
                  <a:lnTo>
                    <a:pt x="297" y="304"/>
                  </a:lnTo>
                  <a:lnTo>
                    <a:pt x="299" y="304"/>
                  </a:lnTo>
                  <a:lnTo>
                    <a:pt x="303" y="304"/>
                  </a:lnTo>
                  <a:lnTo>
                    <a:pt x="305" y="304"/>
                  </a:lnTo>
                  <a:lnTo>
                    <a:pt x="305" y="302"/>
                  </a:lnTo>
                  <a:lnTo>
                    <a:pt x="305" y="302"/>
                  </a:lnTo>
                  <a:lnTo>
                    <a:pt x="309" y="302"/>
                  </a:lnTo>
                  <a:lnTo>
                    <a:pt x="311" y="302"/>
                  </a:lnTo>
                  <a:lnTo>
                    <a:pt x="312" y="302"/>
                  </a:lnTo>
                  <a:lnTo>
                    <a:pt x="312" y="302"/>
                  </a:lnTo>
                  <a:lnTo>
                    <a:pt x="309" y="304"/>
                  </a:lnTo>
                  <a:lnTo>
                    <a:pt x="309" y="304"/>
                  </a:lnTo>
                  <a:lnTo>
                    <a:pt x="309" y="304"/>
                  </a:lnTo>
                  <a:lnTo>
                    <a:pt x="307" y="304"/>
                  </a:lnTo>
                  <a:lnTo>
                    <a:pt x="307" y="306"/>
                  </a:lnTo>
                  <a:lnTo>
                    <a:pt x="309" y="306"/>
                  </a:lnTo>
                  <a:lnTo>
                    <a:pt x="309" y="306"/>
                  </a:lnTo>
                  <a:lnTo>
                    <a:pt x="311" y="306"/>
                  </a:lnTo>
                  <a:lnTo>
                    <a:pt x="326" y="310"/>
                  </a:lnTo>
                  <a:lnTo>
                    <a:pt x="328" y="310"/>
                  </a:lnTo>
                  <a:lnTo>
                    <a:pt x="328" y="308"/>
                  </a:lnTo>
                  <a:lnTo>
                    <a:pt x="326" y="308"/>
                  </a:lnTo>
                  <a:lnTo>
                    <a:pt x="324" y="306"/>
                  </a:lnTo>
                  <a:lnTo>
                    <a:pt x="322" y="306"/>
                  </a:lnTo>
                  <a:lnTo>
                    <a:pt x="320" y="306"/>
                  </a:lnTo>
                  <a:lnTo>
                    <a:pt x="320" y="306"/>
                  </a:lnTo>
                  <a:lnTo>
                    <a:pt x="318" y="306"/>
                  </a:lnTo>
                  <a:lnTo>
                    <a:pt x="318" y="304"/>
                  </a:lnTo>
                  <a:lnTo>
                    <a:pt x="316" y="304"/>
                  </a:lnTo>
                  <a:lnTo>
                    <a:pt x="314" y="304"/>
                  </a:lnTo>
                  <a:lnTo>
                    <a:pt x="312" y="304"/>
                  </a:lnTo>
                  <a:lnTo>
                    <a:pt x="314" y="304"/>
                  </a:lnTo>
                  <a:lnTo>
                    <a:pt x="314" y="302"/>
                  </a:lnTo>
                  <a:lnTo>
                    <a:pt x="326" y="304"/>
                  </a:lnTo>
                  <a:lnTo>
                    <a:pt x="328" y="306"/>
                  </a:lnTo>
                  <a:lnTo>
                    <a:pt x="328" y="308"/>
                  </a:lnTo>
                  <a:lnTo>
                    <a:pt x="330" y="308"/>
                  </a:lnTo>
                  <a:lnTo>
                    <a:pt x="332" y="308"/>
                  </a:lnTo>
                  <a:lnTo>
                    <a:pt x="333" y="308"/>
                  </a:lnTo>
                  <a:lnTo>
                    <a:pt x="335" y="308"/>
                  </a:lnTo>
                  <a:lnTo>
                    <a:pt x="335" y="306"/>
                  </a:lnTo>
                  <a:lnTo>
                    <a:pt x="335" y="299"/>
                  </a:lnTo>
                  <a:lnTo>
                    <a:pt x="335" y="282"/>
                  </a:lnTo>
                  <a:lnTo>
                    <a:pt x="335" y="278"/>
                  </a:lnTo>
                  <a:lnTo>
                    <a:pt x="335" y="263"/>
                  </a:lnTo>
                  <a:lnTo>
                    <a:pt x="335" y="259"/>
                  </a:lnTo>
                  <a:lnTo>
                    <a:pt x="333" y="259"/>
                  </a:lnTo>
                  <a:lnTo>
                    <a:pt x="332" y="257"/>
                  </a:lnTo>
                  <a:lnTo>
                    <a:pt x="332" y="257"/>
                  </a:lnTo>
                  <a:lnTo>
                    <a:pt x="332" y="257"/>
                  </a:lnTo>
                  <a:lnTo>
                    <a:pt x="330" y="255"/>
                  </a:lnTo>
                  <a:lnTo>
                    <a:pt x="330" y="255"/>
                  </a:lnTo>
                  <a:lnTo>
                    <a:pt x="330" y="255"/>
                  </a:lnTo>
                  <a:lnTo>
                    <a:pt x="330" y="253"/>
                  </a:lnTo>
                  <a:lnTo>
                    <a:pt x="330" y="253"/>
                  </a:lnTo>
                  <a:lnTo>
                    <a:pt x="332" y="253"/>
                  </a:lnTo>
                  <a:lnTo>
                    <a:pt x="332" y="253"/>
                  </a:lnTo>
                  <a:lnTo>
                    <a:pt x="330" y="251"/>
                  </a:lnTo>
                  <a:lnTo>
                    <a:pt x="330" y="251"/>
                  </a:lnTo>
                  <a:lnTo>
                    <a:pt x="330" y="251"/>
                  </a:lnTo>
                  <a:lnTo>
                    <a:pt x="328" y="253"/>
                  </a:lnTo>
                  <a:lnTo>
                    <a:pt x="328" y="251"/>
                  </a:lnTo>
                  <a:lnTo>
                    <a:pt x="328" y="251"/>
                  </a:lnTo>
                  <a:lnTo>
                    <a:pt x="328" y="251"/>
                  </a:lnTo>
                  <a:lnTo>
                    <a:pt x="328" y="251"/>
                  </a:lnTo>
                  <a:lnTo>
                    <a:pt x="326" y="251"/>
                  </a:lnTo>
                  <a:lnTo>
                    <a:pt x="326" y="251"/>
                  </a:lnTo>
                  <a:lnTo>
                    <a:pt x="326" y="251"/>
                  </a:lnTo>
                  <a:lnTo>
                    <a:pt x="324" y="249"/>
                  </a:lnTo>
                  <a:lnTo>
                    <a:pt x="324" y="249"/>
                  </a:lnTo>
                  <a:lnTo>
                    <a:pt x="324" y="249"/>
                  </a:lnTo>
                  <a:lnTo>
                    <a:pt x="322" y="249"/>
                  </a:lnTo>
                  <a:lnTo>
                    <a:pt x="322" y="249"/>
                  </a:lnTo>
                  <a:lnTo>
                    <a:pt x="322" y="247"/>
                  </a:lnTo>
                  <a:lnTo>
                    <a:pt x="322" y="247"/>
                  </a:lnTo>
                  <a:lnTo>
                    <a:pt x="322" y="245"/>
                  </a:lnTo>
                  <a:lnTo>
                    <a:pt x="322" y="245"/>
                  </a:lnTo>
                  <a:lnTo>
                    <a:pt x="322" y="245"/>
                  </a:lnTo>
                  <a:lnTo>
                    <a:pt x="322" y="245"/>
                  </a:lnTo>
                  <a:lnTo>
                    <a:pt x="324" y="245"/>
                  </a:lnTo>
                  <a:lnTo>
                    <a:pt x="324" y="245"/>
                  </a:lnTo>
                  <a:lnTo>
                    <a:pt x="324" y="245"/>
                  </a:lnTo>
                  <a:lnTo>
                    <a:pt x="326" y="245"/>
                  </a:lnTo>
                  <a:lnTo>
                    <a:pt x="326" y="245"/>
                  </a:lnTo>
                  <a:lnTo>
                    <a:pt x="326" y="244"/>
                  </a:lnTo>
                  <a:lnTo>
                    <a:pt x="324" y="244"/>
                  </a:lnTo>
                  <a:lnTo>
                    <a:pt x="324" y="244"/>
                  </a:lnTo>
                  <a:lnTo>
                    <a:pt x="324" y="242"/>
                  </a:lnTo>
                  <a:lnTo>
                    <a:pt x="324" y="242"/>
                  </a:lnTo>
                  <a:lnTo>
                    <a:pt x="324" y="242"/>
                  </a:lnTo>
                  <a:lnTo>
                    <a:pt x="326" y="242"/>
                  </a:lnTo>
                  <a:lnTo>
                    <a:pt x="328" y="244"/>
                  </a:lnTo>
                  <a:lnTo>
                    <a:pt x="330" y="244"/>
                  </a:lnTo>
                  <a:lnTo>
                    <a:pt x="330" y="242"/>
                  </a:lnTo>
                  <a:lnTo>
                    <a:pt x="332" y="242"/>
                  </a:lnTo>
                  <a:lnTo>
                    <a:pt x="333" y="242"/>
                  </a:lnTo>
                  <a:lnTo>
                    <a:pt x="335" y="242"/>
                  </a:lnTo>
                  <a:lnTo>
                    <a:pt x="335" y="242"/>
                  </a:lnTo>
                  <a:lnTo>
                    <a:pt x="335" y="240"/>
                  </a:lnTo>
                  <a:lnTo>
                    <a:pt x="335" y="225"/>
                  </a:lnTo>
                  <a:lnTo>
                    <a:pt x="333" y="215"/>
                  </a:lnTo>
                  <a:lnTo>
                    <a:pt x="333" y="207"/>
                  </a:lnTo>
                  <a:lnTo>
                    <a:pt x="333" y="207"/>
                  </a:lnTo>
                  <a:lnTo>
                    <a:pt x="333" y="207"/>
                  </a:lnTo>
                  <a:lnTo>
                    <a:pt x="330" y="205"/>
                  </a:lnTo>
                  <a:lnTo>
                    <a:pt x="328" y="205"/>
                  </a:lnTo>
                  <a:lnTo>
                    <a:pt x="326" y="207"/>
                  </a:lnTo>
                  <a:lnTo>
                    <a:pt x="326" y="207"/>
                  </a:lnTo>
                  <a:lnTo>
                    <a:pt x="326" y="209"/>
                  </a:lnTo>
                  <a:lnTo>
                    <a:pt x="320" y="211"/>
                  </a:lnTo>
                  <a:lnTo>
                    <a:pt x="320" y="213"/>
                  </a:lnTo>
                  <a:lnTo>
                    <a:pt x="318" y="213"/>
                  </a:lnTo>
                  <a:lnTo>
                    <a:pt x="320" y="211"/>
                  </a:lnTo>
                  <a:lnTo>
                    <a:pt x="324" y="205"/>
                  </a:lnTo>
                  <a:lnTo>
                    <a:pt x="326" y="205"/>
                  </a:lnTo>
                  <a:lnTo>
                    <a:pt x="326" y="205"/>
                  </a:lnTo>
                  <a:lnTo>
                    <a:pt x="328" y="204"/>
                  </a:lnTo>
                  <a:lnTo>
                    <a:pt x="328" y="204"/>
                  </a:lnTo>
                  <a:lnTo>
                    <a:pt x="330" y="204"/>
                  </a:lnTo>
                  <a:lnTo>
                    <a:pt x="332" y="204"/>
                  </a:lnTo>
                  <a:lnTo>
                    <a:pt x="332" y="204"/>
                  </a:lnTo>
                  <a:lnTo>
                    <a:pt x="332" y="204"/>
                  </a:lnTo>
                  <a:lnTo>
                    <a:pt x="332" y="198"/>
                  </a:lnTo>
                  <a:lnTo>
                    <a:pt x="332" y="198"/>
                  </a:lnTo>
                  <a:lnTo>
                    <a:pt x="330" y="198"/>
                  </a:lnTo>
                  <a:lnTo>
                    <a:pt x="330" y="198"/>
                  </a:lnTo>
                  <a:lnTo>
                    <a:pt x="330" y="198"/>
                  </a:lnTo>
                  <a:lnTo>
                    <a:pt x="330" y="200"/>
                  </a:lnTo>
                  <a:lnTo>
                    <a:pt x="330" y="200"/>
                  </a:lnTo>
                  <a:lnTo>
                    <a:pt x="330" y="200"/>
                  </a:lnTo>
                  <a:lnTo>
                    <a:pt x="328" y="196"/>
                  </a:lnTo>
                  <a:lnTo>
                    <a:pt x="326" y="190"/>
                  </a:lnTo>
                  <a:lnTo>
                    <a:pt x="326" y="186"/>
                  </a:lnTo>
                  <a:lnTo>
                    <a:pt x="326" y="185"/>
                  </a:lnTo>
                  <a:lnTo>
                    <a:pt x="328" y="181"/>
                  </a:lnTo>
                  <a:lnTo>
                    <a:pt x="328" y="177"/>
                  </a:lnTo>
                  <a:lnTo>
                    <a:pt x="330" y="167"/>
                  </a:lnTo>
                  <a:lnTo>
                    <a:pt x="330" y="166"/>
                  </a:lnTo>
                  <a:lnTo>
                    <a:pt x="332" y="166"/>
                  </a:lnTo>
                  <a:lnTo>
                    <a:pt x="332" y="162"/>
                  </a:lnTo>
                  <a:lnTo>
                    <a:pt x="332" y="162"/>
                  </a:lnTo>
                  <a:lnTo>
                    <a:pt x="328" y="162"/>
                  </a:lnTo>
                  <a:lnTo>
                    <a:pt x="326" y="162"/>
                  </a:lnTo>
                  <a:lnTo>
                    <a:pt x="326" y="162"/>
                  </a:lnTo>
                  <a:lnTo>
                    <a:pt x="326" y="162"/>
                  </a:lnTo>
                  <a:lnTo>
                    <a:pt x="326" y="162"/>
                  </a:lnTo>
                  <a:lnTo>
                    <a:pt x="324" y="162"/>
                  </a:lnTo>
                  <a:lnTo>
                    <a:pt x="324" y="162"/>
                  </a:lnTo>
                  <a:lnTo>
                    <a:pt x="324" y="162"/>
                  </a:lnTo>
                  <a:lnTo>
                    <a:pt x="322" y="160"/>
                  </a:lnTo>
                  <a:lnTo>
                    <a:pt x="322" y="160"/>
                  </a:lnTo>
                  <a:lnTo>
                    <a:pt x="322" y="160"/>
                  </a:lnTo>
                  <a:lnTo>
                    <a:pt x="322" y="160"/>
                  </a:lnTo>
                  <a:lnTo>
                    <a:pt x="322" y="160"/>
                  </a:lnTo>
                  <a:lnTo>
                    <a:pt x="322" y="158"/>
                  </a:lnTo>
                  <a:lnTo>
                    <a:pt x="322" y="158"/>
                  </a:lnTo>
                  <a:lnTo>
                    <a:pt x="322" y="156"/>
                  </a:lnTo>
                  <a:lnTo>
                    <a:pt x="322" y="156"/>
                  </a:lnTo>
                  <a:lnTo>
                    <a:pt x="322" y="154"/>
                  </a:lnTo>
                  <a:lnTo>
                    <a:pt x="322" y="154"/>
                  </a:lnTo>
                  <a:lnTo>
                    <a:pt x="322" y="154"/>
                  </a:lnTo>
                  <a:lnTo>
                    <a:pt x="320" y="154"/>
                  </a:lnTo>
                  <a:lnTo>
                    <a:pt x="320" y="152"/>
                  </a:lnTo>
                  <a:lnTo>
                    <a:pt x="320" y="152"/>
                  </a:lnTo>
                  <a:lnTo>
                    <a:pt x="320" y="152"/>
                  </a:lnTo>
                  <a:lnTo>
                    <a:pt x="320" y="152"/>
                  </a:lnTo>
                  <a:lnTo>
                    <a:pt x="320" y="150"/>
                  </a:lnTo>
                  <a:lnTo>
                    <a:pt x="320" y="150"/>
                  </a:lnTo>
                  <a:lnTo>
                    <a:pt x="318" y="148"/>
                  </a:lnTo>
                  <a:lnTo>
                    <a:pt x="318" y="148"/>
                  </a:lnTo>
                  <a:lnTo>
                    <a:pt x="318" y="148"/>
                  </a:lnTo>
                  <a:lnTo>
                    <a:pt x="318" y="147"/>
                  </a:lnTo>
                  <a:lnTo>
                    <a:pt x="320" y="147"/>
                  </a:lnTo>
                  <a:lnTo>
                    <a:pt x="320" y="147"/>
                  </a:lnTo>
                  <a:lnTo>
                    <a:pt x="320" y="147"/>
                  </a:lnTo>
                  <a:lnTo>
                    <a:pt x="320" y="147"/>
                  </a:lnTo>
                  <a:lnTo>
                    <a:pt x="320" y="147"/>
                  </a:lnTo>
                  <a:lnTo>
                    <a:pt x="322" y="147"/>
                  </a:lnTo>
                  <a:lnTo>
                    <a:pt x="322" y="148"/>
                  </a:lnTo>
                  <a:lnTo>
                    <a:pt x="324" y="148"/>
                  </a:lnTo>
                  <a:lnTo>
                    <a:pt x="324" y="148"/>
                  </a:lnTo>
                  <a:lnTo>
                    <a:pt x="326" y="148"/>
                  </a:lnTo>
                  <a:lnTo>
                    <a:pt x="328" y="148"/>
                  </a:lnTo>
                  <a:lnTo>
                    <a:pt x="328" y="148"/>
                  </a:lnTo>
                  <a:lnTo>
                    <a:pt x="328" y="148"/>
                  </a:lnTo>
                  <a:lnTo>
                    <a:pt x="328" y="150"/>
                  </a:lnTo>
                  <a:lnTo>
                    <a:pt x="328" y="150"/>
                  </a:lnTo>
                  <a:lnTo>
                    <a:pt x="326" y="152"/>
                  </a:lnTo>
                  <a:lnTo>
                    <a:pt x="326" y="152"/>
                  </a:lnTo>
                  <a:lnTo>
                    <a:pt x="326" y="152"/>
                  </a:lnTo>
                  <a:lnTo>
                    <a:pt x="326" y="152"/>
                  </a:lnTo>
                  <a:lnTo>
                    <a:pt x="328" y="152"/>
                  </a:lnTo>
                  <a:lnTo>
                    <a:pt x="328" y="154"/>
                  </a:lnTo>
                  <a:lnTo>
                    <a:pt x="328" y="154"/>
                  </a:lnTo>
                  <a:lnTo>
                    <a:pt x="330" y="154"/>
                  </a:lnTo>
                  <a:lnTo>
                    <a:pt x="330" y="154"/>
                  </a:lnTo>
                  <a:lnTo>
                    <a:pt x="332" y="152"/>
                  </a:lnTo>
                  <a:lnTo>
                    <a:pt x="333" y="150"/>
                  </a:lnTo>
                  <a:lnTo>
                    <a:pt x="335" y="150"/>
                  </a:lnTo>
                  <a:lnTo>
                    <a:pt x="335" y="150"/>
                  </a:lnTo>
                  <a:lnTo>
                    <a:pt x="335" y="150"/>
                  </a:lnTo>
                  <a:lnTo>
                    <a:pt x="335" y="148"/>
                  </a:lnTo>
                  <a:lnTo>
                    <a:pt x="335" y="148"/>
                  </a:lnTo>
                  <a:lnTo>
                    <a:pt x="335" y="145"/>
                  </a:lnTo>
                  <a:lnTo>
                    <a:pt x="335" y="145"/>
                  </a:lnTo>
                  <a:lnTo>
                    <a:pt x="337" y="143"/>
                  </a:lnTo>
                  <a:lnTo>
                    <a:pt x="339" y="139"/>
                  </a:lnTo>
                  <a:lnTo>
                    <a:pt x="343" y="133"/>
                  </a:lnTo>
                  <a:lnTo>
                    <a:pt x="343" y="133"/>
                  </a:lnTo>
                  <a:lnTo>
                    <a:pt x="345" y="131"/>
                  </a:lnTo>
                  <a:lnTo>
                    <a:pt x="349" y="124"/>
                  </a:lnTo>
                  <a:lnTo>
                    <a:pt x="347" y="126"/>
                  </a:lnTo>
                  <a:lnTo>
                    <a:pt x="345" y="126"/>
                  </a:lnTo>
                  <a:lnTo>
                    <a:pt x="343" y="126"/>
                  </a:lnTo>
                  <a:lnTo>
                    <a:pt x="345" y="124"/>
                  </a:lnTo>
                  <a:lnTo>
                    <a:pt x="349" y="122"/>
                  </a:lnTo>
                  <a:lnTo>
                    <a:pt x="351" y="120"/>
                  </a:lnTo>
                  <a:lnTo>
                    <a:pt x="354" y="114"/>
                  </a:lnTo>
                  <a:lnTo>
                    <a:pt x="354" y="114"/>
                  </a:lnTo>
                  <a:lnTo>
                    <a:pt x="354" y="114"/>
                  </a:lnTo>
                  <a:lnTo>
                    <a:pt x="356" y="112"/>
                  </a:lnTo>
                  <a:lnTo>
                    <a:pt x="358" y="112"/>
                  </a:lnTo>
                  <a:lnTo>
                    <a:pt x="360" y="108"/>
                  </a:lnTo>
                  <a:lnTo>
                    <a:pt x="360" y="107"/>
                  </a:lnTo>
                  <a:lnTo>
                    <a:pt x="364" y="101"/>
                  </a:lnTo>
                  <a:lnTo>
                    <a:pt x="366" y="95"/>
                  </a:lnTo>
                  <a:lnTo>
                    <a:pt x="366" y="95"/>
                  </a:lnTo>
                  <a:lnTo>
                    <a:pt x="366" y="93"/>
                  </a:lnTo>
                  <a:lnTo>
                    <a:pt x="368" y="88"/>
                  </a:lnTo>
                  <a:lnTo>
                    <a:pt x="368" y="86"/>
                  </a:lnTo>
                  <a:lnTo>
                    <a:pt x="370" y="84"/>
                  </a:lnTo>
                  <a:lnTo>
                    <a:pt x="370" y="82"/>
                  </a:lnTo>
                  <a:lnTo>
                    <a:pt x="370" y="80"/>
                  </a:lnTo>
                  <a:lnTo>
                    <a:pt x="372" y="74"/>
                  </a:lnTo>
                  <a:lnTo>
                    <a:pt x="373" y="67"/>
                  </a:lnTo>
                  <a:lnTo>
                    <a:pt x="373" y="55"/>
                  </a:lnTo>
                  <a:lnTo>
                    <a:pt x="375" y="50"/>
                  </a:lnTo>
                  <a:lnTo>
                    <a:pt x="375" y="46"/>
                  </a:lnTo>
                  <a:lnTo>
                    <a:pt x="375" y="44"/>
                  </a:lnTo>
                  <a:lnTo>
                    <a:pt x="377" y="42"/>
                  </a:lnTo>
                  <a:lnTo>
                    <a:pt x="377" y="42"/>
                  </a:lnTo>
                  <a:lnTo>
                    <a:pt x="377" y="38"/>
                  </a:lnTo>
                  <a:lnTo>
                    <a:pt x="377" y="38"/>
                  </a:lnTo>
                  <a:lnTo>
                    <a:pt x="377" y="36"/>
                  </a:lnTo>
                  <a:lnTo>
                    <a:pt x="379" y="34"/>
                  </a:lnTo>
                  <a:lnTo>
                    <a:pt x="379" y="32"/>
                  </a:lnTo>
                  <a:lnTo>
                    <a:pt x="379" y="31"/>
                  </a:lnTo>
                  <a:lnTo>
                    <a:pt x="377" y="31"/>
                  </a:lnTo>
                  <a:lnTo>
                    <a:pt x="377" y="31"/>
                  </a:lnTo>
                  <a:lnTo>
                    <a:pt x="377" y="31"/>
                  </a:lnTo>
                  <a:lnTo>
                    <a:pt x="379" y="29"/>
                  </a:lnTo>
                  <a:lnTo>
                    <a:pt x="379" y="29"/>
                  </a:lnTo>
                  <a:lnTo>
                    <a:pt x="379" y="29"/>
                  </a:lnTo>
                  <a:lnTo>
                    <a:pt x="379" y="27"/>
                  </a:lnTo>
                  <a:lnTo>
                    <a:pt x="381" y="21"/>
                  </a:lnTo>
                  <a:lnTo>
                    <a:pt x="381" y="19"/>
                  </a:lnTo>
                  <a:lnTo>
                    <a:pt x="381" y="1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5" name="Freeform 17">
              <a:extLst>
                <a:ext uri="{FF2B5EF4-FFF2-40B4-BE49-F238E27FC236}">
                  <a16:creationId xmlns:a16="http://schemas.microsoft.com/office/drawing/2014/main" id="{949796D8-1D25-5B0D-57C0-2DB51B3795C9}"/>
                </a:ext>
              </a:extLst>
            </p:cNvPr>
            <p:cNvSpPr>
              <a:spLocks noEditPoints="1"/>
            </p:cNvSpPr>
            <p:nvPr/>
          </p:nvSpPr>
          <p:spPr bwMode="auto">
            <a:xfrm>
              <a:off x="4960938" y="5241138"/>
              <a:ext cx="604838" cy="815975"/>
            </a:xfrm>
            <a:custGeom>
              <a:avLst/>
              <a:gdLst>
                <a:gd name="T0" fmla="*/ 373 w 381"/>
                <a:gd name="T1" fmla="*/ 10 h 514"/>
                <a:gd name="T2" fmla="*/ 358 w 381"/>
                <a:gd name="T3" fmla="*/ 6 h 514"/>
                <a:gd name="T4" fmla="*/ 354 w 381"/>
                <a:gd name="T5" fmla="*/ 6 h 514"/>
                <a:gd name="T6" fmla="*/ 330 w 381"/>
                <a:gd name="T7" fmla="*/ 25 h 514"/>
                <a:gd name="T8" fmla="*/ 326 w 381"/>
                <a:gd name="T9" fmla="*/ 31 h 514"/>
                <a:gd name="T10" fmla="*/ 305 w 381"/>
                <a:gd name="T11" fmla="*/ 21 h 514"/>
                <a:gd name="T12" fmla="*/ 292 w 381"/>
                <a:gd name="T13" fmla="*/ 32 h 514"/>
                <a:gd name="T14" fmla="*/ 271 w 381"/>
                <a:gd name="T15" fmla="*/ 48 h 514"/>
                <a:gd name="T16" fmla="*/ 252 w 381"/>
                <a:gd name="T17" fmla="*/ 44 h 514"/>
                <a:gd name="T18" fmla="*/ 231 w 381"/>
                <a:gd name="T19" fmla="*/ 46 h 514"/>
                <a:gd name="T20" fmla="*/ 217 w 381"/>
                <a:gd name="T21" fmla="*/ 74 h 514"/>
                <a:gd name="T22" fmla="*/ 200 w 381"/>
                <a:gd name="T23" fmla="*/ 86 h 514"/>
                <a:gd name="T24" fmla="*/ 164 w 381"/>
                <a:gd name="T25" fmla="*/ 70 h 514"/>
                <a:gd name="T26" fmla="*/ 141 w 381"/>
                <a:gd name="T27" fmla="*/ 76 h 514"/>
                <a:gd name="T28" fmla="*/ 124 w 381"/>
                <a:gd name="T29" fmla="*/ 91 h 514"/>
                <a:gd name="T30" fmla="*/ 128 w 381"/>
                <a:gd name="T31" fmla="*/ 108 h 514"/>
                <a:gd name="T32" fmla="*/ 133 w 381"/>
                <a:gd name="T33" fmla="*/ 128 h 514"/>
                <a:gd name="T34" fmla="*/ 139 w 381"/>
                <a:gd name="T35" fmla="*/ 141 h 514"/>
                <a:gd name="T36" fmla="*/ 111 w 381"/>
                <a:gd name="T37" fmla="*/ 166 h 514"/>
                <a:gd name="T38" fmla="*/ 82 w 381"/>
                <a:gd name="T39" fmla="*/ 166 h 514"/>
                <a:gd name="T40" fmla="*/ 55 w 381"/>
                <a:gd name="T41" fmla="*/ 181 h 514"/>
                <a:gd name="T42" fmla="*/ 21 w 381"/>
                <a:gd name="T43" fmla="*/ 173 h 514"/>
                <a:gd name="T44" fmla="*/ 11 w 381"/>
                <a:gd name="T45" fmla="*/ 185 h 514"/>
                <a:gd name="T46" fmla="*/ 2 w 381"/>
                <a:gd name="T47" fmla="*/ 192 h 514"/>
                <a:gd name="T48" fmla="*/ 23 w 381"/>
                <a:gd name="T49" fmla="*/ 215 h 514"/>
                <a:gd name="T50" fmla="*/ 40 w 381"/>
                <a:gd name="T51" fmla="*/ 221 h 514"/>
                <a:gd name="T52" fmla="*/ 48 w 381"/>
                <a:gd name="T53" fmla="*/ 234 h 514"/>
                <a:gd name="T54" fmla="*/ 42 w 381"/>
                <a:gd name="T55" fmla="*/ 242 h 514"/>
                <a:gd name="T56" fmla="*/ 61 w 381"/>
                <a:gd name="T57" fmla="*/ 259 h 514"/>
                <a:gd name="T58" fmla="*/ 55 w 381"/>
                <a:gd name="T59" fmla="*/ 287 h 514"/>
                <a:gd name="T60" fmla="*/ 65 w 381"/>
                <a:gd name="T61" fmla="*/ 310 h 514"/>
                <a:gd name="T62" fmla="*/ 93 w 381"/>
                <a:gd name="T63" fmla="*/ 306 h 514"/>
                <a:gd name="T64" fmla="*/ 95 w 381"/>
                <a:gd name="T65" fmla="*/ 341 h 514"/>
                <a:gd name="T66" fmla="*/ 93 w 381"/>
                <a:gd name="T67" fmla="*/ 373 h 514"/>
                <a:gd name="T68" fmla="*/ 107 w 381"/>
                <a:gd name="T69" fmla="*/ 386 h 514"/>
                <a:gd name="T70" fmla="*/ 95 w 381"/>
                <a:gd name="T71" fmla="*/ 441 h 514"/>
                <a:gd name="T72" fmla="*/ 97 w 381"/>
                <a:gd name="T73" fmla="*/ 468 h 514"/>
                <a:gd name="T74" fmla="*/ 91 w 381"/>
                <a:gd name="T75" fmla="*/ 481 h 514"/>
                <a:gd name="T76" fmla="*/ 82 w 381"/>
                <a:gd name="T77" fmla="*/ 495 h 514"/>
                <a:gd name="T78" fmla="*/ 143 w 381"/>
                <a:gd name="T79" fmla="*/ 504 h 514"/>
                <a:gd name="T80" fmla="*/ 177 w 381"/>
                <a:gd name="T81" fmla="*/ 457 h 514"/>
                <a:gd name="T82" fmla="*/ 187 w 381"/>
                <a:gd name="T83" fmla="*/ 430 h 514"/>
                <a:gd name="T84" fmla="*/ 242 w 381"/>
                <a:gd name="T85" fmla="*/ 405 h 514"/>
                <a:gd name="T86" fmla="*/ 274 w 381"/>
                <a:gd name="T87" fmla="*/ 403 h 514"/>
                <a:gd name="T88" fmla="*/ 288 w 381"/>
                <a:gd name="T89" fmla="*/ 399 h 514"/>
                <a:gd name="T90" fmla="*/ 252 w 381"/>
                <a:gd name="T91" fmla="*/ 371 h 514"/>
                <a:gd name="T92" fmla="*/ 282 w 381"/>
                <a:gd name="T93" fmla="*/ 331 h 514"/>
                <a:gd name="T94" fmla="*/ 295 w 381"/>
                <a:gd name="T95" fmla="*/ 304 h 514"/>
                <a:gd name="T96" fmla="*/ 309 w 381"/>
                <a:gd name="T97" fmla="*/ 306 h 514"/>
                <a:gd name="T98" fmla="*/ 326 w 381"/>
                <a:gd name="T99" fmla="*/ 304 h 514"/>
                <a:gd name="T100" fmla="*/ 330 w 381"/>
                <a:gd name="T101" fmla="*/ 255 h 514"/>
                <a:gd name="T102" fmla="*/ 326 w 381"/>
                <a:gd name="T103" fmla="*/ 251 h 514"/>
                <a:gd name="T104" fmla="*/ 326 w 381"/>
                <a:gd name="T105" fmla="*/ 244 h 514"/>
                <a:gd name="T106" fmla="*/ 333 w 381"/>
                <a:gd name="T107" fmla="*/ 207 h 514"/>
                <a:gd name="T108" fmla="*/ 330 w 381"/>
                <a:gd name="T109" fmla="*/ 204 h 514"/>
                <a:gd name="T110" fmla="*/ 328 w 381"/>
                <a:gd name="T111" fmla="*/ 177 h 514"/>
                <a:gd name="T112" fmla="*/ 322 w 381"/>
                <a:gd name="T113" fmla="*/ 160 h 514"/>
                <a:gd name="T114" fmla="*/ 318 w 381"/>
                <a:gd name="T115" fmla="*/ 148 h 514"/>
                <a:gd name="T116" fmla="*/ 328 w 381"/>
                <a:gd name="T117" fmla="*/ 150 h 514"/>
                <a:gd name="T118" fmla="*/ 335 w 381"/>
                <a:gd name="T119" fmla="*/ 145 h 514"/>
                <a:gd name="T120" fmla="*/ 356 w 381"/>
                <a:gd name="T121" fmla="*/ 112 h 514"/>
                <a:gd name="T122" fmla="*/ 375 w 381"/>
                <a:gd name="T123" fmla="*/ 46 h 514"/>
                <a:gd name="T124" fmla="*/ 381 w 381"/>
                <a:gd name="T125" fmla="*/ 21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1" h="514">
                  <a:moveTo>
                    <a:pt x="377" y="10"/>
                  </a:moveTo>
                  <a:lnTo>
                    <a:pt x="377" y="10"/>
                  </a:lnTo>
                  <a:lnTo>
                    <a:pt x="377" y="6"/>
                  </a:lnTo>
                  <a:lnTo>
                    <a:pt x="375" y="2"/>
                  </a:lnTo>
                  <a:lnTo>
                    <a:pt x="375" y="2"/>
                  </a:lnTo>
                  <a:lnTo>
                    <a:pt x="375" y="4"/>
                  </a:lnTo>
                  <a:lnTo>
                    <a:pt x="375" y="4"/>
                  </a:lnTo>
                  <a:lnTo>
                    <a:pt x="375" y="4"/>
                  </a:lnTo>
                  <a:lnTo>
                    <a:pt x="377" y="10"/>
                  </a:lnTo>
                  <a:close/>
                  <a:moveTo>
                    <a:pt x="381" y="15"/>
                  </a:moveTo>
                  <a:lnTo>
                    <a:pt x="379" y="13"/>
                  </a:lnTo>
                  <a:lnTo>
                    <a:pt x="379" y="12"/>
                  </a:lnTo>
                  <a:lnTo>
                    <a:pt x="377" y="12"/>
                  </a:lnTo>
                  <a:lnTo>
                    <a:pt x="377" y="12"/>
                  </a:lnTo>
                  <a:lnTo>
                    <a:pt x="377" y="13"/>
                  </a:lnTo>
                  <a:lnTo>
                    <a:pt x="375" y="12"/>
                  </a:lnTo>
                  <a:lnTo>
                    <a:pt x="373" y="10"/>
                  </a:lnTo>
                  <a:lnTo>
                    <a:pt x="373" y="10"/>
                  </a:lnTo>
                  <a:lnTo>
                    <a:pt x="373" y="8"/>
                  </a:lnTo>
                  <a:lnTo>
                    <a:pt x="373" y="8"/>
                  </a:lnTo>
                  <a:lnTo>
                    <a:pt x="373" y="8"/>
                  </a:lnTo>
                  <a:lnTo>
                    <a:pt x="373" y="8"/>
                  </a:lnTo>
                  <a:lnTo>
                    <a:pt x="370" y="10"/>
                  </a:lnTo>
                  <a:lnTo>
                    <a:pt x="368" y="10"/>
                  </a:lnTo>
                  <a:lnTo>
                    <a:pt x="362" y="8"/>
                  </a:lnTo>
                  <a:lnTo>
                    <a:pt x="362" y="8"/>
                  </a:lnTo>
                  <a:lnTo>
                    <a:pt x="360" y="8"/>
                  </a:lnTo>
                  <a:lnTo>
                    <a:pt x="358" y="8"/>
                  </a:lnTo>
                  <a:lnTo>
                    <a:pt x="358" y="8"/>
                  </a:lnTo>
                  <a:lnTo>
                    <a:pt x="358" y="8"/>
                  </a:lnTo>
                  <a:lnTo>
                    <a:pt x="358" y="6"/>
                  </a:lnTo>
                  <a:lnTo>
                    <a:pt x="358" y="6"/>
                  </a:lnTo>
                  <a:lnTo>
                    <a:pt x="358" y="6"/>
                  </a:lnTo>
                  <a:lnTo>
                    <a:pt x="358" y="6"/>
                  </a:lnTo>
                  <a:lnTo>
                    <a:pt x="358" y="4"/>
                  </a:lnTo>
                  <a:lnTo>
                    <a:pt x="358" y="4"/>
                  </a:lnTo>
                  <a:lnTo>
                    <a:pt x="358" y="4"/>
                  </a:lnTo>
                  <a:lnTo>
                    <a:pt x="356" y="4"/>
                  </a:lnTo>
                  <a:lnTo>
                    <a:pt x="354" y="2"/>
                  </a:lnTo>
                  <a:lnTo>
                    <a:pt x="353" y="2"/>
                  </a:lnTo>
                  <a:lnTo>
                    <a:pt x="353" y="0"/>
                  </a:lnTo>
                  <a:lnTo>
                    <a:pt x="353" y="2"/>
                  </a:lnTo>
                  <a:lnTo>
                    <a:pt x="353" y="2"/>
                  </a:lnTo>
                  <a:lnTo>
                    <a:pt x="351" y="2"/>
                  </a:lnTo>
                  <a:lnTo>
                    <a:pt x="353" y="2"/>
                  </a:lnTo>
                  <a:lnTo>
                    <a:pt x="353" y="4"/>
                  </a:lnTo>
                  <a:lnTo>
                    <a:pt x="353" y="4"/>
                  </a:lnTo>
                  <a:lnTo>
                    <a:pt x="353" y="4"/>
                  </a:lnTo>
                  <a:lnTo>
                    <a:pt x="354" y="4"/>
                  </a:lnTo>
                  <a:lnTo>
                    <a:pt x="354" y="6"/>
                  </a:lnTo>
                  <a:lnTo>
                    <a:pt x="354" y="6"/>
                  </a:lnTo>
                  <a:lnTo>
                    <a:pt x="353" y="6"/>
                  </a:lnTo>
                  <a:lnTo>
                    <a:pt x="353" y="8"/>
                  </a:lnTo>
                  <a:lnTo>
                    <a:pt x="351" y="8"/>
                  </a:lnTo>
                  <a:lnTo>
                    <a:pt x="349" y="8"/>
                  </a:lnTo>
                  <a:lnTo>
                    <a:pt x="347" y="10"/>
                  </a:lnTo>
                  <a:lnTo>
                    <a:pt x="347" y="12"/>
                  </a:lnTo>
                  <a:lnTo>
                    <a:pt x="345" y="12"/>
                  </a:lnTo>
                  <a:lnTo>
                    <a:pt x="345" y="13"/>
                  </a:lnTo>
                  <a:lnTo>
                    <a:pt x="345" y="13"/>
                  </a:lnTo>
                  <a:lnTo>
                    <a:pt x="345" y="13"/>
                  </a:lnTo>
                  <a:lnTo>
                    <a:pt x="345" y="15"/>
                  </a:lnTo>
                  <a:lnTo>
                    <a:pt x="345" y="15"/>
                  </a:lnTo>
                  <a:lnTo>
                    <a:pt x="345" y="17"/>
                  </a:lnTo>
                  <a:lnTo>
                    <a:pt x="337" y="21"/>
                  </a:lnTo>
                  <a:lnTo>
                    <a:pt x="332" y="23"/>
                  </a:lnTo>
                  <a:lnTo>
                    <a:pt x="330" y="25"/>
                  </a:lnTo>
                  <a:lnTo>
                    <a:pt x="330" y="25"/>
                  </a:lnTo>
                  <a:lnTo>
                    <a:pt x="328" y="23"/>
                  </a:lnTo>
                  <a:lnTo>
                    <a:pt x="328" y="23"/>
                  </a:lnTo>
                  <a:lnTo>
                    <a:pt x="326" y="25"/>
                  </a:lnTo>
                  <a:lnTo>
                    <a:pt x="326" y="25"/>
                  </a:lnTo>
                  <a:lnTo>
                    <a:pt x="326" y="25"/>
                  </a:lnTo>
                  <a:lnTo>
                    <a:pt x="326" y="27"/>
                  </a:lnTo>
                  <a:lnTo>
                    <a:pt x="326" y="27"/>
                  </a:lnTo>
                  <a:lnTo>
                    <a:pt x="328" y="27"/>
                  </a:lnTo>
                  <a:lnTo>
                    <a:pt x="328" y="27"/>
                  </a:lnTo>
                  <a:lnTo>
                    <a:pt x="328" y="29"/>
                  </a:lnTo>
                  <a:lnTo>
                    <a:pt x="330" y="29"/>
                  </a:lnTo>
                  <a:lnTo>
                    <a:pt x="330" y="29"/>
                  </a:lnTo>
                  <a:lnTo>
                    <a:pt x="330" y="29"/>
                  </a:lnTo>
                  <a:lnTo>
                    <a:pt x="330" y="31"/>
                  </a:lnTo>
                  <a:lnTo>
                    <a:pt x="328" y="31"/>
                  </a:lnTo>
                  <a:lnTo>
                    <a:pt x="328" y="31"/>
                  </a:lnTo>
                  <a:lnTo>
                    <a:pt x="326" y="31"/>
                  </a:lnTo>
                  <a:lnTo>
                    <a:pt x="324" y="31"/>
                  </a:lnTo>
                  <a:lnTo>
                    <a:pt x="324" y="31"/>
                  </a:lnTo>
                  <a:lnTo>
                    <a:pt x="320" y="29"/>
                  </a:lnTo>
                  <a:lnTo>
                    <a:pt x="320" y="29"/>
                  </a:lnTo>
                  <a:lnTo>
                    <a:pt x="320" y="29"/>
                  </a:lnTo>
                  <a:lnTo>
                    <a:pt x="320" y="27"/>
                  </a:lnTo>
                  <a:lnTo>
                    <a:pt x="320" y="27"/>
                  </a:lnTo>
                  <a:lnTo>
                    <a:pt x="320" y="25"/>
                  </a:lnTo>
                  <a:lnTo>
                    <a:pt x="320" y="25"/>
                  </a:lnTo>
                  <a:lnTo>
                    <a:pt x="318" y="25"/>
                  </a:lnTo>
                  <a:lnTo>
                    <a:pt x="312" y="25"/>
                  </a:lnTo>
                  <a:lnTo>
                    <a:pt x="311" y="25"/>
                  </a:lnTo>
                  <a:lnTo>
                    <a:pt x="309" y="25"/>
                  </a:lnTo>
                  <a:lnTo>
                    <a:pt x="309" y="25"/>
                  </a:lnTo>
                  <a:lnTo>
                    <a:pt x="309" y="23"/>
                  </a:lnTo>
                  <a:lnTo>
                    <a:pt x="307" y="21"/>
                  </a:lnTo>
                  <a:lnTo>
                    <a:pt x="305" y="21"/>
                  </a:lnTo>
                  <a:lnTo>
                    <a:pt x="305" y="19"/>
                  </a:lnTo>
                  <a:lnTo>
                    <a:pt x="303" y="19"/>
                  </a:lnTo>
                  <a:lnTo>
                    <a:pt x="301" y="19"/>
                  </a:lnTo>
                  <a:lnTo>
                    <a:pt x="299" y="19"/>
                  </a:lnTo>
                  <a:lnTo>
                    <a:pt x="297" y="21"/>
                  </a:lnTo>
                  <a:lnTo>
                    <a:pt x="297" y="21"/>
                  </a:lnTo>
                  <a:lnTo>
                    <a:pt x="297" y="21"/>
                  </a:lnTo>
                  <a:lnTo>
                    <a:pt x="297" y="23"/>
                  </a:lnTo>
                  <a:lnTo>
                    <a:pt x="297" y="23"/>
                  </a:lnTo>
                  <a:lnTo>
                    <a:pt x="297" y="25"/>
                  </a:lnTo>
                  <a:lnTo>
                    <a:pt x="295" y="27"/>
                  </a:lnTo>
                  <a:lnTo>
                    <a:pt x="295" y="27"/>
                  </a:lnTo>
                  <a:lnTo>
                    <a:pt x="295" y="29"/>
                  </a:lnTo>
                  <a:lnTo>
                    <a:pt x="295" y="29"/>
                  </a:lnTo>
                  <a:lnTo>
                    <a:pt x="295" y="31"/>
                  </a:lnTo>
                  <a:lnTo>
                    <a:pt x="295" y="31"/>
                  </a:lnTo>
                  <a:lnTo>
                    <a:pt x="292" y="32"/>
                  </a:lnTo>
                  <a:lnTo>
                    <a:pt x="292" y="32"/>
                  </a:lnTo>
                  <a:lnTo>
                    <a:pt x="292" y="34"/>
                  </a:lnTo>
                  <a:lnTo>
                    <a:pt x="290" y="36"/>
                  </a:lnTo>
                  <a:lnTo>
                    <a:pt x="288" y="38"/>
                  </a:lnTo>
                  <a:lnTo>
                    <a:pt x="286" y="40"/>
                  </a:lnTo>
                  <a:lnTo>
                    <a:pt x="284" y="40"/>
                  </a:lnTo>
                  <a:lnTo>
                    <a:pt x="284" y="40"/>
                  </a:lnTo>
                  <a:lnTo>
                    <a:pt x="284" y="38"/>
                  </a:lnTo>
                  <a:lnTo>
                    <a:pt x="282" y="38"/>
                  </a:lnTo>
                  <a:lnTo>
                    <a:pt x="280" y="38"/>
                  </a:lnTo>
                  <a:lnTo>
                    <a:pt x="280" y="38"/>
                  </a:lnTo>
                  <a:lnTo>
                    <a:pt x="278" y="38"/>
                  </a:lnTo>
                  <a:lnTo>
                    <a:pt x="276" y="44"/>
                  </a:lnTo>
                  <a:lnTo>
                    <a:pt x="272" y="46"/>
                  </a:lnTo>
                  <a:lnTo>
                    <a:pt x="272" y="48"/>
                  </a:lnTo>
                  <a:lnTo>
                    <a:pt x="271" y="48"/>
                  </a:lnTo>
                  <a:lnTo>
                    <a:pt x="271" y="48"/>
                  </a:lnTo>
                  <a:lnTo>
                    <a:pt x="267" y="48"/>
                  </a:lnTo>
                  <a:lnTo>
                    <a:pt x="265" y="48"/>
                  </a:lnTo>
                  <a:lnTo>
                    <a:pt x="263" y="48"/>
                  </a:lnTo>
                  <a:lnTo>
                    <a:pt x="263" y="48"/>
                  </a:lnTo>
                  <a:lnTo>
                    <a:pt x="261" y="48"/>
                  </a:lnTo>
                  <a:lnTo>
                    <a:pt x="261" y="48"/>
                  </a:lnTo>
                  <a:lnTo>
                    <a:pt x="259" y="48"/>
                  </a:lnTo>
                  <a:lnTo>
                    <a:pt x="257" y="46"/>
                  </a:lnTo>
                  <a:lnTo>
                    <a:pt x="257" y="46"/>
                  </a:lnTo>
                  <a:lnTo>
                    <a:pt x="257" y="44"/>
                  </a:lnTo>
                  <a:lnTo>
                    <a:pt x="257" y="44"/>
                  </a:lnTo>
                  <a:lnTo>
                    <a:pt x="257" y="44"/>
                  </a:lnTo>
                  <a:lnTo>
                    <a:pt x="255" y="44"/>
                  </a:lnTo>
                  <a:lnTo>
                    <a:pt x="255" y="44"/>
                  </a:lnTo>
                  <a:lnTo>
                    <a:pt x="253" y="44"/>
                  </a:lnTo>
                  <a:lnTo>
                    <a:pt x="252" y="42"/>
                  </a:lnTo>
                  <a:lnTo>
                    <a:pt x="252" y="44"/>
                  </a:lnTo>
                  <a:lnTo>
                    <a:pt x="250" y="44"/>
                  </a:lnTo>
                  <a:lnTo>
                    <a:pt x="250" y="46"/>
                  </a:lnTo>
                  <a:lnTo>
                    <a:pt x="250" y="46"/>
                  </a:lnTo>
                  <a:lnTo>
                    <a:pt x="250" y="46"/>
                  </a:lnTo>
                  <a:lnTo>
                    <a:pt x="250" y="48"/>
                  </a:lnTo>
                  <a:lnTo>
                    <a:pt x="248" y="48"/>
                  </a:lnTo>
                  <a:lnTo>
                    <a:pt x="246" y="48"/>
                  </a:lnTo>
                  <a:lnTo>
                    <a:pt x="246" y="48"/>
                  </a:lnTo>
                  <a:lnTo>
                    <a:pt x="246" y="48"/>
                  </a:lnTo>
                  <a:lnTo>
                    <a:pt x="246" y="46"/>
                  </a:lnTo>
                  <a:lnTo>
                    <a:pt x="244" y="44"/>
                  </a:lnTo>
                  <a:lnTo>
                    <a:pt x="244" y="44"/>
                  </a:lnTo>
                  <a:lnTo>
                    <a:pt x="240" y="44"/>
                  </a:lnTo>
                  <a:lnTo>
                    <a:pt x="238" y="46"/>
                  </a:lnTo>
                  <a:lnTo>
                    <a:pt x="236" y="46"/>
                  </a:lnTo>
                  <a:lnTo>
                    <a:pt x="232" y="46"/>
                  </a:lnTo>
                  <a:lnTo>
                    <a:pt x="231" y="46"/>
                  </a:lnTo>
                  <a:lnTo>
                    <a:pt x="231" y="48"/>
                  </a:lnTo>
                  <a:lnTo>
                    <a:pt x="231" y="48"/>
                  </a:lnTo>
                  <a:lnTo>
                    <a:pt x="229" y="50"/>
                  </a:lnTo>
                  <a:lnTo>
                    <a:pt x="229" y="50"/>
                  </a:lnTo>
                  <a:lnTo>
                    <a:pt x="227" y="50"/>
                  </a:lnTo>
                  <a:lnTo>
                    <a:pt x="227" y="50"/>
                  </a:lnTo>
                  <a:lnTo>
                    <a:pt x="225" y="50"/>
                  </a:lnTo>
                  <a:lnTo>
                    <a:pt x="225" y="51"/>
                  </a:lnTo>
                  <a:lnTo>
                    <a:pt x="223" y="53"/>
                  </a:lnTo>
                  <a:lnTo>
                    <a:pt x="223" y="53"/>
                  </a:lnTo>
                  <a:lnTo>
                    <a:pt x="223" y="55"/>
                  </a:lnTo>
                  <a:lnTo>
                    <a:pt x="223" y="57"/>
                  </a:lnTo>
                  <a:lnTo>
                    <a:pt x="223" y="57"/>
                  </a:lnTo>
                  <a:lnTo>
                    <a:pt x="223" y="59"/>
                  </a:lnTo>
                  <a:lnTo>
                    <a:pt x="221" y="67"/>
                  </a:lnTo>
                  <a:lnTo>
                    <a:pt x="217" y="72"/>
                  </a:lnTo>
                  <a:lnTo>
                    <a:pt x="217" y="74"/>
                  </a:lnTo>
                  <a:lnTo>
                    <a:pt x="217" y="74"/>
                  </a:lnTo>
                  <a:lnTo>
                    <a:pt x="213" y="76"/>
                  </a:lnTo>
                  <a:lnTo>
                    <a:pt x="213" y="76"/>
                  </a:lnTo>
                  <a:lnTo>
                    <a:pt x="211" y="76"/>
                  </a:lnTo>
                  <a:lnTo>
                    <a:pt x="211" y="76"/>
                  </a:lnTo>
                  <a:lnTo>
                    <a:pt x="211" y="76"/>
                  </a:lnTo>
                  <a:lnTo>
                    <a:pt x="210" y="76"/>
                  </a:lnTo>
                  <a:lnTo>
                    <a:pt x="210" y="76"/>
                  </a:lnTo>
                  <a:lnTo>
                    <a:pt x="210" y="78"/>
                  </a:lnTo>
                  <a:lnTo>
                    <a:pt x="210" y="78"/>
                  </a:lnTo>
                  <a:lnTo>
                    <a:pt x="210" y="80"/>
                  </a:lnTo>
                  <a:lnTo>
                    <a:pt x="210" y="82"/>
                  </a:lnTo>
                  <a:lnTo>
                    <a:pt x="206" y="86"/>
                  </a:lnTo>
                  <a:lnTo>
                    <a:pt x="204" y="86"/>
                  </a:lnTo>
                  <a:lnTo>
                    <a:pt x="204" y="86"/>
                  </a:lnTo>
                  <a:lnTo>
                    <a:pt x="202" y="86"/>
                  </a:lnTo>
                  <a:lnTo>
                    <a:pt x="200" y="86"/>
                  </a:lnTo>
                  <a:lnTo>
                    <a:pt x="200" y="86"/>
                  </a:lnTo>
                  <a:lnTo>
                    <a:pt x="200" y="86"/>
                  </a:lnTo>
                  <a:lnTo>
                    <a:pt x="196" y="86"/>
                  </a:lnTo>
                  <a:lnTo>
                    <a:pt x="192" y="82"/>
                  </a:lnTo>
                  <a:lnTo>
                    <a:pt x="189" y="80"/>
                  </a:lnTo>
                  <a:lnTo>
                    <a:pt x="185" y="74"/>
                  </a:lnTo>
                  <a:lnTo>
                    <a:pt x="179" y="72"/>
                  </a:lnTo>
                  <a:lnTo>
                    <a:pt x="177" y="72"/>
                  </a:lnTo>
                  <a:lnTo>
                    <a:pt x="171" y="69"/>
                  </a:lnTo>
                  <a:lnTo>
                    <a:pt x="170" y="67"/>
                  </a:lnTo>
                  <a:lnTo>
                    <a:pt x="168" y="67"/>
                  </a:lnTo>
                  <a:lnTo>
                    <a:pt x="168" y="67"/>
                  </a:lnTo>
                  <a:lnTo>
                    <a:pt x="166" y="69"/>
                  </a:lnTo>
                  <a:lnTo>
                    <a:pt x="166" y="69"/>
                  </a:lnTo>
                  <a:lnTo>
                    <a:pt x="166" y="69"/>
                  </a:lnTo>
                  <a:lnTo>
                    <a:pt x="166" y="70"/>
                  </a:lnTo>
                  <a:lnTo>
                    <a:pt x="164" y="70"/>
                  </a:lnTo>
                  <a:lnTo>
                    <a:pt x="164" y="70"/>
                  </a:lnTo>
                  <a:lnTo>
                    <a:pt x="162" y="70"/>
                  </a:lnTo>
                  <a:lnTo>
                    <a:pt x="160" y="69"/>
                  </a:lnTo>
                  <a:lnTo>
                    <a:pt x="160" y="67"/>
                  </a:lnTo>
                  <a:lnTo>
                    <a:pt x="158" y="67"/>
                  </a:lnTo>
                  <a:lnTo>
                    <a:pt x="158" y="65"/>
                  </a:lnTo>
                  <a:lnTo>
                    <a:pt x="158" y="65"/>
                  </a:lnTo>
                  <a:lnTo>
                    <a:pt x="156" y="65"/>
                  </a:lnTo>
                  <a:lnTo>
                    <a:pt x="156" y="65"/>
                  </a:lnTo>
                  <a:lnTo>
                    <a:pt x="154" y="63"/>
                  </a:lnTo>
                  <a:lnTo>
                    <a:pt x="151" y="65"/>
                  </a:lnTo>
                  <a:lnTo>
                    <a:pt x="147" y="65"/>
                  </a:lnTo>
                  <a:lnTo>
                    <a:pt x="145" y="70"/>
                  </a:lnTo>
                  <a:lnTo>
                    <a:pt x="143" y="72"/>
                  </a:lnTo>
                  <a:lnTo>
                    <a:pt x="143" y="74"/>
                  </a:lnTo>
                  <a:lnTo>
                    <a:pt x="141" y="74"/>
                  </a:lnTo>
                  <a:lnTo>
                    <a:pt x="141" y="76"/>
                  </a:lnTo>
                  <a:lnTo>
                    <a:pt x="141" y="76"/>
                  </a:lnTo>
                  <a:lnTo>
                    <a:pt x="143" y="76"/>
                  </a:lnTo>
                  <a:lnTo>
                    <a:pt x="143" y="78"/>
                  </a:lnTo>
                  <a:lnTo>
                    <a:pt x="143" y="78"/>
                  </a:lnTo>
                  <a:lnTo>
                    <a:pt x="143" y="78"/>
                  </a:lnTo>
                  <a:lnTo>
                    <a:pt x="141" y="80"/>
                  </a:lnTo>
                  <a:lnTo>
                    <a:pt x="141" y="80"/>
                  </a:lnTo>
                  <a:lnTo>
                    <a:pt x="137" y="82"/>
                  </a:lnTo>
                  <a:lnTo>
                    <a:pt x="135" y="82"/>
                  </a:lnTo>
                  <a:lnTo>
                    <a:pt x="135" y="82"/>
                  </a:lnTo>
                  <a:lnTo>
                    <a:pt x="133" y="82"/>
                  </a:lnTo>
                  <a:lnTo>
                    <a:pt x="131" y="82"/>
                  </a:lnTo>
                  <a:lnTo>
                    <a:pt x="131" y="82"/>
                  </a:lnTo>
                  <a:lnTo>
                    <a:pt x="130" y="82"/>
                  </a:lnTo>
                  <a:lnTo>
                    <a:pt x="128" y="82"/>
                  </a:lnTo>
                  <a:lnTo>
                    <a:pt x="126" y="88"/>
                  </a:lnTo>
                  <a:lnTo>
                    <a:pt x="124" y="91"/>
                  </a:lnTo>
                  <a:lnTo>
                    <a:pt x="124" y="93"/>
                  </a:lnTo>
                  <a:lnTo>
                    <a:pt x="124" y="95"/>
                  </a:lnTo>
                  <a:lnTo>
                    <a:pt x="126" y="95"/>
                  </a:lnTo>
                  <a:lnTo>
                    <a:pt x="126" y="97"/>
                  </a:lnTo>
                  <a:lnTo>
                    <a:pt x="126" y="97"/>
                  </a:lnTo>
                  <a:lnTo>
                    <a:pt x="126" y="99"/>
                  </a:lnTo>
                  <a:lnTo>
                    <a:pt x="126" y="99"/>
                  </a:lnTo>
                  <a:lnTo>
                    <a:pt x="126" y="99"/>
                  </a:lnTo>
                  <a:lnTo>
                    <a:pt x="126" y="99"/>
                  </a:lnTo>
                  <a:lnTo>
                    <a:pt x="126" y="99"/>
                  </a:lnTo>
                  <a:lnTo>
                    <a:pt x="126" y="99"/>
                  </a:lnTo>
                  <a:lnTo>
                    <a:pt x="128" y="99"/>
                  </a:lnTo>
                  <a:lnTo>
                    <a:pt x="128" y="99"/>
                  </a:lnTo>
                  <a:lnTo>
                    <a:pt x="130" y="99"/>
                  </a:lnTo>
                  <a:lnTo>
                    <a:pt x="130" y="101"/>
                  </a:lnTo>
                  <a:lnTo>
                    <a:pt x="130" y="103"/>
                  </a:lnTo>
                  <a:lnTo>
                    <a:pt x="128" y="108"/>
                  </a:lnTo>
                  <a:lnTo>
                    <a:pt x="128" y="108"/>
                  </a:lnTo>
                  <a:lnTo>
                    <a:pt x="126" y="110"/>
                  </a:lnTo>
                  <a:lnTo>
                    <a:pt x="124" y="112"/>
                  </a:lnTo>
                  <a:lnTo>
                    <a:pt x="124" y="114"/>
                  </a:lnTo>
                  <a:lnTo>
                    <a:pt x="120" y="116"/>
                  </a:lnTo>
                  <a:lnTo>
                    <a:pt x="116" y="118"/>
                  </a:lnTo>
                  <a:lnTo>
                    <a:pt x="116" y="120"/>
                  </a:lnTo>
                  <a:lnTo>
                    <a:pt x="116" y="120"/>
                  </a:lnTo>
                  <a:lnTo>
                    <a:pt x="114" y="122"/>
                  </a:lnTo>
                  <a:lnTo>
                    <a:pt x="114" y="122"/>
                  </a:lnTo>
                  <a:lnTo>
                    <a:pt x="114" y="122"/>
                  </a:lnTo>
                  <a:lnTo>
                    <a:pt x="116" y="124"/>
                  </a:lnTo>
                  <a:lnTo>
                    <a:pt x="116" y="124"/>
                  </a:lnTo>
                  <a:lnTo>
                    <a:pt x="116" y="126"/>
                  </a:lnTo>
                  <a:lnTo>
                    <a:pt x="116" y="126"/>
                  </a:lnTo>
                  <a:lnTo>
                    <a:pt x="118" y="128"/>
                  </a:lnTo>
                  <a:lnTo>
                    <a:pt x="133" y="128"/>
                  </a:lnTo>
                  <a:lnTo>
                    <a:pt x="137" y="128"/>
                  </a:lnTo>
                  <a:lnTo>
                    <a:pt x="139" y="129"/>
                  </a:lnTo>
                  <a:lnTo>
                    <a:pt x="139" y="129"/>
                  </a:lnTo>
                  <a:lnTo>
                    <a:pt x="139" y="129"/>
                  </a:lnTo>
                  <a:lnTo>
                    <a:pt x="143" y="133"/>
                  </a:lnTo>
                  <a:lnTo>
                    <a:pt x="143" y="135"/>
                  </a:lnTo>
                  <a:lnTo>
                    <a:pt x="143" y="135"/>
                  </a:lnTo>
                  <a:lnTo>
                    <a:pt x="143" y="135"/>
                  </a:lnTo>
                  <a:lnTo>
                    <a:pt x="143" y="137"/>
                  </a:lnTo>
                  <a:lnTo>
                    <a:pt x="143" y="137"/>
                  </a:lnTo>
                  <a:lnTo>
                    <a:pt x="143" y="137"/>
                  </a:lnTo>
                  <a:lnTo>
                    <a:pt x="143" y="137"/>
                  </a:lnTo>
                  <a:lnTo>
                    <a:pt x="141" y="139"/>
                  </a:lnTo>
                  <a:lnTo>
                    <a:pt x="141" y="139"/>
                  </a:lnTo>
                  <a:lnTo>
                    <a:pt x="141" y="139"/>
                  </a:lnTo>
                  <a:lnTo>
                    <a:pt x="139" y="141"/>
                  </a:lnTo>
                  <a:lnTo>
                    <a:pt x="139" y="141"/>
                  </a:lnTo>
                  <a:lnTo>
                    <a:pt x="137" y="143"/>
                  </a:lnTo>
                  <a:lnTo>
                    <a:pt x="135" y="147"/>
                  </a:lnTo>
                  <a:lnTo>
                    <a:pt x="133" y="148"/>
                  </a:lnTo>
                  <a:lnTo>
                    <a:pt x="133" y="150"/>
                  </a:lnTo>
                  <a:lnTo>
                    <a:pt x="131" y="150"/>
                  </a:lnTo>
                  <a:lnTo>
                    <a:pt x="131" y="150"/>
                  </a:lnTo>
                  <a:lnTo>
                    <a:pt x="130" y="150"/>
                  </a:lnTo>
                  <a:lnTo>
                    <a:pt x="120" y="152"/>
                  </a:lnTo>
                  <a:lnTo>
                    <a:pt x="118" y="152"/>
                  </a:lnTo>
                  <a:lnTo>
                    <a:pt x="116" y="152"/>
                  </a:lnTo>
                  <a:lnTo>
                    <a:pt x="116" y="154"/>
                  </a:lnTo>
                  <a:lnTo>
                    <a:pt x="114" y="156"/>
                  </a:lnTo>
                  <a:lnTo>
                    <a:pt x="114" y="158"/>
                  </a:lnTo>
                  <a:lnTo>
                    <a:pt x="112" y="162"/>
                  </a:lnTo>
                  <a:lnTo>
                    <a:pt x="112" y="164"/>
                  </a:lnTo>
                  <a:lnTo>
                    <a:pt x="111" y="166"/>
                  </a:lnTo>
                  <a:lnTo>
                    <a:pt x="111" y="166"/>
                  </a:lnTo>
                  <a:lnTo>
                    <a:pt x="107" y="166"/>
                  </a:lnTo>
                  <a:lnTo>
                    <a:pt x="105" y="166"/>
                  </a:lnTo>
                  <a:lnTo>
                    <a:pt x="103" y="166"/>
                  </a:lnTo>
                  <a:lnTo>
                    <a:pt x="101" y="166"/>
                  </a:lnTo>
                  <a:lnTo>
                    <a:pt x="101" y="166"/>
                  </a:lnTo>
                  <a:lnTo>
                    <a:pt x="99" y="164"/>
                  </a:lnTo>
                  <a:lnTo>
                    <a:pt x="97" y="164"/>
                  </a:lnTo>
                  <a:lnTo>
                    <a:pt x="97" y="164"/>
                  </a:lnTo>
                  <a:lnTo>
                    <a:pt x="95" y="164"/>
                  </a:lnTo>
                  <a:lnTo>
                    <a:pt x="95" y="164"/>
                  </a:lnTo>
                  <a:lnTo>
                    <a:pt x="93" y="164"/>
                  </a:lnTo>
                  <a:lnTo>
                    <a:pt x="91" y="166"/>
                  </a:lnTo>
                  <a:lnTo>
                    <a:pt x="88" y="164"/>
                  </a:lnTo>
                  <a:lnTo>
                    <a:pt x="86" y="166"/>
                  </a:lnTo>
                  <a:lnTo>
                    <a:pt x="84" y="166"/>
                  </a:lnTo>
                  <a:lnTo>
                    <a:pt x="84" y="166"/>
                  </a:lnTo>
                  <a:lnTo>
                    <a:pt x="82" y="166"/>
                  </a:lnTo>
                  <a:lnTo>
                    <a:pt x="82" y="167"/>
                  </a:lnTo>
                  <a:lnTo>
                    <a:pt x="82" y="169"/>
                  </a:lnTo>
                  <a:lnTo>
                    <a:pt x="80" y="169"/>
                  </a:lnTo>
                  <a:lnTo>
                    <a:pt x="80" y="169"/>
                  </a:lnTo>
                  <a:lnTo>
                    <a:pt x="74" y="164"/>
                  </a:lnTo>
                  <a:lnTo>
                    <a:pt x="72" y="164"/>
                  </a:lnTo>
                  <a:lnTo>
                    <a:pt x="72" y="162"/>
                  </a:lnTo>
                  <a:lnTo>
                    <a:pt x="70" y="164"/>
                  </a:lnTo>
                  <a:lnTo>
                    <a:pt x="69" y="164"/>
                  </a:lnTo>
                  <a:lnTo>
                    <a:pt x="67" y="164"/>
                  </a:lnTo>
                  <a:lnTo>
                    <a:pt x="65" y="164"/>
                  </a:lnTo>
                  <a:lnTo>
                    <a:pt x="65" y="164"/>
                  </a:lnTo>
                  <a:lnTo>
                    <a:pt x="63" y="166"/>
                  </a:lnTo>
                  <a:lnTo>
                    <a:pt x="59" y="169"/>
                  </a:lnTo>
                  <a:lnTo>
                    <a:pt x="57" y="173"/>
                  </a:lnTo>
                  <a:lnTo>
                    <a:pt x="57" y="179"/>
                  </a:lnTo>
                  <a:lnTo>
                    <a:pt x="55" y="181"/>
                  </a:lnTo>
                  <a:lnTo>
                    <a:pt x="55" y="181"/>
                  </a:lnTo>
                  <a:lnTo>
                    <a:pt x="50" y="181"/>
                  </a:lnTo>
                  <a:lnTo>
                    <a:pt x="50" y="179"/>
                  </a:lnTo>
                  <a:lnTo>
                    <a:pt x="36" y="181"/>
                  </a:lnTo>
                  <a:lnTo>
                    <a:pt x="34" y="181"/>
                  </a:lnTo>
                  <a:lnTo>
                    <a:pt x="32" y="181"/>
                  </a:lnTo>
                  <a:lnTo>
                    <a:pt x="30" y="181"/>
                  </a:lnTo>
                  <a:lnTo>
                    <a:pt x="30" y="179"/>
                  </a:lnTo>
                  <a:lnTo>
                    <a:pt x="30" y="179"/>
                  </a:lnTo>
                  <a:lnTo>
                    <a:pt x="30" y="177"/>
                  </a:lnTo>
                  <a:lnTo>
                    <a:pt x="30" y="175"/>
                  </a:lnTo>
                  <a:lnTo>
                    <a:pt x="30" y="175"/>
                  </a:lnTo>
                  <a:lnTo>
                    <a:pt x="29" y="173"/>
                  </a:lnTo>
                  <a:lnTo>
                    <a:pt x="27" y="173"/>
                  </a:lnTo>
                  <a:lnTo>
                    <a:pt x="25" y="173"/>
                  </a:lnTo>
                  <a:lnTo>
                    <a:pt x="23" y="173"/>
                  </a:lnTo>
                  <a:lnTo>
                    <a:pt x="21" y="173"/>
                  </a:lnTo>
                  <a:lnTo>
                    <a:pt x="21" y="175"/>
                  </a:lnTo>
                  <a:lnTo>
                    <a:pt x="19" y="175"/>
                  </a:lnTo>
                  <a:lnTo>
                    <a:pt x="19" y="175"/>
                  </a:lnTo>
                  <a:lnTo>
                    <a:pt x="19" y="177"/>
                  </a:lnTo>
                  <a:lnTo>
                    <a:pt x="17" y="177"/>
                  </a:lnTo>
                  <a:lnTo>
                    <a:pt x="19" y="179"/>
                  </a:lnTo>
                  <a:lnTo>
                    <a:pt x="19" y="179"/>
                  </a:lnTo>
                  <a:lnTo>
                    <a:pt x="19" y="179"/>
                  </a:lnTo>
                  <a:lnTo>
                    <a:pt x="17" y="179"/>
                  </a:lnTo>
                  <a:lnTo>
                    <a:pt x="17" y="179"/>
                  </a:lnTo>
                  <a:lnTo>
                    <a:pt x="17" y="179"/>
                  </a:lnTo>
                  <a:lnTo>
                    <a:pt x="15" y="181"/>
                  </a:lnTo>
                  <a:lnTo>
                    <a:pt x="13" y="181"/>
                  </a:lnTo>
                  <a:lnTo>
                    <a:pt x="13" y="181"/>
                  </a:lnTo>
                  <a:lnTo>
                    <a:pt x="13" y="183"/>
                  </a:lnTo>
                  <a:lnTo>
                    <a:pt x="11" y="185"/>
                  </a:lnTo>
                  <a:lnTo>
                    <a:pt x="11" y="185"/>
                  </a:lnTo>
                  <a:lnTo>
                    <a:pt x="10" y="185"/>
                  </a:lnTo>
                  <a:lnTo>
                    <a:pt x="8" y="185"/>
                  </a:lnTo>
                  <a:lnTo>
                    <a:pt x="6" y="185"/>
                  </a:lnTo>
                  <a:lnTo>
                    <a:pt x="4" y="185"/>
                  </a:lnTo>
                  <a:lnTo>
                    <a:pt x="2" y="183"/>
                  </a:lnTo>
                  <a:lnTo>
                    <a:pt x="2" y="185"/>
                  </a:lnTo>
                  <a:lnTo>
                    <a:pt x="2" y="185"/>
                  </a:lnTo>
                  <a:lnTo>
                    <a:pt x="2" y="186"/>
                  </a:lnTo>
                  <a:lnTo>
                    <a:pt x="2" y="188"/>
                  </a:lnTo>
                  <a:lnTo>
                    <a:pt x="2" y="188"/>
                  </a:lnTo>
                  <a:lnTo>
                    <a:pt x="0" y="190"/>
                  </a:lnTo>
                  <a:lnTo>
                    <a:pt x="0" y="190"/>
                  </a:lnTo>
                  <a:lnTo>
                    <a:pt x="2" y="190"/>
                  </a:lnTo>
                  <a:lnTo>
                    <a:pt x="2" y="192"/>
                  </a:lnTo>
                  <a:lnTo>
                    <a:pt x="2" y="192"/>
                  </a:lnTo>
                  <a:lnTo>
                    <a:pt x="2" y="192"/>
                  </a:lnTo>
                  <a:lnTo>
                    <a:pt x="2" y="192"/>
                  </a:lnTo>
                  <a:lnTo>
                    <a:pt x="2" y="194"/>
                  </a:lnTo>
                  <a:lnTo>
                    <a:pt x="2" y="194"/>
                  </a:lnTo>
                  <a:lnTo>
                    <a:pt x="2" y="194"/>
                  </a:lnTo>
                  <a:lnTo>
                    <a:pt x="4" y="196"/>
                  </a:lnTo>
                  <a:lnTo>
                    <a:pt x="8" y="196"/>
                  </a:lnTo>
                  <a:lnTo>
                    <a:pt x="17" y="200"/>
                  </a:lnTo>
                  <a:lnTo>
                    <a:pt x="19" y="200"/>
                  </a:lnTo>
                  <a:lnTo>
                    <a:pt x="21" y="202"/>
                  </a:lnTo>
                  <a:lnTo>
                    <a:pt x="21" y="202"/>
                  </a:lnTo>
                  <a:lnTo>
                    <a:pt x="23" y="202"/>
                  </a:lnTo>
                  <a:lnTo>
                    <a:pt x="23" y="204"/>
                  </a:lnTo>
                  <a:lnTo>
                    <a:pt x="25" y="204"/>
                  </a:lnTo>
                  <a:lnTo>
                    <a:pt x="25" y="204"/>
                  </a:lnTo>
                  <a:lnTo>
                    <a:pt x="27" y="207"/>
                  </a:lnTo>
                  <a:lnTo>
                    <a:pt x="30" y="209"/>
                  </a:lnTo>
                  <a:lnTo>
                    <a:pt x="29" y="211"/>
                  </a:lnTo>
                  <a:lnTo>
                    <a:pt x="23" y="215"/>
                  </a:lnTo>
                  <a:lnTo>
                    <a:pt x="23" y="215"/>
                  </a:lnTo>
                  <a:lnTo>
                    <a:pt x="21" y="219"/>
                  </a:lnTo>
                  <a:lnTo>
                    <a:pt x="21" y="219"/>
                  </a:lnTo>
                  <a:lnTo>
                    <a:pt x="21" y="221"/>
                  </a:lnTo>
                  <a:lnTo>
                    <a:pt x="21" y="221"/>
                  </a:lnTo>
                  <a:lnTo>
                    <a:pt x="21" y="221"/>
                  </a:lnTo>
                  <a:lnTo>
                    <a:pt x="23" y="221"/>
                  </a:lnTo>
                  <a:lnTo>
                    <a:pt x="25" y="221"/>
                  </a:lnTo>
                  <a:lnTo>
                    <a:pt x="25" y="221"/>
                  </a:lnTo>
                  <a:lnTo>
                    <a:pt x="27" y="221"/>
                  </a:lnTo>
                  <a:lnTo>
                    <a:pt x="27" y="221"/>
                  </a:lnTo>
                  <a:lnTo>
                    <a:pt x="29" y="221"/>
                  </a:lnTo>
                  <a:lnTo>
                    <a:pt x="29" y="221"/>
                  </a:lnTo>
                  <a:lnTo>
                    <a:pt x="30" y="221"/>
                  </a:lnTo>
                  <a:lnTo>
                    <a:pt x="32" y="221"/>
                  </a:lnTo>
                  <a:lnTo>
                    <a:pt x="38" y="221"/>
                  </a:lnTo>
                  <a:lnTo>
                    <a:pt x="40" y="221"/>
                  </a:lnTo>
                  <a:lnTo>
                    <a:pt x="40" y="221"/>
                  </a:lnTo>
                  <a:lnTo>
                    <a:pt x="44" y="219"/>
                  </a:lnTo>
                  <a:lnTo>
                    <a:pt x="44" y="217"/>
                  </a:lnTo>
                  <a:lnTo>
                    <a:pt x="44" y="217"/>
                  </a:lnTo>
                  <a:lnTo>
                    <a:pt x="44" y="219"/>
                  </a:lnTo>
                  <a:lnTo>
                    <a:pt x="44" y="221"/>
                  </a:lnTo>
                  <a:lnTo>
                    <a:pt x="44" y="221"/>
                  </a:lnTo>
                  <a:lnTo>
                    <a:pt x="44" y="223"/>
                  </a:lnTo>
                  <a:lnTo>
                    <a:pt x="44" y="223"/>
                  </a:lnTo>
                  <a:lnTo>
                    <a:pt x="44" y="225"/>
                  </a:lnTo>
                  <a:lnTo>
                    <a:pt x="44" y="225"/>
                  </a:lnTo>
                  <a:lnTo>
                    <a:pt x="44" y="226"/>
                  </a:lnTo>
                  <a:lnTo>
                    <a:pt x="46" y="226"/>
                  </a:lnTo>
                  <a:lnTo>
                    <a:pt x="46" y="226"/>
                  </a:lnTo>
                  <a:lnTo>
                    <a:pt x="46" y="228"/>
                  </a:lnTo>
                  <a:lnTo>
                    <a:pt x="48" y="232"/>
                  </a:lnTo>
                  <a:lnTo>
                    <a:pt x="48" y="234"/>
                  </a:lnTo>
                  <a:lnTo>
                    <a:pt x="50" y="234"/>
                  </a:lnTo>
                  <a:lnTo>
                    <a:pt x="50" y="234"/>
                  </a:lnTo>
                  <a:lnTo>
                    <a:pt x="50" y="236"/>
                  </a:lnTo>
                  <a:lnTo>
                    <a:pt x="50" y="236"/>
                  </a:lnTo>
                  <a:lnTo>
                    <a:pt x="50" y="236"/>
                  </a:lnTo>
                  <a:lnTo>
                    <a:pt x="50" y="238"/>
                  </a:lnTo>
                  <a:lnTo>
                    <a:pt x="48" y="238"/>
                  </a:lnTo>
                  <a:lnTo>
                    <a:pt x="48" y="238"/>
                  </a:lnTo>
                  <a:lnTo>
                    <a:pt x="46" y="236"/>
                  </a:lnTo>
                  <a:lnTo>
                    <a:pt x="46" y="236"/>
                  </a:lnTo>
                  <a:lnTo>
                    <a:pt x="44" y="236"/>
                  </a:lnTo>
                  <a:lnTo>
                    <a:pt x="44" y="236"/>
                  </a:lnTo>
                  <a:lnTo>
                    <a:pt x="44" y="238"/>
                  </a:lnTo>
                  <a:lnTo>
                    <a:pt x="42" y="238"/>
                  </a:lnTo>
                  <a:lnTo>
                    <a:pt x="42" y="238"/>
                  </a:lnTo>
                  <a:lnTo>
                    <a:pt x="42" y="240"/>
                  </a:lnTo>
                  <a:lnTo>
                    <a:pt x="42" y="242"/>
                  </a:lnTo>
                  <a:lnTo>
                    <a:pt x="42" y="242"/>
                  </a:lnTo>
                  <a:lnTo>
                    <a:pt x="42" y="244"/>
                  </a:lnTo>
                  <a:lnTo>
                    <a:pt x="44" y="245"/>
                  </a:lnTo>
                  <a:lnTo>
                    <a:pt x="44" y="247"/>
                  </a:lnTo>
                  <a:lnTo>
                    <a:pt x="46" y="247"/>
                  </a:lnTo>
                  <a:lnTo>
                    <a:pt x="51" y="249"/>
                  </a:lnTo>
                  <a:lnTo>
                    <a:pt x="55" y="251"/>
                  </a:lnTo>
                  <a:lnTo>
                    <a:pt x="55" y="253"/>
                  </a:lnTo>
                  <a:lnTo>
                    <a:pt x="57" y="253"/>
                  </a:lnTo>
                  <a:lnTo>
                    <a:pt x="57" y="255"/>
                  </a:lnTo>
                  <a:lnTo>
                    <a:pt x="57" y="255"/>
                  </a:lnTo>
                  <a:lnTo>
                    <a:pt x="57" y="257"/>
                  </a:lnTo>
                  <a:lnTo>
                    <a:pt x="59" y="257"/>
                  </a:lnTo>
                  <a:lnTo>
                    <a:pt x="59" y="259"/>
                  </a:lnTo>
                  <a:lnTo>
                    <a:pt x="59" y="259"/>
                  </a:lnTo>
                  <a:lnTo>
                    <a:pt x="61" y="259"/>
                  </a:lnTo>
                  <a:lnTo>
                    <a:pt x="61" y="259"/>
                  </a:lnTo>
                  <a:lnTo>
                    <a:pt x="61" y="259"/>
                  </a:lnTo>
                  <a:lnTo>
                    <a:pt x="61" y="261"/>
                  </a:lnTo>
                  <a:lnTo>
                    <a:pt x="61" y="263"/>
                  </a:lnTo>
                  <a:lnTo>
                    <a:pt x="61" y="263"/>
                  </a:lnTo>
                  <a:lnTo>
                    <a:pt x="61" y="264"/>
                  </a:lnTo>
                  <a:lnTo>
                    <a:pt x="61" y="266"/>
                  </a:lnTo>
                  <a:lnTo>
                    <a:pt x="61" y="268"/>
                  </a:lnTo>
                  <a:lnTo>
                    <a:pt x="61" y="270"/>
                  </a:lnTo>
                  <a:lnTo>
                    <a:pt x="59" y="272"/>
                  </a:lnTo>
                  <a:lnTo>
                    <a:pt x="59" y="272"/>
                  </a:lnTo>
                  <a:lnTo>
                    <a:pt x="57" y="272"/>
                  </a:lnTo>
                  <a:lnTo>
                    <a:pt x="55" y="272"/>
                  </a:lnTo>
                  <a:lnTo>
                    <a:pt x="55" y="274"/>
                  </a:lnTo>
                  <a:lnTo>
                    <a:pt x="55" y="274"/>
                  </a:lnTo>
                  <a:lnTo>
                    <a:pt x="55" y="282"/>
                  </a:lnTo>
                  <a:lnTo>
                    <a:pt x="55" y="287"/>
                  </a:lnTo>
                  <a:lnTo>
                    <a:pt x="55" y="287"/>
                  </a:lnTo>
                  <a:lnTo>
                    <a:pt x="55" y="287"/>
                  </a:lnTo>
                  <a:lnTo>
                    <a:pt x="55" y="289"/>
                  </a:lnTo>
                  <a:lnTo>
                    <a:pt x="53" y="293"/>
                  </a:lnTo>
                  <a:lnTo>
                    <a:pt x="55" y="295"/>
                  </a:lnTo>
                  <a:lnTo>
                    <a:pt x="55" y="295"/>
                  </a:lnTo>
                  <a:lnTo>
                    <a:pt x="55" y="297"/>
                  </a:lnTo>
                  <a:lnTo>
                    <a:pt x="57" y="299"/>
                  </a:lnTo>
                  <a:lnTo>
                    <a:pt x="57" y="299"/>
                  </a:lnTo>
                  <a:lnTo>
                    <a:pt x="57" y="301"/>
                  </a:lnTo>
                  <a:lnTo>
                    <a:pt x="57" y="302"/>
                  </a:lnTo>
                  <a:lnTo>
                    <a:pt x="57" y="304"/>
                  </a:lnTo>
                  <a:lnTo>
                    <a:pt x="57" y="304"/>
                  </a:lnTo>
                  <a:lnTo>
                    <a:pt x="57" y="306"/>
                  </a:lnTo>
                  <a:lnTo>
                    <a:pt x="59" y="306"/>
                  </a:lnTo>
                  <a:lnTo>
                    <a:pt x="61" y="308"/>
                  </a:lnTo>
                  <a:lnTo>
                    <a:pt x="63" y="308"/>
                  </a:lnTo>
                  <a:lnTo>
                    <a:pt x="65" y="310"/>
                  </a:lnTo>
                  <a:lnTo>
                    <a:pt x="65" y="312"/>
                  </a:lnTo>
                  <a:lnTo>
                    <a:pt x="65" y="312"/>
                  </a:lnTo>
                  <a:lnTo>
                    <a:pt x="67" y="312"/>
                  </a:lnTo>
                  <a:lnTo>
                    <a:pt x="67" y="312"/>
                  </a:lnTo>
                  <a:lnTo>
                    <a:pt x="69" y="312"/>
                  </a:lnTo>
                  <a:lnTo>
                    <a:pt x="69" y="312"/>
                  </a:lnTo>
                  <a:lnTo>
                    <a:pt x="70" y="312"/>
                  </a:lnTo>
                  <a:lnTo>
                    <a:pt x="74" y="310"/>
                  </a:lnTo>
                  <a:lnTo>
                    <a:pt x="78" y="306"/>
                  </a:lnTo>
                  <a:lnTo>
                    <a:pt x="78" y="306"/>
                  </a:lnTo>
                  <a:lnTo>
                    <a:pt x="80" y="304"/>
                  </a:lnTo>
                  <a:lnTo>
                    <a:pt x="84" y="302"/>
                  </a:lnTo>
                  <a:lnTo>
                    <a:pt x="88" y="302"/>
                  </a:lnTo>
                  <a:lnTo>
                    <a:pt x="90" y="301"/>
                  </a:lnTo>
                  <a:lnTo>
                    <a:pt x="91" y="302"/>
                  </a:lnTo>
                  <a:lnTo>
                    <a:pt x="91" y="302"/>
                  </a:lnTo>
                  <a:lnTo>
                    <a:pt x="93" y="306"/>
                  </a:lnTo>
                  <a:lnTo>
                    <a:pt x="93" y="306"/>
                  </a:lnTo>
                  <a:lnTo>
                    <a:pt x="95" y="308"/>
                  </a:lnTo>
                  <a:lnTo>
                    <a:pt x="95" y="310"/>
                  </a:lnTo>
                  <a:lnTo>
                    <a:pt x="95" y="312"/>
                  </a:lnTo>
                  <a:lnTo>
                    <a:pt x="95" y="314"/>
                  </a:lnTo>
                  <a:lnTo>
                    <a:pt x="97" y="314"/>
                  </a:lnTo>
                  <a:lnTo>
                    <a:pt x="97" y="314"/>
                  </a:lnTo>
                  <a:lnTo>
                    <a:pt x="97" y="314"/>
                  </a:lnTo>
                  <a:lnTo>
                    <a:pt x="97" y="316"/>
                  </a:lnTo>
                  <a:lnTo>
                    <a:pt x="97" y="318"/>
                  </a:lnTo>
                  <a:lnTo>
                    <a:pt x="93" y="327"/>
                  </a:lnTo>
                  <a:lnTo>
                    <a:pt x="93" y="327"/>
                  </a:lnTo>
                  <a:lnTo>
                    <a:pt x="93" y="329"/>
                  </a:lnTo>
                  <a:lnTo>
                    <a:pt x="93" y="331"/>
                  </a:lnTo>
                  <a:lnTo>
                    <a:pt x="95" y="337"/>
                  </a:lnTo>
                  <a:lnTo>
                    <a:pt x="95" y="339"/>
                  </a:lnTo>
                  <a:lnTo>
                    <a:pt x="95" y="341"/>
                  </a:lnTo>
                  <a:lnTo>
                    <a:pt x="93" y="344"/>
                  </a:lnTo>
                  <a:lnTo>
                    <a:pt x="93" y="346"/>
                  </a:lnTo>
                  <a:lnTo>
                    <a:pt x="93" y="346"/>
                  </a:lnTo>
                  <a:lnTo>
                    <a:pt x="93" y="350"/>
                  </a:lnTo>
                  <a:lnTo>
                    <a:pt x="93" y="352"/>
                  </a:lnTo>
                  <a:lnTo>
                    <a:pt x="93" y="354"/>
                  </a:lnTo>
                  <a:lnTo>
                    <a:pt x="93" y="356"/>
                  </a:lnTo>
                  <a:lnTo>
                    <a:pt x="90" y="371"/>
                  </a:lnTo>
                  <a:lnTo>
                    <a:pt x="90" y="371"/>
                  </a:lnTo>
                  <a:lnTo>
                    <a:pt x="90" y="371"/>
                  </a:lnTo>
                  <a:lnTo>
                    <a:pt x="90" y="373"/>
                  </a:lnTo>
                  <a:lnTo>
                    <a:pt x="90" y="373"/>
                  </a:lnTo>
                  <a:lnTo>
                    <a:pt x="90" y="373"/>
                  </a:lnTo>
                  <a:lnTo>
                    <a:pt x="91" y="373"/>
                  </a:lnTo>
                  <a:lnTo>
                    <a:pt x="91" y="373"/>
                  </a:lnTo>
                  <a:lnTo>
                    <a:pt x="91" y="373"/>
                  </a:lnTo>
                  <a:lnTo>
                    <a:pt x="93" y="373"/>
                  </a:lnTo>
                  <a:lnTo>
                    <a:pt x="93" y="375"/>
                  </a:lnTo>
                  <a:lnTo>
                    <a:pt x="93" y="375"/>
                  </a:lnTo>
                  <a:lnTo>
                    <a:pt x="95" y="375"/>
                  </a:lnTo>
                  <a:lnTo>
                    <a:pt x="95" y="375"/>
                  </a:lnTo>
                  <a:lnTo>
                    <a:pt x="95" y="375"/>
                  </a:lnTo>
                  <a:lnTo>
                    <a:pt x="101" y="373"/>
                  </a:lnTo>
                  <a:lnTo>
                    <a:pt x="101" y="373"/>
                  </a:lnTo>
                  <a:lnTo>
                    <a:pt x="103" y="373"/>
                  </a:lnTo>
                  <a:lnTo>
                    <a:pt x="103" y="373"/>
                  </a:lnTo>
                  <a:lnTo>
                    <a:pt x="105" y="373"/>
                  </a:lnTo>
                  <a:lnTo>
                    <a:pt x="105" y="375"/>
                  </a:lnTo>
                  <a:lnTo>
                    <a:pt x="105" y="377"/>
                  </a:lnTo>
                  <a:lnTo>
                    <a:pt x="107" y="377"/>
                  </a:lnTo>
                  <a:lnTo>
                    <a:pt x="109" y="380"/>
                  </a:lnTo>
                  <a:lnTo>
                    <a:pt x="109" y="382"/>
                  </a:lnTo>
                  <a:lnTo>
                    <a:pt x="109" y="384"/>
                  </a:lnTo>
                  <a:lnTo>
                    <a:pt x="107" y="386"/>
                  </a:lnTo>
                  <a:lnTo>
                    <a:pt x="107" y="388"/>
                  </a:lnTo>
                  <a:lnTo>
                    <a:pt x="105" y="388"/>
                  </a:lnTo>
                  <a:lnTo>
                    <a:pt x="103" y="396"/>
                  </a:lnTo>
                  <a:lnTo>
                    <a:pt x="101" y="399"/>
                  </a:lnTo>
                  <a:lnTo>
                    <a:pt x="95" y="417"/>
                  </a:lnTo>
                  <a:lnTo>
                    <a:pt x="93" y="420"/>
                  </a:lnTo>
                  <a:lnTo>
                    <a:pt x="91" y="424"/>
                  </a:lnTo>
                  <a:lnTo>
                    <a:pt x="88" y="426"/>
                  </a:lnTo>
                  <a:lnTo>
                    <a:pt x="88" y="426"/>
                  </a:lnTo>
                  <a:lnTo>
                    <a:pt x="88" y="428"/>
                  </a:lnTo>
                  <a:lnTo>
                    <a:pt x="88" y="428"/>
                  </a:lnTo>
                  <a:lnTo>
                    <a:pt x="90" y="434"/>
                  </a:lnTo>
                  <a:lnTo>
                    <a:pt x="91" y="438"/>
                  </a:lnTo>
                  <a:lnTo>
                    <a:pt x="91" y="438"/>
                  </a:lnTo>
                  <a:lnTo>
                    <a:pt x="93" y="439"/>
                  </a:lnTo>
                  <a:lnTo>
                    <a:pt x="95" y="439"/>
                  </a:lnTo>
                  <a:lnTo>
                    <a:pt x="95" y="441"/>
                  </a:lnTo>
                  <a:lnTo>
                    <a:pt x="95" y="441"/>
                  </a:lnTo>
                  <a:lnTo>
                    <a:pt x="95" y="441"/>
                  </a:lnTo>
                  <a:lnTo>
                    <a:pt x="95" y="441"/>
                  </a:lnTo>
                  <a:lnTo>
                    <a:pt x="93" y="447"/>
                  </a:lnTo>
                  <a:lnTo>
                    <a:pt x="90" y="453"/>
                  </a:lnTo>
                  <a:lnTo>
                    <a:pt x="88" y="455"/>
                  </a:lnTo>
                  <a:lnTo>
                    <a:pt x="88" y="457"/>
                  </a:lnTo>
                  <a:lnTo>
                    <a:pt x="88" y="457"/>
                  </a:lnTo>
                  <a:lnTo>
                    <a:pt x="90" y="458"/>
                  </a:lnTo>
                  <a:lnTo>
                    <a:pt x="90" y="458"/>
                  </a:lnTo>
                  <a:lnTo>
                    <a:pt x="90" y="460"/>
                  </a:lnTo>
                  <a:lnTo>
                    <a:pt x="90" y="460"/>
                  </a:lnTo>
                  <a:lnTo>
                    <a:pt x="90" y="462"/>
                  </a:lnTo>
                  <a:lnTo>
                    <a:pt x="90" y="462"/>
                  </a:lnTo>
                  <a:lnTo>
                    <a:pt x="91" y="464"/>
                  </a:lnTo>
                  <a:lnTo>
                    <a:pt x="95" y="466"/>
                  </a:lnTo>
                  <a:lnTo>
                    <a:pt x="97" y="468"/>
                  </a:lnTo>
                  <a:lnTo>
                    <a:pt x="97" y="470"/>
                  </a:lnTo>
                  <a:lnTo>
                    <a:pt x="97" y="470"/>
                  </a:lnTo>
                  <a:lnTo>
                    <a:pt x="97" y="472"/>
                  </a:lnTo>
                  <a:lnTo>
                    <a:pt x="97" y="474"/>
                  </a:lnTo>
                  <a:lnTo>
                    <a:pt x="95" y="474"/>
                  </a:lnTo>
                  <a:lnTo>
                    <a:pt x="95" y="476"/>
                  </a:lnTo>
                  <a:lnTo>
                    <a:pt x="93" y="477"/>
                  </a:lnTo>
                  <a:lnTo>
                    <a:pt x="93" y="477"/>
                  </a:lnTo>
                  <a:lnTo>
                    <a:pt x="91" y="477"/>
                  </a:lnTo>
                  <a:lnTo>
                    <a:pt x="91" y="476"/>
                  </a:lnTo>
                  <a:lnTo>
                    <a:pt x="91" y="476"/>
                  </a:lnTo>
                  <a:lnTo>
                    <a:pt x="91" y="476"/>
                  </a:lnTo>
                  <a:lnTo>
                    <a:pt x="91" y="476"/>
                  </a:lnTo>
                  <a:lnTo>
                    <a:pt x="91" y="476"/>
                  </a:lnTo>
                  <a:lnTo>
                    <a:pt x="91" y="477"/>
                  </a:lnTo>
                  <a:lnTo>
                    <a:pt x="91" y="477"/>
                  </a:lnTo>
                  <a:lnTo>
                    <a:pt x="91" y="481"/>
                  </a:lnTo>
                  <a:lnTo>
                    <a:pt x="91" y="481"/>
                  </a:lnTo>
                  <a:lnTo>
                    <a:pt x="91" y="483"/>
                  </a:lnTo>
                  <a:lnTo>
                    <a:pt x="91" y="483"/>
                  </a:lnTo>
                  <a:lnTo>
                    <a:pt x="90" y="487"/>
                  </a:lnTo>
                  <a:lnTo>
                    <a:pt x="88" y="489"/>
                  </a:lnTo>
                  <a:lnTo>
                    <a:pt x="88" y="489"/>
                  </a:lnTo>
                  <a:lnTo>
                    <a:pt x="88" y="489"/>
                  </a:lnTo>
                  <a:lnTo>
                    <a:pt x="88" y="491"/>
                  </a:lnTo>
                  <a:lnTo>
                    <a:pt x="88" y="491"/>
                  </a:lnTo>
                  <a:lnTo>
                    <a:pt x="88" y="493"/>
                  </a:lnTo>
                  <a:lnTo>
                    <a:pt x="88" y="493"/>
                  </a:lnTo>
                  <a:lnTo>
                    <a:pt x="86" y="493"/>
                  </a:lnTo>
                  <a:lnTo>
                    <a:pt x="86" y="493"/>
                  </a:lnTo>
                  <a:lnTo>
                    <a:pt x="84" y="493"/>
                  </a:lnTo>
                  <a:lnTo>
                    <a:pt x="84" y="493"/>
                  </a:lnTo>
                  <a:lnTo>
                    <a:pt x="82" y="493"/>
                  </a:lnTo>
                  <a:lnTo>
                    <a:pt x="82" y="495"/>
                  </a:lnTo>
                  <a:lnTo>
                    <a:pt x="82" y="495"/>
                  </a:lnTo>
                  <a:lnTo>
                    <a:pt x="84" y="495"/>
                  </a:lnTo>
                  <a:lnTo>
                    <a:pt x="93" y="504"/>
                  </a:lnTo>
                  <a:lnTo>
                    <a:pt x="93" y="504"/>
                  </a:lnTo>
                  <a:lnTo>
                    <a:pt x="95" y="504"/>
                  </a:lnTo>
                  <a:lnTo>
                    <a:pt x="99" y="506"/>
                  </a:lnTo>
                  <a:lnTo>
                    <a:pt x="99" y="506"/>
                  </a:lnTo>
                  <a:lnTo>
                    <a:pt x="101" y="508"/>
                  </a:lnTo>
                  <a:lnTo>
                    <a:pt x="101" y="508"/>
                  </a:lnTo>
                  <a:lnTo>
                    <a:pt x="114" y="512"/>
                  </a:lnTo>
                  <a:lnTo>
                    <a:pt x="118" y="514"/>
                  </a:lnTo>
                  <a:lnTo>
                    <a:pt x="124" y="514"/>
                  </a:lnTo>
                  <a:lnTo>
                    <a:pt x="124" y="510"/>
                  </a:lnTo>
                  <a:lnTo>
                    <a:pt x="128" y="508"/>
                  </a:lnTo>
                  <a:lnTo>
                    <a:pt x="131" y="506"/>
                  </a:lnTo>
                  <a:lnTo>
                    <a:pt x="141" y="504"/>
                  </a:lnTo>
                  <a:lnTo>
                    <a:pt x="143" y="504"/>
                  </a:lnTo>
                  <a:lnTo>
                    <a:pt x="145" y="500"/>
                  </a:lnTo>
                  <a:lnTo>
                    <a:pt x="147" y="498"/>
                  </a:lnTo>
                  <a:lnTo>
                    <a:pt x="164" y="489"/>
                  </a:lnTo>
                  <a:lnTo>
                    <a:pt x="168" y="487"/>
                  </a:lnTo>
                  <a:lnTo>
                    <a:pt x="170" y="487"/>
                  </a:lnTo>
                  <a:lnTo>
                    <a:pt x="170" y="485"/>
                  </a:lnTo>
                  <a:lnTo>
                    <a:pt x="171" y="479"/>
                  </a:lnTo>
                  <a:lnTo>
                    <a:pt x="171" y="479"/>
                  </a:lnTo>
                  <a:lnTo>
                    <a:pt x="175" y="477"/>
                  </a:lnTo>
                  <a:lnTo>
                    <a:pt x="175" y="476"/>
                  </a:lnTo>
                  <a:lnTo>
                    <a:pt x="175" y="476"/>
                  </a:lnTo>
                  <a:lnTo>
                    <a:pt x="177" y="466"/>
                  </a:lnTo>
                  <a:lnTo>
                    <a:pt x="177" y="462"/>
                  </a:lnTo>
                  <a:lnTo>
                    <a:pt x="175" y="458"/>
                  </a:lnTo>
                  <a:lnTo>
                    <a:pt x="177" y="458"/>
                  </a:lnTo>
                  <a:lnTo>
                    <a:pt x="177" y="458"/>
                  </a:lnTo>
                  <a:lnTo>
                    <a:pt x="177" y="457"/>
                  </a:lnTo>
                  <a:lnTo>
                    <a:pt x="179" y="455"/>
                  </a:lnTo>
                  <a:lnTo>
                    <a:pt x="179" y="453"/>
                  </a:lnTo>
                  <a:lnTo>
                    <a:pt x="179" y="453"/>
                  </a:lnTo>
                  <a:lnTo>
                    <a:pt x="181" y="451"/>
                  </a:lnTo>
                  <a:lnTo>
                    <a:pt x="183" y="451"/>
                  </a:lnTo>
                  <a:lnTo>
                    <a:pt x="185" y="449"/>
                  </a:lnTo>
                  <a:lnTo>
                    <a:pt x="183" y="447"/>
                  </a:lnTo>
                  <a:lnTo>
                    <a:pt x="183" y="449"/>
                  </a:lnTo>
                  <a:lnTo>
                    <a:pt x="181" y="449"/>
                  </a:lnTo>
                  <a:lnTo>
                    <a:pt x="181" y="449"/>
                  </a:lnTo>
                  <a:lnTo>
                    <a:pt x="179" y="451"/>
                  </a:lnTo>
                  <a:lnTo>
                    <a:pt x="179" y="449"/>
                  </a:lnTo>
                  <a:lnTo>
                    <a:pt x="181" y="447"/>
                  </a:lnTo>
                  <a:lnTo>
                    <a:pt x="181" y="439"/>
                  </a:lnTo>
                  <a:lnTo>
                    <a:pt x="181" y="439"/>
                  </a:lnTo>
                  <a:lnTo>
                    <a:pt x="185" y="434"/>
                  </a:lnTo>
                  <a:lnTo>
                    <a:pt x="187" y="430"/>
                  </a:lnTo>
                  <a:lnTo>
                    <a:pt x="198" y="420"/>
                  </a:lnTo>
                  <a:lnTo>
                    <a:pt x="202" y="418"/>
                  </a:lnTo>
                  <a:lnTo>
                    <a:pt x="206" y="417"/>
                  </a:lnTo>
                  <a:lnTo>
                    <a:pt x="210" y="415"/>
                  </a:lnTo>
                  <a:lnTo>
                    <a:pt x="221" y="415"/>
                  </a:lnTo>
                  <a:lnTo>
                    <a:pt x="223" y="415"/>
                  </a:lnTo>
                  <a:lnTo>
                    <a:pt x="225" y="413"/>
                  </a:lnTo>
                  <a:lnTo>
                    <a:pt x="225" y="413"/>
                  </a:lnTo>
                  <a:lnTo>
                    <a:pt x="225" y="411"/>
                  </a:lnTo>
                  <a:lnTo>
                    <a:pt x="227" y="411"/>
                  </a:lnTo>
                  <a:lnTo>
                    <a:pt x="231" y="409"/>
                  </a:lnTo>
                  <a:lnTo>
                    <a:pt x="232" y="409"/>
                  </a:lnTo>
                  <a:lnTo>
                    <a:pt x="234" y="409"/>
                  </a:lnTo>
                  <a:lnTo>
                    <a:pt x="234" y="407"/>
                  </a:lnTo>
                  <a:lnTo>
                    <a:pt x="236" y="407"/>
                  </a:lnTo>
                  <a:lnTo>
                    <a:pt x="240" y="405"/>
                  </a:lnTo>
                  <a:lnTo>
                    <a:pt x="242" y="405"/>
                  </a:lnTo>
                  <a:lnTo>
                    <a:pt x="244" y="403"/>
                  </a:lnTo>
                  <a:lnTo>
                    <a:pt x="248" y="403"/>
                  </a:lnTo>
                  <a:lnTo>
                    <a:pt x="248" y="403"/>
                  </a:lnTo>
                  <a:lnTo>
                    <a:pt x="248" y="403"/>
                  </a:lnTo>
                  <a:lnTo>
                    <a:pt x="250" y="403"/>
                  </a:lnTo>
                  <a:lnTo>
                    <a:pt x="250" y="403"/>
                  </a:lnTo>
                  <a:lnTo>
                    <a:pt x="252" y="401"/>
                  </a:lnTo>
                  <a:lnTo>
                    <a:pt x="253" y="401"/>
                  </a:lnTo>
                  <a:lnTo>
                    <a:pt x="255" y="401"/>
                  </a:lnTo>
                  <a:lnTo>
                    <a:pt x="259" y="401"/>
                  </a:lnTo>
                  <a:lnTo>
                    <a:pt x="263" y="403"/>
                  </a:lnTo>
                  <a:lnTo>
                    <a:pt x="265" y="403"/>
                  </a:lnTo>
                  <a:lnTo>
                    <a:pt x="265" y="403"/>
                  </a:lnTo>
                  <a:lnTo>
                    <a:pt x="269" y="403"/>
                  </a:lnTo>
                  <a:lnTo>
                    <a:pt x="272" y="401"/>
                  </a:lnTo>
                  <a:lnTo>
                    <a:pt x="274" y="401"/>
                  </a:lnTo>
                  <a:lnTo>
                    <a:pt x="274" y="403"/>
                  </a:lnTo>
                  <a:lnTo>
                    <a:pt x="276" y="401"/>
                  </a:lnTo>
                  <a:lnTo>
                    <a:pt x="278" y="403"/>
                  </a:lnTo>
                  <a:lnTo>
                    <a:pt x="284" y="403"/>
                  </a:lnTo>
                  <a:lnTo>
                    <a:pt x="290" y="407"/>
                  </a:lnTo>
                  <a:lnTo>
                    <a:pt x="295" y="413"/>
                  </a:lnTo>
                  <a:lnTo>
                    <a:pt x="297" y="413"/>
                  </a:lnTo>
                  <a:lnTo>
                    <a:pt x="299" y="413"/>
                  </a:lnTo>
                  <a:lnTo>
                    <a:pt x="297" y="411"/>
                  </a:lnTo>
                  <a:lnTo>
                    <a:pt x="290" y="405"/>
                  </a:lnTo>
                  <a:lnTo>
                    <a:pt x="290" y="405"/>
                  </a:lnTo>
                  <a:lnTo>
                    <a:pt x="288" y="403"/>
                  </a:lnTo>
                  <a:lnTo>
                    <a:pt x="288" y="403"/>
                  </a:lnTo>
                  <a:lnTo>
                    <a:pt x="288" y="403"/>
                  </a:lnTo>
                  <a:lnTo>
                    <a:pt x="288" y="401"/>
                  </a:lnTo>
                  <a:lnTo>
                    <a:pt x="288" y="401"/>
                  </a:lnTo>
                  <a:lnTo>
                    <a:pt x="288" y="399"/>
                  </a:lnTo>
                  <a:lnTo>
                    <a:pt x="288" y="399"/>
                  </a:lnTo>
                  <a:lnTo>
                    <a:pt x="288" y="399"/>
                  </a:lnTo>
                  <a:lnTo>
                    <a:pt x="288" y="398"/>
                  </a:lnTo>
                  <a:lnTo>
                    <a:pt x="286" y="398"/>
                  </a:lnTo>
                  <a:lnTo>
                    <a:pt x="284" y="398"/>
                  </a:lnTo>
                  <a:lnTo>
                    <a:pt x="282" y="399"/>
                  </a:lnTo>
                  <a:lnTo>
                    <a:pt x="280" y="399"/>
                  </a:lnTo>
                  <a:lnTo>
                    <a:pt x="267" y="399"/>
                  </a:lnTo>
                  <a:lnTo>
                    <a:pt x="263" y="399"/>
                  </a:lnTo>
                  <a:lnTo>
                    <a:pt x="261" y="398"/>
                  </a:lnTo>
                  <a:lnTo>
                    <a:pt x="253" y="392"/>
                  </a:lnTo>
                  <a:lnTo>
                    <a:pt x="250" y="388"/>
                  </a:lnTo>
                  <a:lnTo>
                    <a:pt x="250" y="384"/>
                  </a:lnTo>
                  <a:lnTo>
                    <a:pt x="248" y="382"/>
                  </a:lnTo>
                  <a:lnTo>
                    <a:pt x="250" y="379"/>
                  </a:lnTo>
                  <a:lnTo>
                    <a:pt x="250" y="375"/>
                  </a:lnTo>
                  <a:lnTo>
                    <a:pt x="252" y="373"/>
                  </a:lnTo>
                  <a:lnTo>
                    <a:pt x="252" y="371"/>
                  </a:lnTo>
                  <a:lnTo>
                    <a:pt x="253" y="369"/>
                  </a:lnTo>
                  <a:lnTo>
                    <a:pt x="253" y="369"/>
                  </a:lnTo>
                  <a:lnTo>
                    <a:pt x="253" y="369"/>
                  </a:lnTo>
                  <a:lnTo>
                    <a:pt x="255" y="367"/>
                  </a:lnTo>
                  <a:lnTo>
                    <a:pt x="255" y="367"/>
                  </a:lnTo>
                  <a:lnTo>
                    <a:pt x="255" y="365"/>
                  </a:lnTo>
                  <a:lnTo>
                    <a:pt x="255" y="365"/>
                  </a:lnTo>
                  <a:lnTo>
                    <a:pt x="261" y="358"/>
                  </a:lnTo>
                  <a:lnTo>
                    <a:pt x="263" y="354"/>
                  </a:lnTo>
                  <a:lnTo>
                    <a:pt x="265" y="352"/>
                  </a:lnTo>
                  <a:lnTo>
                    <a:pt x="267" y="350"/>
                  </a:lnTo>
                  <a:lnTo>
                    <a:pt x="267" y="350"/>
                  </a:lnTo>
                  <a:lnTo>
                    <a:pt x="269" y="348"/>
                  </a:lnTo>
                  <a:lnTo>
                    <a:pt x="269" y="344"/>
                  </a:lnTo>
                  <a:lnTo>
                    <a:pt x="274" y="337"/>
                  </a:lnTo>
                  <a:lnTo>
                    <a:pt x="278" y="333"/>
                  </a:lnTo>
                  <a:lnTo>
                    <a:pt x="282" y="331"/>
                  </a:lnTo>
                  <a:lnTo>
                    <a:pt x="280" y="329"/>
                  </a:lnTo>
                  <a:lnTo>
                    <a:pt x="278" y="325"/>
                  </a:lnTo>
                  <a:lnTo>
                    <a:pt x="278" y="320"/>
                  </a:lnTo>
                  <a:lnTo>
                    <a:pt x="278" y="318"/>
                  </a:lnTo>
                  <a:lnTo>
                    <a:pt x="278" y="318"/>
                  </a:lnTo>
                  <a:lnTo>
                    <a:pt x="280" y="316"/>
                  </a:lnTo>
                  <a:lnTo>
                    <a:pt x="280" y="316"/>
                  </a:lnTo>
                  <a:lnTo>
                    <a:pt x="282" y="316"/>
                  </a:lnTo>
                  <a:lnTo>
                    <a:pt x="282" y="314"/>
                  </a:lnTo>
                  <a:lnTo>
                    <a:pt x="282" y="312"/>
                  </a:lnTo>
                  <a:lnTo>
                    <a:pt x="282" y="312"/>
                  </a:lnTo>
                  <a:lnTo>
                    <a:pt x="282" y="310"/>
                  </a:lnTo>
                  <a:lnTo>
                    <a:pt x="284" y="308"/>
                  </a:lnTo>
                  <a:lnTo>
                    <a:pt x="290" y="306"/>
                  </a:lnTo>
                  <a:lnTo>
                    <a:pt x="292" y="304"/>
                  </a:lnTo>
                  <a:lnTo>
                    <a:pt x="293" y="304"/>
                  </a:lnTo>
                  <a:lnTo>
                    <a:pt x="295" y="304"/>
                  </a:lnTo>
                  <a:lnTo>
                    <a:pt x="297" y="304"/>
                  </a:lnTo>
                  <a:lnTo>
                    <a:pt x="299" y="304"/>
                  </a:lnTo>
                  <a:lnTo>
                    <a:pt x="303" y="304"/>
                  </a:lnTo>
                  <a:lnTo>
                    <a:pt x="305" y="304"/>
                  </a:lnTo>
                  <a:lnTo>
                    <a:pt x="305" y="302"/>
                  </a:lnTo>
                  <a:lnTo>
                    <a:pt x="305" y="302"/>
                  </a:lnTo>
                  <a:lnTo>
                    <a:pt x="309" y="302"/>
                  </a:lnTo>
                  <a:lnTo>
                    <a:pt x="311" y="302"/>
                  </a:lnTo>
                  <a:lnTo>
                    <a:pt x="312" y="302"/>
                  </a:lnTo>
                  <a:lnTo>
                    <a:pt x="312" y="302"/>
                  </a:lnTo>
                  <a:lnTo>
                    <a:pt x="309" y="304"/>
                  </a:lnTo>
                  <a:lnTo>
                    <a:pt x="309" y="304"/>
                  </a:lnTo>
                  <a:lnTo>
                    <a:pt x="309" y="304"/>
                  </a:lnTo>
                  <a:lnTo>
                    <a:pt x="307" y="304"/>
                  </a:lnTo>
                  <a:lnTo>
                    <a:pt x="307" y="306"/>
                  </a:lnTo>
                  <a:lnTo>
                    <a:pt x="309" y="306"/>
                  </a:lnTo>
                  <a:lnTo>
                    <a:pt x="309" y="306"/>
                  </a:lnTo>
                  <a:lnTo>
                    <a:pt x="311" y="306"/>
                  </a:lnTo>
                  <a:lnTo>
                    <a:pt x="326" y="310"/>
                  </a:lnTo>
                  <a:lnTo>
                    <a:pt x="328" y="310"/>
                  </a:lnTo>
                  <a:lnTo>
                    <a:pt x="328" y="308"/>
                  </a:lnTo>
                  <a:lnTo>
                    <a:pt x="326" y="308"/>
                  </a:lnTo>
                  <a:lnTo>
                    <a:pt x="324" y="306"/>
                  </a:lnTo>
                  <a:lnTo>
                    <a:pt x="322" y="306"/>
                  </a:lnTo>
                  <a:lnTo>
                    <a:pt x="320" y="306"/>
                  </a:lnTo>
                  <a:lnTo>
                    <a:pt x="320" y="306"/>
                  </a:lnTo>
                  <a:lnTo>
                    <a:pt x="318" y="306"/>
                  </a:lnTo>
                  <a:lnTo>
                    <a:pt x="318" y="304"/>
                  </a:lnTo>
                  <a:lnTo>
                    <a:pt x="316" y="304"/>
                  </a:lnTo>
                  <a:lnTo>
                    <a:pt x="314" y="304"/>
                  </a:lnTo>
                  <a:lnTo>
                    <a:pt x="312" y="304"/>
                  </a:lnTo>
                  <a:lnTo>
                    <a:pt x="314" y="304"/>
                  </a:lnTo>
                  <a:lnTo>
                    <a:pt x="314" y="302"/>
                  </a:lnTo>
                  <a:lnTo>
                    <a:pt x="326" y="304"/>
                  </a:lnTo>
                  <a:lnTo>
                    <a:pt x="328" y="306"/>
                  </a:lnTo>
                  <a:lnTo>
                    <a:pt x="328" y="308"/>
                  </a:lnTo>
                  <a:lnTo>
                    <a:pt x="330" y="308"/>
                  </a:lnTo>
                  <a:lnTo>
                    <a:pt x="332" y="308"/>
                  </a:lnTo>
                  <a:lnTo>
                    <a:pt x="333" y="308"/>
                  </a:lnTo>
                  <a:lnTo>
                    <a:pt x="335" y="308"/>
                  </a:lnTo>
                  <a:lnTo>
                    <a:pt x="335" y="306"/>
                  </a:lnTo>
                  <a:lnTo>
                    <a:pt x="335" y="299"/>
                  </a:lnTo>
                  <a:lnTo>
                    <a:pt x="335" y="282"/>
                  </a:lnTo>
                  <a:lnTo>
                    <a:pt x="335" y="278"/>
                  </a:lnTo>
                  <a:lnTo>
                    <a:pt x="335" y="263"/>
                  </a:lnTo>
                  <a:lnTo>
                    <a:pt x="335" y="259"/>
                  </a:lnTo>
                  <a:lnTo>
                    <a:pt x="333" y="259"/>
                  </a:lnTo>
                  <a:lnTo>
                    <a:pt x="332" y="257"/>
                  </a:lnTo>
                  <a:lnTo>
                    <a:pt x="332" y="257"/>
                  </a:lnTo>
                  <a:lnTo>
                    <a:pt x="332" y="257"/>
                  </a:lnTo>
                  <a:lnTo>
                    <a:pt x="330" y="255"/>
                  </a:lnTo>
                  <a:lnTo>
                    <a:pt x="330" y="255"/>
                  </a:lnTo>
                  <a:lnTo>
                    <a:pt x="330" y="255"/>
                  </a:lnTo>
                  <a:lnTo>
                    <a:pt x="330" y="253"/>
                  </a:lnTo>
                  <a:lnTo>
                    <a:pt x="330" y="253"/>
                  </a:lnTo>
                  <a:lnTo>
                    <a:pt x="332" y="253"/>
                  </a:lnTo>
                  <a:lnTo>
                    <a:pt x="332" y="253"/>
                  </a:lnTo>
                  <a:lnTo>
                    <a:pt x="330" y="251"/>
                  </a:lnTo>
                  <a:lnTo>
                    <a:pt x="330" y="251"/>
                  </a:lnTo>
                  <a:lnTo>
                    <a:pt x="330" y="251"/>
                  </a:lnTo>
                  <a:lnTo>
                    <a:pt x="328" y="253"/>
                  </a:lnTo>
                  <a:lnTo>
                    <a:pt x="328" y="251"/>
                  </a:lnTo>
                  <a:lnTo>
                    <a:pt x="328" y="251"/>
                  </a:lnTo>
                  <a:lnTo>
                    <a:pt x="328" y="251"/>
                  </a:lnTo>
                  <a:lnTo>
                    <a:pt x="328" y="251"/>
                  </a:lnTo>
                  <a:lnTo>
                    <a:pt x="326" y="251"/>
                  </a:lnTo>
                  <a:lnTo>
                    <a:pt x="326" y="251"/>
                  </a:lnTo>
                  <a:lnTo>
                    <a:pt x="326" y="251"/>
                  </a:lnTo>
                  <a:lnTo>
                    <a:pt x="324" y="249"/>
                  </a:lnTo>
                  <a:lnTo>
                    <a:pt x="324" y="249"/>
                  </a:lnTo>
                  <a:lnTo>
                    <a:pt x="324" y="249"/>
                  </a:lnTo>
                  <a:lnTo>
                    <a:pt x="322" y="249"/>
                  </a:lnTo>
                  <a:lnTo>
                    <a:pt x="322" y="249"/>
                  </a:lnTo>
                  <a:lnTo>
                    <a:pt x="322" y="247"/>
                  </a:lnTo>
                  <a:lnTo>
                    <a:pt x="322" y="247"/>
                  </a:lnTo>
                  <a:lnTo>
                    <a:pt x="322" y="245"/>
                  </a:lnTo>
                  <a:lnTo>
                    <a:pt x="322" y="245"/>
                  </a:lnTo>
                  <a:lnTo>
                    <a:pt x="322" y="245"/>
                  </a:lnTo>
                  <a:lnTo>
                    <a:pt x="322" y="245"/>
                  </a:lnTo>
                  <a:lnTo>
                    <a:pt x="324" y="245"/>
                  </a:lnTo>
                  <a:lnTo>
                    <a:pt x="324" y="245"/>
                  </a:lnTo>
                  <a:lnTo>
                    <a:pt x="324" y="245"/>
                  </a:lnTo>
                  <a:lnTo>
                    <a:pt x="326" y="245"/>
                  </a:lnTo>
                  <a:lnTo>
                    <a:pt x="326" y="245"/>
                  </a:lnTo>
                  <a:lnTo>
                    <a:pt x="326" y="244"/>
                  </a:lnTo>
                  <a:lnTo>
                    <a:pt x="324" y="244"/>
                  </a:lnTo>
                  <a:lnTo>
                    <a:pt x="324" y="244"/>
                  </a:lnTo>
                  <a:lnTo>
                    <a:pt x="324" y="242"/>
                  </a:lnTo>
                  <a:lnTo>
                    <a:pt x="324" y="242"/>
                  </a:lnTo>
                  <a:lnTo>
                    <a:pt x="324" y="242"/>
                  </a:lnTo>
                  <a:lnTo>
                    <a:pt x="326" y="242"/>
                  </a:lnTo>
                  <a:lnTo>
                    <a:pt x="328" y="244"/>
                  </a:lnTo>
                  <a:lnTo>
                    <a:pt x="330" y="244"/>
                  </a:lnTo>
                  <a:lnTo>
                    <a:pt x="330" y="242"/>
                  </a:lnTo>
                  <a:lnTo>
                    <a:pt x="332" y="242"/>
                  </a:lnTo>
                  <a:lnTo>
                    <a:pt x="333" y="242"/>
                  </a:lnTo>
                  <a:lnTo>
                    <a:pt x="335" y="242"/>
                  </a:lnTo>
                  <a:lnTo>
                    <a:pt x="335" y="242"/>
                  </a:lnTo>
                  <a:lnTo>
                    <a:pt x="335" y="240"/>
                  </a:lnTo>
                  <a:lnTo>
                    <a:pt x="335" y="225"/>
                  </a:lnTo>
                  <a:lnTo>
                    <a:pt x="333" y="215"/>
                  </a:lnTo>
                  <a:lnTo>
                    <a:pt x="333" y="207"/>
                  </a:lnTo>
                  <a:lnTo>
                    <a:pt x="333" y="207"/>
                  </a:lnTo>
                  <a:lnTo>
                    <a:pt x="333" y="207"/>
                  </a:lnTo>
                  <a:lnTo>
                    <a:pt x="330" y="205"/>
                  </a:lnTo>
                  <a:lnTo>
                    <a:pt x="328" y="205"/>
                  </a:lnTo>
                  <a:lnTo>
                    <a:pt x="326" y="207"/>
                  </a:lnTo>
                  <a:lnTo>
                    <a:pt x="326" y="207"/>
                  </a:lnTo>
                  <a:lnTo>
                    <a:pt x="326" y="209"/>
                  </a:lnTo>
                  <a:lnTo>
                    <a:pt x="320" y="211"/>
                  </a:lnTo>
                  <a:lnTo>
                    <a:pt x="320" y="213"/>
                  </a:lnTo>
                  <a:lnTo>
                    <a:pt x="318" y="213"/>
                  </a:lnTo>
                  <a:lnTo>
                    <a:pt x="320" y="211"/>
                  </a:lnTo>
                  <a:lnTo>
                    <a:pt x="324" y="205"/>
                  </a:lnTo>
                  <a:lnTo>
                    <a:pt x="326" y="205"/>
                  </a:lnTo>
                  <a:lnTo>
                    <a:pt x="326" y="205"/>
                  </a:lnTo>
                  <a:lnTo>
                    <a:pt x="328" y="204"/>
                  </a:lnTo>
                  <a:lnTo>
                    <a:pt x="328" y="204"/>
                  </a:lnTo>
                  <a:lnTo>
                    <a:pt x="330" y="204"/>
                  </a:lnTo>
                  <a:lnTo>
                    <a:pt x="332" y="204"/>
                  </a:lnTo>
                  <a:lnTo>
                    <a:pt x="332" y="204"/>
                  </a:lnTo>
                  <a:lnTo>
                    <a:pt x="332" y="204"/>
                  </a:lnTo>
                  <a:lnTo>
                    <a:pt x="332" y="198"/>
                  </a:lnTo>
                  <a:lnTo>
                    <a:pt x="332" y="198"/>
                  </a:lnTo>
                  <a:lnTo>
                    <a:pt x="330" y="198"/>
                  </a:lnTo>
                  <a:lnTo>
                    <a:pt x="330" y="198"/>
                  </a:lnTo>
                  <a:lnTo>
                    <a:pt x="330" y="198"/>
                  </a:lnTo>
                  <a:lnTo>
                    <a:pt x="330" y="200"/>
                  </a:lnTo>
                  <a:lnTo>
                    <a:pt x="330" y="200"/>
                  </a:lnTo>
                  <a:lnTo>
                    <a:pt x="330" y="200"/>
                  </a:lnTo>
                  <a:lnTo>
                    <a:pt x="328" y="196"/>
                  </a:lnTo>
                  <a:lnTo>
                    <a:pt x="326" y="190"/>
                  </a:lnTo>
                  <a:lnTo>
                    <a:pt x="326" y="186"/>
                  </a:lnTo>
                  <a:lnTo>
                    <a:pt x="326" y="185"/>
                  </a:lnTo>
                  <a:lnTo>
                    <a:pt x="328" y="181"/>
                  </a:lnTo>
                  <a:lnTo>
                    <a:pt x="328" y="177"/>
                  </a:lnTo>
                  <a:lnTo>
                    <a:pt x="330" y="167"/>
                  </a:lnTo>
                  <a:lnTo>
                    <a:pt x="330" y="166"/>
                  </a:lnTo>
                  <a:lnTo>
                    <a:pt x="332" y="166"/>
                  </a:lnTo>
                  <a:lnTo>
                    <a:pt x="332" y="162"/>
                  </a:lnTo>
                  <a:lnTo>
                    <a:pt x="332" y="162"/>
                  </a:lnTo>
                  <a:lnTo>
                    <a:pt x="328" y="162"/>
                  </a:lnTo>
                  <a:lnTo>
                    <a:pt x="326" y="162"/>
                  </a:lnTo>
                  <a:lnTo>
                    <a:pt x="326" y="162"/>
                  </a:lnTo>
                  <a:lnTo>
                    <a:pt x="326" y="162"/>
                  </a:lnTo>
                  <a:lnTo>
                    <a:pt x="326" y="162"/>
                  </a:lnTo>
                  <a:lnTo>
                    <a:pt x="324" y="162"/>
                  </a:lnTo>
                  <a:lnTo>
                    <a:pt x="324" y="162"/>
                  </a:lnTo>
                  <a:lnTo>
                    <a:pt x="324" y="162"/>
                  </a:lnTo>
                  <a:lnTo>
                    <a:pt x="322" y="160"/>
                  </a:lnTo>
                  <a:lnTo>
                    <a:pt x="322" y="160"/>
                  </a:lnTo>
                  <a:lnTo>
                    <a:pt x="322" y="160"/>
                  </a:lnTo>
                  <a:lnTo>
                    <a:pt x="322" y="160"/>
                  </a:lnTo>
                  <a:lnTo>
                    <a:pt x="322" y="160"/>
                  </a:lnTo>
                  <a:lnTo>
                    <a:pt x="322" y="158"/>
                  </a:lnTo>
                  <a:lnTo>
                    <a:pt x="322" y="158"/>
                  </a:lnTo>
                  <a:lnTo>
                    <a:pt x="322" y="156"/>
                  </a:lnTo>
                  <a:lnTo>
                    <a:pt x="322" y="156"/>
                  </a:lnTo>
                  <a:lnTo>
                    <a:pt x="322" y="154"/>
                  </a:lnTo>
                  <a:lnTo>
                    <a:pt x="322" y="154"/>
                  </a:lnTo>
                  <a:lnTo>
                    <a:pt x="322" y="154"/>
                  </a:lnTo>
                  <a:lnTo>
                    <a:pt x="320" y="154"/>
                  </a:lnTo>
                  <a:lnTo>
                    <a:pt x="320" y="152"/>
                  </a:lnTo>
                  <a:lnTo>
                    <a:pt x="320" y="152"/>
                  </a:lnTo>
                  <a:lnTo>
                    <a:pt x="320" y="152"/>
                  </a:lnTo>
                  <a:lnTo>
                    <a:pt x="320" y="152"/>
                  </a:lnTo>
                  <a:lnTo>
                    <a:pt x="320" y="150"/>
                  </a:lnTo>
                  <a:lnTo>
                    <a:pt x="320" y="150"/>
                  </a:lnTo>
                  <a:lnTo>
                    <a:pt x="318" y="148"/>
                  </a:lnTo>
                  <a:lnTo>
                    <a:pt x="318" y="148"/>
                  </a:lnTo>
                  <a:lnTo>
                    <a:pt x="318" y="148"/>
                  </a:lnTo>
                  <a:lnTo>
                    <a:pt x="318" y="147"/>
                  </a:lnTo>
                  <a:lnTo>
                    <a:pt x="320" y="147"/>
                  </a:lnTo>
                  <a:lnTo>
                    <a:pt x="320" y="147"/>
                  </a:lnTo>
                  <a:lnTo>
                    <a:pt x="320" y="147"/>
                  </a:lnTo>
                  <a:lnTo>
                    <a:pt x="320" y="147"/>
                  </a:lnTo>
                  <a:lnTo>
                    <a:pt x="320" y="147"/>
                  </a:lnTo>
                  <a:lnTo>
                    <a:pt x="322" y="147"/>
                  </a:lnTo>
                  <a:lnTo>
                    <a:pt x="322" y="148"/>
                  </a:lnTo>
                  <a:lnTo>
                    <a:pt x="324" y="148"/>
                  </a:lnTo>
                  <a:lnTo>
                    <a:pt x="324" y="148"/>
                  </a:lnTo>
                  <a:lnTo>
                    <a:pt x="326" y="148"/>
                  </a:lnTo>
                  <a:lnTo>
                    <a:pt x="328" y="148"/>
                  </a:lnTo>
                  <a:lnTo>
                    <a:pt x="328" y="148"/>
                  </a:lnTo>
                  <a:lnTo>
                    <a:pt x="328" y="148"/>
                  </a:lnTo>
                  <a:lnTo>
                    <a:pt x="328" y="150"/>
                  </a:lnTo>
                  <a:lnTo>
                    <a:pt x="328" y="150"/>
                  </a:lnTo>
                  <a:lnTo>
                    <a:pt x="326" y="152"/>
                  </a:lnTo>
                  <a:lnTo>
                    <a:pt x="326" y="152"/>
                  </a:lnTo>
                  <a:lnTo>
                    <a:pt x="326" y="152"/>
                  </a:lnTo>
                  <a:lnTo>
                    <a:pt x="326" y="152"/>
                  </a:lnTo>
                  <a:lnTo>
                    <a:pt x="328" y="152"/>
                  </a:lnTo>
                  <a:lnTo>
                    <a:pt x="328" y="154"/>
                  </a:lnTo>
                  <a:lnTo>
                    <a:pt x="328" y="154"/>
                  </a:lnTo>
                  <a:lnTo>
                    <a:pt x="330" y="154"/>
                  </a:lnTo>
                  <a:lnTo>
                    <a:pt x="330" y="154"/>
                  </a:lnTo>
                  <a:lnTo>
                    <a:pt x="332" y="152"/>
                  </a:lnTo>
                  <a:lnTo>
                    <a:pt x="333" y="150"/>
                  </a:lnTo>
                  <a:lnTo>
                    <a:pt x="335" y="150"/>
                  </a:lnTo>
                  <a:lnTo>
                    <a:pt x="335" y="150"/>
                  </a:lnTo>
                  <a:lnTo>
                    <a:pt x="335" y="150"/>
                  </a:lnTo>
                  <a:lnTo>
                    <a:pt x="335" y="148"/>
                  </a:lnTo>
                  <a:lnTo>
                    <a:pt x="335" y="148"/>
                  </a:lnTo>
                  <a:lnTo>
                    <a:pt x="335" y="145"/>
                  </a:lnTo>
                  <a:lnTo>
                    <a:pt x="335" y="145"/>
                  </a:lnTo>
                  <a:lnTo>
                    <a:pt x="337" y="143"/>
                  </a:lnTo>
                  <a:lnTo>
                    <a:pt x="339" y="139"/>
                  </a:lnTo>
                  <a:lnTo>
                    <a:pt x="343" y="133"/>
                  </a:lnTo>
                  <a:lnTo>
                    <a:pt x="343" y="133"/>
                  </a:lnTo>
                  <a:lnTo>
                    <a:pt x="345" y="131"/>
                  </a:lnTo>
                  <a:lnTo>
                    <a:pt x="349" y="124"/>
                  </a:lnTo>
                  <a:lnTo>
                    <a:pt x="347" y="126"/>
                  </a:lnTo>
                  <a:lnTo>
                    <a:pt x="345" y="126"/>
                  </a:lnTo>
                  <a:lnTo>
                    <a:pt x="343" y="126"/>
                  </a:lnTo>
                  <a:lnTo>
                    <a:pt x="345" y="124"/>
                  </a:lnTo>
                  <a:lnTo>
                    <a:pt x="349" y="122"/>
                  </a:lnTo>
                  <a:lnTo>
                    <a:pt x="351" y="120"/>
                  </a:lnTo>
                  <a:lnTo>
                    <a:pt x="354" y="114"/>
                  </a:lnTo>
                  <a:lnTo>
                    <a:pt x="354" y="114"/>
                  </a:lnTo>
                  <a:lnTo>
                    <a:pt x="354" y="114"/>
                  </a:lnTo>
                  <a:lnTo>
                    <a:pt x="356" y="112"/>
                  </a:lnTo>
                  <a:lnTo>
                    <a:pt x="358" y="112"/>
                  </a:lnTo>
                  <a:lnTo>
                    <a:pt x="360" y="108"/>
                  </a:lnTo>
                  <a:lnTo>
                    <a:pt x="360" y="107"/>
                  </a:lnTo>
                  <a:lnTo>
                    <a:pt x="364" y="101"/>
                  </a:lnTo>
                  <a:lnTo>
                    <a:pt x="366" y="95"/>
                  </a:lnTo>
                  <a:lnTo>
                    <a:pt x="366" y="95"/>
                  </a:lnTo>
                  <a:lnTo>
                    <a:pt x="366" y="93"/>
                  </a:lnTo>
                  <a:lnTo>
                    <a:pt x="368" y="88"/>
                  </a:lnTo>
                  <a:lnTo>
                    <a:pt x="368" y="86"/>
                  </a:lnTo>
                  <a:lnTo>
                    <a:pt x="370" y="84"/>
                  </a:lnTo>
                  <a:lnTo>
                    <a:pt x="370" y="82"/>
                  </a:lnTo>
                  <a:lnTo>
                    <a:pt x="370" y="80"/>
                  </a:lnTo>
                  <a:lnTo>
                    <a:pt x="372" y="74"/>
                  </a:lnTo>
                  <a:lnTo>
                    <a:pt x="373" y="67"/>
                  </a:lnTo>
                  <a:lnTo>
                    <a:pt x="373" y="55"/>
                  </a:lnTo>
                  <a:lnTo>
                    <a:pt x="375" y="50"/>
                  </a:lnTo>
                  <a:lnTo>
                    <a:pt x="375" y="46"/>
                  </a:lnTo>
                  <a:lnTo>
                    <a:pt x="375" y="44"/>
                  </a:lnTo>
                  <a:lnTo>
                    <a:pt x="377" y="42"/>
                  </a:lnTo>
                  <a:lnTo>
                    <a:pt x="377" y="42"/>
                  </a:lnTo>
                  <a:lnTo>
                    <a:pt x="377" y="38"/>
                  </a:lnTo>
                  <a:lnTo>
                    <a:pt x="377" y="38"/>
                  </a:lnTo>
                  <a:lnTo>
                    <a:pt x="377" y="36"/>
                  </a:lnTo>
                  <a:lnTo>
                    <a:pt x="379" y="34"/>
                  </a:lnTo>
                  <a:lnTo>
                    <a:pt x="379" y="32"/>
                  </a:lnTo>
                  <a:lnTo>
                    <a:pt x="379" y="31"/>
                  </a:lnTo>
                  <a:lnTo>
                    <a:pt x="377" y="31"/>
                  </a:lnTo>
                  <a:lnTo>
                    <a:pt x="377" y="31"/>
                  </a:lnTo>
                  <a:lnTo>
                    <a:pt x="377" y="31"/>
                  </a:lnTo>
                  <a:lnTo>
                    <a:pt x="379" y="29"/>
                  </a:lnTo>
                  <a:lnTo>
                    <a:pt x="379" y="29"/>
                  </a:lnTo>
                  <a:lnTo>
                    <a:pt x="379" y="29"/>
                  </a:lnTo>
                  <a:lnTo>
                    <a:pt x="379" y="27"/>
                  </a:lnTo>
                  <a:lnTo>
                    <a:pt x="381" y="21"/>
                  </a:lnTo>
                  <a:lnTo>
                    <a:pt x="381" y="19"/>
                  </a:lnTo>
                  <a:lnTo>
                    <a:pt x="381" y="1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6" name="Freeform 18">
              <a:extLst>
                <a:ext uri="{FF2B5EF4-FFF2-40B4-BE49-F238E27FC236}">
                  <a16:creationId xmlns:a16="http://schemas.microsoft.com/office/drawing/2014/main" id="{2A4F48C6-6B79-114B-7352-924E42DC4A08}"/>
                </a:ext>
              </a:extLst>
            </p:cNvPr>
            <p:cNvSpPr>
              <a:spLocks/>
            </p:cNvSpPr>
            <p:nvPr/>
          </p:nvSpPr>
          <p:spPr bwMode="auto">
            <a:xfrm>
              <a:off x="6688138" y="2955138"/>
              <a:ext cx="130175" cy="166688"/>
            </a:xfrm>
            <a:custGeom>
              <a:avLst/>
              <a:gdLst>
                <a:gd name="T0" fmla="*/ 78 w 82"/>
                <a:gd name="T1" fmla="*/ 78 h 105"/>
                <a:gd name="T2" fmla="*/ 74 w 82"/>
                <a:gd name="T3" fmla="*/ 76 h 105"/>
                <a:gd name="T4" fmla="*/ 72 w 82"/>
                <a:gd name="T5" fmla="*/ 75 h 105"/>
                <a:gd name="T6" fmla="*/ 69 w 82"/>
                <a:gd name="T7" fmla="*/ 69 h 105"/>
                <a:gd name="T8" fmla="*/ 69 w 82"/>
                <a:gd name="T9" fmla="*/ 63 h 105"/>
                <a:gd name="T10" fmla="*/ 69 w 82"/>
                <a:gd name="T11" fmla="*/ 59 h 105"/>
                <a:gd name="T12" fmla="*/ 69 w 82"/>
                <a:gd name="T13" fmla="*/ 57 h 105"/>
                <a:gd name="T14" fmla="*/ 72 w 82"/>
                <a:gd name="T15" fmla="*/ 50 h 105"/>
                <a:gd name="T16" fmla="*/ 78 w 82"/>
                <a:gd name="T17" fmla="*/ 27 h 105"/>
                <a:gd name="T18" fmla="*/ 78 w 82"/>
                <a:gd name="T19" fmla="*/ 23 h 105"/>
                <a:gd name="T20" fmla="*/ 74 w 82"/>
                <a:gd name="T21" fmla="*/ 19 h 105"/>
                <a:gd name="T22" fmla="*/ 74 w 82"/>
                <a:gd name="T23" fmla="*/ 16 h 105"/>
                <a:gd name="T24" fmla="*/ 74 w 82"/>
                <a:gd name="T25" fmla="*/ 12 h 105"/>
                <a:gd name="T26" fmla="*/ 74 w 82"/>
                <a:gd name="T27" fmla="*/ 12 h 105"/>
                <a:gd name="T28" fmla="*/ 71 w 82"/>
                <a:gd name="T29" fmla="*/ 8 h 105"/>
                <a:gd name="T30" fmla="*/ 65 w 82"/>
                <a:gd name="T31" fmla="*/ 4 h 105"/>
                <a:gd name="T32" fmla="*/ 57 w 82"/>
                <a:gd name="T33" fmla="*/ 2 h 105"/>
                <a:gd name="T34" fmla="*/ 53 w 82"/>
                <a:gd name="T35" fmla="*/ 0 h 105"/>
                <a:gd name="T36" fmla="*/ 48 w 82"/>
                <a:gd name="T37" fmla="*/ 4 h 105"/>
                <a:gd name="T38" fmla="*/ 46 w 82"/>
                <a:gd name="T39" fmla="*/ 8 h 105"/>
                <a:gd name="T40" fmla="*/ 42 w 82"/>
                <a:gd name="T41" fmla="*/ 8 h 105"/>
                <a:gd name="T42" fmla="*/ 36 w 82"/>
                <a:gd name="T43" fmla="*/ 12 h 105"/>
                <a:gd name="T44" fmla="*/ 34 w 82"/>
                <a:gd name="T45" fmla="*/ 12 h 105"/>
                <a:gd name="T46" fmla="*/ 15 w 82"/>
                <a:gd name="T47" fmla="*/ 16 h 105"/>
                <a:gd name="T48" fmla="*/ 13 w 82"/>
                <a:gd name="T49" fmla="*/ 16 h 105"/>
                <a:gd name="T50" fmla="*/ 10 w 82"/>
                <a:gd name="T51" fmla="*/ 16 h 105"/>
                <a:gd name="T52" fmla="*/ 8 w 82"/>
                <a:gd name="T53" fmla="*/ 21 h 105"/>
                <a:gd name="T54" fmla="*/ 10 w 82"/>
                <a:gd name="T55" fmla="*/ 25 h 105"/>
                <a:gd name="T56" fmla="*/ 13 w 82"/>
                <a:gd name="T57" fmla="*/ 27 h 105"/>
                <a:gd name="T58" fmla="*/ 15 w 82"/>
                <a:gd name="T59" fmla="*/ 29 h 105"/>
                <a:gd name="T60" fmla="*/ 13 w 82"/>
                <a:gd name="T61" fmla="*/ 35 h 105"/>
                <a:gd name="T62" fmla="*/ 11 w 82"/>
                <a:gd name="T63" fmla="*/ 40 h 105"/>
                <a:gd name="T64" fmla="*/ 4 w 82"/>
                <a:gd name="T65" fmla="*/ 57 h 105"/>
                <a:gd name="T66" fmla="*/ 2 w 82"/>
                <a:gd name="T67" fmla="*/ 65 h 105"/>
                <a:gd name="T68" fmla="*/ 2 w 82"/>
                <a:gd name="T69" fmla="*/ 67 h 105"/>
                <a:gd name="T70" fmla="*/ 4 w 82"/>
                <a:gd name="T71" fmla="*/ 69 h 105"/>
                <a:gd name="T72" fmla="*/ 4 w 82"/>
                <a:gd name="T73" fmla="*/ 71 h 105"/>
                <a:gd name="T74" fmla="*/ 2 w 82"/>
                <a:gd name="T75" fmla="*/ 71 h 105"/>
                <a:gd name="T76" fmla="*/ 2 w 82"/>
                <a:gd name="T77" fmla="*/ 75 h 105"/>
                <a:gd name="T78" fmla="*/ 0 w 82"/>
                <a:gd name="T79" fmla="*/ 76 h 105"/>
                <a:gd name="T80" fmla="*/ 2 w 82"/>
                <a:gd name="T81" fmla="*/ 80 h 105"/>
                <a:gd name="T82" fmla="*/ 2 w 82"/>
                <a:gd name="T83" fmla="*/ 84 h 105"/>
                <a:gd name="T84" fmla="*/ 2 w 82"/>
                <a:gd name="T85" fmla="*/ 90 h 105"/>
                <a:gd name="T86" fmla="*/ 6 w 82"/>
                <a:gd name="T87" fmla="*/ 94 h 105"/>
                <a:gd name="T88" fmla="*/ 8 w 82"/>
                <a:gd name="T89" fmla="*/ 95 h 105"/>
                <a:gd name="T90" fmla="*/ 8 w 82"/>
                <a:gd name="T91" fmla="*/ 97 h 105"/>
                <a:gd name="T92" fmla="*/ 10 w 82"/>
                <a:gd name="T93" fmla="*/ 99 h 105"/>
                <a:gd name="T94" fmla="*/ 13 w 82"/>
                <a:gd name="T95" fmla="*/ 101 h 105"/>
                <a:gd name="T96" fmla="*/ 21 w 82"/>
                <a:gd name="T97" fmla="*/ 101 h 105"/>
                <a:gd name="T98" fmla="*/ 31 w 82"/>
                <a:gd name="T99" fmla="*/ 105 h 105"/>
                <a:gd name="T100" fmla="*/ 32 w 82"/>
                <a:gd name="T101" fmla="*/ 105 h 105"/>
                <a:gd name="T102" fmla="*/ 36 w 82"/>
                <a:gd name="T103" fmla="*/ 105 h 105"/>
                <a:gd name="T104" fmla="*/ 40 w 82"/>
                <a:gd name="T105" fmla="*/ 103 h 105"/>
                <a:gd name="T106" fmla="*/ 50 w 82"/>
                <a:gd name="T107" fmla="*/ 95 h 105"/>
                <a:gd name="T108" fmla="*/ 61 w 82"/>
                <a:gd name="T109" fmla="*/ 97 h 105"/>
                <a:gd name="T110" fmla="*/ 63 w 82"/>
                <a:gd name="T111" fmla="*/ 99 h 105"/>
                <a:gd name="T112" fmla="*/ 67 w 82"/>
                <a:gd name="T113" fmla="*/ 99 h 105"/>
                <a:gd name="T114" fmla="*/ 67 w 82"/>
                <a:gd name="T115" fmla="*/ 99 h 105"/>
                <a:gd name="T116" fmla="*/ 69 w 82"/>
                <a:gd name="T117" fmla="*/ 92 h 105"/>
                <a:gd name="T118" fmla="*/ 72 w 82"/>
                <a:gd name="T119" fmla="*/ 88 h 105"/>
                <a:gd name="T120" fmla="*/ 80 w 82"/>
                <a:gd name="T121" fmla="*/ 86 h 105"/>
                <a:gd name="T122" fmla="*/ 82 w 82"/>
                <a:gd name="T123" fmla="*/ 8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105">
                  <a:moveTo>
                    <a:pt x="80" y="80"/>
                  </a:moveTo>
                  <a:lnTo>
                    <a:pt x="78" y="78"/>
                  </a:lnTo>
                  <a:lnTo>
                    <a:pt x="76" y="76"/>
                  </a:lnTo>
                  <a:lnTo>
                    <a:pt x="74" y="76"/>
                  </a:lnTo>
                  <a:lnTo>
                    <a:pt x="74" y="75"/>
                  </a:lnTo>
                  <a:lnTo>
                    <a:pt x="72" y="75"/>
                  </a:lnTo>
                  <a:lnTo>
                    <a:pt x="71" y="73"/>
                  </a:lnTo>
                  <a:lnTo>
                    <a:pt x="69" y="69"/>
                  </a:lnTo>
                  <a:lnTo>
                    <a:pt x="69" y="67"/>
                  </a:lnTo>
                  <a:lnTo>
                    <a:pt x="69" y="63"/>
                  </a:lnTo>
                  <a:lnTo>
                    <a:pt x="69" y="61"/>
                  </a:lnTo>
                  <a:lnTo>
                    <a:pt x="69" y="59"/>
                  </a:lnTo>
                  <a:lnTo>
                    <a:pt x="69" y="57"/>
                  </a:lnTo>
                  <a:lnTo>
                    <a:pt x="69" y="57"/>
                  </a:lnTo>
                  <a:lnTo>
                    <a:pt x="71" y="54"/>
                  </a:lnTo>
                  <a:lnTo>
                    <a:pt x="72" y="50"/>
                  </a:lnTo>
                  <a:lnTo>
                    <a:pt x="74" y="46"/>
                  </a:lnTo>
                  <a:lnTo>
                    <a:pt x="78" y="27"/>
                  </a:lnTo>
                  <a:lnTo>
                    <a:pt x="78" y="25"/>
                  </a:lnTo>
                  <a:lnTo>
                    <a:pt x="78" y="23"/>
                  </a:lnTo>
                  <a:lnTo>
                    <a:pt x="76" y="21"/>
                  </a:lnTo>
                  <a:lnTo>
                    <a:pt x="74" y="19"/>
                  </a:lnTo>
                  <a:lnTo>
                    <a:pt x="74" y="18"/>
                  </a:lnTo>
                  <a:lnTo>
                    <a:pt x="74" y="16"/>
                  </a:lnTo>
                  <a:lnTo>
                    <a:pt x="74" y="14"/>
                  </a:lnTo>
                  <a:lnTo>
                    <a:pt x="74" y="12"/>
                  </a:lnTo>
                  <a:lnTo>
                    <a:pt x="74" y="12"/>
                  </a:lnTo>
                  <a:lnTo>
                    <a:pt x="74" y="12"/>
                  </a:lnTo>
                  <a:lnTo>
                    <a:pt x="74" y="10"/>
                  </a:lnTo>
                  <a:lnTo>
                    <a:pt x="71" y="8"/>
                  </a:lnTo>
                  <a:lnTo>
                    <a:pt x="67" y="4"/>
                  </a:lnTo>
                  <a:lnTo>
                    <a:pt x="65" y="4"/>
                  </a:lnTo>
                  <a:lnTo>
                    <a:pt x="59" y="4"/>
                  </a:lnTo>
                  <a:lnTo>
                    <a:pt x="57" y="2"/>
                  </a:lnTo>
                  <a:lnTo>
                    <a:pt x="55" y="0"/>
                  </a:lnTo>
                  <a:lnTo>
                    <a:pt x="53" y="0"/>
                  </a:lnTo>
                  <a:lnTo>
                    <a:pt x="50" y="2"/>
                  </a:lnTo>
                  <a:lnTo>
                    <a:pt x="48" y="4"/>
                  </a:lnTo>
                  <a:lnTo>
                    <a:pt x="48" y="6"/>
                  </a:lnTo>
                  <a:lnTo>
                    <a:pt x="46" y="8"/>
                  </a:lnTo>
                  <a:lnTo>
                    <a:pt x="44" y="6"/>
                  </a:lnTo>
                  <a:lnTo>
                    <a:pt x="42" y="8"/>
                  </a:lnTo>
                  <a:lnTo>
                    <a:pt x="36" y="12"/>
                  </a:lnTo>
                  <a:lnTo>
                    <a:pt x="36" y="12"/>
                  </a:lnTo>
                  <a:lnTo>
                    <a:pt x="36" y="12"/>
                  </a:lnTo>
                  <a:lnTo>
                    <a:pt x="34" y="12"/>
                  </a:lnTo>
                  <a:lnTo>
                    <a:pt x="17" y="16"/>
                  </a:lnTo>
                  <a:lnTo>
                    <a:pt x="15" y="16"/>
                  </a:lnTo>
                  <a:lnTo>
                    <a:pt x="15" y="16"/>
                  </a:lnTo>
                  <a:lnTo>
                    <a:pt x="13" y="16"/>
                  </a:lnTo>
                  <a:lnTo>
                    <a:pt x="11" y="16"/>
                  </a:lnTo>
                  <a:lnTo>
                    <a:pt x="10" y="16"/>
                  </a:lnTo>
                  <a:lnTo>
                    <a:pt x="10" y="18"/>
                  </a:lnTo>
                  <a:lnTo>
                    <a:pt x="8" y="21"/>
                  </a:lnTo>
                  <a:lnTo>
                    <a:pt x="10" y="23"/>
                  </a:lnTo>
                  <a:lnTo>
                    <a:pt x="10" y="25"/>
                  </a:lnTo>
                  <a:lnTo>
                    <a:pt x="13" y="25"/>
                  </a:lnTo>
                  <a:lnTo>
                    <a:pt x="13" y="27"/>
                  </a:lnTo>
                  <a:lnTo>
                    <a:pt x="15" y="27"/>
                  </a:lnTo>
                  <a:lnTo>
                    <a:pt x="15" y="29"/>
                  </a:lnTo>
                  <a:lnTo>
                    <a:pt x="13" y="31"/>
                  </a:lnTo>
                  <a:lnTo>
                    <a:pt x="13" y="35"/>
                  </a:lnTo>
                  <a:lnTo>
                    <a:pt x="13" y="37"/>
                  </a:lnTo>
                  <a:lnTo>
                    <a:pt x="11" y="40"/>
                  </a:lnTo>
                  <a:lnTo>
                    <a:pt x="10" y="48"/>
                  </a:lnTo>
                  <a:lnTo>
                    <a:pt x="4" y="57"/>
                  </a:lnTo>
                  <a:lnTo>
                    <a:pt x="2" y="63"/>
                  </a:lnTo>
                  <a:lnTo>
                    <a:pt x="2" y="65"/>
                  </a:lnTo>
                  <a:lnTo>
                    <a:pt x="2" y="65"/>
                  </a:lnTo>
                  <a:lnTo>
                    <a:pt x="2" y="67"/>
                  </a:lnTo>
                  <a:lnTo>
                    <a:pt x="2" y="67"/>
                  </a:lnTo>
                  <a:lnTo>
                    <a:pt x="4" y="69"/>
                  </a:lnTo>
                  <a:lnTo>
                    <a:pt x="4" y="69"/>
                  </a:lnTo>
                  <a:lnTo>
                    <a:pt x="4" y="71"/>
                  </a:lnTo>
                  <a:lnTo>
                    <a:pt x="2" y="71"/>
                  </a:lnTo>
                  <a:lnTo>
                    <a:pt x="2" y="71"/>
                  </a:lnTo>
                  <a:lnTo>
                    <a:pt x="2" y="73"/>
                  </a:lnTo>
                  <a:lnTo>
                    <a:pt x="2" y="75"/>
                  </a:lnTo>
                  <a:lnTo>
                    <a:pt x="0" y="75"/>
                  </a:lnTo>
                  <a:lnTo>
                    <a:pt x="0" y="76"/>
                  </a:lnTo>
                  <a:lnTo>
                    <a:pt x="2" y="78"/>
                  </a:lnTo>
                  <a:lnTo>
                    <a:pt x="2" y="80"/>
                  </a:lnTo>
                  <a:lnTo>
                    <a:pt x="2" y="80"/>
                  </a:lnTo>
                  <a:lnTo>
                    <a:pt x="2" y="84"/>
                  </a:lnTo>
                  <a:lnTo>
                    <a:pt x="0" y="88"/>
                  </a:lnTo>
                  <a:lnTo>
                    <a:pt x="2" y="90"/>
                  </a:lnTo>
                  <a:lnTo>
                    <a:pt x="2" y="92"/>
                  </a:lnTo>
                  <a:lnTo>
                    <a:pt x="6" y="94"/>
                  </a:lnTo>
                  <a:lnTo>
                    <a:pt x="6" y="94"/>
                  </a:lnTo>
                  <a:lnTo>
                    <a:pt x="8" y="95"/>
                  </a:lnTo>
                  <a:lnTo>
                    <a:pt x="8" y="97"/>
                  </a:lnTo>
                  <a:lnTo>
                    <a:pt x="8" y="97"/>
                  </a:lnTo>
                  <a:lnTo>
                    <a:pt x="8" y="99"/>
                  </a:lnTo>
                  <a:lnTo>
                    <a:pt x="10" y="99"/>
                  </a:lnTo>
                  <a:lnTo>
                    <a:pt x="10" y="101"/>
                  </a:lnTo>
                  <a:lnTo>
                    <a:pt x="13" y="101"/>
                  </a:lnTo>
                  <a:lnTo>
                    <a:pt x="17" y="99"/>
                  </a:lnTo>
                  <a:lnTo>
                    <a:pt x="21" y="101"/>
                  </a:lnTo>
                  <a:lnTo>
                    <a:pt x="31" y="105"/>
                  </a:lnTo>
                  <a:lnTo>
                    <a:pt x="31" y="105"/>
                  </a:lnTo>
                  <a:lnTo>
                    <a:pt x="32" y="105"/>
                  </a:lnTo>
                  <a:lnTo>
                    <a:pt x="32" y="105"/>
                  </a:lnTo>
                  <a:lnTo>
                    <a:pt x="34" y="105"/>
                  </a:lnTo>
                  <a:lnTo>
                    <a:pt x="36" y="105"/>
                  </a:lnTo>
                  <a:lnTo>
                    <a:pt x="38" y="105"/>
                  </a:lnTo>
                  <a:lnTo>
                    <a:pt x="40" y="103"/>
                  </a:lnTo>
                  <a:lnTo>
                    <a:pt x="48" y="95"/>
                  </a:lnTo>
                  <a:lnTo>
                    <a:pt x="50" y="95"/>
                  </a:lnTo>
                  <a:lnTo>
                    <a:pt x="55" y="97"/>
                  </a:lnTo>
                  <a:lnTo>
                    <a:pt x="61" y="97"/>
                  </a:lnTo>
                  <a:lnTo>
                    <a:pt x="61" y="97"/>
                  </a:lnTo>
                  <a:lnTo>
                    <a:pt x="63" y="99"/>
                  </a:lnTo>
                  <a:lnTo>
                    <a:pt x="67" y="99"/>
                  </a:lnTo>
                  <a:lnTo>
                    <a:pt x="67" y="99"/>
                  </a:lnTo>
                  <a:lnTo>
                    <a:pt x="67" y="99"/>
                  </a:lnTo>
                  <a:lnTo>
                    <a:pt x="67" y="99"/>
                  </a:lnTo>
                  <a:lnTo>
                    <a:pt x="67" y="95"/>
                  </a:lnTo>
                  <a:lnTo>
                    <a:pt x="69" y="92"/>
                  </a:lnTo>
                  <a:lnTo>
                    <a:pt x="71" y="90"/>
                  </a:lnTo>
                  <a:lnTo>
                    <a:pt x="72" y="88"/>
                  </a:lnTo>
                  <a:lnTo>
                    <a:pt x="78" y="86"/>
                  </a:lnTo>
                  <a:lnTo>
                    <a:pt x="80" y="86"/>
                  </a:lnTo>
                  <a:lnTo>
                    <a:pt x="82" y="84"/>
                  </a:lnTo>
                  <a:lnTo>
                    <a:pt x="82" y="82"/>
                  </a:lnTo>
                  <a:lnTo>
                    <a:pt x="80" y="8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7" name="Freeform 19">
              <a:extLst>
                <a:ext uri="{FF2B5EF4-FFF2-40B4-BE49-F238E27FC236}">
                  <a16:creationId xmlns:a16="http://schemas.microsoft.com/office/drawing/2014/main" id="{A0923DCB-9DA9-0125-A5D7-2F0DBFF35D9F}"/>
                </a:ext>
              </a:extLst>
            </p:cNvPr>
            <p:cNvSpPr>
              <a:spLocks/>
            </p:cNvSpPr>
            <p:nvPr/>
          </p:nvSpPr>
          <p:spPr bwMode="auto">
            <a:xfrm>
              <a:off x="6688138" y="2955138"/>
              <a:ext cx="130175" cy="166688"/>
            </a:xfrm>
            <a:custGeom>
              <a:avLst/>
              <a:gdLst>
                <a:gd name="T0" fmla="*/ 78 w 82"/>
                <a:gd name="T1" fmla="*/ 78 h 105"/>
                <a:gd name="T2" fmla="*/ 74 w 82"/>
                <a:gd name="T3" fmla="*/ 76 h 105"/>
                <a:gd name="T4" fmla="*/ 72 w 82"/>
                <a:gd name="T5" fmla="*/ 75 h 105"/>
                <a:gd name="T6" fmla="*/ 69 w 82"/>
                <a:gd name="T7" fmla="*/ 69 h 105"/>
                <a:gd name="T8" fmla="*/ 69 w 82"/>
                <a:gd name="T9" fmla="*/ 63 h 105"/>
                <a:gd name="T10" fmla="*/ 69 w 82"/>
                <a:gd name="T11" fmla="*/ 59 h 105"/>
                <a:gd name="T12" fmla="*/ 69 w 82"/>
                <a:gd name="T13" fmla="*/ 57 h 105"/>
                <a:gd name="T14" fmla="*/ 72 w 82"/>
                <a:gd name="T15" fmla="*/ 50 h 105"/>
                <a:gd name="T16" fmla="*/ 78 w 82"/>
                <a:gd name="T17" fmla="*/ 27 h 105"/>
                <a:gd name="T18" fmla="*/ 78 w 82"/>
                <a:gd name="T19" fmla="*/ 23 h 105"/>
                <a:gd name="T20" fmla="*/ 74 w 82"/>
                <a:gd name="T21" fmla="*/ 19 h 105"/>
                <a:gd name="T22" fmla="*/ 74 w 82"/>
                <a:gd name="T23" fmla="*/ 16 h 105"/>
                <a:gd name="T24" fmla="*/ 74 w 82"/>
                <a:gd name="T25" fmla="*/ 12 h 105"/>
                <a:gd name="T26" fmla="*/ 74 w 82"/>
                <a:gd name="T27" fmla="*/ 12 h 105"/>
                <a:gd name="T28" fmla="*/ 71 w 82"/>
                <a:gd name="T29" fmla="*/ 8 h 105"/>
                <a:gd name="T30" fmla="*/ 65 w 82"/>
                <a:gd name="T31" fmla="*/ 4 h 105"/>
                <a:gd name="T32" fmla="*/ 57 w 82"/>
                <a:gd name="T33" fmla="*/ 2 h 105"/>
                <a:gd name="T34" fmla="*/ 53 w 82"/>
                <a:gd name="T35" fmla="*/ 0 h 105"/>
                <a:gd name="T36" fmla="*/ 48 w 82"/>
                <a:gd name="T37" fmla="*/ 4 h 105"/>
                <a:gd name="T38" fmla="*/ 46 w 82"/>
                <a:gd name="T39" fmla="*/ 8 h 105"/>
                <a:gd name="T40" fmla="*/ 42 w 82"/>
                <a:gd name="T41" fmla="*/ 8 h 105"/>
                <a:gd name="T42" fmla="*/ 36 w 82"/>
                <a:gd name="T43" fmla="*/ 12 h 105"/>
                <a:gd name="T44" fmla="*/ 34 w 82"/>
                <a:gd name="T45" fmla="*/ 12 h 105"/>
                <a:gd name="T46" fmla="*/ 15 w 82"/>
                <a:gd name="T47" fmla="*/ 16 h 105"/>
                <a:gd name="T48" fmla="*/ 13 w 82"/>
                <a:gd name="T49" fmla="*/ 16 h 105"/>
                <a:gd name="T50" fmla="*/ 10 w 82"/>
                <a:gd name="T51" fmla="*/ 16 h 105"/>
                <a:gd name="T52" fmla="*/ 8 w 82"/>
                <a:gd name="T53" fmla="*/ 21 h 105"/>
                <a:gd name="T54" fmla="*/ 10 w 82"/>
                <a:gd name="T55" fmla="*/ 25 h 105"/>
                <a:gd name="T56" fmla="*/ 13 w 82"/>
                <a:gd name="T57" fmla="*/ 27 h 105"/>
                <a:gd name="T58" fmla="*/ 15 w 82"/>
                <a:gd name="T59" fmla="*/ 29 h 105"/>
                <a:gd name="T60" fmla="*/ 13 w 82"/>
                <a:gd name="T61" fmla="*/ 35 h 105"/>
                <a:gd name="T62" fmla="*/ 11 w 82"/>
                <a:gd name="T63" fmla="*/ 40 h 105"/>
                <a:gd name="T64" fmla="*/ 4 w 82"/>
                <a:gd name="T65" fmla="*/ 57 h 105"/>
                <a:gd name="T66" fmla="*/ 2 w 82"/>
                <a:gd name="T67" fmla="*/ 65 h 105"/>
                <a:gd name="T68" fmla="*/ 2 w 82"/>
                <a:gd name="T69" fmla="*/ 67 h 105"/>
                <a:gd name="T70" fmla="*/ 4 w 82"/>
                <a:gd name="T71" fmla="*/ 69 h 105"/>
                <a:gd name="T72" fmla="*/ 4 w 82"/>
                <a:gd name="T73" fmla="*/ 71 h 105"/>
                <a:gd name="T74" fmla="*/ 2 w 82"/>
                <a:gd name="T75" fmla="*/ 71 h 105"/>
                <a:gd name="T76" fmla="*/ 2 w 82"/>
                <a:gd name="T77" fmla="*/ 75 h 105"/>
                <a:gd name="T78" fmla="*/ 0 w 82"/>
                <a:gd name="T79" fmla="*/ 76 h 105"/>
                <a:gd name="T80" fmla="*/ 2 w 82"/>
                <a:gd name="T81" fmla="*/ 80 h 105"/>
                <a:gd name="T82" fmla="*/ 2 w 82"/>
                <a:gd name="T83" fmla="*/ 84 h 105"/>
                <a:gd name="T84" fmla="*/ 2 w 82"/>
                <a:gd name="T85" fmla="*/ 90 h 105"/>
                <a:gd name="T86" fmla="*/ 6 w 82"/>
                <a:gd name="T87" fmla="*/ 94 h 105"/>
                <a:gd name="T88" fmla="*/ 8 w 82"/>
                <a:gd name="T89" fmla="*/ 95 h 105"/>
                <a:gd name="T90" fmla="*/ 8 w 82"/>
                <a:gd name="T91" fmla="*/ 97 h 105"/>
                <a:gd name="T92" fmla="*/ 10 w 82"/>
                <a:gd name="T93" fmla="*/ 99 h 105"/>
                <a:gd name="T94" fmla="*/ 13 w 82"/>
                <a:gd name="T95" fmla="*/ 101 h 105"/>
                <a:gd name="T96" fmla="*/ 21 w 82"/>
                <a:gd name="T97" fmla="*/ 101 h 105"/>
                <a:gd name="T98" fmla="*/ 31 w 82"/>
                <a:gd name="T99" fmla="*/ 105 h 105"/>
                <a:gd name="T100" fmla="*/ 32 w 82"/>
                <a:gd name="T101" fmla="*/ 105 h 105"/>
                <a:gd name="T102" fmla="*/ 36 w 82"/>
                <a:gd name="T103" fmla="*/ 105 h 105"/>
                <a:gd name="T104" fmla="*/ 40 w 82"/>
                <a:gd name="T105" fmla="*/ 103 h 105"/>
                <a:gd name="T106" fmla="*/ 50 w 82"/>
                <a:gd name="T107" fmla="*/ 95 h 105"/>
                <a:gd name="T108" fmla="*/ 61 w 82"/>
                <a:gd name="T109" fmla="*/ 97 h 105"/>
                <a:gd name="T110" fmla="*/ 63 w 82"/>
                <a:gd name="T111" fmla="*/ 99 h 105"/>
                <a:gd name="T112" fmla="*/ 67 w 82"/>
                <a:gd name="T113" fmla="*/ 99 h 105"/>
                <a:gd name="T114" fmla="*/ 67 w 82"/>
                <a:gd name="T115" fmla="*/ 99 h 105"/>
                <a:gd name="T116" fmla="*/ 69 w 82"/>
                <a:gd name="T117" fmla="*/ 92 h 105"/>
                <a:gd name="T118" fmla="*/ 72 w 82"/>
                <a:gd name="T119" fmla="*/ 88 h 105"/>
                <a:gd name="T120" fmla="*/ 80 w 82"/>
                <a:gd name="T121" fmla="*/ 86 h 105"/>
                <a:gd name="T122" fmla="*/ 82 w 82"/>
                <a:gd name="T123" fmla="*/ 8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105">
                  <a:moveTo>
                    <a:pt x="80" y="80"/>
                  </a:moveTo>
                  <a:lnTo>
                    <a:pt x="78" y="78"/>
                  </a:lnTo>
                  <a:lnTo>
                    <a:pt x="76" y="76"/>
                  </a:lnTo>
                  <a:lnTo>
                    <a:pt x="74" y="76"/>
                  </a:lnTo>
                  <a:lnTo>
                    <a:pt x="74" y="75"/>
                  </a:lnTo>
                  <a:lnTo>
                    <a:pt x="72" y="75"/>
                  </a:lnTo>
                  <a:lnTo>
                    <a:pt x="71" y="73"/>
                  </a:lnTo>
                  <a:lnTo>
                    <a:pt x="69" y="69"/>
                  </a:lnTo>
                  <a:lnTo>
                    <a:pt x="69" y="67"/>
                  </a:lnTo>
                  <a:lnTo>
                    <a:pt x="69" y="63"/>
                  </a:lnTo>
                  <a:lnTo>
                    <a:pt x="69" y="61"/>
                  </a:lnTo>
                  <a:lnTo>
                    <a:pt x="69" y="59"/>
                  </a:lnTo>
                  <a:lnTo>
                    <a:pt x="69" y="57"/>
                  </a:lnTo>
                  <a:lnTo>
                    <a:pt x="69" y="57"/>
                  </a:lnTo>
                  <a:lnTo>
                    <a:pt x="71" y="54"/>
                  </a:lnTo>
                  <a:lnTo>
                    <a:pt x="72" y="50"/>
                  </a:lnTo>
                  <a:lnTo>
                    <a:pt x="74" y="46"/>
                  </a:lnTo>
                  <a:lnTo>
                    <a:pt x="78" y="27"/>
                  </a:lnTo>
                  <a:lnTo>
                    <a:pt x="78" y="25"/>
                  </a:lnTo>
                  <a:lnTo>
                    <a:pt x="78" y="23"/>
                  </a:lnTo>
                  <a:lnTo>
                    <a:pt x="76" y="21"/>
                  </a:lnTo>
                  <a:lnTo>
                    <a:pt x="74" y="19"/>
                  </a:lnTo>
                  <a:lnTo>
                    <a:pt x="74" y="18"/>
                  </a:lnTo>
                  <a:lnTo>
                    <a:pt x="74" y="16"/>
                  </a:lnTo>
                  <a:lnTo>
                    <a:pt x="74" y="14"/>
                  </a:lnTo>
                  <a:lnTo>
                    <a:pt x="74" y="12"/>
                  </a:lnTo>
                  <a:lnTo>
                    <a:pt x="74" y="12"/>
                  </a:lnTo>
                  <a:lnTo>
                    <a:pt x="74" y="12"/>
                  </a:lnTo>
                  <a:lnTo>
                    <a:pt x="74" y="10"/>
                  </a:lnTo>
                  <a:lnTo>
                    <a:pt x="71" y="8"/>
                  </a:lnTo>
                  <a:lnTo>
                    <a:pt x="67" y="4"/>
                  </a:lnTo>
                  <a:lnTo>
                    <a:pt x="65" y="4"/>
                  </a:lnTo>
                  <a:lnTo>
                    <a:pt x="59" y="4"/>
                  </a:lnTo>
                  <a:lnTo>
                    <a:pt x="57" y="2"/>
                  </a:lnTo>
                  <a:lnTo>
                    <a:pt x="55" y="0"/>
                  </a:lnTo>
                  <a:lnTo>
                    <a:pt x="53" y="0"/>
                  </a:lnTo>
                  <a:lnTo>
                    <a:pt x="50" y="2"/>
                  </a:lnTo>
                  <a:lnTo>
                    <a:pt x="48" y="4"/>
                  </a:lnTo>
                  <a:lnTo>
                    <a:pt x="48" y="6"/>
                  </a:lnTo>
                  <a:lnTo>
                    <a:pt x="46" y="8"/>
                  </a:lnTo>
                  <a:lnTo>
                    <a:pt x="44" y="6"/>
                  </a:lnTo>
                  <a:lnTo>
                    <a:pt x="42" y="8"/>
                  </a:lnTo>
                  <a:lnTo>
                    <a:pt x="36" y="12"/>
                  </a:lnTo>
                  <a:lnTo>
                    <a:pt x="36" y="12"/>
                  </a:lnTo>
                  <a:lnTo>
                    <a:pt x="36" y="12"/>
                  </a:lnTo>
                  <a:lnTo>
                    <a:pt x="34" y="12"/>
                  </a:lnTo>
                  <a:lnTo>
                    <a:pt x="17" y="16"/>
                  </a:lnTo>
                  <a:lnTo>
                    <a:pt x="15" y="16"/>
                  </a:lnTo>
                  <a:lnTo>
                    <a:pt x="15" y="16"/>
                  </a:lnTo>
                  <a:lnTo>
                    <a:pt x="13" y="16"/>
                  </a:lnTo>
                  <a:lnTo>
                    <a:pt x="11" y="16"/>
                  </a:lnTo>
                  <a:lnTo>
                    <a:pt x="10" y="16"/>
                  </a:lnTo>
                  <a:lnTo>
                    <a:pt x="10" y="18"/>
                  </a:lnTo>
                  <a:lnTo>
                    <a:pt x="8" y="21"/>
                  </a:lnTo>
                  <a:lnTo>
                    <a:pt x="10" y="23"/>
                  </a:lnTo>
                  <a:lnTo>
                    <a:pt x="10" y="25"/>
                  </a:lnTo>
                  <a:lnTo>
                    <a:pt x="13" y="25"/>
                  </a:lnTo>
                  <a:lnTo>
                    <a:pt x="13" y="27"/>
                  </a:lnTo>
                  <a:lnTo>
                    <a:pt x="15" y="27"/>
                  </a:lnTo>
                  <a:lnTo>
                    <a:pt x="15" y="29"/>
                  </a:lnTo>
                  <a:lnTo>
                    <a:pt x="13" y="31"/>
                  </a:lnTo>
                  <a:lnTo>
                    <a:pt x="13" y="35"/>
                  </a:lnTo>
                  <a:lnTo>
                    <a:pt x="13" y="37"/>
                  </a:lnTo>
                  <a:lnTo>
                    <a:pt x="11" y="40"/>
                  </a:lnTo>
                  <a:lnTo>
                    <a:pt x="10" y="48"/>
                  </a:lnTo>
                  <a:lnTo>
                    <a:pt x="4" y="57"/>
                  </a:lnTo>
                  <a:lnTo>
                    <a:pt x="2" y="63"/>
                  </a:lnTo>
                  <a:lnTo>
                    <a:pt x="2" y="65"/>
                  </a:lnTo>
                  <a:lnTo>
                    <a:pt x="2" y="65"/>
                  </a:lnTo>
                  <a:lnTo>
                    <a:pt x="2" y="67"/>
                  </a:lnTo>
                  <a:lnTo>
                    <a:pt x="2" y="67"/>
                  </a:lnTo>
                  <a:lnTo>
                    <a:pt x="4" y="69"/>
                  </a:lnTo>
                  <a:lnTo>
                    <a:pt x="4" y="69"/>
                  </a:lnTo>
                  <a:lnTo>
                    <a:pt x="4" y="71"/>
                  </a:lnTo>
                  <a:lnTo>
                    <a:pt x="2" y="71"/>
                  </a:lnTo>
                  <a:lnTo>
                    <a:pt x="2" y="71"/>
                  </a:lnTo>
                  <a:lnTo>
                    <a:pt x="2" y="73"/>
                  </a:lnTo>
                  <a:lnTo>
                    <a:pt x="2" y="75"/>
                  </a:lnTo>
                  <a:lnTo>
                    <a:pt x="0" y="75"/>
                  </a:lnTo>
                  <a:lnTo>
                    <a:pt x="0" y="76"/>
                  </a:lnTo>
                  <a:lnTo>
                    <a:pt x="2" y="78"/>
                  </a:lnTo>
                  <a:lnTo>
                    <a:pt x="2" y="80"/>
                  </a:lnTo>
                  <a:lnTo>
                    <a:pt x="2" y="80"/>
                  </a:lnTo>
                  <a:lnTo>
                    <a:pt x="2" y="84"/>
                  </a:lnTo>
                  <a:lnTo>
                    <a:pt x="0" y="88"/>
                  </a:lnTo>
                  <a:lnTo>
                    <a:pt x="2" y="90"/>
                  </a:lnTo>
                  <a:lnTo>
                    <a:pt x="2" y="92"/>
                  </a:lnTo>
                  <a:lnTo>
                    <a:pt x="6" y="94"/>
                  </a:lnTo>
                  <a:lnTo>
                    <a:pt x="6" y="94"/>
                  </a:lnTo>
                  <a:lnTo>
                    <a:pt x="8" y="95"/>
                  </a:lnTo>
                  <a:lnTo>
                    <a:pt x="8" y="97"/>
                  </a:lnTo>
                  <a:lnTo>
                    <a:pt x="8" y="97"/>
                  </a:lnTo>
                  <a:lnTo>
                    <a:pt x="8" y="99"/>
                  </a:lnTo>
                  <a:lnTo>
                    <a:pt x="10" y="99"/>
                  </a:lnTo>
                  <a:lnTo>
                    <a:pt x="10" y="101"/>
                  </a:lnTo>
                  <a:lnTo>
                    <a:pt x="13" y="101"/>
                  </a:lnTo>
                  <a:lnTo>
                    <a:pt x="17" y="99"/>
                  </a:lnTo>
                  <a:lnTo>
                    <a:pt x="21" y="101"/>
                  </a:lnTo>
                  <a:lnTo>
                    <a:pt x="31" y="105"/>
                  </a:lnTo>
                  <a:lnTo>
                    <a:pt x="31" y="105"/>
                  </a:lnTo>
                  <a:lnTo>
                    <a:pt x="32" y="105"/>
                  </a:lnTo>
                  <a:lnTo>
                    <a:pt x="32" y="105"/>
                  </a:lnTo>
                  <a:lnTo>
                    <a:pt x="34" y="105"/>
                  </a:lnTo>
                  <a:lnTo>
                    <a:pt x="36" y="105"/>
                  </a:lnTo>
                  <a:lnTo>
                    <a:pt x="38" y="105"/>
                  </a:lnTo>
                  <a:lnTo>
                    <a:pt x="40" y="103"/>
                  </a:lnTo>
                  <a:lnTo>
                    <a:pt x="48" y="95"/>
                  </a:lnTo>
                  <a:lnTo>
                    <a:pt x="50" y="95"/>
                  </a:lnTo>
                  <a:lnTo>
                    <a:pt x="55" y="97"/>
                  </a:lnTo>
                  <a:lnTo>
                    <a:pt x="61" y="97"/>
                  </a:lnTo>
                  <a:lnTo>
                    <a:pt x="61" y="97"/>
                  </a:lnTo>
                  <a:lnTo>
                    <a:pt x="63" y="99"/>
                  </a:lnTo>
                  <a:lnTo>
                    <a:pt x="67" y="99"/>
                  </a:lnTo>
                  <a:lnTo>
                    <a:pt x="67" y="99"/>
                  </a:lnTo>
                  <a:lnTo>
                    <a:pt x="67" y="99"/>
                  </a:lnTo>
                  <a:lnTo>
                    <a:pt x="67" y="99"/>
                  </a:lnTo>
                  <a:lnTo>
                    <a:pt x="67" y="95"/>
                  </a:lnTo>
                  <a:lnTo>
                    <a:pt x="69" y="92"/>
                  </a:lnTo>
                  <a:lnTo>
                    <a:pt x="71" y="90"/>
                  </a:lnTo>
                  <a:lnTo>
                    <a:pt x="72" y="88"/>
                  </a:lnTo>
                  <a:lnTo>
                    <a:pt x="78" y="86"/>
                  </a:lnTo>
                  <a:lnTo>
                    <a:pt x="80" y="86"/>
                  </a:lnTo>
                  <a:lnTo>
                    <a:pt x="82" y="84"/>
                  </a:lnTo>
                  <a:lnTo>
                    <a:pt x="82" y="82"/>
                  </a:lnTo>
                  <a:lnTo>
                    <a:pt x="80" y="8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8" name="Freeform 20">
              <a:extLst>
                <a:ext uri="{FF2B5EF4-FFF2-40B4-BE49-F238E27FC236}">
                  <a16:creationId xmlns:a16="http://schemas.microsoft.com/office/drawing/2014/main" id="{64D33D19-2BAA-D52B-A8FD-9EEAF8F018FB}"/>
                </a:ext>
              </a:extLst>
            </p:cNvPr>
            <p:cNvSpPr>
              <a:spLocks/>
            </p:cNvSpPr>
            <p:nvPr/>
          </p:nvSpPr>
          <p:spPr bwMode="auto">
            <a:xfrm>
              <a:off x="3971925" y="2602713"/>
              <a:ext cx="1285875" cy="1174750"/>
            </a:xfrm>
            <a:custGeom>
              <a:avLst/>
              <a:gdLst>
                <a:gd name="T0" fmla="*/ 787 w 810"/>
                <a:gd name="T1" fmla="*/ 348 h 740"/>
                <a:gd name="T2" fmla="*/ 732 w 810"/>
                <a:gd name="T3" fmla="*/ 359 h 740"/>
                <a:gd name="T4" fmla="*/ 753 w 810"/>
                <a:gd name="T5" fmla="*/ 333 h 740"/>
                <a:gd name="T6" fmla="*/ 753 w 810"/>
                <a:gd name="T7" fmla="*/ 312 h 740"/>
                <a:gd name="T8" fmla="*/ 726 w 810"/>
                <a:gd name="T9" fmla="*/ 274 h 740"/>
                <a:gd name="T10" fmla="*/ 711 w 810"/>
                <a:gd name="T11" fmla="*/ 253 h 740"/>
                <a:gd name="T12" fmla="*/ 688 w 810"/>
                <a:gd name="T13" fmla="*/ 264 h 740"/>
                <a:gd name="T14" fmla="*/ 690 w 810"/>
                <a:gd name="T15" fmla="*/ 217 h 740"/>
                <a:gd name="T16" fmla="*/ 663 w 810"/>
                <a:gd name="T17" fmla="*/ 230 h 740"/>
                <a:gd name="T18" fmla="*/ 644 w 810"/>
                <a:gd name="T19" fmla="*/ 220 h 740"/>
                <a:gd name="T20" fmla="*/ 634 w 810"/>
                <a:gd name="T21" fmla="*/ 219 h 740"/>
                <a:gd name="T22" fmla="*/ 617 w 810"/>
                <a:gd name="T23" fmla="*/ 230 h 740"/>
                <a:gd name="T24" fmla="*/ 598 w 810"/>
                <a:gd name="T25" fmla="*/ 238 h 740"/>
                <a:gd name="T26" fmla="*/ 596 w 810"/>
                <a:gd name="T27" fmla="*/ 220 h 740"/>
                <a:gd name="T28" fmla="*/ 583 w 810"/>
                <a:gd name="T29" fmla="*/ 188 h 740"/>
                <a:gd name="T30" fmla="*/ 558 w 810"/>
                <a:gd name="T31" fmla="*/ 131 h 740"/>
                <a:gd name="T32" fmla="*/ 547 w 810"/>
                <a:gd name="T33" fmla="*/ 101 h 740"/>
                <a:gd name="T34" fmla="*/ 522 w 810"/>
                <a:gd name="T35" fmla="*/ 103 h 740"/>
                <a:gd name="T36" fmla="*/ 493 w 810"/>
                <a:gd name="T37" fmla="*/ 85 h 740"/>
                <a:gd name="T38" fmla="*/ 469 w 810"/>
                <a:gd name="T39" fmla="*/ 78 h 740"/>
                <a:gd name="T40" fmla="*/ 465 w 810"/>
                <a:gd name="T41" fmla="*/ 49 h 740"/>
                <a:gd name="T42" fmla="*/ 415 w 810"/>
                <a:gd name="T43" fmla="*/ 7 h 740"/>
                <a:gd name="T44" fmla="*/ 248 w 810"/>
                <a:gd name="T45" fmla="*/ 196 h 740"/>
                <a:gd name="T46" fmla="*/ 91 w 810"/>
                <a:gd name="T47" fmla="*/ 228 h 740"/>
                <a:gd name="T48" fmla="*/ 63 w 810"/>
                <a:gd name="T49" fmla="*/ 390 h 740"/>
                <a:gd name="T50" fmla="*/ 108 w 810"/>
                <a:gd name="T51" fmla="*/ 487 h 740"/>
                <a:gd name="T52" fmla="*/ 181 w 810"/>
                <a:gd name="T53" fmla="*/ 574 h 740"/>
                <a:gd name="T54" fmla="*/ 229 w 810"/>
                <a:gd name="T55" fmla="*/ 576 h 740"/>
                <a:gd name="T56" fmla="*/ 263 w 810"/>
                <a:gd name="T57" fmla="*/ 586 h 740"/>
                <a:gd name="T58" fmla="*/ 280 w 810"/>
                <a:gd name="T59" fmla="*/ 591 h 740"/>
                <a:gd name="T60" fmla="*/ 322 w 810"/>
                <a:gd name="T61" fmla="*/ 601 h 740"/>
                <a:gd name="T62" fmla="*/ 343 w 810"/>
                <a:gd name="T63" fmla="*/ 605 h 740"/>
                <a:gd name="T64" fmla="*/ 341 w 810"/>
                <a:gd name="T65" fmla="*/ 633 h 740"/>
                <a:gd name="T66" fmla="*/ 360 w 810"/>
                <a:gd name="T67" fmla="*/ 656 h 740"/>
                <a:gd name="T68" fmla="*/ 379 w 810"/>
                <a:gd name="T69" fmla="*/ 679 h 740"/>
                <a:gd name="T70" fmla="*/ 413 w 810"/>
                <a:gd name="T71" fmla="*/ 707 h 740"/>
                <a:gd name="T72" fmla="*/ 451 w 810"/>
                <a:gd name="T73" fmla="*/ 738 h 740"/>
                <a:gd name="T74" fmla="*/ 471 w 810"/>
                <a:gd name="T75" fmla="*/ 707 h 740"/>
                <a:gd name="T76" fmla="*/ 507 w 810"/>
                <a:gd name="T77" fmla="*/ 639 h 740"/>
                <a:gd name="T78" fmla="*/ 495 w 810"/>
                <a:gd name="T79" fmla="*/ 595 h 740"/>
                <a:gd name="T80" fmla="*/ 507 w 810"/>
                <a:gd name="T81" fmla="*/ 574 h 740"/>
                <a:gd name="T82" fmla="*/ 501 w 810"/>
                <a:gd name="T83" fmla="*/ 551 h 740"/>
                <a:gd name="T84" fmla="*/ 524 w 810"/>
                <a:gd name="T85" fmla="*/ 538 h 740"/>
                <a:gd name="T86" fmla="*/ 537 w 810"/>
                <a:gd name="T87" fmla="*/ 553 h 740"/>
                <a:gd name="T88" fmla="*/ 528 w 810"/>
                <a:gd name="T89" fmla="*/ 563 h 740"/>
                <a:gd name="T90" fmla="*/ 591 w 810"/>
                <a:gd name="T91" fmla="*/ 591 h 740"/>
                <a:gd name="T92" fmla="*/ 581 w 810"/>
                <a:gd name="T93" fmla="*/ 629 h 740"/>
                <a:gd name="T94" fmla="*/ 556 w 810"/>
                <a:gd name="T95" fmla="*/ 648 h 740"/>
                <a:gd name="T96" fmla="*/ 585 w 810"/>
                <a:gd name="T97" fmla="*/ 654 h 740"/>
                <a:gd name="T98" fmla="*/ 619 w 810"/>
                <a:gd name="T99" fmla="*/ 607 h 740"/>
                <a:gd name="T100" fmla="*/ 659 w 810"/>
                <a:gd name="T101" fmla="*/ 612 h 740"/>
                <a:gd name="T102" fmla="*/ 678 w 810"/>
                <a:gd name="T103" fmla="*/ 607 h 740"/>
                <a:gd name="T104" fmla="*/ 688 w 810"/>
                <a:gd name="T105" fmla="*/ 593 h 740"/>
                <a:gd name="T106" fmla="*/ 684 w 810"/>
                <a:gd name="T107" fmla="*/ 553 h 740"/>
                <a:gd name="T108" fmla="*/ 728 w 810"/>
                <a:gd name="T109" fmla="*/ 529 h 740"/>
                <a:gd name="T110" fmla="*/ 728 w 810"/>
                <a:gd name="T111" fmla="*/ 500 h 740"/>
                <a:gd name="T112" fmla="*/ 688 w 810"/>
                <a:gd name="T113" fmla="*/ 510 h 740"/>
                <a:gd name="T114" fmla="*/ 646 w 810"/>
                <a:gd name="T115" fmla="*/ 468 h 740"/>
                <a:gd name="T116" fmla="*/ 676 w 810"/>
                <a:gd name="T117" fmla="*/ 439 h 740"/>
                <a:gd name="T118" fmla="*/ 720 w 810"/>
                <a:gd name="T119" fmla="*/ 409 h 740"/>
                <a:gd name="T120" fmla="*/ 770 w 810"/>
                <a:gd name="T121" fmla="*/ 376 h 740"/>
                <a:gd name="T122" fmla="*/ 802 w 810"/>
                <a:gd name="T123" fmla="*/ 35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0" h="740">
                  <a:moveTo>
                    <a:pt x="810" y="344"/>
                  </a:moveTo>
                  <a:lnTo>
                    <a:pt x="810" y="344"/>
                  </a:lnTo>
                  <a:lnTo>
                    <a:pt x="810" y="344"/>
                  </a:lnTo>
                  <a:lnTo>
                    <a:pt x="808" y="344"/>
                  </a:lnTo>
                  <a:lnTo>
                    <a:pt x="808" y="342"/>
                  </a:lnTo>
                  <a:lnTo>
                    <a:pt x="806" y="342"/>
                  </a:lnTo>
                  <a:lnTo>
                    <a:pt x="804" y="342"/>
                  </a:lnTo>
                  <a:lnTo>
                    <a:pt x="804" y="342"/>
                  </a:lnTo>
                  <a:lnTo>
                    <a:pt x="802" y="342"/>
                  </a:lnTo>
                  <a:lnTo>
                    <a:pt x="802" y="342"/>
                  </a:lnTo>
                  <a:lnTo>
                    <a:pt x="798" y="342"/>
                  </a:lnTo>
                  <a:lnTo>
                    <a:pt x="796" y="342"/>
                  </a:lnTo>
                  <a:lnTo>
                    <a:pt x="796" y="342"/>
                  </a:lnTo>
                  <a:lnTo>
                    <a:pt x="794" y="344"/>
                  </a:lnTo>
                  <a:lnTo>
                    <a:pt x="794" y="344"/>
                  </a:lnTo>
                  <a:lnTo>
                    <a:pt x="794" y="344"/>
                  </a:lnTo>
                  <a:lnTo>
                    <a:pt x="794" y="346"/>
                  </a:lnTo>
                  <a:lnTo>
                    <a:pt x="793" y="346"/>
                  </a:lnTo>
                  <a:lnTo>
                    <a:pt x="793" y="346"/>
                  </a:lnTo>
                  <a:lnTo>
                    <a:pt x="791" y="346"/>
                  </a:lnTo>
                  <a:lnTo>
                    <a:pt x="791" y="346"/>
                  </a:lnTo>
                  <a:lnTo>
                    <a:pt x="789" y="346"/>
                  </a:lnTo>
                  <a:lnTo>
                    <a:pt x="789" y="346"/>
                  </a:lnTo>
                  <a:lnTo>
                    <a:pt x="789" y="348"/>
                  </a:lnTo>
                  <a:lnTo>
                    <a:pt x="789" y="350"/>
                  </a:lnTo>
                  <a:lnTo>
                    <a:pt x="789" y="350"/>
                  </a:lnTo>
                  <a:lnTo>
                    <a:pt x="789" y="350"/>
                  </a:lnTo>
                  <a:lnTo>
                    <a:pt x="789" y="350"/>
                  </a:lnTo>
                  <a:lnTo>
                    <a:pt x="787" y="350"/>
                  </a:lnTo>
                  <a:lnTo>
                    <a:pt x="787" y="350"/>
                  </a:lnTo>
                  <a:lnTo>
                    <a:pt x="787" y="348"/>
                  </a:lnTo>
                  <a:lnTo>
                    <a:pt x="787" y="348"/>
                  </a:lnTo>
                  <a:lnTo>
                    <a:pt x="787" y="346"/>
                  </a:lnTo>
                  <a:lnTo>
                    <a:pt x="785" y="346"/>
                  </a:lnTo>
                  <a:lnTo>
                    <a:pt x="779" y="346"/>
                  </a:lnTo>
                  <a:lnTo>
                    <a:pt x="777" y="346"/>
                  </a:lnTo>
                  <a:lnTo>
                    <a:pt x="775" y="346"/>
                  </a:lnTo>
                  <a:lnTo>
                    <a:pt x="775" y="346"/>
                  </a:lnTo>
                  <a:lnTo>
                    <a:pt x="774" y="346"/>
                  </a:lnTo>
                  <a:lnTo>
                    <a:pt x="774" y="346"/>
                  </a:lnTo>
                  <a:lnTo>
                    <a:pt x="774" y="346"/>
                  </a:lnTo>
                  <a:lnTo>
                    <a:pt x="774" y="346"/>
                  </a:lnTo>
                  <a:lnTo>
                    <a:pt x="772" y="346"/>
                  </a:lnTo>
                  <a:lnTo>
                    <a:pt x="772" y="346"/>
                  </a:lnTo>
                  <a:lnTo>
                    <a:pt x="772" y="344"/>
                  </a:lnTo>
                  <a:lnTo>
                    <a:pt x="766" y="344"/>
                  </a:lnTo>
                  <a:lnTo>
                    <a:pt x="762" y="344"/>
                  </a:lnTo>
                  <a:lnTo>
                    <a:pt x="762" y="344"/>
                  </a:lnTo>
                  <a:lnTo>
                    <a:pt x="760" y="344"/>
                  </a:lnTo>
                  <a:lnTo>
                    <a:pt x="758" y="344"/>
                  </a:lnTo>
                  <a:lnTo>
                    <a:pt x="756" y="348"/>
                  </a:lnTo>
                  <a:lnTo>
                    <a:pt x="754" y="348"/>
                  </a:lnTo>
                  <a:lnTo>
                    <a:pt x="741" y="354"/>
                  </a:lnTo>
                  <a:lnTo>
                    <a:pt x="741" y="354"/>
                  </a:lnTo>
                  <a:lnTo>
                    <a:pt x="741" y="354"/>
                  </a:lnTo>
                  <a:lnTo>
                    <a:pt x="739" y="354"/>
                  </a:lnTo>
                  <a:lnTo>
                    <a:pt x="739" y="354"/>
                  </a:lnTo>
                  <a:lnTo>
                    <a:pt x="737" y="354"/>
                  </a:lnTo>
                  <a:lnTo>
                    <a:pt x="737" y="357"/>
                  </a:lnTo>
                  <a:lnTo>
                    <a:pt x="735" y="357"/>
                  </a:lnTo>
                  <a:lnTo>
                    <a:pt x="735" y="359"/>
                  </a:lnTo>
                  <a:lnTo>
                    <a:pt x="732" y="359"/>
                  </a:lnTo>
                  <a:lnTo>
                    <a:pt x="732" y="359"/>
                  </a:lnTo>
                  <a:lnTo>
                    <a:pt x="732" y="359"/>
                  </a:lnTo>
                  <a:lnTo>
                    <a:pt x="732" y="359"/>
                  </a:lnTo>
                  <a:lnTo>
                    <a:pt x="732" y="356"/>
                  </a:lnTo>
                  <a:lnTo>
                    <a:pt x="732" y="354"/>
                  </a:lnTo>
                  <a:lnTo>
                    <a:pt x="732" y="352"/>
                  </a:lnTo>
                  <a:lnTo>
                    <a:pt x="732" y="352"/>
                  </a:lnTo>
                  <a:lnTo>
                    <a:pt x="732" y="350"/>
                  </a:lnTo>
                  <a:lnTo>
                    <a:pt x="734" y="350"/>
                  </a:lnTo>
                  <a:lnTo>
                    <a:pt x="734" y="348"/>
                  </a:lnTo>
                  <a:lnTo>
                    <a:pt x="737" y="346"/>
                  </a:lnTo>
                  <a:lnTo>
                    <a:pt x="753" y="338"/>
                  </a:lnTo>
                  <a:lnTo>
                    <a:pt x="754" y="338"/>
                  </a:lnTo>
                  <a:lnTo>
                    <a:pt x="760" y="338"/>
                  </a:lnTo>
                  <a:lnTo>
                    <a:pt x="760" y="337"/>
                  </a:lnTo>
                  <a:lnTo>
                    <a:pt x="762" y="337"/>
                  </a:lnTo>
                  <a:lnTo>
                    <a:pt x="762" y="335"/>
                  </a:lnTo>
                  <a:lnTo>
                    <a:pt x="760" y="335"/>
                  </a:lnTo>
                  <a:lnTo>
                    <a:pt x="760" y="335"/>
                  </a:lnTo>
                  <a:lnTo>
                    <a:pt x="760" y="335"/>
                  </a:lnTo>
                  <a:lnTo>
                    <a:pt x="758" y="335"/>
                  </a:lnTo>
                  <a:lnTo>
                    <a:pt x="758" y="335"/>
                  </a:lnTo>
                  <a:lnTo>
                    <a:pt x="758" y="337"/>
                  </a:lnTo>
                  <a:lnTo>
                    <a:pt x="758" y="337"/>
                  </a:lnTo>
                  <a:lnTo>
                    <a:pt x="756" y="337"/>
                  </a:lnTo>
                  <a:lnTo>
                    <a:pt x="756" y="335"/>
                  </a:lnTo>
                  <a:lnTo>
                    <a:pt x="754" y="333"/>
                  </a:lnTo>
                  <a:lnTo>
                    <a:pt x="754" y="333"/>
                  </a:lnTo>
                  <a:lnTo>
                    <a:pt x="754" y="333"/>
                  </a:lnTo>
                  <a:lnTo>
                    <a:pt x="754" y="333"/>
                  </a:lnTo>
                  <a:lnTo>
                    <a:pt x="753" y="333"/>
                  </a:lnTo>
                  <a:lnTo>
                    <a:pt x="753" y="333"/>
                  </a:lnTo>
                  <a:lnTo>
                    <a:pt x="753" y="333"/>
                  </a:lnTo>
                  <a:lnTo>
                    <a:pt x="753" y="333"/>
                  </a:lnTo>
                  <a:lnTo>
                    <a:pt x="753" y="333"/>
                  </a:lnTo>
                  <a:lnTo>
                    <a:pt x="751" y="333"/>
                  </a:lnTo>
                  <a:lnTo>
                    <a:pt x="747" y="333"/>
                  </a:lnTo>
                  <a:lnTo>
                    <a:pt x="745" y="333"/>
                  </a:lnTo>
                  <a:lnTo>
                    <a:pt x="745" y="333"/>
                  </a:lnTo>
                  <a:lnTo>
                    <a:pt x="745" y="331"/>
                  </a:lnTo>
                  <a:lnTo>
                    <a:pt x="745" y="329"/>
                  </a:lnTo>
                  <a:lnTo>
                    <a:pt x="745" y="329"/>
                  </a:lnTo>
                  <a:lnTo>
                    <a:pt x="743" y="329"/>
                  </a:lnTo>
                  <a:lnTo>
                    <a:pt x="743" y="329"/>
                  </a:lnTo>
                  <a:lnTo>
                    <a:pt x="743" y="329"/>
                  </a:lnTo>
                  <a:lnTo>
                    <a:pt x="741" y="329"/>
                  </a:lnTo>
                  <a:lnTo>
                    <a:pt x="741" y="329"/>
                  </a:lnTo>
                  <a:lnTo>
                    <a:pt x="741" y="327"/>
                  </a:lnTo>
                  <a:lnTo>
                    <a:pt x="741" y="327"/>
                  </a:lnTo>
                  <a:lnTo>
                    <a:pt x="741" y="327"/>
                  </a:lnTo>
                  <a:lnTo>
                    <a:pt x="741" y="327"/>
                  </a:lnTo>
                  <a:lnTo>
                    <a:pt x="741" y="325"/>
                  </a:lnTo>
                  <a:lnTo>
                    <a:pt x="743" y="325"/>
                  </a:lnTo>
                  <a:lnTo>
                    <a:pt x="749" y="323"/>
                  </a:lnTo>
                  <a:lnTo>
                    <a:pt x="749" y="323"/>
                  </a:lnTo>
                  <a:lnTo>
                    <a:pt x="751" y="321"/>
                  </a:lnTo>
                  <a:lnTo>
                    <a:pt x="751" y="321"/>
                  </a:lnTo>
                  <a:lnTo>
                    <a:pt x="751" y="319"/>
                  </a:lnTo>
                  <a:lnTo>
                    <a:pt x="753" y="319"/>
                  </a:lnTo>
                  <a:lnTo>
                    <a:pt x="754" y="317"/>
                  </a:lnTo>
                  <a:lnTo>
                    <a:pt x="756" y="316"/>
                  </a:lnTo>
                  <a:lnTo>
                    <a:pt x="754" y="314"/>
                  </a:lnTo>
                  <a:lnTo>
                    <a:pt x="754" y="314"/>
                  </a:lnTo>
                  <a:lnTo>
                    <a:pt x="754" y="314"/>
                  </a:lnTo>
                  <a:lnTo>
                    <a:pt x="754" y="314"/>
                  </a:lnTo>
                  <a:lnTo>
                    <a:pt x="753" y="312"/>
                  </a:lnTo>
                  <a:lnTo>
                    <a:pt x="753" y="310"/>
                  </a:lnTo>
                  <a:lnTo>
                    <a:pt x="753" y="308"/>
                  </a:lnTo>
                  <a:lnTo>
                    <a:pt x="751" y="308"/>
                  </a:lnTo>
                  <a:lnTo>
                    <a:pt x="751" y="306"/>
                  </a:lnTo>
                  <a:lnTo>
                    <a:pt x="751" y="304"/>
                  </a:lnTo>
                  <a:lnTo>
                    <a:pt x="751" y="304"/>
                  </a:lnTo>
                  <a:lnTo>
                    <a:pt x="751" y="302"/>
                  </a:lnTo>
                  <a:lnTo>
                    <a:pt x="751" y="302"/>
                  </a:lnTo>
                  <a:lnTo>
                    <a:pt x="749" y="302"/>
                  </a:lnTo>
                  <a:lnTo>
                    <a:pt x="747" y="302"/>
                  </a:lnTo>
                  <a:lnTo>
                    <a:pt x="747" y="302"/>
                  </a:lnTo>
                  <a:lnTo>
                    <a:pt x="747" y="302"/>
                  </a:lnTo>
                  <a:lnTo>
                    <a:pt x="741" y="298"/>
                  </a:lnTo>
                  <a:lnTo>
                    <a:pt x="741" y="297"/>
                  </a:lnTo>
                  <a:lnTo>
                    <a:pt x="739" y="297"/>
                  </a:lnTo>
                  <a:lnTo>
                    <a:pt x="737" y="297"/>
                  </a:lnTo>
                  <a:lnTo>
                    <a:pt x="737" y="297"/>
                  </a:lnTo>
                  <a:lnTo>
                    <a:pt x="737" y="297"/>
                  </a:lnTo>
                  <a:lnTo>
                    <a:pt x="735" y="295"/>
                  </a:lnTo>
                  <a:lnTo>
                    <a:pt x="735" y="295"/>
                  </a:lnTo>
                  <a:lnTo>
                    <a:pt x="734" y="293"/>
                  </a:lnTo>
                  <a:lnTo>
                    <a:pt x="734" y="289"/>
                  </a:lnTo>
                  <a:lnTo>
                    <a:pt x="732" y="287"/>
                  </a:lnTo>
                  <a:lnTo>
                    <a:pt x="732" y="285"/>
                  </a:lnTo>
                  <a:lnTo>
                    <a:pt x="726" y="281"/>
                  </a:lnTo>
                  <a:lnTo>
                    <a:pt x="726" y="279"/>
                  </a:lnTo>
                  <a:lnTo>
                    <a:pt x="726" y="278"/>
                  </a:lnTo>
                  <a:lnTo>
                    <a:pt x="726" y="278"/>
                  </a:lnTo>
                  <a:lnTo>
                    <a:pt x="726" y="276"/>
                  </a:lnTo>
                  <a:lnTo>
                    <a:pt x="726" y="276"/>
                  </a:lnTo>
                  <a:lnTo>
                    <a:pt x="726" y="274"/>
                  </a:lnTo>
                  <a:lnTo>
                    <a:pt x="726" y="274"/>
                  </a:lnTo>
                  <a:lnTo>
                    <a:pt x="724" y="274"/>
                  </a:lnTo>
                  <a:lnTo>
                    <a:pt x="724" y="272"/>
                  </a:lnTo>
                  <a:lnTo>
                    <a:pt x="724" y="272"/>
                  </a:lnTo>
                  <a:lnTo>
                    <a:pt x="724" y="272"/>
                  </a:lnTo>
                  <a:lnTo>
                    <a:pt x="724" y="270"/>
                  </a:lnTo>
                  <a:lnTo>
                    <a:pt x="726" y="270"/>
                  </a:lnTo>
                  <a:lnTo>
                    <a:pt x="726" y="270"/>
                  </a:lnTo>
                  <a:lnTo>
                    <a:pt x="726" y="268"/>
                  </a:lnTo>
                  <a:lnTo>
                    <a:pt x="726" y="266"/>
                  </a:lnTo>
                  <a:lnTo>
                    <a:pt x="726" y="264"/>
                  </a:lnTo>
                  <a:lnTo>
                    <a:pt x="724" y="264"/>
                  </a:lnTo>
                  <a:lnTo>
                    <a:pt x="724" y="264"/>
                  </a:lnTo>
                  <a:lnTo>
                    <a:pt x="724" y="262"/>
                  </a:lnTo>
                  <a:lnTo>
                    <a:pt x="722" y="262"/>
                  </a:lnTo>
                  <a:lnTo>
                    <a:pt x="722" y="262"/>
                  </a:lnTo>
                  <a:lnTo>
                    <a:pt x="722" y="262"/>
                  </a:lnTo>
                  <a:lnTo>
                    <a:pt x="722" y="262"/>
                  </a:lnTo>
                  <a:lnTo>
                    <a:pt x="722" y="259"/>
                  </a:lnTo>
                  <a:lnTo>
                    <a:pt x="722" y="257"/>
                  </a:lnTo>
                  <a:lnTo>
                    <a:pt x="720" y="253"/>
                  </a:lnTo>
                  <a:lnTo>
                    <a:pt x="718" y="253"/>
                  </a:lnTo>
                  <a:lnTo>
                    <a:pt x="716" y="255"/>
                  </a:lnTo>
                  <a:lnTo>
                    <a:pt x="716" y="255"/>
                  </a:lnTo>
                  <a:lnTo>
                    <a:pt x="716" y="255"/>
                  </a:lnTo>
                  <a:lnTo>
                    <a:pt x="716" y="255"/>
                  </a:lnTo>
                  <a:lnTo>
                    <a:pt x="714" y="253"/>
                  </a:lnTo>
                  <a:lnTo>
                    <a:pt x="714" y="253"/>
                  </a:lnTo>
                  <a:lnTo>
                    <a:pt x="714" y="251"/>
                  </a:lnTo>
                  <a:lnTo>
                    <a:pt x="713" y="251"/>
                  </a:lnTo>
                  <a:lnTo>
                    <a:pt x="713" y="253"/>
                  </a:lnTo>
                  <a:lnTo>
                    <a:pt x="713" y="253"/>
                  </a:lnTo>
                  <a:lnTo>
                    <a:pt x="711" y="253"/>
                  </a:lnTo>
                  <a:lnTo>
                    <a:pt x="711" y="253"/>
                  </a:lnTo>
                  <a:lnTo>
                    <a:pt x="711" y="253"/>
                  </a:lnTo>
                  <a:lnTo>
                    <a:pt x="711" y="251"/>
                  </a:lnTo>
                  <a:lnTo>
                    <a:pt x="709" y="251"/>
                  </a:lnTo>
                  <a:lnTo>
                    <a:pt x="709" y="253"/>
                  </a:lnTo>
                  <a:lnTo>
                    <a:pt x="707" y="255"/>
                  </a:lnTo>
                  <a:lnTo>
                    <a:pt x="705" y="255"/>
                  </a:lnTo>
                  <a:lnTo>
                    <a:pt x="705" y="255"/>
                  </a:lnTo>
                  <a:lnTo>
                    <a:pt x="701" y="253"/>
                  </a:lnTo>
                  <a:lnTo>
                    <a:pt x="699" y="253"/>
                  </a:lnTo>
                  <a:lnTo>
                    <a:pt x="699" y="253"/>
                  </a:lnTo>
                  <a:lnTo>
                    <a:pt x="697" y="255"/>
                  </a:lnTo>
                  <a:lnTo>
                    <a:pt x="697" y="255"/>
                  </a:lnTo>
                  <a:lnTo>
                    <a:pt x="699" y="257"/>
                  </a:lnTo>
                  <a:lnTo>
                    <a:pt x="701" y="259"/>
                  </a:lnTo>
                  <a:lnTo>
                    <a:pt x="701" y="259"/>
                  </a:lnTo>
                  <a:lnTo>
                    <a:pt x="701" y="259"/>
                  </a:lnTo>
                  <a:lnTo>
                    <a:pt x="701" y="260"/>
                  </a:lnTo>
                  <a:lnTo>
                    <a:pt x="697" y="260"/>
                  </a:lnTo>
                  <a:lnTo>
                    <a:pt x="695" y="260"/>
                  </a:lnTo>
                  <a:lnTo>
                    <a:pt x="693" y="262"/>
                  </a:lnTo>
                  <a:lnTo>
                    <a:pt x="693" y="264"/>
                  </a:lnTo>
                  <a:lnTo>
                    <a:pt x="692" y="266"/>
                  </a:lnTo>
                  <a:lnTo>
                    <a:pt x="690" y="266"/>
                  </a:lnTo>
                  <a:lnTo>
                    <a:pt x="686" y="266"/>
                  </a:lnTo>
                  <a:lnTo>
                    <a:pt x="686" y="266"/>
                  </a:lnTo>
                  <a:lnTo>
                    <a:pt x="686" y="266"/>
                  </a:lnTo>
                  <a:lnTo>
                    <a:pt x="684" y="266"/>
                  </a:lnTo>
                  <a:lnTo>
                    <a:pt x="684" y="264"/>
                  </a:lnTo>
                  <a:lnTo>
                    <a:pt x="686" y="264"/>
                  </a:lnTo>
                  <a:lnTo>
                    <a:pt x="686" y="264"/>
                  </a:lnTo>
                  <a:lnTo>
                    <a:pt x="688" y="264"/>
                  </a:lnTo>
                  <a:lnTo>
                    <a:pt x="688" y="262"/>
                  </a:lnTo>
                  <a:lnTo>
                    <a:pt x="688" y="262"/>
                  </a:lnTo>
                  <a:lnTo>
                    <a:pt x="688" y="262"/>
                  </a:lnTo>
                  <a:lnTo>
                    <a:pt x="686" y="262"/>
                  </a:lnTo>
                  <a:lnTo>
                    <a:pt x="686" y="260"/>
                  </a:lnTo>
                  <a:lnTo>
                    <a:pt x="686" y="260"/>
                  </a:lnTo>
                  <a:lnTo>
                    <a:pt x="686" y="259"/>
                  </a:lnTo>
                  <a:lnTo>
                    <a:pt x="688" y="253"/>
                  </a:lnTo>
                  <a:lnTo>
                    <a:pt x="688" y="251"/>
                  </a:lnTo>
                  <a:lnTo>
                    <a:pt x="690" y="249"/>
                  </a:lnTo>
                  <a:lnTo>
                    <a:pt x="690" y="249"/>
                  </a:lnTo>
                  <a:lnTo>
                    <a:pt x="690" y="247"/>
                  </a:lnTo>
                  <a:lnTo>
                    <a:pt x="690" y="247"/>
                  </a:lnTo>
                  <a:lnTo>
                    <a:pt x="690" y="243"/>
                  </a:lnTo>
                  <a:lnTo>
                    <a:pt x="690" y="241"/>
                  </a:lnTo>
                  <a:lnTo>
                    <a:pt x="690" y="241"/>
                  </a:lnTo>
                  <a:lnTo>
                    <a:pt x="690" y="240"/>
                  </a:lnTo>
                  <a:lnTo>
                    <a:pt x="690" y="238"/>
                  </a:lnTo>
                  <a:lnTo>
                    <a:pt x="690" y="238"/>
                  </a:lnTo>
                  <a:lnTo>
                    <a:pt x="690" y="236"/>
                  </a:lnTo>
                  <a:lnTo>
                    <a:pt x="690" y="236"/>
                  </a:lnTo>
                  <a:lnTo>
                    <a:pt x="690" y="234"/>
                  </a:lnTo>
                  <a:lnTo>
                    <a:pt x="690" y="234"/>
                  </a:lnTo>
                  <a:lnTo>
                    <a:pt x="688" y="234"/>
                  </a:lnTo>
                  <a:lnTo>
                    <a:pt x="688" y="232"/>
                  </a:lnTo>
                  <a:lnTo>
                    <a:pt x="688" y="230"/>
                  </a:lnTo>
                  <a:lnTo>
                    <a:pt x="688" y="228"/>
                  </a:lnTo>
                  <a:lnTo>
                    <a:pt x="688" y="226"/>
                  </a:lnTo>
                  <a:lnTo>
                    <a:pt x="690" y="220"/>
                  </a:lnTo>
                  <a:lnTo>
                    <a:pt x="690" y="219"/>
                  </a:lnTo>
                  <a:lnTo>
                    <a:pt x="690" y="217"/>
                  </a:lnTo>
                  <a:lnTo>
                    <a:pt x="690" y="217"/>
                  </a:lnTo>
                  <a:lnTo>
                    <a:pt x="688" y="215"/>
                  </a:lnTo>
                  <a:lnTo>
                    <a:pt x="684" y="213"/>
                  </a:lnTo>
                  <a:lnTo>
                    <a:pt x="684" y="211"/>
                  </a:lnTo>
                  <a:lnTo>
                    <a:pt x="682" y="209"/>
                  </a:lnTo>
                  <a:lnTo>
                    <a:pt x="682" y="209"/>
                  </a:lnTo>
                  <a:lnTo>
                    <a:pt x="682" y="209"/>
                  </a:lnTo>
                  <a:lnTo>
                    <a:pt x="680" y="209"/>
                  </a:lnTo>
                  <a:lnTo>
                    <a:pt x="680" y="209"/>
                  </a:lnTo>
                  <a:lnTo>
                    <a:pt x="680" y="209"/>
                  </a:lnTo>
                  <a:lnTo>
                    <a:pt x="678" y="209"/>
                  </a:lnTo>
                  <a:lnTo>
                    <a:pt x="676" y="209"/>
                  </a:lnTo>
                  <a:lnTo>
                    <a:pt x="676" y="211"/>
                  </a:lnTo>
                  <a:lnTo>
                    <a:pt x="676" y="211"/>
                  </a:lnTo>
                  <a:lnTo>
                    <a:pt x="674" y="213"/>
                  </a:lnTo>
                  <a:lnTo>
                    <a:pt x="673" y="217"/>
                  </a:lnTo>
                  <a:lnTo>
                    <a:pt x="671" y="217"/>
                  </a:lnTo>
                  <a:lnTo>
                    <a:pt x="671" y="219"/>
                  </a:lnTo>
                  <a:lnTo>
                    <a:pt x="669" y="219"/>
                  </a:lnTo>
                  <a:lnTo>
                    <a:pt x="667" y="220"/>
                  </a:lnTo>
                  <a:lnTo>
                    <a:pt x="667" y="220"/>
                  </a:lnTo>
                  <a:lnTo>
                    <a:pt x="665" y="220"/>
                  </a:lnTo>
                  <a:lnTo>
                    <a:pt x="665" y="222"/>
                  </a:lnTo>
                  <a:lnTo>
                    <a:pt x="663" y="222"/>
                  </a:lnTo>
                  <a:lnTo>
                    <a:pt x="663" y="222"/>
                  </a:lnTo>
                  <a:lnTo>
                    <a:pt x="663" y="224"/>
                  </a:lnTo>
                  <a:lnTo>
                    <a:pt x="661" y="224"/>
                  </a:lnTo>
                  <a:lnTo>
                    <a:pt x="661" y="224"/>
                  </a:lnTo>
                  <a:lnTo>
                    <a:pt x="661" y="226"/>
                  </a:lnTo>
                  <a:lnTo>
                    <a:pt x="661" y="226"/>
                  </a:lnTo>
                  <a:lnTo>
                    <a:pt x="663" y="228"/>
                  </a:lnTo>
                  <a:lnTo>
                    <a:pt x="663" y="230"/>
                  </a:lnTo>
                  <a:lnTo>
                    <a:pt x="663" y="230"/>
                  </a:lnTo>
                  <a:lnTo>
                    <a:pt x="663" y="230"/>
                  </a:lnTo>
                  <a:lnTo>
                    <a:pt x="663" y="232"/>
                  </a:lnTo>
                  <a:lnTo>
                    <a:pt x="661" y="232"/>
                  </a:lnTo>
                  <a:lnTo>
                    <a:pt x="659" y="232"/>
                  </a:lnTo>
                  <a:lnTo>
                    <a:pt x="659" y="232"/>
                  </a:lnTo>
                  <a:lnTo>
                    <a:pt x="657" y="232"/>
                  </a:lnTo>
                  <a:lnTo>
                    <a:pt x="657" y="232"/>
                  </a:lnTo>
                  <a:lnTo>
                    <a:pt x="657" y="234"/>
                  </a:lnTo>
                  <a:lnTo>
                    <a:pt x="655" y="236"/>
                  </a:lnTo>
                  <a:lnTo>
                    <a:pt x="653" y="236"/>
                  </a:lnTo>
                  <a:lnTo>
                    <a:pt x="653" y="236"/>
                  </a:lnTo>
                  <a:lnTo>
                    <a:pt x="653" y="236"/>
                  </a:lnTo>
                  <a:lnTo>
                    <a:pt x="652" y="234"/>
                  </a:lnTo>
                  <a:lnTo>
                    <a:pt x="652" y="234"/>
                  </a:lnTo>
                  <a:lnTo>
                    <a:pt x="652" y="230"/>
                  </a:lnTo>
                  <a:lnTo>
                    <a:pt x="652" y="228"/>
                  </a:lnTo>
                  <a:lnTo>
                    <a:pt x="650" y="228"/>
                  </a:lnTo>
                  <a:lnTo>
                    <a:pt x="650" y="228"/>
                  </a:lnTo>
                  <a:lnTo>
                    <a:pt x="648" y="228"/>
                  </a:lnTo>
                  <a:lnTo>
                    <a:pt x="648" y="228"/>
                  </a:lnTo>
                  <a:lnTo>
                    <a:pt x="644" y="226"/>
                  </a:lnTo>
                  <a:lnTo>
                    <a:pt x="644" y="226"/>
                  </a:lnTo>
                  <a:lnTo>
                    <a:pt x="644" y="226"/>
                  </a:lnTo>
                  <a:lnTo>
                    <a:pt x="644" y="224"/>
                  </a:lnTo>
                  <a:lnTo>
                    <a:pt x="646" y="224"/>
                  </a:lnTo>
                  <a:lnTo>
                    <a:pt x="646" y="224"/>
                  </a:lnTo>
                  <a:lnTo>
                    <a:pt x="646" y="224"/>
                  </a:lnTo>
                  <a:lnTo>
                    <a:pt x="646" y="224"/>
                  </a:lnTo>
                  <a:lnTo>
                    <a:pt x="646" y="222"/>
                  </a:lnTo>
                  <a:lnTo>
                    <a:pt x="644" y="222"/>
                  </a:lnTo>
                  <a:lnTo>
                    <a:pt x="644" y="220"/>
                  </a:lnTo>
                  <a:lnTo>
                    <a:pt x="644" y="220"/>
                  </a:lnTo>
                  <a:lnTo>
                    <a:pt x="644" y="220"/>
                  </a:lnTo>
                  <a:lnTo>
                    <a:pt x="644" y="220"/>
                  </a:lnTo>
                  <a:lnTo>
                    <a:pt x="644" y="220"/>
                  </a:lnTo>
                  <a:lnTo>
                    <a:pt x="646" y="220"/>
                  </a:lnTo>
                  <a:lnTo>
                    <a:pt x="646" y="220"/>
                  </a:lnTo>
                  <a:lnTo>
                    <a:pt x="648" y="220"/>
                  </a:lnTo>
                  <a:lnTo>
                    <a:pt x="648" y="220"/>
                  </a:lnTo>
                  <a:lnTo>
                    <a:pt x="648" y="220"/>
                  </a:lnTo>
                  <a:lnTo>
                    <a:pt x="646" y="219"/>
                  </a:lnTo>
                  <a:lnTo>
                    <a:pt x="644" y="215"/>
                  </a:lnTo>
                  <a:lnTo>
                    <a:pt x="644" y="215"/>
                  </a:lnTo>
                  <a:lnTo>
                    <a:pt x="642" y="215"/>
                  </a:lnTo>
                  <a:lnTo>
                    <a:pt x="640" y="215"/>
                  </a:lnTo>
                  <a:lnTo>
                    <a:pt x="636" y="217"/>
                  </a:lnTo>
                  <a:lnTo>
                    <a:pt x="636" y="217"/>
                  </a:lnTo>
                  <a:lnTo>
                    <a:pt x="636" y="217"/>
                  </a:lnTo>
                  <a:lnTo>
                    <a:pt x="634" y="215"/>
                  </a:lnTo>
                  <a:lnTo>
                    <a:pt x="634" y="215"/>
                  </a:lnTo>
                  <a:lnTo>
                    <a:pt x="634" y="215"/>
                  </a:lnTo>
                  <a:lnTo>
                    <a:pt x="634" y="213"/>
                  </a:lnTo>
                  <a:lnTo>
                    <a:pt x="634" y="213"/>
                  </a:lnTo>
                  <a:lnTo>
                    <a:pt x="633" y="213"/>
                  </a:lnTo>
                  <a:lnTo>
                    <a:pt x="633" y="213"/>
                  </a:lnTo>
                  <a:lnTo>
                    <a:pt x="631" y="211"/>
                  </a:lnTo>
                  <a:lnTo>
                    <a:pt x="631" y="211"/>
                  </a:lnTo>
                  <a:lnTo>
                    <a:pt x="631" y="213"/>
                  </a:lnTo>
                  <a:lnTo>
                    <a:pt x="631" y="215"/>
                  </a:lnTo>
                  <a:lnTo>
                    <a:pt x="631" y="215"/>
                  </a:lnTo>
                  <a:lnTo>
                    <a:pt x="631" y="217"/>
                  </a:lnTo>
                  <a:lnTo>
                    <a:pt x="633" y="217"/>
                  </a:lnTo>
                  <a:lnTo>
                    <a:pt x="634" y="217"/>
                  </a:lnTo>
                  <a:lnTo>
                    <a:pt x="634" y="219"/>
                  </a:lnTo>
                  <a:lnTo>
                    <a:pt x="634" y="219"/>
                  </a:lnTo>
                  <a:lnTo>
                    <a:pt x="633" y="219"/>
                  </a:lnTo>
                  <a:lnTo>
                    <a:pt x="633" y="220"/>
                  </a:lnTo>
                  <a:lnTo>
                    <a:pt x="631" y="220"/>
                  </a:lnTo>
                  <a:lnTo>
                    <a:pt x="631" y="220"/>
                  </a:lnTo>
                  <a:lnTo>
                    <a:pt x="631" y="220"/>
                  </a:lnTo>
                  <a:lnTo>
                    <a:pt x="631" y="222"/>
                  </a:lnTo>
                  <a:lnTo>
                    <a:pt x="633" y="222"/>
                  </a:lnTo>
                  <a:lnTo>
                    <a:pt x="634" y="222"/>
                  </a:lnTo>
                  <a:lnTo>
                    <a:pt x="634" y="224"/>
                  </a:lnTo>
                  <a:lnTo>
                    <a:pt x="634" y="224"/>
                  </a:lnTo>
                  <a:lnTo>
                    <a:pt x="634" y="226"/>
                  </a:lnTo>
                  <a:lnTo>
                    <a:pt x="633" y="228"/>
                  </a:lnTo>
                  <a:lnTo>
                    <a:pt x="633" y="228"/>
                  </a:lnTo>
                  <a:lnTo>
                    <a:pt x="631" y="228"/>
                  </a:lnTo>
                  <a:lnTo>
                    <a:pt x="627" y="224"/>
                  </a:lnTo>
                  <a:lnTo>
                    <a:pt x="627" y="224"/>
                  </a:lnTo>
                  <a:lnTo>
                    <a:pt x="625" y="224"/>
                  </a:lnTo>
                  <a:lnTo>
                    <a:pt x="625" y="224"/>
                  </a:lnTo>
                  <a:lnTo>
                    <a:pt x="625" y="226"/>
                  </a:lnTo>
                  <a:lnTo>
                    <a:pt x="623" y="226"/>
                  </a:lnTo>
                  <a:lnTo>
                    <a:pt x="623" y="226"/>
                  </a:lnTo>
                  <a:lnTo>
                    <a:pt x="621" y="226"/>
                  </a:lnTo>
                  <a:lnTo>
                    <a:pt x="619" y="224"/>
                  </a:lnTo>
                  <a:lnTo>
                    <a:pt x="619" y="224"/>
                  </a:lnTo>
                  <a:lnTo>
                    <a:pt x="619" y="224"/>
                  </a:lnTo>
                  <a:lnTo>
                    <a:pt x="619" y="226"/>
                  </a:lnTo>
                  <a:lnTo>
                    <a:pt x="617" y="226"/>
                  </a:lnTo>
                  <a:lnTo>
                    <a:pt x="617" y="226"/>
                  </a:lnTo>
                  <a:lnTo>
                    <a:pt x="617" y="228"/>
                  </a:lnTo>
                  <a:lnTo>
                    <a:pt x="617" y="230"/>
                  </a:lnTo>
                  <a:lnTo>
                    <a:pt x="617" y="230"/>
                  </a:lnTo>
                  <a:lnTo>
                    <a:pt x="617" y="234"/>
                  </a:lnTo>
                  <a:lnTo>
                    <a:pt x="619" y="238"/>
                  </a:lnTo>
                  <a:lnTo>
                    <a:pt x="619" y="240"/>
                  </a:lnTo>
                  <a:lnTo>
                    <a:pt x="619" y="241"/>
                  </a:lnTo>
                  <a:lnTo>
                    <a:pt x="619" y="241"/>
                  </a:lnTo>
                  <a:lnTo>
                    <a:pt x="619" y="243"/>
                  </a:lnTo>
                  <a:lnTo>
                    <a:pt x="621" y="243"/>
                  </a:lnTo>
                  <a:lnTo>
                    <a:pt x="621" y="245"/>
                  </a:lnTo>
                  <a:lnTo>
                    <a:pt x="621" y="245"/>
                  </a:lnTo>
                  <a:lnTo>
                    <a:pt x="621" y="247"/>
                  </a:lnTo>
                  <a:lnTo>
                    <a:pt x="621" y="247"/>
                  </a:lnTo>
                  <a:lnTo>
                    <a:pt x="623" y="249"/>
                  </a:lnTo>
                  <a:lnTo>
                    <a:pt x="623" y="249"/>
                  </a:lnTo>
                  <a:lnTo>
                    <a:pt x="623" y="249"/>
                  </a:lnTo>
                  <a:lnTo>
                    <a:pt x="621" y="251"/>
                  </a:lnTo>
                  <a:lnTo>
                    <a:pt x="619" y="253"/>
                  </a:lnTo>
                  <a:lnTo>
                    <a:pt x="615" y="251"/>
                  </a:lnTo>
                  <a:lnTo>
                    <a:pt x="613" y="249"/>
                  </a:lnTo>
                  <a:lnTo>
                    <a:pt x="612" y="247"/>
                  </a:lnTo>
                  <a:lnTo>
                    <a:pt x="602" y="249"/>
                  </a:lnTo>
                  <a:lnTo>
                    <a:pt x="602" y="249"/>
                  </a:lnTo>
                  <a:lnTo>
                    <a:pt x="600" y="247"/>
                  </a:lnTo>
                  <a:lnTo>
                    <a:pt x="600" y="247"/>
                  </a:lnTo>
                  <a:lnTo>
                    <a:pt x="600" y="245"/>
                  </a:lnTo>
                  <a:lnTo>
                    <a:pt x="600" y="245"/>
                  </a:lnTo>
                  <a:lnTo>
                    <a:pt x="600" y="243"/>
                  </a:lnTo>
                  <a:lnTo>
                    <a:pt x="600" y="243"/>
                  </a:lnTo>
                  <a:lnTo>
                    <a:pt x="596" y="241"/>
                  </a:lnTo>
                  <a:lnTo>
                    <a:pt x="596" y="240"/>
                  </a:lnTo>
                  <a:lnTo>
                    <a:pt x="596" y="238"/>
                  </a:lnTo>
                  <a:lnTo>
                    <a:pt x="596" y="238"/>
                  </a:lnTo>
                  <a:lnTo>
                    <a:pt x="598" y="238"/>
                  </a:lnTo>
                  <a:lnTo>
                    <a:pt x="600" y="238"/>
                  </a:lnTo>
                  <a:lnTo>
                    <a:pt x="600" y="238"/>
                  </a:lnTo>
                  <a:lnTo>
                    <a:pt x="600" y="236"/>
                  </a:lnTo>
                  <a:lnTo>
                    <a:pt x="602" y="236"/>
                  </a:lnTo>
                  <a:lnTo>
                    <a:pt x="602" y="236"/>
                  </a:lnTo>
                  <a:lnTo>
                    <a:pt x="600" y="234"/>
                  </a:lnTo>
                  <a:lnTo>
                    <a:pt x="600" y="234"/>
                  </a:lnTo>
                  <a:lnTo>
                    <a:pt x="600" y="232"/>
                  </a:lnTo>
                  <a:lnTo>
                    <a:pt x="600" y="232"/>
                  </a:lnTo>
                  <a:lnTo>
                    <a:pt x="600" y="232"/>
                  </a:lnTo>
                  <a:lnTo>
                    <a:pt x="600" y="232"/>
                  </a:lnTo>
                  <a:lnTo>
                    <a:pt x="600" y="232"/>
                  </a:lnTo>
                  <a:lnTo>
                    <a:pt x="600" y="230"/>
                  </a:lnTo>
                  <a:lnTo>
                    <a:pt x="602" y="230"/>
                  </a:lnTo>
                  <a:lnTo>
                    <a:pt x="602" y="228"/>
                  </a:lnTo>
                  <a:lnTo>
                    <a:pt x="602" y="228"/>
                  </a:lnTo>
                  <a:lnTo>
                    <a:pt x="604" y="226"/>
                  </a:lnTo>
                  <a:lnTo>
                    <a:pt x="606" y="224"/>
                  </a:lnTo>
                  <a:lnTo>
                    <a:pt x="606" y="222"/>
                  </a:lnTo>
                  <a:lnTo>
                    <a:pt x="606" y="222"/>
                  </a:lnTo>
                  <a:lnTo>
                    <a:pt x="604" y="220"/>
                  </a:lnTo>
                  <a:lnTo>
                    <a:pt x="604" y="220"/>
                  </a:lnTo>
                  <a:lnTo>
                    <a:pt x="604" y="220"/>
                  </a:lnTo>
                  <a:lnTo>
                    <a:pt x="602" y="222"/>
                  </a:lnTo>
                  <a:lnTo>
                    <a:pt x="602" y="222"/>
                  </a:lnTo>
                  <a:lnTo>
                    <a:pt x="602" y="222"/>
                  </a:lnTo>
                  <a:lnTo>
                    <a:pt x="602" y="224"/>
                  </a:lnTo>
                  <a:lnTo>
                    <a:pt x="600" y="224"/>
                  </a:lnTo>
                  <a:lnTo>
                    <a:pt x="600" y="224"/>
                  </a:lnTo>
                  <a:lnTo>
                    <a:pt x="598" y="222"/>
                  </a:lnTo>
                  <a:lnTo>
                    <a:pt x="598" y="220"/>
                  </a:lnTo>
                  <a:lnTo>
                    <a:pt x="596" y="220"/>
                  </a:lnTo>
                  <a:lnTo>
                    <a:pt x="598" y="219"/>
                  </a:lnTo>
                  <a:lnTo>
                    <a:pt x="598" y="219"/>
                  </a:lnTo>
                  <a:lnTo>
                    <a:pt x="598" y="219"/>
                  </a:lnTo>
                  <a:lnTo>
                    <a:pt x="600" y="219"/>
                  </a:lnTo>
                  <a:lnTo>
                    <a:pt x="602" y="217"/>
                  </a:lnTo>
                  <a:lnTo>
                    <a:pt x="602" y="217"/>
                  </a:lnTo>
                  <a:lnTo>
                    <a:pt x="604" y="217"/>
                  </a:lnTo>
                  <a:lnTo>
                    <a:pt x="604" y="215"/>
                  </a:lnTo>
                  <a:lnTo>
                    <a:pt x="606" y="213"/>
                  </a:lnTo>
                  <a:lnTo>
                    <a:pt x="606" y="213"/>
                  </a:lnTo>
                  <a:lnTo>
                    <a:pt x="606" y="213"/>
                  </a:lnTo>
                  <a:lnTo>
                    <a:pt x="608" y="215"/>
                  </a:lnTo>
                  <a:lnTo>
                    <a:pt x="608" y="217"/>
                  </a:lnTo>
                  <a:lnTo>
                    <a:pt x="610" y="217"/>
                  </a:lnTo>
                  <a:lnTo>
                    <a:pt x="610" y="215"/>
                  </a:lnTo>
                  <a:lnTo>
                    <a:pt x="610" y="215"/>
                  </a:lnTo>
                  <a:lnTo>
                    <a:pt x="610" y="213"/>
                  </a:lnTo>
                  <a:lnTo>
                    <a:pt x="608" y="211"/>
                  </a:lnTo>
                  <a:lnTo>
                    <a:pt x="608" y="211"/>
                  </a:lnTo>
                  <a:lnTo>
                    <a:pt x="608" y="209"/>
                  </a:lnTo>
                  <a:lnTo>
                    <a:pt x="606" y="207"/>
                  </a:lnTo>
                  <a:lnTo>
                    <a:pt x="606" y="205"/>
                  </a:lnTo>
                  <a:lnTo>
                    <a:pt x="598" y="198"/>
                  </a:lnTo>
                  <a:lnTo>
                    <a:pt x="594" y="192"/>
                  </a:lnTo>
                  <a:lnTo>
                    <a:pt x="592" y="190"/>
                  </a:lnTo>
                  <a:lnTo>
                    <a:pt x="591" y="190"/>
                  </a:lnTo>
                  <a:lnTo>
                    <a:pt x="589" y="190"/>
                  </a:lnTo>
                  <a:lnTo>
                    <a:pt x="587" y="188"/>
                  </a:lnTo>
                  <a:lnTo>
                    <a:pt x="585" y="188"/>
                  </a:lnTo>
                  <a:lnTo>
                    <a:pt x="585" y="188"/>
                  </a:lnTo>
                  <a:lnTo>
                    <a:pt x="585" y="188"/>
                  </a:lnTo>
                  <a:lnTo>
                    <a:pt x="583" y="188"/>
                  </a:lnTo>
                  <a:lnTo>
                    <a:pt x="583" y="188"/>
                  </a:lnTo>
                  <a:lnTo>
                    <a:pt x="581" y="188"/>
                  </a:lnTo>
                  <a:lnTo>
                    <a:pt x="581" y="186"/>
                  </a:lnTo>
                  <a:lnTo>
                    <a:pt x="581" y="184"/>
                  </a:lnTo>
                  <a:lnTo>
                    <a:pt x="581" y="184"/>
                  </a:lnTo>
                  <a:lnTo>
                    <a:pt x="581" y="184"/>
                  </a:lnTo>
                  <a:lnTo>
                    <a:pt x="581" y="182"/>
                  </a:lnTo>
                  <a:lnTo>
                    <a:pt x="579" y="182"/>
                  </a:lnTo>
                  <a:lnTo>
                    <a:pt x="575" y="179"/>
                  </a:lnTo>
                  <a:lnTo>
                    <a:pt x="572" y="175"/>
                  </a:lnTo>
                  <a:lnTo>
                    <a:pt x="572" y="173"/>
                  </a:lnTo>
                  <a:lnTo>
                    <a:pt x="572" y="173"/>
                  </a:lnTo>
                  <a:lnTo>
                    <a:pt x="570" y="173"/>
                  </a:lnTo>
                  <a:lnTo>
                    <a:pt x="568" y="169"/>
                  </a:lnTo>
                  <a:lnTo>
                    <a:pt x="566" y="167"/>
                  </a:lnTo>
                  <a:lnTo>
                    <a:pt x="566" y="165"/>
                  </a:lnTo>
                  <a:lnTo>
                    <a:pt x="564" y="163"/>
                  </a:lnTo>
                  <a:lnTo>
                    <a:pt x="560" y="154"/>
                  </a:lnTo>
                  <a:lnTo>
                    <a:pt x="560" y="150"/>
                  </a:lnTo>
                  <a:lnTo>
                    <a:pt x="558" y="148"/>
                  </a:lnTo>
                  <a:lnTo>
                    <a:pt x="558" y="146"/>
                  </a:lnTo>
                  <a:lnTo>
                    <a:pt x="558" y="144"/>
                  </a:lnTo>
                  <a:lnTo>
                    <a:pt x="556" y="143"/>
                  </a:lnTo>
                  <a:lnTo>
                    <a:pt x="556" y="141"/>
                  </a:lnTo>
                  <a:lnTo>
                    <a:pt x="556" y="137"/>
                  </a:lnTo>
                  <a:lnTo>
                    <a:pt x="554" y="135"/>
                  </a:lnTo>
                  <a:lnTo>
                    <a:pt x="554" y="135"/>
                  </a:lnTo>
                  <a:lnTo>
                    <a:pt x="556" y="135"/>
                  </a:lnTo>
                  <a:lnTo>
                    <a:pt x="556" y="133"/>
                  </a:lnTo>
                  <a:lnTo>
                    <a:pt x="556" y="133"/>
                  </a:lnTo>
                  <a:lnTo>
                    <a:pt x="558" y="133"/>
                  </a:lnTo>
                  <a:lnTo>
                    <a:pt x="558" y="131"/>
                  </a:lnTo>
                  <a:lnTo>
                    <a:pt x="558" y="131"/>
                  </a:lnTo>
                  <a:lnTo>
                    <a:pt x="558" y="129"/>
                  </a:lnTo>
                  <a:lnTo>
                    <a:pt x="558" y="127"/>
                  </a:lnTo>
                  <a:lnTo>
                    <a:pt x="558" y="127"/>
                  </a:lnTo>
                  <a:lnTo>
                    <a:pt x="556" y="127"/>
                  </a:lnTo>
                  <a:lnTo>
                    <a:pt x="552" y="125"/>
                  </a:lnTo>
                  <a:lnTo>
                    <a:pt x="552" y="125"/>
                  </a:lnTo>
                  <a:lnTo>
                    <a:pt x="549" y="122"/>
                  </a:lnTo>
                  <a:lnTo>
                    <a:pt x="549" y="120"/>
                  </a:lnTo>
                  <a:lnTo>
                    <a:pt x="547" y="118"/>
                  </a:lnTo>
                  <a:lnTo>
                    <a:pt x="547" y="116"/>
                  </a:lnTo>
                  <a:lnTo>
                    <a:pt x="547" y="116"/>
                  </a:lnTo>
                  <a:lnTo>
                    <a:pt x="547" y="114"/>
                  </a:lnTo>
                  <a:lnTo>
                    <a:pt x="547" y="114"/>
                  </a:lnTo>
                  <a:lnTo>
                    <a:pt x="547" y="114"/>
                  </a:lnTo>
                  <a:lnTo>
                    <a:pt x="547" y="112"/>
                  </a:lnTo>
                  <a:lnTo>
                    <a:pt x="545" y="112"/>
                  </a:lnTo>
                  <a:lnTo>
                    <a:pt x="545" y="110"/>
                  </a:lnTo>
                  <a:lnTo>
                    <a:pt x="545" y="110"/>
                  </a:lnTo>
                  <a:lnTo>
                    <a:pt x="545" y="110"/>
                  </a:lnTo>
                  <a:lnTo>
                    <a:pt x="545" y="108"/>
                  </a:lnTo>
                  <a:lnTo>
                    <a:pt x="547" y="108"/>
                  </a:lnTo>
                  <a:lnTo>
                    <a:pt x="547" y="108"/>
                  </a:lnTo>
                  <a:lnTo>
                    <a:pt x="547" y="108"/>
                  </a:lnTo>
                  <a:lnTo>
                    <a:pt x="549" y="108"/>
                  </a:lnTo>
                  <a:lnTo>
                    <a:pt x="549" y="106"/>
                  </a:lnTo>
                  <a:lnTo>
                    <a:pt x="549" y="106"/>
                  </a:lnTo>
                  <a:lnTo>
                    <a:pt x="549" y="106"/>
                  </a:lnTo>
                  <a:lnTo>
                    <a:pt x="549" y="104"/>
                  </a:lnTo>
                  <a:lnTo>
                    <a:pt x="547" y="103"/>
                  </a:lnTo>
                  <a:lnTo>
                    <a:pt x="547" y="101"/>
                  </a:lnTo>
                  <a:lnTo>
                    <a:pt x="547" y="101"/>
                  </a:lnTo>
                  <a:lnTo>
                    <a:pt x="545" y="101"/>
                  </a:lnTo>
                  <a:lnTo>
                    <a:pt x="543" y="101"/>
                  </a:lnTo>
                  <a:lnTo>
                    <a:pt x="543" y="103"/>
                  </a:lnTo>
                  <a:lnTo>
                    <a:pt x="543" y="103"/>
                  </a:lnTo>
                  <a:lnTo>
                    <a:pt x="541" y="103"/>
                  </a:lnTo>
                  <a:lnTo>
                    <a:pt x="541" y="103"/>
                  </a:lnTo>
                  <a:lnTo>
                    <a:pt x="541" y="103"/>
                  </a:lnTo>
                  <a:lnTo>
                    <a:pt x="541" y="103"/>
                  </a:lnTo>
                  <a:lnTo>
                    <a:pt x="539" y="101"/>
                  </a:lnTo>
                  <a:lnTo>
                    <a:pt x="541" y="101"/>
                  </a:lnTo>
                  <a:lnTo>
                    <a:pt x="541" y="99"/>
                  </a:lnTo>
                  <a:lnTo>
                    <a:pt x="541" y="97"/>
                  </a:lnTo>
                  <a:lnTo>
                    <a:pt x="541" y="97"/>
                  </a:lnTo>
                  <a:lnTo>
                    <a:pt x="539" y="97"/>
                  </a:lnTo>
                  <a:lnTo>
                    <a:pt x="539" y="97"/>
                  </a:lnTo>
                  <a:lnTo>
                    <a:pt x="535" y="99"/>
                  </a:lnTo>
                  <a:lnTo>
                    <a:pt x="535" y="99"/>
                  </a:lnTo>
                  <a:lnTo>
                    <a:pt x="535" y="99"/>
                  </a:lnTo>
                  <a:lnTo>
                    <a:pt x="535" y="99"/>
                  </a:lnTo>
                  <a:lnTo>
                    <a:pt x="535" y="101"/>
                  </a:lnTo>
                  <a:lnTo>
                    <a:pt x="535" y="101"/>
                  </a:lnTo>
                  <a:lnTo>
                    <a:pt x="533" y="101"/>
                  </a:lnTo>
                  <a:lnTo>
                    <a:pt x="532" y="101"/>
                  </a:lnTo>
                  <a:lnTo>
                    <a:pt x="530" y="101"/>
                  </a:lnTo>
                  <a:lnTo>
                    <a:pt x="528" y="101"/>
                  </a:lnTo>
                  <a:lnTo>
                    <a:pt x="528" y="99"/>
                  </a:lnTo>
                  <a:lnTo>
                    <a:pt x="528" y="99"/>
                  </a:lnTo>
                  <a:lnTo>
                    <a:pt x="526" y="99"/>
                  </a:lnTo>
                  <a:lnTo>
                    <a:pt x="526" y="101"/>
                  </a:lnTo>
                  <a:lnTo>
                    <a:pt x="524" y="101"/>
                  </a:lnTo>
                  <a:lnTo>
                    <a:pt x="522" y="101"/>
                  </a:lnTo>
                  <a:lnTo>
                    <a:pt x="522" y="103"/>
                  </a:lnTo>
                  <a:lnTo>
                    <a:pt x="520" y="103"/>
                  </a:lnTo>
                  <a:lnTo>
                    <a:pt x="520" y="103"/>
                  </a:lnTo>
                  <a:lnTo>
                    <a:pt x="518" y="103"/>
                  </a:lnTo>
                  <a:lnTo>
                    <a:pt x="518" y="103"/>
                  </a:lnTo>
                  <a:lnTo>
                    <a:pt x="516" y="103"/>
                  </a:lnTo>
                  <a:lnTo>
                    <a:pt x="516" y="103"/>
                  </a:lnTo>
                  <a:lnTo>
                    <a:pt x="516" y="99"/>
                  </a:lnTo>
                  <a:lnTo>
                    <a:pt x="514" y="99"/>
                  </a:lnTo>
                  <a:lnTo>
                    <a:pt x="514" y="97"/>
                  </a:lnTo>
                  <a:lnTo>
                    <a:pt x="512" y="97"/>
                  </a:lnTo>
                  <a:lnTo>
                    <a:pt x="512" y="97"/>
                  </a:lnTo>
                  <a:lnTo>
                    <a:pt x="511" y="99"/>
                  </a:lnTo>
                  <a:lnTo>
                    <a:pt x="511" y="99"/>
                  </a:lnTo>
                  <a:lnTo>
                    <a:pt x="509" y="99"/>
                  </a:lnTo>
                  <a:lnTo>
                    <a:pt x="509" y="99"/>
                  </a:lnTo>
                  <a:lnTo>
                    <a:pt x="507" y="99"/>
                  </a:lnTo>
                  <a:lnTo>
                    <a:pt x="507" y="97"/>
                  </a:lnTo>
                  <a:lnTo>
                    <a:pt x="507" y="97"/>
                  </a:lnTo>
                  <a:lnTo>
                    <a:pt x="505" y="93"/>
                  </a:lnTo>
                  <a:lnTo>
                    <a:pt x="505" y="91"/>
                  </a:lnTo>
                  <a:lnTo>
                    <a:pt x="505" y="91"/>
                  </a:lnTo>
                  <a:lnTo>
                    <a:pt x="503" y="89"/>
                  </a:lnTo>
                  <a:lnTo>
                    <a:pt x="503" y="89"/>
                  </a:lnTo>
                  <a:lnTo>
                    <a:pt x="501" y="87"/>
                  </a:lnTo>
                  <a:lnTo>
                    <a:pt x="501" y="87"/>
                  </a:lnTo>
                  <a:lnTo>
                    <a:pt x="499" y="87"/>
                  </a:lnTo>
                  <a:lnTo>
                    <a:pt x="497" y="87"/>
                  </a:lnTo>
                  <a:lnTo>
                    <a:pt x="497" y="85"/>
                  </a:lnTo>
                  <a:lnTo>
                    <a:pt x="495" y="85"/>
                  </a:lnTo>
                  <a:lnTo>
                    <a:pt x="495" y="85"/>
                  </a:lnTo>
                  <a:lnTo>
                    <a:pt x="493" y="85"/>
                  </a:lnTo>
                  <a:lnTo>
                    <a:pt x="493" y="85"/>
                  </a:lnTo>
                  <a:lnTo>
                    <a:pt x="491" y="87"/>
                  </a:lnTo>
                  <a:lnTo>
                    <a:pt x="490" y="87"/>
                  </a:lnTo>
                  <a:lnTo>
                    <a:pt x="490" y="89"/>
                  </a:lnTo>
                  <a:lnTo>
                    <a:pt x="490" y="89"/>
                  </a:lnTo>
                  <a:lnTo>
                    <a:pt x="488" y="89"/>
                  </a:lnTo>
                  <a:lnTo>
                    <a:pt x="486" y="89"/>
                  </a:lnTo>
                  <a:lnTo>
                    <a:pt x="484" y="89"/>
                  </a:lnTo>
                  <a:lnTo>
                    <a:pt x="482" y="89"/>
                  </a:lnTo>
                  <a:lnTo>
                    <a:pt x="480" y="89"/>
                  </a:lnTo>
                  <a:lnTo>
                    <a:pt x="478" y="89"/>
                  </a:lnTo>
                  <a:lnTo>
                    <a:pt x="478" y="89"/>
                  </a:lnTo>
                  <a:lnTo>
                    <a:pt x="478" y="89"/>
                  </a:lnTo>
                  <a:lnTo>
                    <a:pt x="478" y="89"/>
                  </a:lnTo>
                  <a:lnTo>
                    <a:pt x="478" y="91"/>
                  </a:lnTo>
                  <a:lnTo>
                    <a:pt x="476" y="91"/>
                  </a:lnTo>
                  <a:lnTo>
                    <a:pt x="476" y="93"/>
                  </a:lnTo>
                  <a:lnTo>
                    <a:pt x="476" y="93"/>
                  </a:lnTo>
                  <a:lnTo>
                    <a:pt x="476" y="93"/>
                  </a:lnTo>
                  <a:lnTo>
                    <a:pt x="474" y="93"/>
                  </a:lnTo>
                  <a:lnTo>
                    <a:pt x="474" y="93"/>
                  </a:lnTo>
                  <a:lnTo>
                    <a:pt x="472" y="91"/>
                  </a:lnTo>
                  <a:lnTo>
                    <a:pt x="472" y="89"/>
                  </a:lnTo>
                  <a:lnTo>
                    <a:pt x="472" y="87"/>
                  </a:lnTo>
                  <a:lnTo>
                    <a:pt x="471" y="85"/>
                  </a:lnTo>
                  <a:lnTo>
                    <a:pt x="471" y="85"/>
                  </a:lnTo>
                  <a:lnTo>
                    <a:pt x="469" y="84"/>
                  </a:lnTo>
                  <a:lnTo>
                    <a:pt x="469" y="82"/>
                  </a:lnTo>
                  <a:lnTo>
                    <a:pt x="469" y="82"/>
                  </a:lnTo>
                  <a:lnTo>
                    <a:pt x="467" y="82"/>
                  </a:lnTo>
                  <a:lnTo>
                    <a:pt x="467" y="80"/>
                  </a:lnTo>
                  <a:lnTo>
                    <a:pt x="469" y="80"/>
                  </a:lnTo>
                  <a:lnTo>
                    <a:pt x="469" y="78"/>
                  </a:lnTo>
                  <a:lnTo>
                    <a:pt x="469" y="78"/>
                  </a:lnTo>
                  <a:lnTo>
                    <a:pt x="472" y="78"/>
                  </a:lnTo>
                  <a:lnTo>
                    <a:pt x="472" y="78"/>
                  </a:lnTo>
                  <a:lnTo>
                    <a:pt x="474" y="78"/>
                  </a:lnTo>
                  <a:lnTo>
                    <a:pt x="474" y="78"/>
                  </a:lnTo>
                  <a:lnTo>
                    <a:pt x="474" y="76"/>
                  </a:lnTo>
                  <a:lnTo>
                    <a:pt x="474" y="72"/>
                  </a:lnTo>
                  <a:lnTo>
                    <a:pt x="474" y="72"/>
                  </a:lnTo>
                  <a:lnTo>
                    <a:pt x="474" y="70"/>
                  </a:lnTo>
                  <a:lnTo>
                    <a:pt x="472" y="68"/>
                  </a:lnTo>
                  <a:lnTo>
                    <a:pt x="471" y="66"/>
                  </a:lnTo>
                  <a:lnTo>
                    <a:pt x="471" y="66"/>
                  </a:lnTo>
                  <a:lnTo>
                    <a:pt x="472" y="57"/>
                  </a:lnTo>
                  <a:lnTo>
                    <a:pt x="472" y="55"/>
                  </a:lnTo>
                  <a:lnTo>
                    <a:pt x="474" y="51"/>
                  </a:lnTo>
                  <a:lnTo>
                    <a:pt x="474" y="49"/>
                  </a:lnTo>
                  <a:lnTo>
                    <a:pt x="474" y="47"/>
                  </a:lnTo>
                  <a:lnTo>
                    <a:pt x="472" y="47"/>
                  </a:lnTo>
                  <a:lnTo>
                    <a:pt x="472" y="47"/>
                  </a:lnTo>
                  <a:lnTo>
                    <a:pt x="472" y="46"/>
                  </a:lnTo>
                  <a:lnTo>
                    <a:pt x="471" y="47"/>
                  </a:lnTo>
                  <a:lnTo>
                    <a:pt x="471" y="47"/>
                  </a:lnTo>
                  <a:lnTo>
                    <a:pt x="471" y="47"/>
                  </a:lnTo>
                  <a:lnTo>
                    <a:pt x="471" y="47"/>
                  </a:lnTo>
                  <a:lnTo>
                    <a:pt x="471" y="47"/>
                  </a:lnTo>
                  <a:lnTo>
                    <a:pt x="469" y="47"/>
                  </a:lnTo>
                  <a:lnTo>
                    <a:pt x="469" y="47"/>
                  </a:lnTo>
                  <a:lnTo>
                    <a:pt x="467" y="49"/>
                  </a:lnTo>
                  <a:lnTo>
                    <a:pt x="467" y="49"/>
                  </a:lnTo>
                  <a:lnTo>
                    <a:pt x="465" y="49"/>
                  </a:lnTo>
                  <a:lnTo>
                    <a:pt x="465" y="49"/>
                  </a:lnTo>
                  <a:lnTo>
                    <a:pt x="465" y="49"/>
                  </a:lnTo>
                  <a:lnTo>
                    <a:pt x="463" y="49"/>
                  </a:lnTo>
                  <a:lnTo>
                    <a:pt x="463" y="49"/>
                  </a:lnTo>
                  <a:lnTo>
                    <a:pt x="461" y="49"/>
                  </a:lnTo>
                  <a:lnTo>
                    <a:pt x="461" y="47"/>
                  </a:lnTo>
                  <a:lnTo>
                    <a:pt x="461" y="47"/>
                  </a:lnTo>
                  <a:lnTo>
                    <a:pt x="461" y="46"/>
                  </a:lnTo>
                  <a:lnTo>
                    <a:pt x="461" y="44"/>
                  </a:lnTo>
                  <a:lnTo>
                    <a:pt x="461" y="42"/>
                  </a:lnTo>
                  <a:lnTo>
                    <a:pt x="463" y="40"/>
                  </a:lnTo>
                  <a:lnTo>
                    <a:pt x="463" y="40"/>
                  </a:lnTo>
                  <a:lnTo>
                    <a:pt x="463" y="40"/>
                  </a:lnTo>
                  <a:lnTo>
                    <a:pt x="467" y="40"/>
                  </a:lnTo>
                  <a:lnTo>
                    <a:pt x="467" y="38"/>
                  </a:lnTo>
                  <a:lnTo>
                    <a:pt x="469" y="38"/>
                  </a:lnTo>
                  <a:lnTo>
                    <a:pt x="469" y="36"/>
                  </a:lnTo>
                  <a:lnTo>
                    <a:pt x="469" y="36"/>
                  </a:lnTo>
                  <a:lnTo>
                    <a:pt x="469" y="34"/>
                  </a:lnTo>
                  <a:lnTo>
                    <a:pt x="469" y="34"/>
                  </a:lnTo>
                  <a:lnTo>
                    <a:pt x="467" y="32"/>
                  </a:lnTo>
                  <a:lnTo>
                    <a:pt x="467" y="32"/>
                  </a:lnTo>
                  <a:lnTo>
                    <a:pt x="465" y="32"/>
                  </a:lnTo>
                  <a:lnTo>
                    <a:pt x="465" y="30"/>
                  </a:lnTo>
                  <a:lnTo>
                    <a:pt x="465" y="28"/>
                  </a:lnTo>
                  <a:lnTo>
                    <a:pt x="453" y="26"/>
                  </a:lnTo>
                  <a:lnTo>
                    <a:pt x="444" y="26"/>
                  </a:lnTo>
                  <a:lnTo>
                    <a:pt x="410" y="25"/>
                  </a:lnTo>
                  <a:lnTo>
                    <a:pt x="408" y="25"/>
                  </a:lnTo>
                  <a:lnTo>
                    <a:pt x="408" y="23"/>
                  </a:lnTo>
                  <a:lnTo>
                    <a:pt x="408" y="23"/>
                  </a:lnTo>
                  <a:lnTo>
                    <a:pt x="408" y="21"/>
                  </a:lnTo>
                  <a:lnTo>
                    <a:pt x="408" y="19"/>
                  </a:lnTo>
                  <a:lnTo>
                    <a:pt x="415" y="7"/>
                  </a:lnTo>
                  <a:lnTo>
                    <a:pt x="415" y="7"/>
                  </a:lnTo>
                  <a:lnTo>
                    <a:pt x="415" y="6"/>
                  </a:lnTo>
                  <a:lnTo>
                    <a:pt x="415" y="4"/>
                  </a:lnTo>
                  <a:lnTo>
                    <a:pt x="415" y="2"/>
                  </a:lnTo>
                  <a:lnTo>
                    <a:pt x="413" y="0"/>
                  </a:lnTo>
                  <a:lnTo>
                    <a:pt x="413" y="2"/>
                  </a:lnTo>
                  <a:lnTo>
                    <a:pt x="398" y="15"/>
                  </a:lnTo>
                  <a:lnTo>
                    <a:pt x="394" y="17"/>
                  </a:lnTo>
                  <a:lnTo>
                    <a:pt x="377" y="21"/>
                  </a:lnTo>
                  <a:lnTo>
                    <a:pt x="362" y="28"/>
                  </a:lnTo>
                  <a:lnTo>
                    <a:pt x="360" y="30"/>
                  </a:lnTo>
                  <a:lnTo>
                    <a:pt x="356" y="44"/>
                  </a:lnTo>
                  <a:lnTo>
                    <a:pt x="352" y="55"/>
                  </a:lnTo>
                  <a:lnTo>
                    <a:pt x="347" y="70"/>
                  </a:lnTo>
                  <a:lnTo>
                    <a:pt x="343" y="82"/>
                  </a:lnTo>
                  <a:lnTo>
                    <a:pt x="337" y="89"/>
                  </a:lnTo>
                  <a:lnTo>
                    <a:pt x="330" y="104"/>
                  </a:lnTo>
                  <a:lnTo>
                    <a:pt x="324" y="112"/>
                  </a:lnTo>
                  <a:lnTo>
                    <a:pt x="322" y="116"/>
                  </a:lnTo>
                  <a:lnTo>
                    <a:pt x="320" y="123"/>
                  </a:lnTo>
                  <a:lnTo>
                    <a:pt x="318" y="123"/>
                  </a:lnTo>
                  <a:lnTo>
                    <a:pt x="316" y="125"/>
                  </a:lnTo>
                  <a:lnTo>
                    <a:pt x="305" y="131"/>
                  </a:lnTo>
                  <a:lnTo>
                    <a:pt x="293" y="137"/>
                  </a:lnTo>
                  <a:lnTo>
                    <a:pt x="282" y="144"/>
                  </a:lnTo>
                  <a:lnTo>
                    <a:pt x="269" y="150"/>
                  </a:lnTo>
                  <a:lnTo>
                    <a:pt x="267" y="152"/>
                  </a:lnTo>
                  <a:lnTo>
                    <a:pt x="259" y="162"/>
                  </a:lnTo>
                  <a:lnTo>
                    <a:pt x="257" y="165"/>
                  </a:lnTo>
                  <a:lnTo>
                    <a:pt x="251" y="186"/>
                  </a:lnTo>
                  <a:lnTo>
                    <a:pt x="249" y="192"/>
                  </a:lnTo>
                  <a:lnTo>
                    <a:pt x="248" y="196"/>
                  </a:lnTo>
                  <a:lnTo>
                    <a:pt x="244" y="200"/>
                  </a:lnTo>
                  <a:lnTo>
                    <a:pt x="232" y="209"/>
                  </a:lnTo>
                  <a:lnTo>
                    <a:pt x="225" y="219"/>
                  </a:lnTo>
                  <a:lnTo>
                    <a:pt x="223" y="220"/>
                  </a:lnTo>
                  <a:lnTo>
                    <a:pt x="223" y="222"/>
                  </a:lnTo>
                  <a:lnTo>
                    <a:pt x="223" y="236"/>
                  </a:lnTo>
                  <a:lnTo>
                    <a:pt x="221" y="238"/>
                  </a:lnTo>
                  <a:lnTo>
                    <a:pt x="221" y="238"/>
                  </a:lnTo>
                  <a:lnTo>
                    <a:pt x="206" y="243"/>
                  </a:lnTo>
                  <a:lnTo>
                    <a:pt x="192" y="247"/>
                  </a:lnTo>
                  <a:lnTo>
                    <a:pt x="185" y="247"/>
                  </a:lnTo>
                  <a:lnTo>
                    <a:pt x="177" y="247"/>
                  </a:lnTo>
                  <a:lnTo>
                    <a:pt x="169" y="247"/>
                  </a:lnTo>
                  <a:lnTo>
                    <a:pt x="162" y="249"/>
                  </a:lnTo>
                  <a:lnTo>
                    <a:pt x="154" y="251"/>
                  </a:lnTo>
                  <a:lnTo>
                    <a:pt x="143" y="257"/>
                  </a:lnTo>
                  <a:lnTo>
                    <a:pt x="133" y="262"/>
                  </a:lnTo>
                  <a:lnTo>
                    <a:pt x="126" y="264"/>
                  </a:lnTo>
                  <a:lnTo>
                    <a:pt x="118" y="262"/>
                  </a:lnTo>
                  <a:lnTo>
                    <a:pt x="114" y="260"/>
                  </a:lnTo>
                  <a:lnTo>
                    <a:pt x="110" y="255"/>
                  </a:lnTo>
                  <a:lnTo>
                    <a:pt x="108" y="247"/>
                  </a:lnTo>
                  <a:lnTo>
                    <a:pt x="107" y="245"/>
                  </a:lnTo>
                  <a:lnTo>
                    <a:pt x="108" y="241"/>
                  </a:lnTo>
                  <a:lnTo>
                    <a:pt x="107" y="240"/>
                  </a:lnTo>
                  <a:lnTo>
                    <a:pt x="107" y="238"/>
                  </a:lnTo>
                  <a:lnTo>
                    <a:pt x="103" y="236"/>
                  </a:lnTo>
                  <a:lnTo>
                    <a:pt x="101" y="234"/>
                  </a:lnTo>
                  <a:lnTo>
                    <a:pt x="97" y="232"/>
                  </a:lnTo>
                  <a:lnTo>
                    <a:pt x="95" y="230"/>
                  </a:lnTo>
                  <a:lnTo>
                    <a:pt x="93" y="228"/>
                  </a:lnTo>
                  <a:lnTo>
                    <a:pt x="91" y="228"/>
                  </a:lnTo>
                  <a:lnTo>
                    <a:pt x="89" y="228"/>
                  </a:lnTo>
                  <a:lnTo>
                    <a:pt x="86" y="230"/>
                  </a:lnTo>
                  <a:lnTo>
                    <a:pt x="82" y="232"/>
                  </a:lnTo>
                  <a:lnTo>
                    <a:pt x="80" y="232"/>
                  </a:lnTo>
                  <a:lnTo>
                    <a:pt x="78" y="232"/>
                  </a:lnTo>
                  <a:lnTo>
                    <a:pt x="74" y="238"/>
                  </a:lnTo>
                  <a:lnTo>
                    <a:pt x="67" y="243"/>
                  </a:lnTo>
                  <a:lnTo>
                    <a:pt x="67" y="243"/>
                  </a:lnTo>
                  <a:lnTo>
                    <a:pt x="59" y="253"/>
                  </a:lnTo>
                  <a:lnTo>
                    <a:pt x="57" y="255"/>
                  </a:lnTo>
                  <a:lnTo>
                    <a:pt x="49" y="274"/>
                  </a:lnTo>
                  <a:lnTo>
                    <a:pt x="48" y="278"/>
                  </a:lnTo>
                  <a:lnTo>
                    <a:pt x="40" y="285"/>
                  </a:lnTo>
                  <a:lnTo>
                    <a:pt x="34" y="295"/>
                  </a:lnTo>
                  <a:lnTo>
                    <a:pt x="25" y="304"/>
                  </a:lnTo>
                  <a:lnTo>
                    <a:pt x="17" y="308"/>
                  </a:lnTo>
                  <a:lnTo>
                    <a:pt x="9" y="317"/>
                  </a:lnTo>
                  <a:lnTo>
                    <a:pt x="6" y="323"/>
                  </a:lnTo>
                  <a:lnTo>
                    <a:pt x="4" y="331"/>
                  </a:lnTo>
                  <a:lnTo>
                    <a:pt x="2" y="344"/>
                  </a:lnTo>
                  <a:lnTo>
                    <a:pt x="0" y="356"/>
                  </a:lnTo>
                  <a:lnTo>
                    <a:pt x="0" y="361"/>
                  </a:lnTo>
                  <a:lnTo>
                    <a:pt x="4" y="363"/>
                  </a:lnTo>
                  <a:lnTo>
                    <a:pt x="17" y="371"/>
                  </a:lnTo>
                  <a:lnTo>
                    <a:pt x="21" y="373"/>
                  </a:lnTo>
                  <a:lnTo>
                    <a:pt x="28" y="378"/>
                  </a:lnTo>
                  <a:lnTo>
                    <a:pt x="32" y="380"/>
                  </a:lnTo>
                  <a:lnTo>
                    <a:pt x="53" y="378"/>
                  </a:lnTo>
                  <a:lnTo>
                    <a:pt x="57" y="380"/>
                  </a:lnTo>
                  <a:lnTo>
                    <a:pt x="61" y="382"/>
                  </a:lnTo>
                  <a:lnTo>
                    <a:pt x="63" y="386"/>
                  </a:lnTo>
                  <a:lnTo>
                    <a:pt x="63" y="390"/>
                  </a:lnTo>
                  <a:lnTo>
                    <a:pt x="63" y="397"/>
                  </a:lnTo>
                  <a:lnTo>
                    <a:pt x="63" y="401"/>
                  </a:lnTo>
                  <a:lnTo>
                    <a:pt x="63" y="403"/>
                  </a:lnTo>
                  <a:lnTo>
                    <a:pt x="63" y="405"/>
                  </a:lnTo>
                  <a:lnTo>
                    <a:pt x="61" y="407"/>
                  </a:lnTo>
                  <a:lnTo>
                    <a:pt x="63" y="409"/>
                  </a:lnTo>
                  <a:lnTo>
                    <a:pt x="63" y="413"/>
                  </a:lnTo>
                  <a:lnTo>
                    <a:pt x="63" y="416"/>
                  </a:lnTo>
                  <a:lnTo>
                    <a:pt x="61" y="420"/>
                  </a:lnTo>
                  <a:lnTo>
                    <a:pt x="55" y="430"/>
                  </a:lnTo>
                  <a:lnTo>
                    <a:pt x="55" y="432"/>
                  </a:lnTo>
                  <a:lnTo>
                    <a:pt x="55" y="435"/>
                  </a:lnTo>
                  <a:lnTo>
                    <a:pt x="55" y="439"/>
                  </a:lnTo>
                  <a:lnTo>
                    <a:pt x="55" y="441"/>
                  </a:lnTo>
                  <a:lnTo>
                    <a:pt x="57" y="447"/>
                  </a:lnTo>
                  <a:lnTo>
                    <a:pt x="59" y="453"/>
                  </a:lnTo>
                  <a:lnTo>
                    <a:pt x="63" y="456"/>
                  </a:lnTo>
                  <a:lnTo>
                    <a:pt x="67" y="460"/>
                  </a:lnTo>
                  <a:lnTo>
                    <a:pt x="68" y="462"/>
                  </a:lnTo>
                  <a:lnTo>
                    <a:pt x="70" y="468"/>
                  </a:lnTo>
                  <a:lnTo>
                    <a:pt x="72" y="470"/>
                  </a:lnTo>
                  <a:lnTo>
                    <a:pt x="72" y="470"/>
                  </a:lnTo>
                  <a:lnTo>
                    <a:pt x="76" y="472"/>
                  </a:lnTo>
                  <a:lnTo>
                    <a:pt x="82" y="473"/>
                  </a:lnTo>
                  <a:lnTo>
                    <a:pt x="93" y="473"/>
                  </a:lnTo>
                  <a:lnTo>
                    <a:pt x="97" y="472"/>
                  </a:lnTo>
                  <a:lnTo>
                    <a:pt x="99" y="470"/>
                  </a:lnTo>
                  <a:lnTo>
                    <a:pt x="103" y="470"/>
                  </a:lnTo>
                  <a:lnTo>
                    <a:pt x="107" y="470"/>
                  </a:lnTo>
                  <a:lnTo>
                    <a:pt x="108" y="473"/>
                  </a:lnTo>
                  <a:lnTo>
                    <a:pt x="108" y="477"/>
                  </a:lnTo>
                  <a:lnTo>
                    <a:pt x="108" y="487"/>
                  </a:lnTo>
                  <a:lnTo>
                    <a:pt x="108" y="498"/>
                  </a:lnTo>
                  <a:lnTo>
                    <a:pt x="108" y="502"/>
                  </a:lnTo>
                  <a:lnTo>
                    <a:pt x="110" y="504"/>
                  </a:lnTo>
                  <a:lnTo>
                    <a:pt x="114" y="508"/>
                  </a:lnTo>
                  <a:lnTo>
                    <a:pt x="114" y="510"/>
                  </a:lnTo>
                  <a:lnTo>
                    <a:pt x="116" y="511"/>
                  </a:lnTo>
                  <a:lnTo>
                    <a:pt x="116" y="515"/>
                  </a:lnTo>
                  <a:lnTo>
                    <a:pt x="120" y="517"/>
                  </a:lnTo>
                  <a:lnTo>
                    <a:pt x="126" y="523"/>
                  </a:lnTo>
                  <a:lnTo>
                    <a:pt x="128" y="525"/>
                  </a:lnTo>
                  <a:lnTo>
                    <a:pt x="128" y="527"/>
                  </a:lnTo>
                  <a:lnTo>
                    <a:pt x="131" y="542"/>
                  </a:lnTo>
                  <a:lnTo>
                    <a:pt x="133" y="548"/>
                  </a:lnTo>
                  <a:lnTo>
                    <a:pt x="135" y="553"/>
                  </a:lnTo>
                  <a:lnTo>
                    <a:pt x="141" y="561"/>
                  </a:lnTo>
                  <a:lnTo>
                    <a:pt x="145" y="570"/>
                  </a:lnTo>
                  <a:lnTo>
                    <a:pt x="147" y="572"/>
                  </a:lnTo>
                  <a:lnTo>
                    <a:pt x="148" y="574"/>
                  </a:lnTo>
                  <a:lnTo>
                    <a:pt x="152" y="576"/>
                  </a:lnTo>
                  <a:lnTo>
                    <a:pt x="162" y="578"/>
                  </a:lnTo>
                  <a:lnTo>
                    <a:pt x="162" y="578"/>
                  </a:lnTo>
                  <a:lnTo>
                    <a:pt x="164" y="578"/>
                  </a:lnTo>
                  <a:lnTo>
                    <a:pt x="166" y="578"/>
                  </a:lnTo>
                  <a:lnTo>
                    <a:pt x="168" y="576"/>
                  </a:lnTo>
                  <a:lnTo>
                    <a:pt x="168" y="576"/>
                  </a:lnTo>
                  <a:lnTo>
                    <a:pt x="171" y="576"/>
                  </a:lnTo>
                  <a:lnTo>
                    <a:pt x="171" y="576"/>
                  </a:lnTo>
                  <a:lnTo>
                    <a:pt x="173" y="578"/>
                  </a:lnTo>
                  <a:lnTo>
                    <a:pt x="175" y="578"/>
                  </a:lnTo>
                  <a:lnTo>
                    <a:pt x="177" y="578"/>
                  </a:lnTo>
                  <a:lnTo>
                    <a:pt x="179" y="576"/>
                  </a:lnTo>
                  <a:lnTo>
                    <a:pt x="181" y="574"/>
                  </a:lnTo>
                  <a:lnTo>
                    <a:pt x="183" y="574"/>
                  </a:lnTo>
                  <a:lnTo>
                    <a:pt x="185" y="574"/>
                  </a:lnTo>
                  <a:lnTo>
                    <a:pt x="190" y="574"/>
                  </a:lnTo>
                  <a:lnTo>
                    <a:pt x="194" y="574"/>
                  </a:lnTo>
                  <a:lnTo>
                    <a:pt x="196" y="574"/>
                  </a:lnTo>
                  <a:lnTo>
                    <a:pt x="198" y="576"/>
                  </a:lnTo>
                  <a:lnTo>
                    <a:pt x="198" y="576"/>
                  </a:lnTo>
                  <a:lnTo>
                    <a:pt x="200" y="576"/>
                  </a:lnTo>
                  <a:lnTo>
                    <a:pt x="202" y="576"/>
                  </a:lnTo>
                  <a:lnTo>
                    <a:pt x="209" y="574"/>
                  </a:lnTo>
                  <a:lnTo>
                    <a:pt x="211" y="574"/>
                  </a:lnTo>
                  <a:lnTo>
                    <a:pt x="211" y="574"/>
                  </a:lnTo>
                  <a:lnTo>
                    <a:pt x="211" y="576"/>
                  </a:lnTo>
                  <a:lnTo>
                    <a:pt x="213" y="578"/>
                  </a:lnTo>
                  <a:lnTo>
                    <a:pt x="213" y="578"/>
                  </a:lnTo>
                  <a:lnTo>
                    <a:pt x="215" y="578"/>
                  </a:lnTo>
                  <a:lnTo>
                    <a:pt x="217" y="578"/>
                  </a:lnTo>
                  <a:lnTo>
                    <a:pt x="217" y="578"/>
                  </a:lnTo>
                  <a:lnTo>
                    <a:pt x="217" y="578"/>
                  </a:lnTo>
                  <a:lnTo>
                    <a:pt x="217" y="576"/>
                  </a:lnTo>
                  <a:lnTo>
                    <a:pt x="217" y="576"/>
                  </a:lnTo>
                  <a:lnTo>
                    <a:pt x="217" y="574"/>
                  </a:lnTo>
                  <a:lnTo>
                    <a:pt x="219" y="574"/>
                  </a:lnTo>
                  <a:lnTo>
                    <a:pt x="221" y="574"/>
                  </a:lnTo>
                  <a:lnTo>
                    <a:pt x="221" y="574"/>
                  </a:lnTo>
                  <a:lnTo>
                    <a:pt x="223" y="574"/>
                  </a:lnTo>
                  <a:lnTo>
                    <a:pt x="223" y="574"/>
                  </a:lnTo>
                  <a:lnTo>
                    <a:pt x="223" y="576"/>
                  </a:lnTo>
                  <a:lnTo>
                    <a:pt x="225" y="576"/>
                  </a:lnTo>
                  <a:lnTo>
                    <a:pt x="227" y="576"/>
                  </a:lnTo>
                  <a:lnTo>
                    <a:pt x="227" y="576"/>
                  </a:lnTo>
                  <a:lnTo>
                    <a:pt x="229" y="576"/>
                  </a:lnTo>
                  <a:lnTo>
                    <a:pt x="229" y="574"/>
                  </a:lnTo>
                  <a:lnTo>
                    <a:pt x="230" y="574"/>
                  </a:lnTo>
                  <a:lnTo>
                    <a:pt x="230" y="572"/>
                  </a:lnTo>
                  <a:lnTo>
                    <a:pt x="232" y="572"/>
                  </a:lnTo>
                  <a:lnTo>
                    <a:pt x="236" y="572"/>
                  </a:lnTo>
                  <a:lnTo>
                    <a:pt x="238" y="570"/>
                  </a:lnTo>
                  <a:lnTo>
                    <a:pt x="238" y="572"/>
                  </a:lnTo>
                  <a:lnTo>
                    <a:pt x="240" y="572"/>
                  </a:lnTo>
                  <a:lnTo>
                    <a:pt x="240" y="576"/>
                  </a:lnTo>
                  <a:lnTo>
                    <a:pt x="242" y="576"/>
                  </a:lnTo>
                  <a:lnTo>
                    <a:pt x="249" y="578"/>
                  </a:lnTo>
                  <a:lnTo>
                    <a:pt x="251" y="580"/>
                  </a:lnTo>
                  <a:lnTo>
                    <a:pt x="257" y="578"/>
                  </a:lnTo>
                  <a:lnTo>
                    <a:pt x="261" y="578"/>
                  </a:lnTo>
                  <a:lnTo>
                    <a:pt x="263" y="578"/>
                  </a:lnTo>
                  <a:lnTo>
                    <a:pt x="263" y="578"/>
                  </a:lnTo>
                  <a:lnTo>
                    <a:pt x="265" y="578"/>
                  </a:lnTo>
                  <a:lnTo>
                    <a:pt x="265" y="580"/>
                  </a:lnTo>
                  <a:lnTo>
                    <a:pt x="265" y="580"/>
                  </a:lnTo>
                  <a:lnTo>
                    <a:pt x="263" y="580"/>
                  </a:lnTo>
                  <a:lnTo>
                    <a:pt x="263" y="580"/>
                  </a:lnTo>
                  <a:lnTo>
                    <a:pt x="261" y="582"/>
                  </a:lnTo>
                  <a:lnTo>
                    <a:pt x="257" y="582"/>
                  </a:lnTo>
                  <a:lnTo>
                    <a:pt x="257" y="582"/>
                  </a:lnTo>
                  <a:lnTo>
                    <a:pt x="257" y="582"/>
                  </a:lnTo>
                  <a:lnTo>
                    <a:pt x="255" y="582"/>
                  </a:lnTo>
                  <a:lnTo>
                    <a:pt x="257" y="584"/>
                  </a:lnTo>
                  <a:lnTo>
                    <a:pt x="257" y="584"/>
                  </a:lnTo>
                  <a:lnTo>
                    <a:pt x="259" y="586"/>
                  </a:lnTo>
                  <a:lnTo>
                    <a:pt x="259" y="586"/>
                  </a:lnTo>
                  <a:lnTo>
                    <a:pt x="261" y="586"/>
                  </a:lnTo>
                  <a:lnTo>
                    <a:pt x="263" y="586"/>
                  </a:lnTo>
                  <a:lnTo>
                    <a:pt x="265" y="588"/>
                  </a:lnTo>
                  <a:lnTo>
                    <a:pt x="265" y="588"/>
                  </a:lnTo>
                  <a:lnTo>
                    <a:pt x="265" y="588"/>
                  </a:lnTo>
                  <a:lnTo>
                    <a:pt x="265" y="588"/>
                  </a:lnTo>
                  <a:lnTo>
                    <a:pt x="265" y="589"/>
                  </a:lnTo>
                  <a:lnTo>
                    <a:pt x="267" y="589"/>
                  </a:lnTo>
                  <a:lnTo>
                    <a:pt x="267" y="589"/>
                  </a:lnTo>
                  <a:lnTo>
                    <a:pt x="269" y="589"/>
                  </a:lnTo>
                  <a:lnTo>
                    <a:pt x="269" y="589"/>
                  </a:lnTo>
                  <a:lnTo>
                    <a:pt x="270" y="589"/>
                  </a:lnTo>
                  <a:lnTo>
                    <a:pt x="272" y="589"/>
                  </a:lnTo>
                  <a:lnTo>
                    <a:pt x="272" y="591"/>
                  </a:lnTo>
                  <a:lnTo>
                    <a:pt x="272" y="591"/>
                  </a:lnTo>
                  <a:lnTo>
                    <a:pt x="272" y="591"/>
                  </a:lnTo>
                  <a:lnTo>
                    <a:pt x="272" y="593"/>
                  </a:lnTo>
                  <a:lnTo>
                    <a:pt x="272" y="593"/>
                  </a:lnTo>
                  <a:lnTo>
                    <a:pt x="272" y="595"/>
                  </a:lnTo>
                  <a:lnTo>
                    <a:pt x="272" y="595"/>
                  </a:lnTo>
                  <a:lnTo>
                    <a:pt x="274" y="597"/>
                  </a:lnTo>
                  <a:lnTo>
                    <a:pt x="274" y="599"/>
                  </a:lnTo>
                  <a:lnTo>
                    <a:pt x="276" y="599"/>
                  </a:lnTo>
                  <a:lnTo>
                    <a:pt x="276" y="599"/>
                  </a:lnTo>
                  <a:lnTo>
                    <a:pt x="276" y="599"/>
                  </a:lnTo>
                  <a:lnTo>
                    <a:pt x="278" y="599"/>
                  </a:lnTo>
                  <a:lnTo>
                    <a:pt x="278" y="599"/>
                  </a:lnTo>
                  <a:lnTo>
                    <a:pt x="278" y="599"/>
                  </a:lnTo>
                  <a:lnTo>
                    <a:pt x="278" y="599"/>
                  </a:lnTo>
                  <a:lnTo>
                    <a:pt x="280" y="593"/>
                  </a:lnTo>
                  <a:lnTo>
                    <a:pt x="280" y="591"/>
                  </a:lnTo>
                  <a:lnTo>
                    <a:pt x="280" y="591"/>
                  </a:lnTo>
                  <a:lnTo>
                    <a:pt x="280" y="591"/>
                  </a:lnTo>
                  <a:lnTo>
                    <a:pt x="280" y="591"/>
                  </a:lnTo>
                  <a:lnTo>
                    <a:pt x="282" y="591"/>
                  </a:lnTo>
                  <a:lnTo>
                    <a:pt x="284" y="591"/>
                  </a:lnTo>
                  <a:lnTo>
                    <a:pt x="284" y="591"/>
                  </a:lnTo>
                  <a:lnTo>
                    <a:pt x="290" y="595"/>
                  </a:lnTo>
                  <a:lnTo>
                    <a:pt x="290" y="595"/>
                  </a:lnTo>
                  <a:lnTo>
                    <a:pt x="291" y="595"/>
                  </a:lnTo>
                  <a:lnTo>
                    <a:pt x="293" y="595"/>
                  </a:lnTo>
                  <a:lnTo>
                    <a:pt x="293" y="595"/>
                  </a:lnTo>
                  <a:lnTo>
                    <a:pt x="295" y="597"/>
                  </a:lnTo>
                  <a:lnTo>
                    <a:pt x="295" y="597"/>
                  </a:lnTo>
                  <a:lnTo>
                    <a:pt x="295" y="597"/>
                  </a:lnTo>
                  <a:lnTo>
                    <a:pt x="297" y="601"/>
                  </a:lnTo>
                  <a:lnTo>
                    <a:pt x="297" y="601"/>
                  </a:lnTo>
                  <a:lnTo>
                    <a:pt x="299" y="603"/>
                  </a:lnTo>
                  <a:lnTo>
                    <a:pt x="299" y="603"/>
                  </a:lnTo>
                  <a:lnTo>
                    <a:pt x="301" y="605"/>
                  </a:lnTo>
                  <a:lnTo>
                    <a:pt x="303" y="605"/>
                  </a:lnTo>
                  <a:lnTo>
                    <a:pt x="307" y="605"/>
                  </a:lnTo>
                  <a:lnTo>
                    <a:pt x="310" y="605"/>
                  </a:lnTo>
                  <a:lnTo>
                    <a:pt x="312" y="605"/>
                  </a:lnTo>
                  <a:lnTo>
                    <a:pt x="316" y="607"/>
                  </a:lnTo>
                  <a:lnTo>
                    <a:pt x="318" y="607"/>
                  </a:lnTo>
                  <a:lnTo>
                    <a:pt x="318" y="607"/>
                  </a:lnTo>
                  <a:lnTo>
                    <a:pt x="320" y="605"/>
                  </a:lnTo>
                  <a:lnTo>
                    <a:pt x="322" y="605"/>
                  </a:lnTo>
                  <a:lnTo>
                    <a:pt x="322" y="603"/>
                  </a:lnTo>
                  <a:lnTo>
                    <a:pt x="322" y="603"/>
                  </a:lnTo>
                  <a:lnTo>
                    <a:pt x="322" y="603"/>
                  </a:lnTo>
                  <a:lnTo>
                    <a:pt x="322" y="601"/>
                  </a:lnTo>
                  <a:lnTo>
                    <a:pt x="322" y="601"/>
                  </a:lnTo>
                  <a:lnTo>
                    <a:pt x="322" y="601"/>
                  </a:lnTo>
                  <a:lnTo>
                    <a:pt x="322" y="601"/>
                  </a:lnTo>
                  <a:lnTo>
                    <a:pt x="322" y="599"/>
                  </a:lnTo>
                  <a:lnTo>
                    <a:pt x="324" y="599"/>
                  </a:lnTo>
                  <a:lnTo>
                    <a:pt x="324" y="599"/>
                  </a:lnTo>
                  <a:lnTo>
                    <a:pt x="324" y="597"/>
                  </a:lnTo>
                  <a:lnTo>
                    <a:pt x="324" y="597"/>
                  </a:lnTo>
                  <a:lnTo>
                    <a:pt x="324" y="595"/>
                  </a:lnTo>
                  <a:lnTo>
                    <a:pt x="324" y="595"/>
                  </a:lnTo>
                  <a:lnTo>
                    <a:pt x="324" y="595"/>
                  </a:lnTo>
                  <a:lnTo>
                    <a:pt x="326" y="593"/>
                  </a:lnTo>
                  <a:lnTo>
                    <a:pt x="326" y="593"/>
                  </a:lnTo>
                  <a:lnTo>
                    <a:pt x="326" y="593"/>
                  </a:lnTo>
                  <a:lnTo>
                    <a:pt x="328" y="593"/>
                  </a:lnTo>
                  <a:lnTo>
                    <a:pt x="328" y="593"/>
                  </a:lnTo>
                  <a:lnTo>
                    <a:pt x="331" y="591"/>
                  </a:lnTo>
                  <a:lnTo>
                    <a:pt x="333" y="591"/>
                  </a:lnTo>
                  <a:lnTo>
                    <a:pt x="333" y="591"/>
                  </a:lnTo>
                  <a:lnTo>
                    <a:pt x="335" y="591"/>
                  </a:lnTo>
                  <a:lnTo>
                    <a:pt x="335" y="591"/>
                  </a:lnTo>
                  <a:lnTo>
                    <a:pt x="335" y="593"/>
                  </a:lnTo>
                  <a:lnTo>
                    <a:pt x="335" y="593"/>
                  </a:lnTo>
                  <a:lnTo>
                    <a:pt x="335" y="593"/>
                  </a:lnTo>
                  <a:lnTo>
                    <a:pt x="335" y="595"/>
                  </a:lnTo>
                  <a:lnTo>
                    <a:pt x="335" y="599"/>
                  </a:lnTo>
                  <a:lnTo>
                    <a:pt x="333" y="601"/>
                  </a:lnTo>
                  <a:lnTo>
                    <a:pt x="333" y="601"/>
                  </a:lnTo>
                  <a:lnTo>
                    <a:pt x="333" y="601"/>
                  </a:lnTo>
                  <a:lnTo>
                    <a:pt x="335" y="603"/>
                  </a:lnTo>
                  <a:lnTo>
                    <a:pt x="335" y="603"/>
                  </a:lnTo>
                  <a:lnTo>
                    <a:pt x="337" y="603"/>
                  </a:lnTo>
                  <a:lnTo>
                    <a:pt x="341" y="605"/>
                  </a:lnTo>
                  <a:lnTo>
                    <a:pt x="341" y="605"/>
                  </a:lnTo>
                  <a:lnTo>
                    <a:pt x="343" y="605"/>
                  </a:lnTo>
                  <a:lnTo>
                    <a:pt x="343" y="605"/>
                  </a:lnTo>
                  <a:lnTo>
                    <a:pt x="343" y="603"/>
                  </a:lnTo>
                  <a:lnTo>
                    <a:pt x="345" y="603"/>
                  </a:lnTo>
                  <a:lnTo>
                    <a:pt x="345" y="605"/>
                  </a:lnTo>
                  <a:lnTo>
                    <a:pt x="345" y="605"/>
                  </a:lnTo>
                  <a:lnTo>
                    <a:pt x="345" y="607"/>
                  </a:lnTo>
                  <a:lnTo>
                    <a:pt x="345" y="607"/>
                  </a:lnTo>
                  <a:lnTo>
                    <a:pt x="345" y="608"/>
                  </a:lnTo>
                  <a:lnTo>
                    <a:pt x="345" y="608"/>
                  </a:lnTo>
                  <a:lnTo>
                    <a:pt x="343" y="608"/>
                  </a:lnTo>
                  <a:lnTo>
                    <a:pt x="343" y="608"/>
                  </a:lnTo>
                  <a:lnTo>
                    <a:pt x="341" y="608"/>
                  </a:lnTo>
                  <a:lnTo>
                    <a:pt x="339" y="608"/>
                  </a:lnTo>
                  <a:lnTo>
                    <a:pt x="339" y="608"/>
                  </a:lnTo>
                  <a:lnTo>
                    <a:pt x="339" y="608"/>
                  </a:lnTo>
                  <a:lnTo>
                    <a:pt x="337" y="610"/>
                  </a:lnTo>
                  <a:lnTo>
                    <a:pt x="337" y="610"/>
                  </a:lnTo>
                  <a:lnTo>
                    <a:pt x="337" y="610"/>
                  </a:lnTo>
                  <a:lnTo>
                    <a:pt x="337" y="612"/>
                  </a:lnTo>
                  <a:lnTo>
                    <a:pt x="335" y="612"/>
                  </a:lnTo>
                  <a:lnTo>
                    <a:pt x="335" y="614"/>
                  </a:lnTo>
                  <a:lnTo>
                    <a:pt x="333" y="620"/>
                  </a:lnTo>
                  <a:lnTo>
                    <a:pt x="333" y="622"/>
                  </a:lnTo>
                  <a:lnTo>
                    <a:pt x="333" y="622"/>
                  </a:lnTo>
                  <a:lnTo>
                    <a:pt x="335" y="626"/>
                  </a:lnTo>
                  <a:lnTo>
                    <a:pt x="335" y="627"/>
                  </a:lnTo>
                  <a:lnTo>
                    <a:pt x="335" y="627"/>
                  </a:lnTo>
                  <a:lnTo>
                    <a:pt x="337" y="629"/>
                  </a:lnTo>
                  <a:lnTo>
                    <a:pt x="339" y="629"/>
                  </a:lnTo>
                  <a:lnTo>
                    <a:pt x="339" y="631"/>
                  </a:lnTo>
                  <a:lnTo>
                    <a:pt x="341" y="631"/>
                  </a:lnTo>
                  <a:lnTo>
                    <a:pt x="341" y="633"/>
                  </a:lnTo>
                  <a:lnTo>
                    <a:pt x="343" y="633"/>
                  </a:lnTo>
                  <a:lnTo>
                    <a:pt x="343" y="635"/>
                  </a:lnTo>
                  <a:lnTo>
                    <a:pt x="345" y="635"/>
                  </a:lnTo>
                  <a:lnTo>
                    <a:pt x="345" y="637"/>
                  </a:lnTo>
                  <a:lnTo>
                    <a:pt x="345" y="637"/>
                  </a:lnTo>
                  <a:lnTo>
                    <a:pt x="347" y="641"/>
                  </a:lnTo>
                  <a:lnTo>
                    <a:pt x="349" y="641"/>
                  </a:lnTo>
                  <a:lnTo>
                    <a:pt x="349" y="641"/>
                  </a:lnTo>
                  <a:lnTo>
                    <a:pt x="352" y="639"/>
                  </a:lnTo>
                  <a:lnTo>
                    <a:pt x="354" y="639"/>
                  </a:lnTo>
                  <a:lnTo>
                    <a:pt x="354" y="637"/>
                  </a:lnTo>
                  <a:lnTo>
                    <a:pt x="354" y="637"/>
                  </a:lnTo>
                  <a:lnTo>
                    <a:pt x="356" y="633"/>
                  </a:lnTo>
                  <a:lnTo>
                    <a:pt x="356" y="633"/>
                  </a:lnTo>
                  <a:lnTo>
                    <a:pt x="358" y="631"/>
                  </a:lnTo>
                  <a:lnTo>
                    <a:pt x="358" y="633"/>
                  </a:lnTo>
                  <a:lnTo>
                    <a:pt x="362" y="637"/>
                  </a:lnTo>
                  <a:lnTo>
                    <a:pt x="362" y="639"/>
                  </a:lnTo>
                  <a:lnTo>
                    <a:pt x="362" y="641"/>
                  </a:lnTo>
                  <a:lnTo>
                    <a:pt x="362" y="643"/>
                  </a:lnTo>
                  <a:lnTo>
                    <a:pt x="362" y="643"/>
                  </a:lnTo>
                  <a:lnTo>
                    <a:pt x="362" y="643"/>
                  </a:lnTo>
                  <a:lnTo>
                    <a:pt x="364" y="645"/>
                  </a:lnTo>
                  <a:lnTo>
                    <a:pt x="364" y="647"/>
                  </a:lnTo>
                  <a:lnTo>
                    <a:pt x="364" y="648"/>
                  </a:lnTo>
                  <a:lnTo>
                    <a:pt x="364" y="650"/>
                  </a:lnTo>
                  <a:lnTo>
                    <a:pt x="364" y="650"/>
                  </a:lnTo>
                  <a:lnTo>
                    <a:pt x="362" y="650"/>
                  </a:lnTo>
                  <a:lnTo>
                    <a:pt x="360" y="652"/>
                  </a:lnTo>
                  <a:lnTo>
                    <a:pt x="360" y="652"/>
                  </a:lnTo>
                  <a:lnTo>
                    <a:pt x="360" y="654"/>
                  </a:lnTo>
                  <a:lnTo>
                    <a:pt x="360" y="656"/>
                  </a:lnTo>
                  <a:lnTo>
                    <a:pt x="360" y="658"/>
                  </a:lnTo>
                  <a:lnTo>
                    <a:pt x="360" y="660"/>
                  </a:lnTo>
                  <a:lnTo>
                    <a:pt x="358" y="664"/>
                  </a:lnTo>
                  <a:lnTo>
                    <a:pt x="358" y="664"/>
                  </a:lnTo>
                  <a:lnTo>
                    <a:pt x="358" y="666"/>
                  </a:lnTo>
                  <a:lnTo>
                    <a:pt x="362" y="664"/>
                  </a:lnTo>
                  <a:lnTo>
                    <a:pt x="362" y="666"/>
                  </a:lnTo>
                  <a:lnTo>
                    <a:pt x="364" y="666"/>
                  </a:lnTo>
                  <a:lnTo>
                    <a:pt x="364" y="666"/>
                  </a:lnTo>
                  <a:lnTo>
                    <a:pt x="364" y="667"/>
                  </a:lnTo>
                  <a:lnTo>
                    <a:pt x="366" y="669"/>
                  </a:lnTo>
                  <a:lnTo>
                    <a:pt x="366" y="669"/>
                  </a:lnTo>
                  <a:lnTo>
                    <a:pt x="368" y="671"/>
                  </a:lnTo>
                  <a:lnTo>
                    <a:pt x="368" y="671"/>
                  </a:lnTo>
                  <a:lnTo>
                    <a:pt x="371" y="671"/>
                  </a:lnTo>
                  <a:lnTo>
                    <a:pt x="371" y="673"/>
                  </a:lnTo>
                  <a:lnTo>
                    <a:pt x="371" y="673"/>
                  </a:lnTo>
                  <a:lnTo>
                    <a:pt x="373" y="673"/>
                  </a:lnTo>
                  <a:lnTo>
                    <a:pt x="373" y="675"/>
                  </a:lnTo>
                  <a:lnTo>
                    <a:pt x="373" y="675"/>
                  </a:lnTo>
                  <a:lnTo>
                    <a:pt x="371" y="677"/>
                  </a:lnTo>
                  <a:lnTo>
                    <a:pt x="371" y="677"/>
                  </a:lnTo>
                  <a:lnTo>
                    <a:pt x="371" y="679"/>
                  </a:lnTo>
                  <a:lnTo>
                    <a:pt x="371" y="681"/>
                  </a:lnTo>
                  <a:lnTo>
                    <a:pt x="371" y="683"/>
                  </a:lnTo>
                  <a:lnTo>
                    <a:pt x="371" y="683"/>
                  </a:lnTo>
                  <a:lnTo>
                    <a:pt x="373" y="683"/>
                  </a:lnTo>
                  <a:lnTo>
                    <a:pt x="373" y="683"/>
                  </a:lnTo>
                  <a:lnTo>
                    <a:pt x="375" y="683"/>
                  </a:lnTo>
                  <a:lnTo>
                    <a:pt x="377" y="681"/>
                  </a:lnTo>
                  <a:lnTo>
                    <a:pt x="377" y="679"/>
                  </a:lnTo>
                  <a:lnTo>
                    <a:pt x="379" y="679"/>
                  </a:lnTo>
                  <a:lnTo>
                    <a:pt x="381" y="681"/>
                  </a:lnTo>
                  <a:lnTo>
                    <a:pt x="383" y="683"/>
                  </a:lnTo>
                  <a:lnTo>
                    <a:pt x="383" y="685"/>
                  </a:lnTo>
                  <a:lnTo>
                    <a:pt x="383" y="686"/>
                  </a:lnTo>
                  <a:lnTo>
                    <a:pt x="383" y="688"/>
                  </a:lnTo>
                  <a:lnTo>
                    <a:pt x="383" y="690"/>
                  </a:lnTo>
                  <a:lnTo>
                    <a:pt x="383" y="692"/>
                  </a:lnTo>
                  <a:lnTo>
                    <a:pt x="383" y="694"/>
                  </a:lnTo>
                  <a:lnTo>
                    <a:pt x="385" y="694"/>
                  </a:lnTo>
                  <a:lnTo>
                    <a:pt x="383" y="696"/>
                  </a:lnTo>
                  <a:lnTo>
                    <a:pt x="383" y="698"/>
                  </a:lnTo>
                  <a:lnTo>
                    <a:pt x="383" y="700"/>
                  </a:lnTo>
                  <a:lnTo>
                    <a:pt x="387" y="700"/>
                  </a:lnTo>
                  <a:lnTo>
                    <a:pt x="389" y="700"/>
                  </a:lnTo>
                  <a:lnTo>
                    <a:pt x="391" y="702"/>
                  </a:lnTo>
                  <a:lnTo>
                    <a:pt x="391" y="702"/>
                  </a:lnTo>
                  <a:lnTo>
                    <a:pt x="398" y="700"/>
                  </a:lnTo>
                  <a:lnTo>
                    <a:pt x="400" y="700"/>
                  </a:lnTo>
                  <a:lnTo>
                    <a:pt x="400" y="700"/>
                  </a:lnTo>
                  <a:lnTo>
                    <a:pt x="402" y="702"/>
                  </a:lnTo>
                  <a:lnTo>
                    <a:pt x="404" y="705"/>
                  </a:lnTo>
                  <a:lnTo>
                    <a:pt x="408" y="709"/>
                  </a:lnTo>
                  <a:lnTo>
                    <a:pt x="408" y="709"/>
                  </a:lnTo>
                  <a:lnTo>
                    <a:pt x="410" y="709"/>
                  </a:lnTo>
                  <a:lnTo>
                    <a:pt x="410" y="709"/>
                  </a:lnTo>
                  <a:lnTo>
                    <a:pt x="410" y="709"/>
                  </a:lnTo>
                  <a:lnTo>
                    <a:pt x="411" y="709"/>
                  </a:lnTo>
                  <a:lnTo>
                    <a:pt x="411" y="709"/>
                  </a:lnTo>
                  <a:lnTo>
                    <a:pt x="411" y="709"/>
                  </a:lnTo>
                  <a:lnTo>
                    <a:pt x="411" y="707"/>
                  </a:lnTo>
                  <a:lnTo>
                    <a:pt x="411" y="707"/>
                  </a:lnTo>
                  <a:lnTo>
                    <a:pt x="413" y="707"/>
                  </a:lnTo>
                  <a:lnTo>
                    <a:pt x="413" y="707"/>
                  </a:lnTo>
                  <a:lnTo>
                    <a:pt x="417" y="711"/>
                  </a:lnTo>
                  <a:lnTo>
                    <a:pt x="421" y="713"/>
                  </a:lnTo>
                  <a:lnTo>
                    <a:pt x="425" y="717"/>
                  </a:lnTo>
                  <a:lnTo>
                    <a:pt x="427" y="717"/>
                  </a:lnTo>
                  <a:lnTo>
                    <a:pt x="429" y="719"/>
                  </a:lnTo>
                  <a:lnTo>
                    <a:pt x="429" y="721"/>
                  </a:lnTo>
                  <a:lnTo>
                    <a:pt x="429" y="721"/>
                  </a:lnTo>
                  <a:lnTo>
                    <a:pt x="429" y="723"/>
                  </a:lnTo>
                  <a:lnTo>
                    <a:pt x="429" y="724"/>
                  </a:lnTo>
                  <a:lnTo>
                    <a:pt x="429" y="726"/>
                  </a:lnTo>
                  <a:lnTo>
                    <a:pt x="431" y="726"/>
                  </a:lnTo>
                  <a:lnTo>
                    <a:pt x="431" y="728"/>
                  </a:lnTo>
                  <a:lnTo>
                    <a:pt x="432" y="728"/>
                  </a:lnTo>
                  <a:lnTo>
                    <a:pt x="432" y="726"/>
                  </a:lnTo>
                  <a:lnTo>
                    <a:pt x="434" y="726"/>
                  </a:lnTo>
                  <a:lnTo>
                    <a:pt x="434" y="726"/>
                  </a:lnTo>
                  <a:lnTo>
                    <a:pt x="436" y="726"/>
                  </a:lnTo>
                  <a:lnTo>
                    <a:pt x="436" y="726"/>
                  </a:lnTo>
                  <a:lnTo>
                    <a:pt x="440" y="728"/>
                  </a:lnTo>
                  <a:lnTo>
                    <a:pt x="440" y="728"/>
                  </a:lnTo>
                  <a:lnTo>
                    <a:pt x="442" y="730"/>
                  </a:lnTo>
                  <a:lnTo>
                    <a:pt x="442" y="732"/>
                  </a:lnTo>
                  <a:lnTo>
                    <a:pt x="444" y="734"/>
                  </a:lnTo>
                  <a:lnTo>
                    <a:pt x="444" y="734"/>
                  </a:lnTo>
                  <a:lnTo>
                    <a:pt x="446" y="736"/>
                  </a:lnTo>
                  <a:lnTo>
                    <a:pt x="446" y="736"/>
                  </a:lnTo>
                  <a:lnTo>
                    <a:pt x="446" y="736"/>
                  </a:lnTo>
                  <a:lnTo>
                    <a:pt x="448" y="738"/>
                  </a:lnTo>
                  <a:lnTo>
                    <a:pt x="448" y="740"/>
                  </a:lnTo>
                  <a:lnTo>
                    <a:pt x="450" y="738"/>
                  </a:lnTo>
                  <a:lnTo>
                    <a:pt x="451" y="738"/>
                  </a:lnTo>
                  <a:lnTo>
                    <a:pt x="451" y="738"/>
                  </a:lnTo>
                  <a:lnTo>
                    <a:pt x="453" y="736"/>
                  </a:lnTo>
                  <a:lnTo>
                    <a:pt x="453" y="736"/>
                  </a:lnTo>
                  <a:lnTo>
                    <a:pt x="455" y="736"/>
                  </a:lnTo>
                  <a:lnTo>
                    <a:pt x="457" y="736"/>
                  </a:lnTo>
                  <a:lnTo>
                    <a:pt x="459" y="738"/>
                  </a:lnTo>
                  <a:lnTo>
                    <a:pt x="459" y="738"/>
                  </a:lnTo>
                  <a:lnTo>
                    <a:pt x="461" y="738"/>
                  </a:lnTo>
                  <a:lnTo>
                    <a:pt x="469" y="734"/>
                  </a:lnTo>
                  <a:lnTo>
                    <a:pt x="474" y="732"/>
                  </a:lnTo>
                  <a:lnTo>
                    <a:pt x="480" y="728"/>
                  </a:lnTo>
                  <a:lnTo>
                    <a:pt x="484" y="726"/>
                  </a:lnTo>
                  <a:lnTo>
                    <a:pt x="484" y="726"/>
                  </a:lnTo>
                  <a:lnTo>
                    <a:pt x="484" y="724"/>
                  </a:lnTo>
                  <a:lnTo>
                    <a:pt x="482" y="724"/>
                  </a:lnTo>
                  <a:lnTo>
                    <a:pt x="482" y="723"/>
                  </a:lnTo>
                  <a:lnTo>
                    <a:pt x="480" y="723"/>
                  </a:lnTo>
                  <a:lnTo>
                    <a:pt x="480" y="721"/>
                  </a:lnTo>
                  <a:lnTo>
                    <a:pt x="478" y="721"/>
                  </a:lnTo>
                  <a:lnTo>
                    <a:pt x="478" y="721"/>
                  </a:lnTo>
                  <a:lnTo>
                    <a:pt x="476" y="721"/>
                  </a:lnTo>
                  <a:lnTo>
                    <a:pt x="474" y="721"/>
                  </a:lnTo>
                  <a:lnTo>
                    <a:pt x="472" y="719"/>
                  </a:lnTo>
                  <a:lnTo>
                    <a:pt x="469" y="719"/>
                  </a:lnTo>
                  <a:lnTo>
                    <a:pt x="469" y="719"/>
                  </a:lnTo>
                  <a:lnTo>
                    <a:pt x="467" y="719"/>
                  </a:lnTo>
                  <a:lnTo>
                    <a:pt x="467" y="717"/>
                  </a:lnTo>
                  <a:lnTo>
                    <a:pt x="467" y="717"/>
                  </a:lnTo>
                  <a:lnTo>
                    <a:pt x="467" y="715"/>
                  </a:lnTo>
                  <a:lnTo>
                    <a:pt x="467" y="715"/>
                  </a:lnTo>
                  <a:lnTo>
                    <a:pt x="469" y="707"/>
                  </a:lnTo>
                  <a:lnTo>
                    <a:pt x="471" y="707"/>
                  </a:lnTo>
                  <a:lnTo>
                    <a:pt x="476" y="702"/>
                  </a:lnTo>
                  <a:lnTo>
                    <a:pt x="478" y="700"/>
                  </a:lnTo>
                  <a:lnTo>
                    <a:pt x="482" y="698"/>
                  </a:lnTo>
                  <a:lnTo>
                    <a:pt x="484" y="698"/>
                  </a:lnTo>
                  <a:lnTo>
                    <a:pt x="490" y="694"/>
                  </a:lnTo>
                  <a:lnTo>
                    <a:pt x="491" y="694"/>
                  </a:lnTo>
                  <a:lnTo>
                    <a:pt x="493" y="694"/>
                  </a:lnTo>
                  <a:lnTo>
                    <a:pt x="493" y="694"/>
                  </a:lnTo>
                  <a:lnTo>
                    <a:pt x="497" y="690"/>
                  </a:lnTo>
                  <a:lnTo>
                    <a:pt x="497" y="690"/>
                  </a:lnTo>
                  <a:lnTo>
                    <a:pt x="499" y="688"/>
                  </a:lnTo>
                  <a:lnTo>
                    <a:pt x="499" y="686"/>
                  </a:lnTo>
                  <a:lnTo>
                    <a:pt x="501" y="683"/>
                  </a:lnTo>
                  <a:lnTo>
                    <a:pt x="501" y="681"/>
                  </a:lnTo>
                  <a:lnTo>
                    <a:pt x="501" y="681"/>
                  </a:lnTo>
                  <a:lnTo>
                    <a:pt x="503" y="679"/>
                  </a:lnTo>
                  <a:lnTo>
                    <a:pt x="503" y="679"/>
                  </a:lnTo>
                  <a:lnTo>
                    <a:pt x="505" y="677"/>
                  </a:lnTo>
                  <a:lnTo>
                    <a:pt x="505" y="675"/>
                  </a:lnTo>
                  <a:lnTo>
                    <a:pt x="505" y="673"/>
                  </a:lnTo>
                  <a:lnTo>
                    <a:pt x="505" y="671"/>
                  </a:lnTo>
                  <a:lnTo>
                    <a:pt x="505" y="667"/>
                  </a:lnTo>
                  <a:lnTo>
                    <a:pt x="503" y="666"/>
                  </a:lnTo>
                  <a:lnTo>
                    <a:pt x="501" y="664"/>
                  </a:lnTo>
                  <a:lnTo>
                    <a:pt x="501" y="662"/>
                  </a:lnTo>
                  <a:lnTo>
                    <a:pt x="501" y="660"/>
                  </a:lnTo>
                  <a:lnTo>
                    <a:pt x="501" y="658"/>
                  </a:lnTo>
                  <a:lnTo>
                    <a:pt x="501" y="654"/>
                  </a:lnTo>
                  <a:lnTo>
                    <a:pt x="505" y="643"/>
                  </a:lnTo>
                  <a:lnTo>
                    <a:pt x="507" y="641"/>
                  </a:lnTo>
                  <a:lnTo>
                    <a:pt x="507" y="641"/>
                  </a:lnTo>
                  <a:lnTo>
                    <a:pt x="507" y="639"/>
                  </a:lnTo>
                  <a:lnTo>
                    <a:pt x="507" y="639"/>
                  </a:lnTo>
                  <a:lnTo>
                    <a:pt x="507" y="637"/>
                  </a:lnTo>
                  <a:lnTo>
                    <a:pt x="505" y="637"/>
                  </a:lnTo>
                  <a:lnTo>
                    <a:pt x="503" y="635"/>
                  </a:lnTo>
                  <a:lnTo>
                    <a:pt x="503" y="633"/>
                  </a:lnTo>
                  <a:lnTo>
                    <a:pt x="501" y="633"/>
                  </a:lnTo>
                  <a:lnTo>
                    <a:pt x="501" y="631"/>
                  </a:lnTo>
                  <a:lnTo>
                    <a:pt x="501" y="629"/>
                  </a:lnTo>
                  <a:lnTo>
                    <a:pt x="499" y="627"/>
                  </a:lnTo>
                  <a:lnTo>
                    <a:pt x="499" y="622"/>
                  </a:lnTo>
                  <a:lnTo>
                    <a:pt x="499" y="620"/>
                  </a:lnTo>
                  <a:lnTo>
                    <a:pt x="499" y="620"/>
                  </a:lnTo>
                  <a:lnTo>
                    <a:pt x="497" y="618"/>
                  </a:lnTo>
                  <a:lnTo>
                    <a:pt x="495" y="618"/>
                  </a:lnTo>
                  <a:lnTo>
                    <a:pt x="493" y="616"/>
                  </a:lnTo>
                  <a:lnTo>
                    <a:pt x="491" y="616"/>
                  </a:lnTo>
                  <a:lnTo>
                    <a:pt x="488" y="616"/>
                  </a:lnTo>
                  <a:lnTo>
                    <a:pt x="488" y="616"/>
                  </a:lnTo>
                  <a:lnTo>
                    <a:pt x="486" y="616"/>
                  </a:lnTo>
                  <a:lnTo>
                    <a:pt x="486" y="616"/>
                  </a:lnTo>
                  <a:lnTo>
                    <a:pt x="486" y="614"/>
                  </a:lnTo>
                  <a:lnTo>
                    <a:pt x="488" y="614"/>
                  </a:lnTo>
                  <a:lnTo>
                    <a:pt x="488" y="612"/>
                  </a:lnTo>
                  <a:lnTo>
                    <a:pt x="488" y="610"/>
                  </a:lnTo>
                  <a:lnTo>
                    <a:pt x="488" y="608"/>
                  </a:lnTo>
                  <a:lnTo>
                    <a:pt x="488" y="608"/>
                  </a:lnTo>
                  <a:lnTo>
                    <a:pt x="490" y="607"/>
                  </a:lnTo>
                  <a:lnTo>
                    <a:pt x="493" y="603"/>
                  </a:lnTo>
                  <a:lnTo>
                    <a:pt x="495" y="601"/>
                  </a:lnTo>
                  <a:lnTo>
                    <a:pt x="495" y="599"/>
                  </a:lnTo>
                  <a:lnTo>
                    <a:pt x="495" y="597"/>
                  </a:lnTo>
                  <a:lnTo>
                    <a:pt x="495" y="595"/>
                  </a:lnTo>
                  <a:lnTo>
                    <a:pt x="493" y="595"/>
                  </a:lnTo>
                  <a:lnTo>
                    <a:pt x="484" y="593"/>
                  </a:lnTo>
                  <a:lnTo>
                    <a:pt x="484" y="591"/>
                  </a:lnTo>
                  <a:lnTo>
                    <a:pt x="484" y="591"/>
                  </a:lnTo>
                  <a:lnTo>
                    <a:pt x="484" y="589"/>
                  </a:lnTo>
                  <a:lnTo>
                    <a:pt x="484" y="589"/>
                  </a:lnTo>
                  <a:lnTo>
                    <a:pt x="484" y="588"/>
                  </a:lnTo>
                  <a:lnTo>
                    <a:pt x="488" y="584"/>
                  </a:lnTo>
                  <a:lnTo>
                    <a:pt x="490" y="576"/>
                  </a:lnTo>
                  <a:lnTo>
                    <a:pt x="490" y="574"/>
                  </a:lnTo>
                  <a:lnTo>
                    <a:pt x="490" y="572"/>
                  </a:lnTo>
                  <a:lnTo>
                    <a:pt x="490" y="572"/>
                  </a:lnTo>
                  <a:lnTo>
                    <a:pt x="490" y="569"/>
                  </a:lnTo>
                  <a:lnTo>
                    <a:pt x="490" y="565"/>
                  </a:lnTo>
                  <a:lnTo>
                    <a:pt x="490" y="565"/>
                  </a:lnTo>
                  <a:lnTo>
                    <a:pt x="490" y="565"/>
                  </a:lnTo>
                  <a:lnTo>
                    <a:pt x="491" y="565"/>
                  </a:lnTo>
                  <a:lnTo>
                    <a:pt x="491" y="565"/>
                  </a:lnTo>
                  <a:lnTo>
                    <a:pt x="491" y="567"/>
                  </a:lnTo>
                  <a:lnTo>
                    <a:pt x="491" y="569"/>
                  </a:lnTo>
                  <a:lnTo>
                    <a:pt x="493" y="569"/>
                  </a:lnTo>
                  <a:lnTo>
                    <a:pt x="493" y="570"/>
                  </a:lnTo>
                  <a:lnTo>
                    <a:pt x="495" y="570"/>
                  </a:lnTo>
                  <a:lnTo>
                    <a:pt x="495" y="572"/>
                  </a:lnTo>
                  <a:lnTo>
                    <a:pt x="497" y="574"/>
                  </a:lnTo>
                  <a:lnTo>
                    <a:pt x="497" y="574"/>
                  </a:lnTo>
                  <a:lnTo>
                    <a:pt x="499" y="576"/>
                  </a:lnTo>
                  <a:lnTo>
                    <a:pt x="499" y="576"/>
                  </a:lnTo>
                  <a:lnTo>
                    <a:pt x="503" y="576"/>
                  </a:lnTo>
                  <a:lnTo>
                    <a:pt x="505" y="576"/>
                  </a:lnTo>
                  <a:lnTo>
                    <a:pt x="505" y="574"/>
                  </a:lnTo>
                  <a:lnTo>
                    <a:pt x="507" y="574"/>
                  </a:lnTo>
                  <a:lnTo>
                    <a:pt x="507" y="572"/>
                  </a:lnTo>
                  <a:lnTo>
                    <a:pt x="507" y="570"/>
                  </a:lnTo>
                  <a:lnTo>
                    <a:pt x="507" y="570"/>
                  </a:lnTo>
                  <a:lnTo>
                    <a:pt x="507" y="569"/>
                  </a:lnTo>
                  <a:lnTo>
                    <a:pt x="507" y="567"/>
                  </a:lnTo>
                  <a:lnTo>
                    <a:pt x="509" y="565"/>
                  </a:lnTo>
                  <a:lnTo>
                    <a:pt x="509" y="565"/>
                  </a:lnTo>
                  <a:lnTo>
                    <a:pt x="509" y="563"/>
                  </a:lnTo>
                  <a:lnTo>
                    <a:pt x="507" y="563"/>
                  </a:lnTo>
                  <a:lnTo>
                    <a:pt x="507" y="563"/>
                  </a:lnTo>
                  <a:lnTo>
                    <a:pt x="505" y="563"/>
                  </a:lnTo>
                  <a:lnTo>
                    <a:pt x="505" y="563"/>
                  </a:lnTo>
                  <a:lnTo>
                    <a:pt x="503" y="563"/>
                  </a:lnTo>
                  <a:lnTo>
                    <a:pt x="503" y="563"/>
                  </a:lnTo>
                  <a:lnTo>
                    <a:pt x="501" y="563"/>
                  </a:lnTo>
                  <a:lnTo>
                    <a:pt x="499" y="563"/>
                  </a:lnTo>
                  <a:lnTo>
                    <a:pt x="497" y="563"/>
                  </a:lnTo>
                  <a:lnTo>
                    <a:pt x="495" y="563"/>
                  </a:lnTo>
                  <a:lnTo>
                    <a:pt x="495" y="563"/>
                  </a:lnTo>
                  <a:lnTo>
                    <a:pt x="495" y="561"/>
                  </a:lnTo>
                  <a:lnTo>
                    <a:pt x="495" y="559"/>
                  </a:lnTo>
                  <a:lnTo>
                    <a:pt x="495" y="557"/>
                  </a:lnTo>
                  <a:lnTo>
                    <a:pt x="495" y="555"/>
                  </a:lnTo>
                  <a:lnTo>
                    <a:pt x="495" y="555"/>
                  </a:lnTo>
                  <a:lnTo>
                    <a:pt x="493" y="550"/>
                  </a:lnTo>
                  <a:lnTo>
                    <a:pt x="493" y="550"/>
                  </a:lnTo>
                  <a:lnTo>
                    <a:pt x="493" y="548"/>
                  </a:lnTo>
                  <a:lnTo>
                    <a:pt x="495" y="548"/>
                  </a:lnTo>
                  <a:lnTo>
                    <a:pt x="497" y="550"/>
                  </a:lnTo>
                  <a:lnTo>
                    <a:pt x="499" y="550"/>
                  </a:lnTo>
                  <a:lnTo>
                    <a:pt x="501" y="551"/>
                  </a:lnTo>
                  <a:lnTo>
                    <a:pt x="501" y="551"/>
                  </a:lnTo>
                  <a:lnTo>
                    <a:pt x="501" y="553"/>
                  </a:lnTo>
                  <a:lnTo>
                    <a:pt x="503" y="553"/>
                  </a:lnTo>
                  <a:lnTo>
                    <a:pt x="503" y="553"/>
                  </a:lnTo>
                  <a:lnTo>
                    <a:pt x="507" y="555"/>
                  </a:lnTo>
                  <a:lnTo>
                    <a:pt x="507" y="555"/>
                  </a:lnTo>
                  <a:lnTo>
                    <a:pt x="509" y="555"/>
                  </a:lnTo>
                  <a:lnTo>
                    <a:pt x="511" y="555"/>
                  </a:lnTo>
                  <a:lnTo>
                    <a:pt x="511" y="555"/>
                  </a:lnTo>
                  <a:lnTo>
                    <a:pt x="512" y="555"/>
                  </a:lnTo>
                  <a:lnTo>
                    <a:pt x="514" y="551"/>
                  </a:lnTo>
                  <a:lnTo>
                    <a:pt x="514" y="551"/>
                  </a:lnTo>
                  <a:lnTo>
                    <a:pt x="514" y="551"/>
                  </a:lnTo>
                  <a:lnTo>
                    <a:pt x="516" y="553"/>
                  </a:lnTo>
                  <a:lnTo>
                    <a:pt x="518" y="553"/>
                  </a:lnTo>
                  <a:lnTo>
                    <a:pt x="518" y="553"/>
                  </a:lnTo>
                  <a:lnTo>
                    <a:pt x="518" y="553"/>
                  </a:lnTo>
                  <a:lnTo>
                    <a:pt x="518" y="551"/>
                  </a:lnTo>
                  <a:lnTo>
                    <a:pt x="520" y="551"/>
                  </a:lnTo>
                  <a:lnTo>
                    <a:pt x="520" y="550"/>
                  </a:lnTo>
                  <a:lnTo>
                    <a:pt x="520" y="548"/>
                  </a:lnTo>
                  <a:lnTo>
                    <a:pt x="518" y="544"/>
                  </a:lnTo>
                  <a:lnTo>
                    <a:pt x="518" y="544"/>
                  </a:lnTo>
                  <a:lnTo>
                    <a:pt x="520" y="544"/>
                  </a:lnTo>
                  <a:lnTo>
                    <a:pt x="520" y="542"/>
                  </a:lnTo>
                  <a:lnTo>
                    <a:pt x="520" y="542"/>
                  </a:lnTo>
                  <a:lnTo>
                    <a:pt x="522" y="540"/>
                  </a:lnTo>
                  <a:lnTo>
                    <a:pt x="522" y="540"/>
                  </a:lnTo>
                  <a:lnTo>
                    <a:pt x="522" y="540"/>
                  </a:lnTo>
                  <a:lnTo>
                    <a:pt x="522" y="538"/>
                  </a:lnTo>
                  <a:lnTo>
                    <a:pt x="522" y="538"/>
                  </a:lnTo>
                  <a:lnTo>
                    <a:pt x="522" y="538"/>
                  </a:lnTo>
                  <a:lnTo>
                    <a:pt x="524" y="538"/>
                  </a:lnTo>
                  <a:lnTo>
                    <a:pt x="524" y="536"/>
                  </a:lnTo>
                  <a:lnTo>
                    <a:pt x="530" y="538"/>
                  </a:lnTo>
                  <a:lnTo>
                    <a:pt x="532" y="538"/>
                  </a:lnTo>
                  <a:lnTo>
                    <a:pt x="535" y="536"/>
                  </a:lnTo>
                  <a:lnTo>
                    <a:pt x="539" y="536"/>
                  </a:lnTo>
                  <a:lnTo>
                    <a:pt x="539" y="536"/>
                  </a:lnTo>
                  <a:lnTo>
                    <a:pt x="539" y="536"/>
                  </a:lnTo>
                  <a:lnTo>
                    <a:pt x="541" y="536"/>
                  </a:lnTo>
                  <a:lnTo>
                    <a:pt x="541" y="536"/>
                  </a:lnTo>
                  <a:lnTo>
                    <a:pt x="539" y="538"/>
                  </a:lnTo>
                  <a:lnTo>
                    <a:pt x="539" y="538"/>
                  </a:lnTo>
                  <a:lnTo>
                    <a:pt x="537" y="542"/>
                  </a:lnTo>
                  <a:lnTo>
                    <a:pt x="537" y="544"/>
                  </a:lnTo>
                  <a:lnTo>
                    <a:pt x="537" y="544"/>
                  </a:lnTo>
                  <a:lnTo>
                    <a:pt x="537" y="544"/>
                  </a:lnTo>
                  <a:lnTo>
                    <a:pt x="539" y="546"/>
                  </a:lnTo>
                  <a:lnTo>
                    <a:pt x="539" y="548"/>
                  </a:lnTo>
                  <a:lnTo>
                    <a:pt x="539" y="548"/>
                  </a:lnTo>
                  <a:lnTo>
                    <a:pt x="539" y="550"/>
                  </a:lnTo>
                  <a:lnTo>
                    <a:pt x="539" y="550"/>
                  </a:lnTo>
                  <a:lnTo>
                    <a:pt x="537" y="550"/>
                  </a:lnTo>
                  <a:lnTo>
                    <a:pt x="537" y="550"/>
                  </a:lnTo>
                  <a:lnTo>
                    <a:pt x="535" y="548"/>
                  </a:lnTo>
                  <a:lnTo>
                    <a:pt x="533" y="548"/>
                  </a:lnTo>
                  <a:lnTo>
                    <a:pt x="533" y="548"/>
                  </a:lnTo>
                  <a:lnTo>
                    <a:pt x="533" y="548"/>
                  </a:lnTo>
                  <a:lnTo>
                    <a:pt x="533" y="550"/>
                  </a:lnTo>
                  <a:lnTo>
                    <a:pt x="533" y="550"/>
                  </a:lnTo>
                  <a:lnTo>
                    <a:pt x="533" y="551"/>
                  </a:lnTo>
                  <a:lnTo>
                    <a:pt x="533" y="551"/>
                  </a:lnTo>
                  <a:lnTo>
                    <a:pt x="535" y="553"/>
                  </a:lnTo>
                  <a:lnTo>
                    <a:pt x="537" y="553"/>
                  </a:lnTo>
                  <a:lnTo>
                    <a:pt x="539" y="553"/>
                  </a:lnTo>
                  <a:lnTo>
                    <a:pt x="543" y="553"/>
                  </a:lnTo>
                  <a:lnTo>
                    <a:pt x="547" y="551"/>
                  </a:lnTo>
                  <a:lnTo>
                    <a:pt x="547" y="551"/>
                  </a:lnTo>
                  <a:lnTo>
                    <a:pt x="547" y="551"/>
                  </a:lnTo>
                  <a:lnTo>
                    <a:pt x="549" y="551"/>
                  </a:lnTo>
                  <a:lnTo>
                    <a:pt x="547" y="553"/>
                  </a:lnTo>
                  <a:lnTo>
                    <a:pt x="547" y="553"/>
                  </a:lnTo>
                  <a:lnTo>
                    <a:pt x="547" y="555"/>
                  </a:lnTo>
                  <a:lnTo>
                    <a:pt x="545" y="555"/>
                  </a:lnTo>
                  <a:lnTo>
                    <a:pt x="545" y="557"/>
                  </a:lnTo>
                  <a:lnTo>
                    <a:pt x="543" y="557"/>
                  </a:lnTo>
                  <a:lnTo>
                    <a:pt x="541" y="557"/>
                  </a:lnTo>
                  <a:lnTo>
                    <a:pt x="539" y="557"/>
                  </a:lnTo>
                  <a:lnTo>
                    <a:pt x="537" y="557"/>
                  </a:lnTo>
                  <a:lnTo>
                    <a:pt x="535" y="557"/>
                  </a:lnTo>
                  <a:lnTo>
                    <a:pt x="535" y="557"/>
                  </a:lnTo>
                  <a:lnTo>
                    <a:pt x="533" y="557"/>
                  </a:lnTo>
                  <a:lnTo>
                    <a:pt x="532" y="555"/>
                  </a:lnTo>
                  <a:lnTo>
                    <a:pt x="530" y="553"/>
                  </a:lnTo>
                  <a:lnTo>
                    <a:pt x="530" y="553"/>
                  </a:lnTo>
                  <a:lnTo>
                    <a:pt x="528" y="551"/>
                  </a:lnTo>
                  <a:lnTo>
                    <a:pt x="528" y="553"/>
                  </a:lnTo>
                  <a:lnTo>
                    <a:pt x="528" y="553"/>
                  </a:lnTo>
                  <a:lnTo>
                    <a:pt x="528" y="553"/>
                  </a:lnTo>
                  <a:lnTo>
                    <a:pt x="528" y="555"/>
                  </a:lnTo>
                  <a:lnTo>
                    <a:pt x="530" y="557"/>
                  </a:lnTo>
                  <a:lnTo>
                    <a:pt x="530" y="559"/>
                  </a:lnTo>
                  <a:lnTo>
                    <a:pt x="530" y="559"/>
                  </a:lnTo>
                  <a:lnTo>
                    <a:pt x="530" y="561"/>
                  </a:lnTo>
                  <a:lnTo>
                    <a:pt x="530" y="561"/>
                  </a:lnTo>
                  <a:lnTo>
                    <a:pt x="528" y="563"/>
                  </a:lnTo>
                  <a:lnTo>
                    <a:pt x="526" y="565"/>
                  </a:lnTo>
                  <a:lnTo>
                    <a:pt x="526" y="567"/>
                  </a:lnTo>
                  <a:lnTo>
                    <a:pt x="526" y="567"/>
                  </a:lnTo>
                  <a:lnTo>
                    <a:pt x="528" y="569"/>
                  </a:lnTo>
                  <a:lnTo>
                    <a:pt x="528" y="569"/>
                  </a:lnTo>
                  <a:lnTo>
                    <a:pt x="530" y="570"/>
                  </a:lnTo>
                  <a:lnTo>
                    <a:pt x="532" y="570"/>
                  </a:lnTo>
                  <a:lnTo>
                    <a:pt x="533" y="570"/>
                  </a:lnTo>
                  <a:lnTo>
                    <a:pt x="535" y="570"/>
                  </a:lnTo>
                  <a:lnTo>
                    <a:pt x="539" y="570"/>
                  </a:lnTo>
                  <a:lnTo>
                    <a:pt x="541" y="570"/>
                  </a:lnTo>
                  <a:lnTo>
                    <a:pt x="547" y="572"/>
                  </a:lnTo>
                  <a:lnTo>
                    <a:pt x="549" y="572"/>
                  </a:lnTo>
                  <a:lnTo>
                    <a:pt x="552" y="572"/>
                  </a:lnTo>
                  <a:lnTo>
                    <a:pt x="560" y="569"/>
                  </a:lnTo>
                  <a:lnTo>
                    <a:pt x="566" y="569"/>
                  </a:lnTo>
                  <a:lnTo>
                    <a:pt x="570" y="569"/>
                  </a:lnTo>
                  <a:lnTo>
                    <a:pt x="577" y="565"/>
                  </a:lnTo>
                  <a:lnTo>
                    <a:pt x="577" y="565"/>
                  </a:lnTo>
                  <a:lnTo>
                    <a:pt x="579" y="565"/>
                  </a:lnTo>
                  <a:lnTo>
                    <a:pt x="581" y="565"/>
                  </a:lnTo>
                  <a:lnTo>
                    <a:pt x="581" y="565"/>
                  </a:lnTo>
                  <a:lnTo>
                    <a:pt x="583" y="567"/>
                  </a:lnTo>
                  <a:lnTo>
                    <a:pt x="585" y="570"/>
                  </a:lnTo>
                  <a:lnTo>
                    <a:pt x="585" y="572"/>
                  </a:lnTo>
                  <a:lnTo>
                    <a:pt x="585" y="574"/>
                  </a:lnTo>
                  <a:lnTo>
                    <a:pt x="585" y="574"/>
                  </a:lnTo>
                  <a:lnTo>
                    <a:pt x="585" y="576"/>
                  </a:lnTo>
                  <a:lnTo>
                    <a:pt x="587" y="576"/>
                  </a:lnTo>
                  <a:lnTo>
                    <a:pt x="589" y="578"/>
                  </a:lnTo>
                  <a:lnTo>
                    <a:pt x="591" y="582"/>
                  </a:lnTo>
                  <a:lnTo>
                    <a:pt x="591" y="591"/>
                  </a:lnTo>
                  <a:lnTo>
                    <a:pt x="591" y="591"/>
                  </a:lnTo>
                  <a:lnTo>
                    <a:pt x="591" y="593"/>
                  </a:lnTo>
                  <a:lnTo>
                    <a:pt x="591" y="593"/>
                  </a:lnTo>
                  <a:lnTo>
                    <a:pt x="591" y="595"/>
                  </a:lnTo>
                  <a:lnTo>
                    <a:pt x="589" y="595"/>
                  </a:lnTo>
                  <a:lnTo>
                    <a:pt x="587" y="595"/>
                  </a:lnTo>
                  <a:lnTo>
                    <a:pt x="587" y="595"/>
                  </a:lnTo>
                  <a:lnTo>
                    <a:pt x="583" y="593"/>
                  </a:lnTo>
                  <a:lnTo>
                    <a:pt x="581" y="593"/>
                  </a:lnTo>
                  <a:lnTo>
                    <a:pt x="581" y="593"/>
                  </a:lnTo>
                  <a:lnTo>
                    <a:pt x="579" y="593"/>
                  </a:lnTo>
                  <a:lnTo>
                    <a:pt x="579" y="595"/>
                  </a:lnTo>
                  <a:lnTo>
                    <a:pt x="577" y="599"/>
                  </a:lnTo>
                  <a:lnTo>
                    <a:pt x="577" y="601"/>
                  </a:lnTo>
                  <a:lnTo>
                    <a:pt x="579" y="601"/>
                  </a:lnTo>
                  <a:lnTo>
                    <a:pt x="579" y="603"/>
                  </a:lnTo>
                  <a:lnTo>
                    <a:pt x="579" y="607"/>
                  </a:lnTo>
                  <a:lnTo>
                    <a:pt x="579" y="608"/>
                  </a:lnTo>
                  <a:lnTo>
                    <a:pt x="581" y="608"/>
                  </a:lnTo>
                  <a:lnTo>
                    <a:pt x="581" y="610"/>
                  </a:lnTo>
                  <a:lnTo>
                    <a:pt x="583" y="610"/>
                  </a:lnTo>
                  <a:lnTo>
                    <a:pt x="583" y="610"/>
                  </a:lnTo>
                  <a:lnTo>
                    <a:pt x="583" y="610"/>
                  </a:lnTo>
                  <a:lnTo>
                    <a:pt x="585" y="612"/>
                  </a:lnTo>
                  <a:lnTo>
                    <a:pt x="585" y="614"/>
                  </a:lnTo>
                  <a:lnTo>
                    <a:pt x="585" y="616"/>
                  </a:lnTo>
                  <a:lnTo>
                    <a:pt x="583" y="618"/>
                  </a:lnTo>
                  <a:lnTo>
                    <a:pt x="581" y="622"/>
                  </a:lnTo>
                  <a:lnTo>
                    <a:pt x="579" y="624"/>
                  </a:lnTo>
                  <a:lnTo>
                    <a:pt x="579" y="626"/>
                  </a:lnTo>
                  <a:lnTo>
                    <a:pt x="579" y="627"/>
                  </a:lnTo>
                  <a:lnTo>
                    <a:pt x="581" y="629"/>
                  </a:lnTo>
                  <a:lnTo>
                    <a:pt x="585" y="631"/>
                  </a:lnTo>
                  <a:lnTo>
                    <a:pt x="585" y="631"/>
                  </a:lnTo>
                  <a:lnTo>
                    <a:pt x="585" y="633"/>
                  </a:lnTo>
                  <a:lnTo>
                    <a:pt x="583" y="635"/>
                  </a:lnTo>
                  <a:lnTo>
                    <a:pt x="581" y="637"/>
                  </a:lnTo>
                  <a:lnTo>
                    <a:pt x="579" y="639"/>
                  </a:lnTo>
                  <a:lnTo>
                    <a:pt x="579" y="641"/>
                  </a:lnTo>
                  <a:lnTo>
                    <a:pt x="579" y="643"/>
                  </a:lnTo>
                  <a:lnTo>
                    <a:pt x="577" y="643"/>
                  </a:lnTo>
                  <a:lnTo>
                    <a:pt x="577" y="643"/>
                  </a:lnTo>
                  <a:lnTo>
                    <a:pt x="577" y="643"/>
                  </a:lnTo>
                  <a:lnTo>
                    <a:pt x="575" y="643"/>
                  </a:lnTo>
                  <a:lnTo>
                    <a:pt x="573" y="641"/>
                  </a:lnTo>
                  <a:lnTo>
                    <a:pt x="573" y="641"/>
                  </a:lnTo>
                  <a:lnTo>
                    <a:pt x="572" y="641"/>
                  </a:lnTo>
                  <a:lnTo>
                    <a:pt x="570" y="643"/>
                  </a:lnTo>
                  <a:lnTo>
                    <a:pt x="570" y="643"/>
                  </a:lnTo>
                  <a:lnTo>
                    <a:pt x="568" y="643"/>
                  </a:lnTo>
                  <a:lnTo>
                    <a:pt x="566" y="643"/>
                  </a:lnTo>
                  <a:lnTo>
                    <a:pt x="566" y="643"/>
                  </a:lnTo>
                  <a:lnTo>
                    <a:pt x="564" y="641"/>
                  </a:lnTo>
                  <a:lnTo>
                    <a:pt x="564" y="641"/>
                  </a:lnTo>
                  <a:lnTo>
                    <a:pt x="562" y="641"/>
                  </a:lnTo>
                  <a:lnTo>
                    <a:pt x="560" y="639"/>
                  </a:lnTo>
                  <a:lnTo>
                    <a:pt x="560" y="639"/>
                  </a:lnTo>
                  <a:lnTo>
                    <a:pt x="558" y="639"/>
                  </a:lnTo>
                  <a:lnTo>
                    <a:pt x="558" y="639"/>
                  </a:lnTo>
                  <a:lnTo>
                    <a:pt x="558" y="639"/>
                  </a:lnTo>
                  <a:lnTo>
                    <a:pt x="556" y="641"/>
                  </a:lnTo>
                  <a:lnTo>
                    <a:pt x="554" y="645"/>
                  </a:lnTo>
                  <a:lnTo>
                    <a:pt x="554" y="645"/>
                  </a:lnTo>
                  <a:lnTo>
                    <a:pt x="556" y="648"/>
                  </a:lnTo>
                  <a:lnTo>
                    <a:pt x="556" y="650"/>
                  </a:lnTo>
                  <a:lnTo>
                    <a:pt x="556" y="652"/>
                  </a:lnTo>
                  <a:lnTo>
                    <a:pt x="558" y="652"/>
                  </a:lnTo>
                  <a:lnTo>
                    <a:pt x="564" y="656"/>
                  </a:lnTo>
                  <a:lnTo>
                    <a:pt x="564" y="656"/>
                  </a:lnTo>
                  <a:lnTo>
                    <a:pt x="564" y="658"/>
                  </a:lnTo>
                  <a:lnTo>
                    <a:pt x="564" y="660"/>
                  </a:lnTo>
                  <a:lnTo>
                    <a:pt x="566" y="662"/>
                  </a:lnTo>
                  <a:lnTo>
                    <a:pt x="570" y="662"/>
                  </a:lnTo>
                  <a:lnTo>
                    <a:pt x="570" y="662"/>
                  </a:lnTo>
                  <a:lnTo>
                    <a:pt x="572" y="662"/>
                  </a:lnTo>
                  <a:lnTo>
                    <a:pt x="573" y="664"/>
                  </a:lnTo>
                  <a:lnTo>
                    <a:pt x="573" y="664"/>
                  </a:lnTo>
                  <a:lnTo>
                    <a:pt x="575" y="664"/>
                  </a:lnTo>
                  <a:lnTo>
                    <a:pt x="575" y="664"/>
                  </a:lnTo>
                  <a:lnTo>
                    <a:pt x="575" y="662"/>
                  </a:lnTo>
                  <a:lnTo>
                    <a:pt x="575" y="662"/>
                  </a:lnTo>
                  <a:lnTo>
                    <a:pt x="575" y="660"/>
                  </a:lnTo>
                  <a:lnTo>
                    <a:pt x="577" y="658"/>
                  </a:lnTo>
                  <a:lnTo>
                    <a:pt x="577" y="656"/>
                  </a:lnTo>
                  <a:lnTo>
                    <a:pt x="577" y="656"/>
                  </a:lnTo>
                  <a:lnTo>
                    <a:pt x="577" y="652"/>
                  </a:lnTo>
                  <a:lnTo>
                    <a:pt x="577" y="652"/>
                  </a:lnTo>
                  <a:lnTo>
                    <a:pt x="577" y="652"/>
                  </a:lnTo>
                  <a:lnTo>
                    <a:pt x="577" y="652"/>
                  </a:lnTo>
                  <a:lnTo>
                    <a:pt x="579" y="652"/>
                  </a:lnTo>
                  <a:lnTo>
                    <a:pt x="579" y="652"/>
                  </a:lnTo>
                  <a:lnTo>
                    <a:pt x="581" y="652"/>
                  </a:lnTo>
                  <a:lnTo>
                    <a:pt x="581" y="654"/>
                  </a:lnTo>
                  <a:lnTo>
                    <a:pt x="581" y="654"/>
                  </a:lnTo>
                  <a:lnTo>
                    <a:pt x="583" y="654"/>
                  </a:lnTo>
                  <a:lnTo>
                    <a:pt x="585" y="654"/>
                  </a:lnTo>
                  <a:lnTo>
                    <a:pt x="589" y="652"/>
                  </a:lnTo>
                  <a:lnTo>
                    <a:pt x="592" y="650"/>
                  </a:lnTo>
                  <a:lnTo>
                    <a:pt x="600" y="647"/>
                  </a:lnTo>
                  <a:lnTo>
                    <a:pt x="602" y="647"/>
                  </a:lnTo>
                  <a:lnTo>
                    <a:pt x="602" y="645"/>
                  </a:lnTo>
                  <a:lnTo>
                    <a:pt x="602" y="645"/>
                  </a:lnTo>
                  <a:lnTo>
                    <a:pt x="602" y="643"/>
                  </a:lnTo>
                  <a:lnTo>
                    <a:pt x="602" y="643"/>
                  </a:lnTo>
                  <a:lnTo>
                    <a:pt x="602" y="643"/>
                  </a:lnTo>
                  <a:lnTo>
                    <a:pt x="602" y="643"/>
                  </a:lnTo>
                  <a:lnTo>
                    <a:pt x="602" y="641"/>
                  </a:lnTo>
                  <a:lnTo>
                    <a:pt x="600" y="641"/>
                  </a:lnTo>
                  <a:lnTo>
                    <a:pt x="602" y="639"/>
                  </a:lnTo>
                  <a:lnTo>
                    <a:pt x="602" y="637"/>
                  </a:lnTo>
                  <a:lnTo>
                    <a:pt x="610" y="633"/>
                  </a:lnTo>
                  <a:lnTo>
                    <a:pt x="613" y="629"/>
                  </a:lnTo>
                  <a:lnTo>
                    <a:pt x="613" y="627"/>
                  </a:lnTo>
                  <a:lnTo>
                    <a:pt x="613" y="627"/>
                  </a:lnTo>
                  <a:lnTo>
                    <a:pt x="613" y="624"/>
                  </a:lnTo>
                  <a:lnTo>
                    <a:pt x="613" y="624"/>
                  </a:lnTo>
                  <a:lnTo>
                    <a:pt x="613" y="620"/>
                  </a:lnTo>
                  <a:lnTo>
                    <a:pt x="613" y="618"/>
                  </a:lnTo>
                  <a:lnTo>
                    <a:pt x="613" y="616"/>
                  </a:lnTo>
                  <a:lnTo>
                    <a:pt x="613" y="614"/>
                  </a:lnTo>
                  <a:lnTo>
                    <a:pt x="613" y="612"/>
                  </a:lnTo>
                  <a:lnTo>
                    <a:pt x="613" y="610"/>
                  </a:lnTo>
                  <a:lnTo>
                    <a:pt x="615" y="610"/>
                  </a:lnTo>
                  <a:lnTo>
                    <a:pt x="615" y="608"/>
                  </a:lnTo>
                  <a:lnTo>
                    <a:pt x="617" y="608"/>
                  </a:lnTo>
                  <a:lnTo>
                    <a:pt x="619" y="607"/>
                  </a:lnTo>
                  <a:lnTo>
                    <a:pt x="619" y="607"/>
                  </a:lnTo>
                  <a:lnTo>
                    <a:pt x="619" y="607"/>
                  </a:lnTo>
                  <a:lnTo>
                    <a:pt x="621" y="608"/>
                  </a:lnTo>
                  <a:lnTo>
                    <a:pt x="621" y="608"/>
                  </a:lnTo>
                  <a:lnTo>
                    <a:pt x="619" y="610"/>
                  </a:lnTo>
                  <a:lnTo>
                    <a:pt x="619" y="610"/>
                  </a:lnTo>
                  <a:lnTo>
                    <a:pt x="619" y="612"/>
                  </a:lnTo>
                  <a:lnTo>
                    <a:pt x="621" y="612"/>
                  </a:lnTo>
                  <a:lnTo>
                    <a:pt x="621" y="614"/>
                  </a:lnTo>
                  <a:lnTo>
                    <a:pt x="623" y="614"/>
                  </a:lnTo>
                  <a:lnTo>
                    <a:pt x="623" y="614"/>
                  </a:lnTo>
                  <a:lnTo>
                    <a:pt x="627" y="614"/>
                  </a:lnTo>
                  <a:lnTo>
                    <a:pt x="629" y="614"/>
                  </a:lnTo>
                  <a:lnTo>
                    <a:pt x="631" y="614"/>
                  </a:lnTo>
                  <a:lnTo>
                    <a:pt x="636" y="616"/>
                  </a:lnTo>
                  <a:lnTo>
                    <a:pt x="638" y="616"/>
                  </a:lnTo>
                  <a:lnTo>
                    <a:pt x="640" y="616"/>
                  </a:lnTo>
                  <a:lnTo>
                    <a:pt x="644" y="616"/>
                  </a:lnTo>
                  <a:lnTo>
                    <a:pt x="646" y="616"/>
                  </a:lnTo>
                  <a:lnTo>
                    <a:pt x="646" y="618"/>
                  </a:lnTo>
                  <a:lnTo>
                    <a:pt x="648" y="618"/>
                  </a:lnTo>
                  <a:lnTo>
                    <a:pt x="648" y="620"/>
                  </a:lnTo>
                  <a:lnTo>
                    <a:pt x="648" y="622"/>
                  </a:lnTo>
                  <a:lnTo>
                    <a:pt x="650" y="622"/>
                  </a:lnTo>
                  <a:lnTo>
                    <a:pt x="650" y="622"/>
                  </a:lnTo>
                  <a:lnTo>
                    <a:pt x="652" y="622"/>
                  </a:lnTo>
                  <a:lnTo>
                    <a:pt x="653" y="622"/>
                  </a:lnTo>
                  <a:lnTo>
                    <a:pt x="653" y="620"/>
                  </a:lnTo>
                  <a:lnTo>
                    <a:pt x="653" y="620"/>
                  </a:lnTo>
                  <a:lnTo>
                    <a:pt x="655" y="616"/>
                  </a:lnTo>
                  <a:lnTo>
                    <a:pt x="655" y="616"/>
                  </a:lnTo>
                  <a:lnTo>
                    <a:pt x="655" y="614"/>
                  </a:lnTo>
                  <a:lnTo>
                    <a:pt x="657" y="614"/>
                  </a:lnTo>
                  <a:lnTo>
                    <a:pt x="659" y="612"/>
                  </a:lnTo>
                  <a:lnTo>
                    <a:pt x="663" y="612"/>
                  </a:lnTo>
                  <a:lnTo>
                    <a:pt x="663" y="612"/>
                  </a:lnTo>
                  <a:lnTo>
                    <a:pt x="665" y="612"/>
                  </a:lnTo>
                  <a:lnTo>
                    <a:pt x="665" y="612"/>
                  </a:lnTo>
                  <a:lnTo>
                    <a:pt x="665" y="614"/>
                  </a:lnTo>
                  <a:lnTo>
                    <a:pt x="665" y="616"/>
                  </a:lnTo>
                  <a:lnTo>
                    <a:pt x="663" y="616"/>
                  </a:lnTo>
                  <a:lnTo>
                    <a:pt x="663" y="618"/>
                  </a:lnTo>
                  <a:lnTo>
                    <a:pt x="663" y="618"/>
                  </a:lnTo>
                  <a:lnTo>
                    <a:pt x="663" y="620"/>
                  </a:lnTo>
                  <a:lnTo>
                    <a:pt x="665" y="620"/>
                  </a:lnTo>
                  <a:lnTo>
                    <a:pt x="669" y="624"/>
                  </a:lnTo>
                  <a:lnTo>
                    <a:pt x="671" y="626"/>
                  </a:lnTo>
                  <a:lnTo>
                    <a:pt x="673" y="627"/>
                  </a:lnTo>
                  <a:lnTo>
                    <a:pt x="676" y="627"/>
                  </a:lnTo>
                  <a:lnTo>
                    <a:pt x="678" y="626"/>
                  </a:lnTo>
                  <a:lnTo>
                    <a:pt x="678" y="626"/>
                  </a:lnTo>
                  <a:lnTo>
                    <a:pt x="678" y="626"/>
                  </a:lnTo>
                  <a:lnTo>
                    <a:pt x="680" y="626"/>
                  </a:lnTo>
                  <a:lnTo>
                    <a:pt x="682" y="626"/>
                  </a:lnTo>
                  <a:lnTo>
                    <a:pt x="682" y="626"/>
                  </a:lnTo>
                  <a:lnTo>
                    <a:pt x="682" y="624"/>
                  </a:lnTo>
                  <a:lnTo>
                    <a:pt x="684" y="624"/>
                  </a:lnTo>
                  <a:lnTo>
                    <a:pt x="684" y="622"/>
                  </a:lnTo>
                  <a:lnTo>
                    <a:pt x="684" y="622"/>
                  </a:lnTo>
                  <a:lnTo>
                    <a:pt x="684" y="620"/>
                  </a:lnTo>
                  <a:lnTo>
                    <a:pt x="686" y="620"/>
                  </a:lnTo>
                  <a:lnTo>
                    <a:pt x="684" y="618"/>
                  </a:lnTo>
                  <a:lnTo>
                    <a:pt x="684" y="616"/>
                  </a:lnTo>
                  <a:lnTo>
                    <a:pt x="680" y="610"/>
                  </a:lnTo>
                  <a:lnTo>
                    <a:pt x="678" y="608"/>
                  </a:lnTo>
                  <a:lnTo>
                    <a:pt x="678" y="607"/>
                  </a:lnTo>
                  <a:lnTo>
                    <a:pt x="678" y="599"/>
                  </a:lnTo>
                  <a:lnTo>
                    <a:pt x="676" y="597"/>
                  </a:lnTo>
                  <a:lnTo>
                    <a:pt x="676" y="597"/>
                  </a:lnTo>
                  <a:lnTo>
                    <a:pt x="676" y="595"/>
                  </a:lnTo>
                  <a:lnTo>
                    <a:pt x="676" y="595"/>
                  </a:lnTo>
                  <a:lnTo>
                    <a:pt x="678" y="591"/>
                  </a:lnTo>
                  <a:lnTo>
                    <a:pt x="678" y="591"/>
                  </a:lnTo>
                  <a:lnTo>
                    <a:pt x="678" y="591"/>
                  </a:lnTo>
                  <a:lnTo>
                    <a:pt x="678" y="589"/>
                  </a:lnTo>
                  <a:lnTo>
                    <a:pt x="676" y="588"/>
                  </a:lnTo>
                  <a:lnTo>
                    <a:pt x="676" y="586"/>
                  </a:lnTo>
                  <a:lnTo>
                    <a:pt x="678" y="586"/>
                  </a:lnTo>
                  <a:lnTo>
                    <a:pt x="678" y="584"/>
                  </a:lnTo>
                  <a:lnTo>
                    <a:pt x="678" y="584"/>
                  </a:lnTo>
                  <a:lnTo>
                    <a:pt x="680" y="586"/>
                  </a:lnTo>
                  <a:lnTo>
                    <a:pt x="680" y="586"/>
                  </a:lnTo>
                  <a:lnTo>
                    <a:pt x="680" y="586"/>
                  </a:lnTo>
                  <a:lnTo>
                    <a:pt x="682" y="586"/>
                  </a:lnTo>
                  <a:lnTo>
                    <a:pt x="682" y="586"/>
                  </a:lnTo>
                  <a:lnTo>
                    <a:pt x="684" y="586"/>
                  </a:lnTo>
                  <a:lnTo>
                    <a:pt x="684" y="586"/>
                  </a:lnTo>
                  <a:lnTo>
                    <a:pt x="684" y="588"/>
                  </a:lnTo>
                  <a:lnTo>
                    <a:pt x="684" y="588"/>
                  </a:lnTo>
                  <a:lnTo>
                    <a:pt x="686" y="589"/>
                  </a:lnTo>
                  <a:lnTo>
                    <a:pt x="686" y="589"/>
                  </a:lnTo>
                  <a:lnTo>
                    <a:pt x="686" y="589"/>
                  </a:lnTo>
                  <a:lnTo>
                    <a:pt x="686" y="591"/>
                  </a:lnTo>
                  <a:lnTo>
                    <a:pt x="686" y="593"/>
                  </a:lnTo>
                  <a:lnTo>
                    <a:pt x="686" y="593"/>
                  </a:lnTo>
                  <a:lnTo>
                    <a:pt x="686" y="593"/>
                  </a:lnTo>
                  <a:lnTo>
                    <a:pt x="686" y="593"/>
                  </a:lnTo>
                  <a:lnTo>
                    <a:pt x="688" y="593"/>
                  </a:lnTo>
                  <a:lnTo>
                    <a:pt x="690" y="593"/>
                  </a:lnTo>
                  <a:lnTo>
                    <a:pt x="690" y="593"/>
                  </a:lnTo>
                  <a:lnTo>
                    <a:pt x="697" y="588"/>
                  </a:lnTo>
                  <a:lnTo>
                    <a:pt x="699" y="588"/>
                  </a:lnTo>
                  <a:lnTo>
                    <a:pt x="699" y="588"/>
                  </a:lnTo>
                  <a:lnTo>
                    <a:pt x="701" y="586"/>
                  </a:lnTo>
                  <a:lnTo>
                    <a:pt x="701" y="584"/>
                  </a:lnTo>
                  <a:lnTo>
                    <a:pt x="701" y="582"/>
                  </a:lnTo>
                  <a:lnTo>
                    <a:pt x="699" y="578"/>
                  </a:lnTo>
                  <a:lnTo>
                    <a:pt x="699" y="574"/>
                  </a:lnTo>
                  <a:lnTo>
                    <a:pt x="697" y="574"/>
                  </a:lnTo>
                  <a:lnTo>
                    <a:pt x="695" y="572"/>
                  </a:lnTo>
                  <a:lnTo>
                    <a:pt x="692" y="569"/>
                  </a:lnTo>
                  <a:lnTo>
                    <a:pt x="692" y="569"/>
                  </a:lnTo>
                  <a:lnTo>
                    <a:pt x="690" y="569"/>
                  </a:lnTo>
                  <a:lnTo>
                    <a:pt x="690" y="569"/>
                  </a:lnTo>
                  <a:lnTo>
                    <a:pt x="688" y="569"/>
                  </a:lnTo>
                  <a:lnTo>
                    <a:pt x="688" y="569"/>
                  </a:lnTo>
                  <a:lnTo>
                    <a:pt x="684" y="569"/>
                  </a:lnTo>
                  <a:lnTo>
                    <a:pt x="680" y="567"/>
                  </a:lnTo>
                  <a:lnTo>
                    <a:pt x="676" y="561"/>
                  </a:lnTo>
                  <a:lnTo>
                    <a:pt x="674" y="559"/>
                  </a:lnTo>
                  <a:lnTo>
                    <a:pt x="674" y="559"/>
                  </a:lnTo>
                  <a:lnTo>
                    <a:pt x="674" y="557"/>
                  </a:lnTo>
                  <a:lnTo>
                    <a:pt x="676" y="557"/>
                  </a:lnTo>
                  <a:lnTo>
                    <a:pt x="676" y="557"/>
                  </a:lnTo>
                  <a:lnTo>
                    <a:pt x="676" y="557"/>
                  </a:lnTo>
                  <a:lnTo>
                    <a:pt x="678" y="555"/>
                  </a:lnTo>
                  <a:lnTo>
                    <a:pt x="680" y="555"/>
                  </a:lnTo>
                  <a:lnTo>
                    <a:pt x="682" y="555"/>
                  </a:lnTo>
                  <a:lnTo>
                    <a:pt x="682" y="555"/>
                  </a:lnTo>
                  <a:lnTo>
                    <a:pt x="684" y="553"/>
                  </a:lnTo>
                  <a:lnTo>
                    <a:pt x="684" y="553"/>
                  </a:lnTo>
                  <a:lnTo>
                    <a:pt x="684" y="551"/>
                  </a:lnTo>
                  <a:lnTo>
                    <a:pt x="684" y="550"/>
                  </a:lnTo>
                  <a:lnTo>
                    <a:pt x="684" y="548"/>
                  </a:lnTo>
                  <a:lnTo>
                    <a:pt x="682" y="546"/>
                  </a:lnTo>
                  <a:lnTo>
                    <a:pt x="680" y="542"/>
                  </a:lnTo>
                  <a:lnTo>
                    <a:pt x="680" y="542"/>
                  </a:lnTo>
                  <a:lnTo>
                    <a:pt x="680" y="542"/>
                  </a:lnTo>
                  <a:lnTo>
                    <a:pt x="680" y="542"/>
                  </a:lnTo>
                  <a:lnTo>
                    <a:pt x="680" y="540"/>
                  </a:lnTo>
                  <a:lnTo>
                    <a:pt x="682" y="540"/>
                  </a:lnTo>
                  <a:lnTo>
                    <a:pt x="682" y="538"/>
                  </a:lnTo>
                  <a:lnTo>
                    <a:pt x="682" y="538"/>
                  </a:lnTo>
                  <a:lnTo>
                    <a:pt x="684" y="536"/>
                  </a:lnTo>
                  <a:lnTo>
                    <a:pt x="688" y="536"/>
                  </a:lnTo>
                  <a:lnTo>
                    <a:pt x="695" y="532"/>
                  </a:lnTo>
                  <a:lnTo>
                    <a:pt x="695" y="532"/>
                  </a:lnTo>
                  <a:lnTo>
                    <a:pt x="697" y="532"/>
                  </a:lnTo>
                  <a:lnTo>
                    <a:pt x="699" y="532"/>
                  </a:lnTo>
                  <a:lnTo>
                    <a:pt x="703" y="532"/>
                  </a:lnTo>
                  <a:lnTo>
                    <a:pt x="713" y="529"/>
                  </a:lnTo>
                  <a:lnTo>
                    <a:pt x="713" y="529"/>
                  </a:lnTo>
                  <a:lnTo>
                    <a:pt x="714" y="529"/>
                  </a:lnTo>
                  <a:lnTo>
                    <a:pt x="716" y="529"/>
                  </a:lnTo>
                  <a:lnTo>
                    <a:pt x="718" y="529"/>
                  </a:lnTo>
                  <a:lnTo>
                    <a:pt x="720" y="529"/>
                  </a:lnTo>
                  <a:lnTo>
                    <a:pt x="720" y="529"/>
                  </a:lnTo>
                  <a:lnTo>
                    <a:pt x="722" y="530"/>
                  </a:lnTo>
                  <a:lnTo>
                    <a:pt x="724" y="530"/>
                  </a:lnTo>
                  <a:lnTo>
                    <a:pt x="726" y="530"/>
                  </a:lnTo>
                  <a:lnTo>
                    <a:pt x="726" y="530"/>
                  </a:lnTo>
                  <a:lnTo>
                    <a:pt x="728" y="529"/>
                  </a:lnTo>
                  <a:lnTo>
                    <a:pt x="728" y="529"/>
                  </a:lnTo>
                  <a:lnTo>
                    <a:pt x="728" y="529"/>
                  </a:lnTo>
                  <a:lnTo>
                    <a:pt x="728" y="529"/>
                  </a:lnTo>
                  <a:lnTo>
                    <a:pt x="730" y="527"/>
                  </a:lnTo>
                  <a:lnTo>
                    <a:pt x="730" y="527"/>
                  </a:lnTo>
                  <a:lnTo>
                    <a:pt x="732" y="527"/>
                  </a:lnTo>
                  <a:lnTo>
                    <a:pt x="732" y="525"/>
                  </a:lnTo>
                  <a:lnTo>
                    <a:pt x="730" y="523"/>
                  </a:lnTo>
                  <a:lnTo>
                    <a:pt x="732" y="523"/>
                  </a:lnTo>
                  <a:lnTo>
                    <a:pt x="732" y="521"/>
                  </a:lnTo>
                  <a:lnTo>
                    <a:pt x="732" y="521"/>
                  </a:lnTo>
                  <a:lnTo>
                    <a:pt x="732" y="521"/>
                  </a:lnTo>
                  <a:lnTo>
                    <a:pt x="732" y="519"/>
                  </a:lnTo>
                  <a:lnTo>
                    <a:pt x="732" y="519"/>
                  </a:lnTo>
                  <a:lnTo>
                    <a:pt x="730" y="515"/>
                  </a:lnTo>
                  <a:lnTo>
                    <a:pt x="728" y="515"/>
                  </a:lnTo>
                  <a:lnTo>
                    <a:pt x="728" y="513"/>
                  </a:lnTo>
                  <a:lnTo>
                    <a:pt x="728" y="513"/>
                  </a:lnTo>
                  <a:lnTo>
                    <a:pt x="728" y="511"/>
                  </a:lnTo>
                  <a:lnTo>
                    <a:pt x="728" y="511"/>
                  </a:lnTo>
                  <a:lnTo>
                    <a:pt x="728" y="511"/>
                  </a:lnTo>
                  <a:lnTo>
                    <a:pt x="728" y="510"/>
                  </a:lnTo>
                  <a:lnTo>
                    <a:pt x="728" y="510"/>
                  </a:lnTo>
                  <a:lnTo>
                    <a:pt x="728" y="508"/>
                  </a:lnTo>
                  <a:lnTo>
                    <a:pt x="728" y="508"/>
                  </a:lnTo>
                  <a:lnTo>
                    <a:pt x="728" y="506"/>
                  </a:lnTo>
                  <a:lnTo>
                    <a:pt x="726" y="506"/>
                  </a:lnTo>
                  <a:lnTo>
                    <a:pt x="726" y="504"/>
                  </a:lnTo>
                  <a:lnTo>
                    <a:pt x="726" y="504"/>
                  </a:lnTo>
                  <a:lnTo>
                    <a:pt x="728" y="502"/>
                  </a:lnTo>
                  <a:lnTo>
                    <a:pt x="728" y="502"/>
                  </a:lnTo>
                  <a:lnTo>
                    <a:pt x="728" y="500"/>
                  </a:lnTo>
                  <a:lnTo>
                    <a:pt x="728" y="500"/>
                  </a:lnTo>
                  <a:lnTo>
                    <a:pt x="728" y="500"/>
                  </a:lnTo>
                  <a:lnTo>
                    <a:pt x="728" y="498"/>
                  </a:lnTo>
                  <a:lnTo>
                    <a:pt x="728" y="498"/>
                  </a:lnTo>
                  <a:lnTo>
                    <a:pt x="728" y="498"/>
                  </a:lnTo>
                  <a:lnTo>
                    <a:pt x="726" y="496"/>
                  </a:lnTo>
                  <a:lnTo>
                    <a:pt x="726" y="496"/>
                  </a:lnTo>
                  <a:lnTo>
                    <a:pt x="726" y="496"/>
                  </a:lnTo>
                  <a:lnTo>
                    <a:pt x="724" y="496"/>
                  </a:lnTo>
                  <a:lnTo>
                    <a:pt x="722" y="496"/>
                  </a:lnTo>
                  <a:lnTo>
                    <a:pt x="720" y="496"/>
                  </a:lnTo>
                  <a:lnTo>
                    <a:pt x="718" y="498"/>
                  </a:lnTo>
                  <a:lnTo>
                    <a:pt x="716" y="498"/>
                  </a:lnTo>
                  <a:lnTo>
                    <a:pt x="716" y="500"/>
                  </a:lnTo>
                  <a:lnTo>
                    <a:pt x="716" y="500"/>
                  </a:lnTo>
                  <a:lnTo>
                    <a:pt x="714" y="504"/>
                  </a:lnTo>
                  <a:lnTo>
                    <a:pt x="714" y="504"/>
                  </a:lnTo>
                  <a:lnTo>
                    <a:pt x="713" y="506"/>
                  </a:lnTo>
                  <a:lnTo>
                    <a:pt x="713" y="506"/>
                  </a:lnTo>
                  <a:lnTo>
                    <a:pt x="711" y="508"/>
                  </a:lnTo>
                  <a:lnTo>
                    <a:pt x="711" y="508"/>
                  </a:lnTo>
                  <a:lnTo>
                    <a:pt x="709" y="508"/>
                  </a:lnTo>
                  <a:lnTo>
                    <a:pt x="707" y="506"/>
                  </a:lnTo>
                  <a:lnTo>
                    <a:pt x="705" y="506"/>
                  </a:lnTo>
                  <a:lnTo>
                    <a:pt x="703" y="506"/>
                  </a:lnTo>
                  <a:lnTo>
                    <a:pt x="703" y="506"/>
                  </a:lnTo>
                  <a:lnTo>
                    <a:pt x="701" y="506"/>
                  </a:lnTo>
                  <a:lnTo>
                    <a:pt x="697" y="508"/>
                  </a:lnTo>
                  <a:lnTo>
                    <a:pt x="695" y="510"/>
                  </a:lnTo>
                  <a:lnTo>
                    <a:pt x="690" y="510"/>
                  </a:lnTo>
                  <a:lnTo>
                    <a:pt x="688" y="510"/>
                  </a:lnTo>
                  <a:lnTo>
                    <a:pt x="688" y="510"/>
                  </a:lnTo>
                  <a:lnTo>
                    <a:pt x="688" y="510"/>
                  </a:lnTo>
                  <a:lnTo>
                    <a:pt x="684" y="508"/>
                  </a:lnTo>
                  <a:lnTo>
                    <a:pt x="682" y="508"/>
                  </a:lnTo>
                  <a:lnTo>
                    <a:pt x="678" y="506"/>
                  </a:lnTo>
                  <a:lnTo>
                    <a:pt x="678" y="506"/>
                  </a:lnTo>
                  <a:lnTo>
                    <a:pt x="678" y="508"/>
                  </a:lnTo>
                  <a:lnTo>
                    <a:pt x="674" y="508"/>
                  </a:lnTo>
                  <a:lnTo>
                    <a:pt x="674" y="508"/>
                  </a:lnTo>
                  <a:lnTo>
                    <a:pt x="673" y="508"/>
                  </a:lnTo>
                  <a:lnTo>
                    <a:pt x="673" y="508"/>
                  </a:lnTo>
                  <a:lnTo>
                    <a:pt x="669" y="504"/>
                  </a:lnTo>
                  <a:lnTo>
                    <a:pt x="667" y="504"/>
                  </a:lnTo>
                  <a:lnTo>
                    <a:pt x="667" y="504"/>
                  </a:lnTo>
                  <a:lnTo>
                    <a:pt x="665" y="504"/>
                  </a:lnTo>
                  <a:lnTo>
                    <a:pt x="663" y="504"/>
                  </a:lnTo>
                  <a:lnTo>
                    <a:pt x="663" y="504"/>
                  </a:lnTo>
                  <a:lnTo>
                    <a:pt x="661" y="502"/>
                  </a:lnTo>
                  <a:lnTo>
                    <a:pt x="661" y="502"/>
                  </a:lnTo>
                  <a:lnTo>
                    <a:pt x="659" y="498"/>
                  </a:lnTo>
                  <a:lnTo>
                    <a:pt x="657" y="496"/>
                  </a:lnTo>
                  <a:lnTo>
                    <a:pt x="657" y="496"/>
                  </a:lnTo>
                  <a:lnTo>
                    <a:pt x="655" y="496"/>
                  </a:lnTo>
                  <a:lnTo>
                    <a:pt x="655" y="496"/>
                  </a:lnTo>
                  <a:lnTo>
                    <a:pt x="653" y="496"/>
                  </a:lnTo>
                  <a:lnTo>
                    <a:pt x="653" y="494"/>
                  </a:lnTo>
                  <a:lnTo>
                    <a:pt x="653" y="494"/>
                  </a:lnTo>
                  <a:lnTo>
                    <a:pt x="653" y="491"/>
                  </a:lnTo>
                  <a:lnTo>
                    <a:pt x="652" y="485"/>
                  </a:lnTo>
                  <a:lnTo>
                    <a:pt x="648" y="472"/>
                  </a:lnTo>
                  <a:lnTo>
                    <a:pt x="648" y="470"/>
                  </a:lnTo>
                  <a:lnTo>
                    <a:pt x="648" y="470"/>
                  </a:lnTo>
                  <a:lnTo>
                    <a:pt x="646" y="468"/>
                  </a:lnTo>
                  <a:lnTo>
                    <a:pt x="648" y="468"/>
                  </a:lnTo>
                  <a:lnTo>
                    <a:pt x="648" y="466"/>
                  </a:lnTo>
                  <a:lnTo>
                    <a:pt x="650" y="466"/>
                  </a:lnTo>
                  <a:lnTo>
                    <a:pt x="650" y="466"/>
                  </a:lnTo>
                  <a:lnTo>
                    <a:pt x="650" y="464"/>
                  </a:lnTo>
                  <a:lnTo>
                    <a:pt x="650" y="462"/>
                  </a:lnTo>
                  <a:lnTo>
                    <a:pt x="650" y="460"/>
                  </a:lnTo>
                  <a:lnTo>
                    <a:pt x="652" y="458"/>
                  </a:lnTo>
                  <a:lnTo>
                    <a:pt x="653" y="454"/>
                  </a:lnTo>
                  <a:lnTo>
                    <a:pt x="653" y="454"/>
                  </a:lnTo>
                  <a:lnTo>
                    <a:pt x="653" y="454"/>
                  </a:lnTo>
                  <a:lnTo>
                    <a:pt x="657" y="453"/>
                  </a:lnTo>
                  <a:lnTo>
                    <a:pt x="657" y="453"/>
                  </a:lnTo>
                  <a:lnTo>
                    <a:pt x="659" y="453"/>
                  </a:lnTo>
                  <a:lnTo>
                    <a:pt x="659" y="451"/>
                  </a:lnTo>
                  <a:lnTo>
                    <a:pt x="661" y="451"/>
                  </a:lnTo>
                  <a:lnTo>
                    <a:pt x="661" y="449"/>
                  </a:lnTo>
                  <a:lnTo>
                    <a:pt x="661" y="447"/>
                  </a:lnTo>
                  <a:lnTo>
                    <a:pt x="663" y="447"/>
                  </a:lnTo>
                  <a:lnTo>
                    <a:pt x="667" y="449"/>
                  </a:lnTo>
                  <a:lnTo>
                    <a:pt x="669" y="449"/>
                  </a:lnTo>
                  <a:lnTo>
                    <a:pt x="671" y="449"/>
                  </a:lnTo>
                  <a:lnTo>
                    <a:pt x="671" y="447"/>
                  </a:lnTo>
                  <a:lnTo>
                    <a:pt x="673" y="445"/>
                  </a:lnTo>
                  <a:lnTo>
                    <a:pt x="674" y="445"/>
                  </a:lnTo>
                  <a:lnTo>
                    <a:pt x="674" y="443"/>
                  </a:lnTo>
                  <a:lnTo>
                    <a:pt x="674" y="443"/>
                  </a:lnTo>
                  <a:lnTo>
                    <a:pt x="676" y="443"/>
                  </a:lnTo>
                  <a:lnTo>
                    <a:pt x="676" y="443"/>
                  </a:lnTo>
                  <a:lnTo>
                    <a:pt x="676" y="441"/>
                  </a:lnTo>
                  <a:lnTo>
                    <a:pt x="676" y="439"/>
                  </a:lnTo>
                  <a:lnTo>
                    <a:pt x="676" y="439"/>
                  </a:lnTo>
                  <a:lnTo>
                    <a:pt x="678" y="437"/>
                  </a:lnTo>
                  <a:lnTo>
                    <a:pt x="684" y="433"/>
                  </a:lnTo>
                  <a:lnTo>
                    <a:pt x="684" y="433"/>
                  </a:lnTo>
                  <a:lnTo>
                    <a:pt x="686" y="432"/>
                  </a:lnTo>
                  <a:lnTo>
                    <a:pt x="686" y="432"/>
                  </a:lnTo>
                  <a:lnTo>
                    <a:pt x="686" y="430"/>
                  </a:lnTo>
                  <a:lnTo>
                    <a:pt x="686" y="430"/>
                  </a:lnTo>
                  <a:lnTo>
                    <a:pt x="690" y="430"/>
                  </a:lnTo>
                  <a:lnTo>
                    <a:pt x="690" y="428"/>
                  </a:lnTo>
                  <a:lnTo>
                    <a:pt x="692" y="428"/>
                  </a:lnTo>
                  <a:lnTo>
                    <a:pt x="692" y="426"/>
                  </a:lnTo>
                  <a:lnTo>
                    <a:pt x="693" y="426"/>
                  </a:lnTo>
                  <a:lnTo>
                    <a:pt x="695" y="424"/>
                  </a:lnTo>
                  <a:lnTo>
                    <a:pt x="695" y="424"/>
                  </a:lnTo>
                  <a:lnTo>
                    <a:pt x="695" y="422"/>
                  </a:lnTo>
                  <a:lnTo>
                    <a:pt x="697" y="422"/>
                  </a:lnTo>
                  <a:lnTo>
                    <a:pt x="699" y="420"/>
                  </a:lnTo>
                  <a:lnTo>
                    <a:pt x="701" y="420"/>
                  </a:lnTo>
                  <a:lnTo>
                    <a:pt x="701" y="420"/>
                  </a:lnTo>
                  <a:lnTo>
                    <a:pt x="703" y="420"/>
                  </a:lnTo>
                  <a:lnTo>
                    <a:pt x="703" y="420"/>
                  </a:lnTo>
                  <a:lnTo>
                    <a:pt x="703" y="418"/>
                  </a:lnTo>
                  <a:lnTo>
                    <a:pt x="703" y="418"/>
                  </a:lnTo>
                  <a:lnTo>
                    <a:pt x="705" y="416"/>
                  </a:lnTo>
                  <a:lnTo>
                    <a:pt x="707" y="414"/>
                  </a:lnTo>
                  <a:lnTo>
                    <a:pt x="709" y="414"/>
                  </a:lnTo>
                  <a:lnTo>
                    <a:pt x="711" y="414"/>
                  </a:lnTo>
                  <a:lnTo>
                    <a:pt x="714" y="414"/>
                  </a:lnTo>
                  <a:lnTo>
                    <a:pt x="716" y="413"/>
                  </a:lnTo>
                  <a:lnTo>
                    <a:pt x="718" y="411"/>
                  </a:lnTo>
                  <a:lnTo>
                    <a:pt x="720" y="411"/>
                  </a:lnTo>
                  <a:lnTo>
                    <a:pt x="720" y="409"/>
                  </a:lnTo>
                  <a:lnTo>
                    <a:pt x="722" y="409"/>
                  </a:lnTo>
                  <a:lnTo>
                    <a:pt x="722" y="409"/>
                  </a:lnTo>
                  <a:lnTo>
                    <a:pt x="722" y="407"/>
                  </a:lnTo>
                  <a:lnTo>
                    <a:pt x="724" y="405"/>
                  </a:lnTo>
                  <a:lnTo>
                    <a:pt x="724" y="403"/>
                  </a:lnTo>
                  <a:lnTo>
                    <a:pt x="726" y="403"/>
                  </a:lnTo>
                  <a:lnTo>
                    <a:pt x="728" y="401"/>
                  </a:lnTo>
                  <a:lnTo>
                    <a:pt x="730" y="403"/>
                  </a:lnTo>
                  <a:lnTo>
                    <a:pt x="732" y="401"/>
                  </a:lnTo>
                  <a:lnTo>
                    <a:pt x="732" y="401"/>
                  </a:lnTo>
                  <a:lnTo>
                    <a:pt x="734" y="401"/>
                  </a:lnTo>
                  <a:lnTo>
                    <a:pt x="735" y="401"/>
                  </a:lnTo>
                  <a:lnTo>
                    <a:pt x="735" y="399"/>
                  </a:lnTo>
                  <a:lnTo>
                    <a:pt x="735" y="399"/>
                  </a:lnTo>
                  <a:lnTo>
                    <a:pt x="735" y="397"/>
                  </a:lnTo>
                  <a:lnTo>
                    <a:pt x="737" y="397"/>
                  </a:lnTo>
                  <a:lnTo>
                    <a:pt x="741" y="397"/>
                  </a:lnTo>
                  <a:lnTo>
                    <a:pt x="743" y="397"/>
                  </a:lnTo>
                  <a:lnTo>
                    <a:pt x="743" y="395"/>
                  </a:lnTo>
                  <a:lnTo>
                    <a:pt x="747" y="394"/>
                  </a:lnTo>
                  <a:lnTo>
                    <a:pt x="753" y="390"/>
                  </a:lnTo>
                  <a:lnTo>
                    <a:pt x="753" y="390"/>
                  </a:lnTo>
                  <a:lnTo>
                    <a:pt x="754" y="390"/>
                  </a:lnTo>
                  <a:lnTo>
                    <a:pt x="758" y="388"/>
                  </a:lnTo>
                  <a:lnTo>
                    <a:pt x="760" y="388"/>
                  </a:lnTo>
                  <a:lnTo>
                    <a:pt x="760" y="388"/>
                  </a:lnTo>
                  <a:lnTo>
                    <a:pt x="762" y="386"/>
                  </a:lnTo>
                  <a:lnTo>
                    <a:pt x="764" y="384"/>
                  </a:lnTo>
                  <a:lnTo>
                    <a:pt x="766" y="384"/>
                  </a:lnTo>
                  <a:lnTo>
                    <a:pt x="770" y="382"/>
                  </a:lnTo>
                  <a:lnTo>
                    <a:pt x="772" y="380"/>
                  </a:lnTo>
                  <a:lnTo>
                    <a:pt x="770" y="376"/>
                  </a:lnTo>
                  <a:lnTo>
                    <a:pt x="775" y="376"/>
                  </a:lnTo>
                  <a:lnTo>
                    <a:pt x="775" y="375"/>
                  </a:lnTo>
                  <a:lnTo>
                    <a:pt x="777" y="375"/>
                  </a:lnTo>
                  <a:lnTo>
                    <a:pt x="777" y="373"/>
                  </a:lnTo>
                  <a:lnTo>
                    <a:pt x="777" y="373"/>
                  </a:lnTo>
                  <a:lnTo>
                    <a:pt x="777" y="371"/>
                  </a:lnTo>
                  <a:lnTo>
                    <a:pt x="779" y="371"/>
                  </a:lnTo>
                  <a:lnTo>
                    <a:pt x="781" y="371"/>
                  </a:lnTo>
                  <a:lnTo>
                    <a:pt x="783" y="371"/>
                  </a:lnTo>
                  <a:lnTo>
                    <a:pt x="785" y="369"/>
                  </a:lnTo>
                  <a:lnTo>
                    <a:pt x="787" y="369"/>
                  </a:lnTo>
                  <a:lnTo>
                    <a:pt x="789" y="369"/>
                  </a:lnTo>
                  <a:lnTo>
                    <a:pt x="789" y="369"/>
                  </a:lnTo>
                  <a:lnTo>
                    <a:pt x="791" y="369"/>
                  </a:lnTo>
                  <a:lnTo>
                    <a:pt x="791" y="369"/>
                  </a:lnTo>
                  <a:lnTo>
                    <a:pt x="793" y="369"/>
                  </a:lnTo>
                  <a:lnTo>
                    <a:pt x="793" y="369"/>
                  </a:lnTo>
                  <a:lnTo>
                    <a:pt x="794" y="369"/>
                  </a:lnTo>
                  <a:lnTo>
                    <a:pt x="794" y="369"/>
                  </a:lnTo>
                  <a:lnTo>
                    <a:pt x="794" y="367"/>
                  </a:lnTo>
                  <a:lnTo>
                    <a:pt x="794" y="365"/>
                  </a:lnTo>
                  <a:lnTo>
                    <a:pt x="796" y="365"/>
                  </a:lnTo>
                  <a:lnTo>
                    <a:pt x="796" y="363"/>
                  </a:lnTo>
                  <a:lnTo>
                    <a:pt x="796" y="363"/>
                  </a:lnTo>
                  <a:lnTo>
                    <a:pt x="796" y="361"/>
                  </a:lnTo>
                  <a:lnTo>
                    <a:pt x="796" y="361"/>
                  </a:lnTo>
                  <a:lnTo>
                    <a:pt x="796" y="359"/>
                  </a:lnTo>
                  <a:lnTo>
                    <a:pt x="796" y="357"/>
                  </a:lnTo>
                  <a:lnTo>
                    <a:pt x="798" y="357"/>
                  </a:lnTo>
                  <a:lnTo>
                    <a:pt x="802" y="359"/>
                  </a:lnTo>
                  <a:lnTo>
                    <a:pt x="802" y="357"/>
                  </a:lnTo>
                  <a:lnTo>
                    <a:pt x="802" y="356"/>
                  </a:lnTo>
                  <a:lnTo>
                    <a:pt x="804" y="356"/>
                  </a:lnTo>
                  <a:lnTo>
                    <a:pt x="806" y="356"/>
                  </a:lnTo>
                  <a:lnTo>
                    <a:pt x="806" y="354"/>
                  </a:lnTo>
                  <a:lnTo>
                    <a:pt x="806" y="354"/>
                  </a:lnTo>
                  <a:lnTo>
                    <a:pt x="804" y="352"/>
                  </a:lnTo>
                  <a:lnTo>
                    <a:pt x="804" y="352"/>
                  </a:lnTo>
                  <a:lnTo>
                    <a:pt x="804" y="350"/>
                  </a:lnTo>
                  <a:lnTo>
                    <a:pt x="804" y="350"/>
                  </a:lnTo>
                  <a:lnTo>
                    <a:pt x="804" y="350"/>
                  </a:lnTo>
                  <a:lnTo>
                    <a:pt x="804" y="350"/>
                  </a:lnTo>
                  <a:lnTo>
                    <a:pt x="804" y="350"/>
                  </a:lnTo>
                  <a:lnTo>
                    <a:pt x="806" y="350"/>
                  </a:lnTo>
                  <a:lnTo>
                    <a:pt x="806" y="348"/>
                  </a:lnTo>
                  <a:lnTo>
                    <a:pt x="810" y="346"/>
                  </a:lnTo>
                  <a:lnTo>
                    <a:pt x="810" y="346"/>
                  </a:lnTo>
                  <a:lnTo>
                    <a:pt x="810" y="34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19" name="Freeform 21">
              <a:extLst>
                <a:ext uri="{FF2B5EF4-FFF2-40B4-BE49-F238E27FC236}">
                  <a16:creationId xmlns:a16="http://schemas.microsoft.com/office/drawing/2014/main" id="{ACAB7B77-1549-AB53-6A12-0E87205D2F4A}"/>
                </a:ext>
              </a:extLst>
            </p:cNvPr>
            <p:cNvSpPr>
              <a:spLocks/>
            </p:cNvSpPr>
            <p:nvPr/>
          </p:nvSpPr>
          <p:spPr bwMode="auto">
            <a:xfrm>
              <a:off x="3971925" y="2602713"/>
              <a:ext cx="1285875" cy="1174750"/>
            </a:xfrm>
            <a:custGeom>
              <a:avLst/>
              <a:gdLst>
                <a:gd name="T0" fmla="*/ 787 w 810"/>
                <a:gd name="T1" fmla="*/ 348 h 740"/>
                <a:gd name="T2" fmla="*/ 732 w 810"/>
                <a:gd name="T3" fmla="*/ 359 h 740"/>
                <a:gd name="T4" fmla="*/ 753 w 810"/>
                <a:gd name="T5" fmla="*/ 333 h 740"/>
                <a:gd name="T6" fmla="*/ 753 w 810"/>
                <a:gd name="T7" fmla="*/ 312 h 740"/>
                <a:gd name="T8" fmla="*/ 726 w 810"/>
                <a:gd name="T9" fmla="*/ 274 h 740"/>
                <a:gd name="T10" fmla="*/ 711 w 810"/>
                <a:gd name="T11" fmla="*/ 253 h 740"/>
                <a:gd name="T12" fmla="*/ 688 w 810"/>
                <a:gd name="T13" fmla="*/ 264 h 740"/>
                <a:gd name="T14" fmla="*/ 690 w 810"/>
                <a:gd name="T15" fmla="*/ 217 h 740"/>
                <a:gd name="T16" fmla="*/ 663 w 810"/>
                <a:gd name="T17" fmla="*/ 230 h 740"/>
                <a:gd name="T18" fmla="*/ 644 w 810"/>
                <a:gd name="T19" fmla="*/ 220 h 740"/>
                <a:gd name="T20" fmla="*/ 634 w 810"/>
                <a:gd name="T21" fmla="*/ 219 h 740"/>
                <a:gd name="T22" fmla="*/ 617 w 810"/>
                <a:gd name="T23" fmla="*/ 230 h 740"/>
                <a:gd name="T24" fmla="*/ 598 w 810"/>
                <a:gd name="T25" fmla="*/ 238 h 740"/>
                <a:gd name="T26" fmla="*/ 596 w 810"/>
                <a:gd name="T27" fmla="*/ 220 h 740"/>
                <a:gd name="T28" fmla="*/ 583 w 810"/>
                <a:gd name="T29" fmla="*/ 188 h 740"/>
                <a:gd name="T30" fmla="*/ 558 w 810"/>
                <a:gd name="T31" fmla="*/ 131 h 740"/>
                <a:gd name="T32" fmla="*/ 547 w 810"/>
                <a:gd name="T33" fmla="*/ 101 h 740"/>
                <a:gd name="T34" fmla="*/ 522 w 810"/>
                <a:gd name="T35" fmla="*/ 103 h 740"/>
                <a:gd name="T36" fmla="*/ 493 w 810"/>
                <a:gd name="T37" fmla="*/ 85 h 740"/>
                <a:gd name="T38" fmla="*/ 469 w 810"/>
                <a:gd name="T39" fmla="*/ 78 h 740"/>
                <a:gd name="T40" fmla="*/ 465 w 810"/>
                <a:gd name="T41" fmla="*/ 49 h 740"/>
                <a:gd name="T42" fmla="*/ 415 w 810"/>
                <a:gd name="T43" fmla="*/ 7 h 740"/>
                <a:gd name="T44" fmla="*/ 248 w 810"/>
                <a:gd name="T45" fmla="*/ 196 h 740"/>
                <a:gd name="T46" fmla="*/ 91 w 810"/>
                <a:gd name="T47" fmla="*/ 228 h 740"/>
                <a:gd name="T48" fmla="*/ 63 w 810"/>
                <a:gd name="T49" fmla="*/ 390 h 740"/>
                <a:gd name="T50" fmla="*/ 108 w 810"/>
                <a:gd name="T51" fmla="*/ 487 h 740"/>
                <a:gd name="T52" fmla="*/ 181 w 810"/>
                <a:gd name="T53" fmla="*/ 574 h 740"/>
                <a:gd name="T54" fmla="*/ 229 w 810"/>
                <a:gd name="T55" fmla="*/ 576 h 740"/>
                <a:gd name="T56" fmla="*/ 263 w 810"/>
                <a:gd name="T57" fmla="*/ 586 h 740"/>
                <a:gd name="T58" fmla="*/ 280 w 810"/>
                <a:gd name="T59" fmla="*/ 591 h 740"/>
                <a:gd name="T60" fmla="*/ 322 w 810"/>
                <a:gd name="T61" fmla="*/ 601 h 740"/>
                <a:gd name="T62" fmla="*/ 343 w 810"/>
                <a:gd name="T63" fmla="*/ 605 h 740"/>
                <a:gd name="T64" fmla="*/ 341 w 810"/>
                <a:gd name="T65" fmla="*/ 633 h 740"/>
                <a:gd name="T66" fmla="*/ 360 w 810"/>
                <a:gd name="T67" fmla="*/ 656 h 740"/>
                <a:gd name="T68" fmla="*/ 379 w 810"/>
                <a:gd name="T69" fmla="*/ 679 h 740"/>
                <a:gd name="T70" fmla="*/ 413 w 810"/>
                <a:gd name="T71" fmla="*/ 707 h 740"/>
                <a:gd name="T72" fmla="*/ 451 w 810"/>
                <a:gd name="T73" fmla="*/ 738 h 740"/>
                <a:gd name="T74" fmla="*/ 471 w 810"/>
                <a:gd name="T75" fmla="*/ 707 h 740"/>
                <a:gd name="T76" fmla="*/ 507 w 810"/>
                <a:gd name="T77" fmla="*/ 639 h 740"/>
                <a:gd name="T78" fmla="*/ 495 w 810"/>
                <a:gd name="T79" fmla="*/ 595 h 740"/>
                <a:gd name="T80" fmla="*/ 507 w 810"/>
                <a:gd name="T81" fmla="*/ 574 h 740"/>
                <a:gd name="T82" fmla="*/ 501 w 810"/>
                <a:gd name="T83" fmla="*/ 551 h 740"/>
                <a:gd name="T84" fmla="*/ 524 w 810"/>
                <a:gd name="T85" fmla="*/ 538 h 740"/>
                <a:gd name="T86" fmla="*/ 537 w 810"/>
                <a:gd name="T87" fmla="*/ 553 h 740"/>
                <a:gd name="T88" fmla="*/ 528 w 810"/>
                <a:gd name="T89" fmla="*/ 563 h 740"/>
                <a:gd name="T90" fmla="*/ 591 w 810"/>
                <a:gd name="T91" fmla="*/ 591 h 740"/>
                <a:gd name="T92" fmla="*/ 581 w 810"/>
                <a:gd name="T93" fmla="*/ 629 h 740"/>
                <a:gd name="T94" fmla="*/ 556 w 810"/>
                <a:gd name="T95" fmla="*/ 648 h 740"/>
                <a:gd name="T96" fmla="*/ 585 w 810"/>
                <a:gd name="T97" fmla="*/ 654 h 740"/>
                <a:gd name="T98" fmla="*/ 619 w 810"/>
                <a:gd name="T99" fmla="*/ 607 h 740"/>
                <a:gd name="T100" fmla="*/ 659 w 810"/>
                <a:gd name="T101" fmla="*/ 612 h 740"/>
                <a:gd name="T102" fmla="*/ 678 w 810"/>
                <a:gd name="T103" fmla="*/ 607 h 740"/>
                <a:gd name="T104" fmla="*/ 688 w 810"/>
                <a:gd name="T105" fmla="*/ 593 h 740"/>
                <a:gd name="T106" fmla="*/ 684 w 810"/>
                <a:gd name="T107" fmla="*/ 553 h 740"/>
                <a:gd name="T108" fmla="*/ 728 w 810"/>
                <a:gd name="T109" fmla="*/ 529 h 740"/>
                <a:gd name="T110" fmla="*/ 728 w 810"/>
                <a:gd name="T111" fmla="*/ 500 h 740"/>
                <a:gd name="T112" fmla="*/ 688 w 810"/>
                <a:gd name="T113" fmla="*/ 510 h 740"/>
                <a:gd name="T114" fmla="*/ 646 w 810"/>
                <a:gd name="T115" fmla="*/ 468 h 740"/>
                <a:gd name="T116" fmla="*/ 676 w 810"/>
                <a:gd name="T117" fmla="*/ 439 h 740"/>
                <a:gd name="T118" fmla="*/ 720 w 810"/>
                <a:gd name="T119" fmla="*/ 409 h 740"/>
                <a:gd name="T120" fmla="*/ 770 w 810"/>
                <a:gd name="T121" fmla="*/ 376 h 740"/>
                <a:gd name="T122" fmla="*/ 802 w 810"/>
                <a:gd name="T123" fmla="*/ 35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0" h="740">
                  <a:moveTo>
                    <a:pt x="810" y="344"/>
                  </a:moveTo>
                  <a:lnTo>
                    <a:pt x="810" y="344"/>
                  </a:lnTo>
                  <a:lnTo>
                    <a:pt x="810" y="344"/>
                  </a:lnTo>
                  <a:lnTo>
                    <a:pt x="808" y="344"/>
                  </a:lnTo>
                  <a:lnTo>
                    <a:pt x="808" y="342"/>
                  </a:lnTo>
                  <a:lnTo>
                    <a:pt x="806" y="342"/>
                  </a:lnTo>
                  <a:lnTo>
                    <a:pt x="804" y="342"/>
                  </a:lnTo>
                  <a:lnTo>
                    <a:pt x="804" y="342"/>
                  </a:lnTo>
                  <a:lnTo>
                    <a:pt x="802" y="342"/>
                  </a:lnTo>
                  <a:lnTo>
                    <a:pt x="802" y="342"/>
                  </a:lnTo>
                  <a:lnTo>
                    <a:pt x="798" y="342"/>
                  </a:lnTo>
                  <a:lnTo>
                    <a:pt x="796" y="342"/>
                  </a:lnTo>
                  <a:lnTo>
                    <a:pt x="796" y="342"/>
                  </a:lnTo>
                  <a:lnTo>
                    <a:pt x="794" y="344"/>
                  </a:lnTo>
                  <a:lnTo>
                    <a:pt x="794" y="344"/>
                  </a:lnTo>
                  <a:lnTo>
                    <a:pt x="794" y="344"/>
                  </a:lnTo>
                  <a:lnTo>
                    <a:pt x="794" y="346"/>
                  </a:lnTo>
                  <a:lnTo>
                    <a:pt x="793" y="346"/>
                  </a:lnTo>
                  <a:lnTo>
                    <a:pt x="793" y="346"/>
                  </a:lnTo>
                  <a:lnTo>
                    <a:pt x="791" y="346"/>
                  </a:lnTo>
                  <a:lnTo>
                    <a:pt x="791" y="346"/>
                  </a:lnTo>
                  <a:lnTo>
                    <a:pt x="789" y="346"/>
                  </a:lnTo>
                  <a:lnTo>
                    <a:pt x="789" y="346"/>
                  </a:lnTo>
                  <a:lnTo>
                    <a:pt x="789" y="348"/>
                  </a:lnTo>
                  <a:lnTo>
                    <a:pt x="789" y="350"/>
                  </a:lnTo>
                  <a:lnTo>
                    <a:pt x="789" y="350"/>
                  </a:lnTo>
                  <a:lnTo>
                    <a:pt x="789" y="350"/>
                  </a:lnTo>
                  <a:lnTo>
                    <a:pt x="789" y="350"/>
                  </a:lnTo>
                  <a:lnTo>
                    <a:pt x="787" y="350"/>
                  </a:lnTo>
                  <a:lnTo>
                    <a:pt x="787" y="350"/>
                  </a:lnTo>
                  <a:lnTo>
                    <a:pt x="787" y="348"/>
                  </a:lnTo>
                  <a:lnTo>
                    <a:pt x="787" y="348"/>
                  </a:lnTo>
                  <a:lnTo>
                    <a:pt x="787" y="346"/>
                  </a:lnTo>
                  <a:lnTo>
                    <a:pt x="785" y="346"/>
                  </a:lnTo>
                  <a:lnTo>
                    <a:pt x="779" y="346"/>
                  </a:lnTo>
                  <a:lnTo>
                    <a:pt x="777" y="346"/>
                  </a:lnTo>
                  <a:lnTo>
                    <a:pt x="775" y="346"/>
                  </a:lnTo>
                  <a:lnTo>
                    <a:pt x="775" y="346"/>
                  </a:lnTo>
                  <a:lnTo>
                    <a:pt x="774" y="346"/>
                  </a:lnTo>
                  <a:lnTo>
                    <a:pt x="774" y="346"/>
                  </a:lnTo>
                  <a:lnTo>
                    <a:pt x="774" y="346"/>
                  </a:lnTo>
                  <a:lnTo>
                    <a:pt x="774" y="346"/>
                  </a:lnTo>
                  <a:lnTo>
                    <a:pt x="772" y="346"/>
                  </a:lnTo>
                  <a:lnTo>
                    <a:pt x="772" y="346"/>
                  </a:lnTo>
                  <a:lnTo>
                    <a:pt x="772" y="344"/>
                  </a:lnTo>
                  <a:lnTo>
                    <a:pt x="766" y="344"/>
                  </a:lnTo>
                  <a:lnTo>
                    <a:pt x="762" y="344"/>
                  </a:lnTo>
                  <a:lnTo>
                    <a:pt x="762" y="344"/>
                  </a:lnTo>
                  <a:lnTo>
                    <a:pt x="760" y="344"/>
                  </a:lnTo>
                  <a:lnTo>
                    <a:pt x="758" y="344"/>
                  </a:lnTo>
                  <a:lnTo>
                    <a:pt x="756" y="348"/>
                  </a:lnTo>
                  <a:lnTo>
                    <a:pt x="754" y="348"/>
                  </a:lnTo>
                  <a:lnTo>
                    <a:pt x="741" y="354"/>
                  </a:lnTo>
                  <a:lnTo>
                    <a:pt x="741" y="354"/>
                  </a:lnTo>
                  <a:lnTo>
                    <a:pt x="741" y="354"/>
                  </a:lnTo>
                  <a:lnTo>
                    <a:pt x="739" y="354"/>
                  </a:lnTo>
                  <a:lnTo>
                    <a:pt x="739" y="354"/>
                  </a:lnTo>
                  <a:lnTo>
                    <a:pt x="737" y="354"/>
                  </a:lnTo>
                  <a:lnTo>
                    <a:pt x="737" y="357"/>
                  </a:lnTo>
                  <a:lnTo>
                    <a:pt x="735" y="357"/>
                  </a:lnTo>
                  <a:lnTo>
                    <a:pt x="735" y="359"/>
                  </a:lnTo>
                  <a:lnTo>
                    <a:pt x="732" y="359"/>
                  </a:lnTo>
                  <a:lnTo>
                    <a:pt x="732" y="359"/>
                  </a:lnTo>
                  <a:lnTo>
                    <a:pt x="732" y="359"/>
                  </a:lnTo>
                  <a:lnTo>
                    <a:pt x="732" y="359"/>
                  </a:lnTo>
                  <a:lnTo>
                    <a:pt x="732" y="356"/>
                  </a:lnTo>
                  <a:lnTo>
                    <a:pt x="732" y="354"/>
                  </a:lnTo>
                  <a:lnTo>
                    <a:pt x="732" y="352"/>
                  </a:lnTo>
                  <a:lnTo>
                    <a:pt x="732" y="352"/>
                  </a:lnTo>
                  <a:lnTo>
                    <a:pt x="732" y="350"/>
                  </a:lnTo>
                  <a:lnTo>
                    <a:pt x="734" y="350"/>
                  </a:lnTo>
                  <a:lnTo>
                    <a:pt x="734" y="348"/>
                  </a:lnTo>
                  <a:lnTo>
                    <a:pt x="737" y="346"/>
                  </a:lnTo>
                  <a:lnTo>
                    <a:pt x="753" y="338"/>
                  </a:lnTo>
                  <a:lnTo>
                    <a:pt x="754" y="338"/>
                  </a:lnTo>
                  <a:lnTo>
                    <a:pt x="760" y="338"/>
                  </a:lnTo>
                  <a:lnTo>
                    <a:pt x="760" y="337"/>
                  </a:lnTo>
                  <a:lnTo>
                    <a:pt x="762" y="337"/>
                  </a:lnTo>
                  <a:lnTo>
                    <a:pt x="762" y="335"/>
                  </a:lnTo>
                  <a:lnTo>
                    <a:pt x="760" y="335"/>
                  </a:lnTo>
                  <a:lnTo>
                    <a:pt x="760" y="335"/>
                  </a:lnTo>
                  <a:lnTo>
                    <a:pt x="760" y="335"/>
                  </a:lnTo>
                  <a:lnTo>
                    <a:pt x="758" y="335"/>
                  </a:lnTo>
                  <a:lnTo>
                    <a:pt x="758" y="335"/>
                  </a:lnTo>
                  <a:lnTo>
                    <a:pt x="758" y="337"/>
                  </a:lnTo>
                  <a:lnTo>
                    <a:pt x="758" y="337"/>
                  </a:lnTo>
                  <a:lnTo>
                    <a:pt x="756" y="337"/>
                  </a:lnTo>
                  <a:lnTo>
                    <a:pt x="756" y="335"/>
                  </a:lnTo>
                  <a:lnTo>
                    <a:pt x="754" y="333"/>
                  </a:lnTo>
                  <a:lnTo>
                    <a:pt x="754" y="333"/>
                  </a:lnTo>
                  <a:lnTo>
                    <a:pt x="754" y="333"/>
                  </a:lnTo>
                  <a:lnTo>
                    <a:pt x="754" y="333"/>
                  </a:lnTo>
                  <a:lnTo>
                    <a:pt x="753" y="333"/>
                  </a:lnTo>
                  <a:lnTo>
                    <a:pt x="753" y="333"/>
                  </a:lnTo>
                  <a:lnTo>
                    <a:pt x="753" y="333"/>
                  </a:lnTo>
                  <a:lnTo>
                    <a:pt x="753" y="333"/>
                  </a:lnTo>
                  <a:lnTo>
                    <a:pt x="753" y="333"/>
                  </a:lnTo>
                  <a:lnTo>
                    <a:pt x="751" y="333"/>
                  </a:lnTo>
                  <a:lnTo>
                    <a:pt x="747" y="333"/>
                  </a:lnTo>
                  <a:lnTo>
                    <a:pt x="745" y="333"/>
                  </a:lnTo>
                  <a:lnTo>
                    <a:pt x="745" y="333"/>
                  </a:lnTo>
                  <a:lnTo>
                    <a:pt x="745" y="331"/>
                  </a:lnTo>
                  <a:lnTo>
                    <a:pt x="745" y="329"/>
                  </a:lnTo>
                  <a:lnTo>
                    <a:pt x="745" y="329"/>
                  </a:lnTo>
                  <a:lnTo>
                    <a:pt x="743" y="329"/>
                  </a:lnTo>
                  <a:lnTo>
                    <a:pt x="743" y="329"/>
                  </a:lnTo>
                  <a:lnTo>
                    <a:pt x="743" y="329"/>
                  </a:lnTo>
                  <a:lnTo>
                    <a:pt x="741" y="329"/>
                  </a:lnTo>
                  <a:lnTo>
                    <a:pt x="741" y="329"/>
                  </a:lnTo>
                  <a:lnTo>
                    <a:pt x="741" y="327"/>
                  </a:lnTo>
                  <a:lnTo>
                    <a:pt x="741" y="327"/>
                  </a:lnTo>
                  <a:lnTo>
                    <a:pt x="741" y="327"/>
                  </a:lnTo>
                  <a:lnTo>
                    <a:pt x="741" y="327"/>
                  </a:lnTo>
                  <a:lnTo>
                    <a:pt x="741" y="325"/>
                  </a:lnTo>
                  <a:lnTo>
                    <a:pt x="743" y="325"/>
                  </a:lnTo>
                  <a:lnTo>
                    <a:pt x="749" y="323"/>
                  </a:lnTo>
                  <a:lnTo>
                    <a:pt x="749" y="323"/>
                  </a:lnTo>
                  <a:lnTo>
                    <a:pt x="751" y="321"/>
                  </a:lnTo>
                  <a:lnTo>
                    <a:pt x="751" y="321"/>
                  </a:lnTo>
                  <a:lnTo>
                    <a:pt x="751" y="319"/>
                  </a:lnTo>
                  <a:lnTo>
                    <a:pt x="753" y="319"/>
                  </a:lnTo>
                  <a:lnTo>
                    <a:pt x="754" y="317"/>
                  </a:lnTo>
                  <a:lnTo>
                    <a:pt x="756" y="316"/>
                  </a:lnTo>
                  <a:lnTo>
                    <a:pt x="754" y="314"/>
                  </a:lnTo>
                  <a:lnTo>
                    <a:pt x="754" y="314"/>
                  </a:lnTo>
                  <a:lnTo>
                    <a:pt x="754" y="314"/>
                  </a:lnTo>
                  <a:lnTo>
                    <a:pt x="754" y="314"/>
                  </a:lnTo>
                  <a:lnTo>
                    <a:pt x="753" y="312"/>
                  </a:lnTo>
                  <a:lnTo>
                    <a:pt x="753" y="310"/>
                  </a:lnTo>
                  <a:lnTo>
                    <a:pt x="753" y="308"/>
                  </a:lnTo>
                  <a:lnTo>
                    <a:pt x="751" y="308"/>
                  </a:lnTo>
                  <a:lnTo>
                    <a:pt x="751" y="306"/>
                  </a:lnTo>
                  <a:lnTo>
                    <a:pt x="751" y="304"/>
                  </a:lnTo>
                  <a:lnTo>
                    <a:pt x="751" y="304"/>
                  </a:lnTo>
                  <a:lnTo>
                    <a:pt x="751" y="302"/>
                  </a:lnTo>
                  <a:lnTo>
                    <a:pt x="751" y="302"/>
                  </a:lnTo>
                  <a:lnTo>
                    <a:pt x="749" y="302"/>
                  </a:lnTo>
                  <a:lnTo>
                    <a:pt x="747" y="302"/>
                  </a:lnTo>
                  <a:lnTo>
                    <a:pt x="747" y="302"/>
                  </a:lnTo>
                  <a:lnTo>
                    <a:pt x="747" y="302"/>
                  </a:lnTo>
                  <a:lnTo>
                    <a:pt x="741" y="298"/>
                  </a:lnTo>
                  <a:lnTo>
                    <a:pt x="741" y="297"/>
                  </a:lnTo>
                  <a:lnTo>
                    <a:pt x="739" y="297"/>
                  </a:lnTo>
                  <a:lnTo>
                    <a:pt x="737" y="297"/>
                  </a:lnTo>
                  <a:lnTo>
                    <a:pt x="737" y="297"/>
                  </a:lnTo>
                  <a:lnTo>
                    <a:pt x="737" y="297"/>
                  </a:lnTo>
                  <a:lnTo>
                    <a:pt x="735" y="295"/>
                  </a:lnTo>
                  <a:lnTo>
                    <a:pt x="735" y="295"/>
                  </a:lnTo>
                  <a:lnTo>
                    <a:pt x="734" y="293"/>
                  </a:lnTo>
                  <a:lnTo>
                    <a:pt x="734" y="289"/>
                  </a:lnTo>
                  <a:lnTo>
                    <a:pt x="732" y="287"/>
                  </a:lnTo>
                  <a:lnTo>
                    <a:pt x="732" y="285"/>
                  </a:lnTo>
                  <a:lnTo>
                    <a:pt x="726" y="281"/>
                  </a:lnTo>
                  <a:lnTo>
                    <a:pt x="726" y="279"/>
                  </a:lnTo>
                  <a:lnTo>
                    <a:pt x="726" y="278"/>
                  </a:lnTo>
                  <a:lnTo>
                    <a:pt x="726" y="278"/>
                  </a:lnTo>
                  <a:lnTo>
                    <a:pt x="726" y="276"/>
                  </a:lnTo>
                  <a:lnTo>
                    <a:pt x="726" y="276"/>
                  </a:lnTo>
                  <a:lnTo>
                    <a:pt x="726" y="274"/>
                  </a:lnTo>
                  <a:lnTo>
                    <a:pt x="726" y="274"/>
                  </a:lnTo>
                  <a:lnTo>
                    <a:pt x="724" y="274"/>
                  </a:lnTo>
                  <a:lnTo>
                    <a:pt x="724" y="272"/>
                  </a:lnTo>
                  <a:lnTo>
                    <a:pt x="724" y="272"/>
                  </a:lnTo>
                  <a:lnTo>
                    <a:pt x="724" y="272"/>
                  </a:lnTo>
                  <a:lnTo>
                    <a:pt x="724" y="270"/>
                  </a:lnTo>
                  <a:lnTo>
                    <a:pt x="726" y="270"/>
                  </a:lnTo>
                  <a:lnTo>
                    <a:pt x="726" y="270"/>
                  </a:lnTo>
                  <a:lnTo>
                    <a:pt x="726" y="268"/>
                  </a:lnTo>
                  <a:lnTo>
                    <a:pt x="726" y="266"/>
                  </a:lnTo>
                  <a:lnTo>
                    <a:pt x="726" y="264"/>
                  </a:lnTo>
                  <a:lnTo>
                    <a:pt x="724" y="264"/>
                  </a:lnTo>
                  <a:lnTo>
                    <a:pt x="724" y="264"/>
                  </a:lnTo>
                  <a:lnTo>
                    <a:pt x="724" y="262"/>
                  </a:lnTo>
                  <a:lnTo>
                    <a:pt x="722" y="262"/>
                  </a:lnTo>
                  <a:lnTo>
                    <a:pt x="722" y="262"/>
                  </a:lnTo>
                  <a:lnTo>
                    <a:pt x="722" y="262"/>
                  </a:lnTo>
                  <a:lnTo>
                    <a:pt x="722" y="262"/>
                  </a:lnTo>
                  <a:lnTo>
                    <a:pt x="722" y="259"/>
                  </a:lnTo>
                  <a:lnTo>
                    <a:pt x="722" y="257"/>
                  </a:lnTo>
                  <a:lnTo>
                    <a:pt x="720" y="253"/>
                  </a:lnTo>
                  <a:lnTo>
                    <a:pt x="718" y="253"/>
                  </a:lnTo>
                  <a:lnTo>
                    <a:pt x="716" y="255"/>
                  </a:lnTo>
                  <a:lnTo>
                    <a:pt x="716" y="255"/>
                  </a:lnTo>
                  <a:lnTo>
                    <a:pt x="716" y="255"/>
                  </a:lnTo>
                  <a:lnTo>
                    <a:pt x="716" y="255"/>
                  </a:lnTo>
                  <a:lnTo>
                    <a:pt x="714" y="253"/>
                  </a:lnTo>
                  <a:lnTo>
                    <a:pt x="714" y="253"/>
                  </a:lnTo>
                  <a:lnTo>
                    <a:pt x="714" y="251"/>
                  </a:lnTo>
                  <a:lnTo>
                    <a:pt x="713" y="251"/>
                  </a:lnTo>
                  <a:lnTo>
                    <a:pt x="713" y="253"/>
                  </a:lnTo>
                  <a:lnTo>
                    <a:pt x="713" y="253"/>
                  </a:lnTo>
                  <a:lnTo>
                    <a:pt x="711" y="253"/>
                  </a:lnTo>
                  <a:lnTo>
                    <a:pt x="711" y="253"/>
                  </a:lnTo>
                  <a:lnTo>
                    <a:pt x="711" y="253"/>
                  </a:lnTo>
                  <a:lnTo>
                    <a:pt x="711" y="251"/>
                  </a:lnTo>
                  <a:lnTo>
                    <a:pt x="709" y="251"/>
                  </a:lnTo>
                  <a:lnTo>
                    <a:pt x="709" y="253"/>
                  </a:lnTo>
                  <a:lnTo>
                    <a:pt x="707" y="255"/>
                  </a:lnTo>
                  <a:lnTo>
                    <a:pt x="705" y="255"/>
                  </a:lnTo>
                  <a:lnTo>
                    <a:pt x="705" y="255"/>
                  </a:lnTo>
                  <a:lnTo>
                    <a:pt x="701" y="253"/>
                  </a:lnTo>
                  <a:lnTo>
                    <a:pt x="699" y="253"/>
                  </a:lnTo>
                  <a:lnTo>
                    <a:pt x="699" y="253"/>
                  </a:lnTo>
                  <a:lnTo>
                    <a:pt x="697" y="255"/>
                  </a:lnTo>
                  <a:lnTo>
                    <a:pt x="697" y="255"/>
                  </a:lnTo>
                  <a:lnTo>
                    <a:pt x="699" y="257"/>
                  </a:lnTo>
                  <a:lnTo>
                    <a:pt x="701" y="259"/>
                  </a:lnTo>
                  <a:lnTo>
                    <a:pt x="701" y="259"/>
                  </a:lnTo>
                  <a:lnTo>
                    <a:pt x="701" y="259"/>
                  </a:lnTo>
                  <a:lnTo>
                    <a:pt x="701" y="260"/>
                  </a:lnTo>
                  <a:lnTo>
                    <a:pt x="697" y="260"/>
                  </a:lnTo>
                  <a:lnTo>
                    <a:pt x="695" y="260"/>
                  </a:lnTo>
                  <a:lnTo>
                    <a:pt x="693" y="262"/>
                  </a:lnTo>
                  <a:lnTo>
                    <a:pt x="693" y="264"/>
                  </a:lnTo>
                  <a:lnTo>
                    <a:pt x="692" y="266"/>
                  </a:lnTo>
                  <a:lnTo>
                    <a:pt x="690" y="266"/>
                  </a:lnTo>
                  <a:lnTo>
                    <a:pt x="686" y="266"/>
                  </a:lnTo>
                  <a:lnTo>
                    <a:pt x="686" y="266"/>
                  </a:lnTo>
                  <a:lnTo>
                    <a:pt x="686" y="266"/>
                  </a:lnTo>
                  <a:lnTo>
                    <a:pt x="684" y="266"/>
                  </a:lnTo>
                  <a:lnTo>
                    <a:pt x="684" y="264"/>
                  </a:lnTo>
                  <a:lnTo>
                    <a:pt x="686" y="264"/>
                  </a:lnTo>
                  <a:lnTo>
                    <a:pt x="686" y="264"/>
                  </a:lnTo>
                  <a:lnTo>
                    <a:pt x="688" y="264"/>
                  </a:lnTo>
                  <a:lnTo>
                    <a:pt x="688" y="262"/>
                  </a:lnTo>
                  <a:lnTo>
                    <a:pt x="688" y="262"/>
                  </a:lnTo>
                  <a:lnTo>
                    <a:pt x="688" y="262"/>
                  </a:lnTo>
                  <a:lnTo>
                    <a:pt x="686" y="262"/>
                  </a:lnTo>
                  <a:lnTo>
                    <a:pt x="686" y="260"/>
                  </a:lnTo>
                  <a:lnTo>
                    <a:pt x="686" y="260"/>
                  </a:lnTo>
                  <a:lnTo>
                    <a:pt x="686" y="259"/>
                  </a:lnTo>
                  <a:lnTo>
                    <a:pt x="688" y="253"/>
                  </a:lnTo>
                  <a:lnTo>
                    <a:pt x="688" y="251"/>
                  </a:lnTo>
                  <a:lnTo>
                    <a:pt x="690" y="249"/>
                  </a:lnTo>
                  <a:lnTo>
                    <a:pt x="690" y="249"/>
                  </a:lnTo>
                  <a:lnTo>
                    <a:pt x="690" y="247"/>
                  </a:lnTo>
                  <a:lnTo>
                    <a:pt x="690" y="247"/>
                  </a:lnTo>
                  <a:lnTo>
                    <a:pt x="690" y="243"/>
                  </a:lnTo>
                  <a:lnTo>
                    <a:pt x="690" y="241"/>
                  </a:lnTo>
                  <a:lnTo>
                    <a:pt x="690" y="241"/>
                  </a:lnTo>
                  <a:lnTo>
                    <a:pt x="690" y="240"/>
                  </a:lnTo>
                  <a:lnTo>
                    <a:pt x="690" y="238"/>
                  </a:lnTo>
                  <a:lnTo>
                    <a:pt x="690" y="238"/>
                  </a:lnTo>
                  <a:lnTo>
                    <a:pt x="690" y="236"/>
                  </a:lnTo>
                  <a:lnTo>
                    <a:pt x="690" y="236"/>
                  </a:lnTo>
                  <a:lnTo>
                    <a:pt x="690" y="234"/>
                  </a:lnTo>
                  <a:lnTo>
                    <a:pt x="690" y="234"/>
                  </a:lnTo>
                  <a:lnTo>
                    <a:pt x="688" y="234"/>
                  </a:lnTo>
                  <a:lnTo>
                    <a:pt x="688" y="232"/>
                  </a:lnTo>
                  <a:lnTo>
                    <a:pt x="688" y="230"/>
                  </a:lnTo>
                  <a:lnTo>
                    <a:pt x="688" y="228"/>
                  </a:lnTo>
                  <a:lnTo>
                    <a:pt x="688" y="226"/>
                  </a:lnTo>
                  <a:lnTo>
                    <a:pt x="690" y="220"/>
                  </a:lnTo>
                  <a:lnTo>
                    <a:pt x="690" y="219"/>
                  </a:lnTo>
                  <a:lnTo>
                    <a:pt x="690" y="217"/>
                  </a:lnTo>
                  <a:lnTo>
                    <a:pt x="690" y="217"/>
                  </a:lnTo>
                  <a:lnTo>
                    <a:pt x="688" y="215"/>
                  </a:lnTo>
                  <a:lnTo>
                    <a:pt x="684" y="213"/>
                  </a:lnTo>
                  <a:lnTo>
                    <a:pt x="684" y="211"/>
                  </a:lnTo>
                  <a:lnTo>
                    <a:pt x="682" y="209"/>
                  </a:lnTo>
                  <a:lnTo>
                    <a:pt x="682" y="209"/>
                  </a:lnTo>
                  <a:lnTo>
                    <a:pt x="682" y="209"/>
                  </a:lnTo>
                  <a:lnTo>
                    <a:pt x="680" y="209"/>
                  </a:lnTo>
                  <a:lnTo>
                    <a:pt x="680" y="209"/>
                  </a:lnTo>
                  <a:lnTo>
                    <a:pt x="680" y="209"/>
                  </a:lnTo>
                  <a:lnTo>
                    <a:pt x="678" y="209"/>
                  </a:lnTo>
                  <a:lnTo>
                    <a:pt x="676" y="209"/>
                  </a:lnTo>
                  <a:lnTo>
                    <a:pt x="676" y="211"/>
                  </a:lnTo>
                  <a:lnTo>
                    <a:pt x="676" y="211"/>
                  </a:lnTo>
                  <a:lnTo>
                    <a:pt x="674" y="213"/>
                  </a:lnTo>
                  <a:lnTo>
                    <a:pt x="673" y="217"/>
                  </a:lnTo>
                  <a:lnTo>
                    <a:pt x="671" y="217"/>
                  </a:lnTo>
                  <a:lnTo>
                    <a:pt x="671" y="219"/>
                  </a:lnTo>
                  <a:lnTo>
                    <a:pt x="669" y="219"/>
                  </a:lnTo>
                  <a:lnTo>
                    <a:pt x="667" y="220"/>
                  </a:lnTo>
                  <a:lnTo>
                    <a:pt x="667" y="220"/>
                  </a:lnTo>
                  <a:lnTo>
                    <a:pt x="665" y="220"/>
                  </a:lnTo>
                  <a:lnTo>
                    <a:pt x="665" y="222"/>
                  </a:lnTo>
                  <a:lnTo>
                    <a:pt x="663" y="222"/>
                  </a:lnTo>
                  <a:lnTo>
                    <a:pt x="663" y="222"/>
                  </a:lnTo>
                  <a:lnTo>
                    <a:pt x="663" y="224"/>
                  </a:lnTo>
                  <a:lnTo>
                    <a:pt x="661" y="224"/>
                  </a:lnTo>
                  <a:lnTo>
                    <a:pt x="661" y="224"/>
                  </a:lnTo>
                  <a:lnTo>
                    <a:pt x="661" y="226"/>
                  </a:lnTo>
                  <a:lnTo>
                    <a:pt x="661" y="226"/>
                  </a:lnTo>
                  <a:lnTo>
                    <a:pt x="663" y="228"/>
                  </a:lnTo>
                  <a:lnTo>
                    <a:pt x="663" y="230"/>
                  </a:lnTo>
                  <a:lnTo>
                    <a:pt x="663" y="230"/>
                  </a:lnTo>
                  <a:lnTo>
                    <a:pt x="663" y="230"/>
                  </a:lnTo>
                  <a:lnTo>
                    <a:pt x="663" y="232"/>
                  </a:lnTo>
                  <a:lnTo>
                    <a:pt x="661" y="232"/>
                  </a:lnTo>
                  <a:lnTo>
                    <a:pt x="659" y="232"/>
                  </a:lnTo>
                  <a:lnTo>
                    <a:pt x="659" y="232"/>
                  </a:lnTo>
                  <a:lnTo>
                    <a:pt x="657" y="232"/>
                  </a:lnTo>
                  <a:lnTo>
                    <a:pt x="657" y="232"/>
                  </a:lnTo>
                  <a:lnTo>
                    <a:pt x="657" y="234"/>
                  </a:lnTo>
                  <a:lnTo>
                    <a:pt x="655" y="236"/>
                  </a:lnTo>
                  <a:lnTo>
                    <a:pt x="653" y="236"/>
                  </a:lnTo>
                  <a:lnTo>
                    <a:pt x="653" y="236"/>
                  </a:lnTo>
                  <a:lnTo>
                    <a:pt x="653" y="236"/>
                  </a:lnTo>
                  <a:lnTo>
                    <a:pt x="652" y="234"/>
                  </a:lnTo>
                  <a:lnTo>
                    <a:pt x="652" y="234"/>
                  </a:lnTo>
                  <a:lnTo>
                    <a:pt x="652" y="230"/>
                  </a:lnTo>
                  <a:lnTo>
                    <a:pt x="652" y="228"/>
                  </a:lnTo>
                  <a:lnTo>
                    <a:pt x="650" y="228"/>
                  </a:lnTo>
                  <a:lnTo>
                    <a:pt x="650" y="228"/>
                  </a:lnTo>
                  <a:lnTo>
                    <a:pt x="648" y="228"/>
                  </a:lnTo>
                  <a:lnTo>
                    <a:pt x="648" y="228"/>
                  </a:lnTo>
                  <a:lnTo>
                    <a:pt x="644" y="226"/>
                  </a:lnTo>
                  <a:lnTo>
                    <a:pt x="644" y="226"/>
                  </a:lnTo>
                  <a:lnTo>
                    <a:pt x="644" y="226"/>
                  </a:lnTo>
                  <a:lnTo>
                    <a:pt x="644" y="224"/>
                  </a:lnTo>
                  <a:lnTo>
                    <a:pt x="646" y="224"/>
                  </a:lnTo>
                  <a:lnTo>
                    <a:pt x="646" y="224"/>
                  </a:lnTo>
                  <a:lnTo>
                    <a:pt x="646" y="224"/>
                  </a:lnTo>
                  <a:lnTo>
                    <a:pt x="646" y="224"/>
                  </a:lnTo>
                  <a:lnTo>
                    <a:pt x="646" y="222"/>
                  </a:lnTo>
                  <a:lnTo>
                    <a:pt x="644" y="222"/>
                  </a:lnTo>
                  <a:lnTo>
                    <a:pt x="644" y="220"/>
                  </a:lnTo>
                  <a:lnTo>
                    <a:pt x="644" y="220"/>
                  </a:lnTo>
                  <a:lnTo>
                    <a:pt x="644" y="220"/>
                  </a:lnTo>
                  <a:lnTo>
                    <a:pt x="644" y="220"/>
                  </a:lnTo>
                  <a:lnTo>
                    <a:pt x="644" y="220"/>
                  </a:lnTo>
                  <a:lnTo>
                    <a:pt x="646" y="220"/>
                  </a:lnTo>
                  <a:lnTo>
                    <a:pt x="646" y="220"/>
                  </a:lnTo>
                  <a:lnTo>
                    <a:pt x="648" y="220"/>
                  </a:lnTo>
                  <a:lnTo>
                    <a:pt x="648" y="220"/>
                  </a:lnTo>
                  <a:lnTo>
                    <a:pt x="648" y="220"/>
                  </a:lnTo>
                  <a:lnTo>
                    <a:pt x="646" y="219"/>
                  </a:lnTo>
                  <a:lnTo>
                    <a:pt x="644" y="215"/>
                  </a:lnTo>
                  <a:lnTo>
                    <a:pt x="644" y="215"/>
                  </a:lnTo>
                  <a:lnTo>
                    <a:pt x="642" y="215"/>
                  </a:lnTo>
                  <a:lnTo>
                    <a:pt x="640" y="215"/>
                  </a:lnTo>
                  <a:lnTo>
                    <a:pt x="636" y="217"/>
                  </a:lnTo>
                  <a:lnTo>
                    <a:pt x="636" y="217"/>
                  </a:lnTo>
                  <a:lnTo>
                    <a:pt x="636" y="217"/>
                  </a:lnTo>
                  <a:lnTo>
                    <a:pt x="634" y="215"/>
                  </a:lnTo>
                  <a:lnTo>
                    <a:pt x="634" y="215"/>
                  </a:lnTo>
                  <a:lnTo>
                    <a:pt x="634" y="215"/>
                  </a:lnTo>
                  <a:lnTo>
                    <a:pt x="634" y="213"/>
                  </a:lnTo>
                  <a:lnTo>
                    <a:pt x="634" y="213"/>
                  </a:lnTo>
                  <a:lnTo>
                    <a:pt x="633" y="213"/>
                  </a:lnTo>
                  <a:lnTo>
                    <a:pt x="633" y="213"/>
                  </a:lnTo>
                  <a:lnTo>
                    <a:pt x="631" y="211"/>
                  </a:lnTo>
                  <a:lnTo>
                    <a:pt x="631" y="211"/>
                  </a:lnTo>
                  <a:lnTo>
                    <a:pt x="631" y="213"/>
                  </a:lnTo>
                  <a:lnTo>
                    <a:pt x="631" y="215"/>
                  </a:lnTo>
                  <a:lnTo>
                    <a:pt x="631" y="215"/>
                  </a:lnTo>
                  <a:lnTo>
                    <a:pt x="631" y="217"/>
                  </a:lnTo>
                  <a:lnTo>
                    <a:pt x="633" y="217"/>
                  </a:lnTo>
                  <a:lnTo>
                    <a:pt x="634" y="217"/>
                  </a:lnTo>
                  <a:lnTo>
                    <a:pt x="634" y="219"/>
                  </a:lnTo>
                  <a:lnTo>
                    <a:pt x="634" y="219"/>
                  </a:lnTo>
                  <a:lnTo>
                    <a:pt x="633" y="219"/>
                  </a:lnTo>
                  <a:lnTo>
                    <a:pt x="633" y="220"/>
                  </a:lnTo>
                  <a:lnTo>
                    <a:pt x="631" y="220"/>
                  </a:lnTo>
                  <a:lnTo>
                    <a:pt x="631" y="220"/>
                  </a:lnTo>
                  <a:lnTo>
                    <a:pt x="631" y="220"/>
                  </a:lnTo>
                  <a:lnTo>
                    <a:pt x="631" y="222"/>
                  </a:lnTo>
                  <a:lnTo>
                    <a:pt x="633" y="222"/>
                  </a:lnTo>
                  <a:lnTo>
                    <a:pt x="634" y="222"/>
                  </a:lnTo>
                  <a:lnTo>
                    <a:pt x="634" y="224"/>
                  </a:lnTo>
                  <a:lnTo>
                    <a:pt x="634" y="224"/>
                  </a:lnTo>
                  <a:lnTo>
                    <a:pt x="634" y="226"/>
                  </a:lnTo>
                  <a:lnTo>
                    <a:pt x="633" y="228"/>
                  </a:lnTo>
                  <a:lnTo>
                    <a:pt x="633" y="228"/>
                  </a:lnTo>
                  <a:lnTo>
                    <a:pt x="631" y="228"/>
                  </a:lnTo>
                  <a:lnTo>
                    <a:pt x="627" y="224"/>
                  </a:lnTo>
                  <a:lnTo>
                    <a:pt x="627" y="224"/>
                  </a:lnTo>
                  <a:lnTo>
                    <a:pt x="625" y="224"/>
                  </a:lnTo>
                  <a:lnTo>
                    <a:pt x="625" y="224"/>
                  </a:lnTo>
                  <a:lnTo>
                    <a:pt x="625" y="226"/>
                  </a:lnTo>
                  <a:lnTo>
                    <a:pt x="623" y="226"/>
                  </a:lnTo>
                  <a:lnTo>
                    <a:pt x="623" y="226"/>
                  </a:lnTo>
                  <a:lnTo>
                    <a:pt x="621" y="226"/>
                  </a:lnTo>
                  <a:lnTo>
                    <a:pt x="619" y="224"/>
                  </a:lnTo>
                  <a:lnTo>
                    <a:pt x="619" y="224"/>
                  </a:lnTo>
                  <a:lnTo>
                    <a:pt x="619" y="224"/>
                  </a:lnTo>
                  <a:lnTo>
                    <a:pt x="619" y="226"/>
                  </a:lnTo>
                  <a:lnTo>
                    <a:pt x="617" y="226"/>
                  </a:lnTo>
                  <a:lnTo>
                    <a:pt x="617" y="226"/>
                  </a:lnTo>
                  <a:lnTo>
                    <a:pt x="617" y="228"/>
                  </a:lnTo>
                  <a:lnTo>
                    <a:pt x="617" y="230"/>
                  </a:lnTo>
                  <a:lnTo>
                    <a:pt x="617" y="230"/>
                  </a:lnTo>
                  <a:lnTo>
                    <a:pt x="617" y="234"/>
                  </a:lnTo>
                  <a:lnTo>
                    <a:pt x="619" y="238"/>
                  </a:lnTo>
                  <a:lnTo>
                    <a:pt x="619" y="240"/>
                  </a:lnTo>
                  <a:lnTo>
                    <a:pt x="619" y="241"/>
                  </a:lnTo>
                  <a:lnTo>
                    <a:pt x="619" y="241"/>
                  </a:lnTo>
                  <a:lnTo>
                    <a:pt x="619" y="243"/>
                  </a:lnTo>
                  <a:lnTo>
                    <a:pt x="621" y="243"/>
                  </a:lnTo>
                  <a:lnTo>
                    <a:pt x="621" y="245"/>
                  </a:lnTo>
                  <a:lnTo>
                    <a:pt x="621" y="245"/>
                  </a:lnTo>
                  <a:lnTo>
                    <a:pt x="621" y="247"/>
                  </a:lnTo>
                  <a:lnTo>
                    <a:pt x="621" y="247"/>
                  </a:lnTo>
                  <a:lnTo>
                    <a:pt x="623" y="249"/>
                  </a:lnTo>
                  <a:lnTo>
                    <a:pt x="623" y="249"/>
                  </a:lnTo>
                  <a:lnTo>
                    <a:pt x="623" y="249"/>
                  </a:lnTo>
                  <a:lnTo>
                    <a:pt x="621" y="251"/>
                  </a:lnTo>
                  <a:lnTo>
                    <a:pt x="619" y="253"/>
                  </a:lnTo>
                  <a:lnTo>
                    <a:pt x="615" y="251"/>
                  </a:lnTo>
                  <a:lnTo>
                    <a:pt x="613" y="249"/>
                  </a:lnTo>
                  <a:lnTo>
                    <a:pt x="612" y="247"/>
                  </a:lnTo>
                  <a:lnTo>
                    <a:pt x="602" y="249"/>
                  </a:lnTo>
                  <a:lnTo>
                    <a:pt x="602" y="249"/>
                  </a:lnTo>
                  <a:lnTo>
                    <a:pt x="600" y="247"/>
                  </a:lnTo>
                  <a:lnTo>
                    <a:pt x="600" y="247"/>
                  </a:lnTo>
                  <a:lnTo>
                    <a:pt x="600" y="245"/>
                  </a:lnTo>
                  <a:lnTo>
                    <a:pt x="600" y="245"/>
                  </a:lnTo>
                  <a:lnTo>
                    <a:pt x="600" y="243"/>
                  </a:lnTo>
                  <a:lnTo>
                    <a:pt x="600" y="243"/>
                  </a:lnTo>
                  <a:lnTo>
                    <a:pt x="596" y="241"/>
                  </a:lnTo>
                  <a:lnTo>
                    <a:pt x="596" y="240"/>
                  </a:lnTo>
                  <a:lnTo>
                    <a:pt x="596" y="238"/>
                  </a:lnTo>
                  <a:lnTo>
                    <a:pt x="596" y="238"/>
                  </a:lnTo>
                  <a:lnTo>
                    <a:pt x="598" y="238"/>
                  </a:lnTo>
                  <a:lnTo>
                    <a:pt x="600" y="238"/>
                  </a:lnTo>
                  <a:lnTo>
                    <a:pt x="600" y="238"/>
                  </a:lnTo>
                  <a:lnTo>
                    <a:pt x="600" y="236"/>
                  </a:lnTo>
                  <a:lnTo>
                    <a:pt x="602" y="236"/>
                  </a:lnTo>
                  <a:lnTo>
                    <a:pt x="602" y="236"/>
                  </a:lnTo>
                  <a:lnTo>
                    <a:pt x="600" y="234"/>
                  </a:lnTo>
                  <a:lnTo>
                    <a:pt x="600" y="234"/>
                  </a:lnTo>
                  <a:lnTo>
                    <a:pt x="600" y="232"/>
                  </a:lnTo>
                  <a:lnTo>
                    <a:pt x="600" y="232"/>
                  </a:lnTo>
                  <a:lnTo>
                    <a:pt x="600" y="232"/>
                  </a:lnTo>
                  <a:lnTo>
                    <a:pt x="600" y="232"/>
                  </a:lnTo>
                  <a:lnTo>
                    <a:pt x="600" y="232"/>
                  </a:lnTo>
                  <a:lnTo>
                    <a:pt x="600" y="230"/>
                  </a:lnTo>
                  <a:lnTo>
                    <a:pt x="602" y="230"/>
                  </a:lnTo>
                  <a:lnTo>
                    <a:pt x="602" y="228"/>
                  </a:lnTo>
                  <a:lnTo>
                    <a:pt x="602" y="228"/>
                  </a:lnTo>
                  <a:lnTo>
                    <a:pt x="604" y="226"/>
                  </a:lnTo>
                  <a:lnTo>
                    <a:pt x="606" y="224"/>
                  </a:lnTo>
                  <a:lnTo>
                    <a:pt x="606" y="222"/>
                  </a:lnTo>
                  <a:lnTo>
                    <a:pt x="606" y="222"/>
                  </a:lnTo>
                  <a:lnTo>
                    <a:pt x="604" y="220"/>
                  </a:lnTo>
                  <a:lnTo>
                    <a:pt x="604" y="220"/>
                  </a:lnTo>
                  <a:lnTo>
                    <a:pt x="604" y="220"/>
                  </a:lnTo>
                  <a:lnTo>
                    <a:pt x="602" y="222"/>
                  </a:lnTo>
                  <a:lnTo>
                    <a:pt x="602" y="222"/>
                  </a:lnTo>
                  <a:lnTo>
                    <a:pt x="602" y="222"/>
                  </a:lnTo>
                  <a:lnTo>
                    <a:pt x="602" y="224"/>
                  </a:lnTo>
                  <a:lnTo>
                    <a:pt x="600" y="224"/>
                  </a:lnTo>
                  <a:lnTo>
                    <a:pt x="600" y="224"/>
                  </a:lnTo>
                  <a:lnTo>
                    <a:pt x="598" y="222"/>
                  </a:lnTo>
                  <a:lnTo>
                    <a:pt x="598" y="220"/>
                  </a:lnTo>
                  <a:lnTo>
                    <a:pt x="596" y="220"/>
                  </a:lnTo>
                  <a:lnTo>
                    <a:pt x="598" y="219"/>
                  </a:lnTo>
                  <a:lnTo>
                    <a:pt x="598" y="219"/>
                  </a:lnTo>
                  <a:lnTo>
                    <a:pt x="598" y="219"/>
                  </a:lnTo>
                  <a:lnTo>
                    <a:pt x="600" y="219"/>
                  </a:lnTo>
                  <a:lnTo>
                    <a:pt x="602" y="217"/>
                  </a:lnTo>
                  <a:lnTo>
                    <a:pt x="602" y="217"/>
                  </a:lnTo>
                  <a:lnTo>
                    <a:pt x="604" y="217"/>
                  </a:lnTo>
                  <a:lnTo>
                    <a:pt x="604" y="215"/>
                  </a:lnTo>
                  <a:lnTo>
                    <a:pt x="606" y="213"/>
                  </a:lnTo>
                  <a:lnTo>
                    <a:pt x="606" y="213"/>
                  </a:lnTo>
                  <a:lnTo>
                    <a:pt x="606" y="213"/>
                  </a:lnTo>
                  <a:lnTo>
                    <a:pt x="608" y="215"/>
                  </a:lnTo>
                  <a:lnTo>
                    <a:pt x="608" y="217"/>
                  </a:lnTo>
                  <a:lnTo>
                    <a:pt x="610" y="217"/>
                  </a:lnTo>
                  <a:lnTo>
                    <a:pt x="610" y="215"/>
                  </a:lnTo>
                  <a:lnTo>
                    <a:pt x="610" y="215"/>
                  </a:lnTo>
                  <a:lnTo>
                    <a:pt x="610" y="213"/>
                  </a:lnTo>
                  <a:lnTo>
                    <a:pt x="608" y="211"/>
                  </a:lnTo>
                  <a:lnTo>
                    <a:pt x="608" y="211"/>
                  </a:lnTo>
                  <a:lnTo>
                    <a:pt x="608" y="209"/>
                  </a:lnTo>
                  <a:lnTo>
                    <a:pt x="606" y="207"/>
                  </a:lnTo>
                  <a:lnTo>
                    <a:pt x="606" y="205"/>
                  </a:lnTo>
                  <a:lnTo>
                    <a:pt x="598" y="198"/>
                  </a:lnTo>
                  <a:lnTo>
                    <a:pt x="594" y="192"/>
                  </a:lnTo>
                  <a:lnTo>
                    <a:pt x="592" y="190"/>
                  </a:lnTo>
                  <a:lnTo>
                    <a:pt x="591" y="190"/>
                  </a:lnTo>
                  <a:lnTo>
                    <a:pt x="589" y="190"/>
                  </a:lnTo>
                  <a:lnTo>
                    <a:pt x="587" y="188"/>
                  </a:lnTo>
                  <a:lnTo>
                    <a:pt x="585" y="188"/>
                  </a:lnTo>
                  <a:lnTo>
                    <a:pt x="585" y="188"/>
                  </a:lnTo>
                  <a:lnTo>
                    <a:pt x="585" y="188"/>
                  </a:lnTo>
                  <a:lnTo>
                    <a:pt x="583" y="188"/>
                  </a:lnTo>
                  <a:lnTo>
                    <a:pt x="583" y="188"/>
                  </a:lnTo>
                  <a:lnTo>
                    <a:pt x="581" y="188"/>
                  </a:lnTo>
                  <a:lnTo>
                    <a:pt x="581" y="186"/>
                  </a:lnTo>
                  <a:lnTo>
                    <a:pt x="581" y="184"/>
                  </a:lnTo>
                  <a:lnTo>
                    <a:pt x="581" y="184"/>
                  </a:lnTo>
                  <a:lnTo>
                    <a:pt x="581" y="184"/>
                  </a:lnTo>
                  <a:lnTo>
                    <a:pt x="581" y="182"/>
                  </a:lnTo>
                  <a:lnTo>
                    <a:pt x="579" y="182"/>
                  </a:lnTo>
                  <a:lnTo>
                    <a:pt x="575" y="179"/>
                  </a:lnTo>
                  <a:lnTo>
                    <a:pt x="572" y="175"/>
                  </a:lnTo>
                  <a:lnTo>
                    <a:pt x="572" y="173"/>
                  </a:lnTo>
                  <a:lnTo>
                    <a:pt x="572" y="173"/>
                  </a:lnTo>
                  <a:lnTo>
                    <a:pt x="570" y="173"/>
                  </a:lnTo>
                  <a:lnTo>
                    <a:pt x="568" y="169"/>
                  </a:lnTo>
                  <a:lnTo>
                    <a:pt x="566" y="167"/>
                  </a:lnTo>
                  <a:lnTo>
                    <a:pt x="566" y="165"/>
                  </a:lnTo>
                  <a:lnTo>
                    <a:pt x="564" y="163"/>
                  </a:lnTo>
                  <a:lnTo>
                    <a:pt x="560" y="154"/>
                  </a:lnTo>
                  <a:lnTo>
                    <a:pt x="560" y="150"/>
                  </a:lnTo>
                  <a:lnTo>
                    <a:pt x="558" y="148"/>
                  </a:lnTo>
                  <a:lnTo>
                    <a:pt x="558" y="146"/>
                  </a:lnTo>
                  <a:lnTo>
                    <a:pt x="558" y="144"/>
                  </a:lnTo>
                  <a:lnTo>
                    <a:pt x="556" y="143"/>
                  </a:lnTo>
                  <a:lnTo>
                    <a:pt x="556" y="141"/>
                  </a:lnTo>
                  <a:lnTo>
                    <a:pt x="556" y="137"/>
                  </a:lnTo>
                  <a:lnTo>
                    <a:pt x="554" y="135"/>
                  </a:lnTo>
                  <a:lnTo>
                    <a:pt x="554" y="135"/>
                  </a:lnTo>
                  <a:lnTo>
                    <a:pt x="556" y="135"/>
                  </a:lnTo>
                  <a:lnTo>
                    <a:pt x="556" y="133"/>
                  </a:lnTo>
                  <a:lnTo>
                    <a:pt x="556" y="133"/>
                  </a:lnTo>
                  <a:lnTo>
                    <a:pt x="558" y="133"/>
                  </a:lnTo>
                  <a:lnTo>
                    <a:pt x="558" y="131"/>
                  </a:lnTo>
                  <a:lnTo>
                    <a:pt x="558" y="131"/>
                  </a:lnTo>
                  <a:lnTo>
                    <a:pt x="558" y="129"/>
                  </a:lnTo>
                  <a:lnTo>
                    <a:pt x="558" y="127"/>
                  </a:lnTo>
                  <a:lnTo>
                    <a:pt x="558" y="127"/>
                  </a:lnTo>
                  <a:lnTo>
                    <a:pt x="556" y="127"/>
                  </a:lnTo>
                  <a:lnTo>
                    <a:pt x="552" y="125"/>
                  </a:lnTo>
                  <a:lnTo>
                    <a:pt x="552" y="125"/>
                  </a:lnTo>
                  <a:lnTo>
                    <a:pt x="549" y="122"/>
                  </a:lnTo>
                  <a:lnTo>
                    <a:pt x="549" y="120"/>
                  </a:lnTo>
                  <a:lnTo>
                    <a:pt x="547" y="118"/>
                  </a:lnTo>
                  <a:lnTo>
                    <a:pt x="547" y="116"/>
                  </a:lnTo>
                  <a:lnTo>
                    <a:pt x="547" y="116"/>
                  </a:lnTo>
                  <a:lnTo>
                    <a:pt x="547" y="114"/>
                  </a:lnTo>
                  <a:lnTo>
                    <a:pt x="547" y="114"/>
                  </a:lnTo>
                  <a:lnTo>
                    <a:pt x="547" y="114"/>
                  </a:lnTo>
                  <a:lnTo>
                    <a:pt x="547" y="112"/>
                  </a:lnTo>
                  <a:lnTo>
                    <a:pt x="545" y="112"/>
                  </a:lnTo>
                  <a:lnTo>
                    <a:pt x="545" y="110"/>
                  </a:lnTo>
                  <a:lnTo>
                    <a:pt x="545" y="110"/>
                  </a:lnTo>
                  <a:lnTo>
                    <a:pt x="545" y="110"/>
                  </a:lnTo>
                  <a:lnTo>
                    <a:pt x="545" y="108"/>
                  </a:lnTo>
                  <a:lnTo>
                    <a:pt x="547" y="108"/>
                  </a:lnTo>
                  <a:lnTo>
                    <a:pt x="547" y="108"/>
                  </a:lnTo>
                  <a:lnTo>
                    <a:pt x="547" y="108"/>
                  </a:lnTo>
                  <a:lnTo>
                    <a:pt x="549" y="108"/>
                  </a:lnTo>
                  <a:lnTo>
                    <a:pt x="549" y="106"/>
                  </a:lnTo>
                  <a:lnTo>
                    <a:pt x="549" y="106"/>
                  </a:lnTo>
                  <a:lnTo>
                    <a:pt x="549" y="106"/>
                  </a:lnTo>
                  <a:lnTo>
                    <a:pt x="549" y="104"/>
                  </a:lnTo>
                  <a:lnTo>
                    <a:pt x="547" y="103"/>
                  </a:lnTo>
                  <a:lnTo>
                    <a:pt x="547" y="101"/>
                  </a:lnTo>
                  <a:lnTo>
                    <a:pt x="547" y="101"/>
                  </a:lnTo>
                  <a:lnTo>
                    <a:pt x="545" y="101"/>
                  </a:lnTo>
                  <a:lnTo>
                    <a:pt x="543" y="101"/>
                  </a:lnTo>
                  <a:lnTo>
                    <a:pt x="543" y="103"/>
                  </a:lnTo>
                  <a:lnTo>
                    <a:pt x="543" y="103"/>
                  </a:lnTo>
                  <a:lnTo>
                    <a:pt x="541" y="103"/>
                  </a:lnTo>
                  <a:lnTo>
                    <a:pt x="541" y="103"/>
                  </a:lnTo>
                  <a:lnTo>
                    <a:pt x="541" y="103"/>
                  </a:lnTo>
                  <a:lnTo>
                    <a:pt x="541" y="103"/>
                  </a:lnTo>
                  <a:lnTo>
                    <a:pt x="539" y="101"/>
                  </a:lnTo>
                  <a:lnTo>
                    <a:pt x="541" y="101"/>
                  </a:lnTo>
                  <a:lnTo>
                    <a:pt x="541" y="99"/>
                  </a:lnTo>
                  <a:lnTo>
                    <a:pt x="541" y="97"/>
                  </a:lnTo>
                  <a:lnTo>
                    <a:pt x="541" y="97"/>
                  </a:lnTo>
                  <a:lnTo>
                    <a:pt x="539" y="97"/>
                  </a:lnTo>
                  <a:lnTo>
                    <a:pt x="539" y="97"/>
                  </a:lnTo>
                  <a:lnTo>
                    <a:pt x="535" y="99"/>
                  </a:lnTo>
                  <a:lnTo>
                    <a:pt x="535" y="99"/>
                  </a:lnTo>
                  <a:lnTo>
                    <a:pt x="535" y="99"/>
                  </a:lnTo>
                  <a:lnTo>
                    <a:pt x="535" y="99"/>
                  </a:lnTo>
                  <a:lnTo>
                    <a:pt x="535" y="101"/>
                  </a:lnTo>
                  <a:lnTo>
                    <a:pt x="535" y="101"/>
                  </a:lnTo>
                  <a:lnTo>
                    <a:pt x="533" y="101"/>
                  </a:lnTo>
                  <a:lnTo>
                    <a:pt x="532" y="101"/>
                  </a:lnTo>
                  <a:lnTo>
                    <a:pt x="530" y="101"/>
                  </a:lnTo>
                  <a:lnTo>
                    <a:pt x="528" y="101"/>
                  </a:lnTo>
                  <a:lnTo>
                    <a:pt x="528" y="99"/>
                  </a:lnTo>
                  <a:lnTo>
                    <a:pt x="528" y="99"/>
                  </a:lnTo>
                  <a:lnTo>
                    <a:pt x="526" y="99"/>
                  </a:lnTo>
                  <a:lnTo>
                    <a:pt x="526" y="101"/>
                  </a:lnTo>
                  <a:lnTo>
                    <a:pt x="524" y="101"/>
                  </a:lnTo>
                  <a:lnTo>
                    <a:pt x="522" y="101"/>
                  </a:lnTo>
                  <a:lnTo>
                    <a:pt x="522" y="103"/>
                  </a:lnTo>
                  <a:lnTo>
                    <a:pt x="520" y="103"/>
                  </a:lnTo>
                  <a:lnTo>
                    <a:pt x="520" y="103"/>
                  </a:lnTo>
                  <a:lnTo>
                    <a:pt x="518" y="103"/>
                  </a:lnTo>
                  <a:lnTo>
                    <a:pt x="518" y="103"/>
                  </a:lnTo>
                  <a:lnTo>
                    <a:pt x="516" y="103"/>
                  </a:lnTo>
                  <a:lnTo>
                    <a:pt x="516" y="103"/>
                  </a:lnTo>
                  <a:lnTo>
                    <a:pt x="516" y="99"/>
                  </a:lnTo>
                  <a:lnTo>
                    <a:pt x="514" y="99"/>
                  </a:lnTo>
                  <a:lnTo>
                    <a:pt x="514" y="97"/>
                  </a:lnTo>
                  <a:lnTo>
                    <a:pt x="512" y="97"/>
                  </a:lnTo>
                  <a:lnTo>
                    <a:pt x="512" y="97"/>
                  </a:lnTo>
                  <a:lnTo>
                    <a:pt x="511" y="99"/>
                  </a:lnTo>
                  <a:lnTo>
                    <a:pt x="511" y="99"/>
                  </a:lnTo>
                  <a:lnTo>
                    <a:pt x="509" y="99"/>
                  </a:lnTo>
                  <a:lnTo>
                    <a:pt x="509" y="99"/>
                  </a:lnTo>
                  <a:lnTo>
                    <a:pt x="507" y="99"/>
                  </a:lnTo>
                  <a:lnTo>
                    <a:pt x="507" y="97"/>
                  </a:lnTo>
                  <a:lnTo>
                    <a:pt x="507" y="97"/>
                  </a:lnTo>
                  <a:lnTo>
                    <a:pt x="505" y="93"/>
                  </a:lnTo>
                  <a:lnTo>
                    <a:pt x="505" y="91"/>
                  </a:lnTo>
                  <a:lnTo>
                    <a:pt x="505" y="91"/>
                  </a:lnTo>
                  <a:lnTo>
                    <a:pt x="503" y="89"/>
                  </a:lnTo>
                  <a:lnTo>
                    <a:pt x="503" y="89"/>
                  </a:lnTo>
                  <a:lnTo>
                    <a:pt x="501" y="87"/>
                  </a:lnTo>
                  <a:lnTo>
                    <a:pt x="501" y="87"/>
                  </a:lnTo>
                  <a:lnTo>
                    <a:pt x="499" y="87"/>
                  </a:lnTo>
                  <a:lnTo>
                    <a:pt x="497" y="87"/>
                  </a:lnTo>
                  <a:lnTo>
                    <a:pt x="497" y="85"/>
                  </a:lnTo>
                  <a:lnTo>
                    <a:pt x="495" y="85"/>
                  </a:lnTo>
                  <a:lnTo>
                    <a:pt x="495" y="85"/>
                  </a:lnTo>
                  <a:lnTo>
                    <a:pt x="493" y="85"/>
                  </a:lnTo>
                  <a:lnTo>
                    <a:pt x="493" y="85"/>
                  </a:lnTo>
                  <a:lnTo>
                    <a:pt x="491" y="87"/>
                  </a:lnTo>
                  <a:lnTo>
                    <a:pt x="490" y="87"/>
                  </a:lnTo>
                  <a:lnTo>
                    <a:pt x="490" y="89"/>
                  </a:lnTo>
                  <a:lnTo>
                    <a:pt x="490" y="89"/>
                  </a:lnTo>
                  <a:lnTo>
                    <a:pt x="488" y="89"/>
                  </a:lnTo>
                  <a:lnTo>
                    <a:pt x="486" y="89"/>
                  </a:lnTo>
                  <a:lnTo>
                    <a:pt x="484" y="89"/>
                  </a:lnTo>
                  <a:lnTo>
                    <a:pt x="482" y="89"/>
                  </a:lnTo>
                  <a:lnTo>
                    <a:pt x="480" y="89"/>
                  </a:lnTo>
                  <a:lnTo>
                    <a:pt x="478" y="89"/>
                  </a:lnTo>
                  <a:lnTo>
                    <a:pt x="478" y="89"/>
                  </a:lnTo>
                  <a:lnTo>
                    <a:pt x="478" y="89"/>
                  </a:lnTo>
                  <a:lnTo>
                    <a:pt x="478" y="89"/>
                  </a:lnTo>
                  <a:lnTo>
                    <a:pt x="478" y="91"/>
                  </a:lnTo>
                  <a:lnTo>
                    <a:pt x="476" y="91"/>
                  </a:lnTo>
                  <a:lnTo>
                    <a:pt x="476" y="93"/>
                  </a:lnTo>
                  <a:lnTo>
                    <a:pt x="476" y="93"/>
                  </a:lnTo>
                  <a:lnTo>
                    <a:pt x="476" y="93"/>
                  </a:lnTo>
                  <a:lnTo>
                    <a:pt x="474" y="93"/>
                  </a:lnTo>
                  <a:lnTo>
                    <a:pt x="474" y="93"/>
                  </a:lnTo>
                  <a:lnTo>
                    <a:pt x="472" y="91"/>
                  </a:lnTo>
                  <a:lnTo>
                    <a:pt x="472" y="89"/>
                  </a:lnTo>
                  <a:lnTo>
                    <a:pt x="472" y="87"/>
                  </a:lnTo>
                  <a:lnTo>
                    <a:pt x="471" y="85"/>
                  </a:lnTo>
                  <a:lnTo>
                    <a:pt x="471" y="85"/>
                  </a:lnTo>
                  <a:lnTo>
                    <a:pt x="469" y="84"/>
                  </a:lnTo>
                  <a:lnTo>
                    <a:pt x="469" y="82"/>
                  </a:lnTo>
                  <a:lnTo>
                    <a:pt x="469" y="82"/>
                  </a:lnTo>
                  <a:lnTo>
                    <a:pt x="467" y="82"/>
                  </a:lnTo>
                  <a:lnTo>
                    <a:pt x="467" y="80"/>
                  </a:lnTo>
                  <a:lnTo>
                    <a:pt x="469" y="80"/>
                  </a:lnTo>
                  <a:lnTo>
                    <a:pt x="469" y="78"/>
                  </a:lnTo>
                  <a:lnTo>
                    <a:pt x="469" y="78"/>
                  </a:lnTo>
                  <a:lnTo>
                    <a:pt x="472" y="78"/>
                  </a:lnTo>
                  <a:lnTo>
                    <a:pt x="472" y="78"/>
                  </a:lnTo>
                  <a:lnTo>
                    <a:pt x="474" y="78"/>
                  </a:lnTo>
                  <a:lnTo>
                    <a:pt x="474" y="78"/>
                  </a:lnTo>
                  <a:lnTo>
                    <a:pt x="474" y="76"/>
                  </a:lnTo>
                  <a:lnTo>
                    <a:pt x="474" y="72"/>
                  </a:lnTo>
                  <a:lnTo>
                    <a:pt x="474" y="72"/>
                  </a:lnTo>
                  <a:lnTo>
                    <a:pt x="474" y="70"/>
                  </a:lnTo>
                  <a:lnTo>
                    <a:pt x="472" y="68"/>
                  </a:lnTo>
                  <a:lnTo>
                    <a:pt x="471" y="66"/>
                  </a:lnTo>
                  <a:lnTo>
                    <a:pt x="471" y="66"/>
                  </a:lnTo>
                  <a:lnTo>
                    <a:pt x="472" y="57"/>
                  </a:lnTo>
                  <a:lnTo>
                    <a:pt x="472" y="55"/>
                  </a:lnTo>
                  <a:lnTo>
                    <a:pt x="474" y="51"/>
                  </a:lnTo>
                  <a:lnTo>
                    <a:pt x="474" y="49"/>
                  </a:lnTo>
                  <a:lnTo>
                    <a:pt x="474" y="47"/>
                  </a:lnTo>
                  <a:lnTo>
                    <a:pt x="472" y="47"/>
                  </a:lnTo>
                  <a:lnTo>
                    <a:pt x="472" y="47"/>
                  </a:lnTo>
                  <a:lnTo>
                    <a:pt x="472" y="46"/>
                  </a:lnTo>
                  <a:lnTo>
                    <a:pt x="471" y="47"/>
                  </a:lnTo>
                  <a:lnTo>
                    <a:pt x="471" y="47"/>
                  </a:lnTo>
                  <a:lnTo>
                    <a:pt x="471" y="47"/>
                  </a:lnTo>
                  <a:lnTo>
                    <a:pt x="471" y="47"/>
                  </a:lnTo>
                  <a:lnTo>
                    <a:pt x="471" y="47"/>
                  </a:lnTo>
                  <a:lnTo>
                    <a:pt x="469" y="47"/>
                  </a:lnTo>
                  <a:lnTo>
                    <a:pt x="469" y="47"/>
                  </a:lnTo>
                  <a:lnTo>
                    <a:pt x="467" y="49"/>
                  </a:lnTo>
                  <a:lnTo>
                    <a:pt x="467" y="49"/>
                  </a:lnTo>
                  <a:lnTo>
                    <a:pt x="465" y="49"/>
                  </a:lnTo>
                  <a:lnTo>
                    <a:pt x="465" y="49"/>
                  </a:lnTo>
                  <a:lnTo>
                    <a:pt x="465" y="49"/>
                  </a:lnTo>
                  <a:lnTo>
                    <a:pt x="463" y="49"/>
                  </a:lnTo>
                  <a:lnTo>
                    <a:pt x="463" y="49"/>
                  </a:lnTo>
                  <a:lnTo>
                    <a:pt x="461" y="49"/>
                  </a:lnTo>
                  <a:lnTo>
                    <a:pt x="461" y="47"/>
                  </a:lnTo>
                  <a:lnTo>
                    <a:pt x="461" y="47"/>
                  </a:lnTo>
                  <a:lnTo>
                    <a:pt x="461" y="46"/>
                  </a:lnTo>
                  <a:lnTo>
                    <a:pt x="461" y="44"/>
                  </a:lnTo>
                  <a:lnTo>
                    <a:pt x="461" y="42"/>
                  </a:lnTo>
                  <a:lnTo>
                    <a:pt x="463" y="40"/>
                  </a:lnTo>
                  <a:lnTo>
                    <a:pt x="463" y="40"/>
                  </a:lnTo>
                  <a:lnTo>
                    <a:pt x="463" y="40"/>
                  </a:lnTo>
                  <a:lnTo>
                    <a:pt x="467" y="40"/>
                  </a:lnTo>
                  <a:lnTo>
                    <a:pt x="467" y="38"/>
                  </a:lnTo>
                  <a:lnTo>
                    <a:pt x="469" y="38"/>
                  </a:lnTo>
                  <a:lnTo>
                    <a:pt x="469" y="36"/>
                  </a:lnTo>
                  <a:lnTo>
                    <a:pt x="469" y="36"/>
                  </a:lnTo>
                  <a:lnTo>
                    <a:pt x="469" y="34"/>
                  </a:lnTo>
                  <a:lnTo>
                    <a:pt x="469" y="34"/>
                  </a:lnTo>
                  <a:lnTo>
                    <a:pt x="467" y="32"/>
                  </a:lnTo>
                  <a:lnTo>
                    <a:pt x="467" y="32"/>
                  </a:lnTo>
                  <a:lnTo>
                    <a:pt x="465" y="32"/>
                  </a:lnTo>
                  <a:lnTo>
                    <a:pt x="465" y="30"/>
                  </a:lnTo>
                  <a:lnTo>
                    <a:pt x="465" y="28"/>
                  </a:lnTo>
                  <a:lnTo>
                    <a:pt x="453" y="26"/>
                  </a:lnTo>
                  <a:lnTo>
                    <a:pt x="444" y="26"/>
                  </a:lnTo>
                  <a:lnTo>
                    <a:pt x="410" y="25"/>
                  </a:lnTo>
                  <a:lnTo>
                    <a:pt x="408" y="25"/>
                  </a:lnTo>
                  <a:lnTo>
                    <a:pt x="408" y="23"/>
                  </a:lnTo>
                  <a:lnTo>
                    <a:pt x="408" y="23"/>
                  </a:lnTo>
                  <a:lnTo>
                    <a:pt x="408" y="21"/>
                  </a:lnTo>
                  <a:lnTo>
                    <a:pt x="408" y="19"/>
                  </a:lnTo>
                  <a:lnTo>
                    <a:pt x="415" y="7"/>
                  </a:lnTo>
                  <a:lnTo>
                    <a:pt x="415" y="7"/>
                  </a:lnTo>
                  <a:lnTo>
                    <a:pt x="415" y="6"/>
                  </a:lnTo>
                  <a:lnTo>
                    <a:pt x="415" y="4"/>
                  </a:lnTo>
                  <a:lnTo>
                    <a:pt x="415" y="2"/>
                  </a:lnTo>
                  <a:lnTo>
                    <a:pt x="413" y="0"/>
                  </a:lnTo>
                  <a:lnTo>
                    <a:pt x="413" y="2"/>
                  </a:lnTo>
                  <a:lnTo>
                    <a:pt x="398" y="15"/>
                  </a:lnTo>
                  <a:lnTo>
                    <a:pt x="394" y="17"/>
                  </a:lnTo>
                  <a:lnTo>
                    <a:pt x="377" y="21"/>
                  </a:lnTo>
                  <a:lnTo>
                    <a:pt x="362" y="28"/>
                  </a:lnTo>
                  <a:lnTo>
                    <a:pt x="360" y="30"/>
                  </a:lnTo>
                  <a:lnTo>
                    <a:pt x="356" y="44"/>
                  </a:lnTo>
                  <a:lnTo>
                    <a:pt x="352" y="55"/>
                  </a:lnTo>
                  <a:lnTo>
                    <a:pt x="347" y="70"/>
                  </a:lnTo>
                  <a:lnTo>
                    <a:pt x="343" y="82"/>
                  </a:lnTo>
                  <a:lnTo>
                    <a:pt x="337" y="89"/>
                  </a:lnTo>
                  <a:lnTo>
                    <a:pt x="330" y="104"/>
                  </a:lnTo>
                  <a:lnTo>
                    <a:pt x="324" y="112"/>
                  </a:lnTo>
                  <a:lnTo>
                    <a:pt x="322" y="116"/>
                  </a:lnTo>
                  <a:lnTo>
                    <a:pt x="320" y="123"/>
                  </a:lnTo>
                  <a:lnTo>
                    <a:pt x="318" y="123"/>
                  </a:lnTo>
                  <a:lnTo>
                    <a:pt x="316" y="125"/>
                  </a:lnTo>
                  <a:lnTo>
                    <a:pt x="305" y="131"/>
                  </a:lnTo>
                  <a:lnTo>
                    <a:pt x="293" y="137"/>
                  </a:lnTo>
                  <a:lnTo>
                    <a:pt x="282" y="144"/>
                  </a:lnTo>
                  <a:lnTo>
                    <a:pt x="269" y="150"/>
                  </a:lnTo>
                  <a:lnTo>
                    <a:pt x="267" y="152"/>
                  </a:lnTo>
                  <a:lnTo>
                    <a:pt x="259" y="162"/>
                  </a:lnTo>
                  <a:lnTo>
                    <a:pt x="257" y="165"/>
                  </a:lnTo>
                  <a:lnTo>
                    <a:pt x="251" y="186"/>
                  </a:lnTo>
                  <a:lnTo>
                    <a:pt x="249" y="192"/>
                  </a:lnTo>
                  <a:lnTo>
                    <a:pt x="248" y="196"/>
                  </a:lnTo>
                  <a:lnTo>
                    <a:pt x="244" y="200"/>
                  </a:lnTo>
                  <a:lnTo>
                    <a:pt x="232" y="209"/>
                  </a:lnTo>
                  <a:lnTo>
                    <a:pt x="225" y="219"/>
                  </a:lnTo>
                  <a:lnTo>
                    <a:pt x="223" y="220"/>
                  </a:lnTo>
                  <a:lnTo>
                    <a:pt x="223" y="222"/>
                  </a:lnTo>
                  <a:lnTo>
                    <a:pt x="223" y="236"/>
                  </a:lnTo>
                  <a:lnTo>
                    <a:pt x="221" y="238"/>
                  </a:lnTo>
                  <a:lnTo>
                    <a:pt x="221" y="238"/>
                  </a:lnTo>
                  <a:lnTo>
                    <a:pt x="206" y="243"/>
                  </a:lnTo>
                  <a:lnTo>
                    <a:pt x="192" y="247"/>
                  </a:lnTo>
                  <a:lnTo>
                    <a:pt x="185" y="247"/>
                  </a:lnTo>
                  <a:lnTo>
                    <a:pt x="177" y="247"/>
                  </a:lnTo>
                  <a:lnTo>
                    <a:pt x="169" y="247"/>
                  </a:lnTo>
                  <a:lnTo>
                    <a:pt x="162" y="249"/>
                  </a:lnTo>
                  <a:lnTo>
                    <a:pt x="154" y="251"/>
                  </a:lnTo>
                  <a:lnTo>
                    <a:pt x="143" y="257"/>
                  </a:lnTo>
                  <a:lnTo>
                    <a:pt x="133" y="262"/>
                  </a:lnTo>
                  <a:lnTo>
                    <a:pt x="126" y="264"/>
                  </a:lnTo>
                  <a:lnTo>
                    <a:pt x="118" y="262"/>
                  </a:lnTo>
                  <a:lnTo>
                    <a:pt x="114" y="260"/>
                  </a:lnTo>
                  <a:lnTo>
                    <a:pt x="110" y="255"/>
                  </a:lnTo>
                  <a:lnTo>
                    <a:pt x="108" y="247"/>
                  </a:lnTo>
                  <a:lnTo>
                    <a:pt x="107" y="245"/>
                  </a:lnTo>
                  <a:lnTo>
                    <a:pt x="108" y="241"/>
                  </a:lnTo>
                  <a:lnTo>
                    <a:pt x="107" y="240"/>
                  </a:lnTo>
                  <a:lnTo>
                    <a:pt x="107" y="238"/>
                  </a:lnTo>
                  <a:lnTo>
                    <a:pt x="103" y="236"/>
                  </a:lnTo>
                  <a:lnTo>
                    <a:pt x="101" y="234"/>
                  </a:lnTo>
                  <a:lnTo>
                    <a:pt x="97" y="232"/>
                  </a:lnTo>
                  <a:lnTo>
                    <a:pt x="95" y="230"/>
                  </a:lnTo>
                  <a:lnTo>
                    <a:pt x="93" y="228"/>
                  </a:lnTo>
                  <a:lnTo>
                    <a:pt x="91" y="228"/>
                  </a:lnTo>
                  <a:lnTo>
                    <a:pt x="89" y="228"/>
                  </a:lnTo>
                  <a:lnTo>
                    <a:pt x="86" y="230"/>
                  </a:lnTo>
                  <a:lnTo>
                    <a:pt x="82" y="232"/>
                  </a:lnTo>
                  <a:lnTo>
                    <a:pt x="80" y="232"/>
                  </a:lnTo>
                  <a:lnTo>
                    <a:pt x="78" y="232"/>
                  </a:lnTo>
                  <a:lnTo>
                    <a:pt x="74" y="238"/>
                  </a:lnTo>
                  <a:lnTo>
                    <a:pt x="67" y="243"/>
                  </a:lnTo>
                  <a:lnTo>
                    <a:pt x="67" y="243"/>
                  </a:lnTo>
                  <a:lnTo>
                    <a:pt x="59" y="253"/>
                  </a:lnTo>
                  <a:lnTo>
                    <a:pt x="57" y="255"/>
                  </a:lnTo>
                  <a:lnTo>
                    <a:pt x="49" y="274"/>
                  </a:lnTo>
                  <a:lnTo>
                    <a:pt x="48" y="278"/>
                  </a:lnTo>
                  <a:lnTo>
                    <a:pt x="40" y="285"/>
                  </a:lnTo>
                  <a:lnTo>
                    <a:pt x="34" y="295"/>
                  </a:lnTo>
                  <a:lnTo>
                    <a:pt x="25" y="304"/>
                  </a:lnTo>
                  <a:lnTo>
                    <a:pt x="17" y="308"/>
                  </a:lnTo>
                  <a:lnTo>
                    <a:pt x="9" y="317"/>
                  </a:lnTo>
                  <a:lnTo>
                    <a:pt x="6" y="323"/>
                  </a:lnTo>
                  <a:lnTo>
                    <a:pt x="4" y="331"/>
                  </a:lnTo>
                  <a:lnTo>
                    <a:pt x="2" y="344"/>
                  </a:lnTo>
                  <a:lnTo>
                    <a:pt x="0" y="356"/>
                  </a:lnTo>
                  <a:lnTo>
                    <a:pt x="0" y="361"/>
                  </a:lnTo>
                  <a:lnTo>
                    <a:pt x="4" y="363"/>
                  </a:lnTo>
                  <a:lnTo>
                    <a:pt x="17" y="371"/>
                  </a:lnTo>
                  <a:lnTo>
                    <a:pt x="21" y="373"/>
                  </a:lnTo>
                  <a:lnTo>
                    <a:pt x="28" y="378"/>
                  </a:lnTo>
                  <a:lnTo>
                    <a:pt x="32" y="380"/>
                  </a:lnTo>
                  <a:lnTo>
                    <a:pt x="53" y="378"/>
                  </a:lnTo>
                  <a:lnTo>
                    <a:pt x="57" y="380"/>
                  </a:lnTo>
                  <a:lnTo>
                    <a:pt x="61" y="382"/>
                  </a:lnTo>
                  <a:lnTo>
                    <a:pt x="63" y="386"/>
                  </a:lnTo>
                  <a:lnTo>
                    <a:pt x="63" y="390"/>
                  </a:lnTo>
                  <a:lnTo>
                    <a:pt x="63" y="397"/>
                  </a:lnTo>
                  <a:lnTo>
                    <a:pt x="63" y="401"/>
                  </a:lnTo>
                  <a:lnTo>
                    <a:pt x="63" y="403"/>
                  </a:lnTo>
                  <a:lnTo>
                    <a:pt x="63" y="405"/>
                  </a:lnTo>
                  <a:lnTo>
                    <a:pt x="61" y="407"/>
                  </a:lnTo>
                  <a:lnTo>
                    <a:pt x="63" y="409"/>
                  </a:lnTo>
                  <a:lnTo>
                    <a:pt x="63" y="413"/>
                  </a:lnTo>
                  <a:lnTo>
                    <a:pt x="63" y="416"/>
                  </a:lnTo>
                  <a:lnTo>
                    <a:pt x="61" y="420"/>
                  </a:lnTo>
                  <a:lnTo>
                    <a:pt x="55" y="430"/>
                  </a:lnTo>
                  <a:lnTo>
                    <a:pt x="55" y="432"/>
                  </a:lnTo>
                  <a:lnTo>
                    <a:pt x="55" y="435"/>
                  </a:lnTo>
                  <a:lnTo>
                    <a:pt x="55" y="439"/>
                  </a:lnTo>
                  <a:lnTo>
                    <a:pt x="55" y="441"/>
                  </a:lnTo>
                  <a:lnTo>
                    <a:pt x="57" y="447"/>
                  </a:lnTo>
                  <a:lnTo>
                    <a:pt x="59" y="453"/>
                  </a:lnTo>
                  <a:lnTo>
                    <a:pt x="63" y="456"/>
                  </a:lnTo>
                  <a:lnTo>
                    <a:pt x="67" y="460"/>
                  </a:lnTo>
                  <a:lnTo>
                    <a:pt x="68" y="462"/>
                  </a:lnTo>
                  <a:lnTo>
                    <a:pt x="70" y="468"/>
                  </a:lnTo>
                  <a:lnTo>
                    <a:pt x="72" y="470"/>
                  </a:lnTo>
                  <a:lnTo>
                    <a:pt x="72" y="470"/>
                  </a:lnTo>
                  <a:lnTo>
                    <a:pt x="76" y="472"/>
                  </a:lnTo>
                  <a:lnTo>
                    <a:pt x="82" y="473"/>
                  </a:lnTo>
                  <a:lnTo>
                    <a:pt x="93" y="473"/>
                  </a:lnTo>
                  <a:lnTo>
                    <a:pt x="97" y="472"/>
                  </a:lnTo>
                  <a:lnTo>
                    <a:pt x="99" y="470"/>
                  </a:lnTo>
                  <a:lnTo>
                    <a:pt x="103" y="470"/>
                  </a:lnTo>
                  <a:lnTo>
                    <a:pt x="107" y="470"/>
                  </a:lnTo>
                  <a:lnTo>
                    <a:pt x="108" y="473"/>
                  </a:lnTo>
                  <a:lnTo>
                    <a:pt x="108" y="477"/>
                  </a:lnTo>
                  <a:lnTo>
                    <a:pt x="108" y="487"/>
                  </a:lnTo>
                  <a:lnTo>
                    <a:pt x="108" y="498"/>
                  </a:lnTo>
                  <a:lnTo>
                    <a:pt x="108" y="502"/>
                  </a:lnTo>
                  <a:lnTo>
                    <a:pt x="110" y="504"/>
                  </a:lnTo>
                  <a:lnTo>
                    <a:pt x="114" y="508"/>
                  </a:lnTo>
                  <a:lnTo>
                    <a:pt x="114" y="510"/>
                  </a:lnTo>
                  <a:lnTo>
                    <a:pt x="116" y="511"/>
                  </a:lnTo>
                  <a:lnTo>
                    <a:pt x="116" y="515"/>
                  </a:lnTo>
                  <a:lnTo>
                    <a:pt x="120" y="517"/>
                  </a:lnTo>
                  <a:lnTo>
                    <a:pt x="126" y="523"/>
                  </a:lnTo>
                  <a:lnTo>
                    <a:pt x="128" y="525"/>
                  </a:lnTo>
                  <a:lnTo>
                    <a:pt x="128" y="527"/>
                  </a:lnTo>
                  <a:lnTo>
                    <a:pt x="131" y="542"/>
                  </a:lnTo>
                  <a:lnTo>
                    <a:pt x="133" y="548"/>
                  </a:lnTo>
                  <a:lnTo>
                    <a:pt x="135" y="553"/>
                  </a:lnTo>
                  <a:lnTo>
                    <a:pt x="141" y="561"/>
                  </a:lnTo>
                  <a:lnTo>
                    <a:pt x="145" y="570"/>
                  </a:lnTo>
                  <a:lnTo>
                    <a:pt x="147" y="572"/>
                  </a:lnTo>
                  <a:lnTo>
                    <a:pt x="148" y="574"/>
                  </a:lnTo>
                  <a:lnTo>
                    <a:pt x="152" y="576"/>
                  </a:lnTo>
                  <a:lnTo>
                    <a:pt x="162" y="578"/>
                  </a:lnTo>
                  <a:lnTo>
                    <a:pt x="162" y="578"/>
                  </a:lnTo>
                  <a:lnTo>
                    <a:pt x="164" y="578"/>
                  </a:lnTo>
                  <a:lnTo>
                    <a:pt x="166" y="578"/>
                  </a:lnTo>
                  <a:lnTo>
                    <a:pt x="168" y="576"/>
                  </a:lnTo>
                  <a:lnTo>
                    <a:pt x="168" y="576"/>
                  </a:lnTo>
                  <a:lnTo>
                    <a:pt x="171" y="576"/>
                  </a:lnTo>
                  <a:lnTo>
                    <a:pt x="171" y="576"/>
                  </a:lnTo>
                  <a:lnTo>
                    <a:pt x="173" y="578"/>
                  </a:lnTo>
                  <a:lnTo>
                    <a:pt x="175" y="578"/>
                  </a:lnTo>
                  <a:lnTo>
                    <a:pt x="177" y="578"/>
                  </a:lnTo>
                  <a:lnTo>
                    <a:pt x="179" y="576"/>
                  </a:lnTo>
                  <a:lnTo>
                    <a:pt x="181" y="574"/>
                  </a:lnTo>
                  <a:lnTo>
                    <a:pt x="183" y="574"/>
                  </a:lnTo>
                  <a:lnTo>
                    <a:pt x="185" y="574"/>
                  </a:lnTo>
                  <a:lnTo>
                    <a:pt x="190" y="574"/>
                  </a:lnTo>
                  <a:lnTo>
                    <a:pt x="194" y="574"/>
                  </a:lnTo>
                  <a:lnTo>
                    <a:pt x="196" y="574"/>
                  </a:lnTo>
                  <a:lnTo>
                    <a:pt x="198" y="576"/>
                  </a:lnTo>
                  <a:lnTo>
                    <a:pt x="198" y="576"/>
                  </a:lnTo>
                  <a:lnTo>
                    <a:pt x="200" y="576"/>
                  </a:lnTo>
                  <a:lnTo>
                    <a:pt x="202" y="576"/>
                  </a:lnTo>
                  <a:lnTo>
                    <a:pt x="209" y="574"/>
                  </a:lnTo>
                  <a:lnTo>
                    <a:pt x="211" y="574"/>
                  </a:lnTo>
                  <a:lnTo>
                    <a:pt x="211" y="574"/>
                  </a:lnTo>
                  <a:lnTo>
                    <a:pt x="211" y="576"/>
                  </a:lnTo>
                  <a:lnTo>
                    <a:pt x="213" y="578"/>
                  </a:lnTo>
                  <a:lnTo>
                    <a:pt x="213" y="578"/>
                  </a:lnTo>
                  <a:lnTo>
                    <a:pt x="215" y="578"/>
                  </a:lnTo>
                  <a:lnTo>
                    <a:pt x="217" y="578"/>
                  </a:lnTo>
                  <a:lnTo>
                    <a:pt x="217" y="578"/>
                  </a:lnTo>
                  <a:lnTo>
                    <a:pt x="217" y="578"/>
                  </a:lnTo>
                  <a:lnTo>
                    <a:pt x="217" y="576"/>
                  </a:lnTo>
                  <a:lnTo>
                    <a:pt x="217" y="576"/>
                  </a:lnTo>
                  <a:lnTo>
                    <a:pt x="217" y="574"/>
                  </a:lnTo>
                  <a:lnTo>
                    <a:pt x="219" y="574"/>
                  </a:lnTo>
                  <a:lnTo>
                    <a:pt x="221" y="574"/>
                  </a:lnTo>
                  <a:lnTo>
                    <a:pt x="221" y="574"/>
                  </a:lnTo>
                  <a:lnTo>
                    <a:pt x="223" y="574"/>
                  </a:lnTo>
                  <a:lnTo>
                    <a:pt x="223" y="574"/>
                  </a:lnTo>
                  <a:lnTo>
                    <a:pt x="223" y="576"/>
                  </a:lnTo>
                  <a:lnTo>
                    <a:pt x="225" y="576"/>
                  </a:lnTo>
                  <a:lnTo>
                    <a:pt x="227" y="576"/>
                  </a:lnTo>
                  <a:lnTo>
                    <a:pt x="227" y="576"/>
                  </a:lnTo>
                  <a:lnTo>
                    <a:pt x="229" y="576"/>
                  </a:lnTo>
                  <a:lnTo>
                    <a:pt x="229" y="574"/>
                  </a:lnTo>
                  <a:lnTo>
                    <a:pt x="230" y="574"/>
                  </a:lnTo>
                  <a:lnTo>
                    <a:pt x="230" y="572"/>
                  </a:lnTo>
                  <a:lnTo>
                    <a:pt x="232" y="572"/>
                  </a:lnTo>
                  <a:lnTo>
                    <a:pt x="236" y="572"/>
                  </a:lnTo>
                  <a:lnTo>
                    <a:pt x="238" y="570"/>
                  </a:lnTo>
                  <a:lnTo>
                    <a:pt x="238" y="572"/>
                  </a:lnTo>
                  <a:lnTo>
                    <a:pt x="240" y="572"/>
                  </a:lnTo>
                  <a:lnTo>
                    <a:pt x="240" y="576"/>
                  </a:lnTo>
                  <a:lnTo>
                    <a:pt x="242" y="576"/>
                  </a:lnTo>
                  <a:lnTo>
                    <a:pt x="249" y="578"/>
                  </a:lnTo>
                  <a:lnTo>
                    <a:pt x="251" y="580"/>
                  </a:lnTo>
                  <a:lnTo>
                    <a:pt x="257" y="578"/>
                  </a:lnTo>
                  <a:lnTo>
                    <a:pt x="261" y="578"/>
                  </a:lnTo>
                  <a:lnTo>
                    <a:pt x="263" y="578"/>
                  </a:lnTo>
                  <a:lnTo>
                    <a:pt x="263" y="578"/>
                  </a:lnTo>
                  <a:lnTo>
                    <a:pt x="265" y="578"/>
                  </a:lnTo>
                  <a:lnTo>
                    <a:pt x="265" y="580"/>
                  </a:lnTo>
                  <a:lnTo>
                    <a:pt x="265" y="580"/>
                  </a:lnTo>
                  <a:lnTo>
                    <a:pt x="263" y="580"/>
                  </a:lnTo>
                  <a:lnTo>
                    <a:pt x="263" y="580"/>
                  </a:lnTo>
                  <a:lnTo>
                    <a:pt x="261" y="582"/>
                  </a:lnTo>
                  <a:lnTo>
                    <a:pt x="257" y="582"/>
                  </a:lnTo>
                  <a:lnTo>
                    <a:pt x="257" y="582"/>
                  </a:lnTo>
                  <a:lnTo>
                    <a:pt x="257" y="582"/>
                  </a:lnTo>
                  <a:lnTo>
                    <a:pt x="255" y="582"/>
                  </a:lnTo>
                  <a:lnTo>
                    <a:pt x="257" y="584"/>
                  </a:lnTo>
                  <a:lnTo>
                    <a:pt x="257" y="584"/>
                  </a:lnTo>
                  <a:lnTo>
                    <a:pt x="259" y="586"/>
                  </a:lnTo>
                  <a:lnTo>
                    <a:pt x="259" y="586"/>
                  </a:lnTo>
                  <a:lnTo>
                    <a:pt x="261" y="586"/>
                  </a:lnTo>
                  <a:lnTo>
                    <a:pt x="263" y="586"/>
                  </a:lnTo>
                  <a:lnTo>
                    <a:pt x="265" y="588"/>
                  </a:lnTo>
                  <a:lnTo>
                    <a:pt x="265" y="588"/>
                  </a:lnTo>
                  <a:lnTo>
                    <a:pt x="265" y="588"/>
                  </a:lnTo>
                  <a:lnTo>
                    <a:pt x="265" y="588"/>
                  </a:lnTo>
                  <a:lnTo>
                    <a:pt x="265" y="589"/>
                  </a:lnTo>
                  <a:lnTo>
                    <a:pt x="267" y="589"/>
                  </a:lnTo>
                  <a:lnTo>
                    <a:pt x="267" y="589"/>
                  </a:lnTo>
                  <a:lnTo>
                    <a:pt x="269" y="589"/>
                  </a:lnTo>
                  <a:lnTo>
                    <a:pt x="269" y="589"/>
                  </a:lnTo>
                  <a:lnTo>
                    <a:pt x="270" y="589"/>
                  </a:lnTo>
                  <a:lnTo>
                    <a:pt x="272" y="589"/>
                  </a:lnTo>
                  <a:lnTo>
                    <a:pt x="272" y="591"/>
                  </a:lnTo>
                  <a:lnTo>
                    <a:pt x="272" y="591"/>
                  </a:lnTo>
                  <a:lnTo>
                    <a:pt x="272" y="591"/>
                  </a:lnTo>
                  <a:lnTo>
                    <a:pt x="272" y="593"/>
                  </a:lnTo>
                  <a:lnTo>
                    <a:pt x="272" y="593"/>
                  </a:lnTo>
                  <a:lnTo>
                    <a:pt x="272" y="595"/>
                  </a:lnTo>
                  <a:lnTo>
                    <a:pt x="272" y="595"/>
                  </a:lnTo>
                  <a:lnTo>
                    <a:pt x="274" y="597"/>
                  </a:lnTo>
                  <a:lnTo>
                    <a:pt x="274" y="599"/>
                  </a:lnTo>
                  <a:lnTo>
                    <a:pt x="276" y="599"/>
                  </a:lnTo>
                  <a:lnTo>
                    <a:pt x="276" y="599"/>
                  </a:lnTo>
                  <a:lnTo>
                    <a:pt x="276" y="599"/>
                  </a:lnTo>
                  <a:lnTo>
                    <a:pt x="278" y="599"/>
                  </a:lnTo>
                  <a:lnTo>
                    <a:pt x="278" y="599"/>
                  </a:lnTo>
                  <a:lnTo>
                    <a:pt x="278" y="599"/>
                  </a:lnTo>
                  <a:lnTo>
                    <a:pt x="278" y="599"/>
                  </a:lnTo>
                  <a:lnTo>
                    <a:pt x="280" y="593"/>
                  </a:lnTo>
                  <a:lnTo>
                    <a:pt x="280" y="591"/>
                  </a:lnTo>
                  <a:lnTo>
                    <a:pt x="280" y="591"/>
                  </a:lnTo>
                  <a:lnTo>
                    <a:pt x="280" y="591"/>
                  </a:lnTo>
                  <a:lnTo>
                    <a:pt x="280" y="591"/>
                  </a:lnTo>
                  <a:lnTo>
                    <a:pt x="282" y="591"/>
                  </a:lnTo>
                  <a:lnTo>
                    <a:pt x="284" y="591"/>
                  </a:lnTo>
                  <a:lnTo>
                    <a:pt x="284" y="591"/>
                  </a:lnTo>
                  <a:lnTo>
                    <a:pt x="290" y="595"/>
                  </a:lnTo>
                  <a:lnTo>
                    <a:pt x="290" y="595"/>
                  </a:lnTo>
                  <a:lnTo>
                    <a:pt x="291" y="595"/>
                  </a:lnTo>
                  <a:lnTo>
                    <a:pt x="293" y="595"/>
                  </a:lnTo>
                  <a:lnTo>
                    <a:pt x="293" y="595"/>
                  </a:lnTo>
                  <a:lnTo>
                    <a:pt x="295" y="597"/>
                  </a:lnTo>
                  <a:lnTo>
                    <a:pt x="295" y="597"/>
                  </a:lnTo>
                  <a:lnTo>
                    <a:pt x="295" y="597"/>
                  </a:lnTo>
                  <a:lnTo>
                    <a:pt x="297" y="601"/>
                  </a:lnTo>
                  <a:lnTo>
                    <a:pt x="297" y="601"/>
                  </a:lnTo>
                  <a:lnTo>
                    <a:pt x="299" y="603"/>
                  </a:lnTo>
                  <a:lnTo>
                    <a:pt x="299" y="603"/>
                  </a:lnTo>
                  <a:lnTo>
                    <a:pt x="301" y="605"/>
                  </a:lnTo>
                  <a:lnTo>
                    <a:pt x="303" y="605"/>
                  </a:lnTo>
                  <a:lnTo>
                    <a:pt x="307" y="605"/>
                  </a:lnTo>
                  <a:lnTo>
                    <a:pt x="310" y="605"/>
                  </a:lnTo>
                  <a:lnTo>
                    <a:pt x="312" y="605"/>
                  </a:lnTo>
                  <a:lnTo>
                    <a:pt x="316" y="607"/>
                  </a:lnTo>
                  <a:lnTo>
                    <a:pt x="318" y="607"/>
                  </a:lnTo>
                  <a:lnTo>
                    <a:pt x="318" y="607"/>
                  </a:lnTo>
                  <a:lnTo>
                    <a:pt x="320" y="605"/>
                  </a:lnTo>
                  <a:lnTo>
                    <a:pt x="322" y="605"/>
                  </a:lnTo>
                  <a:lnTo>
                    <a:pt x="322" y="603"/>
                  </a:lnTo>
                  <a:lnTo>
                    <a:pt x="322" y="603"/>
                  </a:lnTo>
                  <a:lnTo>
                    <a:pt x="322" y="603"/>
                  </a:lnTo>
                  <a:lnTo>
                    <a:pt x="322" y="601"/>
                  </a:lnTo>
                  <a:lnTo>
                    <a:pt x="322" y="601"/>
                  </a:lnTo>
                  <a:lnTo>
                    <a:pt x="322" y="601"/>
                  </a:lnTo>
                  <a:lnTo>
                    <a:pt x="322" y="601"/>
                  </a:lnTo>
                  <a:lnTo>
                    <a:pt x="322" y="599"/>
                  </a:lnTo>
                  <a:lnTo>
                    <a:pt x="324" y="599"/>
                  </a:lnTo>
                  <a:lnTo>
                    <a:pt x="324" y="599"/>
                  </a:lnTo>
                  <a:lnTo>
                    <a:pt x="324" y="597"/>
                  </a:lnTo>
                  <a:lnTo>
                    <a:pt x="324" y="597"/>
                  </a:lnTo>
                  <a:lnTo>
                    <a:pt x="324" y="595"/>
                  </a:lnTo>
                  <a:lnTo>
                    <a:pt x="324" y="595"/>
                  </a:lnTo>
                  <a:lnTo>
                    <a:pt x="324" y="595"/>
                  </a:lnTo>
                  <a:lnTo>
                    <a:pt x="326" y="593"/>
                  </a:lnTo>
                  <a:lnTo>
                    <a:pt x="326" y="593"/>
                  </a:lnTo>
                  <a:lnTo>
                    <a:pt x="326" y="593"/>
                  </a:lnTo>
                  <a:lnTo>
                    <a:pt x="328" y="593"/>
                  </a:lnTo>
                  <a:lnTo>
                    <a:pt x="328" y="593"/>
                  </a:lnTo>
                  <a:lnTo>
                    <a:pt x="331" y="591"/>
                  </a:lnTo>
                  <a:lnTo>
                    <a:pt x="333" y="591"/>
                  </a:lnTo>
                  <a:lnTo>
                    <a:pt x="333" y="591"/>
                  </a:lnTo>
                  <a:lnTo>
                    <a:pt x="335" y="591"/>
                  </a:lnTo>
                  <a:lnTo>
                    <a:pt x="335" y="591"/>
                  </a:lnTo>
                  <a:lnTo>
                    <a:pt x="335" y="593"/>
                  </a:lnTo>
                  <a:lnTo>
                    <a:pt x="335" y="593"/>
                  </a:lnTo>
                  <a:lnTo>
                    <a:pt x="335" y="593"/>
                  </a:lnTo>
                  <a:lnTo>
                    <a:pt x="335" y="595"/>
                  </a:lnTo>
                  <a:lnTo>
                    <a:pt x="335" y="599"/>
                  </a:lnTo>
                  <a:lnTo>
                    <a:pt x="333" y="601"/>
                  </a:lnTo>
                  <a:lnTo>
                    <a:pt x="333" y="601"/>
                  </a:lnTo>
                  <a:lnTo>
                    <a:pt x="333" y="601"/>
                  </a:lnTo>
                  <a:lnTo>
                    <a:pt x="335" y="603"/>
                  </a:lnTo>
                  <a:lnTo>
                    <a:pt x="335" y="603"/>
                  </a:lnTo>
                  <a:lnTo>
                    <a:pt x="337" y="603"/>
                  </a:lnTo>
                  <a:lnTo>
                    <a:pt x="341" y="605"/>
                  </a:lnTo>
                  <a:lnTo>
                    <a:pt x="341" y="605"/>
                  </a:lnTo>
                  <a:lnTo>
                    <a:pt x="343" y="605"/>
                  </a:lnTo>
                  <a:lnTo>
                    <a:pt x="343" y="605"/>
                  </a:lnTo>
                  <a:lnTo>
                    <a:pt x="343" y="603"/>
                  </a:lnTo>
                  <a:lnTo>
                    <a:pt x="345" y="603"/>
                  </a:lnTo>
                  <a:lnTo>
                    <a:pt x="345" y="605"/>
                  </a:lnTo>
                  <a:lnTo>
                    <a:pt x="345" y="605"/>
                  </a:lnTo>
                  <a:lnTo>
                    <a:pt x="345" y="607"/>
                  </a:lnTo>
                  <a:lnTo>
                    <a:pt x="345" y="607"/>
                  </a:lnTo>
                  <a:lnTo>
                    <a:pt x="345" y="608"/>
                  </a:lnTo>
                  <a:lnTo>
                    <a:pt x="345" y="608"/>
                  </a:lnTo>
                  <a:lnTo>
                    <a:pt x="343" y="608"/>
                  </a:lnTo>
                  <a:lnTo>
                    <a:pt x="343" y="608"/>
                  </a:lnTo>
                  <a:lnTo>
                    <a:pt x="341" y="608"/>
                  </a:lnTo>
                  <a:lnTo>
                    <a:pt x="339" y="608"/>
                  </a:lnTo>
                  <a:lnTo>
                    <a:pt x="339" y="608"/>
                  </a:lnTo>
                  <a:lnTo>
                    <a:pt x="339" y="608"/>
                  </a:lnTo>
                  <a:lnTo>
                    <a:pt x="337" y="610"/>
                  </a:lnTo>
                  <a:lnTo>
                    <a:pt x="337" y="610"/>
                  </a:lnTo>
                  <a:lnTo>
                    <a:pt x="337" y="610"/>
                  </a:lnTo>
                  <a:lnTo>
                    <a:pt x="337" y="612"/>
                  </a:lnTo>
                  <a:lnTo>
                    <a:pt x="335" y="612"/>
                  </a:lnTo>
                  <a:lnTo>
                    <a:pt x="335" y="614"/>
                  </a:lnTo>
                  <a:lnTo>
                    <a:pt x="333" y="620"/>
                  </a:lnTo>
                  <a:lnTo>
                    <a:pt x="333" y="622"/>
                  </a:lnTo>
                  <a:lnTo>
                    <a:pt x="333" y="622"/>
                  </a:lnTo>
                  <a:lnTo>
                    <a:pt x="335" y="626"/>
                  </a:lnTo>
                  <a:lnTo>
                    <a:pt x="335" y="627"/>
                  </a:lnTo>
                  <a:lnTo>
                    <a:pt x="335" y="627"/>
                  </a:lnTo>
                  <a:lnTo>
                    <a:pt x="337" y="629"/>
                  </a:lnTo>
                  <a:lnTo>
                    <a:pt x="339" y="629"/>
                  </a:lnTo>
                  <a:lnTo>
                    <a:pt x="339" y="631"/>
                  </a:lnTo>
                  <a:lnTo>
                    <a:pt x="341" y="631"/>
                  </a:lnTo>
                  <a:lnTo>
                    <a:pt x="341" y="633"/>
                  </a:lnTo>
                  <a:lnTo>
                    <a:pt x="343" y="633"/>
                  </a:lnTo>
                  <a:lnTo>
                    <a:pt x="343" y="635"/>
                  </a:lnTo>
                  <a:lnTo>
                    <a:pt x="345" y="635"/>
                  </a:lnTo>
                  <a:lnTo>
                    <a:pt x="345" y="637"/>
                  </a:lnTo>
                  <a:lnTo>
                    <a:pt x="345" y="637"/>
                  </a:lnTo>
                  <a:lnTo>
                    <a:pt x="347" y="641"/>
                  </a:lnTo>
                  <a:lnTo>
                    <a:pt x="349" y="641"/>
                  </a:lnTo>
                  <a:lnTo>
                    <a:pt x="349" y="641"/>
                  </a:lnTo>
                  <a:lnTo>
                    <a:pt x="352" y="639"/>
                  </a:lnTo>
                  <a:lnTo>
                    <a:pt x="354" y="639"/>
                  </a:lnTo>
                  <a:lnTo>
                    <a:pt x="354" y="637"/>
                  </a:lnTo>
                  <a:lnTo>
                    <a:pt x="354" y="637"/>
                  </a:lnTo>
                  <a:lnTo>
                    <a:pt x="356" y="633"/>
                  </a:lnTo>
                  <a:lnTo>
                    <a:pt x="356" y="633"/>
                  </a:lnTo>
                  <a:lnTo>
                    <a:pt x="358" y="631"/>
                  </a:lnTo>
                  <a:lnTo>
                    <a:pt x="358" y="633"/>
                  </a:lnTo>
                  <a:lnTo>
                    <a:pt x="362" y="637"/>
                  </a:lnTo>
                  <a:lnTo>
                    <a:pt x="362" y="639"/>
                  </a:lnTo>
                  <a:lnTo>
                    <a:pt x="362" y="641"/>
                  </a:lnTo>
                  <a:lnTo>
                    <a:pt x="362" y="643"/>
                  </a:lnTo>
                  <a:lnTo>
                    <a:pt x="362" y="643"/>
                  </a:lnTo>
                  <a:lnTo>
                    <a:pt x="362" y="643"/>
                  </a:lnTo>
                  <a:lnTo>
                    <a:pt x="364" y="645"/>
                  </a:lnTo>
                  <a:lnTo>
                    <a:pt x="364" y="647"/>
                  </a:lnTo>
                  <a:lnTo>
                    <a:pt x="364" y="648"/>
                  </a:lnTo>
                  <a:lnTo>
                    <a:pt x="364" y="650"/>
                  </a:lnTo>
                  <a:lnTo>
                    <a:pt x="364" y="650"/>
                  </a:lnTo>
                  <a:lnTo>
                    <a:pt x="362" y="650"/>
                  </a:lnTo>
                  <a:lnTo>
                    <a:pt x="360" y="652"/>
                  </a:lnTo>
                  <a:lnTo>
                    <a:pt x="360" y="652"/>
                  </a:lnTo>
                  <a:lnTo>
                    <a:pt x="360" y="654"/>
                  </a:lnTo>
                  <a:lnTo>
                    <a:pt x="360" y="656"/>
                  </a:lnTo>
                  <a:lnTo>
                    <a:pt x="360" y="658"/>
                  </a:lnTo>
                  <a:lnTo>
                    <a:pt x="360" y="660"/>
                  </a:lnTo>
                  <a:lnTo>
                    <a:pt x="358" y="664"/>
                  </a:lnTo>
                  <a:lnTo>
                    <a:pt x="358" y="664"/>
                  </a:lnTo>
                  <a:lnTo>
                    <a:pt x="358" y="666"/>
                  </a:lnTo>
                  <a:lnTo>
                    <a:pt x="362" y="664"/>
                  </a:lnTo>
                  <a:lnTo>
                    <a:pt x="362" y="666"/>
                  </a:lnTo>
                  <a:lnTo>
                    <a:pt x="364" y="666"/>
                  </a:lnTo>
                  <a:lnTo>
                    <a:pt x="364" y="666"/>
                  </a:lnTo>
                  <a:lnTo>
                    <a:pt x="364" y="667"/>
                  </a:lnTo>
                  <a:lnTo>
                    <a:pt x="366" y="669"/>
                  </a:lnTo>
                  <a:lnTo>
                    <a:pt x="366" y="669"/>
                  </a:lnTo>
                  <a:lnTo>
                    <a:pt x="368" y="671"/>
                  </a:lnTo>
                  <a:lnTo>
                    <a:pt x="368" y="671"/>
                  </a:lnTo>
                  <a:lnTo>
                    <a:pt x="371" y="671"/>
                  </a:lnTo>
                  <a:lnTo>
                    <a:pt x="371" y="673"/>
                  </a:lnTo>
                  <a:lnTo>
                    <a:pt x="371" y="673"/>
                  </a:lnTo>
                  <a:lnTo>
                    <a:pt x="373" y="673"/>
                  </a:lnTo>
                  <a:lnTo>
                    <a:pt x="373" y="675"/>
                  </a:lnTo>
                  <a:lnTo>
                    <a:pt x="373" y="675"/>
                  </a:lnTo>
                  <a:lnTo>
                    <a:pt x="371" y="677"/>
                  </a:lnTo>
                  <a:lnTo>
                    <a:pt x="371" y="677"/>
                  </a:lnTo>
                  <a:lnTo>
                    <a:pt x="371" y="679"/>
                  </a:lnTo>
                  <a:lnTo>
                    <a:pt x="371" y="681"/>
                  </a:lnTo>
                  <a:lnTo>
                    <a:pt x="371" y="683"/>
                  </a:lnTo>
                  <a:lnTo>
                    <a:pt x="371" y="683"/>
                  </a:lnTo>
                  <a:lnTo>
                    <a:pt x="373" y="683"/>
                  </a:lnTo>
                  <a:lnTo>
                    <a:pt x="373" y="683"/>
                  </a:lnTo>
                  <a:lnTo>
                    <a:pt x="375" y="683"/>
                  </a:lnTo>
                  <a:lnTo>
                    <a:pt x="377" y="681"/>
                  </a:lnTo>
                  <a:lnTo>
                    <a:pt x="377" y="679"/>
                  </a:lnTo>
                  <a:lnTo>
                    <a:pt x="379" y="679"/>
                  </a:lnTo>
                  <a:lnTo>
                    <a:pt x="381" y="681"/>
                  </a:lnTo>
                  <a:lnTo>
                    <a:pt x="383" y="683"/>
                  </a:lnTo>
                  <a:lnTo>
                    <a:pt x="383" y="685"/>
                  </a:lnTo>
                  <a:lnTo>
                    <a:pt x="383" y="686"/>
                  </a:lnTo>
                  <a:lnTo>
                    <a:pt x="383" y="688"/>
                  </a:lnTo>
                  <a:lnTo>
                    <a:pt x="383" y="690"/>
                  </a:lnTo>
                  <a:lnTo>
                    <a:pt x="383" y="692"/>
                  </a:lnTo>
                  <a:lnTo>
                    <a:pt x="383" y="694"/>
                  </a:lnTo>
                  <a:lnTo>
                    <a:pt x="385" y="694"/>
                  </a:lnTo>
                  <a:lnTo>
                    <a:pt x="383" y="696"/>
                  </a:lnTo>
                  <a:lnTo>
                    <a:pt x="383" y="698"/>
                  </a:lnTo>
                  <a:lnTo>
                    <a:pt x="383" y="700"/>
                  </a:lnTo>
                  <a:lnTo>
                    <a:pt x="387" y="700"/>
                  </a:lnTo>
                  <a:lnTo>
                    <a:pt x="389" y="700"/>
                  </a:lnTo>
                  <a:lnTo>
                    <a:pt x="391" y="702"/>
                  </a:lnTo>
                  <a:lnTo>
                    <a:pt x="391" y="702"/>
                  </a:lnTo>
                  <a:lnTo>
                    <a:pt x="398" y="700"/>
                  </a:lnTo>
                  <a:lnTo>
                    <a:pt x="400" y="700"/>
                  </a:lnTo>
                  <a:lnTo>
                    <a:pt x="400" y="700"/>
                  </a:lnTo>
                  <a:lnTo>
                    <a:pt x="402" y="702"/>
                  </a:lnTo>
                  <a:lnTo>
                    <a:pt x="404" y="705"/>
                  </a:lnTo>
                  <a:lnTo>
                    <a:pt x="408" y="709"/>
                  </a:lnTo>
                  <a:lnTo>
                    <a:pt x="408" y="709"/>
                  </a:lnTo>
                  <a:lnTo>
                    <a:pt x="410" y="709"/>
                  </a:lnTo>
                  <a:lnTo>
                    <a:pt x="410" y="709"/>
                  </a:lnTo>
                  <a:lnTo>
                    <a:pt x="410" y="709"/>
                  </a:lnTo>
                  <a:lnTo>
                    <a:pt x="411" y="709"/>
                  </a:lnTo>
                  <a:lnTo>
                    <a:pt x="411" y="709"/>
                  </a:lnTo>
                  <a:lnTo>
                    <a:pt x="411" y="709"/>
                  </a:lnTo>
                  <a:lnTo>
                    <a:pt x="411" y="707"/>
                  </a:lnTo>
                  <a:lnTo>
                    <a:pt x="411" y="707"/>
                  </a:lnTo>
                  <a:lnTo>
                    <a:pt x="413" y="707"/>
                  </a:lnTo>
                  <a:lnTo>
                    <a:pt x="413" y="707"/>
                  </a:lnTo>
                  <a:lnTo>
                    <a:pt x="417" y="711"/>
                  </a:lnTo>
                  <a:lnTo>
                    <a:pt x="421" y="713"/>
                  </a:lnTo>
                  <a:lnTo>
                    <a:pt x="425" y="717"/>
                  </a:lnTo>
                  <a:lnTo>
                    <a:pt x="427" y="717"/>
                  </a:lnTo>
                  <a:lnTo>
                    <a:pt x="429" y="719"/>
                  </a:lnTo>
                  <a:lnTo>
                    <a:pt x="429" y="721"/>
                  </a:lnTo>
                  <a:lnTo>
                    <a:pt x="429" y="721"/>
                  </a:lnTo>
                  <a:lnTo>
                    <a:pt x="429" y="723"/>
                  </a:lnTo>
                  <a:lnTo>
                    <a:pt x="429" y="724"/>
                  </a:lnTo>
                  <a:lnTo>
                    <a:pt x="429" y="726"/>
                  </a:lnTo>
                  <a:lnTo>
                    <a:pt x="431" y="726"/>
                  </a:lnTo>
                  <a:lnTo>
                    <a:pt x="431" y="728"/>
                  </a:lnTo>
                  <a:lnTo>
                    <a:pt x="432" y="728"/>
                  </a:lnTo>
                  <a:lnTo>
                    <a:pt x="432" y="726"/>
                  </a:lnTo>
                  <a:lnTo>
                    <a:pt x="434" y="726"/>
                  </a:lnTo>
                  <a:lnTo>
                    <a:pt x="434" y="726"/>
                  </a:lnTo>
                  <a:lnTo>
                    <a:pt x="436" y="726"/>
                  </a:lnTo>
                  <a:lnTo>
                    <a:pt x="436" y="726"/>
                  </a:lnTo>
                  <a:lnTo>
                    <a:pt x="440" y="728"/>
                  </a:lnTo>
                  <a:lnTo>
                    <a:pt x="440" y="728"/>
                  </a:lnTo>
                  <a:lnTo>
                    <a:pt x="442" y="730"/>
                  </a:lnTo>
                  <a:lnTo>
                    <a:pt x="442" y="732"/>
                  </a:lnTo>
                  <a:lnTo>
                    <a:pt x="444" y="734"/>
                  </a:lnTo>
                  <a:lnTo>
                    <a:pt x="444" y="734"/>
                  </a:lnTo>
                  <a:lnTo>
                    <a:pt x="446" y="736"/>
                  </a:lnTo>
                  <a:lnTo>
                    <a:pt x="446" y="736"/>
                  </a:lnTo>
                  <a:lnTo>
                    <a:pt x="446" y="736"/>
                  </a:lnTo>
                  <a:lnTo>
                    <a:pt x="448" y="738"/>
                  </a:lnTo>
                  <a:lnTo>
                    <a:pt x="448" y="740"/>
                  </a:lnTo>
                  <a:lnTo>
                    <a:pt x="450" y="738"/>
                  </a:lnTo>
                  <a:lnTo>
                    <a:pt x="451" y="738"/>
                  </a:lnTo>
                  <a:lnTo>
                    <a:pt x="451" y="738"/>
                  </a:lnTo>
                  <a:lnTo>
                    <a:pt x="453" y="736"/>
                  </a:lnTo>
                  <a:lnTo>
                    <a:pt x="453" y="736"/>
                  </a:lnTo>
                  <a:lnTo>
                    <a:pt x="455" y="736"/>
                  </a:lnTo>
                  <a:lnTo>
                    <a:pt x="457" y="736"/>
                  </a:lnTo>
                  <a:lnTo>
                    <a:pt x="459" y="738"/>
                  </a:lnTo>
                  <a:lnTo>
                    <a:pt x="459" y="738"/>
                  </a:lnTo>
                  <a:lnTo>
                    <a:pt x="461" y="738"/>
                  </a:lnTo>
                  <a:lnTo>
                    <a:pt x="469" y="734"/>
                  </a:lnTo>
                  <a:lnTo>
                    <a:pt x="474" y="732"/>
                  </a:lnTo>
                  <a:lnTo>
                    <a:pt x="480" y="728"/>
                  </a:lnTo>
                  <a:lnTo>
                    <a:pt x="484" y="726"/>
                  </a:lnTo>
                  <a:lnTo>
                    <a:pt x="484" y="726"/>
                  </a:lnTo>
                  <a:lnTo>
                    <a:pt x="484" y="724"/>
                  </a:lnTo>
                  <a:lnTo>
                    <a:pt x="482" y="724"/>
                  </a:lnTo>
                  <a:lnTo>
                    <a:pt x="482" y="723"/>
                  </a:lnTo>
                  <a:lnTo>
                    <a:pt x="480" y="723"/>
                  </a:lnTo>
                  <a:lnTo>
                    <a:pt x="480" y="721"/>
                  </a:lnTo>
                  <a:lnTo>
                    <a:pt x="478" y="721"/>
                  </a:lnTo>
                  <a:lnTo>
                    <a:pt x="478" y="721"/>
                  </a:lnTo>
                  <a:lnTo>
                    <a:pt x="476" y="721"/>
                  </a:lnTo>
                  <a:lnTo>
                    <a:pt x="474" y="721"/>
                  </a:lnTo>
                  <a:lnTo>
                    <a:pt x="472" y="719"/>
                  </a:lnTo>
                  <a:lnTo>
                    <a:pt x="469" y="719"/>
                  </a:lnTo>
                  <a:lnTo>
                    <a:pt x="469" y="719"/>
                  </a:lnTo>
                  <a:lnTo>
                    <a:pt x="467" y="719"/>
                  </a:lnTo>
                  <a:lnTo>
                    <a:pt x="467" y="717"/>
                  </a:lnTo>
                  <a:lnTo>
                    <a:pt x="467" y="717"/>
                  </a:lnTo>
                  <a:lnTo>
                    <a:pt x="467" y="715"/>
                  </a:lnTo>
                  <a:lnTo>
                    <a:pt x="467" y="715"/>
                  </a:lnTo>
                  <a:lnTo>
                    <a:pt x="469" y="707"/>
                  </a:lnTo>
                  <a:lnTo>
                    <a:pt x="471" y="707"/>
                  </a:lnTo>
                  <a:lnTo>
                    <a:pt x="476" y="702"/>
                  </a:lnTo>
                  <a:lnTo>
                    <a:pt x="478" y="700"/>
                  </a:lnTo>
                  <a:lnTo>
                    <a:pt x="482" y="698"/>
                  </a:lnTo>
                  <a:lnTo>
                    <a:pt x="484" y="698"/>
                  </a:lnTo>
                  <a:lnTo>
                    <a:pt x="490" y="694"/>
                  </a:lnTo>
                  <a:lnTo>
                    <a:pt x="491" y="694"/>
                  </a:lnTo>
                  <a:lnTo>
                    <a:pt x="493" y="694"/>
                  </a:lnTo>
                  <a:lnTo>
                    <a:pt x="493" y="694"/>
                  </a:lnTo>
                  <a:lnTo>
                    <a:pt x="497" y="690"/>
                  </a:lnTo>
                  <a:lnTo>
                    <a:pt x="497" y="690"/>
                  </a:lnTo>
                  <a:lnTo>
                    <a:pt x="499" y="688"/>
                  </a:lnTo>
                  <a:lnTo>
                    <a:pt x="499" y="686"/>
                  </a:lnTo>
                  <a:lnTo>
                    <a:pt x="501" y="683"/>
                  </a:lnTo>
                  <a:lnTo>
                    <a:pt x="501" y="681"/>
                  </a:lnTo>
                  <a:lnTo>
                    <a:pt x="501" y="681"/>
                  </a:lnTo>
                  <a:lnTo>
                    <a:pt x="503" y="679"/>
                  </a:lnTo>
                  <a:lnTo>
                    <a:pt x="503" y="679"/>
                  </a:lnTo>
                  <a:lnTo>
                    <a:pt x="505" y="677"/>
                  </a:lnTo>
                  <a:lnTo>
                    <a:pt x="505" y="675"/>
                  </a:lnTo>
                  <a:lnTo>
                    <a:pt x="505" y="673"/>
                  </a:lnTo>
                  <a:lnTo>
                    <a:pt x="505" y="671"/>
                  </a:lnTo>
                  <a:lnTo>
                    <a:pt x="505" y="667"/>
                  </a:lnTo>
                  <a:lnTo>
                    <a:pt x="503" y="666"/>
                  </a:lnTo>
                  <a:lnTo>
                    <a:pt x="501" y="664"/>
                  </a:lnTo>
                  <a:lnTo>
                    <a:pt x="501" y="662"/>
                  </a:lnTo>
                  <a:lnTo>
                    <a:pt x="501" y="660"/>
                  </a:lnTo>
                  <a:lnTo>
                    <a:pt x="501" y="658"/>
                  </a:lnTo>
                  <a:lnTo>
                    <a:pt x="501" y="654"/>
                  </a:lnTo>
                  <a:lnTo>
                    <a:pt x="505" y="643"/>
                  </a:lnTo>
                  <a:lnTo>
                    <a:pt x="507" y="641"/>
                  </a:lnTo>
                  <a:lnTo>
                    <a:pt x="507" y="641"/>
                  </a:lnTo>
                  <a:lnTo>
                    <a:pt x="507" y="639"/>
                  </a:lnTo>
                  <a:lnTo>
                    <a:pt x="507" y="639"/>
                  </a:lnTo>
                  <a:lnTo>
                    <a:pt x="507" y="637"/>
                  </a:lnTo>
                  <a:lnTo>
                    <a:pt x="505" y="637"/>
                  </a:lnTo>
                  <a:lnTo>
                    <a:pt x="503" y="635"/>
                  </a:lnTo>
                  <a:lnTo>
                    <a:pt x="503" y="633"/>
                  </a:lnTo>
                  <a:lnTo>
                    <a:pt x="501" y="633"/>
                  </a:lnTo>
                  <a:lnTo>
                    <a:pt x="501" y="631"/>
                  </a:lnTo>
                  <a:lnTo>
                    <a:pt x="501" y="629"/>
                  </a:lnTo>
                  <a:lnTo>
                    <a:pt x="499" y="627"/>
                  </a:lnTo>
                  <a:lnTo>
                    <a:pt x="499" y="622"/>
                  </a:lnTo>
                  <a:lnTo>
                    <a:pt x="499" y="620"/>
                  </a:lnTo>
                  <a:lnTo>
                    <a:pt x="499" y="620"/>
                  </a:lnTo>
                  <a:lnTo>
                    <a:pt x="497" y="618"/>
                  </a:lnTo>
                  <a:lnTo>
                    <a:pt x="495" y="618"/>
                  </a:lnTo>
                  <a:lnTo>
                    <a:pt x="493" y="616"/>
                  </a:lnTo>
                  <a:lnTo>
                    <a:pt x="491" y="616"/>
                  </a:lnTo>
                  <a:lnTo>
                    <a:pt x="488" y="616"/>
                  </a:lnTo>
                  <a:lnTo>
                    <a:pt x="488" y="616"/>
                  </a:lnTo>
                  <a:lnTo>
                    <a:pt x="486" y="616"/>
                  </a:lnTo>
                  <a:lnTo>
                    <a:pt x="486" y="616"/>
                  </a:lnTo>
                  <a:lnTo>
                    <a:pt x="486" y="614"/>
                  </a:lnTo>
                  <a:lnTo>
                    <a:pt x="488" y="614"/>
                  </a:lnTo>
                  <a:lnTo>
                    <a:pt x="488" y="612"/>
                  </a:lnTo>
                  <a:lnTo>
                    <a:pt x="488" y="610"/>
                  </a:lnTo>
                  <a:lnTo>
                    <a:pt x="488" y="608"/>
                  </a:lnTo>
                  <a:lnTo>
                    <a:pt x="488" y="608"/>
                  </a:lnTo>
                  <a:lnTo>
                    <a:pt x="490" y="607"/>
                  </a:lnTo>
                  <a:lnTo>
                    <a:pt x="493" y="603"/>
                  </a:lnTo>
                  <a:lnTo>
                    <a:pt x="495" y="601"/>
                  </a:lnTo>
                  <a:lnTo>
                    <a:pt x="495" y="599"/>
                  </a:lnTo>
                  <a:lnTo>
                    <a:pt x="495" y="597"/>
                  </a:lnTo>
                  <a:lnTo>
                    <a:pt x="495" y="595"/>
                  </a:lnTo>
                  <a:lnTo>
                    <a:pt x="493" y="595"/>
                  </a:lnTo>
                  <a:lnTo>
                    <a:pt x="484" y="593"/>
                  </a:lnTo>
                  <a:lnTo>
                    <a:pt x="484" y="591"/>
                  </a:lnTo>
                  <a:lnTo>
                    <a:pt x="484" y="591"/>
                  </a:lnTo>
                  <a:lnTo>
                    <a:pt x="484" y="589"/>
                  </a:lnTo>
                  <a:lnTo>
                    <a:pt x="484" y="589"/>
                  </a:lnTo>
                  <a:lnTo>
                    <a:pt x="484" y="588"/>
                  </a:lnTo>
                  <a:lnTo>
                    <a:pt x="488" y="584"/>
                  </a:lnTo>
                  <a:lnTo>
                    <a:pt x="490" y="576"/>
                  </a:lnTo>
                  <a:lnTo>
                    <a:pt x="490" y="574"/>
                  </a:lnTo>
                  <a:lnTo>
                    <a:pt x="490" y="572"/>
                  </a:lnTo>
                  <a:lnTo>
                    <a:pt x="490" y="572"/>
                  </a:lnTo>
                  <a:lnTo>
                    <a:pt x="490" y="569"/>
                  </a:lnTo>
                  <a:lnTo>
                    <a:pt x="490" y="565"/>
                  </a:lnTo>
                  <a:lnTo>
                    <a:pt x="490" y="565"/>
                  </a:lnTo>
                  <a:lnTo>
                    <a:pt x="490" y="565"/>
                  </a:lnTo>
                  <a:lnTo>
                    <a:pt x="491" y="565"/>
                  </a:lnTo>
                  <a:lnTo>
                    <a:pt x="491" y="565"/>
                  </a:lnTo>
                  <a:lnTo>
                    <a:pt x="491" y="567"/>
                  </a:lnTo>
                  <a:lnTo>
                    <a:pt x="491" y="569"/>
                  </a:lnTo>
                  <a:lnTo>
                    <a:pt x="493" y="569"/>
                  </a:lnTo>
                  <a:lnTo>
                    <a:pt x="493" y="570"/>
                  </a:lnTo>
                  <a:lnTo>
                    <a:pt x="495" y="570"/>
                  </a:lnTo>
                  <a:lnTo>
                    <a:pt x="495" y="572"/>
                  </a:lnTo>
                  <a:lnTo>
                    <a:pt x="497" y="574"/>
                  </a:lnTo>
                  <a:lnTo>
                    <a:pt x="497" y="574"/>
                  </a:lnTo>
                  <a:lnTo>
                    <a:pt x="499" y="576"/>
                  </a:lnTo>
                  <a:lnTo>
                    <a:pt x="499" y="576"/>
                  </a:lnTo>
                  <a:lnTo>
                    <a:pt x="503" y="576"/>
                  </a:lnTo>
                  <a:lnTo>
                    <a:pt x="505" y="576"/>
                  </a:lnTo>
                  <a:lnTo>
                    <a:pt x="505" y="574"/>
                  </a:lnTo>
                  <a:lnTo>
                    <a:pt x="507" y="574"/>
                  </a:lnTo>
                  <a:lnTo>
                    <a:pt x="507" y="572"/>
                  </a:lnTo>
                  <a:lnTo>
                    <a:pt x="507" y="570"/>
                  </a:lnTo>
                  <a:lnTo>
                    <a:pt x="507" y="570"/>
                  </a:lnTo>
                  <a:lnTo>
                    <a:pt x="507" y="569"/>
                  </a:lnTo>
                  <a:lnTo>
                    <a:pt x="507" y="567"/>
                  </a:lnTo>
                  <a:lnTo>
                    <a:pt x="509" y="565"/>
                  </a:lnTo>
                  <a:lnTo>
                    <a:pt x="509" y="565"/>
                  </a:lnTo>
                  <a:lnTo>
                    <a:pt x="509" y="563"/>
                  </a:lnTo>
                  <a:lnTo>
                    <a:pt x="507" y="563"/>
                  </a:lnTo>
                  <a:lnTo>
                    <a:pt x="507" y="563"/>
                  </a:lnTo>
                  <a:lnTo>
                    <a:pt x="505" y="563"/>
                  </a:lnTo>
                  <a:lnTo>
                    <a:pt x="505" y="563"/>
                  </a:lnTo>
                  <a:lnTo>
                    <a:pt x="503" y="563"/>
                  </a:lnTo>
                  <a:lnTo>
                    <a:pt x="503" y="563"/>
                  </a:lnTo>
                  <a:lnTo>
                    <a:pt x="501" y="563"/>
                  </a:lnTo>
                  <a:lnTo>
                    <a:pt x="499" y="563"/>
                  </a:lnTo>
                  <a:lnTo>
                    <a:pt x="497" y="563"/>
                  </a:lnTo>
                  <a:lnTo>
                    <a:pt x="495" y="563"/>
                  </a:lnTo>
                  <a:lnTo>
                    <a:pt x="495" y="563"/>
                  </a:lnTo>
                  <a:lnTo>
                    <a:pt x="495" y="561"/>
                  </a:lnTo>
                  <a:lnTo>
                    <a:pt x="495" y="559"/>
                  </a:lnTo>
                  <a:lnTo>
                    <a:pt x="495" y="557"/>
                  </a:lnTo>
                  <a:lnTo>
                    <a:pt x="495" y="555"/>
                  </a:lnTo>
                  <a:lnTo>
                    <a:pt x="495" y="555"/>
                  </a:lnTo>
                  <a:lnTo>
                    <a:pt x="493" y="550"/>
                  </a:lnTo>
                  <a:lnTo>
                    <a:pt x="493" y="550"/>
                  </a:lnTo>
                  <a:lnTo>
                    <a:pt x="493" y="548"/>
                  </a:lnTo>
                  <a:lnTo>
                    <a:pt x="495" y="548"/>
                  </a:lnTo>
                  <a:lnTo>
                    <a:pt x="497" y="550"/>
                  </a:lnTo>
                  <a:lnTo>
                    <a:pt x="499" y="550"/>
                  </a:lnTo>
                  <a:lnTo>
                    <a:pt x="501" y="551"/>
                  </a:lnTo>
                  <a:lnTo>
                    <a:pt x="501" y="551"/>
                  </a:lnTo>
                  <a:lnTo>
                    <a:pt x="501" y="553"/>
                  </a:lnTo>
                  <a:lnTo>
                    <a:pt x="503" y="553"/>
                  </a:lnTo>
                  <a:lnTo>
                    <a:pt x="503" y="553"/>
                  </a:lnTo>
                  <a:lnTo>
                    <a:pt x="507" y="555"/>
                  </a:lnTo>
                  <a:lnTo>
                    <a:pt x="507" y="555"/>
                  </a:lnTo>
                  <a:lnTo>
                    <a:pt x="509" y="555"/>
                  </a:lnTo>
                  <a:lnTo>
                    <a:pt x="511" y="555"/>
                  </a:lnTo>
                  <a:lnTo>
                    <a:pt x="511" y="555"/>
                  </a:lnTo>
                  <a:lnTo>
                    <a:pt x="512" y="555"/>
                  </a:lnTo>
                  <a:lnTo>
                    <a:pt x="514" y="551"/>
                  </a:lnTo>
                  <a:lnTo>
                    <a:pt x="514" y="551"/>
                  </a:lnTo>
                  <a:lnTo>
                    <a:pt x="514" y="551"/>
                  </a:lnTo>
                  <a:lnTo>
                    <a:pt x="516" y="553"/>
                  </a:lnTo>
                  <a:lnTo>
                    <a:pt x="518" y="553"/>
                  </a:lnTo>
                  <a:lnTo>
                    <a:pt x="518" y="553"/>
                  </a:lnTo>
                  <a:lnTo>
                    <a:pt x="518" y="553"/>
                  </a:lnTo>
                  <a:lnTo>
                    <a:pt x="518" y="551"/>
                  </a:lnTo>
                  <a:lnTo>
                    <a:pt x="520" y="551"/>
                  </a:lnTo>
                  <a:lnTo>
                    <a:pt x="520" y="550"/>
                  </a:lnTo>
                  <a:lnTo>
                    <a:pt x="520" y="548"/>
                  </a:lnTo>
                  <a:lnTo>
                    <a:pt x="518" y="544"/>
                  </a:lnTo>
                  <a:lnTo>
                    <a:pt x="518" y="544"/>
                  </a:lnTo>
                  <a:lnTo>
                    <a:pt x="520" y="544"/>
                  </a:lnTo>
                  <a:lnTo>
                    <a:pt x="520" y="542"/>
                  </a:lnTo>
                  <a:lnTo>
                    <a:pt x="520" y="542"/>
                  </a:lnTo>
                  <a:lnTo>
                    <a:pt x="522" y="540"/>
                  </a:lnTo>
                  <a:lnTo>
                    <a:pt x="522" y="540"/>
                  </a:lnTo>
                  <a:lnTo>
                    <a:pt x="522" y="540"/>
                  </a:lnTo>
                  <a:lnTo>
                    <a:pt x="522" y="538"/>
                  </a:lnTo>
                  <a:lnTo>
                    <a:pt x="522" y="538"/>
                  </a:lnTo>
                  <a:lnTo>
                    <a:pt x="522" y="538"/>
                  </a:lnTo>
                  <a:lnTo>
                    <a:pt x="524" y="538"/>
                  </a:lnTo>
                  <a:lnTo>
                    <a:pt x="524" y="536"/>
                  </a:lnTo>
                  <a:lnTo>
                    <a:pt x="530" y="538"/>
                  </a:lnTo>
                  <a:lnTo>
                    <a:pt x="532" y="538"/>
                  </a:lnTo>
                  <a:lnTo>
                    <a:pt x="535" y="536"/>
                  </a:lnTo>
                  <a:lnTo>
                    <a:pt x="539" y="536"/>
                  </a:lnTo>
                  <a:lnTo>
                    <a:pt x="539" y="536"/>
                  </a:lnTo>
                  <a:lnTo>
                    <a:pt x="539" y="536"/>
                  </a:lnTo>
                  <a:lnTo>
                    <a:pt x="541" y="536"/>
                  </a:lnTo>
                  <a:lnTo>
                    <a:pt x="541" y="536"/>
                  </a:lnTo>
                  <a:lnTo>
                    <a:pt x="539" y="538"/>
                  </a:lnTo>
                  <a:lnTo>
                    <a:pt x="539" y="538"/>
                  </a:lnTo>
                  <a:lnTo>
                    <a:pt x="537" y="542"/>
                  </a:lnTo>
                  <a:lnTo>
                    <a:pt x="537" y="544"/>
                  </a:lnTo>
                  <a:lnTo>
                    <a:pt x="537" y="544"/>
                  </a:lnTo>
                  <a:lnTo>
                    <a:pt x="537" y="544"/>
                  </a:lnTo>
                  <a:lnTo>
                    <a:pt x="539" y="546"/>
                  </a:lnTo>
                  <a:lnTo>
                    <a:pt x="539" y="548"/>
                  </a:lnTo>
                  <a:lnTo>
                    <a:pt x="539" y="548"/>
                  </a:lnTo>
                  <a:lnTo>
                    <a:pt x="539" y="550"/>
                  </a:lnTo>
                  <a:lnTo>
                    <a:pt x="539" y="550"/>
                  </a:lnTo>
                  <a:lnTo>
                    <a:pt x="537" y="550"/>
                  </a:lnTo>
                  <a:lnTo>
                    <a:pt x="537" y="550"/>
                  </a:lnTo>
                  <a:lnTo>
                    <a:pt x="535" y="548"/>
                  </a:lnTo>
                  <a:lnTo>
                    <a:pt x="533" y="548"/>
                  </a:lnTo>
                  <a:lnTo>
                    <a:pt x="533" y="548"/>
                  </a:lnTo>
                  <a:lnTo>
                    <a:pt x="533" y="548"/>
                  </a:lnTo>
                  <a:lnTo>
                    <a:pt x="533" y="550"/>
                  </a:lnTo>
                  <a:lnTo>
                    <a:pt x="533" y="550"/>
                  </a:lnTo>
                  <a:lnTo>
                    <a:pt x="533" y="551"/>
                  </a:lnTo>
                  <a:lnTo>
                    <a:pt x="533" y="551"/>
                  </a:lnTo>
                  <a:lnTo>
                    <a:pt x="535" y="553"/>
                  </a:lnTo>
                  <a:lnTo>
                    <a:pt x="537" y="553"/>
                  </a:lnTo>
                  <a:lnTo>
                    <a:pt x="539" y="553"/>
                  </a:lnTo>
                  <a:lnTo>
                    <a:pt x="543" y="553"/>
                  </a:lnTo>
                  <a:lnTo>
                    <a:pt x="547" y="551"/>
                  </a:lnTo>
                  <a:lnTo>
                    <a:pt x="547" y="551"/>
                  </a:lnTo>
                  <a:lnTo>
                    <a:pt x="547" y="551"/>
                  </a:lnTo>
                  <a:lnTo>
                    <a:pt x="549" y="551"/>
                  </a:lnTo>
                  <a:lnTo>
                    <a:pt x="547" y="553"/>
                  </a:lnTo>
                  <a:lnTo>
                    <a:pt x="547" y="553"/>
                  </a:lnTo>
                  <a:lnTo>
                    <a:pt x="547" y="555"/>
                  </a:lnTo>
                  <a:lnTo>
                    <a:pt x="545" y="555"/>
                  </a:lnTo>
                  <a:lnTo>
                    <a:pt x="545" y="557"/>
                  </a:lnTo>
                  <a:lnTo>
                    <a:pt x="543" y="557"/>
                  </a:lnTo>
                  <a:lnTo>
                    <a:pt x="541" y="557"/>
                  </a:lnTo>
                  <a:lnTo>
                    <a:pt x="539" y="557"/>
                  </a:lnTo>
                  <a:lnTo>
                    <a:pt x="537" y="557"/>
                  </a:lnTo>
                  <a:lnTo>
                    <a:pt x="535" y="557"/>
                  </a:lnTo>
                  <a:lnTo>
                    <a:pt x="535" y="557"/>
                  </a:lnTo>
                  <a:lnTo>
                    <a:pt x="533" y="557"/>
                  </a:lnTo>
                  <a:lnTo>
                    <a:pt x="532" y="555"/>
                  </a:lnTo>
                  <a:lnTo>
                    <a:pt x="530" y="553"/>
                  </a:lnTo>
                  <a:lnTo>
                    <a:pt x="530" y="553"/>
                  </a:lnTo>
                  <a:lnTo>
                    <a:pt x="528" y="551"/>
                  </a:lnTo>
                  <a:lnTo>
                    <a:pt x="528" y="553"/>
                  </a:lnTo>
                  <a:lnTo>
                    <a:pt x="528" y="553"/>
                  </a:lnTo>
                  <a:lnTo>
                    <a:pt x="528" y="553"/>
                  </a:lnTo>
                  <a:lnTo>
                    <a:pt x="528" y="555"/>
                  </a:lnTo>
                  <a:lnTo>
                    <a:pt x="530" y="557"/>
                  </a:lnTo>
                  <a:lnTo>
                    <a:pt x="530" y="559"/>
                  </a:lnTo>
                  <a:lnTo>
                    <a:pt x="530" y="559"/>
                  </a:lnTo>
                  <a:lnTo>
                    <a:pt x="530" y="561"/>
                  </a:lnTo>
                  <a:lnTo>
                    <a:pt x="530" y="561"/>
                  </a:lnTo>
                  <a:lnTo>
                    <a:pt x="528" y="563"/>
                  </a:lnTo>
                  <a:lnTo>
                    <a:pt x="526" y="565"/>
                  </a:lnTo>
                  <a:lnTo>
                    <a:pt x="526" y="567"/>
                  </a:lnTo>
                  <a:lnTo>
                    <a:pt x="526" y="567"/>
                  </a:lnTo>
                  <a:lnTo>
                    <a:pt x="528" y="569"/>
                  </a:lnTo>
                  <a:lnTo>
                    <a:pt x="528" y="569"/>
                  </a:lnTo>
                  <a:lnTo>
                    <a:pt x="530" y="570"/>
                  </a:lnTo>
                  <a:lnTo>
                    <a:pt x="532" y="570"/>
                  </a:lnTo>
                  <a:lnTo>
                    <a:pt x="533" y="570"/>
                  </a:lnTo>
                  <a:lnTo>
                    <a:pt x="535" y="570"/>
                  </a:lnTo>
                  <a:lnTo>
                    <a:pt x="539" y="570"/>
                  </a:lnTo>
                  <a:lnTo>
                    <a:pt x="541" y="570"/>
                  </a:lnTo>
                  <a:lnTo>
                    <a:pt x="547" y="572"/>
                  </a:lnTo>
                  <a:lnTo>
                    <a:pt x="549" y="572"/>
                  </a:lnTo>
                  <a:lnTo>
                    <a:pt x="552" y="572"/>
                  </a:lnTo>
                  <a:lnTo>
                    <a:pt x="560" y="569"/>
                  </a:lnTo>
                  <a:lnTo>
                    <a:pt x="566" y="569"/>
                  </a:lnTo>
                  <a:lnTo>
                    <a:pt x="570" y="569"/>
                  </a:lnTo>
                  <a:lnTo>
                    <a:pt x="577" y="565"/>
                  </a:lnTo>
                  <a:lnTo>
                    <a:pt x="577" y="565"/>
                  </a:lnTo>
                  <a:lnTo>
                    <a:pt x="579" y="565"/>
                  </a:lnTo>
                  <a:lnTo>
                    <a:pt x="581" y="565"/>
                  </a:lnTo>
                  <a:lnTo>
                    <a:pt x="581" y="565"/>
                  </a:lnTo>
                  <a:lnTo>
                    <a:pt x="583" y="567"/>
                  </a:lnTo>
                  <a:lnTo>
                    <a:pt x="585" y="570"/>
                  </a:lnTo>
                  <a:lnTo>
                    <a:pt x="585" y="572"/>
                  </a:lnTo>
                  <a:lnTo>
                    <a:pt x="585" y="574"/>
                  </a:lnTo>
                  <a:lnTo>
                    <a:pt x="585" y="574"/>
                  </a:lnTo>
                  <a:lnTo>
                    <a:pt x="585" y="576"/>
                  </a:lnTo>
                  <a:lnTo>
                    <a:pt x="587" y="576"/>
                  </a:lnTo>
                  <a:lnTo>
                    <a:pt x="589" y="578"/>
                  </a:lnTo>
                  <a:lnTo>
                    <a:pt x="591" y="582"/>
                  </a:lnTo>
                  <a:lnTo>
                    <a:pt x="591" y="591"/>
                  </a:lnTo>
                  <a:lnTo>
                    <a:pt x="591" y="591"/>
                  </a:lnTo>
                  <a:lnTo>
                    <a:pt x="591" y="593"/>
                  </a:lnTo>
                  <a:lnTo>
                    <a:pt x="591" y="593"/>
                  </a:lnTo>
                  <a:lnTo>
                    <a:pt x="591" y="595"/>
                  </a:lnTo>
                  <a:lnTo>
                    <a:pt x="589" y="595"/>
                  </a:lnTo>
                  <a:lnTo>
                    <a:pt x="587" y="595"/>
                  </a:lnTo>
                  <a:lnTo>
                    <a:pt x="587" y="595"/>
                  </a:lnTo>
                  <a:lnTo>
                    <a:pt x="583" y="593"/>
                  </a:lnTo>
                  <a:lnTo>
                    <a:pt x="581" y="593"/>
                  </a:lnTo>
                  <a:lnTo>
                    <a:pt x="581" y="593"/>
                  </a:lnTo>
                  <a:lnTo>
                    <a:pt x="579" y="593"/>
                  </a:lnTo>
                  <a:lnTo>
                    <a:pt x="579" y="595"/>
                  </a:lnTo>
                  <a:lnTo>
                    <a:pt x="577" y="599"/>
                  </a:lnTo>
                  <a:lnTo>
                    <a:pt x="577" y="601"/>
                  </a:lnTo>
                  <a:lnTo>
                    <a:pt x="579" y="601"/>
                  </a:lnTo>
                  <a:lnTo>
                    <a:pt x="579" y="603"/>
                  </a:lnTo>
                  <a:lnTo>
                    <a:pt x="579" y="607"/>
                  </a:lnTo>
                  <a:lnTo>
                    <a:pt x="579" y="608"/>
                  </a:lnTo>
                  <a:lnTo>
                    <a:pt x="581" y="608"/>
                  </a:lnTo>
                  <a:lnTo>
                    <a:pt x="581" y="610"/>
                  </a:lnTo>
                  <a:lnTo>
                    <a:pt x="583" y="610"/>
                  </a:lnTo>
                  <a:lnTo>
                    <a:pt x="583" y="610"/>
                  </a:lnTo>
                  <a:lnTo>
                    <a:pt x="583" y="610"/>
                  </a:lnTo>
                  <a:lnTo>
                    <a:pt x="585" y="612"/>
                  </a:lnTo>
                  <a:lnTo>
                    <a:pt x="585" y="614"/>
                  </a:lnTo>
                  <a:lnTo>
                    <a:pt x="585" y="616"/>
                  </a:lnTo>
                  <a:lnTo>
                    <a:pt x="583" y="618"/>
                  </a:lnTo>
                  <a:lnTo>
                    <a:pt x="581" y="622"/>
                  </a:lnTo>
                  <a:lnTo>
                    <a:pt x="579" y="624"/>
                  </a:lnTo>
                  <a:lnTo>
                    <a:pt x="579" y="626"/>
                  </a:lnTo>
                  <a:lnTo>
                    <a:pt x="579" y="627"/>
                  </a:lnTo>
                  <a:lnTo>
                    <a:pt x="581" y="629"/>
                  </a:lnTo>
                  <a:lnTo>
                    <a:pt x="585" y="631"/>
                  </a:lnTo>
                  <a:lnTo>
                    <a:pt x="585" y="631"/>
                  </a:lnTo>
                  <a:lnTo>
                    <a:pt x="585" y="633"/>
                  </a:lnTo>
                  <a:lnTo>
                    <a:pt x="583" y="635"/>
                  </a:lnTo>
                  <a:lnTo>
                    <a:pt x="581" y="637"/>
                  </a:lnTo>
                  <a:lnTo>
                    <a:pt x="579" y="639"/>
                  </a:lnTo>
                  <a:lnTo>
                    <a:pt x="579" y="641"/>
                  </a:lnTo>
                  <a:lnTo>
                    <a:pt x="579" y="643"/>
                  </a:lnTo>
                  <a:lnTo>
                    <a:pt x="577" y="643"/>
                  </a:lnTo>
                  <a:lnTo>
                    <a:pt x="577" y="643"/>
                  </a:lnTo>
                  <a:lnTo>
                    <a:pt x="577" y="643"/>
                  </a:lnTo>
                  <a:lnTo>
                    <a:pt x="575" y="643"/>
                  </a:lnTo>
                  <a:lnTo>
                    <a:pt x="573" y="641"/>
                  </a:lnTo>
                  <a:lnTo>
                    <a:pt x="573" y="641"/>
                  </a:lnTo>
                  <a:lnTo>
                    <a:pt x="572" y="641"/>
                  </a:lnTo>
                  <a:lnTo>
                    <a:pt x="570" y="643"/>
                  </a:lnTo>
                  <a:lnTo>
                    <a:pt x="570" y="643"/>
                  </a:lnTo>
                  <a:lnTo>
                    <a:pt x="568" y="643"/>
                  </a:lnTo>
                  <a:lnTo>
                    <a:pt x="566" y="643"/>
                  </a:lnTo>
                  <a:lnTo>
                    <a:pt x="566" y="643"/>
                  </a:lnTo>
                  <a:lnTo>
                    <a:pt x="564" y="641"/>
                  </a:lnTo>
                  <a:lnTo>
                    <a:pt x="564" y="641"/>
                  </a:lnTo>
                  <a:lnTo>
                    <a:pt x="562" y="641"/>
                  </a:lnTo>
                  <a:lnTo>
                    <a:pt x="560" y="639"/>
                  </a:lnTo>
                  <a:lnTo>
                    <a:pt x="560" y="639"/>
                  </a:lnTo>
                  <a:lnTo>
                    <a:pt x="558" y="639"/>
                  </a:lnTo>
                  <a:lnTo>
                    <a:pt x="558" y="639"/>
                  </a:lnTo>
                  <a:lnTo>
                    <a:pt x="558" y="639"/>
                  </a:lnTo>
                  <a:lnTo>
                    <a:pt x="556" y="641"/>
                  </a:lnTo>
                  <a:lnTo>
                    <a:pt x="554" y="645"/>
                  </a:lnTo>
                  <a:lnTo>
                    <a:pt x="554" y="645"/>
                  </a:lnTo>
                  <a:lnTo>
                    <a:pt x="556" y="648"/>
                  </a:lnTo>
                  <a:lnTo>
                    <a:pt x="556" y="650"/>
                  </a:lnTo>
                  <a:lnTo>
                    <a:pt x="556" y="652"/>
                  </a:lnTo>
                  <a:lnTo>
                    <a:pt x="558" y="652"/>
                  </a:lnTo>
                  <a:lnTo>
                    <a:pt x="564" y="656"/>
                  </a:lnTo>
                  <a:lnTo>
                    <a:pt x="564" y="656"/>
                  </a:lnTo>
                  <a:lnTo>
                    <a:pt x="564" y="658"/>
                  </a:lnTo>
                  <a:lnTo>
                    <a:pt x="564" y="660"/>
                  </a:lnTo>
                  <a:lnTo>
                    <a:pt x="566" y="662"/>
                  </a:lnTo>
                  <a:lnTo>
                    <a:pt x="570" y="662"/>
                  </a:lnTo>
                  <a:lnTo>
                    <a:pt x="570" y="662"/>
                  </a:lnTo>
                  <a:lnTo>
                    <a:pt x="572" y="662"/>
                  </a:lnTo>
                  <a:lnTo>
                    <a:pt x="573" y="664"/>
                  </a:lnTo>
                  <a:lnTo>
                    <a:pt x="573" y="664"/>
                  </a:lnTo>
                  <a:lnTo>
                    <a:pt x="575" y="664"/>
                  </a:lnTo>
                  <a:lnTo>
                    <a:pt x="575" y="664"/>
                  </a:lnTo>
                  <a:lnTo>
                    <a:pt x="575" y="662"/>
                  </a:lnTo>
                  <a:lnTo>
                    <a:pt x="575" y="662"/>
                  </a:lnTo>
                  <a:lnTo>
                    <a:pt x="575" y="660"/>
                  </a:lnTo>
                  <a:lnTo>
                    <a:pt x="577" y="658"/>
                  </a:lnTo>
                  <a:lnTo>
                    <a:pt x="577" y="656"/>
                  </a:lnTo>
                  <a:lnTo>
                    <a:pt x="577" y="656"/>
                  </a:lnTo>
                  <a:lnTo>
                    <a:pt x="577" y="652"/>
                  </a:lnTo>
                  <a:lnTo>
                    <a:pt x="577" y="652"/>
                  </a:lnTo>
                  <a:lnTo>
                    <a:pt x="577" y="652"/>
                  </a:lnTo>
                  <a:lnTo>
                    <a:pt x="577" y="652"/>
                  </a:lnTo>
                  <a:lnTo>
                    <a:pt x="579" y="652"/>
                  </a:lnTo>
                  <a:lnTo>
                    <a:pt x="579" y="652"/>
                  </a:lnTo>
                  <a:lnTo>
                    <a:pt x="581" y="652"/>
                  </a:lnTo>
                  <a:lnTo>
                    <a:pt x="581" y="654"/>
                  </a:lnTo>
                  <a:lnTo>
                    <a:pt x="581" y="654"/>
                  </a:lnTo>
                  <a:lnTo>
                    <a:pt x="583" y="654"/>
                  </a:lnTo>
                  <a:lnTo>
                    <a:pt x="585" y="654"/>
                  </a:lnTo>
                  <a:lnTo>
                    <a:pt x="589" y="652"/>
                  </a:lnTo>
                  <a:lnTo>
                    <a:pt x="592" y="650"/>
                  </a:lnTo>
                  <a:lnTo>
                    <a:pt x="600" y="647"/>
                  </a:lnTo>
                  <a:lnTo>
                    <a:pt x="602" y="647"/>
                  </a:lnTo>
                  <a:lnTo>
                    <a:pt x="602" y="645"/>
                  </a:lnTo>
                  <a:lnTo>
                    <a:pt x="602" y="645"/>
                  </a:lnTo>
                  <a:lnTo>
                    <a:pt x="602" y="643"/>
                  </a:lnTo>
                  <a:lnTo>
                    <a:pt x="602" y="643"/>
                  </a:lnTo>
                  <a:lnTo>
                    <a:pt x="602" y="643"/>
                  </a:lnTo>
                  <a:lnTo>
                    <a:pt x="602" y="643"/>
                  </a:lnTo>
                  <a:lnTo>
                    <a:pt x="602" y="641"/>
                  </a:lnTo>
                  <a:lnTo>
                    <a:pt x="600" y="641"/>
                  </a:lnTo>
                  <a:lnTo>
                    <a:pt x="602" y="639"/>
                  </a:lnTo>
                  <a:lnTo>
                    <a:pt x="602" y="637"/>
                  </a:lnTo>
                  <a:lnTo>
                    <a:pt x="610" y="633"/>
                  </a:lnTo>
                  <a:lnTo>
                    <a:pt x="613" y="629"/>
                  </a:lnTo>
                  <a:lnTo>
                    <a:pt x="613" y="627"/>
                  </a:lnTo>
                  <a:lnTo>
                    <a:pt x="613" y="627"/>
                  </a:lnTo>
                  <a:lnTo>
                    <a:pt x="613" y="624"/>
                  </a:lnTo>
                  <a:lnTo>
                    <a:pt x="613" y="624"/>
                  </a:lnTo>
                  <a:lnTo>
                    <a:pt x="613" y="620"/>
                  </a:lnTo>
                  <a:lnTo>
                    <a:pt x="613" y="618"/>
                  </a:lnTo>
                  <a:lnTo>
                    <a:pt x="613" y="616"/>
                  </a:lnTo>
                  <a:lnTo>
                    <a:pt x="613" y="614"/>
                  </a:lnTo>
                  <a:lnTo>
                    <a:pt x="613" y="612"/>
                  </a:lnTo>
                  <a:lnTo>
                    <a:pt x="613" y="610"/>
                  </a:lnTo>
                  <a:lnTo>
                    <a:pt x="615" y="610"/>
                  </a:lnTo>
                  <a:lnTo>
                    <a:pt x="615" y="608"/>
                  </a:lnTo>
                  <a:lnTo>
                    <a:pt x="617" y="608"/>
                  </a:lnTo>
                  <a:lnTo>
                    <a:pt x="619" y="607"/>
                  </a:lnTo>
                  <a:lnTo>
                    <a:pt x="619" y="607"/>
                  </a:lnTo>
                  <a:lnTo>
                    <a:pt x="619" y="607"/>
                  </a:lnTo>
                  <a:lnTo>
                    <a:pt x="621" y="608"/>
                  </a:lnTo>
                  <a:lnTo>
                    <a:pt x="621" y="608"/>
                  </a:lnTo>
                  <a:lnTo>
                    <a:pt x="619" y="610"/>
                  </a:lnTo>
                  <a:lnTo>
                    <a:pt x="619" y="610"/>
                  </a:lnTo>
                  <a:lnTo>
                    <a:pt x="619" y="612"/>
                  </a:lnTo>
                  <a:lnTo>
                    <a:pt x="621" y="612"/>
                  </a:lnTo>
                  <a:lnTo>
                    <a:pt x="621" y="614"/>
                  </a:lnTo>
                  <a:lnTo>
                    <a:pt x="623" y="614"/>
                  </a:lnTo>
                  <a:lnTo>
                    <a:pt x="623" y="614"/>
                  </a:lnTo>
                  <a:lnTo>
                    <a:pt x="627" y="614"/>
                  </a:lnTo>
                  <a:lnTo>
                    <a:pt x="629" y="614"/>
                  </a:lnTo>
                  <a:lnTo>
                    <a:pt x="631" y="614"/>
                  </a:lnTo>
                  <a:lnTo>
                    <a:pt x="636" y="616"/>
                  </a:lnTo>
                  <a:lnTo>
                    <a:pt x="638" y="616"/>
                  </a:lnTo>
                  <a:lnTo>
                    <a:pt x="640" y="616"/>
                  </a:lnTo>
                  <a:lnTo>
                    <a:pt x="644" y="616"/>
                  </a:lnTo>
                  <a:lnTo>
                    <a:pt x="646" y="616"/>
                  </a:lnTo>
                  <a:lnTo>
                    <a:pt x="646" y="618"/>
                  </a:lnTo>
                  <a:lnTo>
                    <a:pt x="648" y="618"/>
                  </a:lnTo>
                  <a:lnTo>
                    <a:pt x="648" y="620"/>
                  </a:lnTo>
                  <a:lnTo>
                    <a:pt x="648" y="622"/>
                  </a:lnTo>
                  <a:lnTo>
                    <a:pt x="650" y="622"/>
                  </a:lnTo>
                  <a:lnTo>
                    <a:pt x="650" y="622"/>
                  </a:lnTo>
                  <a:lnTo>
                    <a:pt x="652" y="622"/>
                  </a:lnTo>
                  <a:lnTo>
                    <a:pt x="653" y="622"/>
                  </a:lnTo>
                  <a:lnTo>
                    <a:pt x="653" y="620"/>
                  </a:lnTo>
                  <a:lnTo>
                    <a:pt x="653" y="620"/>
                  </a:lnTo>
                  <a:lnTo>
                    <a:pt x="655" y="616"/>
                  </a:lnTo>
                  <a:lnTo>
                    <a:pt x="655" y="616"/>
                  </a:lnTo>
                  <a:lnTo>
                    <a:pt x="655" y="614"/>
                  </a:lnTo>
                  <a:lnTo>
                    <a:pt x="657" y="614"/>
                  </a:lnTo>
                  <a:lnTo>
                    <a:pt x="659" y="612"/>
                  </a:lnTo>
                  <a:lnTo>
                    <a:pt x="663" y="612"/>
                  </a:lnTo>
                  <a:lnTo>
                    <a:pt x="663" y="612"/>
                  </a:lnTo>
                  <a:lnTo>
                    <a:pt x="665" y="612"/>
                  </a:lnTo>
                  <a:lnTo>
                    <a:pt x="665" y="612"/>
                  </a:lnTo>
                  <a:lnTo>
                    <a:pt x="665" y="614"/>
                  </a:lnTo>
                  <a:lnTo>
                    <a:pt x="665" y="616"/>
                  </a:lnTo>
                  <a:lnTo>
                    <a:pt x="663" y="616"/>
                  </a:lnTo>
                  <a:lnTo>
                    <a:pt x="663" y="618"/>
                  </a:lnTo>
                  <a:lnTo>
                    <a:pt x="663" y="618"/>
                  </a:lnTo>
                  <a:lnTo>
                    <a:pt x="663" y="620"/>
                  </a:lnTo>
                  <a:lnTo>
                    <a:pt x="665" y="620"/>
                  </a:lnTo>
                  <a:lnTo>
                    <a:pt x="669" y="624"/>
                  </a:lnTo>
                  <a:lnTo>
                    <a:pt x="671" y="626"/>
                  </a:lnTo>
                  <a:lnTo>
                    <a:pt x="673" y="627"/>
                  </a:lnTo>
                  <a:lnTo>
                    <a:pt x="676" y="627"/>
                  </a:lnTo>
                  <a:lnTo>
                    <a:pt x="678" y="626"/>
                  </a:lnTo>
                  <a:lnTo>
                    <a:pt x="678" y="626"/>
                  </a:lnTo>
                  <a:lnTo>
                    <a:pt x="678" y="626"/>
                  </a:lnTo>
                  <a:lnTo>
                    <a:pt x="680" y="626"/>
                  </a:lnTo>
                  <a:lnTo>
                    <a:pt x="682" y="626"/>
                  </a:lnTo>
                  <a:lnTo>
                    <a:pt x="682" y="626"/>
                  </a:lnTo>
                  <a:lnTo>
                    <a:pt x="682" y="624"/>
                  </a:lnTo>
                  <a:lnTo>
                    <a:pt x="684" y="624"/>
                  </a:lnTo>
                  <a:lnTo>
                    <a:pt x="684" y="622"/>
                  </a:lnTo>
                  <a:lnTo>
                    <a:pt x="684" y="622"/>
                  </a:lnTo>
                  <a:lnTo>
                    <a:pt x="684" y="620"/>
                  </a:lnTo>
                  <a:lnTo>
                    <a:pt x="686" y="620"/>
                  </a:lnTo>
                  <a:lnTo>
                    <a:pt x="684" y="618"/>
                  </a:lnTo>
                  <a:lnTo>
                    <a:pt x="684" y="616"/>
                  </a:lnTo>
                  <a:lnTo>
                    <a:pt x="680" y="610"/>
                  </a:lnTo>
                  <a:lnTo>
                    <a:pt x="678" y="608"/>
                  </a:lnTo>
                  <a:lnTo>
                    <a:pt x="678" y="607"/>
                  </a:lnTo>
                  <a:lnTo>
                    <a:pt x="678" y="599"/>
                  </a:lnTo>
                  <a:lnTo>
                    <a:pt x="676" y="597"/>
                  </a:lnTo>
                  <a:lnTo>
                    <a:pt x="676" y="597"/>
                  </a:lnTo>
                  <a:lnTo>
                    <a:pt x="676" y="595"/>
                  </a:lnTo>
                  <a:lnTo>
                    <a:pt x="676" y="595"/>
                  </a:lnTo>
                  <a:lnTo>
                    <a:pt x="678" y="591"/>
                  </a:lnTo>
                  <a:lnTo>
                    <a:pt x="678" y="591"/>
                  </a:lnTo>
                  <a:lnTo>
                    <a:pt x="678" y="591"/>
                  </a:lnTo>
                  <a:lnTo>
                    <a:pt x="678" y="589"/>
                  </a:lnTo>
                  <a:lnTo>
                    <a:pt x="676" y="588"/>
                  </a:lnTo>
                  <a:lnTo>
                    <a:pt x="676" y="586"/>
                  </a:lnTo>
                  <a:lnTo>
                    <a:pt x="678" y="586"/>
                  </a:lnTo>
                  <a:lnTo>
                    <a:pt x="678" y="584"/>
                  </a:lnTo>
                  <a:lnTo>
                    <a:pt x="678" y="584"/>
                  </a:lnTo>
                  <a:lnTo>
                    <a:pt x="680" y="586"/>
                  </a:lnTo>
                  <a:lnTo>
                    <a:pt x="680" y="586"/>
                  </a:lnTo>
                  <a:lnTo>
                    <a:pt x="680" y="586"/>
                  </a:lnTo>
                  <a:lnTo>
                    <a:pt x="682" y="586"/>
                  </a:lnTo>
                  <a:lnTo>
                    <a:pt x="682" y="586"/>
                  </a:lnTo>
                  <a:lnTo>
                    <a:pt x="684" y="586"/>
                  </a:lnTo>
                  <a:lnTo>
                    <a:pt x="684" y="586"/>
                  </a:lnTo>
                  <a:lnTo>
                    <a:pt x="684" y="588"/>
                  </a:lnTo>
                  <a:lnTo>
                    <a:pt x="684" y="588"/>
                  </a:lnTo>
                  <a:lnTo>
                    <a:pt x="686" y="589"/>
                  </a:lnTo>
                  <a:lnTo>
                    <a:pt x="686" y="589"/>
                  </a:lnTo>
                  <a:lnTo>
                    <a:pt x="686" y="589"/>
                  </a:lnTo>
                  <a:lnTo>
                    <a:pt x="686" y="591"/>
                  </a:lnTo>
                  <a:lnTo>
                    <a:pt x="686" y="593"/>
                  </a:lnTo>
                  <a:lnTo>
                    <a:pt x="686" y="593"/>
                  </a:lnTo>
                  <a:lnTo>
                    <a:pt x="686" y="593"/>
                  </a:lnTo>
                  <a:lnTo>
                    <a:pt x="686" y="593"/>
                  </a:lnTo>
                  <a:lnTo>
                    <a:pt x="688" y="593"/>
                  </a:lnTo>
                  <a:lnTo>
                    <a:pt x="690" y="593"/>
                  </a:lnTo>
                  <a:lnTo>
                    <a:pt x="690" y="593"/>
                  </a:lnTo>
                  <a:lnTo>
                    <a:pt x="697" y="588"/>
                  </a:lnTo>
                  <a:lnTo>
                    <a:pt x="699" y="588"/>
                  </a:lnTo>
                  <a:lnTo>
                    <a:pt x="699" y="588"/>
                  </a:lnTo>
                  <a:lnTo>
                    <a:pt x="701" y="586"/>
                  </a:lnTo>
                  <a:lnTo>
                    <a:pt x="701" y="584"/>
                  </a:lnTo>
                  <a:lnTo>
                    <a:pt x="701" y="582"/>
                  </a:lnTo>
                  <a:lnTo>
                    <a:pt x="699" y="578"/>
                  </a:lnTo>
                  <a:lnTo>
                    <a:pt x="699" y="574"/>
                  </a:lnTo>
                  <a:lnTo>
                    <a:pt x="697" y="574"/>
                  </a:lnTo>
                  <a:lnTo>
                    <a:pt x="695" y="572"/>
                  </a:lnTo>
                  <a:lnTo>
                    <a:pt x="692" y="569"/>
                  </a:lnTo>
                  <a:lnTo>
                    <a:pt x="692" y="569"/>
                  </a:lnTo>
                  <a:lnTo>
                    <a:pt x="690" y="569"/>
                  </a:lnTo>
                  <a:lnTo>
                    <a:pt x="690" y="569"/>
                  </a:lnTo>
                  <a:lnTo>
                    <a:pt x="688" y="569"/>
                  </a:lnTo>
                  <a:lnTo>
                    <a:pt x="688" y="569"/>
                  </a:lnTo>
                  <a:lnTo>
                    <a:pt x="684" y="569"/>
                  </a:lnTo>
                  <a:lnTo>
                    <a:pt x="680" y="567"/>
                  </a:lnTo>
                  <a:lnTo>
                    <a:pt x="676" y="561"/>
                  </a:lnTo>
                  <a:lnTo>
                    <a:pt x="674" y="559"/>
                  </a:lnTo>
                  <a:lnTo>
                    <a:pt x="674" y="559"/>
                  </a:lnTo>
                  <a:lnTo>
                    <a:pt x="674" y="557"/>
                  </a:lnTo>
                  <a:lnTo>
                    <a:pt x="676" y="557"/>
                  </a:lnTo>
                  <a:lnTo>
                    <a:pt x="676" y="557"/>
                  </a:lnTo>
                  <a:lnTo>
                    <a:pt x="676" y="557"/>
                  </a:lnTo>
                  <a:lnTo>
                    <a:pt x="678" y="555"/>
                  </a:lnTo>
                  <a:lnTo>
                    <a:pt x="680" y="555"/>
                  </a:lnTo>
                  <a:lnTo>
                    <a:pt x="682" y="555"/>
                  </a:lnTo>
                  <a:lnTo>
                    <a:pt x="682" y="555"/>
                  </a:lnTo>
                  <a:lnTo>
                    <a:pt x="684" y="553"/>
                  </a:lnTo>
                  <a:lnTo>
                    <a:pt x="684" y="553"/>
                  </a:lnTo>
                  <a:lnTo>
                    <a:pt x="684" y="551"/>
                  </a:lnTo>
                  <a:lnTo>
                    <a:pt x="684" y="550"/>
                  </a:lnTo>
                  <a:lnTo>
                    <a:pt x="684" y="548"/>
                  </a:lnTo>
                  <a:lnTo>
                    <a:pt x="682" y="546"/>
                  </a:lnTo>
                  <a:lnTo>
                    <a:pt x="680" y="542"/>
                  </a:lnTo>
                  <a:lnTo>
                    <a:pt x="680" y="542"/>
                  </a:lnTo>
                  <a:lnTo>
                    <a:pt x="680" y="542"/>
                  </a:lnTo>
                  <a:lnTo>
                    <a:pt x="680" y="542"/>
                  </a:lnTo>
                  <a:lnTo>
                    <a:pt x="680" y="540"/>
                  </a:lnTo>
                  <a:lnTo>
                    <a:pt x="682" y="540"/>
                  </a:lnTo>
                  <a:lnTo>
                    <a:pt x="682" y="538"/>
                  </a:lnTo>
                  <a:lnTo>
                    <a:pt x="682" y="538"/>
                  </a:lnTo>
                  <a:lnTo>
                    <a:pt x="684" y="536"/>
                  </a:lnTo>
                  <a:lnTo>
                    <a:pt x="688" y="536"/>
                  </a:lnTo>
                  <a:lnTo>
                    <a:pt x="695" y="532"/>
                  </a:lnTo>
                  <a:lnTo>
                    <a:pt x="695" y="532"/>
                  </a:lnTo>
                  <a:lnTo>
                    <a:pt x="697" y="532"/>
                  </a:lnTo>
                  <a:lnTo>
                    <a:pt x="699" y="532"/>
                  </a:lnTo>
                  <a:lnTo>
                    <a:pt x="703" y="532"/>
                  </a:lnTo>
                  <a:lnTo>
                    <a:pt x="713" y="529"/>
                  </a:lnTo>
                  <a:lnTo>
                    <a:pt x="713" y="529"/>
                  </a:lnTo>
                  <a:lnTo>
                    <a:pt x="714" y="529"/>
                  </a:lnTo>
                  <a:lnTo>
                    <a:pt x="716" y="529"/>
                  </a:lnTo>
                  <a:lnTo>
                    <a:pt x="718" y="529"/>
                  </a:lnTo>
                  <a:lnTo>
                    <a:pt x="720" y="529"/>
                  </a:lnTo>
                  <a:lnTo>
                    <a:pt x="720" y="529"/>
                  </a:lnTo>
                  <a:lnTo>
                    <a:pt x="722" y="530"/>
                  </a:lnTo>
                  <a:lnTo>
                    <a:pt x="724" y="530"/>
                  </a:lnTo>
                  <a:lnTo>
                    <a:pt x="726" y="530"/>
                  </a:lnTo>
                  <a:lnTo>
                    <a:pt x="726" y="530"/>
                  </a:lnTo>
                  <a:lnTo>
                    <a:pt x="728" y="529"/>
                  </a:lnTo>
                  <a:lnTo>
                    <a:pt x="728" y="529"/>
                  </a:lnTo>
                  <a:lnTo>
                    <a:pt x="728" y="529"/>
                  </a:lnTo>
                  <a:lnTo>
                    <a:pt x="728" y="529"/>
                  </a:lnTo>
                  <a:lnTo>
                    <a:pt x="730" y="527"/>
                  </a:lnTo>
                  <a:lnTo>
                    <a:pt x="730" y="527"/>
                  </a:lnTo>
                  <a:lnTo>
                    <a:pt x="732" y="527"/>
                  </a:lnTo>
                  <a:lnTo>
                    <a:pt x="732" y="525"/>
                  </a:lnTo>
                  <a:lnTo>
                    <a:pt x="730" y="523"/>
                  </a:lnTo>
                  <a:lnTo>
                    <a:pt x="732" y="523"/>
                  </a:lnTo>
                  <a:lnTo>
                    <a:pt x="732" y="521"/>
                  </a:lnTo>
                  <a:lnTo>
                    <a:pt x="732" y="521"/>
                  </a:lnTo>
                  <a:lnTo>
                    <a:pt x="732" y="521"/>
                  </a:lnTo>
                  <a:lnTo>
                    <a:pt x="732" y="519"/>
                  </a:lnTo>
                  <a:lnTo>
                    <a:pt x="732" y="519"/>
                  </a:lnTo>
                  <a:lnTo>
                    <a:pt x="730" y="515"/>
                  </a:lnTo>
                  <a:lnTo>
                    <a:pt x="728" y="515"/>
                  </a:lnTo>
                  <a:lnTo>
                    <a:pt x="728" y="513"/>
                  </a:lnTo>
                  <a:lnTo>
                    <a:pt x="728" y="513"/>
                  </a:lnTo>
                  <a:lnTo>
                    <a:pt x="728" y="511"/>
                  </a:lnTo>
                  <a:lnTo>
                    <a:pt x="728" y="511"/>
                  </a:lnTo>
                  <a:lnTo>
                    <a:pt x="728" y="511"/>
                  </a:lnTo>
                  <a:lnTo>
                    <a:pt x="728" y="510"/>
                  </a:lnTo>
                  <a:lnTo>
                    <a:pt x="728" y="510"/>
                  </a:lnTo>
                  <a:lnTo>
                    <a:pt x="728" y="508"/>
                  </a:lnTo>
                  <a:lnTo>
                    <a:pt x="728" y="508"/>
                  </a:lnTo>
                  <a:lnTo>
                    <a:pt x="728" y="506"/>
                  </a:lnTo>
                  <a:lnTo>
                    <a:pt x="726" y="506"/>
                  </a:lnTo>
                  <a:lnTo>
                    <a:pt x="726" y="504"/>
                  </a:lnTo>
                  <a:lnTo>
                    <a:pt x="726" y="504"/>
                  </a:lnTo>
                  <a:lnTo>
                    <a:pt x="728" y="502"/>
                  </a:lnTo>
                  <a:lnTo>
                    <a:pt x="728" y="502"/>
                  </a:lnTo>
                  <a:lnTo>
                    <a:pt x="728" y="500"/>
                  </a:lnTo>
                  <a:lnTo>
                    <a:pt x="728" y="500"/>
                  </a:lnTo>
                  <a:lnTo>
                    <a:pt x="728" y="500"/>
                  </a:lnTo>
                  <a:lnTo>
                    <a:pt x="728" y="498"/>
                  </a:lnTo>
                  <a:lnTo>
                    <a:pt x="728" y="498"/>
                  </a:lnTo>
                  <a:lnTo>
                    <a:pt x="728" y="498"/>
                  </a:lnTo>
                  <a:lnTo>
                    <a:pt x="726" y="496"/>
                  </a:lnTo>
                  <a:lnTo>
                    <a:pt x="726" y="496"/>
                  </a:lnTo>
                  <a:lnTo>
                    <a:pt x="726" y="496"/>
                  </a:lnTo>
                  <a:lnTo>
                    <a:pt x="724" y="496"/>
                  </a:lnTo>
                  <a:lnTo>
                    <a:pt x="722" y="496"/>
                  </a:lnTo>
                  <a:lnTo>
                    <a:pt x="720" y="496"/>
                  </a:lnTo>
                  <a:lnTo>
                    <a:pt x="718" y="498"/>
                  </a:lnTo>
                  <a:lnTo>
                    <a:pt x="716" y="498"/>
                  </a:lnTo>
                  <a:lnTo>
                    <a:pt x="716" y="500"/>
                  </a:lnTo>
                  <a:lnTo>
                    <a:pt x="716" y="500"/>
                  </a:lnTo>
                  <a:lnTo>
                    <a:pt x="714" y="504"/>
                  </a:lnTo>
                  <a:lnTo>
                    <a:pt x="714" y="504"/>
                  </a:lnTo>
                  <a:lnTo>
                    <a:pt x="713" y="506"/>
                  </a:lnTo>
                  <a:lnTo>
                    <a:pt x="713" y="506"/>
                  </a:lnTo>
                  <a:lnTo>
                    <a:pt x="711" y="508"/>
                  </a:lnTo>
                  <a:lnTo>
                    <a:pt x="711" y="508"/>
                  </a:lnTo>
                  <a:lnTo>
                    <a:pt x="709" y="508"/>
                  </a:lnTo>
                  <a:lnTo>
                    <a:pt x="707" y="506"/>
                  </a:lnTo>
                  <a:lnTo>
                    <a:pt x="705" y="506"/>
                  </a:lnTo>
                  <a:lnTo>
                    <a:pt x="703" y="506"/>
                  </a:lnTo>
                  <a:lnTo>
                    <a:pt x="703" y="506"/>
                  </a:lnTo>
                  <a:lnTo>
                    <a:pt x="701" y="506"/>
                  </a:lnTo>
                  <a:lnTo>
                    <a:pt x="697" y="508"/>
                  </a:lnTo>
                  <a:lnTo>
                    <a:pt x="695" y="510"/>
                  </a:lnTo>
                  <a:lnTo>
                    <a:pt x="690" y="510"/>
                  </a:lnTo>
                  <a:lnTo>
                    <a:pt x="688" y="510"/>
                  </a:lnTo>
                  <a:lnTo>
                    <a:pt x="688" y="510"/>
                  </a:lnTo>
                  <a:lnTo>
                    <a:pt x="688" y="510"/>
                  </a:lnTo>
                  <a:lnTo>
                    <a:pt x="684" y="508"/>
                  </a:lnTo>
                  <a:lnTo>
                    <a:pt x="682" y="508"/>
                  </a:lnTo>
                  <a:lnTo>
                    <a:pt x="678" y="506"/>
                  </a:lnTo>
                  <a:lnTo>
                    <a:pt x="678" y="506"/>
                  </a:lnTo>
                  <a:lnTo>
                    <a:pt x="678" y="508"/>
                  </a:lnTo>
                  <a:lnTo>
                    <a:pt x="674" y="508"/>
                  </a:lnTo>
                  <a:lnTo>
                    <a:pt x="674" y="508"/>
                  </a:lnTo>
                  <a:lnTo>
                    <a:pt x="673" y="508"/>
                  </a:lnTo>
                  <a:lnTo>
                    <a:pt x="673" y="508"/>
                  </a:lnTo>
                  <a:lnTo>
                    <a:pt x="669" y="504"/>
                  </a:lnTo>
                  <a:lnTo>
                    <a:pt x="667" y="504"/>
                  </a:lnTo>
                  <a:lnTo>
                    <a:pt x="667" y="504"/>
                  </a:lnTo>
                  <a:lnTo>
                    <a:pt x="665" y="504"/>
                  </a:lnTo>
                  <a:lnTo>
                    <a:pt x="663" y="504"/>
                  </a:lnTo>
                  <a:lnTo>
                    <a:pt x="663" y="504"/>
                  </a:lnTo>
                  <a:lnTo>
                    <a:pt x="661" y="502"/>
                  </a:lnTo>
                  <a:lnTo>
                    <a:pt x="661" y="502"/>
                  </a:lnTo>
                  <a:lnTo>
                    <a:pt x="659" y="498"/>
                  </a:lnTo>
                  <a:lnTo>
                    <a:pt x="657" y="496"/>
                  </a:lnTo>
                  <a:lnTo>
                    <a:pt x="657" y="496"/>
                  </a:lnTo>
                  <a:lnTo>
                    <a:pt x="655" y="496"/>
                  </a:lnTo>
                  <a:lnTo>
                    <a:pt x="655" y="496"/>
                  </a:lnTo>
                  <a:lnTo>
                    <a:pt x="653" y="496"/>
                  </a:lnTo>
                  <a:lnTo>
                    <a:pt x="653" y="494"/>
                  </a:lnTo>
                  <a:lnTo>
                    <a:pt x="653" y="494"/>
                  </a:lnTo>
                  <a:lnTo>
                    <a:pt x="653" y="491"/>
                  </a:lnTo>
                  <a:lnTo>
                    <a:pt x="652" y="485"/>
                  </a:lnTo>
                  <a:lnTo>
                    <a:pt x="648" y="472"/>
                  </a:lnTo>
                  <a:lnTo>
                    <a:pt x="648" y="470"/>
                  </a:lnTo>
                  <a:lnTo>
                    <a:pt x="648" y="470"/>
                  </a:lnTo>
                  <a:lnTo>
                    <a:pt x="646" y="468"/>
                  </a:lnTo>
                  <a:lnTo>
                    <a:pt x="648" y="468"/>
                  </a:lnTo>
                  <a:lnTo>
                    <a:pt x="648" y="466"/>
                  </a:lnTo>
                  <a:lnTo>
                    <a:pt x="650" y="466"/>
                  </a:lnTo>
                  <a:lnTo>
                    <a:pt x="650" y="466"/>
                  </a:lnTo>
                  <a:lnTo>
                    <a:pt x="650" y="464"/>
                  </a:lnTo>
                  <a:lnTo>
                    <a:pt x="650" y="462"/>
                  </a:lnTo>
                  <a:lnTo>
                    <a:pt x="650" y="460"/>
                  </a:lnTo>
                  <a:lnTo>
                    <a:pt x="652" y="458"/>
                  </a:lnTo>
                  <a:lnTo>
                    <a:pt x="653" y="454"/>
                  </a:lnTo>
                  <a:lnTo>
                    <a:pt x="653" y="454"/>
                  </a:lnTo>
                  <a:lnTo>
                    <a:pt x="653" y="454"/>
                  </a:lnTo>
                  <a:lnTo>
                    <a:pt x="657" y="453"/>
                  </a:lnTo>
                  <a:lnTo>
                    <a:pt x="657" y="453"/>
                  </a:lnTo>
                  <a:lnTo>
                    <a:pt x="659" y="453"/>
                  </a:lnTo>
                  <a:lnTo>
                    <a:pt x="659" y="451"/>
                  </a:lnTo>
                  <a:lnTo>
                    <a:pt x="661" y="451"/>
                  </a:lnTo>
                  <a:lnTo>
                    <a:pt x="661" y="449"/>
                  </a:lnTo>
                  <a:lnTo>
                    <a:pt x="661" y="447"/>
                  </a:lnTo>
                  <a:lnTo>
                    <a:pt x="663" y="447"/>
                  </a:lnTo>
                  <a:lnTo>
                    <a:pt x="667" y="449"/>
                  </a:lnTo>
                  <a:lnTo>
                    <a:pt x="669" y="449"/>
                  </a:lnTo>
                  <a:lnTo>
                    <a:pt x="671" y="449"/>
                  </a:lnTo>
                  <a:lnTo>
                    <a:pt x="671" y="447"/>
                  </a:lnTo>
                  <a:lnTo>
                    <a:pt x="673" y="445"/>
                  </a:lnTo>
                  <a:lnTo>
                    <a:pt x="674" y="445"/>
                  </a:lnTo>
                  <a:lnTo>
                    <a:pt x="674" y="443"/>
                  </a:lnTo>
                  <a:lnTo>
                    <a:pt x="674" y="443"/>
                  </a:lnTo>
                  <a:lnTo>
                    <a:pt x="676" y="443"/>
                  </a:lnTo>
                  <a:lnTo>
                    <a:pt x="676" y="443"/>
                  </a:lnTo>
                  <a:lnTo>
                    <a:pt x="676" y="441"/>
                  </a:lnTo>
                  <a:lnTo>
                    <a:pt x="676" y="439"/>
                  </a:lnTo>
                  <a:lnTo>
                    <a:pt x="676" y="439"/>
                  </a:lnTo>
                  <a:lnTo>
                    <a:pt x="678" y="437"/>
                  </a:lnTo>
                  <a:lnTo>
                    <a:pt x="684" y="433"/>
                  </a:lnTo>
                  <a:lnTo>
                    <a:pt x="684" y="433"/>
                  </a:lnTo>
                  <a:lnTo>
                    <a:pt x="686" y="432"/>
                  </a:lnTo>
                  <a:lnTo>
                    <a:pt x="686" y="432"/>
                  </a:lnTo>
                  <a:lnTo>
                    <a:pt x="686" y="430"/>
                  </a:lnTo>
                  <a:lnTo>
                    <a:pt x="686" y="430"/>
                  </a:lnTo>
                  <a:lnTo>
                    <a:pt x="690" y="430"/>
                  </a:lnTo>
                  <a:lnTo>
                    <a:pt x="690" y="428"/>
                  </a:lnTo>
                  <a:lnTo>
                    <a:pt x="692" y="428"/>
                  </a:lnTo>
                  <a:lnTo>
                    <a:pt x="692" y="426"/>
                  </a:lnTo>
                  <a:lnTo>
                    <a:pt x="693" y="426"/>
                  </a:lnTo>
                  <a:lnTo>
                    <a:pt x="695" y="424"/>
                  </a:lnTo>
                  <a:lnTo>
                    <a:pt x="695" y="424"/>
                  </a:lnTo>
                  <a:lnTo>
                    <a:pt x="695" y="422"/>
                  </a:lnTo>
                  <a:lnTo>
                    <a:pt x="697" y="422"/>
                  </a:lnTo>
                  <a:lnTo>
                    <a:pt x="699" y="420"/>
                  </a:lnTo>
                  <a:lnTo>
                    <a:pt x="701" y="420"/>
                  </a:lnTo>
                  <a:lnTo>
                    <a:pt x="701" y="420"/>
                  </a:lnTo>
                  <a:lnTo>
                    <a:pt x="703" y="420"/>
                  </a:lnTo>
                  <a:lnTo>
                    <a:pt x="703" y="420"/>
                  </a:lnTo>
                  <a:lnTo>
                    <a:pt x="703" y="418"/>
                  </a:lnTo>
                  <a:lnTo>
                    <a:pt x="703" y="418"/>
                  </a:lnTo>
                  <a:lnTo>
                    <a:pt x="705" y="416"/>
                  </a:lnTo>
                  <a:lnTo>
                    <a:pt x="707" y="414"/>
                  </a:lnTo>
                  <a:lnTo>
                    <a:pt x="709" y="414"/>
                  </a:lnTo>
                  <a:lnTo>
                    <a:pt x="711" y="414"/>
                  </a:lnTo>
                  <a:lnTo>
                    <a:pt x="714" y="414"/>
                  </a:lnTo>
                  <a:lnTo>
                    <a:pt x="716" y="413"/>
                  </a:lnTo>
                  <a:lnTo>
                    <a:pt x="718" y="411"/>
                  </a:lnTo>
                  <a:lnTo>
                    <a:pt x="720" y="411"/>
                  </a:lnTo>
                  <a:lnTo>
                    <a:pt x="720" y="409"/>
                  </a:lnTo>
                  <a:lnTo>
                    <a:pt x="722" y="409"/>
                  </a:lnTo>
                  <a:lnTo>
                    <a:pt x="722" y="409"/>
                  </a:lnTo>
                  <a:lnTo>
                    <a:pt x="722" y="407"/>
                  </a:lnTo>
                  <a:lnTo>
                    <a:pt x="724" y="405"/>
                  </a:lnTo>
                  <a:lnTo>
                    <a:pt x="724" y="403"/>
                  </a:lnTo>
                  <a:lnTo>
                    <a:pt x="726" y="403"/>
                  </a:lnTo>
                  <a:lnTo>
                    <a:pt x="728" y="401"/>
                  </a:lnTo>
                  <a:lnTo>
                    <a:pt x="730" y="403"/>
                  </a:lnTo>
                  <a:lnTo>
                    <a:pt x="732" y="401"/>
                  </a:lnTo>
                  <a:lnTo>
                    <a:pt x="732" y="401"/>
                  </a:lnTo>
                  <a:lnTo>
                    <a:pt x="734" y="401"/>
                  </a:lnTo>
                  <a:lnTo>
                    <a:pt x="735" y="401"/>
                  </a:lnTo>
                  <a:lnTo>
                    <a:pt x="735" y="399"/>
                  </a:lnTo>
                  <a:lnTo>
                    <a:pt x="735" y="399"/>
                  </a:lnTo>
                  <a:lnTo>
                    <a:pt x="735" y="397"/>
                  </a:lnTo>
                  <a:lnTo>
                    <a:pt x="737" y="397"/>
                  </a:lnTo>
                  <a:lnTo>
                    <a:pt x="741" y="397"/>
                  </a:lnTo>
                  <a:lnTo>
                    <a:pt x="743" y="397"/>
                  </a:lnTo>
                  <a:lnTo>
                    <a:pt x="743" y="395"/>
                  </a:lnTo>
                  <a:lnTo>
                    <a:pt x="747" y="394"/>
                  </a:lnTo>
                  <a:lnTo>
                    <a:pt x="753" y="390"/>
                  </a:lnTo>
                  <a:lnTo>
                    <a:pt x="753" y="390"/>
                  </a:lnTo>
                  <a:lnTo>
                    <a:pt x="754" y="390"/>
                  </a:lnTo>
                  <a:lnTo>
                    <a:pt x="758" y="388"/>
                  </a:lnTo>
                  <a:lnTo>
                    <a:pt x="760" y="388"/>
                  </a:lnTo>
                  <a:lnTo>
                    <a:pt x="760" y="388"/>
                  </a:lnTo>
                  <a:lnTo>
                    <a:pt x="762" y="386"/>
                  </a:lnTo>
                  <a:lnTo>
                    <a:pt x="764" y="384"/>
                  </a:lnTo>
                  <a:lnTo>
                    <a:pt x="766" y="384"/>
                  </a:lnTo>
                  <a:lnTo>
                    <a:pt x="770" y="382"/>
                  </a:lnTo>
                  <a:lnTo>
                    <a:pt x="772" y="380"/>
                  </a:lnTo>
                  <a:lnTo>
                    <a:pt x="770" y="376"/>
                  </a:lnTo>
                  <a:lnTo>
                    <a:pt x="775" y="376"/>
                  </a:lnTo>
                  <a:lnTo>
                    <a:pt x="775" y="375"/>
                  </a:lnTo>
                  <a:lnTo>
                    <a:pt x="777" y="375"/>
                  </a:lnTo>
                  <a:lnTo>
                    <a:pt x="777" y="373"/>
                  </a:lnTo>
                  <a:lnTo>
                    <a:pt x="777" y="373"/>
                  </a:lnTo>
                  <a:lnTo>
                    <a:pt x="777" y="371"/>
                  </a:lnTo>
                  <a:lnTo>
                    <a:pt x="779" y="371"/>
                  </a:lnTo>
                  <a:lnTo>
                    <a:pt x="781" y="371"/>
                  </a:lnTo>
                  <a:lnTo>
                    <a:pt x="783" y="371"/>
                  </a:lnTo>
                  <a:lnTo>
                    <a:pt x="785" y="369"/>
                  </a:lnTo>
                  <a:lnTo>
                    <a:pt x="787" y="369"/>
                  </a:lnTo>
                  <a:lnTo>
                    <a:pt x="789" y="369"/>
                  </a:lnTo>
                  <a:lnTo>
                    <a:pt x="789" y="369"/>
                  </a:lnTo>
                  <a:lnTo>
                    <a:pt x="791" y="369"/>
                  </a:lnTo>
                  <a:lnTo>
                    <a:pt x="791" y="369"/>
                  </a:lnTo>
                  <a:lnTo>
                    <a:pt x="793" y="369"/>
                  </a:lnTo>
                  <a:lnTo>
                    <a:pt x="793" y="369"/>
                  </a:lnTo>
                  <a:lnTo>
                    <a:pt x="794" y="369"/>
                  </a:lnTo>
                  <a:lnTo>
                    <a:pt x="794" y="369"/>
                  </a:lnTo>
                  <a:lnTo>
                    <a:pt x="794" y="367"/>
                  </a:lnTo>
                  <a:lnTo>
                    <a:pt x="794" y="365"/>
                  </a:lnTo>
                  <a:lnTo>
                    <a:pt x="796" y="365"/>
                  </a:lnTo>
                  <a:lnTo>
                    <a:pt x="796" y="363"/>
                  </a:lnTo>
                  <a:lnTo>
                    <a:pt x="796" y="363"/>
                  </a:lnTo>
                  <a:lnTo>
                    <a:pt x="796" y="361"/>
                  </a:lnTo>
                  <a:lnTo>
                    <a:pt x="796" y="361"/>
                  </a:lnTo>
                  <a:lnTo>
                    <a:pt x="796" y="359"/>
                  </a:lnTo>
                  <a:lnTo>
                    <a:pt x="796" y="357"/>
                  </a:lnTo>
                  <a:lnTo>
                    <a:pt x="798" y="357"/>
                  </a:lnTo>
                  <a:lnTo>
                    <a:pt x="802" y="359"/>
                  </a:lnTo>
                  <a:lnTo>
                    <a:pt x="802" y="357"/>
                  </a:lnTo>
                  <a:lnTo>
                    <a:pt x="802" y="356"/>
                  </a:lnTo>
                  <a:lnTo>
                    <a:pt x="804" y="356"/>
                  </a:lnTo>
                  <a:lnTo>
                    <a:pt x="806" y="356"/>
                  </a:lnTo>
                  <a:lnTo>
                    <a:pt x="806" y="354"/>
                  </a:lnTo>
                  <a:lnTo>
                    <a:pt x="806" y="354"/>
                  </a:lnTo>
                  <a:lnTo>
                    <a:pt x="804" y="352"/>
                  </a:lnTo>
                  <a:lnTo>
                    <a:pt x="804" y="352"/>
                  </a:lnTo>
                  <a:lnTo>
                    <a:pt x="804" y="350"/>
                  </a:lnTo>
                  <a:lnTo>
                    <a:pt x="804" y="350"/>
                  </a:lnTo>
                  <a:lnTo>
                    <a:pt x="804" y="350"/>
                  </a:lnTo>
                  <a:lnTo>
                    <a:pt x="804" y="350"/>
                  </a:lnTo>
                  <a:lnTo>
                    <a:pt x="804" y="350"/>
                  </a:lnTo>
                  <a:lnTo>
                    <a:pt x="806" y="350"/>
                  </a:lnTo>
                  <a:lnTo>
                    <a:pt x="806" y="348"/>
                  </a:lnTo>
                  <a:lnTo>
                    <a:pt x="810" y="346"/>
                  </a:lnTo>
                  <a:lnTo>
                    <a:pt x="810" y="346"/>
                  </a:lnTo>
                  <a:lnTo>
                    <a:pt x="810" y="34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endParaRPr>
            </a:p>
          </p:txBody>
        </p:sp>
        <p:sp>
          <p:nvSpPr>
            <p:cNvPr id="20" name="Freeform 22">
              <a:extLst>
                <a:ext uri="{FF2B5EF4-FFF2-40B4-BE49-F238E27FC236}">
                  <a16:creationId xmlns:a16="http://schemas.microsoft.com/office/drawing/2014/main" id="{0669BE0F-3CC4-4A63-CD8F-BBC787ACB800}"/>
                </a:ext>
              </a:extLst>
            </p:cNvPr>
            <p:cNvSpPr>
              <a:spLocks/>
            </p:cNvSpPr>
            <p:nvPr/>
          </p:nvSpPr>
          <p:spPr bwMode="auto">
            <a:xfrm>
              <a:off x="4613275" y="2207426"/>
              <a:ext cx="447675" cy="503238"/>
            </a:xfrm>
            <a:custGeom>
              <a:avLst/>
              <a:gdLst>
                <a:gd name="T0" fmla="*/ 282 w 282"/>
                <a:gd name="T1" fmla="*/ 211 h 317"/>
                <a:gd name="T2" fmla="*/ 278 w 282"/>
                <a:gd name="T3" fmla="*/ 198 h 317"/>
                <a:gd name="T4" fmla="*/ 270 w 282"/>
                <a:gd name="T5" fmla="*/ 199 h 317"/>
                <a:gd name="T6" fmla="*/ 267 w 282"/>
                <a:gd name="T7" fmla="*/ 186 h 317"/>
                <a:gd name="T8" fmla="*/ 272 w 282"/>
                <a:gd name="T9" fmla="*/ 180 h 317"/>
                <a:gd name="T10" fmla="*/ 255 w 282"/>
                <a:gd name="T11" fmla="*/ 158 h 317"/>
                <a:gd name="T12" fmla="*/ 257 w 282"/>
                <a:gd name="T13" fmla="*/ 140 h 317"/>
                <a:gd name="T14" fmla="*/ 249 w 282"/>
                <a:gd name="T15" fmla="*/ 135 h 317"/>
                <a:gd name="T16" fmla="*/ 246 w 282"/>
                <a:gd name="T17" fmla="*/ 133 h 317"/>
                <a:gd name="T18" fmla="*/ 238 w 282"/>
                <a:gd name="T19" fmla="*/ 129 h 317"/>
                <a:gd name="T20" fmla="*/ 229 w 282"/>
                <a:gd name="T21" fmla="*/ 127 h 317"/>
                <a:gd name="T22" fmla="*/ 217 w 282"/>
                <a:gd name="T23" fmla="*/ 131 h 317"/>
                <a:gd name="T24" fmla="*/ 192 w 282"/>
                <a:gd name="T25" fmla="*/ 74 h 317"/>
                <a:gd name="T26" fmla="*/ 175 w 282"/>
                <a:gd name="T27" fmla="*/ 53 h 317"/>
                <a:gd name="T28" fmla="*/ 168 w 282"/>
                <a:gd name="T29" fmla="*/ 38 h 317"/>
                <a:gd name="T30" fmla="*/ 162 w 282"/>
                <a:gd name="T31" fmla="*/ 30 h 317"/>
                <a:gd name="T32" fmla="*/ 190 w 282"/>
                <a:gd name="T33" fmla="*/ 9 h 317"/>
                <a:gd name="T34" fmla="*/ 173 w 282"/>
                <a:gd name="T35" fmla="*/ 9 h 317"/>
                <a:gd name="T36" fmla="*/ 148 w 282"/>
                <a:gd name="T37" fmla="*/ 21 h 317"/>
                <a:gd name="T38" fmla="*/ 137 w 282"/>
                <a:gd name="T39" fmla="*/ 23 h 317"/>
                <a:gd name="T40" fmla="*/ 122 w 282"/>
                <a:gd name="T41" fmla="*/ 43 h 317"/>
                <a:gd name="T42" fmla="*/ 107 w 282"/>
                <a:gd name="T43" fmla="*/ 49 h 317"/>
                <a:gd name="T44" fmla="*/ 87 w 282"/>
                <a:gd name="T45" fmla="*/ 59 h 317"/>
                <a:gd name="T46" fmla="*/ 63 w 282"/>
                <a:gd name="T47" fmla="*/ 82 h 317"/>
                <a:gd name="T48" fmla="*/ 65 w 282"/>
                <a:gd name="T49" fmla="*/ 99 h 317"/>
                <a:gd name="T50" fmla="*/ 61 w 282"/>
                <a:gd name="T51" fmla="*/ 144 h 317"/>
                <a:gd name="T52" fmla="*/ 67 w 282"/>
                <a:gd name="T53" fmla="*/ 159 h 317"/>
                <a:gd name="T54" fmla="*/ 51 w 282"/>
                <a:gd name="T55" fmla="*/ 175 h 317"/>
                <a:gd name="T56" fmla="*/ 38 w 282"/>
                <a:gd name="T57" fmla="*/ 184 h 317"/>
                <a:gd name="T58" fmla="*/ 28 w 282"/>
                <a:gd name="T59" fmla="*/ 198 h 317"/>
                <a:gd name="T60" fmla="*/ 19 w 282"/>
                <a:gd name="T61" fmla="*/ 217 h 317"/>
                <a:gd name="T62" fmla="*/ 2 w 282"/>
                <a:gd name="T63" fmla="*/ 230 h 317"/>
                <a:gd name="T64" fmla="*/ 11 w 282"/>
                <a:gd name="T65" fmla="*/ 256 h 317"/>
                <a:gd name="T66" fmla="*/ 72 w 282"/>
                <a:gd name="T67" fmla="*/ 279 h 317"/>
                <a:gd name="T68" fmla="*/ 87 w 282"/>
                <a:gd name="T69" fmla="*/ 272 h 317"/>
                <a:gd name="T70" fmla="*/ 99 w 282"/>
                <a:gd name="T71" fmla="*/ 277 h 317"/>
                <a:gd name="T72" fmla="*/ 108 w 282"/>
                <a:gd name="T73" fmla="*/ 285 h 317"/>
                <a:gd name="T74" fmla="*/ 116 w 282"/>
                <a:gd name="T75" fmla="*/ 279 h 317"/>
                <a:gd name="T76" fmla="*/ 116 w 282"/>
                <a:gd name="T77" fmla="*/ 285 h 317"/>
                <a:gd name="T78" fmla="*/ 120 w 282"/>
                <a:gd name="T79" fmla="*/ 293 h 317"/>
                <a:gd name="T80" fmla="*/ 126 w 282"/>
                <a:gd name="T81" fmla="*/ 293 h 317"/>
                <a:gd name="T82" fmla="*/ 126 w 282"/>
                <a:gd name="T83" fmla="*/ 298 h 317"/>
                <a:gd name="T84" fmla="*/ 122 w 282"/>
                <a:gd name="T85" fmla="*/ 304 h 317"/>
                <a:gd name="T86" fmla="*/ 126 w 282"/>
                <a:gd name="T87" fmla="*/ 312 h 317"/>
                <a:gd name="T88" fmla="*/ 133 w 282"/>
                <a:gd name="T89" fmla="*/ 314 h 317"/>
                <a:gd name="T90" fmla="*/ 139 w 282"/>
                <a:gd name="T91" fmla="*/ 304 h 317"/>
                <a:gd name="T92" fmla="*/ 156 w 282"/>
                <a:gd name="T93" fmla="*/ 293 h 317"/>
                <a:gd name="T94" fmla="*/ 173 w 282"/>
                <a:gd name="T95" fmla="*/ 293 h 317"/>
                <a:gd name="T96" fmla="*/ 188 w 282"/>
                <a:gd name="T97" fmla="*/ 298 h 317"/>
                <a:gd name="T98" fmla="*/ 211 w 282"/>
                <a:gd name="T99" fmla="*/ 289 h 317"/>
                <a:gd name="T100" fmla="*/ 215 w 282"/>
                <a:gd name="T101" fmla="*/ 277 h 317"/>
                <a:gd name="T102" fmla="*/ 219 w 282"/>
                <a:gd name="T103" fmla="*/ 264 h 317"/>
                <a:gd name="T104" fmla="*/ 217 w 282"/>
                <a:gd name="T105" fmla="*/ 258 h 317"/>
                <a:gd name="T106" fmla="*/ 229 w 282"/>
                <a:gd name="T107" fmla="*/ 258 h 317"/>
                <a:gd name="T108" fmla="*/ 234 w 282"/>
                <a:gd name="T109" fmla="*/ 258 h 317"/>
                <a:gd name="T110" fmla="*/ 236 w 282"/>
                <a:gd name="T111" fmla="*/ 251 h 317"/>
                <a:gd name="T112" fmla="*/ 257 w 282"/>
                <a:gd name="T113" fmla="*/ 255 h 317"/>
                <a:gd name="T114" fmla="*/ 255 w 282"/>
                <a:gd name="T115" fmla="*/ 247 h 317"/>
                <a:gd name="T116" fmla="*/ 249 w 282"/>
                <a:gd name="T117" fmla="*/ 247 h 317"/>
                <a:gd name="T118" fmla="*/ 265 w 282"/>
                <a:gd name="T119" fmla="*/ 236 h 317"/>
                <a:gd name="T120" fmla="*/ 267 w 282"/>
                <a:gd name="T121" fmla="*/ 226 h 317"/>
                <a:gd name="T122" fmla="*/ 280 w 282"/>
                <a:gd name="T123" fmla="*/ 23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7">
                  <a:moveTo>
                    <a:pt x="282" y="224"/>
                  </a:moveTo>
                  <a:lnTo>
                    <a:pt x="282" y="222"/>
                  </a:lnTo>
                  <a:lnTo>
                    <a:pt x="282" y="218"/>
                  </a:lnTo>
                  <a:lnTo>
                    <a:pt x="282" y="218"/>
                  </a:lnTo>
                  <a:lnTo>
                    <a:pt x="282" y="218"/>
                  </a:lnTo>
                  <a:lnTo>
                    <a:pt x="282" y="217"/>
                  </a:lnTo>
                  <a:lnTo>
                    <a:pt x="282" y="217"/>
                  </a:lnTo>
                  <a:lnTo>
                    <a:pt x="282" y="215"/>
                  </a:lnTo>
                  <a:lnTo>
                    <a:pt x="282" y="215"/>
                  </a:lnTo>
                  <a:lnTo>
                    <a:pt x="282" y="215"/>
                  </a:lnTo>
                  <a:lnTo>
                    <a:pt x="282" y="213"/>
                  </a:lnTo>
                  <a:lnTo>
                    <a:pt x="282" y="211"/>
                  </a:lnTo>
                  <a:lnTo>
                    <a:pt x="282" y="207"/>
                  </a:lnTo>
                  <a:lnTo>
                    <a:pt x="282" y="207"/>
                  </a:lnTo>
                  <a:lnTo>
                    <a:pt x="282" y="207"/>
                  </a:lnTo>
                  <a:lnTo>
                    <a:pt x="282" y="205"/>
                  </a:lnTo>
                  <a:lnTo>
                    <a:pt x="280" y="203"/>
                  </a:lnTo>
                  <a:lnTo>
                    <a:pt x="280" y="203"/>
                  </a:lnTo>
                  <a:lnTo>
                    <a:pt x="280" y="203"/>
                  </a:lnTo>
                  <a:lnTo>
                    <a:pt x="280" y="203"/>
                  </a:lnTo>
                  <a:lnTo>
                    <a:pt x="278" y="203"/>
                  </a:lnTo>
                  <a:lnTo>
                    <a:pt x="278" y="201"/>
                  </a:lnTo>
                  <a:lnTo>
                    <a:pt x="278" y="199"/>
                  </a:lnTo>
                  <a:lnTo>
                    <a:pt x="278" y="198"/>
                  </a:lnTo>
                  <a:lnTo>
                    <a:pt x="278" y="198"/>
                  </a:lnTo>
                  <a:lnTo>
                    <a:pt x="276" y="198"/>
                  </a:lnTo>
                  <a:lnTo>
                    <a:pt x="276" y="198"/>
                  </a:lnTo>
                  <a:lnTo>
                    <a:pt x="276" y="198"/>
                  </a:lnTo>
                  <a:lnTo>
                    <a:pt x="276" y="199"/>
                  </a:lnTo>
                  <a:lnTo>
                    <a:pt x="274" y="198"/>
                  </a:lnTo>
                  <a:lnTo>
                    <a:pt x="274" y="198"/>
                  </a:lnTo>
                  <a:lnTo>
                    <a:pt x="272" y="198"/>
                  </a:lnTo>
                  <a:lnTo>
                    <a:pt x="272" y="198"/>
                  </a:lnTo>
                  <a:lnTo>
                    <a:pt x="272" y="198"/>
                  </a:lnTo>
                  <a:lnTo>
                    <a:pt x="270" y="199"/>
                  </a:lnTo>
                  <a:lnTo>
                    <a:pt x="270" y="199"/>
                  </a:lnTo>
                  <a:lnTo>
                    <a:pt x="270" y="199"/>
                  </a:lnTo>
                  <a:lnTo>
                    <a:pt x="270" y="198"/>
                  </a:lnTo>
                  <a:lnTo>
                    <a:pt x="269" y="198"/>
                  </a:lnTo>
                  <a:lnTo>
                    <a:pt x="267" y="194"/>
                  </a:lnTo>
                  <a:lnTo>
                    <a:pt x="263" y="192"/>
                  </a:lnTo>
                  <a:lnTo>
                    <a:pt x="263" y="192"/>
                  </a:lnTo>
                  <a:lnTo>
                    <a:pt x="263" y="190"/>
                  </a:lnTo>
                  <a:lnTo>
                    <a:pt x="263" y="190"/>
                  </a:lnTo>
                  <a:lnTo>
                    <a:pt x="263" y="188"/>
                  </a:lnTo>
                  <a:lnTo>
                    <a:pt x="263" y="188"/>
                  </a:lnTo>
                  <a:lnTo>
                    <a:pt x="263" y="188"/>
                  </a:lnTo>
                  <a:lnTo>
                    <a:pt x="267" y="186"/>
                  </a:lnTo>
                  <a:lnTo>
                    <a:pt x="269" y="186"/>
                  </a:lnTo>
                  <a:lnTo>
                    <a:pt x="270" y="186"/>
                  </a:lnTo>
                  <a:lnTo>
                    <a:pt x="274" y="186"/>
                  </a:lnTo>
                  <a:lnTo>
                    <a:pt x="274" y="184"/>
                  </a:lnTo>
                  <a:lnTo>
                    <a:pt x="276" y="182"/>
                  </a:lnTo>
                  <a:lnTo>
                    <a:pt x="276" y="182"/>
                  </a:lnTo>
                  <a:lnTo>
                    <a:pt x="276" y="182"/>
                  </a:lnTo>
                  <a:lnTo>
                    <a:pt x="276" y="180"/>
                  </a:lnTo>
                  <a:lnTo>
                    <a:pt x="274" y="180"/>
                  </a:lnTo>
                  <a:lnTo>
                    <a:pt x="274" y="180"/>
                  </a:lnTo>
                  <a:lnTo>
                    <a:pt x="272" y="180"/>
                  </a:lnTo>
                  <a:lnTo>
                    <a:pt x="272" y="180"/>
                  </a:lnTo>
                  <a:lnTo>
                    <a:pt x="272" y="179"/>
                  </a:lnTo>
                  <a:lnTo>
                    <a:pt x="270" y="177"/>
                  </a:lnTo>
                  <a:lnTo>
                    <a:pt x="270" y="175"/>
                  </a:lnTo>
                  <a:lnTo>
                    <a:pt x="269" y="175"/>
                  </a:lnTo>
                  <a:lnTo>
                    <a:pt x="265" y="171"/>
                  </a:lnTo>
                  <a:lnTo>
                    <a:pt x="263" y="169"/>
                  </a:lnTo>
                  <a:lnTo>
                    <a:pt x="259" y="163"/>
                  </a:lnTo>
                  <a:lnTo>
                    <a:pt x="257" y="161"/>
                  </a:lnTo>
                  <a:lnTo>
                    <a:pt x="255" y="161"/>
                  </a:lnTo>
                  <a:lnTo>
                    <a:pt x="255" y="159"/>
                  </a:lnTo>
                  <a:lnTo>
                    <a:pt x="255" y="158"/>
                  </a:lnTo>
                  <a:lnTo>
                    <a:pt x="255" y="158"/>
                  </a:lnTo>
                  <a:lnTo>
                    <a:pt x="255" y="156"/>
                  </a:lnTo>
                  <a:lnTo>
                    <a:pt x="255" y="156"/>
                  </a:lnTo>
                  <a:lnTo>
                    <a:pt x="255" y="154"/>
                  </a:lnTo>
                  <a:lnTo>
                    <a:pt x="255" y="152"/>
                  </a:lnTo>
                  <a:lnTo>
                    <a:pt x="255" y="152"/>
                  </a:lnTo>
                  <a:lnTo>
                    <a:pt x="253" y="150"/>
                  </a:lnTo>
                  <a:lnTo>
                    <a:pt x="253" y="150"/>
                  </a:lnTo>
                  <a:lnTo>
                    <a:pt x="253" y="144"/>
                  </a:lnTo>
                  <a:lnTo>
                    <a:pt x="253" y="144"/>
                  </a:lnTo>
                  <a:lnTo>
                    <a:pt x="255" y="142"/>
                  </a:lnTo>
                  <a:lnTo>
                    <a:pt x="255" y="142"/>
                  </a:lnTo>
                  <a:lnTo>
                    <a:pt x="257" y="140"/>
                  </a:lnTo>
                  <a:lnTo>
                    <a:pt x="255" y="140"/>
                  </a:lnTo>
                  <a:lnTo>
                    <a:pt x="255" y="139"/>
                  </a:lnTo>
                  <a:lnTo>
                    <a:pt x="253" y="140"/>
                  </a:lnTo>
                  <a:lnTo>
                    <a:pt x="251" y="140"/>
                  </a:lnTo>
                  <a:lnTo>
                    <a:pt x="251" y="139"/>
                  </a:lnTo>
                  <a:lnTo>
                    <a:pt x="253" y="137"/>
                  </a:lnTo>
                  <a:lnTo>
                    <a:pt x="253" y="137"/>
                  </a:lnTo>
                  <a:lnTo>
                    <a:pt x="251" y="135"/>
                  </a:lnTo>
                  <a:lnTo>
                    <a:pt x="251" y="135"/>
                  </a:lnTo>
                  <a:lnTo>
                    <a:pt x="251" y="135"/>
                  </a:lnTo>
                  <a:lnTo>
                    <a:pt x="251" y="135"/>
                  </a:lnTo>
                  <a:lnTo>
                    <a:pt x="249" y="135"/>
                  </a:lnTo>
                  <a:lnTo>
                    <a:pt x="249" y="135"/>
                  </a:lnTo>
                  <a:lnTo>
                    <a:pt x="249" y="137"/>
                  </a:lnTo>
                  <a:lnTo>
                    <a:pt x="249" y="137"/>
                  </a:lnTo>
                  <a:lnTo>
                    <a:pt x="249" y="137"/>
                  </a:lnTo>
                  <a:lnTo>
                    <a:pt x="248" y="137"/>
                  </a:lnTo>
                  <a:lnTo>
                    <a:pt x="248" y="135"/>
                  </a:lnTo>
                  <a:lnTo>
                    <a:pt x="248" y="135"/>
                  </a:lnTo>
                  <a:lnTo>
                    <a:pt x="248" y="133"/>
                  </a:lnTo>
                  <a:lnTo>
                    <a:pt x="246" y="133"/>
                  </a:lnTo>
                  <a:lnTo>
                    <a:pt x="246" y="133"/>
                  </a:lnTo>
                  <a:lnTo>
                    <a:pt x="246" y="133"/>
                  </a:lnTo>
                  <a:lnTo>
                    <a:pt x="246" y="133"/>
                  </a:lnTo>
                  <a:lnTo>
                    <a:pt x="244" y="133"/>
                  </a:lnTo>
                  <a:lnTo>
                    <a:pt x="244" y="133"/>
                  </a:lnTo>
                  <a:lnTo>
                    <a:pt x="244" y="133"/>
                  </a:lnTo>
                  <a:lnTo>
                    <a:pt x="244" y="133"/>
                  </a:lnTo>
                  <a:lnTo>
                    <a:pt x="242" y="131"/>
                  </a:lnTo>
                  <a:lnTo>
                    <a:pt x="242" y="131"/>
                  </a:lnTo>
                  <a:lnTo>
                    <a:pt x="242" y="131"/>
                  </a:lnTo>
                  <a:lnTo>
                    <a:pt x="242" y="131"/>
                  </a:lnTo>
                  <a:lnTo>
                    <a:pt x="240" y="133"/>
                  </a:lnTo>
                  <a:lnTo>
                    <a:pt x="240" y="133"/>
                  </a:lnTo>
                  <a:lnTo>
                    <a:pt x="240" y="131"/>
                  </a:lnTo>
                  <a:lnTo>
                    <a:pt x="238" y="129"/>
                  </a:lnTo>
                  <a:lnTo>
                    <a:pt x="236" y="125"/>
                  </a:lnTo>
                  <a:lnTo>
                    <a:pt x="232" y="120"/>
                  </a:lnTo>
                  <a:lnTo>
                    <a:pt x="232" y="118"/>
                  </a:lnTo>
                  <a:lnTo>
                    <a:pt x="232" y="118"/>
                  </a:lnTo>
                  <a:lnTo>
                    <a:pt x="230" y="118"/>
                  </a:lnTo>
                  <a:lnTo>
                    <a:pt x="230" y="120"/>
                  </a:lnTo>
                  <a:lnTo>
                    <a:pt x="230" y="120"/>
                  </a:lnTo>
                  <a:lnTo>
                    <a:pt x="229" y="120"/>
                  </a:lnTo>
                  <a:lnTo>
                    <a:pt x="229" y="121"/>
                  </a:lnTo>
                  <a:lnTo>
                    <a:pt x="229" y="125"/>
                  </a:lnTo>
                  <a:lnTo>
                    <a:pt x="229" y="125"/>
                  </a:lnTo>
                  <a:lnTo>
                    <a:pt x="229" y="127"/>
                  </a:lnTo>
                  <a:lnTo>
                    <a:pt x="227" y="125"/>
                  </a:lnTo>
                  <a:lnTo>
                    <a:pt x="227" y="127"/>
                  </a:lnTo>
                  <a:lnTo>
                    <a:pt x="225" y="127"/>
                  </a:lnTo>
                  <a:lnTo>
                    <a:pt x="225" y="129"/>
                  </a:lnTo>
                  <a:lnTo>
                    <a:pt x="225" y="131"/>
                  </a:lnTo>
                  <a:lnTo>
                    <a:pt x="225" y="131"/>
                  </a:lnTo>
                  <a:lnTo>
                    <a:pt x="223" y="131"/>
                  </a:lnTo>
                  <a:lnTo>
                    <a:pt x="223" y="131"/>
                  </a:lnTo>
                  <a:lnTo>
                    <a:pt x="221" y="129"/>
                  </a:lnTo>
                  <a:lnTo>
                    <a:pt x="219" y="129"/>
                  </a:lnTo>
                  <a:lnTo>
                    <a:pt x="219" y="131"/>
                  </a:lnTo>
                  <a:lnTo>
                    <a:pt x="217" y="131"/>
                  </a:lnTo>
                  <a:lnTo>
                    <a:pt x="215" y="129"/>
                  </a:lnTo>
                  <a:lnTo>
                    <a:pt x="213" y="127"/>
                  </a:lnTo>
                  <a:lnTo>
                    <a:pt x="211" y="125"/>
                  </a:lnTo>
                  <a:lnTo>
                    <a:pt x="211" y="123"/>
                  </a:lnTo>
                  <a:lnTo>
                    <a:pt x="209" y="118"/>
                  </a:lnTo>
                  <a:lnTo>
                    <a:pt x="206" y="102"/>
                  </a:lnTo>
                  <a:lnTo>
                    <a:pt x="194" y="82"/>
                  </a:lnTo>
                  <a:lnTo>
                    <a:pt x="192" y="78"/>
                  </a:lnTo>
                  <a:lnTo>
                    <a:pt x="190" y="76"/>
                  </a:lnTo>
                  <a:lnTo>
                    <a:pt x="192" y="76"/>
                  </a:lnTo>
                  <a:lnTo>
                    <a:pt x="192" y="74"/>
                  </a:lnTo>
                  <a:lnTo>
                    <a:pt x="192" y="74"/>
                  </a:lnTo>
                  <a:lnTo>
                    <a:pt x="192" y="74"/>
                  </a:lnTo>
                  <a:lnTo>
                    <a:pt x="194" y="74"/>
                  </a:lnTo>
                  <a:lnTo>
                    <a:pt x="194" y="74"/>
                  </a:lnTo>
                  <a:lnTo>
                    <a:pt x="196" y="74"/>
                  </a:lnTo>
                  <a:lnTo>
                    <a:pt x="196" y="74"/>
                  </a:lnTo>
                  <a:lnTo>
                    <a:pt x="196" y="72"/>
                  </a:lnTo>
                  <a:lnTo>
                    <a:pt x="192" y="66"/>
                  </a:lnTo>
                  <a:lnTo>
                    <a:pt x="188" y="61"/>
                  </a:lnTo>
                  <a:lnTo>
                    <a:pt x="187" y="59"/>
                  </a:lnTo>
                  <a:lnTo>
                    <a:pt x="187" y="59"/>
                  </a:lnTo>
                  <a:lnTo>
                    <a:pt x="181" y="55"/>
                  </a:lnTo>
                  <a:lnTo>
                    <a:pt x="175" y="53"/>
                  </a:lnTo>
                  <a:lnTo>
                    <a:pt x="171" y="51"/>
                  </a:lnTo>
                  <a:lnTo>
                    <a:pt x="171" y="49"/>
                  </a:lnTo>
                  <a:lnTo>
                    <a:pt x="169" y="51"/>
                  </a:lnTo>
                  <a:lnTo>
                    <a:pt x="168" y="49"/>
                  </a:lnTo>
                  <a:lnTo>
                    <a:pt x="162" y="49"/>
                  </a:lnTo>
                  <a:lnTo>
                    <a:pt x="162" y="47"/>
                  </a:lnTo>
                  <a:lnTo>
                    <a:pt x="160" y="47"/>
                  </a:lnTo>
                  <a:lnTo>
                    <a:pt x="160" y="47"/>
                  </a:lnTo>
                  <a:lnTo>
                    <a:pt x="160" y="45"/>
                  </a:lnTo>
                  <a:lnTo>
                    <a:pt x="166" y="40"/>
                  </a:lnTo>
                  <a:lnTo>
                    <a:pt x="166" y="38"/>
                  </a:lnTo>
                  <a:lnTo>
                    <a:pt x="168" y="38"/>
                  </a:lnTo>
                  <a:lnTo>
                    <a:pt x="168" y="36"/>
                  </a:lnTo>
                  <a:lnTo>
                    <a:pt x="168" y="34"/>
                  </a:lnTo>
                  <a:lnTo>
                    <a:pt x="168" y="34"/>
                  </a:lnTo>
                  <a:lnTo>
                    <a:pt x="166" y="34"/>
                  </a:lnTo>
                  <a:lnTo>
                    <a:pt x="166" y="34"/>
                  </a:lnTo>
                  <a:lnTo>
                    <a:pt x="166" y="36"/>
                  </a:lnTo>
                  <a:lnTo>
                    <a:pt x="164" y="36"/>
                  </a:lnTo>
                  <a:lnTo>
                    <a:pt x="164" y="36"/>
                  </a:lnTo>
                  <a:lnTo>
                    <a:pt x="164" y="34"/>
                  </a:lnTo>
                  <a:lnTo>
                    <a:pt x="162" y="34"/>
                  </a:lnTo>
                  <a:lnTo>
                    <a:pt x="162" y="32"/>
                  </a:lnTo>
                  <a:lnTo>
                    <a:pt x="162" y="30"/>
                  </a:lnTo>
                  <a:lnTo>
                    <a:pt x="164" y="28"/>
                  </a:lnTo>
                  <a:lnTo>
                    <a:pt x="164" y="28"/>
                  </a:lnTo>
                  <a:lnTo>
                    <a:pt x="164" y="28"/>
                  </a:lnTo>
                  <a:lnTo>
                    <a:pt x="169" y="26"/>
                  </a:lnTo>
                  <a:lnTo>
                    <a:pt x="171" y="26"/>
                  </a:lnTo>
                  <a:lnTo>
                    <a:pt x="173" y="24"/>
                  </a:lnTo>
                  <a:lnTo>
                    <a:pt x="175" y="23"/>
                  </a:lnTo>
                  <a:lnTo>
                    <a:pt x="179" y="19"/>
                  </a:lnTo>
                  <a:lnTo>
                    <a:pt x="185" y="13"/>
                  </a:lnTo>
                  <a:lnTo>
                    <a:pt x="190" y="11"/>
                  </a:lnTo>
                  <a:lnTo>
                    <a:pt x="190" y="11"/>
                  </a:lnTo>
                  <a:lnTo>
                    <a:pt x="190" y="9"/>
                  </a:lnTo>
                  <a:lnTo>
                    <a:pt x="190" y="9"/>
                  </a:lnTo>
                  <a:lnTo>
                    <a:pt x="187" y="2"/>
                  </a:lnTo>
                  <a:lnTo>
                    <a:pt x="187" y="2"/>
                  </a:lnTo>
                  <a:lnTo>
                    <a:pt x="185" y="0"/>
                  </a:lnTo>
                  <a:lnTo>
                    <a:pt x="185" y="0"/>
                  </a:lnTo>
                  <a:lnTo>
                    <a:pt x="183" y="2"/>
                  </a:lnTo>
                  <a:lnTo>
                    <a:pt x="183" y="2"/>
                  </a:lnTo>
                  <a:lnTo>
                    <a:pt x="181" y="2"/>
                  </a:lnTo>
                  <a:lnTo>
                    <a:pt x="179" y="4"/>
                  </a:lnTo>
                  <a:lnTo>
                    <a:pt x="175" y="5"/>
                  </a:lnTo>
                  <a:lnTo>
                    <a:pt x="175" y="5"/>
                  </a:lnTo>
                  <a:lnTo>
                    <a:pt x="173" y="9"/>
                  </a:lnTo>
                  <a:lnTo>
                    <a:pt x="173" y="9"/>
                  </a:lnTo>
                  <a:lnTo>
                    <a:pt x="173" y="9"/>
                  </a:lnTo>
                  <a:lnTo>
                    <a:pt x="171" y="11"/>
                  </a:lnTo>
                  <a:lnTo>
                    <a:pt x="171" y="11"/>
                  </a:lnTo>
                  <a:lnTo>
                    <a:pt x="169" y="13"/>
                  </a:lnTo>
                  <a:lnTo>
                    <a:pt x="162" y="13"/>
                  </a:lnTo>
                  <a:lnTo>
                    <a:pt x="160" y="15"/>
                  </a:lnTo>
                  <a:lnTo>
                    <a:pt x="156" y="19"/>
                  </a:lnTo>
                  <a:lnTo>
                    <a:pt x="152" y="23"/>
                  </a:lnTo>
                  <a:lnTo>
                    <a:pt x="150" y="23"/>
                  </a:lnTo>
                  <a:lnTo>
                    <a:pt x="150" y="23"/>
                  </a:lnTo>
                  <a:lnTo>
                    <a:pt x="148" y="21"/>
                  </a:lnTo>
                  <a:lnTo>
                    <a:pt x="148" y="21"/>
                  </a:lnTo>
                  <a:lnTo>
                    <a:pt x="147" y="21"/>
                  </a:lnTo>
                  <a:lnTo>
                    <a:pt x="147" y="19"/>
                  </a:lnTo>
                  <a:lnTo>
                    <a:pt x="147" y="17"/>
                  </a:lnTo>
                  <a:lnTo>
                    <a:pt x="147" y="17"/>
                  </a:lnTo>
                  <a:lnTo>
                    <a:pt x="147" y="17"/>
                  </a:lnTo>
                  <a:lnTo>
                    <a:pt x="145" y="17"/>
                  </a:lnTo>
                  <a:lnTo>
                    <a:pt x="145" y="19"/>
                  </a:lnTo>
                  <a:lnTo>
                    <a:pt x="143" y="19"/>
                  </a:lnTo>
                  <a:lnTo>
                    <a:pt x="137" y="19"/>
                  </a:lnTo>
                  <a:lnTo>
                    <a:pt x="133" y="21"/>
                  </a:lnTo>
                  <a:lnTo>
                    <a:pt x="137" y="23"/>
                  </a:lnTo>
                  <a:lnTo>
                    <a:pt x="139" y="24"/>
                  </a:lnTo>
                  <a:lnTo>
                    <a:pt x="139" y="28"/>
                  </a:lnTo>
                  <a:lnTo>
                    <a:pt x="139" y="30"/>
                  </a:lnTo>
                  <a:lnTo>
                    <a:pt x="135" y="34"/>
                  </a:lnTo>
                  <a:lnTo>
                    <a:pt x="135" y="34"/>
                  </a:lnTo>
                  <a:lnTo>
                    <a:pt x="133" y="38"/>
                  </a:lnTo>
                  <a:lnTo>
                    <a:pt x="133" y="40"/>
                  </a:lnTo>
                  <a:lnTo>
                    <a:pt x="131" y="40"/>
                  </a:lnTo>
                  <a:lnTo>
                    <a:pt x="129" y="40"/>
                  </a:lnTo>
                  <a:lnTo>
                    <a:pt x="128" y="40"/>
                  </a:lnTo>
                  <a:lnTo>
                    <a:pt x="124" y="42"/>
                  </a:lnTo>
                  <a:lnTo>
                    <a:pt x="122" y="43"/>
                  </a:lnTo>
                  <a:lnTo>
                    <a:pt x="122" y="47"/>
                  </a:lnTo>
                  <a:lnTo>
                    <a:pt x="122" y="47"/>
                  </a:lnTo>
                  <a:lnTo>
                    <a:pt x="120" y="45"/>
                  </a:lnTo>
                  <a:lnTo>
                    <a:pt x="118" y="45"/>
                  </a:lnTo>
                  <a:lnTo>
                    <a:pt x="118" y="47"/>
                  </a:lnTo>
                  <a:lnTo>
                    <a:pt x="116" y="47"/>
                  </a:lnTo>
                  <a:lnTo>
                    <a:pt x="116" y="47"/>
                  </a:lnTo>
                  <a:lnTo>
                    <a:pt x="110" y="45"/>
                  </a:lnTo>
                  <a:lnTo>
                    <a:pt x="108" y="45"/>
                  </a:lnTo>
                  <a:lnTo>
                    <a:pt x="108" y="49"/>
                  </a:lnTo>
                  <a:lnTo>
                    <a:pt x="108" y="49"/>
                  </a:lnTo>
                  <a:lnTo>
                    <a:pt x="107" y="49"/>
                  </a:lnTo>
                  <a:lnTo>
                    <a:pt x="105" y="49"/>
                  </a:lnTo>
                  <a:lnTo>
                    <a:pt x="105" y="51"/>
                  </a:lnTo>
                  <a:lnTo>
                    <a:pt x="105" y="51"/>
                  </a:lnTo>
                  <a:lnTo>
                    <a:pt x="103" y="51"/>
                  </a:lnTo>
                  <a:lnTo>
                    <a:pt x="103" y="53"/>
                  </a:lnTo>
                  <a:lnTo>
                    <a:pt x="101" y="53"/>
                  </a:lnTo>
                  <a:lnTo>
                    <a:pt x="97" y="53"/>
                  </a:lnTo>
                  <a:lnTo>
                    <a:pt x="95" y="53"/>
                  </a:lnTo>
                  <a:lnTo>
                    <a:pt x="95" y="55"/>
                  </a:lnTo>
                  <a:lnTo>
                    <a:pt x="91" y="53"/>
                  </a:lnTo>
                  <a:lnTo>
                    <a:pt x="89" y="55"/>
                  </a:lnTo>
                  <a:lnTo>
                    <a:pt x="87" y="59"/>
                  </a:lnTo>
                  <a:lnTo>
                    <a:pt x="86" y="62"/>
                  </a:lnTo>
                  <a:lnTo>
                    <a:pt x="84" y="62"/>
                  </a:lnTo>
                  <a:lnTo>
                    <a:pt x="78" y="61"/>
                  </a:lnTo>
                  <a:lnTo>
                    <a:pt x="76" y="66"/>
                  </a:lnTo>
                  <a:lnTo>
                    <a:pt x="74" y="68"/>
                  </a:lnTo>
                  <a:lnTo>
                    <a:pt x="72" y="68"/>
                  </a:lnTo>
                  <a:lnTo>
                    <a:pt x="67" y="74"/>
                  </a:lnTo>
                  <a:lnTo>
                    <a:pt x="65" y="74"/>
                  </a:lnTo>
                  <a:lnTo>
                    <a:pt x="65" y="76"/>
                  </a:lnTo>
                  <a:lnTo>
                    <a:pt x="63" y="80"/>
                  </a:lnTo>
                  <a:lnTo>
                    <a:pt x="63" y="80"/>
                  </a:lnTo>
                  <a:lnTo>
                    <a:pt x="63" y="82"/>
                  </a:lnTo>
                  <a:lnTo>
                    <a:pt x="63" y="82"/>
                  </a:lnTo>
                  <a:lnTo>
                    <a:pt x="63" y="82"/>
                  </a:lnTo>
                  <a:lnTo>
                    <a:pt x="63" y="83"/>
                  </a:lnTo>
                  <a:lnTo>
                    <a:pt x="61" y="83"/>
                  </a:lnTo>
                  <a:lnTo>
                    <a:pt x="61" y="85"/>
                  </a:lnTo>
                  <a:lnTo>
                    <a:pt x="61" y="85"/>
                  </a:lnTo>
                  <a:lnTo>
                    <a:pt x="61" y="85"/>
                  </a:lnTo>
                  <a:lnTo>
                    <a:pt x="61" y="85"/>
                  </a:lnTo>
                  <a:lnTo>
                    <a:pt x="59" y="87"/>
                  </a:lnTo>
                  <a:lnTo>
                    <a:pt x="59" y="87"/>
                  </a:lnTo>
                  <a:lnTo>
                    <a:pt x="61" y="89"/>
                  </a:lnTo>
                  <a:lnTo>
                    <a:pt x="65" y="99"/>
                  </a:lnTo>
                  <a:lnTo>
                    <a:pt x="68" y="108"/>
                  </a:lnTo>
                  <a:lnTo>
                    <a:pt x="70" y="112"/>
                  </a:lnTo>
                  <a:lnTo>
                    <a:pt x="70" y="114"/>
                  </a:lnTo>
                  <a:lnTo>
                    <a:pt x="70" y="116"/>
                  </a:lnTo>
                  <a:lnTo>
                    <a:pt x="68" y="118"/>
                  </a:lnTo>
                  <a:lnTo>
                    <a:pt x="68" y="120"/>
                  </a:lnTo>
                  <a:lnTo>
                    <a:pt x="67" y="121"/>
                  </a:lnTo>
                  <a:lnTo>
                    <a:pt x="63" y="131"/>
                  </a:lnTo>
                  <a:lnTo>
                    <a:pt x="63" y="135"/>
                  </a:lnTo>
                  <a:lnTo>
                    <a:pt x="63" y="139"/>
                  </a:lnTo>
                  <a:lnTo>
                    <a:pt x="61" y="142"/>
                  </a:lnTo>
                  <a:lnTo>
                    <a:pt x="61" y="144"/>
                  </a:lnTo>
                  <a:lnTo>
                    <a:pt x="61" y="148"/>
                  </a:lnTo>
                  <a:lnTo>
                    <a:pt x="61" y="148"/>
                  </a:lnTo>
                  <a:lnTo>
                    <a:pt x="63" y="150"/>
                  </a:lnTo>
                  <a:lnTo>
                    <a:pt x="63" y="152"/>
                  </a:lnTo>
                  <a:lnTo>
                    <a:pt x="65" y="152"/>
                  </a:lnTo>
                  <a:lnTo>
                    <a:pt x="68" y="152"/>
                  </a:lnTo>
                  <a:lnTo>
                    <a:pt x="70" y="152"/>
                  </a:lnTo>
                  <a:lnTo>
                    <a:pt x="72" y="152"/>
                  </a:lnTo>
                  <a:lnTo>
                    <a:pt x="74" y="154"/>
                  </a:lnTo>
                  <a:lnTo>
                    <a:pt x="74" y="156"/>
                  </a:lnTo>
                  <a:lnTo>
                    <a:pt x="68" y="158"/>
                  </a:lnTo>
                  <a:lnTo>
                    <a:pt x="67" y="159"/>
                  </a:lnTo>
                  <a:lnTo>
                    <a:pt x="67" y="161"/>
                  </a:lnTo>
                  <a:lnTo>
                    <a:pt x="67" y="163"/>
                  </a:lnTo>
                  <a:lnTo>
                    <a:pt x="65" y="165"/>
                  </a:lnTo>
                  <a:lnTo>
                    <a:pt x="63" y="167"/>
                  </a:lnTo>
                  <a:lnTo>
                    <a:pt x="63" y="169"/>
                  </a:lnTo>
                  <a:lnTo>
                    <a:pt x="61" y="169"/>
                  </a:lnTo>
                  <a:lnTo>
                    <a:pt x="59" y="169"/>
                  </a:lnTo>
                  <a:lnTo>
                    <a:pt x="57" y="169"/>
                  </a:lnTo>
                  <a:lnTo>
                    <a:pt x="55" y="169"/>
                  </a:lnTo>
                  <a:lnTo>
                    <a:pt x="53" y="171"/>
                  </a:lnTo>
                  <a:lnTo>
                    <a:pt x="51" y="173"/>
                  </a:lnTo>
                  <a:lnTo>
                    <a:pt x="51" y="175"/>
                  </a:lnTo>
                  <a:lnTo>
                    <a:pt x="51" y="175"/>
                  </a:lnTo>
                  <a:lnTo>
                    <a:pt x="49" y="175"/>
                  </a:lnTo>
                  <a:lnTo>
                    <a:pt x="47" y="175"/>
                  </a:lnTo>
                  <a:lnTo>
                    <a:pt x="46" y="175"/>
                  </a:lnTo>
                  <a:lnTo>
                    <a:pt x="44" y="175"/>
                  </a:lnTo>
                  <a:lnTo>
                    <a:pt x="44" y="175"/>
                  </a:lnTo>
                  <a:lnTo>
                    <a:pt x="42" y="177"/>
                  </a:lnTo>
                  <a:lnTo>
                    <a:pt x="42" y="179"/>
                  </a:lnTo>
                  <a:lnTo>
                    <a:pt x="42" y="180"/>
                  </a:lnTo>
                  <a:lnTo>
                    <a:pt x="42" y="182"/>
                  </a:lnTo>
                  <a:lnTo>
                    <a:pt x="40" y="182"/>
                  </a:lnTo>
                  <a:lnTo>
                    <a:pt x="38" y="184"/>
                  </a:lnTo>
                  <a:lnTo>
                    <a:pt x="38" y="184"/>
                  </a:lnTo>
                  <a:lnTo>
                    <a:pt x="38" y="186"/>
                  </a:lnTo>
                  <a:lnTo>
                    <a:pt x="38" y="186"/>
                  </a:lnTo>
                  <a:lnTo>
                    <a:pt x="38" y="188"/>
                  </a:lnTo>
                  <a:lnTo>
                    <a:pt x="36" y="188"/>
                  </a:lnTo>
                  <a:lnTo>
                    <a:pt x="36" y="190"/>
                  </a:lnTo>
                  <a:lnTo>
                    <a:pt x="34" y="192"/>
                  </a:lnTo>
                  <a:lnTo>
                    <a:pt x="32" y="194"/>
                  </a:lnTo>
                  <a:lnTo>
                    <a:pt x="32" y="194"/>
                  </a:lnTo>
                  <a:lnTo>
                    <a:pt x="30" y="196"/>
                  </a:lnTo>
                  <a:lnTo>
                    <a:pt x="30" y="198"/>
                  </a:lnTo>
                  <a:lnTo>
                    <a:pt x="28" y="198"/>
                  </a:lnTo>
                  <a:lnTo>
                    <a:pt x="28" y="199"/>
                  </a:lnTo>
                  <a:lnTo>
                    <a:pt x="28" y="201"/>
                  </a:lnTo>
                  <a:lnTo>
                    <a:pt x="27" y="201"/>
                  </a:lnTo>
                  <a:lnTo>
                    <a:pt x="25" y="201"/>
                  </a:lnTo>
                  <a:lnTo>
                    <a:pt x="23" y="203"/>
                  </a:lnTo>
                  <a:lnTo>
                    <a:pt x="21" y="203"/>
                  </a:lnTo>
                  <a:lnTo>
                    <a:pt x="21" y="205"/>
                  </a:lnTo>
                  <a:lnTo>
                    <a:pt x="19" y="207"/>
                  </a:lnTo>
                  <a:lnTo>
                    <a:pt x="19" y="209"/>
                  </a:lnTo>
                  <a:lnTo>
                    <a:pt x="19" y="211"/>
                  </a:lnTo>
                  <a:lnTo>
                    <a:pt x="19" y="215"/>
                  </a:lnTo>
                  <a:lnTo>
                    <a:pt x="19" y="217"/>
                  </a:lnTo>
                  <a:lnTo>
                    <a:pt x="15" y="217"/>
                  </a:lnTo>
                  <a:lnTo>
                    <a:pt x="13" y="218"/>
                  </a:lnTo>
                  <a:lnTo>
                    <a:pt x="13" y="218"/>
                  </a:lnTo>
                  <a:lnTo>
                    <a:pt x="7" y="226"/>
                  </a:lnTo>
                  <a:lnTo>
                    <a:pt x="7" y="226"/>
                  </a:lnTo>
                  <a:lnTo>
                    <a:pt x="6" y="226"/>
                  </a:lnTo>
                  <a:lnTo>
                    <a:pt x="6" y="226"/>
                  </a:lnTo>
                  <a:lnTo>
                    <a:pt x="6" y="226"/>
                  </a:lnTo>
                  <a:lnTo>
                    <a:pt x="6" y="228"/>
                  </a:lnTo>
                  <a:lnTo>
                    <a:pt x="6" y="228"/>
                  </a:lnTo>
                  <a:lnTo>
                    <a:pt x="4" y="228"/>
                  </a:lnTo>
                  <a:lnTo>
                    <a:pt x="2" y="230"/>
                  </a:lnTo>
                  <a:lnTo>
                    <a:pt x="0" y="232"/>
                  </a:lnTo>
                  <a:lnTo>
                    <a:pt x="0" y="234"/>
                  </a:lnTo>
                  <a:lnTo>
                    <a:pt x="0" y="234"/>
                  </a:lnTo>
                  <a:lnTo>
                    <a:pt x="4" y="236"/>
                  </a:lnTo>
                  <a:lnTo>
                    <a:pt x="6" y="239"/>
                  </a:lnTo>
                  <a:lnTo>
                    <a:pt x="7" y="243"/>
                  </a:lnTo>
                  <a:lnTo>
                    <a:pt x="9" y="247"/>
                  </a:lnTo>
                  <a:lnTo>
                    <a:pt x="9" y="249"/>
                  </a:lnTo>
                  <a:lnTo>
                    <a:pt x="11" y="251"/>
                  </a:lnTo>
                  <a:lnTo>
                    <a:pt x="11" y="253"/>
                  </a:lnTo>
                  <a:lnTo>
                    <a:pt x="11" y="255"/>
                  </a:lnTo>
                  <a:lnTo>
                    <a:pt x="11" y="256"/>
                  </a:lnTo>
                  <a:lnTo>
                    <a:pt x="11" y="256"/>
                  </a:lnTo>
                  <a:lnTo>
                    <a:pt x="4" y="268"/>
                  </a:lnTo>
                  <a:lnTo>
                    <a:pt x="4" y="270"/>
                  </a:lnTo>
                  <a:lnTo>
                    <a:pt x="4" y="272"/>
                  </a:lnTo>
                  <a:lnTo>
                    <a:pt x="4" y="272"/>
                  </a:lnTo>
                  <a:lnTo>
                    <a:pt x="4" y="272"/>
                  </a:lnTo>
                  <a:lnTo>
                    <a:pt x="6" y="274"/>
                  </a:lnTo>
                  <a:lnTo>
                    <a:pt x="40" y="275"/>
                  </a:lnTo>
                  <a:lnTo>
                    <a:pt x="49" y="275"/>
                  </a:lnTo>
                  <a:lnTo>
                    <a:pt x="61" y="277"/>
                  </a:lnTo>
                  <a:lnTo>
                    <a:pt x="67" y="277"/>
                  </a:lnTo>
                  <a:lnTo>
                    <a:pt x="72" y="279"/>
                  </a:lnTo>
                  <a:lnTo>
                    <a:pt x="74" y="279"/>
                  </a:lnTo>
                  <a:lnTo>
                    <a:pt x="74" y="279"/>
                  </a:lnTo>
                  <a:lnTo>
                    <a:pt x="74" y="279"/>
                  </a:lnTo>
                  <a:lnTo>
                    <a:pt x="76" y="277"/>
                  </a:lnTo>
                  <a:lnTo>
                    <a:pt x="76" y="277"/>
                  </a:lnTo>
                  <a:lnTo>
                    <a:pt x="76" y="277"/>
                  </a:lnTo>
                  <a:lnTo>
                    <a:pt x="80" y="274"/>
                  </a:lnTo>
                  <a:lnTo>
                    <a:pt x="80" y="274"/>
                  </a:lnTo>
                  <a:lnTo>
                    <a:pt x="82" y="274"/>
                  </a:lnTo>
                  <a:lnTo>
                    <a:pt x="82" y="274"/>
                  </a:lnTo>
                  <a:lnTo>
                    <a:pt x="86" y="274"/>
                  </a:lnTo>
                  <a:lnTo>
                    <a:pt x="87" y="272"/>
                  </a:lnTo>
                  <a:lnTo>
                    <a:pt x="89" y="272"/>
                  </a:lnTo>
                  <a:lnTo>
                    <a:pt x="89" y="272"/>
                  </a:lnTo>
                  <a:lnTo>
                    <a:pt x="89" y="274"/>
                  </a:lnTo>
                  <a:lnTo>
                    <a:pt x="91" y="274"/>
                  </a:lnTo>
                  <a:lnTo>
                    <a:pt x="91" y="274"/>
                  </a:lnTo>
                  <a:lnTo>
                    <a:pt x="91" y="275"/>
                  </a:lnTo>
                  <a:lnTo>
                    <a:pt x="93" y="275"/>
                  </a:lnTo>
                  <a:lnTo>
                    <a:pt x="97" y="275"/>
                  </a:lnTo>
                  <a:lnTo>
                    <a:pt x="99" y="275"/>
                  </a:lnTo>
                  <a:lnTo>
                    <a:pt x="99" y="277"/>
                  </a:lnTo>
                  <a:lnTo>
                    <a:pt x="99" y="277"/>
                  </a:lnTo>
                  <a:lnTo>
                    <a:pt x="99" y="277"/>
                  </a:lnTo>
                  <a:lnTo>
                    <a:pt x="101" y="277"/>
                  </a:lnTo>
                  <a:lnTo>
                    <a:pt x="101" y="279"/>
                  </a:lnTo>
                  <a:lnTo>
                    <a:pt x="101" y="279"/>
                  </a:lnTo>
                  <a:lnTo>
                    <a:pt x="101" y="281"/>
                  </a:lnTo>
                  <a:lnTo>
                    <a:pt x="101" y="281"/>
                  </a:lnTo>
                  <a:lnTo>
                    <a:pt x="103" y="283"/>
                  </a:lnTo>
                  <a:lnTo>
                    <a:pt x="105" y="283"/>
                  </a:lnTo>
                  <a:lnTo>
                    <a:pt x="105" y="283"/>
                  </a:lnTo>
                  <a:lnTo>
                    <a:pt x="105" y="283"/>
                  </a:lnTo>
                  <a:lnTo>
                    <a:pt x="107" y="285"/>
                  </a:lnTo>
                  <a:lnTo>
                    <a:pt x="107" y="285"/>
                  </a:lnTo>
                  <a:lnTo>
                    <a:pt x="108" y="285"/>
                  </a:lnTo>
                  <a:lnTo>
                    <a:pt x="110" y="283"/>
                  </a:lnTo>
                  <a:lnTo>
                    <a:pt x="112" y="283"/>
                  </a:lnTo>
                  <a:lnTo>
                    <a:pt x="112" y="283"/>
                  </a:lnTo>
                  <a:lnTo>
                    <a:pt x="112" y="283"/>
                  </a:lnTo>
                  <a:lnTo>
                    <a:pt x="114" y="281"/>
                  </a:lnTo>
                  <a:lnTo>
                    <a:pt x="114" y="281"/>
                  </a:lnTo>
                  <a:lnTo>
                    <a:pt x="114" y="281"/>
                  </a:lnTo>
                  <a:lnTo>
                    <a:pt x="114" y="279"/>
                  </a:lnTo>
                  <a:lnTo>
                    <a:pt x="114" y="279"/>
                  </a:lnTo>
                  <a:lnTo>
                    <a:pt x="114" y="279"/>
                  </a:lnTo>
                  <a:lnTo>
                    <a:pt x="114" y="279"/>
                  </a:lnTo>
                  <a:lnTo>
                    <a:pt x="116" y="279"/>
                  </a:lnTo>
                  <a:lnTo>
                    <a:pt x="116" y="279"/>
                  </a:lnTo>
                  <a:lnTo>
                    <a:pt x="116" y="281"/>
                  </a:lnTo>
                  <a:lnTo>
                    <a:pt x="116" y="281"/>
                  </a:lnTo>
                  <a:lnTo>
                    <a:pt x="116" y="283"/>
                  </a:lnTo>
                  <a:lnTo>
                    <a:pt x="116" y="283"/>
                  </a:lnTo>
                  <a:lnTo>
                    <a:pt x="116" y="283"/>
                  </a:lnTo>
                  <a:lnTo>
                    <a:pt x="116" y="285"/>
                  </a:lnTo>
                  <a:lnTo>
                    <a:pt x="114" y="285"/>
                  </a:lnTo>
                  <a:lnTo>
                    <a:pt x="114" y="285"/>
                  </a:lnTo>
                  <a:lnTo>
                    <a:pt x="114" y="285"/>
                  </a:lnTo>
                  <a:lnTo>
                    <a:pt x="114" y="285"/>
                  </a:lnTo>
                  <a:lnTo>
                    <a:pt x="116" y="285"/>
                  </a:lnTo>
                  <a:lnTo>
                    <a:pt x="116" y="287"/>
                  </a:lnTo>
                  <a:lnTo>
                    <a:pt x="116" y="287"/>
                  </a:lnTo>
                  <a:lnTo>
                    <a:pt x="116" y="289"/>
                  </a:lnTo>
                  <a:lnTo>
                    <a:pt x="116" y="289"/>
                  </a:lnTo>
                  <a:lnTo>
                    <a:pt x="116" y="291"/>
                  </a:lnTo>
                  <a:lnTo>
                    <a:pt x="118" y="291"/>
                  </a:lnTo>
                  <a:lnTo>
                    <a:pt x="118" y="291"/>
                  </a:lnTo>
                  <a:lnTo>
                    <a:pt x="120" y="293"/>
                  </a:lnTo>
                  <a:lnTo>
                    <a:pt x="120" y="293"/>
                  </a:lnTo>
                  <a:lnTo>
                    <a:pt x="120" y="293"/>
                  </a:lnTo>
                  <a:lnTo>
                    <a:pt x="120" y="293"/>
                  </a:lnTo>
                  <a:lnTo>
                    <a:pt x="120" y="293"/>
                  </a:lnTo>
                  <a:lnTo>
                    <a:pt x="120" y="291"/>
                  </a:lnTo>
                  <a:lnTo>
                    <a:pt x="120" y="291"/>
                  </a:lnTo>
                  <a:lnTo>
                    <a:pt x="122" y="289"/>
                  </a:lnTo>
                  <a:lnTo>
                    <a:pt x="122" y="289"/>
                  </a:lnTo>
                  <a:lnTo>
                    <a:pt x="124" y="289"/>
                  </a:lnTo>
                  <a:lnTo>
                    <a:pt x="124" y="289"/>
                  </a:lnTo>
                  <a:lnTo>
                    <a:pt x="124" y="289"/>
                  </a:lnTo>
                  <a:lnTo>
                    <a:pt x="124" y="289"/>
                  </a:lnTo>
                  <a:lnTo>
                    <a:pt x="124" y="291"/>
                  </a:lnTo>
                  <a:lnTo>
                    <a:pt x="126" y="291"/>
                  </a:lnTo>
                  <a:lnTo>
                    <a:pt x="126" y="293"/>
                  </a:lnTo>
                  <a:lnTo>
                    <a:pt x="126" y="293"/>
                  </a:lnTo>
                  <a:lnTo>
                    <a:pt x="128" y="296"/>
                  </a:lnTo>
                  <a:lnTo>
                    <a:pt x="128" y="296"/>
                  </a:lnTo>
                  <a:lnTo>
                    <a:pt x="128" y="296"/>
                  </a:lnTo>
                  <a:lnTo>
                    <a:pt x="128" y="298"/>
                  </a:lnTo>
                  <a:lnTo>
                    <a:pt x="128" y="298"/>
                  </a:lnTo>
                  <a:lnTo>
                    <a:pt x="128" y="298"/>
                  </a:lnTo>
                  <a:lnTo>
                    <a:pt x="128" y="298"/>
                  </a:lnTo>
                  <a:lnTo>
                    <a:pt x="128" y="298"/>
                  </a:lnTo>
                  <a:lnTo>
                    <a:pt x="126" y="298"/>
                  </a:lnTo>
                  <a:lnTo>
                    <a:pt x="126" y="298"/>
                  </a:lnTo>
                  <a:lnTo>
                    <a:pt x="126" y="298"/>
                  </a:lnTo>
                  <a:lnTo>
                    <a:pt x="126" y="298"/>
                  </a:lnTo>
                  <a:lnTo>
                    <a:pt x="126" y="298"/>
                  </a:lnTo>
                  <a:lnTo>
                    <a:pt x="126" y="298"/>
                  </a:lnTo>
                  <a:lnTo>
                    <a:pt x="126" y="298"/>
                  </a:lnTo>
                  <a:lnTo>
                    <a:pt x="126" y="300"/>
                  </a:lnTo>
                  <a:lnTo>
                    <a:pt x="126" y="302"/>
                  </a:lnTo>
                  <a:lnTo>
                    <a:pt x="126" y="302"/>
                  </a:lnTo>
                  <a:lnTo>
                    <a:pt x="126" y="302"/>
                  </a:lnTo>
                  <a:lnTo>
                    <a:pt x="124" y="302"/>
                  </a:lnTo>
                  <a:lnTo>
                    <a:pt x="124" y="304"/>
                  </a:lnTo>
                  <a:lnTo>
                    <a:pt x="124" y="304"/>
                  </a:lnTo>
                  <a:lnTo>
                    <a:pt x="122" y="304"/>
                  </a:lnTo>
                  <a:lnTo>
                    <a:pt x="122" y="304"/>
                  </a:lnTo>
                  <a:lnTo>
                    <a:pt x="122" y="304"/>
                  </a:lnTo>
                  <a:lnTo>
                    <a:pt x="122" y="304"/>
                  </a:lnTo>
                  <a:lnTo>
                    <a:pt x="124" y="306"/>
                  </a:lnTo>
                  <a:lnTo>
                    <a:pt x="124" y="308"/>
                  </a:lnTo>
                  <a:lnTo>
                    <a:pt x="124" y="308"/>
                  </a:lnTo>
                  <a:lnTo>
                    <a:pt x="124" y="308"/>
                  </a:lnTo>
                  <a:lnTo>
                    <a:pt x="124" y="308"/>
                  </a:lnTo>
                  <a:lnTo>
                    <a:pt x="124" y="308"/>
                  </a:lnTo>
                  <a:lnTo>
                    <a:pt x="124" y="310"/>
                  </a:lnTo>
                  <a:lnTo>
                    <a:pt x="126" y="310"/>
                  </a:lnTo>
                  <a:lnTo>
                    <a:pt x="126" y="312"/>
                  </a:lnTo>
                  <a:lnTo>
                    <a:pt x="126" y="312"/>
                  </a:lnTo>
                  <a:lnTo>
                    <a:pt x="126" y="312"/>
                  </a:lnTo>
                  <a:lnTo>
                    <a:pt x="126" y="314"/>
                  </a:lnTo>
                  <a:lnTo>
                    <a:pt x="128" y="314"/>
                  </a:lnTo>
                  <a:lnTo>
                    <a:pt x="128" y="314"/>
                  </a:lnTo>
                  <a:lnTo>
                    <a:pt x="128" y="315"/>
                  </a:lnTo>
                  <a:lnTo>
                    <a:pt x="128" y="317"/>
                  </a:lnTo>
                  <a:lnTo>
                    <a:pt x="129" y="317"/>
                  </a:lnTo>
                  <a:lnTo>
                    <a:pt x="131" y="317"/>
                  </a:lnTo>
                  <a:lnTo>
                    <a:pt x="133" y="315"/>
                  </a:lnTo>
                  <a:lnTo>
                    <a:pt x="133" y="315"/>
                  </a:lnTo>
                  <a:lnTo>
                    <a:pt x="135" y="315"/>
                  </a:lnTo>
                  <a:lnTo>
                    <a:pt x="133" y="314"/>
                  </a:lnTo>
                  <a:lnTo>
                    <a:pt x="133" y="314"/>
                  </a:lnTo>
                  <a:lnTo>
                    <a:pt x="133" y="312"/>
                  </a:lnTo>
                  <a:lnTo>
                    <a:pt x="133" y="312"/>
                  </a:lnTo>
                  <a:lnTo>
                    <a:pt x="133" y="310"/>
                  </a:lnTo>
                  <a:lnTo>
                    <a:pt x="135" y="308"/>
                  </a:lnTo>
                  <a:lnTo>
                    <a:pt x="135" y="306"/>
                  </a:lnTo>
                  <a:lnTo>
                    <a:pt x="137" y="306"/>
                  </a:lnTo>
                  <a:lnTo>
                    <a:pt x="137" y="308"/>
                  </a:lnTo>
                  <a:lnTo>
                    <a:pt x="137" y="306"/>
                  </a:lnTo>
                  <a:lnTo>
                    <a:pt x="139" y="306"/>
                  </a:lnTo>
                  <a:lnTo>
                    <a:pt x="139" y="306"/>
                  </a:lnTo>
                  <a:lnTo>
                    <a:pt x="139" y="304"/>
                  </a:lnTo>
                  <a:lnTo>
                    <a:pt x="139" y="304"/>
                  </a:lnTo>
                  <a:lnTo>
                    <a:pt x="141" y="302"/>
                  </a:lnTo>
                  <a:lnTo>
                    <a:pt x="141" y="300"/>
                  </a:lnTo>
                  <a:lnTo>
                    <a:pt x="145" y="296"/>
                  </a:lnTo>
                  <a:lnTo>
                    <a:pt x="147" y="295"/>
                  </a:lnTo>
                  <a:lnTo>
                    <a:pt x="147" y="291"/>
                  </a:lnTo>
                  <a:lnTo>
                    <a:pt x="148" y="291"/>
                  </a:lnTo>
                  <a:lnTo>
                    <a:pt x="148" y="291"/>
                  </a:lnTo>
                  <a:lnTo>
                    <a:pt x="150" y="293"/>
                  </a:lnTo>
                  <a:lnTo>
                    <a:pt x="154" y="293"/>
                  </a:lnTo>
                  <a:lnTo>
                    <a:pt x="156" y="295"/>
                  </a:lnTo>
                  <a:lnTo>
                    <a:pt x="156" y="293"/>
                  </a:lnTo>
                  <a:lnTo>
                    <a:pt x="156" y="295"/>
                  </a:lnTo>
                  <a:lnTo>
                    <a:pt x="160" y="295"/>
                  </a:lnTo>
                  <a:lnTo>
                    <a:pt x="162" y="296"/>
                  </a:lnTo>
                  <a:lnTo>
                    <a:pt x="164" y="296"/>
                  </a:lnTo>
                  <a:lnTo>
                    <a:pt x="166" y="295"/>
                  </a:lnTo>
                  <a:lnTo>
                    <a:pt x="168" y="295"/>
                  </a:lnTo>
                  <a:lnTo>
                    <a:pt x="171" y="296"/>
                  </a:lnTo>
                  <a:lnTo>
                    <a:pt x="171" y="295"/>
                  </a:lnTo>
                  <a:lnTo>
                    <a:pt x="173" y="295"/>
                  </a:lnTo>
                  <a:lnTo>
                    <a:pt x="173" y="295"/>
                  </a:lnTo>
                  <a:lnTo>
                    <a:pt x="173" y="293"/>
                  </a:lnTo>
                  <a:lnTo>
                    <a:pt x="173" y="293"/>
                  </a:lnTo>
                  <a:lnTo>
                    <a:pt x="173" y="291"/>
                  </a:lnTo>
                  <a:lnTo>
                    <a:pt x="177" y="289"/>
                  </a:lnTo>
                  <a:lnTo>
                    <a:pt x="179" y="289"/>
                  </a:lnTo>
                  <a:lnTo>
                    <a:pt x="179" y="289"/>
                  </a:lnTo>
                  <a:lnTo>
                    <a:pt x="181" y="289"/>
                  </a:lnTo>
                  <a:lnTo>
                    <a:pt x="183" y="289"/>
                  </a:lnTo>
                  <a:lnTo>
                    <a:pt x="183" y="291"/>
                  </a:lnTo>
                  <a:lnTo>
                    <a:pt x="185" y="293"/>
                  </a:lnTo>
                  <a:lnTo>
                    <a:pt x="185" y="293"/>
                  </a:lnTo>
                  <a:lnTo>
                    <a:pt x="187" y="296"/>
                  </a:lnTo>
                  <a:lnTo>
                    <a:pt x="187" y="296"/>
                  </a:lnTo>
                  <a:lnTo>
                    <a:pt x="188" y="298"/>
                  </a:lnTo>
                  <a:lnTo>
                    <a:pt x="190" y="298"/>
                  </a:lnTo>
                  <a:lnTo>
                    <a:pt x="192" y="298"/>
                  </a:lnTo>
                  <a:lnTo>
                    <a:pt x="194" y="298"/>
                  </a:lnTo>
                  <a:lnTo>
                    <a:pt x="196" y="298"/>
                  </a:lnTo>
                  <a:lnTo>
                    <a:pt x="198" y="296"/>
                  </a:lnTo>
                  <a:lnTo>
                    <a:pt x="198" y="296"/>
                  </a:lnTo>
                  <a:lnTo>
                    <a:pt x="202" y="296"/>
                  </a:lnTo>
                  <a:lnTo>
                    <a:pt x="202" y="296"/>
                  </a:lnTo>
                  <a:lnTo>
                    <a:pt x="204" y="296"/>
                  </a:lnTo>
                  <a:lnTo>
                    <a:pt x="206" y="293"/>
                  </a:lnTo>
                  <a:lnTo>
                    <a:pt x="209" y="291"/>
                  </a:lnTo>
                  <a:lnTo>
                    <a:pt x="211" y="289"/>
                  </a:lnTo>
                  <a:lnTo>
                    <a:pt x="213" y="289"/>
                  </a:lnTo>
                  <a:lnTo>
                    <a:pt x="215" y="287"/>
                  </a:lnTo>
                  <a:lnTo>
                    <a:pt x="219" y="287"/>
                  </a:lnTo>
                  <a:lnTo>
                    <a:pt x="219" y="285"/>
                  </a:lnTo>
                  <a:lnTo>
                    <a:pt x="219" y="283"/>
                  </a:lnTo>
                  <a:lnTo>
                    <a:pt x="219" y="283"/>
                  </a:lnTo>
                  <a:lnTo>
                    <a:pt x="217" y="281"/>
                  </a:lnTo>
                  <a:lnTo>
                    <a:pt x="217" y="281"/>
                  </a:lnTo>
                  <a:lnTo>
                    <a:pt x="215" y="281"/>
                  </a:lnTo>
                  <a:lnTo>
                    <a:pt x="215" y="279"/>
                  </a:lnTo>
                  <a:lnTo>
                    <a:pt x="215" y="279"/>
                  </a:lnTo>
                  <a:lnTo>
                    <a:pt x="215" y="277"/>
                  </a:lnTo>
                  <a:lnTo>
                    <a:pt x="215" y="277"/>
                  </a:lnTo>
                  <a:lnTo>
                    <a:pt x="215" y="275"/>
                  </a:lnTo>
                  <a:lnTo>
                    <a:pt x="215" y="274"/>
                  </a:lnTo>
                  <a:lnTo>
                    <a:pt x="217" y="268"/>
                  </a:lnTo>
                  <a:lnTo>
                    <a:pt x="217" y="268"/>
                  </a:lnTo>
                  <a:lnTo>
                    <a:pt x="219" y="266"/>
                  </a:lnTo>
                  <a:lnTo>
                    <a:pt x="219" y="266"/>
                  </a:lnTo>
                  <a:lnTo>
                    <a:pt x="219" y="266"/>
                  </a:lnTo>
                  <a:lnTo>
                    <a:pt x="219" y="266"/>
                  </a:lnTo>
                  <a:lnTo>
                    <a:pt x="219" y="264"/>
                  </a:lnTo>
                  <a:lnTo>
                    <a:pt x="219" y="264"/>
                  </a:lnTo>
                  <a:lnTo>
                    <a:pt x="219" y="264"/>
                  </a:lnTo>
                  <a:lnTo>
                    <a:pt x="219" y="262"/>
                  </a:lnTo>
                  <a:lnTo>
                    <a:pt x="219" y="262"/>
                  </a:lnTo>
                  <a:lnTo>
                    <a:pt x="219" y="262"/>
                  </a:lnTo>
                  <a:lnTo>
                    <a:pt x="221" y="262"/>
                  </a:lnTo>
                  <a:lnTo>
                    <a:pt x="223" y="262"/>
                  </a:lnTo>
                  <a:lnTo>
                    <a:pt x="221" y="260"/>
                  </a:lnTo>
                  <a:lnTo>
                    <a:pt x="221" y="260"/>
                  </a:lnTo>
                  <a:lnTo>
                    <a:pt x="219" y="260"/>
                  </a:lnTo>
                  <a:lnTo>
                    <a:pt x="219" y="260"/>
                  </a:lnTo>
                  <a:lnTo>
                    <a:pt x="217" y="258"/>
                  </a:lnTo>
                  <a:lnTo>
                    <a:pt x="217" y="258"/>
                  </a:lnTo>
                  <a:lnTo>
                    <a:pt x="217" y="258"/>
                  </a:lnTo>
                  <a:lnTo>
                    <a:pt x="217" y="256"/>
                  </a:lnTo>
                  <a:lnTo>
                    <a:pt x="219" y="256"/>
                  </a:lnTo>
                  <a:lnTo>
                    <a:pt x="219" y="256"/>
                  </a:lnTo>
                  <a:lnTo>
                    <a:pt x="219" y="256"/>
                  </a:lnTo>
                  <a:lnTo>
                    <a:pt x="223" y="258"/>
                  </a:lnTo>
                  <a:lnTo>
                    <a:pt x="223" y="258"/>
                  </a:lnTo>
                  <a:lnTo>
                    <a:pt x="225" y="258"/>
                  </a:lnTo>
                  <a:lnTo>
                    <a:pt x="225" y="258"/>
                  </a:lnTo>
                  <a:lnTo>
                    <a:pt x="227" y="260"/>
                  </a:lnTo>
                  <a:lnTo>
                    <a:pt x="227" y="260"/>
                  </a:lnTo>
                  <a:lnTo>
                    <a:pt x="229" y="260"/>
                  </a:lnTo>
                  <a:lnTo>
                    <a:pt x="229" y="258"/>
                  </a:lnTo>
                  <a:lnTo>
                    <a:pt x="229" y="258"/>
                  </a:lnTo>
                  <a:lnTo>
                    <a:pt x="229" y="258"/>
                  </a:lnTo>
                  <a:lnTo>
                    <a:pt x="229" y="256"/>
                  </a:lnTo>
                  <a:lnTo>
                    <a:pt x="229" y="256"/>
                  </a:lnTo>
                  <a:lnTo>
                    <a:pt x="229" y="256"/>
                  </a:lnTo>
                  <a:lnTo>
                    <a:pt x="230" y="256"/>
                  </a:lnTo>
                  <a:lnTo>
                    <a:pt x="230" y="256"/>
                  </a:lnTo>
                  <a:lnTo>
                    <a:pt x="232" y="258"/>
                  </a:lnTo>
                  <a:lnTo>
                    <a:pt x="232" y="258"/>
                  </a:lnTo>
                  <a:lnTo>
                    <a:pt x="232" y="258"/>
                  </a:lnTo>
                  <a:lnTo>
                    <a:pt x="232" y="258"/>
                  </a:lnTo>
                  <a:lnTo>
                    <a:pt x="234" y="258"/>
                  </a:lnTo>
                  <a:lnTo>
                    <a:pt x="234" y="258"/>
                  </a:lnTo>
                  <a:lnTo>
                    <a:pt x="234" y="256"/>
                  </a:lnTo>
                  <a:lnTo>
                    <a:pt x="234" y="255"/>
                  </a:lnTo>
                  <a:lnTo>
                    <a:pt x="234" y="255"/>
                  </a:lnTo>
                  <a:lnTo>
                    <a:pt x="234" y="255"/>
                  </a:lnTo>
                  <a:lnTo>
                    <a:pt x="234" y="253"/>
                  </a:lnTo>
                  <a:lnTo>
                    <a:pt x="234" y="253"/>
                  </a:lnTo>
                  <a:lnTo>
                    <a:pt x="234" y="253"/>
                  </a:lnTo>
                  <a:lnTo>
                    <a:pt x="234" y="251"/>
                  </a:lnTo>
                  <a:lnTo>
                    <a:pt x="236" y="251"/>
                  </a:lnTo>
                  <a:lnTo>
                    <a:pt x="236" y="251"/>
                  </a:lnTo>
                  <a:lnTo>
                    <a:pt x="236" y="251"/>
                  </a:lnTo>
                  <a:lnTo>
                    <a:pt x="238" y="253"/>
                  </a:lnTo>
                  <a:lnTo>
                    <a:pt x="238" y="256"/>
                  </a:lnTo>
                  <a:lnTo>
                    <a:pt x="238" y="258"/>
                  </a:lnTo>
                  <a:lnTo>
                    <a:pt x="240" y="260"/>
                  </a:lnTo>
                  <a:lnTo>
                    <a:pt x="240" y="260"/>
                  </a:lnTo>
                  <a:lnTo>
                    <a:pt x="242" y="260"/>
                  </a:lnTo>
                  <a:lnTo>
                    <a:pt x="244" y="262"/>
                  </a:lnTo>
                  <a:lnTo>
                    <a:pt x="244" y="262"/>
                  </a:lnTo>
                  <a:lnTo>
                    <a:pt x="248" y="262"/>
                  </a:lnTo>
                  <a:lnTo>
                    <a:pt x="253" y="258"/>
                  </a:lnTo>
                  <a:lnTo>
                    <a:pt x="257" y="256"/>
                  </a:lnTo>
                  <a:lnTo>
                    <a:pt x="257" y="255"/>
                  </a:lnTo>
                  <a:lnTo>
                    <a:pt x="257" y="255"/>
                  </a:lnTo>
                  <a:lnTo>
                    <a:pt x="257" y="253"/>
                  </a:lnTo>
                  <a:lnTo>
                    <a:pt x="257" y="251"/>
                  </a:lnTo>
                  <a:lnTo>
                    <a:pt x="257" y="251"/>
                  </a:lnTo>
                  <a:lnTo>
                    <a:pt x="257" y="251"/>
                  </a:lnTo>
                  <a:lnTo>
                    <a:pt x="257" y="249"/>
                  </a:lnTo>
                  <a:lnTo>
                    <a:pt x="257" y="249"/>
                  </a:lnTo>
                  <a:lnTo>
                    <a:pt x="257" y="249"/>
                  </a:lnTo>
                  <a:lnTo>
                    <a:pt x="257" y="249"/>
                  </a:lnTo>
                  <a:lnTo>
                    <a:pt x="255" y="249"/>
                  </a:lnTo>
                  <a:lnTo>
                    <a:pt x="255" y="247"/>
                  </a:lnTo>
                  <a:lnTo>
                    <a:pt x="255" y="247"/>
                  </a:lnTo>
                  <a:lnTo>
                    <a:pt x="253" y="247"/>
                  </a:lnTo>
                  <a:lnTo>
                    <a:pt x="253" y="247"/>
                  </a:lnTo>
                  <a:lnTo>
                    <a:pt x="253" y="245"/>
                  </a:lnTo>
                  <a:lnTo>
                    <a:pt x="253" y="245"/>
                  </a:lnTo>
                  <a:lnTo>
                    <a:pt x="253" y="245"/>
                  </a:lnTo>
                  <a:lnTo>
                    <a:pt x="253" y="245"/>
                  </a:lnTo>
                  <a:lnTo>
                    <a:pt x="253" y="245"/>
                  </a:lnTo>
                  <a:lnTo>
                    <a:pt x="251" y="245"/>
                  </a:lnTo>
                  <a:lnTo>
                    <a:pt x="251" y="245"/>
                  </a:lnTo>
                  <a:lnTo>
                    <a:pt x="249" y="247"/>
                  </a:lnTo>
                  <a:lnTo>
                    <a:pt x="249" y="247"/>
                  </a:lnTo>
                  <a:lnTo>
                    <a:pt x="249" y="247"/>
                  </a:lnTo>
                  <a:lnTo>
                    <a:pt x="249" y="247"/>
                  </a:lnTo>
                  <a:lnTo>
                    <a:pt x="248" y="247"/>
                  </a:lnTo>
                  <a:lnTo>
                    <a:pt x="248" y="247"/>
                  </a:lnTo>
                  <a:lnTo>
                    <a:pt x="248" y="245"/>
                  </a:lnTo>
                  <a:lnTo>
                    <a:pt x="248" y="245"/>
                  </a:lnTo>
                  <a:lnTo>
                    <a:pt x="249" y="243"/>
                  </a:lnTo>
                  <a:lnTo>
                    <a:pt x="251" y="243"/>
                  </a:lnTo>
                  <a:lnTo>
                    <a:pt x="255" y="241"/>
                  </a:lnTo>
                  <a:lnTo>
                    <a:pt x="255" y="241"/>
                  </a:lnTo>
                  <a:lnTo>
                    <a:pt x="257" y="239"/>
                  </a:lnTo>
                  <a:lnTo>
                    <a:pt x="259" y="239"/>
                  </a:lnTo>
                  <a:lnTo>
                    <a:pt x="265" y="236"/>
                  </a:lnTo>
                  <a:lnTo>
                    <a:pt x="267" y="234"/>
                  </a:lnTo>
                  <a:lnTo>
                    <a:pt x="267" y="234"/>
                  </a:lnTo>
                  <a:lnTo>
                    <a:pt x="267" y="232"/>
                  </a:lnTo>
                  <a:lnTo>
                    <a:pt x="267" y="232"/>
                  </a:lnTo>
                  <a:lnTo>
                    <a:pt x="267" y="232"/>
                  </a:lnTo>
                  <a:lnTo>
                    <a:pt x="265" y="232"/>
                  </a:lnTo>
                  <a:lnTo>
                    <a:pt x="265" y="232"/>
                  </a:lnTo>
                  <a:lnTo>
                    <a:pt x="265" y="232"/>
                  </a:lnTo>
                  <a:lnTo>
                    <a:pt x="265" y="230"/>
                  </a:lnTo>
                  <a:lnTo>
                    <a:pt x="265" y="228"/>
                  </a:lnTo>
                  <a:lnTo>
                    <a:pt x="265" y="226"/>
                  </a:lnTo>
                  <a:lnTo>
                    <a:pt x="267" y="226"/>
                  </a:lnTo>
                  <a:lnTo>
                    <a:pt x="269" y="224"/>
                  </a:lnTo>
                  <a:lnTo>
                    <a:pt x="269" y="224"/>
                  </a:lnTo>
                  <a:lnTo>
                    <a:pt x="270" y="226"/>
                  </a:lnTo>
                  <a:lnTo>
                    <a:pt x="272" y="226"/>
                  </a:lnTo>
                  <a:lnTo>
                    <a:pt x="274" y="226"/>
                  </a:lnTo>
                  <a:lnTo>
                    <a:pt x="276" y="226"/>
                  </a:lnTo>
                  <a:lnTo>
                    <a:pt x="276" y="226"/>
                  </a:lnTo>
                  <a:lnTo>
                    <a:pt x="278" y="228"/>
                  </a:lnTo>
                  <a:lnTo>
                    <a:pt x="278" y="230"/>
                  </a:lnTo>
                  <a:lnTo>
                    <a:pt x="278" y="232"/>
                  </a:lnTo>
                  <a:lnTo>
                    <a:pt x="280" y="234"/>
                  </a:lnTo>
                  <a:lnTo>
                    <a:pt x="280" y="232"/>
                  </a:lnTo>
                  <a:lnTo>
                    <a:pt x="282" y="232"/>
                  </a:lnTo>
                  <a:lnTo>
                    <a:pt x="282" y="230"/>
                  </a:lnTo>
                  <a:lnTo>
                    <a:pt x="282" y="228"/>
                  </a:lnTo>
                  <a:lnTo>
                    <a:pt x="282" y="228"/>
                  </a:lnTo>
                  <a:lnTo>
                    <a:pt x="282" y="2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1" name="Freeform 23">
              <a:extLst>
                <a:ext uri="{FF2B5EF4-FFF2-40B4-BE49-F238E27FC236}">
                  <a16:creationId xmlns:a16="http://schemas.microsoft.com/office/drawing/2014/main" id="{08079A8B-EF85-C57C-50FE-F754DE45F564}"/>
                </a:ext>
              </a:extLst>
            </p:cNvPr>
            <p:cNvSpPr>
              <a:spLocks/>
            </p:cNvSpPr>
            <p:nvPr/>
          </p:nvSpPr>
          <p:spPr bwMode="auto">
            <a:xfrm>
              <a:off x="4613275" y="2207426"/>
              <a:ext cx="447675" cy="503238"/>
            </a:xfrm>
            <a:custGeom>
              <a:avLst/>
              <a:gdLst>
                <a:gd name="T0" fmla="*/ 282 w 282"/>
                <a:gd name="T1" fmla="*/ 211 h 317"/>
                <a:gd name="T2" fmla="*/ 278 w 282"/>
                <a:gd name="T3" fmla="*/ 198 h 317"/>
                <a:gd name="T4" fmla="*/ 270 w 282"/>
                <a:gd name="T5" fmla="*/ 199 h 317"/>
                <a:gd name="T6" fmla="*/ 267 w 282"/>
                <a:gd name="T7" fmla="*/ 186 h 317"/>
                <a:gd name="T8" fmla="*/ 272 w 282"/>
                <a:gd name="T9" fmla="*/ 180 h 317"/>
                <a:gd name="T10" fmla="*/ 255 w 282"/>
                <a:gd name="T11" fmla="*/ 158 h 317"/>
                <a:gd name="T12" fmla="*/ 257 w 282"/>
                <a:gd name="T13" fmla="*/ 140 h 317"/>
                <a:gd name="T14" fmla="*/ 249 w 282"/>
                <a:gd name="T15" fmla="*/ 135 h 317"/>
                <a:gd name="T16" fmla="*/ 246 w 282"/>
                <a:gd name="T17" fmla="*/ 133 h 317"/>
                <a:gd name="T18" fmla="*/ 238 w 282"/>
                <a:gd name="T19" fmla="*/ 129 h 317"/>
                <a:gd name="T20" fmla="*/ 229 w 282"/>
                <a:gd name="T21" fmla="*/ 127 h 317"/>
                <a:gd name="T22" fmla="*/ 217 w 282"/>
                <a:gd name="T23" fmla="*/ 131 h 317"/>
                <a:gd name="T24" fmla="*/ 192 w 282"/>
                <a:gd name="T25" fmla="*/ 74 h 317"/>
                <a:gd name="T26" fmla="*/ 175 w 282"/>
                <a:gd name="T27" fmla="*/ 53 h 317"/>
                <a:gd name="T28" fmla="*/ 168 w 282"/>
                <a:gd name="T29" fmla="*/ 38 h 317"/>
                <a:gd name="T30" fmla="*/ 162 w 282"/>
                <a:gd name="T31" fmla="*/ 30 h 317"/>
                <a:gd name="T32" fmla="*/ 190 w 282"/>
                <a:gd name="T33" fmla="*/ 9 h 317"/>
                <a:gd name="T34" fmla="*/ 173 w 282"/>
                <a:gd name="T35" fmla="*/ 9 h 317"/>
                <a:gd name="T36" fmla="*/ 148 w 282"/>
                <a:gd name="T37" fmla="*/ 21 h 317"/>
                <a:gd name="T38" fmla="*/ 137 w 282"/>
                <a:gd name="T39" fmla="*/ 23 h 317"/>
                <a:gd name="T40" fmla="*/ 122 w 282"/>
                <a:gd name="T41" fmla="*/ 43 h 317"/>
                <a:gd name="T42" fmla="*/ 107 w 282"/>
                <a:gd name="T43" fmla="*/ 49 h 317"/>
                <a:gd name="T44" fmla="*/ 87 w 282"/>
                <a:gd name="T45" fmla="*/ 59 h 317"/>
                <a:gd name="T46" fmla="*/ 63 w 282"/>
                <a:gd name="T47" fmla="*/ 82 h 317"/>
                <a:gd name="T48" fmla="*/ 65 w 282"/>
                <a:gd name="T49" fmla="*/ 99 h 317"/>
                <a:gd name="T50" fmla="*/ 61 w 282"/>
                <a:gd name="T51" fmla="*/ 144 h 317"/>
                <a:gd name="T52" fmla="*/ 67 w 282"/>
                <a:gd name="T53" fmla="*/ 159 h 317"/>
                <a:gd name="T54" fmla="*/ 51 w 282"/>
                <a:gd name="T55" fmla="*/ 175 h 317"/>
                <a:gd name="T56" fmla="*/ 38 w 282"/>
                <a:gd name="T57" fmla="*/ 184 h 317"/>
                <a:gd name="T58" fmla="*/ 28 w 282"/>
                <a:gd name="T59" fmla="*/ 198 h 317"/>
                <a:gd name="T60" fmla="*/ 19 w 282"/>
                <a:gd name="T61" fmla="*/ 217 h 317"/>
                <a:gd name="T62" fmla="*/ 2 w 282"/>
                <a:gd name="T63" fmla="*/ 230 h 317"/>
                <a:gd name="T64" fmla="*/ 11 w 282"/>
                <a:gd name="T65" fmla="*/ 256 h 317"/>
                <a:gd name="T66" fmla="*/ 72 w 282"/>
                <a:gd name="T67" fmla="*/ 279 h 317"/>
                <a:gd name="T68" fmla="*/ 87 w 282"/>
                <a:gd name="T69" fmla="*/ 272 h 317"/>
                <a:gd name="T70" fmla="*/ 99 w 282"/>
                <a:gd name="T71" fmla="*/ 277 h 317"/>
                <a:gd name="T72" fmla="*/ 108 w 282"/>
                <a:gd name="T73" fmla="*/ 285 h 317"/>
                <a:gd name="T74" fmla="*/ 116 w 282"/>
                <a:gd name="T75" fmla="*/ 279 h 317"/>
                <a:gd name="T76" fmla="*/ 116 w 282"/>
                <a:gd name="T77" fmla="*/ 285 h 317"/>
                <a:gd name="T78" fmla="*/ 120 w 282"/>
                <a:gd name="T79" fmla="*/ 293 h 317"/>
                <a:gd name="T80" fmla="*/ 126 w 282"/>
                <a:gd name="T81" fmla="*/ 293 h 317"/>
                <a:gd name="T82" fmla="*/ 126 w 282"/>
                <a:gd name="T83" fmla="*/ 298 h 317"/>
                <a:gd name="T84" fmla="*/ 122 w 282"/>
                <a:gd name="T85" fmla="*/ 304 h 317"/>
                <a:gd name="T86" fmla="*/ 126 w 282"/>
                <a:gd name="T87" fmla="*/ 312 h 317"/>
                <a:gd name="T88" fmla="*/ 133 w 282"/>
                <a:gd name="T89" fmla="*/ 314 h 317"/>
                <a:gd name="T90" fmla="*/ 139 w 282"/>
                <a:gd name="T91" fmla="*/ 304 h 317"/>
                <a:gd name="T92" fmla="*/ 156 w 282"/>
                <a:gd name="T93" fmla="*/ 293 h 317"/>
                <a:gd name="T94" fmla="*/ 173 w 282"/>
                <a:gd name="T95" fmla="*/ 293 h 317"/>
                <a:gd name="T96" fmla="*/ 188 w 282"/>
                <a:gd name="T97" fmla="*/ 298 h 317"/>
                <a:gd name="T98" fmla="*/ 211 w 282"/>
                <a:gd name="T99" fmla="*/ 289 h 317"/>
                <a:gd name="T100" fmla="*/ 215 w 282"/>
                <a:gd name="T101" fmla="*/ 277 h 317"/>
                <a:gd name="T102" fmla="*/ 219 w 282"/>
                <a:gd name="T103" fmla="*/ 264 h 317"/>
                <a:gd name="T104" fmla="*/ 217 w 282"/>
                <a:gd name="T105" fmla="*/ 258 h 317"/>
                <a:gd name="T106" fmla="*/ 229 w 282"/>
                <a:gd name="T107" fmla="*/ 258 h 317"/>
                <a:gd name="T108" fmla="*/ 234 w 282"/>
                <a:gd name="T109" fmla="*/ 258 h 317"/>
                <a:gd name="T110" fmla="*/ 236 w 282"/>
                <a:gd name="T111" fmla="*/ 251 h 317"/>
                <a:gd name="T112" fmla="*/ 257 w 282"/>
                <a:gd name="T113" fmla="*/ 255 h 317"/>
                <a:gd name="T114" fmla="*/ 255 w 282"/>
                <a:gd name="T115" fmla="*/ 247 h 317"/>
                <a:gd name="T116" fmla="*/ 249 w 282"/>
                <a:gd name="T117" fmla="*/ 247 h 317"/>
                <a:gd name="T118" fmla="*/ 265 w 282"/>
                <a:gd name="T119" fmla="*/ 236 h 317"/>
                <a:gd name="T120" fmla="*/ 267 w 282"/>
                <a:gd name="T121" fmla="*/ 226 h 317"/>
                <a:gd name="T122" fmla="*/ 280 w 282"/>
                <a:gd name="T123" fmla="*/ 23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7">
                  <a:moveTo>
                    <a:pt x="282" y="224"/>
                  </a:moveTo>
                  <a:lnTo>
                    <a:pt x="282" y="222"/>
                  </a:lnTo>
                  <a:lnTo>
                    <a:pt x="282" y="218"/>
                  </a:lnTo>
                  <a:lnTo>
                    <a:pt x="282" y="218"/>
                  </a:lnTo>
                  <a:lnTo>
                    <a:pt x="282" y="218"/>
                  </a:lnTo>
                  <a:lnTo>
                    <a:pt x="282" y="217"/>
                  </a:lnTo>
                  <a:lnTo>
                    <a:pt x="282" y="217"/>
                  </a:lnTo>
                  <a:lnTo>
                    <a:pt x="282" y="215"/>
                  </a:lnTo>
                  <a:lnTo>
                    <a:pt x="282" y="215"/>
                  </a:lnTo>
                  <a:lnTo>
                    <a:pt x="282" y="215"/>
                  </a:lnTo>
                  <a:lnTo>
                    <a:pt x="282" y="213"/>
                  </a:lnTo>
                  <a:lnTo>
                    <a:pt x="282" y="211"/>
                  </a:lnTo>
                  <a:lnTo>
                    <a:pt x="282" y="207"/>
                  </a:lnTo>
                  <a:lnTo>
                    <a:pt x="282" y="207"/>
                  </a:lnTo>
                  <a:lnTo>
                    <a:pt x="282" y="207"/>
                  </a:lnTo>
                  <a:lnTo>
                    <a:pt x="282" y="205"/>
                  </a:lnTo>
                  <a:lnTo>
                    <a:pt x="280" y="203"/>
                  </a:lnTo>
                  <a:lnTo>
                    <a:pt x="280" y="203"/>
                  </a:lnTo>
                  <a:lnTo>
                    <a:pt x="280" y="203"/>
                  </a:lnTo>
                  <a:lnTo>
                    <a:pt x="280" y="203"/>
                  </a:lnTo>
                  <a:lnTo>
                    <a:pt x="278" y="203"/>
                  </a:lnTo>
                  <a:lnTo>
                    <a:pt x="278" y="201"/>
                  </a:lnTo>
                  <a:lnTo>
                    <a:pt x="278" y="199"/>
                  </a:lnTo>
                  <a:lnTo>
                    <a:pt x="278" y="198"/>
                  </a:lnTo>
                  <a:lnTo>
                    <a:pt x="278" y="198"/>
                  </a:lnTo>
                  <a:lnTo>
                    <a:pt x="276" y="198"/>
                  </a:lnTo>
                  <a:lnTo>
                    <a:pt x="276" y="198"/>
                  </a:lnTo>
                  <a:lnTo>
                    <a:pt x="276" y="198"/>
                  </a:lnTo>
                  <a:lnTo>
                    <a:pt x="276" y="199"/>
                  </a:lnTo>
                  <a:lnTo>
                    <a:pt x="274" y="198"/>
                  </a:lnTo>
                  <a:lnTo>
                    <a:pt x="274" y="198"/>
                  </a:lnTo>
                  <a:lnTo>
                    <a:pt x="272" y="198"/>
                  </a:lnTo>
                  <a:lnTo>
                    <a:pt x="272" y="198"/>
                  </a:lnTo>
                  <a:lnTo>
                    <a:pt x="272" y="198"/>
                  </a:lnTo>
                  <a:lnTo>
                    <a:pt x="270" y="199"/>
                  </a:lnTo>
                  <a:lnTo>
                    <a:pt x="270" y="199"/>
                  </a:lnTo>
                  <a:lnTo>
                    <a:pt x="270" y="199"/>
                  </a:lnTo>
                  <a:lnTo>
                    <a:pt x="270" y="198"/>
                  </a:lnTo>
                  <a:lnTo>
                    <a:pt x="269" y="198"/>
                  </a:lnTo>
                  <a:lnTo>
                    <a:pt x="267" y="194"/>
                  </a:lnTo>
                  <a:lnTo>
                    <a:pt x="263" y="192"/>
                  </a:lnTo>
                  <a:lnTo>
                    <a:pt x="263" y="192"/>
                  </a:lnTo>
                  <a:lnTo>
                    <a:pt x="263" y="190"/>
                  </a:lnTo>
                  <a:lnTo>
                    <a:pt x="263" y="190"/>
                  </a:lnTo>
                  <a:lnTo>
                    <a:pt x="263" y="188"/>
                  </a:lnTo>
                  <a:lnTo>
                    <a:pt x="263" y="188"/>
                  </a:lnTo>
                  <a:lnTo>
                    <a:pt x="263" y="188"/>
                  </a:lnTo>
                  <a:lnTo>
                    <a:pt x="267" y="186"/>
                  </a:lnTo>
                  <a:lnTo>
                    <a:pt x="269" y="186"/>
                  </a:lnTo>
                  <a:lnTo>
                    <a:pt x="270" y="186"/>
                  </a:lnTo>
                  <a:lnTo>
                    <a:pt x="274" y="186"/>
                  </a:lnTo>
                  <a:lnTo>
                    <a:pt x="274" y="184"/>
                  </a:lnTo>
                  <a:lnTo>
                    <a:pt x="276" y="182"/>
                  </a:lnTo>
                  <a:lnTo>
                    <a:pt x="276" y="182"/>
                  </a:lnTo>
                  <a:lnTo>
                    <a:pt x="276" y="182"/>
                  </a:lnTo>
                  <a:lnTo>
                    <a:pt x="276" y="180"/>
                  </a:lnTo>
                  <a:lnTo>
                    <a:pt x="274" y="180"/>
                  </a:lnTo>
                  <a:lnTo>
                    <a:pt x="274" y="180"/>
                  </a:lnTo>
                  <a:lnTo>
                    <a:pt x="272" y="180"/>
                  </a:lnTo>
                  <a:lnTo>
                    <a:pt x="272" y="180"/>
                  </a:lnTo>
                  <a:lnTo>
                    <a:pt x="272" y="179"/>
                  </a:lnTo>
                  <a:lnTo>
                    <a:pt x="270" y="177"/>
                  </a:lnTo>
                  <a:lnTo>
                    <a:pt x="270" y="175"/>
                  </a:lnTo>
                  <a:lnTo>
                    <a:pt x="269" y="175"/>
                  </a:lnTo>
                  <a:lnTo>
                    <a:pt x="265" y="171"/>
                  </a:lnTo>
                  <a:lnTo>
                    <a:pt x="263" y="169"/>
                  </a:lnTo>
                  <a:lnTo>
                    <a:pt x="259" y="163"/>
                  </a:lnTo>
                  <a:lnTo>
                    <a:pt x="257" y="161"/>
                  </a:lnTo>
                  <a:lnTo>
                    <a:pt x="255" y="161"/>
                  </a:lnTo>
                  <a:lnTo>
                    <a:pt x="255" y="159"/>
                  </a:lnTo>
                  <a:lnTo>
                    <a:pt x="255" y="158"/>
                  </a:lnTo>
                  <a:lnTo>
                    <a:pt x="255" y="158"/>
                  </a:lnTo>
                  <a:lnTo>
                    <a:pt x="255" y="156"/>
                  </a:lnTo>
                  <a:lnTo>
                    <a:pt x="255" y="156"/>
                  </a:lnTo>
                  <a:lnTo>
                    <a:pt x="255" y="154"/>
                  </a:lnTo>
                  <a:lnTo>
                    <a:pt x="255" y="152"/>
                  </a:lnTo>
                  <a:lnTo>
                    <a:pt x="255" y="152"/>
                  </a:lnTo>
                  <a:lnTo>
                    <a:pt x="253" y="150"/>
                  </a:lnTo>
                  <a:lnTo>
                    <a:pt x="253" y="150"/>
                  </a:lnTo>
                  <a:lnTo>
                    <a:pt x="253" y="144"/>
                  </a:lnTo>
                  <a:lnTo>
                    <a:pt x="253" y="144"/>
                  </a:lnTo>
                  <a:lnTo>
                    <a:pt x="255" y="142"/>
                  </a:lnTo>
                  <a:lnTo>
                    <a:pt x="255" y="142"/>
                  </a:lnTo>
                  <a:lnTo>
                    <a:pt x="257" y="140"/>
                  </a:lnTo>
                  <a:lnTo>
                    <a:pt x="255" y="140"/>
                  </a:lnTo>
                  <a:lnTo>
                    <a:pt x="255" y="139"/>
                  </a:lnTo>
                  <a:lnTo>
                    <a:pt x="253" y="140"/>
                  </a:lnTo>
                  <a:lnTo>
                    <a:pt x="251" y="140"/>
                  </a:lnTo>
                  <a:lnTo>
                    <a:pt x="251" y="139"/>
                  </a:lnTo>
                  <a:lnTo>
                    <a:pt x="253" y="137"/>
                  </a:lnTo>
                  <a:lnTo>
                    <a:pt x="253" y="137"/>
                  </a:lnTo>
                  <a:lnTo>
                    <a:pt x="251" y="135"/>
                  </a:lnTo>
                  <a:lnTo>
                    <a:pt x="251" y="135"/>
                  </a:lnTo>
                  <a:lnTo>
                    <a:pt x="251" y="135"/>
                  </a:lnTo>
                  <a:lnTo>
                    <a:pt x="251" y="135"/>
                  </a:lnTo>
                  <a:lnTo>
                    <a:pt x="249" y="135"/>
                  </a:lnTo>
                  <a:lnTo>
                    <a:pt x="249" y="135"/>
                  </a:lnTo>
                  <a:lnTo>
                    <a:pt x="249" y="137"/>
                  </a:lnTo>
                  <a:lnTo>
                    <a:pt x="249" y="137"/>
                  </a:lnTo>
                  <a:lnTo>
                    <a:pt x="249" y="137"/>
                  </a:lnTo>
                  <a:lnTo>
                    <a:pt x="248" y="137"/>
                  </a:lnTo>
                  <a:lnTo>
                    <a:pt x="248" y="135"/>
                  </a:lnTo>
                  <a:lnTo>
                    <a:pt x="248" y="135"/>
                  </a:lnTo>
                  <a:lnTo>
                    <a:pt x="248" y="133"/>
                  </a:lnTo>
                  <a:lnTo>
                    <a:pt x="246" y="133"/>
                  </a:lnTo>
                  <a:lnTo>
                    <a:pt x="246" y="133"/>
                  </a:lnTo>
                  <a:lnTo>
                    <a:pt x="246" y="133"/>
                  </a:lnTo>
                  <a:lnTo>
                    <a:pt x="246" y="133"/>
                  </a:lnTo>
                  <a:lnTo>
                    <a:pt x="244" y="133"/>
                  </a:lnTo>
                  <a:lnTo>
                    <a:pt x="244" y="133"/>
                  </a:lnTo>
                  <a:lnTo>
                    <a:pt x="244" y="133"/>
                  </a:lnTo>
                  <a:lnTo>
                    <a:pt x="244" y="133"/>
                  </a:lnTo>
                  <a:lnTo>
                    <a:pt x="242" y="131"/>
                  </a:lnTo>
                  <a:lnTo>
                    <a:pt x="242" y="131"/>
                  </a:lnTo>
                  <a:lnTo>
                    <a:pt x="242" y="131"/>
                  </a:lnTo>
                  <a:lnTo>
                    <a:pt x="242" y="131"/>
                  </a:lnTo>
                  <a:lnTo>
                    <a:pt x="240" y="133"/>
                  </a:lnTo>
                  <a:lnTo>
                    <a:pt x="240" y="133"/>
                  </a:lnTo>
                  <a:lnTo>
                    <a:pt x="240" y="131"/>
                  </a:lnTo>
                  <a:lnTo>
                    <a:pt x="238" y="129"/>
                  </a:lnTo>
                  <a:lnTo>
                    <a:pt x="236" y="125"/>
                  </a:lnTo>
                  <a:lnTo>
                    <a:pt x="232" y="120"/>
                  </a:lnTo>
                  <a:lnTo>
                    <a:pt x="232" y="118"/>
                  </a:lnTo>
                  <a:lnTo>
                    <a:pt x="232" y="118"/>
                  </a:lnTo>
                  <a:lnTo>
                    <a:pt x="230" y="118"/>
                  </a:lnTo>
                  <a:lnTo>
                    <a:pt x="230" y="120"/>
                  </a:lnTo>
                  <a:lnTo>
                    <a:pt x="230" y="120"/>
                  </a:lnTo>
                  <a:lnTo>
                    <a:pt x="229" y="120"/>
                  </a:lnTo>
                  <a:lnTo>
                    <a:pt x="229" y="121"/>
                  </a:lnTo>
                  <a:lnTo>
                    <a:pt x="229" y="125"/>
                  </a:lnTo>
                  <a:lnTo>
                    <a:pt x="229" y="125"/>
                  </a:lnTo>
                  <a:lnTo>
                    <a:pt x="229" y="127"/>
                  </a:lnTo>
                  <a:lnTo>
                    <a:pt x="227" y="125"/>
                  </a:lnTo>
                  <a:lnTo>
                    <a:pt x="227" y="127"/>
                  </a:lnTo>
                  <a:lnTo>
                    <a:pt x="225" y="127"/>
                  </a:lnTo>
                  <a:lnTo>
                    <a:pt x="225" y="129"/>
                  </a:lnTo>
                  <a:lnTo>
                    <a:pt x="225" y="131"/>
                  </a:lnTo>
                  <a:lnTo>
                    <a:pt x="225" y="131"/>
                  </a:lnTo>
                  <a:lnTo>
                    <a:pt x="223" y="131"/>
                  </a:lnTo>
                  <a:lnTo>
                    <a:pt x="223" y="131"/>
                  </a:lnTo>
                  <a:lnTo>
                    <a:pt x="221" y="129"/>
                  </a:lnTo>
                  <a:lnTo>
                    <a:pt x="219" y="129"/>
                  </a:lnTo>
                  <a:lnTo>
                    <a:pt x="219" y="131"/>
                  </a:lnTo>
                  <a:lnTo>
                    <a:pt x="217" y="131"/>
                  </a:lnTo>
                  <a:lnTo>
                    <a:pt x="215" y="129"/>
                  </a:lnTo>
                  <a:lnTo>
                    <a:pt x="213" y="127"/>
                  </a:lnTo>
                  <a:lnTo>
                    <a:pt x="211" y="125"/>
                  </a:lnTo>
                  <a:lnTo>
                    <a:pt x="211" y="123"/>
                  </a:lnTo>
                  <a:lnTo>
                    <a:pt x="209" y="118"/>
                  </a:lnTo>
                  <a:lnTo>
                    <a:pt x="206" y="102"/>
                  </a:lnTo>
                  <a:lnTo>
                    <a:pt x="194" y="82"/>
                  </a:lnTo>
                  <a:lnTo>
                    <a:pt x="192" y="78"/>
                  </a:lnTo>
                  <a:lnTo>
                    <a:pt x="190" y="76"/>
                  </a:lnTo>
                  <a:lnTo>
                    <a:pt x="192" y="76"/>
                  </a:lnTo>
                  <a:lnTo>
                    <a:pt x="192" y="74"/>
                  </a:lnTo>
                  <a:lnTo>
                    <a:pt x="192" y="74"/>
                  </a:lnTo>
                  <a:lnTo>
                    <a:pt x="192" y="74"/>
                  </a:lnTo>
                  <a:lnTo>
                    <a:pt x="194" y="74"/>
                  </a:lnTo>
                  <a:lnTo>
                    <a:pt x="194" y="74"/>
                  </a:lnTo>
                  <a:lnTo>
                    <a:pt x="196" y="74"/>
                  </a:lnTo>
                  <a:lnTo>
                    <a:pt x="196" y="74"/>
                  </a:lnTo>
                  <a:lnTo>
                    <a:pt x="196" y="72"/>
                  </a:lnTo>
                  <a:lnTo>
                    <a:pt x="192" y="66"/>
                  </a:lnTo>
                  <a:lnTo>
                    <a:pt x="188" y="61"/>
                  </a:lnTo>
                  <a:lnTo>
                    <a:pt x="187" y="59"/>
                  </a:lnTo>
                  <a:lnTo>
                    <a:pt x="187" y="59"/>
                  </a:lnTo>
                  <a:lnTo>
                    <a:pt x="181" y="55"/>
                  </a:lnTo>
                  <a:lnTo>
                    <a:pt x="175" y="53"/>
                  </a:lnTo>
                  <a:lnTo>
                    <a:pt x="171" y="51"/>
                  </a:lnTo>
                  <a:lnTo>
                    <a:pt x="171" y="49"/>
                  </a:lnTo>
                  <a:lnTo>
                    <a:pt x="169" y="51"/>
                  </a:lnTo>
                  <a:lnTo>
                    <a:pt x="168" y="49"/>
                  </a:lnTo>
                  <a:lnTo>
                    <a:pt x="162" y="49"/>
                  </a:lnTo>
                  <a:lnTo>
                    <a:pt x="162" y="47"/>
                  </a:lnTo>
                  <a:lnTo>
                    <a:pt x="160" y="47"/>
                  </a:lnTo>
                  <a:lnTo>
                    <a:pt x="160" y="47"/>
                  </a:lnTo>
                  <a:lnTo>
                    <a:pt x="160" y="45"/>
                  </a:lnTo>
                  <a:lnTo>
                    <a:pt x="166" y="40"/>
                  </a:lnTo>
                  <a:lnTo>
                    <a:pt x="166" y="38"/>
                  </a:lnTo>
                  <a:lnTo>
                    <a:pt x="168" y="38"/>
                  </a:lnTo>
                  <a:lnTo>
                    <a:pt x="168" y="36"/>
                  </a:lnTo>
                  <a:lnTo>
                    <a:pt x="168" y="34"/>
                  </a:lnTo>
                  <a:lnTo>
                    <a:pt x="168" y="34"/>
                  </a:lnTo>
                  <a:lnTo>
                    <a:pt x="166" y="34"/>
                  </a:lnTo>
                  <a:lnTo>
                    <a:pt x="166" y="34"/>
                  </a:lnTo>
                  <a:lnTo>
                    <a:pt x="166" y="36"/>
                  </a:lnTo>
                  <a:lnTo>
                    <a:pt x="164" y="36"/>
                  </a:lnTo>
                  <a:lnTo>
                    <a:pt x="164" y="36"/>
                  </a:lnTo>
                  <a:lnTo>
                    <a:pt x="164" y="34"/>
                  </a:lnTo>
                  <a:lnTo>
                    <a:pt x="162" y="34"/>
                  </a:lnTo>
                  <a:lnTo>
                    <a:pt x="162" y="32"/>
                  </a:lnTo>
                  <a:lnTo>
                    <a:pt x="162" y="30"/>
                  </a:lnTo>
                  <a:lnTo>
                    <a:pt x="164" y="28"/>
                  </a:lnTo>
                  <a:lnTo>
                    <a:pt x="164" y="28"/>
                  </a:lnTo>
                  <a:lnTo>
                    <a:pt x="164" y="28"/>
                  </a:lnTo>
                  <a:lnTo>
                    <a:pt x="169" y="26"/>
                  </a:lnTo>
                  <a:lnTo>
                    <a:pt x="171" y="26"/>
                  </a:lnTo>
                  <a:lnTo>
                    <a:pt x="173" y="24"/>
                  </a:lnTo>
                  <a:lnTo>
                    <a:pt x="175" y="23"/>
                  </a:lnTo>
                  <a:lnTo>
                    <a:pt x="179" y="19"/>
                  </a:lnTo>
                  <a:lnTo>
                    <a:pt x="185" y="13"/>
                  </a:lnTo>
                  <a:lnTo>
                    <a:pt x="190" y="11"/>
                  </a:lnTo>
                  <a:lnTo>
                    <a:pt x="190" y="11"/>
                  </a:lnTo>
                  <a:lnTo>
                    <a:pt x="190" y="9"/>
                  </a:lnTo>
                  <a:lnTo>
                    <a:pt x="190" y="9"/>
                  </a:lnTo>
                  <a:lnTo>
                    <a:pt x="187" y="2"/>
                  </a:lnTo>
                  <a:lnTo>
                    <a:pt x="187" y="2"/>
                  </a:lnTo>
                  <a:lnTo>
                    <a:pt x="185" y="0"/>
                  </a:lnTo>
                  <a:lnTo>
                    <a:pt x="185" y="0"/>
                  </a:lnTo>
                  <a:lnTo>
                    <a:pt x="183" y="2"/>
                  </a:lnTo>
                  <a:lnTo>
                    <a:pt x="183" y="2"/>
                  </a:lnTo>
                  <a:lnTo>
                    <a:pt x="181" y="2"/>
                  </a:lnTo>
                  <a:lnTo>
                    <a:pt x="179" y="4"/>
                  </a:lnTo>
                  <a:lnTo>
                    <a:pt x="175" y="5"/>
                  </a:lnTo>
                  <a:lnTo>
                    <a:pt x="175" y="5"/>
                  </a:lnTo>
                  <a:lnTo>
                    <a:pt x="173" y="9"/>
                  </a:lnTo>
                  <a:lnTo>
                    <a:pt x="173" y="9"/>
                  </a:lnTo>
                  <a:lnTo>
                    <a:pt x="173" y="9"/>
                  </a:lnTo>
                  <a:lnTo>
                    <a:pt x="171" y="11"/>
                  </a:lnTo>
                  <a:lnTo>
                    <a:pt x="171" y="11"/>
                  </a:lnTo>
                  <a:lnTo>
                    <a:pt x="169" y="13"/>
                  </a:lnTo>
                  <a:lnTo>
                    <a:pt x="162" y="13"/>
                  </a:lnTo>
                  <a:lnTo>
                    <a:pt x="160" y="15"/>
                  </a:lnTo>
                  <a:lnTo>
                    <a:pt x="156" y="19"/>
                  </a:lnTo>
                  <a:lnTo>
                    <a:pt x="152" y="23"/>
                  </a:lnTo>
                  <a:lnTo>
                    <a:pt x="150" y="23"/>
                  </a:lnTo>
                  <a:lnTo>
                    <a:pt x="150" y="23"/>
                  </a:lnTo>
                  <a:lnTo>
                    <a:pt x="148" y="21"/>
                  </a:lnTo>
                  <a:lnTo>
                    <a:pt x="148" y="21"/>
                  </a:lnTo>
                  <a:lnTo>
                    <a:pt x="147" y="21"/>
                  </a:lnTo>
                  <a:lnTo>
                    <a:pt x="147" y="19"/>
                  </a:lnTo>
                  <a:lnTo>
                    <a:pt x="147" y="17"/>
                  </a:lnTo>
                  <a:lnTo>
                    <a:pt x="147" y="17"/>
                  </a:lnTo>
                  <a:lnTo>
                    <a:pt x="147" y="17"/>
                  </a:lnTo>
                  <a:lnTo>
                    <a:pt x="145" y="17"/>
                  </a:lnTo>
                  <a:lnTo>
                    <a:pt x="145" y="19"/>
                  </a:lnTo>
                  <a:lnTo>
                    <a:pt x="143" y="19"/>
                  </a:lnTo>
                  <a:lnTo>
                    <a:pt x="137" y="19"/>
                  </a:lnTo>
                  <a:lnTo>
                    <a:pt x="133" y="21"/>
                  </a:lnTo>
                  <a:lnTo>
                    <a:pt x="137" y="23"/>
                  </a:lnTo>
                  <a:lnTo>
                    <a:pt x="139" y="24"/>
                  </a:lnTo>
                  <a:lnTo>
                    <a:pt x="139" y="28"/>
                  </a:lnTo>
                  <a:lnTo>
                    <a:pt x="139" y="30"/>
                  </a:lnTo>
                  <a:lnTo>
                    <a:pt x="135" y="34"/>
                  </a:lnTo>
                  <a:lnTo>
                    <a:pt x="135" y="34"/>
                  </a:lnTo>
                  <a:lnTo>
                    <a:pt x="133" y="38"/>
                  </a:lnTo>
                  <a:lnTo>
                    <a:pt x="133" y="40"/>
                  </a:lnTo>
                  <a:lnTo>
                    <a:pt x="131" y="40"/>
                  </a:lnTo>
                  <a:lnTo>
                    <a:pt x="129" y="40"/>
                  </a:lnTo>
                  <a:lnTo>
                    <a:pt x="128" y="40"/>
                  </a:lnTo>
                  <a:lnTo>
                    <a:pt x="124" y="42"/>
                  </a:lnTo>
                  <a:lnTo>
                    <a:pt x="122" y="43"/>
                  </a:lnTo>
                  <a:lnTo>
                    <a:pt x="122" y="47"/>
                  </a:lnTo>
                  <a:lnTo>
                    <a:pt x="122" y="47"/>
                  </a:lnTo>
                  <a:lnTo>
                    <a:pt x="120" y="45"/>
                  </a:lnTo>
                  <a:lnTo>
                    <a:pt x="118" y="45"/>
                  </a:lnTo>
                  <a:lnTo>
                    <a:pt x="118" y="47"/>
                  </a:lnTo>
                  <a:lnTo>
                    <a:pt x="116" y="47"/>
                  </a:lnTo>
                  <a:lnTo>
                    <a:pt x="116" y="47"/>
                  </a:lnTo>
                  <a:lnTo>
                    <a:pt x="110" y="45"/>
                  </a:lnTo>
                  <a:lnTo>
                    <a:pt x="108" y="45"/>
                  </a:lnTo>
                  <a:lnTo>
                    <a:pt x="108" y="49"/>
                  </a:lnTo>
                  <a:lnTo>
                    <a:pt x="108" y="49"/>
                  </a:lnTo>
                  <a:lnTo>
                    <a:pt x="107" y="49"/>
                  </a:lnTo>
                  <a:lnTo>
                    <a:pt x="105" y="49"/>
                  </a:lnTo>
                  <a:lnTo>
                    <a:pt x="105" y="51"/>
                  </a:lnTo>
                  <a:lnTo>
                    <a:pt x="105" y="51"/>
                  </a:lnTo>
                  <a:lnTo>
                    <a:pt x="103" y="51"/>
                  </a:lnTo>
                  <a:lnTo>
                    <a:pt x="103" y="53"/>
                  </a:lnTo>
                  <a:lnTo>
                    <a:pt x="101" y="53"/>
                  </a:lnTo>
                  <a:lnTo>
                    <a:pt x="97" y="53"/>
                  </a:lnTo>
                  <a:lnTo>
                    <a:pt x="95" y="53"/>
                  </a:lnTo>
                  <a:lnTo>
                    <a:pt x="95" y="55"/>
                  </a:lnTo>
                  <a:lnTo>
                    <a:pt x="91" y="53"/>
                  </a:lnTo>
                  <a:lnTo>
                    <a:pt x="89" y="55"/>
                  </a:lnTo>
                  <a:lnTo>
                    <a:pt x="87" y="59"/>
                  </a:lnTo>
                  <a:lnTo>
                    <a:pt x="86" y="62"/>
                  </a:lnTo>
                  <a:lnTo>
                    <a:pt x="84" y="62"/>
                  </a:lnTo>
                  <a:lnTo>
                    <a:pt x="78" y="61"/>
                  </a:lnTo>
                  <a:lnTo>
                    <a:pt x="76" y="66"/>
                  </a:lnTo>
                  <a:lnTo>
                    <a:pt x="74" y="68"/>
                  </a:lnTo>
                  <a:lnTo>
                    <a:pt x="72" y="68"/>
                  </a:lnTo>
                  <a:lnTo>
                    <a:pt x="67" y="74"/>
                  </a:lnTo>
                  <a:lnTo>
                    <a:pt x="65" y="74"/>
                  </a:lnTo>
                  <a:lnTo>
                    <a:pt x="65" y="76"/>
                  </a:lnTo>
                  <a:lnTo>
                    <a:pt x="63" y="80"/>
                  </a:lnTo>
                  <a:lnTo>
                    <a:pt x="63" y="80"/>
                  </a:lnTo>
                  <a:lnTo>
                    <a:pt x="63" y="82"/>
                  </a:lnTo>
                  <a:lnTo>
                    <a:pt x="63" y="82"/>
                  </a:lnTo>
                  <a:lnTo>
                    <a:pt x="63" y="82"/>
                  </a:lnTo>
                  <a:lnTo>
                    <a:pt x="63" y="83"/>
                  </a:lnTo>
                  <a:lnTo>
                    <a:pt x="61" y="83"/>
                  </a:lnTo>
                  <a:lnTo>
                    <a:pt x="61" y="85"/>
                  </a:lnTo>
                  <a:lnTo>
                    <a:pt x="61" y="85"/>
                  </a:lnTo>
                  <a:lnTo>
                    <a:pt x="61" y="85"/>
                  </a:lnTo>
                  <a:lnTo>
                    <a:pt x="61" y="85"/>
                  </a:lnTo>
                  <a:lnTo>
                    <a:pt x="59" y="87"/>
                  </a:lnTo>
                  <a:lnTo>
                    <a:pt x="59" y="87"/>
                  </a:lnTo>
                  <a:lnTo>
                    <a:pt x="61" y="89"/>
                  </a:lnTo>
                  <a:lnTo>
                    <a:pt x="65" y="99"/>
                  </a:lnTo>
                  <a:lnTo>
                    <a:pt x="68" y="108"/>
                  </a:lnTo>
                  <a:lnTo>
                    <a:pt x="70" y="112"/>
                  </a:lnTo>
                  <a:lnTo>
                    <a:pt x="70" y="114"/>
                  </a:lnTo>
                  <a:lnTo>
                    <a:pt x="70" y="116"/>
                  </a:lnTo>
                  <a:lnTo>
                    <a:pt x="68" y="118"/>
                  </a:lnTo>
                  <a:lnTo>
                    <a:pt x="68" y="120"/>
                  </a:lnTo>
                  <a:lnTo>
                    <a:pt x="67" y="121"/>
                  </a:lnTo>
                  <a:lnTo>
                    <a:pt x="63" y="131"/>
                  </a:lnTo>
                  <a:lnTo>
                    <a:pt x="63" y="135"/>
                  </a:lnTo>
                  <a:lnTo>
                    <a:pt x="63" y="139"/>
                  </a:lnTo>
                  <a:lnTo>
                    <a:pt x="61" y="142"/>
                  </a:lnTo>
                  <a:lnTo>
                    <a:pt x="61" y="144"/>
                  </a:lnTo>
                  <a:lnTo>
                    <a:pt x="61" y="148"/>
                  </a:lnTo>
                  <a:lnTo>
                    <a:pt x="61" y="148"/>
                  </a:lnTo>
                  <a:lnTo>
                    <a:pt x="63" y="150"/>
                  </a:lnTo>
                  <a:lnTo>
                    <a:pt x="63" y="152"/>
                  </a:lnTo>
                  <a:lnTo>
                    <a:pt x="65" y="152"/>
                  </a:lnTo>
                  <a:lnTo>
                    <a:pt x="68" y="152"/>
                  </a:lnTo>
                  <a:lnTo>
                    <a:pt x="70" y="152"/>
                  </a:lnTo>
                  <a:lnTo>
                    <a:pt x="72" y="152"/>
                  </a:lnTo>
                  <a:lnTo>
                    <a:pt x="74" y="154"/>
                  </a:lnTo>
                  <a:lnTo>
                    <a:pt x="74" y="156"/>
                  </a:lnTo>
                  <a:lnTo>
                    <a:pt x="68" y="158"/>
                  </a:lnTo>
                  <a:lnTo>
                    <a:pt x="67" y="159"/>
                  </a:lnTo>
                  <a:lnTo>
                    <a:pt x="67" y="161"/>
                  </a:lnTo>
                  <a:lnTo>
                    <a:pt x="67" y="163"/>
                  </a:lnTo>
                  <a:lnTo>
                    <a:pt x="65" y="165"/>
                  </a:lnTo>
                  <a:lnTo>
                    <a:pt x="63" y="167"/>
                  </a:lnTo>
                  <a:lnTo>
                    <a:pt x="63" y="169"/>
                  </a:lnTo>
                  <a:lnTo>
                    <a:pt x="61" y="169"/>
                  </a:lnTo>
                  <a:lnTo>
                    <a:pt x="59" y="169"/>
                  </a:lnTo>
                  <a:lnTo>
                    <a:pt x="57" y="169"/>
                  </a:lnTo>
                  <a:lnTo>
                    <a:pt x="55" y="169"/>
                  </a:lnTo>
                  <a:lnTo>
                    <a:pt x="53" y="171"/>
                  </a:lnTo>
                  <a:lnTo>
                    <a:pt x="51" y="173"/>
                  </a:lnTo>
                  <a:lnTo>
                    <a:pt x="51" y="175"/>
                  </a:lnTo>
                  <a:lnTo>
                    <a:pt x="51" y="175"/>
                  </a:lnTo>
                  <a:lnTo>
                    <a:pt x="49" y="175"/>
                  </a:lnTo>
                  <a:lnTo>
                    <a:pt x="47" y="175"/>
                  </a:lnTo>
                  <a:lnTo>
                    <a:pt x="46" y="175"/>
                  </a:lnTo>
                  <a:lnTo>
                    <a:pt x="44" y="175"/>
                  </a:lnTo>
                  <a:lnTo>
                    <a:pt x="44" y="175"/>
                  </a:lnTo>
                  <a:lnTo>
                    <a:pt x="42" y="177"/>
                  </a:lnTo>
                  <a:lnTo>
                    <a:pt x="42" y="179"/>
                  </a:lnTo>
                  <a:lnTo>
                    <a:pt x="42" y="180"/>
                  </a:lnTo>
                  <a:lnTo>
                    <a:pt x="42" y="182"/>
                  </a:lnTo>
                  <a:lnTo>
                    <a:pt x="40" y="182"/>
                  </a:lnTo>
                  <a:lnTo>
                    <a:pt x="38" y="184"/>
                  </a:lnTo>
                  <a:lnTo>
                    <a:pt x="38" y="184"/>
                  </a:lnTo>
                  <a:lnTo>
                    <a:pt x="38" y="186"/>
                  </a:lnTo>
                  <a:lnTo>
                    <a:pt x="38" y="186"/>
                  </a:lnTo>
                  <a:lnTo>
                    <a:pt x="38" y="188"/>
                  </a:lnTo>
                  <a:lnTo>
                    <a:pt x="36" y="188"/>
                  </a:lnTo>
                  <a:lnTo>
                    <a:pt x="36" y="190"/>
                  </a:lnTo>
                  <a:lnTo>
                    <a:pt x="34" y="192"/>
                  </a:lnTo>
                  <a:lnTo>
                    <a:pt x="32" y="194"/>
                  </a:lnTo>
                  <a:lnTo>
                    <a:pt x="32" y="194"/>
                  </a:lnTo>
                  <a:lnTo>
                    <a:pt x="30" y="196"/>
                  </a:lnTo>
                  <a:lnTo>
                    <a:pt x="30" y="198"/>
                  </a:lnTo>
                  <a:lnTo>
                    <a:pt x="28" y="198"/>
                  </a:lnTo>
                  <a:lnTo>
                    <a:pt x="28" y="199"/>
                  </a:lnTo>
                  <a:lnTo>
                    <a:pt x="28" y="201"/>
                  </a:lnTo>
                  <a:lnTo>
                    <a:pt x="27" y="201"/>
                  </a:lnTo>
                  <a:lnTo>
                    <a:pt x="25" y="201"/>
                  </a:lnTo>
                  <a:lnTo>
                    <a:pt x="23" y="203"/>
                  </a:lnTo>
                  <a:lnTo>
                    <a:pt x="21" y="203"/>
                  </a:lnTo>
                  <a:lnTo>
                    <a:pt x="21" y="205"/>
                  </a:lnTo>
                  <a:lnTo>
                    <a:pt x="19" y="207"/>
                  </a:lnTo>
                  <a:lnTo>
                    <a:pt x="19" y="209"/>
                  </a:lnTo>
                  <a:lnTo>
                    <a:pt x="19" y="211"/>
                  </a:lnTo>
                  <a:lnTo>
                    <a:pt x="19" y="215"/>
                  </a:lnTo>
                  <a:lnTo>
                    <a:pt x="19" y="217"/>
                  </a:lnTo>
                  <a:lnTo>
                    <a:pt x="15" y="217"/>
                  </a:lnTo>
                  <a:lnTo>
                    <a:pt x="13" y="218"/>
                  </a:lnTo>
                  <a:lnTo>
                    <a:pt x="13" y="218"/>
                  </a:lnTo>
                  <a:lnTo>
                    <a:pt x="7" y="226"/>
                  </a:lnTo>
                  <a:lnTo>
                    <a:pt x="7" y="226"/>
                  </a:lnTo>
                  <a:lnTo>
                    <a:pt x="6" y="226"/>
                  </a:lnTo>
                  <a:lnTo>
                    <a:pt x="6" y="226"/>
                  </a:lnTo>
                  <a:lnTo>
                    <a:pt x="6" y="226"/>
                  </a:lnTo>
                  <a:lnTo>
                    <a:pt x="6" y="228"/>
                  </a:lnTo>
                  <a:lnTo>
                    <a:pt x="6" y="228"/>
                  </a:lnTo>
                  <a:lnTo>
                    <a:pt x="4" y="228"/>
                  </a:lnTo>
                  <a:lnTo>
                    <a:pt x="2" y="230"/>
                  </a:lnTo>
                  <a:lnTo>
                    <a:pt x="0" y="232"/>
                  </a:lnTo>
                  <a:lnTo>
                    <a:pt x="0" y="234"/>
                  </a:lnTo>
                  <a:lnTo>
                    <a:pt x="0" y="234"/>
                  </a:lnTo>
                  <a:lnTo>
                    <a:pt x="4" y="236"/>
                  </a:lnTo>
                  <a:lnTo>
                    <a:pt x="6" y="239"/>
                  </a:lnTo>
                  <a:lnTo>
                    <a:pt x="7" y="243"/>
                  </a:lnTo>
                  <a:lnTo>
                    <a:pt x="9" y="247"/>
                  </a:lnTo>
                  <a:lnTo>
                    <a:pt x="9" y="249"/>
                  </a:lnTo>
                  <a:lnTo>
                    <a:pt x="11" y="251"/>
                  </a:lnTo>
                  <a:lnTo>
                    <a:pt x="11" y="253"/>
                  </a:lnTo>
                  <a:lnTo>
                    <a:pt x="11" y="255"/>
                  </a:lnTo>
                  <a:lnTo>
                    <a:pt x="11" y="256"/>
                  </a:lnTo>
                  <a:lnTo>
                    <a:pt x="11" y="256"/>
                  </a:lnTo>
                  <a:lnTo>
                    <a:pt x="4" y="268"/>
                  </a:lnTo>
                  <a:lnTo>
                    <a:pt x="4" y="270"/>
                  </a:lnTo>
                  <a:lnTo>
                    <a:pt x="4" y="272"/>
                  </a:lnTo>
                  <a:lnTo>
                    <a:pt x="4" y="272"/>
                  </a:lnTo>
                  <a:lnTo>
                    <a:pt x="4" y="272"/>
                  </a:lnTo>
                  <a:lnTo>
                    <a:pt x="6" y="274"/>
                  </a:lnTo>
                  <a:lnTo>
                    <a:pt x="40" y="275"/>
                  </a:lnTo>
                  <a:lnTo>
                    <a:pt x="49" y="275"/>
                  </a:lnTo>
                  <a:lnTo>
                    <a:pt x="61" y="277"/>
                  </a:lnTo>
                  <a:lnTo>
                    <a:pt x="67" y="277"/>
                  </a:lnTo>
                  <a:lnTo>
                    <a:pt x="72" y="279"/>
                  </a:lnTo>
                  <a:lnTo>
                    <a:pt x="74" y="279"/>
                  </a:lnTo>
                  <a:lnTo>
                    <a:pt x="74" y="279"/>
                  </a:lnTo>
                  <a:lnTo>
                    <a:pt x="74" y="279"/>
                  </a:lnTo>
                  <a:lnTo>
                    <a:pt x="76" y="277"/>
                  </a:lnTo>
                  <a:lnTo>
                    <a:pt x="76" y="277"/>
                  </a:lnTo>
                  <a:lnTo>
                    <a:pt x="76" y="277"/>
                  </a:lnTo>
                  <a:lnTo>
                    <a:pt x="80" y="274"/>
                  </a:lnTo>
                  <a:lnTo>
                    <a:pt x="80" y="274"/>
                  </a:lnTo>
                  <a:lnTo>
                    <a:pt x="82" y="274"/>
                  </a:lnTo>
                  <a:lnTo>
                    <a:pt x="82" y="274"/>
                  </a:lnTo>
                  <a:lnTo>
                    <a:pt x="86" y="274"/>
                  </a:lnTo>
                  <a:lnTo>
                    <a:pt x="87" y="272"/>
                  </a:lnTo>
                  <a:lnTo>
                    <a:pt x="89" y="272"/>
                  </a:lnTo>
                  <a:lnTo>
                    <a:pt x="89" y="272"/>
                  </a:lnTo>
                  <a:lnTo>
                    <a:pt x="89" y="274"/>
                  </a:lnTo>
                  <a:lnTo>
                    <a:pt x="91" y="274"/>
                  </a:lnTo>
                  <a:lnTo>
                    <a:pt x="91" y="274"/>
                  </a:lnTo>
                  <a:lnTo>
                    <a:pt x="91" y="275"/>
                  </a:lnTo>
                  <a:lnTo>
                    <a:pt x="93" y="275"/>
                  </a:lnTo>
                  <a:lnTo>
                    <a:pt x="97" y="275"/>
                  </a:lnTo>
                  <a:lnTo>
                    <a:pt x="99" y="275"/>
                  </a:lnTo>
                  <a:lnTo>
                    <a:pt x="99" y="277"/>
                  </a:lnTo>
                  <a:lnTo>
                    <a:pt x="99" y="277"/>
                  </a:lnTo>
                  <a:lnTo>
                    <a:pt x="99" y="277"/>
                  </a:lnTo>
                  <a:lnTo>
                    <a:pt x="101" y="277"/>
                  </a:lnTo>
                  <a:lnTo>
                    <a:pt x="101" y="279"/>
                  </a:lnTo>
                  <a:lnTo>
                    <a:pt x="101" y="279"/>
                  </a:lnTo>
                  <a:lnTo>
                    <a:pt x="101" y="281"/>
                  </a:lnTo>
                  <a:lnTo>
                    <a:pt x="101" y="281"/>
                  </a:lnTo>
                  <a:lnTo>
                    <a:pt x="103" y="283"/>
                  </a:lnTo>
                  <a:lnTo>
                    <a:pt x="105" y="283"/>
                  </a:lnTo>
                  <a:lnTo>
                    <a:pt x="105" y="283"/>
                  </a:lnTo>
                  <a:lnTo>
                    <a:pt x="105" y="283"/>
                  </a:lnTo>
                  <a:lnTo>
                    <a:pt x="107" y="285"/>
                  </a:lnTo>
                  <a:lnTo>
                    <a:pt x="107" y="285"/>
                  </a:lnTo>
                  <a:lnTo>
                    <a:pt x="108" y="285"/>
                  </a:lnTo>
                  <a:lnTo>
                    <a:pt x="110" y="283"/>
                  </a:lnTo>
                  <a:lnTo>
                    <a:pt x="112" y="283"/>
                  </a:lnTo>
                  <a:lnTo>
                    <a:pt x="112" y="283"/>
                  </a:lnTo>
                  <a:lnTo>
                    <a:pt x="112" y="283"/>
                  </a:lnTo>
                  <a:lnTo>
                    <a:pt x="114" y="281"/>
                  </a:lnTo>
                  <a:lnTo>
                    <a:pt x="114" y="281"/>
                  </a:lnTo>
                  <a:lnTo>
                    <a:pt x="114" y="281"/>
                  </a:lnTo>
                  <a:lnTo>
                    <a:pt x="114" y="279"/>
                  </a:lnTo>
                  <a:lnTo>
                    <a:pt x="114" y="279"/>
                  </a:lnTo>
                  <a:lnTo>
                    <a:pt x="114" y="279"/>
                  </a:lnTo>
                  <a:lnTo>
                    <a:pt x="114" y="279"/>
                  </a:lnTo>
                  <a:lnTo>
                    <a:pt x="116" y="279"/>
                  </a:lnTo>
                  <a:lnTo>
                    <a:pt x="116" y="279"/>
                  </a:lnTo>
                  <a:lnTo>
                    <a:pt x="116" y="281"/>
                  </a:lnTo>
                  <a:lnTo>
                    <a:pt x="116" y="281"/>
                  </a:lnTo>
                  <a:lnTo>
                    <a:pt x="116" y="283"/>
                  </a:lnTo>
                  <a:lnTo>
                    <a:pt x="116" y="283"/>
                  </a:lnTo>
                  <a:lnTo>
                    <a:pt x="116" y="283"/>
                  </a:lnTo>
                  <a:lnTo>
                    <a:pt x="116" y="285"/>
                  </a:lnTo>
                  <a:lnTo>
                    <a:pt x="114" y="285"/>
                  </a:lnTo>
                  <a:lnTo>
                    <a:pt x="114" y="285"/>
                  </a:lnTo>
                  <a:lnTo>
                    <a:pt x="114" y="285"/>
                  </a:lnTo>
                  <a:lnTo>
                    <a:pt x="114" y="285"/>
                  </a:lnTo>
                  <a:lnTo>
                    <a:pt x="116" y="285"/>
                  </a:lnTo>
                  <a:lnTo>
                    <a:pt x="116" y="287"/>
                  </a:lnTo>
                  <a:lnTo>
                    <a:pt x="116" y="287"/>
                  </a:lnTo>
                  <a:lnTo>
                    <a:pt x="116" y="289"/>
                  </a:lnTo>
                  <a:lnTo>
                    <a:pt x="116" y="289"/>
                  </a:lnTo>
                  <a:lnTo>
                    <a:pt x="116" y="291"/>
                  </a:lnTo>
                  <a:lnTo>
                    <a:pt x="118" y="291"/>
                  </a:lnTo>
                  <a:lnTo>
                    <a:pt x="118" y="291"/>
                  </a:lnTo>
                  <a:lnTo>
                    <a:pt x="120" y="293"/>
                  </a:lnTo>
                  <a:lnTo>
                    <a:pt x="120" y="293"/>
                  </a:lnTo>
                  <a:lnTo>
                    <a:pt x="120" y="293"/>
                  </a:lnTo>
                  <a:lnTo>
                    <a:pt x="120" y="293"/>
                  </a:lnTo>
                  <a:lnTo>
                    <a:pt x="120" y="293"/>
                  </a:lnTo>
                  <a:lnTo>
                    <a:pt x="120" y="291"/>
                  </a:lnTo>
                  <a:lnTo>
                    <a:pt x="120" y="291"/>
                  </a:lnTo>
                  <a:lnTo>
                    <a:pt x="122" y="289"/>
                  </a:lnTo>
                  <a:lnTo>
                    <a:pt x="122" y="289"/>
                  </a:lnTo>
                  <a:lnTo>
                    <a:pt x="124" y="289"/>
                  </a:lnTo>
                  <a:lnTo>
                    <a:pt x="124" y="289"/>
                  </a:lnTo>
                  <a:lnTo>
                    <a:pt x="124" y="289"/>
                  </a:lnTo>
                  <a:lnTo>
                    <a:pt x="124" y="289"/>
                  </a:lnTo>
                  <a:lnTo>
                    <a:pt x="124" y="291"/>
                  </a:lnTo>
                  <a:lnTo>
                    <a:pt x="126" y="291"/>
                  </a:lnTo>
                  <a:lnTo>
                    <a:pt x="126" y="293"/>
                  </a:lnTo>
                  <a:lnTo>
                    <a:pt x="126" y="293"/>
                  </a:lnTo>
                  <a:lnTo>
                    <a:pt x="128" y="296"/>
                  </a:lnTo>
                  <a:lnTo>
                    <a:pt x="128" y="296"/>
                  </a:lnTo>
                  <a:lnTo>
                    <a:pt x="128" y="296"/>
                  </a:lnTo>
                  <a:lnTo>
                    <a:pt x="128" y="298"/>
                  </a:lnTo>
                  <a:lnTo>
                    <a:pt x="128" y="298"/>
                  </a:lnTo>
                  <a:lnTo>
                    <a:pt x="128" y="298"/>
                  </a:lnTo>
                  <a:lnTo>
                    <a:pt x="128" y="298"/>
                  </a:lnTo>
                  <a:lnTo>
                    <a:pt x="128" y="298"/>
                  </a:lnTo>
                  <a:lnTo>
                    <a:pt x="126" y="298"/>
                  </a:lnTo>
                  <a:lnTo>
                    <a:pt x="126" y="298"/>
                  </a:lnTo>
                  <a:lnTo>
                    <a:pt x="126" y="298"/>
                  </a:lnTo>
                  <a:lnTo>
                    <a:pt x="126" y="298"/>
                  </a:lnTo>
                  <a:lnTo>
                    <a:pt x="126" y="298"/>
                  </a:lnTo>
                  <a:lnTo>
                    <a:pt x="126" y="298"/>
                  </a:lnTo>
                  <a:lnTo>
                    <a:pt x="126" y="298"/>
                  </a:lnTo>
                  <a:lnTo>
                    <a:pt x="126" y="300"/>
                  </a:lnTo>
                  <a:lnTo>
                    <a:pt x="126" y="302"/>
                  </a:lnTo>
                  <a:lnTo>
                    <a:pt x="126" y="302"/>
                  </a:lnTo>
                  <a:lnTo>
                    <a:pt x="126" y="302"/>
                  </a:lnTo>
                  <a:lnTo>
                    <a:pt x="124" y="302"/>
                  </a:lnTo>
                  <a:lnTo>
                    <a:pt x="124" y="304"/>
                  </a:lnTo>
                  <a:lnTo>
                    <a:pt x="124" y="304"/>
                  </a:lnTo>
                  <a:lnTo>
                    <a:pt x="122" y="304"/>
                  </a:lnTo>
                  <a:lnTo>
                    <a:pt x="122" y="304"/>
                  </a:lnTo>
                  <a:lnTo>
                    <a:pt x="122" y="304"/>
                  </a:lnTo>
                  <a:lnTo>
                    <a:pt x="122" y="304"/>
                  </a:lnTo>
                  <a:lnTo>
                    <a:pt x="124" y="306"/>
                  </a:lnTo>
                  <a:lnTo>
                    <a:pt x="124" y="308"/>
                  </a:lnTo>
                  <a:lnTo>
                    <a:pt x="124" y="308"/>
                  </a:lnTo>
                  <a:lnTo>
                    <a:pt x="124" y="308"/>
                  </a:lnTo>
                  <a:lnTo>
                    <a:pt x="124" y="308"/>
                  </a:lnTo>
                  <a:lnTo>
                    <a:pt x="124" y="308"/>
                  </a:lnTo>
                  <a:lnTo>
                    <a:pt x="124" y="310"/>
                  </a:lnTo>
                  <a:lnTo>
                    <a:pt x="126" y="310"/>
                  </a:lnTo>
                  <a:lnTo>
                    <a:pt x="126" y="312"/>
                  </a:lnTo>
                  <a:lnTo>
                    <a:pt x="126" y="312"/>
                  </a:lnTo>
                  <a:lnTo>
                    <a:pt x="126" y="312"/>
                  </a:lnTo>
                  <a:lnTo>
                    <a:pt x="126" y="314"/>
                  </a:lnTo>
                  <a:lnTo>
                    <a:pt x="128" y="314"/>
                  </a:lnTo>
                  <a:lnTo>
                    <a:pt x="128" y="314"/>
                  </a:lnTo>
                  <a:lnTo>
                    <a:pt x="128" y="315"/>
                  </a:lnTo>
                  <a:lnTo>
                    <a:pt x="128" y="317"/>
                  </a:lnTo>
                  <a:lnTo>
                    <a:pt x="129" y="317"/>
                  </a:lnTo>
                  <a:lnTo>
                    <a:pt x="131" y="317"/>
                  </a:lnTo>
                  <a:lnTo>
                    <a:pt x="133" y="315"/>
                  </a:lnTo>
                  <a:lnTo>
                    <a:pt x="133" y="315"/>
                  </a:lnTo>
                  <a:lnTo>
                    <a:pt x="135" y="315"/>
                  </a:lnTo>
                  <a:lnTo>
                    <a:pt x="133" y="314"/>
                  </a:lnTo>
                  <a:lnTo>
                    <a:pt x="133" y="314"/>
                  </a:lnTo>
                  <a:lnTo>
                    <a:pt x="133" y="312"/>
                  </a:lnTo>
                  <a:lnTo>
                    <a:pt x="133" y="312"/>
                  </a:lnTo>
                  <a:lnTo>
                    <a:pt x="133" y="310"/>
                  </a:lnTo>
                  <a:lnTo>
                    <a:pt x="135" y="308"/>
                  </a:lnTo>
                  <a:lnTo>
                    <a:pt x="135" y="306"/>
                  </a:lnTo>
                  <a:lnTo>
                    <a:pt x="137" y="306"/>
                  </a:lnTo>
                  <a:lnTo>
                    <a:pt x="137" y="308"/>
                  </a:lnTo>
                  <a:lnTo>
                    <a:pt x="137" y="306"/>
                  </a:lnTo>
                  <a:lnTo>
                    <a:pt x="139" y="306"/>
                  </a:lnTo>
                  <a:lnTo>
                    <a:pt x="139" y="306"/>
                  </a:lnTo>
                  <a:lnTo>
                    <a:pt x="139" y="304"/>
                  </a:lnTo>
                  <a:lnTo>
                    <a:pt x="139" y="304"/>
                  </a:lnTo>
                  <a:lnTo>
                    <a:pt x="141" y="302"/>
                  </a:lnTo>
                  <a:lnTo>
                    <a:pt x="141" y="300"/>
                  </a:lnTo>
                  <a:lnTo>
                    <a:pt x="145" y="296"/>
                  </a:lnTo>
                  <a:lnTo>
                    <a:pt x="147" y="295"/>
                  </a:lnTo>
                  <a:lnTo>
                    <a:pt x="147" y="291"/>
                  </a:lnTo>
                  <a:lnTo>
                    <a:pt x="148" y="291"/>
                  </a:lnTo>
                  <a:lnTo>
                    <a:pt x="148" y="291"/>
                  </a:lnTo>
                  <a:lnTo>
                    <a:pt x="150" y="293"/>
                  </a:lnTo>
                  <a:lnTo>
                    <a:pt x="154" y="293"/>
                  </a:lnTo>
                  <a:lnTo>
                    <a:pt x="156" y="295"/>
                  </a:lnTo>
                  <a:lnTo>
                    <a:pt x="156" y="293"/>
                  </a:lnTo>
                  <a:lnTo>
                    <a:pt x="156" y="295"/>
                  </a:lnTo>
                  <a:lnTo>
                    <a:pt x="160" y="295"/>
                  </a:lnTo>
                  <a:lnTo>
                    <a:pt x="162" y="296"/>
                  </a:lnTo>
                  <a:lnTo>
                    <a:pt x="164" y="296"/>
                  </a:lnTo>
                  <a:lnTo>
                    <a:pt x="166" y="295"/>
                  </a:lnTo>
                  <a:lnTo>
                    <a:pt x="168" y="295"/>
                  </a:lnTo>
                  <a:lnTo>
                    <a:pt x="171" y="296"/>
                  </a:lnTo>
                  <a:lnTo>
                    <a:pt x="171" y="295"/>
                  </a:lnTo>
                  <a:lnTo>
                    <a:pt x="173" y="295"/>
                  </a:lnTo>
                  <a:lnTo>
                    <a:pt x="173" y="295"/>
                  </a:lnTo>
                  <a:lnTo>
                    <a:pt x="173" y="293"/>
                  </a:lnTo>
                  <a:lnTo>
                    <a:pt x="173" y="293"/>
                  </a:lnTo>
                  <a:lnTo>
                    <a:pt x="173" y="291"/>
                  </a:lnTo>
                  <a:lnTo>
                    <a:pt x="177" y="289"/>
                  </a:lnTo>
                  <a:lnTo>
                    <a:pt x="179" y="289"/>
                  </a:lnTo>
                  <a:lnTo>
                    <a:pt x="179" y="289"/>
                  </a:lnTo>
                  <a:lnTo>
                    <a:pt x="181" y="289"/>
                  </a:lnTo>
                  <a:lnTo>
                    <a:pt x="183" y="289"/>
                  </a:lnTo>
                  <a:lnTo>
                    <a:pt x="183" y="291"/>
                  </a:lnTo>
                  <a:lnTo>
                    <a:pt x="185" y="293"/>
                  </a:lnTo>
                  <a:lnTo>
                    <a:pt x="185" y="293"/>
                  </a:lnTo>
                  <a:lnTo>
                    <a:pt x="187" y="296"/>
                  </a:lnTo>
                  <a:lnTo>
                    <a:pt x="187" y="296"/>
                  </a:lnTo>
                  <a:lnTo>
                    <a:pt x="188" y="298"/>
                  </a:lnTo>
                  <a:lnTo>
                    <a:pt x="190" y="298"/>
                  </a:lnTo>
                  <a:lnTo>
                    <a:pt x="192" y="298"/>
                  </a:lnTo>
                  <a:lnTo>
                    <a:pt x="194" y="298"/>
                  </a:lnTo>
                  <a:lnTo>
                    <a:pt x="196" y="298"/>
                  </a:lnTo>
                  <a:lnTo>
                    <a:pt x="198" y="296"/>
                  </a:lnTo>
                  <a:lnTo>
                    <a:pt x="198" y="296"/>
                  </a:lnTo>
                  <a:lnTo>
                    <a:pt x="202" y="296"/>
                  </a:lnTo>
                  <a:lnTo>
                    <a:pt x="202" y="296"/>
                  </a:lnTo>
                  <a:lnTo>
                    <a:pt x="204" y="296"/>
                  </a:lnTo>
                  <a:lnTo>
                    <a:pt x="206" y="293"/>
                  </a:lnTo>
                  <a:lnTo>
                    <a:pt x="209" y="291"/>
                  </a:lnTo>
                  <a:lnTo>
                    <a:pt x="211" y="289"/>
                  </a:lnTo>
                  <a:lnTo>
                    <a:pt x="213" y="289"/>
                  </a:lnTo>
                  <a:lnTo>
                    <a:pt x="215" y="287"/>
                  </a:lnTo>
                  <a:lnTo>
                    <a:pt x="219" y="287"/>
                  </a:lnTo>
                  <a:lnTo>
                    <a:pt x="219" y="285"/>
                  </a:lnTo>
                  <a:lnTo>
                    <a:pt x="219" y="283"/>
                  </a:lnTo>
                  <a:lnTo>
                    <a:pt x="219" y="283"/>
                  </a:lnTo>
                  <a:lnTo>
                    <a:pt x="217" y="281"/>
                  </a:lnTo>
                  <a:lnTo>
                    <a:pt x="217" y="281"/>
                  </a:lnTo>
                  <a:lnTo>
                    <a:pt x="215" y="281"/>
                  </a:lnTo>
                  <a:lnTo>
                    <a:pt x="215" y="279"/>
                  </a:lnTo>
                  <a:lnTo>
                    <a:pt x="215" y="279"/>
                  </a:lnTo>
                  <a:lnTo>
                    <a:pt x="215" y="277"/>
                  </a:lnTo>
                  <a:lnTo>
                    <a:pt x="215" y="277"/>
                  </a:lnTo>
                  <a:lnTo>
                    <a:pt x="215" y="275"/>
                  </a:lnTo>
                  <a:lnTo>
                    <a:pt x="215" y="274"/>
                  </a:lnTo>
                  <a:lnTo>
                    <a:pt x="217" y="268"/>
                  </a:lnTo>
                  <a:lnTo>
                    <a:pt x="217" y="268"/>
                  </a:lnTo>
                  <a:lnTo>
                    <a:pt x="219" y="266"/>
                  </a:lnTo>
                  <a:lnTo>
                    <a:pt x="219" y="266"/>
                  </a:lnTo>
                  <a:lnTo>
                    <a:pt x="219" y="266"/>
                  </a:lnTo>
                  <a:lnTo>
                    <a:pt x="219" y="266"/>
                  </a:lnTo>
                  <a:lnTo>
                    <a:pt x="219" y="264"/>
                  </a:lnTo>
                  <a:lnTo>
                    <a:pt x="219" y="264"/>
                  </a:lnTo>
                  <a:lnTo>
                    <a:pt x="219" y="264"/>
                  </a:lnTo>
                  <a:lnTo>
                    <a:pt x="219" y="262"/>
                  </a:lnTo>
                  <a:lnTo>
                    <a:pt x="219" y="262"/>
                  </a:lnTo>
                  <a:lnTo>
                    <a:pt x="219" y="262"/>
                  </a:lnTo>
                  <a:lnTo>
                    <a:pt x="221" y="262"/>
                  </a:lnTo>
                  <a:lnTo>
                    <a:pt x="223" y="262"/>
                  </a:lnTo>
                  <a:lnTo>
                    <a:pt x="221" y="260"/>
                  </a:lnTo>
                  <a:lnTo>
                    <a:pt x="221" y="260"/>
                  </a:lnTo>
                  <a:lnTo>
                    <a:pt x="219" y="260"/>
                  </a:lnTo>
                  <a:lnTo>
                    <a:pt x="219" y="260"/>
                  </a:lnTo>
                  <a:lnTo>
                    <a:pt x="217" y="258"/>
                  </a:lnTo>
                  <a:lnTo>
                    <a:pt x="217" y="258"/>
                  </a:lnTo>
                  <a:lnTo>
                    <a:pt x="217" y="258"/>
                  </a:lnTo>
                  <a:lnTo>
                    <a:pt x="217" y="256"/>
                  </a:lnTo>
                  <a:lnTo>
                    <a:pt x="219" y="256"/>
                  </a:lnTo>
                  <a:lnTo>
                    <a:pt x="219" y="256"/>
                  </a:lnTo>
                  <a:lnTo>
                    <a:pt x="219" y="256"/>
                  </a:lnTo>
                  <a:lnTo>
                    <a:pt x="223" y="258"/>
                  </a:lnTo>
                  <a:lnTo>
                    <a:pt x="223" y="258"/>
                  </a:lnTo>
                  <a:lnTo>
                    <a:pt x="225" y="258"/>
                  </a:lnTo>
                  <a:lnTo>
                    <a:pt x="225" y="258"/>
                  </a:lnTo>
                  <a:lnTo>
                    <a:pt x="227" y="260"/>
                  </a:lnTo>
                  <a:lnTo>
                    <a:pt x="227" y="260"/>
                  </a:lnTo>
                  <a:lnTo>
                    <a:pt x="229" y="260"/>
                  </a:lnTo>
                  <a:lnTo>
                    <a:pt x="229" y="258"/>
                  </a:lnTo>
                  <a:lnTo>
                    <a:pt x="229" y="258"/>
                  </a:lnTo>
                  <a:lnTo>
                    <a:pt x="229" y="258"/>
                  </a:lnTo>
                  <a:lnTo>
                    <a:pt x="229" y="256"/>
                  </a:lnTo>
                  <a:lnTo>
                    <a:pt x="229" y="256"/>
                  </a:lnTo>
                  <a:lnTo>
                    <a:pt x="229" y="256"/>
                  </a:lnTo>
                  <a:lnTo>
                    <a:pt x="230" y="256"/>
                  </a:lnTo>
                  <a:lnTo>
                    <a:pt x="230" y="256"/>
                  </a:lnTo>
                  <a:lnTo>
                    <a:pt x="232" y="258"/>
                  </a:lnTo>
                  <a:lnTo>
                    <a:pt x="232" y="258"/>
                  </a:lnTo>
                  <a:lnTo>
                    <a:pt x="232" y="258"/>
                  </a:lnTo>
                  <a:lnTo>
                    <a:pt x="232" y="258"/>
                  </a:lnTo>
                  <a:lnTo>
                    <a:pt x="234" y="258"/>
                  </a:lnTo>
                  <a:lnTo>
                    <a:pt x="234" y="258"/>
                  </a:lnTo>
                  <a:lnTo>
                    <a:pt x="234" y="256"/>
                  </a:lnTo>
                  <a:lnTo>
                    <a:pt x="234" y="255"/>
                  </a:lnTo>
                  <a:lnTo>
                    <a:pt x="234" y="255"/>
                  </a:lnTo>
                  <a:lnTo>
                    <a:pt x="234" y="255"/>
                  </a:lnTo>
                  <a:lnTo>
                    <a:pt x="234" y="253"/>
                  </a:lnTo>
                  <a:lnTo>
                    <a:pt x="234" y="253"/>
                  </a:lnTo>
                  <a:lnTo>
                    <a:pt x="234" y="253"/>
                  </a:lnTo>
                  <a:lnTo>
                    <a:pt x="234" y="251"/>
                  </a:lnTo>
                  <a:lnTo>
                    <a:pt x="236" y="251"/>
                  </a:lnTo>
                  <a:lnTo>
                    <a:pt x="236" y="251"/>
                  </a:lnTo>
                  <a:lnTo>
                    <a:pt x="236" y="251"/>
                  </a:lnTo>
                  <a:lnTo>
                    <a:pt x="238" y="253"/>
                  </a:lnTo>
                  <a:lnTo>
                    <a:pt x="238" y="256"/>
                  </a:lnTo>
                  <a:lnTo>
                    <a:pt x="238" y="258"/>
                  </a:lnTo>
                  <a:lnTo>
                    <a:pt x="240" y="260"/>
                  </a:lnTo>
                  <a:lnTo>
                    <a:pt x="240" y="260"/>
                  </a:lnTo>
                  <a:lnTo>
                    <a:pt x="242" y="260"/>
                  </a:lnTo>
                  <a:lnTo>
                    <a:pt x="244" y="262"/>
                  </a:lnTo>
                  <a:lnTo>
                    <a:pt x="244" y="262"/>
                  </a:lnTo>
                  <a:lnTo>
                    <a:pt x="248" y="262"/>
                  </a:lnTo>
                  <a:lnTo>
                    <a:pt x="253" y="258"/>
                  </a:lnTo>
                  <a:lnTo>
                    <a:pt x="257" y="256"/>
                  </a:lnTo>
                  <a:lnTo>
                    <a:pt x="257" y="255"/>
                  </a:lnTo>
                  <a:lnTo>
                    <a:pt x="257" y="255"/>
                  </a:lnTo>
                  <a:lnTo>
                    <a:pt x="257" y="253"/>
                  </a:lnTo>
                  <a:lnTo>
                    <a:pt x="257" y="251"/>
                  </a:lnTo>
                  <a:lnTo>
                    <a:pt x="257" y="251"/>
                  </a:lnTo>
                  <a:lnTo>
                    <a:pt x="257" y="251"/>
                  </a:lnTo>
                  <a:lnTo>
                    <a:pt x="257" y="249"/>
                  </a:lnTo>
                  <a:lnTo>
                    <a:pt x="257" y="249"/>
                  </a:lnTo>
                  <a:lnTo>
                    <a:pt x="257" y="249"/>
                  </a:lnTo>
                  <a:lnTo>
                    <a:pt x="257" y="249"/>
                  </a:lnTo>
                  <a:lnTo>
                    <a:pt x="255" y="249"/>
                  </a:lnTo>
                  <a:lnTo>
                    <a:pt x="255" y="247"/>
                  </a:lnTo>
                  <a:lnTo>
                    <a:pt x="255" y="247"/>
                  </a:lnTo>
                  <a:lnTo>
                    <a:pt x="253" y="247"/>
                  </a:lnTo>
                  <a:lnTo>
                    <a:pt x="253" y="247"/>
                  </a:lnTo>
                  <a:lnTo>
                    <a:pt x="253" y="245"/>
                  </a:lnTo>
                  <a:lnTo>
                    <a:pt x="253" y="245"/>
                  </a:lnTo>
                  <a:lnTo>
                    <a:pt x="253" y="245"/>
                  </a:lnTo>
                  <a:lnTo>
                    <a:pt x="253" y="245"/>
                  </a:lnTo>
                  <a:lnTo>
                    <a:pt x="253" y="245"/>
                  </a:lnTo>
                  <a:lnTo>
                    <a:pt x="251" y="245"/>
                  </a:lnTo>
                  <a:lnTo>
                    <a:pt x="251" y="245"/>
                  </a:lnTo>
                  <a:lnTo>
                    <a:pt x="249" y="247"/>
                  </a:lnTo>
                  <a:lnTo>
                    <a:pt x="249" y="247"/>
                  </a:lnTo>
                  <a:lnTo>
                    <a:pt x="249" y="247"/>
                  </a:lnTo>
                  <a:lnTo>
                    <a:pt x="249" y="247"/>
                  </a:lnTo>
                  <a:lnTo>
                    <a:pt x="248" y="247"/>
                  </a:lnTo>
                  <a:lnTo>
                    <a:pt x="248" y="247"/>
                  </a:lnTo>
                  <a:lnTo>
                    <a:pt x="248" y="245"/>
                  </a:lnTo>
                  <a:lnTo>
                    <a:pt x="248" y="245"/>
                  </a:lnTo>
                  <a:lnTo>
                    <a:pt x="249" y="243"/>
                  </a:lnTo>
                  <a:lnTo>
                    <a:pt x="251" y="243"/>
                  </a:lnTo>
                  <a:lnTo>
                    <a:pt x="255" y="241"/>
                  </a:lnTo>
                  <a:lnTo>
                    <a:pt x="255" y="241"/>
                  </a:lnTo>
                  <a:lnTo>
                    <a:pt x="257" y="239"/>
                  </a:lnTo>
                  <a:lnTo>
                    <a:pt x="259" y="239"/>
                  </a:lnTo>
                  <a:lnTo>
                    <a:pt x="265" y="236"/>
                  </a:lnTo>
                  <a:lnTo>
                    <a:pt x="267" y="234"/>
                  </a:lnTo>
                  <a:lnTo>
                    <a:pt x="267" y="234"/>
                  </a:lnTo>
                  <a:lnTo>
                    <a:pt x="267" y="232"/>
                  </a:lnTo>
                  <a:lnTo>
                    <a:pt x="267" y="232"/>
                  </a:lnTo>
                  <a:lnTo>
                    <a:pt x="267" y="232"/>
                  </a:lnTo>
                  <a:lnTo>
                    <a:pt x="265" y="232"/>
                  </a:lnTo>
                  <a:lnTo>
                    <a:pt x="265" y="232"/>
                  </a:lnTo>
                  <a:lnTo>
                    <a:pt x="265" y="232"/>
                  </a:lnTo>
                  <a:lnTo>
                    <a:pt x="265" y="230"/>
                  </a:lnTo>
                  <a:lnTo>
                    <a:pt x="265" y="228"/>
                  </a:lnTo>
                  <a:lnTo>
                    <a:pt x="265" y="226"/>
                  </a:lnTo>
                  <a:lnTo>
                    <a:pt x="267" y="226"/>
                  </a:lnTo>
                  <a:lnTo>
                    <a:pt x="269" y="224"/>
                  </a:lnTo>
                  <a:lnTo>
                    <a:pt x="269" y="224"/>
                  </a:lnTo>
                  <a:lnTo>
                    <a:pt x="270" y="226"/>
                  </a:lnTo>
                  <a:lnTo>
                    <a:pt x="272" y="226"/>
                  </a:lnTo>
                  <a:lnTo>
                    <a:pt x="274" y="226"/>
                  </a:lnTo>
                  <a:lnTo>
                    <a:pt x="276" y="226"/>
                  </a:lnTo>
                  <a:lnTo>
                    <a:pt x="276" y="226"/>
                  </a:lnTo>
                  <a:lnTo>
                    <a:pt x="278" y="228"/>
                  </a:lnTo>
                  <a:lnTo>
                    <a:pt x="278" y="230"/>
                  </a:lnTo>
                  <a:lnTo>
                    <a:pt x="278" y="232"/>
                  </a:lnTo>
                  <a:lnTo>
                    <a:pt x="280" y="234"/>
                  </a:lnTo>
                  <a:lnTo>
                    <a:pt x="280" y="232"/>
                  </a:lnTo>
                  <a:lnTo>
                    <a:pt x="282" y="232"/>
                  </a:lnTo>
                  <a:lnTo>
                    <a:pt x="282" y="230"/>
                  </a:lnTo>
                  <a:lnTo>
                    <a:pt x="282" y="228"/>
                  </a:lnTo>
                  <a:lnTo>
                    <a:pt x="282" y="228"/>
                  </a:lnTo>
                  <a:lnTo>
                    <a:pt x="282" y="2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2" name="Freeform 24">
              <a:extLst>
                <a:ext uri="{FF2B5EF4-FFF2-40B4-BE49-F238E27FC236}">
                  <a16:creationId xmlns:a16="http://schemas.microsoft.com/office/drawing/2014/main" id="{49EF0F26-4819-C5F8-8921-D7C81F09B892}"/>
                </a:ext>
              </a:extLst>
            </p:cNvPr>
            <p:cNvSpPr>
              <a:spLocks noEditPoints="1"/>
            </p:cNvSpPr>
            <p:nvPr/>
          </p:nvSpPr>
          <p:spPr bwMode="auto">
            <a:xfrm>
              <a:off x="4813300" y="4755363"/>
              <a:ext cx="1039813" cy="896938"/>
            </a:xfrm>
            <a:custGeom>
              <a:avLst/>
              <a:gdLst>
                <a:gd name="T0" fmla="*/ 426 w 655"/>
                <a:gd name="T1" fmla="*/ 548 h 565"/>
                <a:gd name="T2" fmla="*/ 421 w 655"/>
                <a:gd name="T3" fmla="*/ 550 h 565"/>
                <a:gd name="T4" fmla="*/ 417 w 655"/>
                <a:gd name="T5" fmla="*/ 548 h 565"/>
                <a:gd name="T6" fmla="*/ 419 w 655"/>
                <a:gd name="T7" fmla="*/ 551 h 565"/>
                <a:gd name="T8" fmla="*/ 417 w 655"/>
                <a:gd name="T9" fmla="*/ 551 h 565"/>
                <a:gd name="T10" fmla="*/ 415 w 655"/>
                <a:gd name="T11" fmla="*/ 551 h 565"/>
                <a:gd name="T12" fmla="*/ 415 w 655"/>
                <a:gd name="T13" fmla="*/ 555 h 565"/>
                <a:gd name="T14" fmla="*/ 419 w 655"/>
                <a:gd name="T15" fmla="*/ 557 h 565"/>
                <a:gd name="T16" fmla="*/ 421 w 655"/>
                <a:gd name="T17" fmla="*/ 557 h 565"/>
                <a:gd name="T18" fmla="*/ 423 w 655"/>
                <a:gd name="T19" fmla="*/ 557 h 565"/>
                <a:gd name="T20" fmla="*/ 425 w 655"/>
                <a:gd name="T21" fmla="*/ 559 h 565"/>
                <a:gd name="T22" fmla="*/ 423 w 655"/>
                <a:gd name="T23" fmla="*/ 561 h 565"/>
                <a:gd name="T24" fmla="*/ 425 w 655"/>
                <a:gd name="T25" fmla="*/ 563 h 565"/>
                <a:gd name="T26" fmla="*/ 426 w 655"/>
                <a:gd name="T27" fmla="*/ 551 h 565"/>
                <a:gd name="T28" fmla="*/ 9 w 655"/>
                <a:gd name="T29" fmla="*/ 439 h 565"/>
                <a:gd name="T30" fmla="*/ 5 w 655"/>
                <a:gd name="T31" fmla="*/ 441 h 565"/>
                <a:gd name="T32" fmla="*/ 2 w 655"/>
                <a:gd name="T33" fmla="*/ 443 h 565"/>
                <a:gd name="T34" fmla="*/ 0 w 655"/>
                <a:gd name="T35" fmla="*/ 451 h 565"/>
                <a:gd name="T36" fmla="*/ 0 w 655"/>
                <a:gd name="T37" fmla="*/ 451 h 565"/>
                <a:gd name="T38" fmla="*/ 2 w 655"/>
                <a:gd name="T39" fmla="*/ 451 h 565"/>
                <a:gd name="T40" fmla="*/ 5 w 655"/>
                <a:gd name="T41" fmla="*/ 454 h 565"/>
                <a:gd name="T42" fmla="*/ 9 w 655"/>
                <a:gd name="T43" fmla="*/ 447 h 565"/>
                <a:gd name="T44" fmla="*/ 11 w 655"/>
                <a:gd name="T45" fmla="*/ 443 h 565"/>
                <a:gd name="T46" fmla="*/ 15 w 655"/>
                <a:gd name="T47" fmla="*/ 441 h 565"/>
                <a:gd name="T48" fmla="*/ 15 w 655"/>
                <a:gd name="T49" fmla="*/ 437 h 565"/>
                <a:gd name="T50" fmla="*/ 428 w 655"/>
                <a:gd name="T51" fmla="*/ 456 h 565"/>
                <a:gd name="T52" fmla="*/ 423 w 655"/>
                <a:gd name="T53" fmla="*/ 460 h 565"/>
                <a:gd name="T54" fmla="*/ 419 w 655"/>
                <a:gd name="T55" fmla="*/ 458 h 565"/>
                <a:gd name="T56" fmla="*/ 421 w 655"/>
                <a:gd name="T57" fmla="*/ 456 h 565"/>
                <a:gd name="T58" fmla="*/ 421 w 655"/>
                <a:gd name="T59" fmla="*/ 454 h 565"/>
                <a:gd name="T60" fmla="*/ 415 w 655"/>
                <a:gd name="T61" fmla="*/ 454 h 565"/>
                <a:gd name="T62" fmla="*/ 413 w 655"/>
                <a:gd name="T63" fmla="*/ 453 h 565"/>
                <a:gd name="T64" fmla="*/ 411 w 655"/>
                <a:gd name="T65" fmla="*/ 454 h 565"/>
                <a:gd name="T66" fmla="*/ 413 w 655"/>
                <a:gd name="T67" fmla="*/ 456 h 565"/>
                <a:gd name="T68" fmla="*/ 413 w 655"/>
                <a:gd name="T69" fmla="*/ 458 h 565"/>
                <a:gd name="T70" fmla="*/ 415 w 655"/>
                <a:gd name="T71" fmla="*/ 460 h 565"/>
                <a:gd name="T72" fmla="*/ 415 w 655"/>
                <a:gd name="T73" fmla="*/ 464 h 565"/>
                <a:gd name="T74" fmla="*/ 415 w 655"/>
                <a:gd name="T75" fmla="*/ 466 h 565"/>
                <a:gd name="T76" fmla="*/ 417 w 655"/>
                <a:gd name="T77" fmla="*/ 468 h 565"/>
                <a:gd name="T78" fmla="*/ 419 w 655"/>
                <a:gd name="T79" fmla="*/ 468 h 565"/>
                <a:gd name="T80" fmla="*/ 425 w 655"/>
                <a:gd name="T81" fmla="*/ 468 h 565"/>
                <a:gd name="T82" fmla="*/ 428 w 655"/>
                <a:gd name="T83" fmla="*/ 456 h 565"/>
                <a:gd name="T84" fmla="*/ 428 w 655"/>
                <a:gd name="T85" fmla="*/ 456 h 565"/>
                <a:gd name="T86" fmla="*/ 653 w 655"/>
                <a:gd name="T87" fmla="*/ 2 h 565"/>
                <a:gd name="T88" fmla="*/ 653 w 655"/>
                <a:gd name="T89" fmla="*/ 2 h 565"/>
                <a:gd name="T90" fmla="*/ 647 w 655"/>
                <a:gd name="T91" fmla="*/ 2 h 565"/>
                <a:gd name="T92" fmla="*/ 646 w 655"/>
                <a:gd name="T93" fmla="*/ 0 h 565"/>
                <a:gd name="T94" fmla="*/ 644 w 655"/>
                <a:gd name="T95" fmla="*/ 2 h 565"/>
                <a:gd name="T96" fmla="*/ 647 w 655"/>
                <a:gd name="T97" fmla="*/ 4 h 565"/>
                <a:gd name="T98" fmla="*/ 653 w 655"/>
                <a:gd name="T99" fmla="*/ 6 h 565"/>
                <a:gd name="T100" fmla="*/ 653 w 655"/>
                <a:gd name="T101" fmla="*/ 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5" h="565">
                  <a:moveTo>
                    <a:pt x="426" y="551"/>
                  </a:moveTo>
                  <a:lnTo>
                    <a:pt x="428" y="548"/>
                  </a:lnTo>
                  <a:lnTo>
                    <a:pt x="428" y="548"/>
                  </a:lnTo>
                  <a:lnTo>
                    <a:pt x="426" y="548"/>
                  </a:lnTo>
                  <a:lnTo>
                    <a:pt x="425" y="548"/>
                  </a:lnTo>
                  <a:lnTo>
                    <a:pt x="423" y="548"/>
                  </a:lnTo>
                  <a:lnTo>
                    <a:pt x="423" y="550"/>
                  </a:lnTo>
                  <a:lnTo>
                    <a:pt x="421" y="550"/>
                  </a:lnTo>
                  <a:lnTo>
                    <a:pt x="419" y="548"/>
                  </a:lnTo>
                  <a:lnTo>
                    <a:pt x="417" y="548"/>
                  </a:lnTo>
                  <a:lnTo>
                    <a:pt x="417" y="548"/>
                  </a:lnTo>
                  <a:lnTo>
                    <a:pt x="417" y="548"/>
                  </a:lnTo>
                  <a:lnTo>
                    <a:pt x="417" y="550"/>
                  </a:lnTo>
                  <a:lnTo>
                    <a:pt x="417" y="550"/>
                  </a:lnTo>
                  <a:lnTo>
                    <a:pt x="419" y="550"/>
                  </a:lnTo>
                  <a:lnTo>
                    <a:pt x="419" y="551"/>
                  </a:lnTo>
                  <a:lnTo>
                    <a:pt x="419" y="551"/>
                  </a:lnTo>
                  <a:lnTo>
                    <a:pt x="417" y="551"/>
                  </a:lnTo>
                  <a:lnTo>
                    <a:pt x="417" y="551"/>
                  </a:lnTo>
                  <a:lnTo>
                    <a:pt x="417" y="551"/>
                  </a:lnTo>
                  <a:lnTo>
                    <a:pt x="415" y="551"/>
                  </a:lnTo>
                  <a:lnTo>
                    <a:pt x="415" y="551"/>
                  </a:lnTo>
                  <a:lnTo>
                    <a:pt x="415" y="551"/>
                  </a:lnTo>
                  <a:lnTo>
                    <a:pt x="415" y="551"/>
                  </a:lnTo>
                  <a:lnTo>
                    <a:pt x="415" y="553"/>
                  </a:lnTo>
                  <a:lnTo>
                    <a:pt x="415" y="553"/>
                  </a:lnTo>
                  <a:lnTo>
                    <a:pt x="415" y="555"/>
                  </a:lnTo>
                  <a:lnTo>
                    <a:pt x="415" y="555"/>
                  </a:lnTo>
                  <a:lnTo>
                    <a:pt x="417" y="555"/>
                  </a:lnTo>
                  <a:lnTo>
                    <a:pt x="417" y="555"/>
                  </a:lnTo>
                  <a:lnTo>
                    <a:pt x="417" y="555"/>
                  </a:lnTo>
                  <a:lnTo>
                    <a:pt x="419" y="557"/>
                  </a:lnTo>
                  <a:lnTo>
                    <a:pt x="419" y="557"/>
                  </a:lnTo>
                  <a:lnTo>
                    <a:pt x="419" y="557"/>
                  </a:lnTo>
                  <a:lnTo>
                    <a:pt x="421" y="557"/>
                  </a:lnTo>
                  <a:lnTo>
                    <a:pt x="421" y="557"/>
                  </a:lnTo>
                  <a:lnTo>
                    <a:pt x="421" y="557"/>
                  </a:lnTo>
                  <a:lnTo>
                    <a:pt x="421" y="557"/>
                  </a:lnTo>
                  <a:lnTo>
                    <a:pt x="421" y="559"/>
                  </a:lnTo>
                  <a:lnTo>
                    <a:pt x="423" y="557"/>
                  </a:lnTo>
                  <a:lnTo>
                    <a:pt x="423" y="557"/>
                  </a:lnTo>
                  <a:lnTo>
                    <a:pt x="423" y="557"/>
                  </a:lnTo>
                  <a:lnTo>
                    <a:pt x="425" y="559"/>
                  </a:lnTo>
                  <a:lnTo>
                    <a:pt x="425" y="559"/>
                  </a:lnTo>
                  <a:lnTo>
                    <a:pt x="423" y="559"/>
                  </a:lnTo>
                  <a:lnTo>
                    <a:pt x="423" y="559"/>
                  </a:lnTo>
                  <a:lnTo>
                    <a:pt x="423" y="561"/>
                  </a:lnTo>
                  <a:lnTo>
                    <a:pt x="423" y="561"/>
                  </a:lnTo>
                  <a:lnTo>
                    <a:pt x="423" y="561"/>
                  </a:lnTo>
                  <a:lnTo>
                    <a:pt x="425" y="563"/>
                  </a:lnTo>
                  <a:lnTo>
                    <a:pt x="425" y="563"/>
                  </a:lnTo>
                  <a:lnTo>
                    <a:pt x="425" y="563"/>
                  </a:lnTo>
                  <a:lnTo>
                    <a:pt x="426" y="565"/>
                  </a:lnTo>
                  <a:lnTo>
                    <a:pt x="428" y="565"/>
                  </a:lnTo>
                  <a:lnTo>
                    <a:pt x="428" y="565"/>
                  </a:lnTo>
                  <a:lnTo>
                    <a:pt x="426" y="551"/>
                  </a:lnTo>
                  <a:close/>
                  <a:moveTo>
                    <a:pt x="15" y="439"/>
                  </a:moveTo>
                  <a:lnTo>
                    <a:pt x="13" y="439"/>
                  </a:lnTo>
                  <a:lnTo>
                    <a:pt x="11" y="439"/>
                  </a:lnTo>
                  <a:lnTo>
                    <a:pt x="9" y="439"/>
                  </a:lnTo>
                  <a:lnTo>
                    <a:pt x="9" y="439"/>
                  </a:lnTo>
                  <a:lnTo>
                    <a:pt x="7" y="441"/>
                  </a:lnTo>
                  <a:lnTo>
                    <a:pt x="7" y="441"/>
                  </a:lnTo>
                  <a:lnTo>
                    <a:pt x="5" y="441"/>
                  </a:lnTo>
                  <a:lnTo>
                    <a:pt x="5" y="443"/>
                  </a:lnTo>
                  <a:lnTo>
                    <a:pt x="3" y="443"/>
                  </a:lnTo>
                  <a:lnTo>
                    <a:pt x="2" y="441"/>
                  </a:lnTo>
                  <a:lnTo>
                    <a:pt x="2" y="443"/>
                  </a:lnTo>
                  <a:lnTo>
                    <a:pt x="2" y="449"/>
                  </a:lnTo>
                  <a:lnTo>
                    <a:pt x="2" y="451"/>
                  </a:lnTo>
                  <a:lnTo>
                    <a:pt x="0" y="451"/>
                  </a:lnTo>
                  <a:lnTo>
                    <a:pt x="0" y="451"/>
                  </a:lnTo>
                  <a:lnTo>
                    <a:pt x="0" y="451"/>
                  </a:lnTo>
                  <a:lnTo>
                    <a:pt x="0" y="451"/>
                  </a:lnTo>
                  <a:lnTo>
                    <a:pt x="0" y="451"/>
                  </a:lnTo>
                  <a:lnTo>
                    <a:pt x="0" y="451"/>
                  </a:lnTo>
                  <a:lnTo>
                    <a:pt x="0" y="451"/>
                  </a:lnTo>
                  <a:lnTo>
                    <a:pt x="2" y="451"/>
                  </a:lnTo>
                  <a:lnTo>
                    <a:pt x="2" y="451"/>
                  </a:lnTo>
                  <a:lnTo>
                    <a:pt x="2" y="451"/>
                  </a:lnTo>
                  <a:lnTo>
                    <a:pt x="2" y="451"/>
                  </a:lnTo>
                  <a:lnTo>
                    <a:pt x="2" y="451"/>
                  </a:lnTo>
                  <a:lnTo>
                    <a:pt x="3" y="453"/>
                  </a:lnTo>
                  <a:lnTo>
                    <a:pt x="5" y="454"/>
                  </a:lnTo>
                  <a:lnTo>
                    <a:pt x="3" y="453"/>
                  </a:lnTo>
                  <a:lnTo>
                    <a:pt x="5" y="451"/>
                  </a:lnTo>
                  <a:lnTo>
                    <a:pt x="9" y="449"/>
                  </a:lnTo>
                  <a:lnTo>
                    <a:pt x="9" y="447"/>
                  </a:lnTo>
                  <a:lnTo>
                    <a:pt x="7" y="445"/>
                  </a:lnTo>
                  <a:lnTo>
                    <a:pt x="9" y="443"/>
                  </a:lnTo>
                  <a:lnTo>
                    <a:pt x="11" y="441"/>
                  </a:lnTo>
                  <a:lnTo>
                    <a:pt x="11" y="443"/>
                  </a:lnTo>
                  <a:lnTo>
                    <a:pt x="11" y="443"/>
                  </a:lnTo>
                  <a:lnTo>
                    <a:pt x="13" y="443"/>
                  </a:lnTo>
                  <a:lnTo>
                    <a:pt x="13" y="441"/>
                  </a:lnTo>
                  <a:lnTo>
                    <a:pt x="15" y="441"/>
                  </a:lnTo>
                  <a:lnTo>
                    <a:pt x="15" y="439"/>
                  </a:lnTo>
                  <a:lnTo>
                    <a:pt x="17" y="439"/>
                  </a:lnTo>
                  <a:lnTo>
                    <a:pt x="17" y="439"/>
                  </a:lnTo>
                  <a:lnTo>
                    <a:pt x="15" y="437"/>
                  </a:lnTo>
                  <a:lnTo>
                    <a:pt x="15" y="439"/>
                  </a:lnTo>
                  <a:close/>
                  <a:moveTo>
                    <a:pt x="428" y="456"/>
                  </a:moveTo>
                  <a:lnTo>
                    <a:pt x="428" y="456"/>
                  </a:lnTo>
                  <a:lnTo>
                    <a:pt x="428" y="456"/>
                  </a:lnTo>
                  <a:lnTo>
                    <a:pt x="426" y="456"/>
                  </a:lnTo>
                  <a:lnTo>
                    <a:pt x="425" y="458"/>
                  </a:lnTo>
                  <a:lnTo>
                    <a:pt x="423" y="460"/>
                  </a:lnTo>
                  <a:lnTo>
                    <a:pt x="423" y="460"/>
                  </a:lnTo>
                  <a:lnTo>
                    <a:pt x="421" y="460"/>
                  </a:lnTo>
                  <a:lnTo>
                    <a:pt x="421" y="460"/>
                  </a:lnTo>
                  <a:lnTo>
                    <a:pt x="421" y="458"/>
                  </a:lnTo>
                  <a:lnTo>
                    <a:pt x="419" y="458"/>
                  </a:lnTo>
                  <a:lnTo>
                    <a:pt x="419" y="458"/>
                  </a:lnTo>
                  <a:lnTo>
                    <a:pt x="419" y="458"/>
                  </a:lnTo>
                  <a:lnTo>
                    <a:pt x="419" y="458"/>
                  </a:lnTo>
                  <a:lnTo>
                    <a:pt x="421" y="456"/>
                  </a:lnTo>
                  <a:lnTo>
                    <a:pt x="421" y="456"/>
                  </a:lnTo>
                  <a:lnTo>
                    <a:pt x="421" y="454"/>
                  </a:lnTo>
                  <a:lnTo>
                    <a:pt x="421" y="454"/>
                  </a:lnTo>
                  <a:lnTo>
                    <a:pt x="421" y="454"/>
                  </a:lnTo>
                  <a:lnTo>
                    <a:pt x="419" y="454"/>
                  </a:lnTo>
                  <a:lnTo>
                    <a:pt x="417" y="454"/>
                  </a:lnTo>
                  <a:lnTo>
                    <a:pt x="417" y="454"/>
                  </a:lnTo>
                  <a:lnTo>
                    <a:pt x="415" y="454"/>
                  </a:lnTo>
                  <a:lnTo>
                    <a:pt x="415" y="453"/>
                  </a:lnTo>
                  <a:lnTo>
                    <a:pt x="413" y="453"/>
                  </a:lnTo>
                  <a:lnTo>
                    <a:pt x="413" y="453"/>
                  </a:lnTo>
                  <a:lnTo>
                    <a:pt x="413" y="453"/>
                  </a:lnTo>
                  <a:lnTo>
                    <a:pt x="413" y="453"/>
                  </a:lnTo>
                  <a:lnTo>
                    <a:pt x="413" y="453"/>
                  </a:lnTo>
                  <a:lnTo>
                    <a:pt x="411" y="453"/>
                  </a:lnTo>
                  <a:lnTo>
                    <a:pt x="411" y="454"/>
                  </a:lnTo>
                  <a:lnTo>
                    <a:pt x="411" y="454"/>
                  </a:lnTo>
                  <a:lnTo>
                    <a:pt x="411" y="454"/>
                  </a:lnTo>
                  <a:lnTo>
                    <a:pt x="413" y="456"/>
                  </a:lnTo>
                  <a:lnTo>
                    <a:pt x="413" y="456"/>
                  </a:lnTo>
                  <a:lnTo>
                    <a:pt x="413" y="458"/>
                  </a:lnTo>
                  <a:lnTo>
                    <a:pt x="413" y="458"/>
                  </a:lnTo>
                  <a:lnTo>
                    <a:pt x="413" y="458"/>
                  </a:lnTo>
                  <a:lnTo>
                    <a:pt x="413" y="458"/>
                  </a:lnTo>
                  <a:lnTo>
                    <a:pt x="413" y="460"/>
                  </a:lnTo>
                  <a:lnTo>
                    <a:pt x="415" y="460"/>
                  </a:lnTo>
                  <a:lnTo>
                    <a:pt x="415" y="460"/>
                  </a:lnTo>
                  <a:lnTo>
                    <a:pt x="415" y="460"/>
                  </a:lnTo>
                  <a:lnTo>
                    <a:pt x="415" y="462"/>
                  </a:lnTo>
                  <a:lnTo>
                    <a:pt x="415" y="462"/>
                  </a:lnTo>
                  <a:lnTo>
                    <a:pt x="415" y="464"/>
                  </a:lnTo>
                  <a:lnTo>
                    <a:pt x="415" y="464"/>
                  </a:lnTo>
                  <a:lnTo>
                    <a:pt x="415" y="466"/>
                  </a:lnTo>
                  <a:lnTo>
                    <a:pt x="415" y="466"/>
                  </a:lnTo>
                  <a:lnTo>
                    <a:pt x="415" y="466"/>
                  </a:lnTo>
                  <a:lnTo>
                    <a:pt x="415" y="466"/>
                  </a:lnTo>
                  <a:lnTo>
                    <a:pt x="415" y="466"/>
                  </a:lnTo>
                  <a:lnTo>
                    <a:pt x="417" y="468"/>
                  </a:lnTo>
                  <a:lnTo>
                    <a:pt x="417" y="468"/>
                  </a:lnTo>
                  <a:lnTo>
                    <a:pt x="417" y="468"/>
                  </a:lnTo>
                  <a:lnTo>
                    <a:pt x="419" y="468"/>
                  </a:lnTo>
                  <a:lnTo>
                    <a:pt x="419" y="468"/>
                  </a:lnTo>
                  <a:lnTo>
                    <a:pt x="419" y="468"/>
                  </a:lnTo>
                  <a:lnTo>
                    <a:pt x="419" y="468"/>
                  </a:lnTo>
                  <a:lnTo>
                    <a:pt x="421" y="468"/>
                  </a:lnTo>
                  <a:lnTo>
                    <a:pt x="425" y="468"/>
                  </a:lnTo>
                  <a:lnTo>
                    <a:pt x="425" y="468"/>
                  </a:lnTo>
                  <a:lnTo>
                    <a:pt x="425" y="468"/>
                  </a:lnTo>
                  <a:lnTo>
                    <a:pt x="425" y="464"/>
                  </a:lnTo>
                  <a:lnTo>
                    <a:pt x="428" y="458"/>
                  </a:lnTo>
                  <a:lnTo>
                    <a:pt x="428" y="456"/>
                  </a:lnTo>
                  <a:lnTo>
                    <a:pt x="428" y="456"/>
                  </a:lnTo>
                  <a:lnTo>
                    <a:pt x="428" y="454"/>
                  </a:lnTo>
                  <a:lnTo>
                    <a:pt x="428" y="454"/>
                  </a:lnTo>
                  <a:lnTo>
                    <a:pt x="428" y="454"/>
                  </a:lnTo>
                  <a:lnTo>
                    <a:pt x="428" y="456"/>
                  </a:lnTo>
                  <a:close/>
                  <a:moveTo>
                    <a:pt x="653" y="4"/>
                  </a:moveTo>
                  <a:lnTo>
                    <a:pt x="655" y="4"/>
                  </a:lnTo>
                  <a:lnTo>
                    <a:pt x="655" y="2"/>
                  </a:lnTo>
                  <a:lnTo>
                    <a:pt x="653" y="2"/>
                  </a:lnTo>
                  <a:lnTo>
                    <a:pt x="653" y="2"/>
                  </a:lnTo>
                  <a:lnTo>
                    <a:pt x="653" y="2"/>
                  </a:lnTo>
                  <a:lnTo>
                    <a:pt x="653" y="2"/>
                  </a:lnTo>
                  <a:lnTo>
                    <a:pt x="653" y="2"/>
                  </a:lnTo>
                  <a:lnTo>
                    <a:pt x="651" y="4"/>
                  </a:lnTo>
                  <a:lnTo>
                    <a:pt x="651" y="4"/>
                  </a:lnTo>
                  <a:lnTo>
                    <a:pt x="647" y="4"/>
                  </a:lnTo>
                  <a:lnTo>
                    <a:pt x="647" y="2"/>
                  </a:lnTo>
                  <a:lnTo>
                    <a:pt x="646" y="2"/>
                  </a:lnTo>
                  <a:lnTo>
                    <a:pt x="647" y="0"/>
                  </a:lnTo>
                  <a:lnTo>
                    <a:pt x="646" y="0"/>
                  </a:lnTo>
                  <a:lnTo>
                    <a:pt x="646" y="0"/>
                  </a:lnTo>
                  <a:lnTo>
                    <a:pt x="646" y="2"/>
                  </a:lnTo>
                  <a:lnTo>
                    <a:pt x="644" y="2"/>
                  </a:lnTo>
                  <a:lnTo>
                    <a:pt x="644" y="2"/>
                  </a:lnTo>
                  <a:lnTo>
                    <a:pt x="644" y="2"/>
                  </a:lnTo>
                  <a:lnTo>
                    <a:pt x="644" y="4"/>
                  </a:lnTo>
                  <a:lnTo>
                    <a:pt x="644" y="4"/>
                  </a:lnTo>
                  <a:lnTo>
                    <a:pt x="646" y="4"/>
                  </a:lnTo>
                  <a:lnTo>
                    <a:pt x="647" y="4"/>
                  </a:lnTo>
                  <a:lnTo>
                    <a:pt x="649" y="6"/>
                  </a:lnTo>
                  <a:lnTo>
                    <a:pt x="651" y="6"/>
                  </a:lnTo>
                  <a:lnTo>
                    <a:pt x="651" y="6"/>
                  </a:lnTo>
                  <a:lnTo>
                    <a:pt x="653" y="6"/>
                  </a:lnTo>
                  <a:lnTo>
                    <a:pt x="651" y="4"/>
                  </a:lnTo>
                  <a:lnTo>
                    <a:pt x="651" y="4"/>
                  </a:lnTo>
                  <a:lnTo>
                    <a:pt x="651" y="4"/>
                  </a:lnTo>
                  <a:lnTo>
                    <a:pt x="653" y="4"/>
                  </a:lnTo>
                  <a:lnTo>
                    <a:pt x="653" y="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3" name="Freeform 25">
              <a:extLst>
                <a:ext uri="{FF2B5EF4-FFF2-40B4-BE49-F238E27FC236}">
                  <a16:creationId xmlns:a16="http://schemas.microsoft.com/office/drawing/2014/main" id="{9FE2691F-FEEA-6F5C-C925-223040CA9AA7}"/>
                </a:ext>
              </a:extLst>
            </p:cNvPr>
            <p:cNvSpPr>
              <a:spLocks noEditPoints="1"/>
            </p:cNvSpPr>
            <p:nvPr/>
          </p:nvSpPr>
          <p:spPr bwMode="auto">
            <a:xfrm>
              <a:off x="4813300" y="4755363"/>
              <a:ext cx="1039813" cy="896938"/>
            </a:xfrm>
            <a:custGeom>
              <a:avLst/>
              <a:gdLst>
                <a:gd name="T0" fmla="*/ 426 w 655"/>
                <a:gd name="T1" fmla="*/ 548 h 565"/>
                <a:gd name="T2" fmla="*/ 421 w 655"/>
                <a:gd name="T3" fmla="*/ 550 h 565"/>
                <a:gd name="T4" fmla="*/ 417 w 655"/>
                <a:gd name="T5" fmla="*/ 548 h 565"/>
                <a:gd name="T6" fmla="*/ 419 w 655"/>
                <a:gd name="T7" fmla="*/ 551 h 565"/>
                <a:gd name="T8" fmla="*/ 417 w 655"/>
                <a:gd name="T9" fmla="*/ 551 h 565"/>
                <a:gd name="T10" fmla="*/ 415 w 655"/>
                <a:gd name="T11" fmla="*/ 551 h 565"/>
                <a:gd name="T12" fmla="*/ 415 w 655"/>
                <a:gd name="T13" fmla="*/ 555 h 565"/>
                <a:gd name="T14" fmla="*/ 419 w 655"/>
                <a:gd name="T15" fmla="*/ 557 h 565"/>
                <a:gd name="T16" fmla="*/ 421 w 655"/>
                <a:gd name="T17" fmla="*/ 557 h 565"/>
                <a:gd name="T18" fmla="*/ 423 w 655"/>
                <a:gd name="T19" fmla="*/ 557 h 565"/>
                <a:gd name="T20" fmla="*/ 425 w 655"/>
                <a:gd name="T21" fmla="*/ 559 h 565"/>
                <a:gd name="T22" fmla="*/ 423 w 655"/>
                <a:gd name="T23" fmla="*/ 561 h 565"/>
                <a:gd name="T24" fmla="*/ 425 w 655"/>
                <a:gd name="T25" fmla="*/ 563 h 565"/>
                <a:gd name="T26" fmla="*/ 426 w 655"/>
                <a:gd name="T27" fmla="*/ 551 h 565"/>
                <a:gd name="T28" fmla="*/ 9 w 655"/>
                <a:gd name="T29" fmla="*/ 439 h 565"/>
                <a:gd name="T30" fmla="*/ 5 w 655"/>
                <a:gd name="T31" fmla="*/ 441 h 565"/>
                <a:gd name="T32" fmla="*/ 2 w 655"/>
                <a:gd name="T33" fmla="*/ 443 h 565"/>
                <a:gd name="T34" fmla="*/ 0 w 655"/>
                <a:gd name="T35" fmla="*/ 451 h 565"/>
                <a:gd name="T36" fmla="*/ 0 w 655"/>
                <a:gd name="T37" fmla="*/ 451 h 565"/>
                <a:gd name="T38" fmla="*/ 2 w 655"/>
                <a:gd name="T39" fmla="*/ 451 h 565"/>
                <a:gd name="T40" fmla="*/ 5 w 655"/>
                <a:gd name="T41" fmla="*/ 454 h 565"/>
                <a:gd name="T42" fmla="*/ 9 w 655"/>
                <a:gd name="T43" fmla="*/ 447 h 565"/>
                <a:gd name="T44" fmla="*/ 11 w 655"/>
                <a:gd name="T45" fmla="*/ 443 h 565"/>
                <a:gd name="T46" fmla="*/ 15 w 655"/>
                <a:gd name="T47" fmla="*/ 441 h 565"/>
                <a:gd name="T48" fmla="*/ 15 w 655"/>
                <a:gd name="T49" fmla="*/ 437 h 565"/>
                <a:gd name="T50" fmla="*/ 428 w 655"/>
                <a:gd name="T51" fmla="*/ 456 h 565"/>
                <a:gd name="T52" fmla="*/ 423 w 655"/>
                <a:gd name="T53" fmla="*/ 460 h 565"/>
                <a:gd name="T54" fmla="*/ 419 w 655"/>
                <a:gd name="T55" fmla="*/ 458 h 565"/>
                <a:gd name="T56" fmla="*/ 421 w 655"/>
                <a:gd name="T57" fmla="*/ 456 h 565"/>
                <a:gd name="T58" fmla="*/ 421 w 655"/>
                <a:gd name="T59" fmla="*/ 454 h 565"/>
                <a:gd name="T60" fmla="*/ 415 w 655"/>
                <a:gd name="T61" fmla="*/ 454 h 565"/>
                <a:gd name="T62" fmla="*/ 413 w 655"/>
                <a:gd name="T63" fmla="*/ 453 h 565"/>
                <a:gd name="T64" fmla="*/ 411 w 655"/>
                <a:gd name="T65" fmla="*/ 454 h 565"/>
                <a:gd name="T66" fmla="*/ 413 w 655"/>
                <a:gd name="T67" fmla="*/ 456 h 565"/>
                <a:gd name="T68" fmla="*/ 413 w 655"/>
                <a:gd name="T69" fmla="*/ 458 h 565"/>
                <a:gd name="T70" fmla="*/ 415 w 655"/>
                <a:gd name="T71" fmla="*/ 460 h 565"/>
                <a:gd name="T72" fmla="*/ 415 w 655"/>
                <a:gd name="T73" fmla="*/ 464 h 565"/>
                <a:gd name="T74" fmla="*/ 415 w 655"/>
                <a:gd name="T75" fmla="*/ 466 h 565"/>
                <a:gd name="T76" fmla="*/ 417 w 655"/>
                <a:gd name="T77" fmla="*/ 468 h 565"/>
                <a:gd name="T78" fmla="*/ 419 w 655"/>
                <a:gd name="T79" fmla="*/ 468 h 565"/>
                <a:gd name="T80" fmla="*/ 425 w 655"/>
                <a:gd name="T81" fmla="*/ 468 h 565"/>
                <a:gd name="T82" fmla="*/ 428 w 655"/>
                <a:gd name="T83" fmla="*/ 456 h 565"/>
                <a:gd name="T84" fmla="*/ 428 w 655"/>
                <a:gd name="T85" fmla="*/ 456 h 565"/>
                <a:gd name="T86" fmla="*/ 653 w 655"/>
                <a:gd name="T87" fmla="*/ 2 h 565"/>
                <a:gd name="T88" fmla="*/ 653 w 655"/>
                <a:gd name="T89" fmla="*/ 2 h 565"/>
                <a:gd name="T90" fmla="*/ 647 w 655"/>
                <a:gd name="T91" fmla="*/ 2 h 565"/>
                <a:gd name="T92" fmla="*/ 646 w 655"/>
                <a:gd name="T93" fmla="*/ 0 h 565"/>
                <a:gd name="T94" fmla="*/ 644 w 655"/>
                <a:gd name="T95" fmla="*/ 2 h 565"/>
                <a:gd name="T96" fmla="*/ 647 w 655"/>
                <a:gd name="T97" fmla="*/ 4 h 565"/>
                <a:gd name="T98" fmla="*/ 653 w 655"/>
                <a:gd name="T99" fmla="*/ 6 h 565"/>
                <a:gd name="T100" fmla="*/ 653 w 655"/>
                <a:gd name="T101" fmla="*/ 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5" h="565">
                  <a:moveTo>
                    <a:pt x="426" y="551"/>
                  </a:moveTo>
                  <a:lnTo>
                    <a:pt x="428" y="548"/>
                  </a:lnTo>
                  <a:lnTo>
                    <a:pt x="428" y="548"/>
                  </a:lnTo>
                  <a:lnTo>
                    <a:pt x="426" y="548"/>
                  </a:lnTo>
                  <a:lnTo>
                    <a:pt x="425" y="548"/>
                  </a:lnTo>
                  <a:lnTo>
                    <a:pt x="423" y="548"/>
                  </a:lnTo>
                  <a:lnTo>
                    <a:pt x="423" y="550"/>
                  </a:lnTo>
                  <a:lnTo>
                    <a:pt x="421" y="550"/>
                  </a:lnTo>
                  <a:lnTo>
                    <a:pt x="419" y="548"/>
                  </a:lnTo>
                  <a:lnTo>
                    <a:pt x="417" y="548"/>
                  </a:lnTo>
                  <a:lnTo>
                    <a:pt x="417" y="548"/>
                  </a:lnTo>
                  <a:lnTo>
                    <a:pt x="417" y="548"/>
                  </a:lnTo>
                  <a:lnTo>
                    <a:pt x="417" y="550"/>
                  </a:lnTo>
                  <a:lnTo>
                    <a:pt x="417" y="550"/>
                  </a:lnTo>
                  <a:lnTo>
                    <a:pt x="419" y="550"/>
                  </a:lnTo>
                  <a:lnTo>
                    <a:pt x="419" y="551"/>
                  </a:lnTo>
                  <a:lnTo>
                    <a:pt x="419" y="551"/>
                  </a:lnTo>
                  <a:lnTo>
                    <a:pt x="417" y="551"/>
                  </a:lnTo>
                  <a:lnTo>
                    <a:pt x="417" y="551"/>
                  </a:lnTo>
                  <a:lnTo>
                    <a:pt x="417" y="551"/>
                  </a:lnTo>
                  <a:lnTo>
                    <a:pt x="415" y="551"/>
                  </a:lnTo>
                  <a:lnTo>
                    <a:pt x="415" y="551"/>
                  </a:lnTo>
                  <a:lnTo>
                    <a:pt x="415" y="551"/>
                  </a:lnTo>
                  <a:lnTo>
                    <a:pt x="415" y="551"/>
                  </a:lnTo>
                  <a:lnTo>
                    <a:pt x="415" y="553"/>
                  </a:lnTo>
                  <a:lnTo>
                    <a:pt x="415" y="553"/>
                  </a:lnTo>
                  <a:lnTo>
                    <a:pt x="415" y="555"/>
                  </a:lnTo>
                  <a:lnTo>
                    <a:pt x="415" y="555"/>
                  </a:lnTo>
                  <a:lnTo>
                    <a:pt x="417" y="555"/>
                  </a:lnTo>
                  <a:lnTo>
                    <a:pt x="417" y="555"/>
                  </a:lnTo>
                  <a:lnTo>
                    <a:pt x="417" y="555"/>
                  </a:lnTo>
                  <a:lnTo>
                    <a:pt x="419" y="557"/>
                  </a:lnTo>
                  <a:lnTo>
                    <a:pt x="419" y="557"/>
                  </a:lnTo>
                  <a:lnTo>
                    <a:pt x="419" y="557"/>
                  </a:lnTo>
                  <a:lnTo>
                    <a:pt x="421" y="557"/>
                  </a:lnTo>
                  <a:lnTo>
                    <a:pt x="421" y="557"/>
                  </a:lnTo>
                  <a:lnTo>
                    <a:pt x="421" y="557"/>
                  </a:lnTo>
                  <a:lnTo>
                    <a:pt x="421" y="557"/>
                  </a:lnTo>
                  <a:lnTo>
                    <a:pt x="421" y="559"/>
                  </a:lnTo>
                  <a:lnTo>
                    <a:pt x="423" y="557"/>
                  </a:lnTo>
                  <a:lnTo>
                    <a:pt x="423" y="557"/>
                  </a:lnTo>
                  <a:lnTo>
                    <a:pt x="423" y="557"/>
                  </a:lnTo>
                  <a:lnTo>
                    <a:pt x="425" y="559"/>
                  </a:lnTo>
                  <a:lnTo>
                    <a:pt x="425" y="559"/>
                  </a:lnTo>
                  <a:lnTo>
                    <a:pt x="423" y="559"/>
                  </a:lnTo>
                  <a:lnTo>
                    <a:pt x="423" y="559"/>
                  </a:lnTo>
                  <a:lnTo>
                    <a:pt x="423" y="561"/>
                  </a:lnTo>
                  <a:lnTo>
                    <a:pt x="423" y="561"/>
                  </a:lnTo>
                  <a:lnTo>
                    <a:pt x="423" y="561"/>
                  </a:lnTo>
                  <a:lnTo>
                    <a:pt x="425" y="563"/>
                  </a:lnTo>
                  <a:lnTo>
                    <a:pt x="425" y="563"/>
                  </a:lnTo>
                  <a:lnTo>
                    <a:pt x="425" y="563"/>
                  </a:lnTo>
                  <a:lnTo>
                    <a:pt x="426" y="565"/>
                  </a:lnTo>
                  <a:lnTo>
                    <a:pt x="428" y="565"/>
                  </a:lnTo>
                  <a:lnTo>
                    <a:pt x="428" y="565"/>
                  </a:lnTo>
                  <a:lnTo>
                    <a:pt x="426" y="551"/>
                  </a:lnTo>
                  <a:close/>
                  <a:moveTo>
                    <a:pt x="15" y="439"/>
                  </a:moveTo>
                  <a:lnTo>
                    <a:pt x="13" y="439"/>
                  </a:lnTo>
                  <a:lnTo>
                    <a:pt x="11" y="439"/>
                  </a:lnTo>
                  <a:lnTo>
                    <a:pt x="9" y="439"/>
                  </a:lnTo>
                  <a:lnTo>
                    <a:pt x="9" y="439"/>
                  </a:lnTo>
                  <a:lnTo>
                    <a:pt x="7" y="441"/>
                  </a:lnTo>
                  <a:lnTo>
                    <a:pt x="7" y="441"/>
                  </a:lnTo>
                  <a:lnTo>
                    <a:pt x="5" y="441"/>
                  </a:lnTo>
                  <a:lnTo>
                    <a:pt x="5" y="443"/>
                  </a:lnTo>
                  <a:lnTo>
                    <a:pt x="3" y="443"/>
                  </a:lnTo>
                  <a:lnTo>
                    <a:pt x="2" y="441"/>
                  </a:lnTo>
                  <a:lnTo>
                    <a:pt x="2" y="443"/>
                  </a:lnTo>
                  <a:lnTo>
                    <a:pt x="2" y="449"/>
                  </a:lnTo>
                  <a:lnTo>
                    <a:pt x="2" y="451"/>
                  </a:lnTo>
                  <a:lnTo>
                    <a:pt x="0" y="451"/>
                  </a:lnTo>
                  <a:lnTo>
                    <a:pt x="0" y="451"/>
                  </a:lnTo>
                  <a:lnTo>
                    <a:pt x="0" y="451"/>
                  </a:lnTo>
                  <a:lnTo>
                    <a:pt x="0" y="451"/>
                  </a:lnTo>
                  <a:lnTo>
                    <a:pt x="0" y="451"/>
                  </a:lnTo>
                  <a:lnTo>
                    <a:pt x="0" y="451"/>
                  </a:lnTo>
                  <a:lnTo>
                    <a:pt x="0" y="451"/>
                  </a:lnTo>
                  <a:lnTo>
                    <a:pt x="2" y="451"/>
                  </a:lnTo>
                  <a:lnTo>
                    <a:pt x="2" y="451"/>
                  </a:lnTo>
                  <a:lnTo>
                    <a:pt x="2" y="451"/>
                  </a:lnTo>
                  <a:lnTo>
                    <a:pt x="2" y="451"/>
                  </a:lnTo>
                  <a:lnTo>
                    <a:pt x="2" y="451"/>
                  </a:lnTo>
                  <a:lnTo>
                    <a:pt x="3" y="453"/>
                  </a:lnTo>
                  <a:lnTo>
                    <a:pt x="5" y="454"/>
                  </a:lnTo>
                  <a:lnTo>
                    <a:pt x="3" y="453"/>
                  </a:lnTo>
                  <a:lnTo>
                    <a:pt x="5" y="451"/>
                  </a:lnTo>
                  <a:lnTo>
                    <a:pt x="9" y="449"/>
                  </a:lnTo>
                  <a:lnTo>
                    <a:pt x="9" y="447"/>
                  </a:lnTo>
                  <a:lnTo>
                    <a:pt x="7" y="445"/>
                  </a:lnTo>
                  <a:lnTo>
                    <a:pt x="9" y="443"/>
                  </a:lnTo>
                  <a:lnTo>
                    <a:pt x="11" y="441"/>
                  </a:lnTo>
                  <a:lnTo>
                    <a:pt x="11" y="443"/>
                  </a:lnTo>
                  <a:lnTo>
                    <a:pt x="11" y="443"/>
                  </a:lnTo>
                  <a:lnTo>
                    <a:pt x="13" y="443"/>
                  </a:lnTo>
                  <a:lnTo>
                    <a:pt x="13" y="441"/>
                  </a:lnTo>
                  <a:lnTo>
                    <a:pt x="15" y="441"/>
                  </a:lnTo>
                  <a:lnTo>
                    <a:pt x="15" y="439"/>
                  </a:lnTo>
                  <a:lnTo>
                    <a:pt x="17" y="439"/>
                  </a:lnTo>
                  <a:lnTo>
                    <a:pt x="17" y="439"/>
                  </a:lnTo>
                  <a:lnTo>
                    <a:pt x="15" y="437"/>
                  </a:lnTo>
                  <a:lnTo>
                    <a:pt x="15" y="439"/>
                  </a:lnTo>
                  <a:close/>
                  <a:moveTo>
                    <a:pt x="428" y="456"/>
                  </a:moveTo>
                  <a:lnTo>
                    <a:pt x="428" y="456"/>
                  </a:lnTo>
                  <a:lnTo>
                    <a:pt x="428" y="456"/>
                  </a:lnTo>
                  <a:lnTo>
                    <a:pt x="426" y="456"/>
                  </a:lnTo>
                  <a:lnTo>
                    <a:pt x="425" y="458"/>
                  </a:lnTo>
                  <a:lnTo>
                    <a:pt x="423" y="460"/>
                  </a:lnTo>
                  <a:lnTo>
                    <a:pt x="423" y="460"/>
                  </a:lnTo>
                  <a:lnTo>
                    <a:pt x="421" y="460"/>
                  </a:lnTo>
                  <a:lnTo>
                    <a:pt x="421" y="460"/>
                  </a:lnTo>
                  <a:lnTo>
                    <a:pt x="421" y="458"/>
                  </a:lnTo>
                  <a:lnTo>
                    <a:pt x="419" y="458"/>
                  </a:lnTo>
                  <a:lnTo>
                    <a:pt x="419" y="458"/>
                  </a:lnTo>
                  <a:lnTo>
                    <a:pt x="419" y="458"/>
                  </a:lnTo>
                  <a:lnTo>
                    <a:pt x="419" y="458"/>
                  </a:lnTo>
                  <a:lnTo>
                    <a:pt x="421" y="456"/>
                  </a:lnTo>
                  <a:lnTo>
                    <a:pt x="421" y="456"/>
                  </a:lnTo>
                  <a:lnTo>
                    <a:pt x="421" y="454"/>
                  </a:lnTo>
                  <a:lnTo>
                    <a:pt x="421" y="454"/>
                  </a:lnTo>
                  <a:lnTo>
                    <a:pt x="421" y="454"/>
                  </a:lnTo>
                  <a:lnTo>
                    <a:pt x="419" y="454"/>
                  </a:lnTo>
                  <a:lnTo>
                    <a:pt x="417" y="454"/>
                  </a:lnTo>
                  <a:lnTo>
                    <a:pt x="417" y="454"/>
                  </a:lnTo>
                  <a:lnTo>
                    <a:pt x="415" y="454"/>
                  </a:lnTo>
                  <a:lnTo>
                    <a:pt x="415" y="453"/>
                  </a:lnTo>
                  <a:lnTo>
                    <a:pt x="413" y="453"/>
                  </a:lnTo>
                  <a:lnTo>
                    <a:pt x="413" y="453"/>
                  </a:lnTo>
                  <a:lnTo>
                    <a:pt x="413" y="453"/>
                  </a:lnTo>
                  <a:lnTo>
                    <a:pt x="413" y="453"/>
                  </a:lnTo>
                  <a:lnTo>
                    <a:pt x="413" y="453"/>
                  </a:lnTo>
                  <a:lnTo>
                    <a:pt x="411" y="453"/>
                  </a:lnTo>
                  <a:lnTo>
                    <a:pt x="411" y="454"/>
                  </a:lnTo>
                  <a:lnTo>
                    <a:pt x="411" y="454"/>
                  </a:lnTo>
                  <a:lnTo>
                    <a:pt x="411" y="454"/>
                  </a:lnTo>
                  <a:lnTo>
                    <a:pt x="413" y="456"/>
                  </a:lnTo>
                  <a:lnTo>
                    <a:pt x="413" y="456"/>
                  </a:lnTo>
                  <a:lnTo>
                    <a:pt x="413" y="458"/>
                  </a:lnTo>
                  <a:lnTo>
                    <a:pt x="413" y="458"/>
                  </a:lnTo>
                  <a:lnTo>
                    <a:pt x="413" y="458"/>
                  </a:lnTo>
                  <a:lnTo>
                    <a:pt x="413" y="458"/>
                  </a:lnTo>
                  <a:lnTo>
                    <a:pt x="413" y="460"/>
                  </a:lnTo>
                  <a:lnTo>
                    <a:pt x="415" y="460"/>
                  </a:lnTo>
                  <a:lnTo>
                    <a:pt x="415" y="460"/>
                  </a:lnTo>
                  <a:lnTo>
                    <a:pt x="415" y="460"/>
                  </a:lnTo>
                  <a:lnTo>
                    <a:pt x="415" y="462"/>
                  </a:lnTo>
                  <a:lnTo>
                    <a:pt x="415" y="462"/>
                  </a:lnTo>
                  <a:lnTo>
                    <a:pt x="415" y="464"/>
                  </a:lnTo>
                  <a:lnTo>
                    <a:pt x="415" y="464"/>
                  </a:lnTo>
                  <a:lnTo>
                    <a:pt x="415" y="466"/>
                  </a:lnTo>
                  <a:lnTo>
                    <a:pt x="415" y="466"/>
                  </a:lnTo>
                  <a:lnTo>
                    <a:pt x="415" y="466"/>
                  </a:lnTo>
                  <a:lnTo>
                    <a:pt x="415" y="466"/>
                  </a:lnTo>
                  <a:lnTo>
                    <a:pt x="415" y="466"/>
                  </a:lnTo>
                  <a:lnTo>
                    <a:pt x="417" y="468"/>
                  </a:lnTo>
                  <a:lnTo>
                    <a:pt x="417" y="468"/>
                  </a:lnTo>
                  <a:lnTo>
                    <a:pt x="417" y="468"/>
                  </a:lnTo>
                  <a:lnTo>
                    <a:pt x="419" y="468"/>
                  </a:lnTo>
                  <a:lnTo>
                    <a:pt x="419" y="468"/>
                  </a:lnTo>
                  <a:lnTo>
                    <a:pt x="419" y="468"/>
                  </a:lnTo>
                  <a:lnTo>
                    <a:pt x="419" y="468"/>
                  </a:lnTo>
                  <a:lnTo>
                    <a:pt x="421" y="468"/>
                  </a:lnTo>
                  <a:lnTo>
                    <a:pt x="425" y="468"/>
                  </a:lnTo>
                  <a:lnTo>
                    <a:pt x="425" y="468"/>
                  </a:lnTo>
                  <a:lnTo>
                    <a:pt x="425" y="468"/>
                  </a:lnTo>
                  <a:lnTo>
                    <a:pt x="425" y="464"/>
                  </a:lnTo>
                  <a:lnTo>
                    <a:pt x="428" y="458"/>
                  </a:lnTo>
                  <a:lnTo>
                    <a:pt x="428" y="456"/>
                  </a:lnTo>
                  <a:lnTo>
                    <a:pt x="428" y="456"/>
                  </a:lnTo>
                  <a:lnTo>
                    <a:pt x="428" y="454"/>
                  </a:lnTo>
                  <a:lnTo>
                    <a:pt x="428" y="454"/>
                  </a:lnTo>
                  <a:lnTo>
                    <a:pt x="428" y="454"/>
                  </a:lnTo>
                  <a:lnTo>
                    <a:pt x="428" y="456"/>
                  </a:lnTo>
                  <a:close/>
                  <a:moveTo>
                    <a:pt x="653" y="4"/>
                  </a:moveTo>
                  <a:lnTo>
                    <a:pt x="655" y="4"/>
                  </a:lnTo>
                  <a:lnTo>
                    <a:pt x="655" y="2"/>
                  </a:lnTo>
                  <a:lnTo>
                    <a:pt x="653" y="2"/>
                  </a:lnTo>
                  <a:lnTo>
                    <a:pt x="653" y="2"/>
                  </a:lnTo>
                  <a:lnTo>
                    <a:pt x="653" y="2"/>
                  </a:lnTo>
                  <a:lnTo>
                    <a:pt x="653" y="2"/>
                  </a:lnTo>
                  <a:lnTo>
                    <a:pt x="653" y="2"/>
                  </a:lnTo>
                  <a:lnTo>
                    <a:pt x="651" y="4"/>
                  </a:lnTo>
                  <a:lnTo>
                    <a:pt x="651" y="4"/>
                  </a:lnTo>
                  <a:lnTo>
                    <a:pt x="647" y="4"/>
                  </a:lnTo>
                  <a:lnTo>
                    <a:pt x="647" y="2"/>
                  </a:lnTo>
                  <a:lnTo>
                    <a:pt x="646" y="2"/>
                  </a:lnTo>
                  <a:lnTo>
                    <a:pt x="647" y="0"/>
                  </a:lnTo>
                  <a:lnTo>
                    <a:pt x="646" y="0"/>
                  </a:lnTo>
                  <a:lnTo>
                    <a:pt x="646" y="0"/>
                  </a:lnTo>
                  <a:lnTo>
                    <a:pt x="646" y="2"/>
                  </a:lnTo>
                  <a:lnTo>
                    <a:pt x="644" y="2"/>
                  </a:lnTo>
                  <a:lnTo>
                    <a:pt x="644" y="2"/>
                  </a:lnTo>
                  <a:lnTo>
                    <a:pt x="644" y="2"/>
                  </a:lnTo>
                  <a:lnTo>
                    <a:pt x="644" y="4"/>
                  </a:lnTo>
                  <a:lnTo>
                    <a:pt x="644" y="4"/>
                  </a:lnTo>
                  <a:lnTo>
                    <a:pt x="646" y="4"/>
                  </a:lnTo>
                  <a:lnTo>
                    <a:pt x="647" y="4"/>
                  </a:lnTo>
                  <a:lnTo>
                    <a:pt x="649" y="6"/>
                  </a:lnTo>
                  <a:lnTo>
                    <a:pt x="651" y="6"/>
                  </a:lnTo>
                  <a:lnTo>
                    <a:pt x="651" y="6"/>
                  </a:lnTo>
                  <a:lnTo>
                    <a:pt x="653" y="6"/>
                  </a:lnTo>
                  <a:lnTo>
                    <a:pt x="651" y="4"/>
                  </a:lnTo>
                  <a:lnTo>
                    <a:pt x="651" y="4"/>
                  </a:lnTo>
                  <a:lnTo>
                    <a:pt x="651" y="4"/>
                  </a:lnTo>
                  <a:lnTo>
                    <a:pt x="653" y="4"/>
                  </a:lnTo>
                  <a:lnTo>
                    <a:pt x="653" y="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4" name="Freeform 26">
              <a:extLst>
                <a:ext uri="{FF2B5EF4-FFF2-40B4-BE49-F238E27FC236}">
                  <a16:creationId xmlns:a16="http://schemas.microsoft.com/office/drawing/2014/main" id="{A08FE3A6-DE71-B5FC-8D37-B0C405531565}"/>
                </a:ext>
              </a:extLst>
            </p:cNvPr>
            <p:cNvSpPr>
              <a:spLocks/>
            </p:cNvSpPr>
            <p:nvPr/>
          </p:nvSpPr>
          <p:spPr bwMode="auto">
            <a:xfrm>
              <a:off x="5716588" y="3852076"/>
              <a:ext cx="893763" cy="742950"/>
            </a:xfrm>
            <a:custGeom>
              <a:avLst/>
              <a:gdLst>
                <a:gd name="T0" fmla="*/ 528 w 563"/>
                <a:gd name="T1" fmla="*/ 59 h 468"/>
                <a:gd name="T2" fmla="*/ 509 w 563"/>
                <a:gd name="T3" fmla="*/ 44 h 468"/>
                <a:gd name="T4" fmla="*/ 460 w 563"/>
                <a:gd name="T5" fmla="*/ 21 h 468"/>
                <a:gd name="T6" fmla="*/ 421 w 563"/>
                <a:gd name="T7" fmla="*/ 6 h 468"/>
                <a:gd name="T8" fmla="*/ 423 w 563"/>
                <a:gd name="T9" fmla="*/ 48 h 468"/>
                <a:gd name="T10" fmla="*/ 401 w 563"/>
                <a:gd name="T11" fmla="*/ 48 h 468"/>
                <a:gd name="T12" fmla="*/ 343 w 563"/>
                <a:gd name="T13" fmla="*/ 44 h 468"/>
                <a:gd name="T14" fmla="*/ 334 w 563"/>
                <a:gd name="T15" fmla="*/ 12 h 468"/>
                <a:gd name="T16" fmla="*/ 288 w 563"/>
                <a:gd name="T17" fmla="*/ 19 h 468"/>
                <a:gd name="T18" fmla="*/ 240 w 563"/>
                <a:gd name="T19" fmla="*/ 8 h 468"/>
                <a:gd name="T20" fmla="*/ 200 w 563"/>
                <a:gd name="T21" fmla="*/ 46 h 468"/>
                <a:gd name="T22" fmla="*/ 202 w 563"/>
                <a:gd name="T23" fmla="*/ 67 h 468"/>
                <a:gd name="T24" fmla="*/ 181 w 563"/>
                <a:gd name="T25" fmla="*/ 97 h 468"/>
                <a:gd name="T26" fmla="*/ 176 w 563"/>
                <a:gd name="T27" fmla="*/ 120 h 468"/>
                <a:gd name="T28" fmla="*/ 153 w 563"/>
                <a:gd name="T29" fmla="*/ 141 h 468"/>
                <a:gd name="T30" fmla="*/ 117 w 563"/>
                <a:gd name="T31" fmla="*/ 141 h 468"/>
                <a:gd name="T32" fmla="*/ 96 w 563"/>
                <a:gd name="T33" fmla="*/ 171 h 468"/>
                <a:gd name="T34" fmla="*/ 90 w 563"/>
                <a:gd name="T35" fmla="*/ 192 h 468"/>
                <a:gd name="T36" fmla="*/ 96 w 563"/>
                <a:gd name="T37" fmla="*/ 211 h 468"/>
                <a:gd name="T38" fmla="*/ 111 w 563"/>
                <a:gd name="T39" fmla="*/ 251 h 468"/>
                <a:gd name="T40" fmla="*/ 120 w 563"/>
                <a:gd name="T41" fmla="*/ 265 h 468"/>
                <a:gd name="T42" fmla="*/ 111 w 563"/>
                <a:gd name="T43" fmla="*/ 270 h 468"/>
                <a:gd name="T44" fmla="*/ 77 w 563"/>
                <a:gd name="T45" fmla="*/ 255 h 468"/>
                <a:gd name="T46" fmla="*/ 61 w 563"/>
                <a:gd name="T47" fmla="*/ 251 h 468"/>
                <a:gd name="T48" fmla="*/ 40 w 563"/>
                <a:gd name="T49" fmla="*/ 263 h 468"/>
                <a:gd name="T50" fmla="*/ 61 w 563"/>
                <a:gd name="T51" fmla="*/ 301 h 468"/>
                <a:gd name="T52" fmla="*/ 73 w 563"/>
                <a:gd name="T53" fmla="*/ 320 h 468"/>
                <a:gd name="T54" fmla="*/ 78 w 563"/>
                <a:gd name="T55" fmla="*/ 352 h 468"/>
                <a:gd name="T56" fmla="*/ 67 w 563"/>
                <a:gd name="T57" fmla="*/ 373 h 468"/>
                <a:gd name="T58" fmla="*/ 50 w 563"/>
                <a:gd name="T59" fmla="*/ 388 h 468"/>
                <a:gd name="T60" fmla="*/ 25 w 563"/>
                <a:gd name="T61" fmla="*/ 419 h 468"/>
                <a:gd name="T62" fmla="*/ 12 w 563"/>
                <a:gd name="T63" fmla="*/ 441 h 468"/>
                <a:gd name="T64" fmla="*/ 4 w 563"/>
                <a:gd name="T65" fmla="*/ 460 h 468"/>
                <a:gd name="T66" fmla="*/ 19 w 563"/>
                <a:gd name="T67" fmla="*/ 468 h 468"/>
                <a:gd name="T68" fmla="*/ 77 w 563"/>
                <a:gd name="T69" fmla="*/ 449 h 468"/>
                <a:gd name="T70" fmla="*/ 90 w 563"/>
                <a:gd name="T71" fmla="*/ 434 h 468"/>
                <a:gd name="T72" fmla="*/ 99 w 563"/>
                <a:gd name="T73" fmla="*/ 398 h 468"/>
                <a:gd name="T74" fmla="*/ 113 w 563"/>
                <a:gd name="T75" fmla="*/ 417 h 468"/>
                <a:gd name="T76" fmla="*/ 130 w 563"/>
                <a:gd name="T77" fmla="*/ 413 h 468"/>
                <a:gd name="T78" fmla="*/ 149 w 563"/>
                <a:gd name="T79" fmla="*/ 411 h 468"/>
                <a:gd name="T80" fmla="*/ 151 w 563"/>
                <a:gd name="T81" fmla="*/ 390 h 468"/>
                <a:gd name="T82" fmla="*/ 181 w 563"/>
                <a:gd name="T83" fmla="*/ 367 h 468"/>
                <a:gd name="T84" fmla="*/ 178 w 563"/>
                <a:gd name="T85" fmla="*/ 354 h 468"/>
                <a:gd name="T86" fmla="*/ 193 w 563"/>
                <a:gd name="T87" fmla="*/ 350 h 468"/>
                <a:gd name="T88" fmla="*/ 204 w 563"/>
                <a:gd name="T89" fmla="*/ 339 h 468"/>
                <a:gd name="T90" fmla="*/ 220 w 563"/>
                <a:gd name="T91" fmla="*/ 350 h 468"/>
                <a:gd name="T92" fmla="*/ 248 w 563"/>
                <a:gd name="T93" fmla="*/ 369 h 468"/>
                <a:gd name="T94" fmla="*/ 286 w 563"/>
                <a:gd name="T95" fmla="*/ 356 h 468"/>
                <a:gd name="T96" fmla="*/ 303 w 563"/>
                <a:gd name="T97" fmla="*/ 343 h 468"/>
                <a:gd name="T98" fmla="*/ 357 w 563"/>
                <a:gd name="T99" fmla="*/ 301 h 468"/>
                <a:gd name="T100" fmla="*/ 370 w 563"/>
                <a:gd name="T101" fmla="*/ 291 h 468"/>
                <a:gd name="T102" fmla="*/ 357 w 563"/>
                <a:gd name="T103" fmla="*/ 291 h 468"/>
                <a:gd name="T104" fmla="*/ 347 w 563"/>
                <a:gd name="T105" fmla="*/ 305 h 468"/>
                <a:gd name="T106" fmla="*/ 355 w 563"/>
                <a:gd name="T107" fmla="*/ 280 h 468"/>
                <a:gd name="T108" fmla="*/ 381 w 563"/>
                <a:gd name="T109" fmla="*/ 282 h 468"/>
                <a:gd name="T110" fmla="*/ 393 w 563"/>
                <a:gd name="T111" fmla="*/ 280 h 468"/>
                <a:gd name="T112" fmla="*/ 458 w 563"/>
                <a:gd name="T113" fmla="*/ 255 h 468"/>
                <a:gd name="T114" fmla="*/ 442 w 563"/>
                <a:gd name="T115" fmla="*/ 242 h 468"/>
                <a:gd name="T116" fmla="*/ 484 w 563"/>
                <a:gd name="T117" fmla="*/ 230 h 468"/>
                <a:gd name="T118" fmla="*/ 496 w 563"/>
                <a:gd name="T119" fmla="*/ 206 h 468"/>
                <a:gd name="T120" fmla="*/ 519 w 563"/>
                <a:gd name="T121" fmla="*/ 183 h 468"/>
                <a:gd name="T122" fmla="*/ 542 w 563"/>
                <a:gd name="T123" fmla="*/ 10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3" h="468">
                  <a:moveTo>
                    <a:pt x="563" y="93"/>
                  </a:moveTo>
                  <a:lnTo>
                    <a:pt x="559" y="88"/>
                  </a:lnTo>
                  <a:lnTo>
                    <a:pt x="559" y="88"/>
                  </a:lnTo>
                  <a:lnTo>
                    <a:pt x="559" y="86"/>
                  </a:lnTo>
                  <a:lnTo>
                    <a:pt x="559" y="84"/>
                  </a:lnTo>
                  <a:lnTo>
                    <a:pt x="559" y="82"/>
                  </a:lnTo>
                  <a:lnTo>
                    <a:pt x="559" y="80"/>
                  </a:lnTo>
                  <a:lnTo>
                    <a:pt x="559" y="78"/>
                  </a:lnTo>
                  <a:lnTo>
                    <a:pt x="557" y="78"/>
                  </a:lnTo>
                  <a:lnTo>
                    <a:pt x="545" y="74"/>
                  </a:lnTo>
                  <a:lnTo>
                    <a:pt x="542" y="74"/>
                  </a:lnTo>
                  <a:lnTo>
                    <a:pt x="542" y="73"/>
                  </a:lnTo>
                  <a:lnTo>
                    <a:pt x="540" y="71"/>
                  </a:lnTo>
                  <a:lnTo>
                    <a:pt x="540" y="69"/>
                  </a:lnTo>
                  <a:lnTo>
                    <a:pt x="540" y="67"/>
                  </a:lnTo>
                  <a:lnTo>
                    <a:pt x="540" y="63"/>
                  </a:lnTo>
                  <a:lnTo>
                    <a:pt x="538" y="61"/>
                  </a:lnTo>
                  <a:lnTo>
                    <a:pt x="536" y="61"/>
                  </a:lnTo>
                  <a:lnTo>
                    <a:pt x="534" y="59"/>
                  </a:lnTo>
                  <a:lnTo>
                    <a:pt x="532" y="59"/>
                  </a:lnTo>
                  <a:lnTo>
                    <a:pt x="530" y="59"/>
                  </a:lnTo>
                  <a:lnTo>
                    <a:pt x="530" y="59"/>
                  </a:lnTo>
                  <a:lnTo>
                    <a:pt x="528" y="59"/>
                  </a:lnTo>
                  <a:lnTo>
                    <a:pt x="528" y="61"/>
                  </a:lnTo>
                  <a:lnTo>
                    <a:pt x="528" y="61"/>
                  </a:lnTo>
                  <a:lnTo>
                    <a:pt x="526" y="63"/>
                  </a:lnTo>
                  <a:lnTo>
                    <a:pt x="526" y="63"/>
                  </a:lnTo>
                  <a:lnTo>
                    <a:pt x="526" y="63"/>
                  </a:lnTo>
                  <a:lnTo>
                    <a:pt x="524" y="65"/>
                  </a:lnTo>
                  <a:lnTo>
                    <a:pt x="524" y="65"/>
                  </a:lnTo>
                  <a:lnTo>
                    <a:pt x="524" y="65"/>
                  </a:lnTo>
                  <a:lnTo>
                    <a:pt x="522" y="65"/>
                  </a:lnTo>
                  <a:lnTo>
                    <a:pt x="519" y="63"/>
                  </a:lnTo>
                  <a:lnTo>
                    <a:pt x="519" y="61"/>
                  </a:lnTo>
                  <a:lnTo>
                    <a:pt x="519" y="59"/>
                  </a:lnTo>
                  <a:lnTo>
                    <a:pt x="519" y="55"/>
                  </a:lnTo>
                  <a:lnTo>
                    <a:pt x="519" y="55"/>
                  </a:lnTo>
                  <a:lnTo>
                    <a:pt x="519" y="55"/>
                  </a:lnTo>
                  <a:lnTo>
                    <a:pt x="519" y="53"/>
                  </a:lnTo>
                  <a:lnTo>
                    <a:pt x="519" y="52"/>
                  </a:lnTo>
                  <a:lnTo>
                    <a:pt x="519" y="52"/>
                  </a:lnTo>
                  <a:lnTo>
                    <a:pt x="519" y="50"/>
                  </a:lnTo>
                  <a:lnTo>
                    <a:pt x="519" y="50"/>
                  </a:lnTo>
                  <a:lnTo>
                    <a:pt x="517" y="48"/>
                  </a:lnTo>
                  <a:lnTo>
                    <a:pt x="513" y="46"/>
                  </a:lnTo>
                  <a:lnTo>
                    <a:pt x="509" y="44"/>
                  </a:lnTo>
                  <a:lnTo>
                    <a:pt x="507" y="44"/>
                  </a:lnTo>
                  <a:lnTo>
                    <a:pt x="507" y="44"/>
                  </a:lnTo>
                  <a:lnTo>
                    <a:pt x="505" y="44"/>
                  </a:lnTo>
                  <a:lnTo>
                    <a:pt x="503" y="44"/>
                  </a:lnTo>
                  <a:lnTo>
                    <a:pt x="500" y="40"/>
                  </a:lnTo>
                  <a:lnTo>
                    <a:pt x="498" y="40"/>
                  </a:lnTo>
                  <a:lnTo>
                    <a:pt x="496" y="38"/>
                  </a:lnTo>
                  <a:lnTo>
                    <a:pt x="494" y="38"/>
                  </a:lnTo>
                  <a:lnTo>
                    <a:pt x="492" y="38"/>
                  </a:lnTo>
                  <a:lnTo>
                    <a:pt x="492" y="38"/>
                  </a:lnTo>
                  <a:lnTo>
                    <a:pt x="490" y="34"/>
                  </a:lnTo>
                  <a:lnTo>
                    <a:pt x="486" y="33"/>
                  </a:lnTo>
                  <a:lnTo>
                    <a:pt x="482" y="29"/>
                  </a:lnTo>
                  <a:lnTo>
                    <a:pt x="473" y="23"/>
                  </a:lnTo>
                  <a:lnTo>
                    <a:pt x="473" y="23"/>
                  </a:lnTo>
                  <a:lnTo>
                    <a:pt x="471" y="23"/>
                  </a:lnTo>
                  <a:lnTo>
                    <a:pt x="471" y="23"/>
                  </a:lnTo>
                  <a:lnTo>
                    <a:pt x="467" y="23"/>
                  </a:lnTo>
                  <a:lnTo>
                    <a:pt x="465" y="25"/>
                  </a:lnTo>
                  <a:lnTo>
                    <a:pt x="463" y="25"/>
                  </a:lnTo>
                  <a:lnTo>
                    <a:pt x="462" y="23"/>
                  </a:lnTo>
                  <a:lnTo>
                    <a:pt x="462" y="23"/>
                  </a:lnTo>
                  <a:lnTo>
                    <a:pt x="460" y="21"/>
                  </a:lnTo>
                  <a:lnTo>
                    <a:pt x="458" y="21"/>
                  </a:lnTo>
                  <a:lnTo>
                    <a:pt x="456" y="19"/>
                  </a:lnTo>
                  <a:lnTo>
                    <a:pt x="456" y="17"/>
                  </a:lnTo>
                  <a:lnTo>
                    <a:pt x="454" y="15"/>
                  </a:lnTo>
                  <a:lnTo>
                    <a:pt x="452" y="14"/>
                  </a:lnTo>
                  <a:lnTo>
                    <a:pt x="437" y="6"/>
                  </a:lnTo>
                  <a:lnTo>
                    <a:pt x="433" y="2"/>
                  </a:lnTo>
                  <a:lnTo>
                    <a:pt x="433" y="0"/>
                  </a:lnTo>
                  <a:lnTo>
                    <a:pt x="431" y="0"/>
                  </a:lnTo>
                  <a:lnTo>
                    <a:pt x="431" y="0"/>
                  </a:lnTo>
                  <a:lnTo>
                    <a:pt x="429" y="0"/>
                  </a:lnTo>
                  <a:lnTo>
                    <a:pt x="429" y="2"/>
                  </a:lnTo>
                  <a:lnTo>
                    <a:pt x="427" y="4"/>
                  </a:lnTo>
                  <a:lnTo>
                    <a:pt x="427" y="4"/>
                  </a:lnTo>
                  <a:lnTo>
                    <a:pt x="425" y="4"/>
                  </a:lnTo>
                  <a:lnTo>
                    <a:pt x="425" y="4"/>
                  </a:lnTo>
                  <a:lnTo>
                    <a:pt x="423" y="4"/>
                  </a:lnTo>
                  <a:lnTo>
                    <a:pt x="423" y="6"/>
                  </a:lnTo>
                  <a:lnTo>
                    <a:pt x="421" y="6"/>
                  </a:lnTo>
                  <a:lnTo>
                    <a:pt x="421" y="6"/>
                  </a:lnTo>
                  <a:lnTo>
                    <a:pt x="421" y="6"/>
                  </a:lnTo>
                  <a:lnTo>
                    <a:pt x="421" y="6"/>
                  </a:lnTo>
                  <a:lnTo>
                    <a:pt x="421" y="6"/>
                  </a:lnTo>
                  <a:lnTo>
                    <a:pt x="421" y="8"/>
                  </a:lnTo>
                  <a:lnTo>
                    <a:pt x="421" y="10"/>
                  </a:lnTo>
                  <a:lnTo>
                    <a:pt x="421" y="12"/>
                  </a:lnTo>
                  <a:lnTo>
                    <a:pt x="425" y="14"/>
                  </a:lnTo>
                  <a:lnTo>
                    <a:pt x="425" y="15"/>
                  </a:lnTo>
                  <a:lnTo>
                    <a:pt x="425" y="17"/>
                  </a:lnTo>
                  <a:lnTo>
                    <a:pt x="425" y="23"/>
                  </a:lnTo>
                  <a:lnTo>
                    <a:pt x="425" y="25"/>
                  </a:lnTo>
                  <a:lnTo>
                    <a:pt x="425" y="27"/>
                  </a:lnTo>
                  <a:lnTo>
                    <a:pt x="423" y="29"/>
                  </a:lnTo>
                  <a:lnTo>
                    <a:pt x="423" y="31"/>
                  </a:lnTo>
                  <a:lnTo>
                    <a:pt x="423" y="33"/>
                  </a:lnTo>
                  <a:lnTo>
                    <a:pt x="423" y="33"/>
                  </a:lnTo>
                  <a:lnTo>
                    <a:pt x="425" y="36"/>
                  </a:lnTo>
                  <a:lnTo>
                    <a:pt x="425" y="38"/>
                  </a:lnTo>
                  <a:lnTo>
                    <a:pt x="425" y="38"/>
                  </a:lnTo>
                  <a:lnTo>
                    <a:pt x="425" y="42"/>
                  </a:lnTo>
                  <a:lnTo>
                    <a:pt x="423" y="42"/>
                  </a:lnTo>
                  <a:lnTo>
                    <a:pt x="423" y="44"/>
                  </a:lnTo>
                  <a:lnTo>
                    <a:pt x="425" y="46"/>
                  </a:lnTo>
                  <a:lnTo>
                    <a:pt x="425" y="46"/>
                  </a:lnTo>
                  <a:lnTo>
                    <a:pt x="423" y="46"/>
                  </a:lnTo>
                  <a:lnTo>
                    <a:pt x="423" y="48"/>
                  </a:lnTo>
                  <a:lnTo>
                    <a:pt x="420" y="53"/>
                  </a:lnTo>
                  <a:lnTo>
                    <a:pt x="418" y="55"/>
                  </a:lnTo>
                  <a:lnTo>
                    <a:pt x="416" y="57"/>
                  </a:lnTo>
                  <a:lnTo>
                    <a:pt x="412" y="57"/>
                  </a:lnTo>
                  <a:lnTo>
                    <a:pt x="406" y="55"/>
                  </a:lnTo>
                  <a:lnTo>
                    <a:pt x="406" y="53"/>
                  </a:lnTo>
                  <a:lnTo>
                    <a:pt x="406" y="52"/>
                  </a:lnTo>
                  <a:lnTo>
                    <a:pt x="406" y="52"/>
                  </a:lnTo>
                  <a:lnTo>
                    <a:pt x="406" y="50"/>
                  </a:lnTo>
                  <a:lnTo>
                    <a:pt x="406" y="50"/>
                  </a:lnTo>
                  <a:lnTo>
                    <a:pt x="406" y="48"/>
                  </a:lnTo>
                  <a:lnTo>
                    <a:pt x="408" y="46"/>
                  </a:lnTo>
                  <a:lnTo>
                    <a:pt x="408" y="46"/>
                  </a:lnTo>
                  <a:lnTo>
                    <a:pt x="408" y="44"/>
                  </a:lnTo>
                  <a:lnTo>
                    <a:pt x="408" y="44"/>
                  </a:lnTo>
                  <a:lnTo>
                    <a:pt x="408" y="44"/>
                  </a:lnTo>
                  <a:lnTo>
                    <a:pt x="406" y="44"/>
                  </a:lnTo>
                  <a:lnTo>
                    <a:pt x="404" y="44"/>
                  </a:lnTo>
                  <a:lnTo>
                    <a:pt x="404" y="46"/>
                  </a:lnTo>
                  <a:lnTo>
                    <a:pt x="402" y="46"/>
                  </a:lnTo>
                  <a:lnTo>
                    <a:pt x="402" y="46"/>
                  </a:lnTo>
                  <a:lnTo>
                    <a:pt x="401" y="48"/>
                  </a:lnTo>
                  <a:lnTo>
                    <a:pt x="401" y="48"/>
                  </a:lnTo>
                  <a:lnTo>
                    <a:pt x="399" y="48"/>
                  </a:lnTo>
                  <a:lnTo>
                    <a:pt x="397" y="48"/>
                  </a:lnTo>
                  <a:lnTo>
                    <a:pt x="395" y="48"/>
                  </a:lnTo>
                  <a:lnTo>
                    <a:pt x="391" y="48"/>
                  </a:lnTo>
                  <a:lnTo>
                    <a:pt x="385" y="46"/>
                  </a:lnTo>
                  <a:lnTo>
                    <a:pt x="378" y="40"/>
                  </a:lnTo>
                  <a:lnTo>
                    <a:pt x="376" y="40"/>
                  </a:lnTo>
                  <a:lnTo>
                    <a:pt x="374" y="40"/>
                  </a:lnTo>
                  <a:lnTo>
                    <a:pt x="374" y="40"/>
                  </a:lnTo>
                  <a:lnTo>
                    <a:pt x="372" y="40"/>
                  </a:lnTo>
                  <a:lnTo>
                    <a:pt x="372" y="40"/>
                  </a:lnTo>
                  <a:lnTo>
                    <a:pt x="370" y="42"/>
                  </a:lnTo>
                  <a:lnTo>
                    <a:pt x="366" y="42"/>
                  </a:lnTo>
                  <a:lnTo>
                    <a:pt x="364" y="44"/>
                  </a:lnTo>
                  <a:lnTo>
                    <a:pt x="361" y="48"/>
                  </a:lnTo>
                  <a:lnTo>
                    <a:pt x="357" y="53"/>
                  </a:lnTo>
                  <a:lnTo>
                    <a:pt x="355" y="53"/>
                  </a:lnTo>
                  <a:lnTo>
                    <a:pt x="355" y="53"/>
                  </a:lnTo>
                  <a:lnTo>
                    <a:pt x="355" y="53"/>
                  </a:lnTo>
                  <a:lnTo>
                    <a:pt x="353" y="52"/>
                  </a:lnTo>
                  <a:lnTo>
                    <a:pt x="351" y="50"/>
                  </a:lnTo>
                  <a:lnTo>
                    <a:pt x="345" y="46"/>
                  </a:lnTo>
                  <a:lnTo>
                    <a:pt x="343" y="44"/>
                  </a:lnTo>
                  <a:lnTo>
                    <a:pt x="341" y="44"/>
                  </a:lnTo>
                  <a:lnTo>
                    <a:pt x="340" y="44"/>
                  </a:lnTo>
                  <a:lnTo>
                    <a:pt x="340" y="44"/>
                  </a:lnTo>
                  <a:lnTo>
                    <a:pt x="338" y="44"/>
                  </a:lnTo>
                  <a:lnTo>
                    <a:pt x="334" y="46"/>
                  </a:lnTo>
                  <a:lnTo>
                    <a:pt x="334" y="46"/>
                  </a:lnTo>
                  <a:lnTo>
                    <a:pt x="334" y="46"/>
                  </a:lnTo>
                  <a:lnTo>
                    <a:pt x="334" y="44"/>
                  </a:lnTo>
                  <a:lnTo>
                    <a:pt x="334" y="44"/>
                  </a:lnTo>
                  <a:lnTo>
                    <a:pt x="334" y="42"/>
                  </a:lnTo>
                  <a:lnTo>
                    <a:pt x="336" y="40"/>
                  </a:lnTo>
                  <a:lnTo>
                    <a:pt x="338" y="34"/>
                  </a:lnTo>
                  <a:lnTo>
                    <a:pt x="343" y="29"/>
                  </a:lnTo>
                  <a:lnTo>
                    <a:pt x="343" y="27"/>
                  </a:lnTo>
                  <a:lnTo>
                    <a:pt x="343" y="25"/>
                  </a:lnTo>
                  <a:lnTo>
                    <a:pt x="343" y="23"/>
                  </a:lnTo>
                  <a:lnTo>
                    <a:pt x="343" y="21"/>
                  </a:lnTo>
                  <a:lnTo>
                    <a:pt x="343" y="17"/>
                  </a:lnTo>
                  <a:lnTo>
                    <a:pt x="343" y="12"/>
                  </a:lnTo>
                  <a:lnTo>
                    <a:pt x="340" y="6"/>
                  </a:lnTo>
                  <a:lnTo>
                    <a:pt x="338" y="8"/>
                  </a:lnTo>
                  <a:lnTo>
                    <a:pt x="334" y="12"/>
                  </a:lnTo>
                  <a:lnTo>
                    <a:pt x="334" y="12"/>
                  </a:lnTo>
                  <a:lnTo>
                    <a:pt x="330" y="12"/>
                  </a:lnTo>
                  <a:lnTo>
                    <a:pt x="330" y="12"/>
                  </a:lnTo>
                  <a:lnTo>
                    <a:pt x="328" y="12"/>
                  </a:lnTo>
                  <a:lnTo>
                    <a:pt x="328" y="14"/>
                  </a:lnTo>
                  <a:lnTo>
                    <a:pt x="326" y="14"/>
                  </a:lnTo>
                  <a:lnTo>
                    <a:pt x="326" y="14"/>
                  </a:lnTo>
                  <a:lnTo>
                    <a:pt x="322" y="14"/>
                  </a:lnTo>
                  <a:lnTo>
                    <a:pt x="317" y="12"/>
                  </a:lnTo>
                  <a:lnTo>
                    <a:pt x="317" y="12"/>
                  </a:lnTo>
                  <a:lnTo>
                    <a:pt x="315" y="12"/>
                  </a:lnTo>
                  <a:lnTo>
                    <a:pt x="313" y="12"/>
                  </a:lnTo>
                  <a:lnTo>
                    <a:pt x="313" y="12"/>
                  </a:lnTo>
                  <a:lnTo>
                    <a:pt x="313" y="14"/>
                  </a:lnTo>
                  <a:lnTo>
                    <a:pt x="311" y="14"/>
                  </a:lnTo>
                  <a:lnTo>
                    <a:pt x="309" y="14"/>
                  </a:lnTo>
                  <a:lnTo>
                    <a:pt x="292" y="14"/>
                  </a:lnTo>
                  <a:lnTo>
                    <a:pt x="290" y="14"/>
                  </a:lnTo>
                  <a:lnTo>
                    <a:pt x="288" y="15"/>
                  </a:lnTo>
                  <a:lnTo>
                    <a:pt x="288" y="15"/>
                  </a:lnTo>
                  <a:lnTo>
                    <a:pt x="288" y="15"/>
                  </a:lnTo>
                  <a:lnTo>
                    <a:pt x="288" y="17"/>
                  </a:lnTo>
                  <a:lnTo>
                    <a:pt x="288" y="17"/>
                  </a:lnTo>
                  <a:lnTo>
                    <a:pt x="288" y="19"/>
                  </a:lnTo>
                  <a:lnTo>
                    <a:pt x="288" y="19"/>
                  </a:lnTo>
                  <a:lnTo>
                    <a:pt x="288" y="19"/>
                  </a:lnTo>
                  <a:lnTo>
                    <a:pt x="286" y="19"/>
                  </a:lnTo>
                  <a:lnTo>
                    <a:pt x="280" y="23"/>
                  </a:lnTo>
                  <a:lnTo>
                    <a:pt x="280" y="23"/>
                  </a:lnTo>
                  <a:lnTo>
                    <a:pt x="271" y="23"/>
                  </a:lnTo>
                  <a:lnTo>
                    <a:pt x="269" y="23"/>
                  </a:lnTo>
                  <a:lnTo>
                    <a:pt x="263" y="21"/>
                  </a:lnTo>
                  <a:lnTo>
                    <a:pt x="261" y="21"/>
                  </a:lnTo>
                  <a:lnTo>
                    <a:pt x="260" y="21"/>
                  </a:lnTo>
                  <a:lnTo>
                    <a:pt x="260" y="21"/>
                  </a:lnTo>
                  <a:lnTo>
                    <a:pt x="260" y="19"/>
                  </a:lnTo>
                  <a:lnTo>
                    <a:pt x="256" y="17"/>
                  </a:lnTo>
                  <a:lnTo>
                    <a:pt x="256" y="15"/>
                  </a:lnTo>
                  <a:lnTo>
                    <a:pt x="254" y="15"/>
                  </a:lnTo>
                  <a:lnTo>
                    <a:pt x="254" y="14"/>
                  </a:lnTo>
                  <a:lnTo>
                    <a:pt x="248" y="6"/>
                  </a:lnTo>
                  <a:lnTo>
                    <a:pt x="246" y="4"/>
                  </a:lnTo>
                  <a:lnTo>
                    <a:pt x="242" y="4"/>
                  </a:lnTo>
                  <a:lnTo>
                    <a:pt x="239" y="2"/>
                  </a:lnTo>
                  <a:lnTo>
                    <a:pt x="239" y="4"/>
                  </a:lnTo>
                  <a:lnTo>
                    <a:pt x="239" y="4"/>
                  </a:lnTo>
                  <a:lnTo>
                    <a:pt x="240" y="8"/>
                  </a:lnTo>
                  <a:lnTo>
                    <a:pt x="242" y="10"/>
                  </a:lnTo>
                  <a:lnTo>
                    <a:pt x="242" y="12"/>
                  </a:lnTo>
                  <a:lnTo>
                    <a:pt x="242" y="12"/>
                  </a:lnTo>
                  <a:lnTo>
                    <a:pt x="242" y="14"/>
                  </a:lnTo>
                  <a:lnTo>
                    <a:pt x="242" y="14"/>
                  </a:lnTo>
                  <a:lnTo>
                    <a:pt x="240" y="15"/>
                  </a:lnTo>
                  <a:lnTo>
                    <a:pt x="240" y="15"/>
                  </a:lnTo>
                  <a:lnTo>
                    <a:pt x="239" y="19"/>
                  </a:lnTo>
                  <a:lnTo>
                    <a:pt x="237" y="19"/>
                  </a:lnTo>
                  <a:lnTo>
                    <a:pt x="237" y="19"/>
                  </a:lnTo>
                  <a:lnTo>
                    <a:pt x="235" y="19"/>
                  </a:lnTo>
                  <a:lnTo>
                    <a:pt x="231" y="21"/>
                  </a:lnTo>
                  <a:lnTo>
                    <a:pt x="227" y="21"/>
                  </a:lnTo>
                  <a:lnTo>
                    <a:pt x="225" y="23"/>
                  </a:lnTo>
                  <a:lnTo>
                    <a:pt x="218" y="31"/>
                  </a:lnTo>
                  <a:lnTo>
                    <a:pt x="216" y="31"/>
                  </a:lnTo>
                  <a:lnTo>
                    <a:pt x="212" y="33"/>
                  </a:lnTo>
                  <a:lnTo>
                    <a:pt x="208" y="34"/>
                  </a:lnTo>
                  <a:lnTo>
                    <a:pt x="208" y="34"/>
                  </a:lnTo>
                  <a:lnTo>
                    <a:pt x="206" y="36"/>
                  </a:lnTo>
                  <a:lnTo>
                    <a:pt x="200" y="44"/>
                  </a:lnTo>
                  <a:lnTo>
                    <a:pt x="200" y="44"/>
                  </a:lnTo>
                  <a:lnTo>
                    <a:pt x="200" y="46"/>
                  </a:lnTo>
                  <a:lnTo>
                    <a:pt x="200" y="46"/>
                  </a:lnTo>
                  <a:lnTo>
                    <a:pt x="202" y="48"/>
                  </a:lnTo>
                  <a:lnTo>
                    <a:pt x="202" y="48"/>
                  </a:lnTo>
                  <a:lnTo>
                    <a:pt x="202" y="48"/>
                  </a:lnTo>
                  <a:lnTo>
                    <a:pt x="202" y="50"/>
                  </a:lnTo>
                  <a:lnTo>
                    <a:pt x="202" y="50"/>
                  </a:lnTo>
                  <a:lnTo>
                    <a:pt x="202" y="52"/>
                  </a:lnTo>
                  <a:lnTo>
                    <a:pt x="200" y="52"/>
                  </a:lnTo>
                  <a:lnTo>
                    <a:pt x="200" y="52"/>
                  </a:lnTo>
                  <a:lnTo>
                    <a:pt x="199" y="53"/>
                  </a:lnTo>
                  <a:lnTo>
                    <a:pt x="199" y="53"/>
                  </a:lnTo>
                  <a:lnTo>
                    <a:pt x="199" y="53"/>
                  </a:lnTo>
                  <a:lnTo>
                    <a:pt x="197" y="57"/>
                  </a:lnTo>
                  <a:lnTo>
                    <a:pt x="197" y="59"/>
                  </a:lnTo>
                  <a:lnTo>
                    <a:pt x="197" y="59"/>
                  </a:lnTo>
                  <a:lnTo>
                    <a:pt x="199" y="61"/>
                  </a:lnTo>
                  <a:lnTo>
                    <a:pt x="199" y="61"/>
                  </a:lnTo>
                  <a:lnTo>
                    <a:pt x="200" y="63"/>
                  </a:lnTo>
                  <a:lnTo>
                    <a:pt x="202" y="63"/>
                  </a:lnTo>
                  <a:lnTo>
                    <a:pt x="202" y="63"/>
                  </a:lnTo>
                  <a:lnTo>
                    <a:pt x="202" y="65"/>
                  </a:lnTo>
                  <a:lnTo>
                    <a:pt x="202" y="65"/>
                  </a:lnTo>
                  <a:lnTo>
                    <a:pt x="202" y="67"/>
                  </a:lnTo>
                  <a:lnTo>
                    <a:pt x="202" y="69"/>
                  </a:lnTo>
                  <a:lnTo>
                    <a:pt x="202" y="69"/>
                  </a:lnTo>
                  <a:lnTo>
                    <a:pt x="202" y="71"/>
                  </a:lnTo>
                  <a:lnTo>
                    <a:pt x="200" y="73"/>
                  </a:lnTo>
                  <a:lnTo>
                    <a:pt x="200" y="73"/>
                  </a:lnTo>
                  <a:lnTo>
                    <a:pt x="200" y="73"/>
                  </a:lnTo>
                  <a:lnTo>
                    <a:pt x="199" y="73"/>
                  </a:lnTo>
                  <a:lnTo>
                    <a:pt x="199" y="73"/>
                  </a:lnTo>
                  <a:lnTo>
                    <a:pt x="199" y="73"/>
                  </a:lnTo>
                  <a:lnTo>
                    <a:pt x="199" y="74"/>
                  </a:lnTo>
                  <a:lnTo>
                    <a:pt x="197" y="76"/>
                  </a:lnTo>
                  <a:lnTo>
                    <a:pt x="197" y="76"/>
                  </a:lnTo>
                  <a:lnTo>
                    <a:pt x="197" y="76"/>
                  </a:lnTo>
                  <a:lnTo>
                    <a:pt x="197" y="76"/>
                  </a:lnTo>
                  <a:lnTo>
                    <a:pt x="195" y="74"/>
                  </a:lnTo>
                  <a:lnTo>
                    <a:pt x="195" y="74"/>
                  </a:lnTo>
                  <a:lnTo>
                    <a:pt x="193" y="74"/>
                  </a:lnTo>
                  <a:lnTo>
                    <a:pt x="193" y="76"/>
                  </a:lnTo>
                  <a:lnTo>
                    <a:pt x="193" y="76"/>
                  </a:lnTo>
                  <a:lnTo>
                    <a:pt x="193" y="80"/>
                  </a:lnTo>
                  <a:lnTo>
                    <a:pt x="193" y="82"/>
                  </a:lnTo>
                  <a:lnTo>
                    <a:pt x="191" y="84"/>
                  </a:lnTo>
                  <a:lnTo>
                    <a:pt x="181" y="97"/>
                  </a:lnTo>
                  <a:lnTo>
                    <a:pt x="181" y="99"/>
                  </a:lnTo>
                  <a:lnTo>
                    <a:pt x="181" y="101"/>
                  </a:lnTo>
                  <a:lnTo>
                    <a:pt x="181" y="103"/>
                  </a:lnTo>
                  <a:lnTo>
                    <a:pt x="179" y="105"/>
                  </a:lnTo>
                  <a:lnTo>
                    <a:pt x="179" y="107"/>
                  </a:lnTo>
                  <a:lnTo>
                    <a:pt x="179" y="109"/>
                  </a:lnTo>
                  <a:lnTo>
                    <a:pt x="179" y="111"/>
                  </a:lnTo>
                  <a:lnTo>
                    <a:pt x="181" y="111"/>
                  </a:lnTo>
                  <a:lnTo>
                    <a:pt x="181" y="112"/>
                  </a:lnTo>
                  <a:lnTo>
                    <a:pt x="185" y="114"/>
                  </a:lnTo>
                  <a:lnTo>
                    <a:pt x="185" y="116"/>
                  </a:lnTo>
                  <a:lnTo>
                    <a:pt x="185" y="116"/>
                  </a:lnTo>
                  <a:lnTo>
                    <a:pt x="185" y="118"/>
                  </a:lnTo>
                  <a:lnTo>
                    <a:pt x="185" y="120"/>
                  </a:lnTo>
                  <a:lnTo>
                    <a:pt x="185" y="120"/>
                  </a:lnTo>
                  <a:lnTo>
                    <a:pt x="185" y="122"/>
                  </a:lnTo>
                  <a:lnTo>
                    <a:pt x="183" y="122"/>
                  </a:lnTo>
                  <a:lnTo>
                    <a:pt x="183" y="122"/>
                  </a:lnTo>
                  <a:lnTo>
                    <a:pt x="183" y="122"/>
                  </a:lnTo>
                  <a:lnTo>
                    <a:pt x="181" y="122"/>
                  </a:lnTo>
                  <a:lnTo>
                    <a:pt x="178" y="120"/>
                  </a:lnTo>
                  <a:lnTo>
                    <a:pt x="176" y="120"/>
                  </a:lnTo>
                  <a:lnTo>
                    <a:pt x="176" y="120"/>
                  </a:lnTo>
                  <a:lnTo>
                    <a:pt x="176" y="120"/>
                  </a:lnTo>
                  <a:lnTo>
                    <a:pt x="174" y="122"/>
                  </a:lnTo>
                  <a:lnTo>
                    <a:pt x="174" y="122"/>
                  </a:lnTo>
                  <a:lnTo>
                    <a:pt x="174" y="124"/>
                  </a:lnTo>
                  <a:lnTo>
                    <a:pt x="174" y="124"/>
                  </a:lnTo>
                  <a:lnTo>
                    <a:pt x="174" y="124"/>
                  </a:lnTo>
                  <a:lnTo>
                    <a:pt x="174" y="124"/>
                  </a:lnTo>
                  <a:lnTo>
                    <a:pt x="174" y="126"/>
                  </a:lnTo>
                  <a:lnTo>
                    <a:pt x="174" y="126"/>
                  </a:lnTo>
                  <a:lnTo>
                    <a:pt x="174" y="126"/>
                  </a:lnTo>
                  <a:lnTo>
                    <a:pt x="172" y="130"/>
                  </a:lnTo>
                  <a:lnTo>
                    <a:pt x="170" y="130"/>
                  </a:lnTo>
                  <a:lnTo>
                    <a:pt x="168" y="137"/>
                  </a:lnTo>
                  <a:lnTo>
                    <a:pt x="166" y="139"/>
                  </a:lnTo>
                  <a:lnTo>
                    <a:pt x="166" y="141"/>
                  </a:lnTo>
                  <a:lnTo>
                    <a:pt x="164" y="143"/>
                  </a:lnTo>
                  <a:lnTo>
                    <a:pt x="162" y="143"/>
                  </a:lnTo>
                  <a:lnTo>
                    <a:pt x="162" y="143"/>
                  </a:lnTo>
                  <a:lnTo>
                    <a:pt x="157" y="143"/>
                  </a:lnTo>
                  <a:lnTo>
                    <a:pt x="157" y="143"/>
                  </a:lnTo>
                  <a:lnTo>
                    <a:pt x="155" y="143"/>
                  </a:lnTo>
                  <a:lnTo>
                    <a:pt x="155" y="141"/>
                  </a:lnTo>
                  <a:lnTo>
                    <a:pt x="153" y="141"/>
                  </a:lnTo>
                  <a:lnTo>
                    <a:pt x="153" y="141"/>
                  </a:lnTo>
                  <a:lnTo>
                    <a:pt x="151" y="141"/>
                  </a:lnTo>
                  <a:lnTo>
                    <a:pt x="151" y="141"/>
                  </a:lnTo>
                  <a:lnTo>
                    <a:pt x="149" y="139"/>
                  </a:lnTo>
                  <a:lnTo>
                    <a:pt x="149" y="139"/>
                  </a:lnTo>
                  <a:lnTo>
                    <a:pt x="149" y="139"/>
                  </a:lnTo>
                  <a:lnTo>
                    <a:pt x="147" y="137"/>
                  </a:lnTo>
                  <a:lnTo>
                    <a:pt x="147" y="137"/>
                  </a:lnTo>
                  <a:lnTo>
                    <a:pt x="138" y="139"/>
                  </a:lnTo>
                  <a:lnTo>
                    <a:pt x="136" y="139"/>
                  </a:lnTo>
                  <a:lnTo>
                    <a:pt x="134" y="139"/>
                  </a:lnTo>
                  <a:lnTo>
                    <a:pt x="132" y="139"/>
                  </a:lnTo>
                  <a:lnTo>
                    <a:pt x="132" y="141"/>
                  </a:lnTo>
                  <a:lnTo>
                    <a:pt x="130" y="141"/>
                  </a:lnTo>
                  <a:lnTo>
                    <a:pt x="130" y="141"/>
                  </a:lnTo>
                  <a:lnTo>
                    <a:pt x="130" y="141"/>
                  </a:lnTo>
                  <a:lnTo>
                    <a:pt x="128" y="139"/>
                  </a:lnTo>
                  <a:lnTo>
                    <a:pt x="128" y="139"/>
                  </a:lnTo>
                  <a:lnTo>
                    <a:pt x="126" y="139"/>
                  </a:lnTo>
                  <a:lnTo>
                    <a:pt x="119" y="139"/>
                  </a:lnTo>
                  <a:lnTo>
                    <a:pt x="119" y="141"/>
                  </a:lnTo>
                  <a:lnTo>
                    <a:pt x="117" y="141"/>
                  </a:lnTo>
                  <a:lnTo>
                    <a:pt x="117" y="141"/>
                  </a:lnTo>
                  <a:lnTo>
                    <a:pt x="117" y="141"/>
                  </a:lnTo>
                  <a:lnTo>
                    <a:pt x="117" y="141"/>
                  </a:lnTo>
                  <a:lnTo>
                    <a:pt x="117" y="143"/>
                  </a:lnTo>
                  <a:lnTo>
                    <a:pt x="117" y="145"/>
                  </a:lnTo>
                  <a:lnTo>
                    <a:pt x="115" y="147"/>
                  </a:lnTo>
                  <a:lnTo>
                    <a:pt x="113" y="152"/>
                  </a:lnTo>
                  <a:lnTo>
                    <a:pt x="109" y="160"/>
                  </a:lnTo>
                  <a:lnTo>
                    <a:pt x="109" y="162"/>
                  </a:lnTo>
                  <a:lnTo>
                    <a:pt x="107" y="162"/>
                  </a:lnTo>
                  <a:lnTo>
                    <a:pt x="107" y="162"/>
                  </a:lnTo>
                  <a:lnTo>
                    <a:pt x="105" y="162"/>
                  </a:lnTo>
                  <a:lnTo>
                    <a:pt x="105" y="162"/>
                  </a:lnTo>
                  <a:lnTo>
                    <a:pt x="103" y="164"/>
                  </a:lnTo>
                  <a:lnTo>
                    <a:pt x="103" y="166"/>
                  </a:lnTo>
                  <a:lnTo>
                    <a:pt x="101" y="168"/>
                  </a:lnTo>
                  <a:lnTo>
                    <a:pt x="99" y="170"/>
                  </a:lnTo>
                  <a:lnTo>
                    <a:pt x="99" y="170"/>
                  </a:lnTo>
                  <a:lnTo>
                    <a:pt x="98" y="171"/>
                  </a:lnTo>
                  <a:lnTo>
                    <a:pt x="96" y="171"/>
                  </a:lnTo>
                  <a:lnTo>
                    <a:pt x="96" y="171"/>
                  </a:lnTo>
                  <a:lnTo>
                    <a:pt x="96" y="171"/>
                  </a:lnTo>
                  <a:lnTo>
                    <a:pt x="96" y="171"/>
                  </a:lnTo>
                  <a:lnTo>
                    <a:pt x="96" y="171"/>
                  </a:lnTo>
                  <a:lnTo>
                    <a:pt x="96" y="170"/>
                  </a:lnTo>
                  <a:lnTo>
                    <a:pt x="96" y="170"/>
                  </a:lnTo>
                  <a:lnTo>
                    <a:pt x="96" y="168"/>
                  </a:lnTo>
                  <a:lnTo>
                    <a:pt x="96" y="168"/>
                  </a:lnTo>
                  <a:lnTo>
                    <a:pt x="94" y="168"/>
                  </a:lnTo>
                  <a:lnTo>
                    <a:pt x="94" y="168"/>
                  </a:lnTo>
                  <a:lnTo>
                    <a:pt x="92" y="168"/>
                  </a:lnTo>
                  <a:lnTo>
                    <a:pt x="90" y="168"/>
                  </a:lnTo>
                  <a:lnTo>
                    <a:pt x="90" y="168"/>
                  </a:lnTo>
                  <a:lnTo>
                    <a:pt x="90" y="168"/>
                  </a:lnTo>
                  <a:lnTo>
                    <a:pt x="90" y="168"/>
                  </a:lnTo>
                  <a:lnTo>
                    <a:pt x="90" y="168"/>
                  </a:lnTo>
                  <a:lnTo>
                    <a:pt x="90" y="170"/>
                  </a:lnTo>
                  <a:lnTo>
                    <a:pt x="90" y="181"/>
                  </a:lnTo>
                  <a:lnTo>
                    <a:pt x="90" y="181"/>
                  </a:lnTo>
                  <a:lnTo>
                    <a:pt x="90" y="183"/>
                  </a:lnTo>
                  <a:lnTo>
                    <a:pt x="90" y="185"/>
                  </a:lnTo>
                  <a:lnTo>
                    <a:pt x="92" y="185"/>
                  </a:lnTo>
                  <a:lnTo>
                    <a:pt x="92" y="187"/>
                  </a:lnTo>
                  <a:lnTo>
                    <a:pt x="92" y="189"/>
                  </a:lnTo>
                  <a:lnTo>
                    <a:pt x="92" y="189"/>
                  </a:lnTo>
                  <a:lnTo>
                    <a:pt x="92" y="190"/>
                  </a:lnTo>
                  <a:lnTo>
                    <a:pt x="90" y="192"/>
                  </a:lnTo>
                  <a:lnTo>
                    <a:pt x="88" y="198"/>
                  </a:lnTo>
                  <a:lnTo>
                    <a:pt x="88" y="200"/>
                  </a:lnTo>
                  <a:lnTo>
                    <a:pt x="90" y="202"/>
                  </a:lnTo>
                  <a:lnTo>
                    <a:pt x="90" y="204"/>
                  </a:lnTo>
                  <a:lnTo>
                    <a:pt x="90" y="204"/>
                  </a:lnTo>
                  <a:lnTo>
                    <a:pt x="90" y="204"/>
                  </a:lnTo>
                  <a:lnTo>
                    <a:pt x="92" y="204"/>
                  </a:lnTo>
                  <a:lnTo>
                    <a:pt x="92" y="204"/>
                  </a:lnTo>
                  <a:lnTo>
                    <a:pt x="92" y="204"/>
                  </a:lnTo>
                  <a:lnTo>
                    <a:pt x="92" y="204"/>
                  </a:lnTo>
                  <a:lnTo>
                    <a:pt x="92" y="204"/>
                  </a:lnTo>
                  <a:lnTo>
                    <a:pt x="92" y="204"/>
                  </a:lnTo>
                  <a:lnTo>
                    <a:pt x="92" y="204"/>
                  </a:lnTo>
                  <a:lnTo>
                    <a:pt x="94" y="206"/>
                  </a:lnTo>
                  <a:lnTo>
                    <a:pt x="94" y="208"/>
                  </a:lnTo>
                  <a:lnTo>
                    <a:pt x="94" y="209"/>
                  </a:lnTo>
                  <a:lnTo>
                    <a:pt x="94" y="209"/>
                  </a:lnTo>
                  <a:lnTo>
                    <a:pt x="94" y="209"/>
                  </a:lnTo>
                  <a:lnTo>
                    <a:pt x="96" y="209"/>
                  </a:lnTo>
                  <a:lnTo>
                    <a:pt x="96" y="208"/>
                  </a:lnTo>
                  <a:lnTo>
                    <a:pt x="96" y="208"/>
                  </a:lnTo>
                  <a:lnTo>
                    <a:pt x="96" y="209"/>
                  </a:lnTo>
                  <a:lnTo>
                    <a:pt x="96" y="211"/>
                  </a:lnTo>
                  <a:lnTo>
                    <a:pt x="96" y="219"/>
                  </a:lnTo>
                  <a:lnTo>
                    <a:pt x="96" y="221"/>
                  </a:lnTo>
                  <a:lnTo>
                    <a:pt x="96" y="223"/>
                  </a:lnTo>
                  <a:lnTo>
                    <a:pt x="96" y="223"/>
                  </a:lnTo>
                  <a:lnTo>
                    <a:pt x="96" y="223"/>
                  </a:lnTo>
                  <a:lnTo>
                    <a:pt x="98" y="225"/>
                  </a:lnTo>
                  <a:lnTo>
                    <a:pt x="98" y="230"/>
                  </a:lnTo>
                  <a:lnTo>
                    <a:pt x="98" y="234"/>
                  </a:lnTo>
                  <a:lnTo>
                    <a:pt x="98" y="236"/>
                  </a:lnTo>
                  <a:lnTo>
                    <a:pt x="98" y="238"/>
                  </a:lnTo>
                  <a:lnTo>
                    <a:pt x="96" y="244"/>
                  </a:lnTo>
                  <a:lnTo>
                    <a:pt x="96" y="246"/>
                  </a:lnTo>
                  <a:lnTo>
                    <a:pt x="96" y="247"/>
                  </a:lnTo>
                  <a:lnTo>
                    <a:pt x="99" y="249"/>
                  </a:lnTo>
                  <a:lnTo>
                    <a:pt x="101" y="249"/>
                  </a:lnTo>
                  <a:lnTo>
                    <a:pt x="103" y="251"/>
                  </a:lnTo>
                  <a:lnTo>
                    <a:pt x="103" y="251"/>
                  </a:lnTo>
                  <a:lnTo>
                    <a:pt x="103" y="251"/>
                  </a:lnTo>
                  <a:lnTo>
                    <a:pt x="105" y="251"/>
                  </a:lnTo>
                  <a:lnTo>
                    <a:pt x="109" y="251"/>
                  </a:lnTo>
                  <a:lnTo>
                    <a:pt x="109" y="251"/>
                  </a:lnTo>
                  <a:lnTo>
                    <a:pt x="109" y="251"/>
                  </a:lnTo>
                  <a:lnTo>
                    <a:pt x="111" y="251"/>
                  </a:lnTo>
                  <a:lnTo>
                    <a:pt x="111" y="251"/>
                  </a:lnTo>
                  <a:lnTo>
                    <a:pt x="113" y="253"/>
                  </a:lnTo>
                  <a:lnTo>
                    <a:pt x="113" y="253"/>
                  </a:lnTo>
                  <a:lnTo>
                    <a:pt x="113" y="255"/>
                  </a:lnTo>
                  <a:lnTo>
                    <a:pt x="113" y="255"/>
                  </a:lnTo>
                  <a:lnTo>
                    <a:pt x="115" y="255"/>
                  </a:lnTo>
                  <a:lnTo>
                    <a:pt x="115" y="255"/>
                  </a:lnTo>
                  <a:lnTo>
                    <a:pt x="115" y="255"/>
                  </a:lnTo>
                  <a:lnTo>
                    <a:pt x="117" y="253"/>
                  </a:lnTo>
                  <a:lnTo>
                    <a:pt x="117" y="253"/>
                  </a:lnTo>
                  <a:lnTo>
                    <a:pt x="117" y="253"/>
                  </a:lnTo>
                  <a:lnTo>
                    <a:pt x="117" y="253"/>
                  </a:lnTo>
                  <a:lnTo>
                    <a:pt x="119" y="253"/>
                  </a:lnTo>
                  <a:lnTo>
                    <a:pt x="119" y="253"/>
                  </a:lnTo>
                  <a:lnTo>
                    <a:pt x="120" y="253"/>
                  </a:lnTo>
                  <a:lnTo>
                    <a:pt x="122" y="253"/>
                  </a:lnTo>
                  <a:lnTo>
                    <a:pt x="122" y="253"/>
                  </a:lnTo>
                  <a:lnTo>
                    <a:pt x="122" y="253"/>
                  </a:lnTo>
                  <a:lnTo>
                    <a:pt x="122" y="255"/>
                  </a:lnTo>
                  <a:lnTo>
                    <a:pt x="122" y="257"/>
                  </a:lnTo>
                  <a:lnTo>
                    <a:pt x="122" y="257"/>
                  </a:lnTo>
                  <a:lnTo>
                    <a:pt x="120" y="263"/>
                  </a:lnTo>
                  <a:lnTo>
                    <a:pt x="120" y="265"/>
                  </a:lnTo>
                  <a:lnTo>
                    <a:pt x="120" y="265"/>
                  </a:lnTo>
                  <a:lnTo>
                    <a:pt x="120" y="265"/>
                  </a:lnTo>
                  <a:lnTo>
                    <a:pt x="120" y="265"/>
                  </a:lnTo>
                  <a:lnTo>
                    <a:pt x="122" y="266"/>
                  </a:lnTo>
                  <a:lnTo>
                    <a:pt x="124" y="268"/>
                  </a:lnTo>
                  <a:lnTo>
                    <a:pt x="124" y="268"/>
                  </a:lnTo>
                  <a:lnTo>
                    <a:pt x="122" y="268"/>
                  </a:lnTo>
                  <a:lnTo>
                    <a:pt x="120" y="270"/>
                  </a:lnTo>
                  <a:lnTo>
                    <a:pt x="120" y="270"/>
                  </a:lnTo>
                  <a:lnTo>
                    <a:pt x="119" y="272"/>
                  </a:lnTo>
                  <a:lnTo>
                    <a:pt x="117" y="272"/>
                  </a:lnTo>
                  <a:lnTo>
                    <a:pt x="117" y="272"/>
                  </a:lnTo>
                  <a:lnTo>
                    <a:pt x="113" y="276"/>
                  </a:lnTo>
                  <a:lnTo>
                    <a:pt x="113" y="276"/>
                  </a:lnTo>
                  <a:lnTo>
                    <a:pt x="111" y="276"/>
                  </a:lnTo>
                  <a:lnTo>
                    <a:pt x="111" y="276"/>
                  </a:lnTo>
                  <a:lnTo>
                    <a:pt x="111" y="276"/>
                  </a:lnTo>
                  <a:lnTo>
                    <a:pt x="111" y="274"/>
                  </a:lnTo>
                  <a:lnTo>
                    <a:pt x="111" y="274"/>
                  </a:lnTo>
                  <a:lnTo>
                    <a:pt x="111" y="272"/>
                  </a:lnTo>
                  <a:lnTo>
                    <a:pt x="111" y="272"/>
                  </a:lnTo>
                  <a:lnTo>
                    <a:pt x="111" y="270"/>
                  </a:lnTo>
                  <a:lnTo>
                    <a:pt x="111" y="270"/>
                  </a:lnTo>
                  <a:lnTo>
                    <a:pt x="111" y="268"/>
                  </a:lnTo>
                  <a:lnTo>
                    <a:pt x="111" y="268"/>
                  </a:lnTo>
                  <a:lnTo>
                    <a:pt x="109" y="268"/>
                  </a:lnTo>
                  <a:lnTo>
                    <a:pt x="105" y="268"/>
                  </a:lnTo>
                  <a:lnTo>
                    <a:pt x="105" y="268"/>
                  </a:lnTo>
                  <a:lnTo>
                    <a:pt x="103" y="266"/>
                  </a:lnTo>
                  <a:lnTo>
                    <a:pt x="101" y="266"/>
                  </a:lnTo>
                  <a:lnTo>
                    <a:pt x="92" y="265"/>
                  </a:lnTo>
                  <a:lnTo>
                    <a:pt x="92" y="265"/>
                  </a:lnTo>
                  <a:lnTo>
                    <a:pt x="90" y="265"/>
                  </a:lnTo>
                  <a:lnTo>
                    <a:pt x="90" y="265"/>
                  </a:lnTo>
                  <a:lnTo>
                    <a:pt x="90" y="266"/>
                  </a:lnTo>
                  <a:lnTo>
                    <a:pt x="90" y="266"/>
                  </a:lnTo>
                  <a:lnTo>
                    <a:pt x="88" y="266"/>
                  </a:lnTo>
                  <a:lnTo>
                    <a:pt x="88" y="266"/>
                  </a:lnTo>
                  <a:lnTo>
                    <a:pt x="86" y="270"/>
                  </a:lnTo>
                  <a:lnTo>
                    <a:pt x="86" y="270"/>
                  </a:lnTo>
                  <a:lnTo>
                    <a:pt x="86" y="270"/>
                  </a:lnTo>
                  <a:lnTo>
                    <a:pt x="84" y="270"/>
                  </a:lnTo>
                  <a:lnTo>
                    <a:pt x="84" y="270"/>
                  </a:lnTo>
                  <a:lnTo>
                    <a:pt x="78" y="257"/>
                  </a:lnTo>
                  <a:lnTo>
                    <a:pt x="78" y="257"/>
                  </a:lnTo>
                  <a:lnTo>
                    <a:pt x="77" y="255"/>
                  </a:lnTo>
                  <a:lnTo>
                    <a:pt x="77" y="255"/>
                  </a:lnTo>
                  <a:lnTo>
                    <a:pt x="75" y="255"/>
                  </a:lnTo>
                  <a:lnTo>
                    <a:pt x="73" y="255"/>
                  </a:lnTo>
                  <a:lnTo>
                    <a:pt x="73" y="255"/>
                  </a:lnTo>
                  <a:lnTo>
                    <a:pt x="73" y="255"/>
                  </a:lnTo>
                  <a:lnTo>
                    <a:pt x="73" y="255"/>
                  </a:lnTo>
                  <a:lnTo>
                    <a:pt x="73" y="255"/>
                  </a:lnTo>
                  <a:lnTo>
                    <a:pt x="71" y="253"/>
                  </a:lnTo>
                  <a:lnTo>
                    <a:pt x="71" y="253"/>
                  </a:lnTo>
                  <a:lnTo>
                    <a:pt x="71" y="253"/>
                  </a:lnTo>
                  <a:lnTo>
                    <a:pt x="71" y="253"/>
                  </a:lnTo>
                  <a:lnTo>
                    <a:pt x="69" y="251"/>
                  </a:lnTo>
                  <a:lnTo>
                    <a:pt x="67" y="249"/>
                  </a:lnTo>
                  <a:lnTo>
                    <a:pt x="65" y="247"/>
                  </a:lnTo>
                  <a:lnTo>
                    <a:pt x="65" y="247"/>
                  </a:lnTo>
                  <a:lnTo>
                    <a:pt x="65" y="247"/>
                  </a:lnTo>
                  <a:lnTo>
                    <a:pt x="65" y="247"/>
                  </a:lnTo>
                  <a:lnTo>
                    <a:pt x="63" y="247"/>
                  </a:lnTo>
                  <a:lnTo>
                    <a:pt x="63" y="247"/>
                  </a:lnTo>
                  <a:lnTo>
                    <a:pt x="63" y="249"/>
                  </a:lnTo>
                  <a:lnTo>
                    <a:pt x="63" y="249"/>
                  </a:lnTo>
                  <a:lnTo>
                    <a:pt x="61" y="251"/>
                  </a:lnTo>
                  <a:lnTo>
                    <a:pt x="61" y="251"/>
                  </a:lnTo>
                  <a:lnTo>
                    <a:pt x="61" y="251"/>
                  </a:lnTo>
                  <a:lnTo>
                    <a:pt x="61" y="253"/>
                  </a:lnTo>
                  <a:lnTo>
                    <a:pt x="59" y="253"/>
                  </a:lnTo>
                  <a:lnTo>
                    <a:pt x="59" y="251"/>
                  </a:lnTo>
                  <a:lnTo>
                    <a:pt x="59" y="251"/>
                  </a:lnTo>
                  <a:lnTo>
                    <a:pt x="59" y="251"/>
                  </a:lnTo>
                  <a:lnTo>
                    <a:pt x="59" y="249"/>
                  </a:lnTo>
                  <a:lnTo>
                    <a:pt x="58" y="249"/>
                  </a:lnTo>
                  <a:lnTo>
                    <a:pt x="54" y="244"/>
                  </a:lnTo>
                  <a:lnTo>
                    <a:pt x="54" y="244"/>
                  </a:lnTo>
                  <a:lnTo>
                    <a:pt x="52" y="244"/>
                  </a:lnTo>
                  <a:lnTo>
                    <a:pt x="52" y="244"/>
                  </a:lnTo>
                  <a:lnTo>
                    <a:pt x="52" y="244"/>
                  </a:lnTo>
                  <a:lnTo>
                    <a:pt x="48" y="247"/>
                  </a:lnTo>
                  <a:lnTo>
                    <a:pt x="46" y="249"/>
                  </a:lnTo>
                  <a:lnTo>
                    <a:pt x="46" y="249"/>
                  </a:lnTo>
                  <a:lnTo>
                    <a:pt x="44" y="249"/>
                  </a:lnTo>
                  <a:lnTo>
                    <a:pt x="40" y="257"/>
                  </a:lnTo>
                  <a:lnTo>
                    <a:pt x="40" y="257"/>
                  </a:lnTo>
                  <a:lnTo>
                    <a:pt x="40" y="259"/>
                  </a:lnTo>
                  <a:lnTo>
                    <a:pt x="40" y="261"/>
                  </a:lnTo>
                  <a:lnTo>
                    <a:pt x="40" y="261"/>
                  </a:lnTo>
                  <a:lnTo>
                    <a:pt x="40" y="263"/>
                  </a:lnTo>
                  <a:lnTo>
                    <a:pt x="42" y="263"/>
                  </a:lnTo>
                  <a:lnTo>
                    <a:pt x="42" y="265"/>
                  </a:lnTo>
                  <a:lnTo>
                    <a:pt x="52" y="268"/>
                  </a:lnTo>
                  <a:lnTo>
                    <a:pt x="52" y="268"/>
                  </a:lnTo>
                  <a:lnTo>
                    <a:pt x="52" y="270"/>
                  </a:lnTo>
                  <a:lnTo>
                    <a:pt x="54" y="272"/>
                  </a:lnTo>
                  <a:lnTo>
                    <a:pt x="54" y="274"/>
                  </a:lnTo>
                  <a:lnTo>
                    <a:pt x="54" y="274"/>
                  </a:lnTo>
                  <a:lnTo>
                    <a:pt x="56" y="274"/>
                  </a:lnTo>
                  <a:lnTo>
                    <a:pt x="59" y="274"/>
                  </a:lnTo>
                  <a:lnTo>
                    <a:pt x="59" y="274"/>
                  </a:lnTo>
                  <a:lnTo>
                    <a:pt x="59" y="276"/>
                  </a:lnTo>
                  <a:lnTo>
                    <a:pt x="61" y="276"/>
                  </a:lnTo>
                  <a:lnTo>
                    <a:pt x="61" y="278"/>
                  </a:lnTo>
                  <a:lnTo>
                    <a:pt x="59" y="282"/>
                  </a:lnTo>
                  <a:lnTo>
                    <a:pt x="59" y="284"/>
                  </a:lnTo>
                  <a:lnTo>
                    <a:pt x="59" y="286"/>
                  </a:lnTo>
                  <a:lnTo>
                    <a:pt x="61" y="287"/>
                  </a:lnTo>
                  <a:lnTo>
                    <a:pt x="61" y="289"/>
                  </a:lnTo>
                  <a:lnTo>
                    <a:pt x="61" y="291"/>
                  </a:lnTo>
                  <a:lnTo>
                    <a:pt x="61" y="293"/>
                  </a:lnTo>
                  <a:lnTo>
                    <a:pt x="59" y="301"/>
                  </a:lnTo>
                  <a:lnTo>
                    <a:pt x="61" y="301"/>
                  </a:lnTo>
                  <a:lnTo>
                    <a:pt x="61" y="303"/>
                  </a:lnTo>
                  <a:lnTo>
                    <a:pt x="63" y="303"/>
                  </a:lnTo>
                  <a:lnTo>
                    <a:pt x="65" y="303"/>
                  </a:lnTo>
                  <a:lnTo>
                    <a:pt x="65" y="303"/>
                  </a:lnTo>
                  <a:lnTo>
                    <a:pt x="65" y="305"/>
                  </a:lnTo>
                  <a:lnTo>
                    <a:pt x="67" y="308"/>
                  </a:lnTo>
                  <a:lnTo>
                    <a:pt x="67" y="308"/>
                  </a:lnTo>
                  <a:lnTo>
                    <a:pt x="67" y="308"/>
                  </a:lnTo>
                  <a:lnTo>
                    <a:pt x="69" y="308"/>
                  </a:lnTo>
                  <a:lnTo>
                    <a:pt x="71" y="310"/>
                  </a:lnTo>
                  <a:lnTo>
                    <a:pt x="71" y="310"/>
                  </a:lnTo>
                  <a:lnTo>
                    <a:pt x="73" y="310"/>
                  </a:lnTo>
                  <a:lnTo>
                    <a:pt x="73" y="312"/>
                  </a:lnTo>
                  <a:lnTo>
                    <a:pt x="73" y="312"/>
                  </a:lnTo>
                  <a:lnTo>
                    <a:pt x="73" y="314"/>
                  </a:lnTo>
                  <a:lnTo>
                    <a:pt x="73" y="314"/>
                  </a:lnTo>
                  <a:lnTo>
                    <a:pt x="71" y="316"/>
                  </a:lnTo>
                  <a:lnTo>
                    <a:pt x="71" y="316"/>
                  </a:lnTo>
                  <a:lnTo>
                    <a:pt x="71" y="316"/>
                  </a:lnTo>
                  <a:lnTo>
                    <a:pt x="71" y="318"/>
                  </a:lnTo>
                  <a:lnTo>
                    <a:pt x="71" y="318"/>
                  </a:lnTo>
                  <a:lnTo>
                    <a:pt x="73" y="318"/>
                  </a:lnTo>
                  <a:lnTo>
                    <a:pt x="73" y="320"/>
                  </a:lnTo>
                  <a:lnTo>
                    <a:pt x="73" y="320"/>
                  </a:lnTo>
                  <a:lnTo>
                    <a:pt x="73" y="322"/>
                  </a:lnTo>
                  <a:lnTo>
                    <a:pt x="71" y="325"/>
                  </a:lnTo>
                  <a:lnTo>
                    <a:pt x="71" y="325"/>
                  </a:lnTo>
                  <a:lnTo>
                    <a:pt x="71" y="327"/>
                  </a:lnTo>
                  <a:lnTo>
                    <a:pt x="71" y="329"/>
                  </a:lnTo>
                  <a:lnTo>
                    <a:pt x="71" y="331"/>
                  </a:lnTo>
                  <a:lnTo>
                    <a:pt x="71" y="331"/>
                  </a:lnTo>
                  <a:lnTo>
                    <a:pt x="73" y="333"/>
                  </a:lnTo>
                  <a:lnTo>
                    <a:pt x="73" y="335"/>
                  </a:lnTo>
                  <a:lnTo>
                    <a:pt x="73" y="337"/>
                  </a:lnTo>
                  <a:lnTo>
                    <a:pt x="73" y="339"/>
                  </a:lnTo>
                  <a:lnTo>
                    <a:pt x="73" y="339"/>
                  </a:lnTo>
                  <a:lnTo>
                    <a:pt x="73" y="341"/>
                  </a:lnTo>
                  <a:lnTo>
                    <a:pt x="75" y="341"/>
                  </a:lnTo>
                  <a:lnTo>
                    <a:pt x="75" y="343"/>
                  </a:lnTo>
                  <a:lnTo>
                    <a:pt x="77" y="343"/>
                  </a:lnTo>
                  <a:lnTo>
                    <a:pt x="77" y="346"/>
                  </a:lnTo>
                  <a:lnTo>
                    <a:pt x="77" y="346"/>
                  </a:lnTo>
                  <a:lnTo>
                    <a:pt x="78" y="348"/>
                  </a:lnTo>
                  <a:lnTo>
                    <a:pt x="78" y="350"/>
                  </a:lnTo>
                  <a:lnTo>
                    <a:pt x="78" y="350"/>
                  </a:lnTo>
                  <a:lnTo>
                    <a:pt x="78" y="352"/>
                  </a:lnTo>
                  <a:lnTo>
                    <a:pt x="78" y="358"/>
                  </a:lnTo>
                  <a:lnTo>
                    <a:pt x="78" y="360"/>
                  </a:lnTo>
                  <a:lnTo>
                    <a:pt x="78" y="360"/>
                  </a:lnTo>
                  <a:lnTo>
                    <a:pt x="77" y="360"/>
                  </a:lnTo>
                  <a:lnTo>
                    <a:pt x="75" y="362"/>
                  </a:lnTo>
                  <a:lnTo>
                    <a:pt x="75" y="362"/>
                  </a:lnTo>
                  <a:lnTo>
                    <a:pt x="75" y="362"/>
                  </a:lnTo>
                  <a:lnTo>
                    <a:pt x="75" y="362"/>
                  </a:lnTo>
                  <a:lnTo>
                    <a:pt x="73" y="362"/>
                  </a:lnTo>
                  <a:lnTo>
                    <a:pt x="73" y="363"/>
                  </a:lnTo>
                  <a:lnTo>
                    <a:pt x="73" y="363"/>
                  </a:lnTo>
                  <a:lnTo>
                    <a:pt x="73" y="363"/>
                  </a:lnTo>
                  <a:lnTo>
                    <a:pt x="73" y="367"/>
                  </a:lnTo>
                  <a:lnTo>
                    <a:pt x="71" y="371"/>
                  </a:lnTo>
                  <a:lnTo>
                    <a:pt x="71" y="371"/>
                  </a:lnTo>
                  <a:lnTo>
                    <a:pt x="71" y="373"/>
                  </a:lnTo>
                  <a:lnTo>
                    <a:pt x="71" y="375"/>
                  </a:lnTo>
                  <a:lnTo>
                    <a:pt x="71" y="377"/>
                  </a:lnTo>
                  <a:lnTo>
                    <a:pt x="69" y="375"/>
                  </a:lnTo>
                  <a:lnTo>
                    <a:pt x="69" y="375"/>
                  </a:lnTo>
                  <a:lnTo>
                    <a:pt x="67" y="373"/>
                  </a:lnTo>
                  <a:lnTo>
                    <a:pt x="67" y="373"/>
                  </a:lnTo>
                  <a:lnTo>
                    <a:pt x="67" y="373"/>
                  </a:lnTo>
                  <a:lnTo>
                    <a:pt x="67" y="373"/>
                  </a:lnTo>
                  <a:lnTo>
                    <a:pt x="65" y="375"/>
                  </a:lnTo>
                  <a:lnTo>
                    <a:pt x="65" y="377"/>
                  </a:lnTo>
                  <a:lnTo>
                    <a:pt x="63" y="379"/>
                  </a:lnTo>
                  <a:lnTo>
                    <a:pt x="63" y="379"/>
                  </a:lnTo>
                  <a:lnTo>
                    <a:pt x="61" y="379"/>
                  </a:lnTo>
                  <a:lnTo>
                    <a:pt x="58" y="381"/>
                  </a:lnTo>
                  <a:lnTo>
                    <a:pt x="58" y="381"/>
                  </a:lnTo>
                  <a:lnTo>
                    <a:pt x="56" y="381"/>
                  </a:lnTo>
                  <a:lnTo>
                    <a:pt x="56" y="381"/>
                  </a:lnTo>
                  <a:lnTo>
                    <a:pt x="54" y="383"/>
                  </a:lnTo>
                  <a:lnTo>
                    <a:pt x="54" y="383"/>
                  </a:lnTo>
                  <a:lnTo>
                    <a:pt x="52" y="384"/>
                  </a:lnTo>
                  <a:lnTo>
                    <a:pt x="52" y="384"/>
                  </a:lnTo>
                  <a:lnTo>
                    <a:pt x="52" y="386"/>
                  </a:lnTo>
                  <a:lnTo>
                    <a:pt x="50" y="386"/>
                  </a:lnTo>
                  <a:lnTo>
                    <a:pt x="50" y="386"/>
                  </a:lnTo>
                  <a:lnTo>
                    <a:pt x="50" y="386"/>
                  </a:lnTo>
                  <a:lnTo>
                    <a:pt x="48" y="386"/>
                  </a:lnTo>
                  <a:lnTo>
                    <a:pt x="48" y="388"/>
                  </a:lnTo>
                  <a:lnTo>
                    <a:pt x="48" y="388"/>
                  </a:lnTo>
                  <a:lnTo>
                    <a:pt x="50" y="388"/>
                  </a:lnTo>
                  <a:lnTo>
                    <a:pt x="50" y="388"/>
                  </a:lnTo>
                  <a:lnTo>
                    <a:pt x="52" y="390"/>
                  </a:lnTo>
                  <a:lnTo>
                    <a:pt x="52" y="390"/>
                  </a:lnTo>
                  <a:lnTo>
                    <a:pt x="52" y="392"/>
                  </a:lnTo>
                  <a:lnTo>
                    <a:pt x="52" y="394"/>
                  </a:lnTo>
                  <a:lnTo>
                    <a:pt x="52" y="394"/>
                  </a:lnTo>
                  <a:lnTo>
                    <a:pt x="52" y="394"/>
                  </a:lnTo>
                  <a:lnTo>
                    <a:pt x="50" y="396"/>
                  </a:lnTo>
                  <a:lnTo>
                    <a:pt x="50" y="396"/>
                  </a:lnTo>
                  <a:lnTo>
                    <a:pt x="48" y="398"/>
                  </a:lnTo>
                  <a:lnTo>
                    <a:pt x="46" y="400"/>
                  </a:lnTo>
                  <a:lnTo>
                    <a:pt x="42" y="402"/>
                  </a:lnTo>
                  <a:lnTo>
                    <a:pt x="40" y="405"/>
                  </a:lnTo>
                  <a:lnTo>
                    <a:pt x="38" y="405"/>
                  </a:lnTo>
                  <a:lnTo>
                    <a:pt x="37" y="409"/>
                  </a:lnTo>
                  <a:lnTo>
                    <a:pt x="33" y="413"/>
                  </a:lnTo>
                  <a:lnTo>
                    <a:pt x="33" y="415"/>
                  </a:lnTo>
                  <a:lnTo>
                    <a:pt x="33" y="415"/>
                  </a:lnTo>
                  <a:lnTo>
                    <a:pt x="31" y="415"/>
                  </a:lnTo>
                  <a:lnTo>
                    <a:pt x="29" y="415"/>
                  </a:lnTo>
                  <a:lnTo>
                    <a:pt x="29" y="417"/>
                  </a:lnTo>
                  <a:lnTo>
                    <a:pt x="27" y="417"/>
                  </a:lnTo>
                  <a:lnTo>
                    <a:pt x="27" y="417"/>
                  </a:lnTo>
                  <a:lnTo>
                    <a:pt x="25" y="419"/>
                  </a:lnTo>
                  <a:lnTo>
                    <a:pt x="25" y="419"/>
                  </a:lnTo>
                  <a:lnTo>
                    <a:pt x="25" y="421"/>
                  </a:lnTo>
                  <a:lnTo>
                    <a:pt x="19" y="422"/>
                  </a:lnTo>
                  <a:lnTo>
                    <a:pt x="18" y="422"/>
                  </a:lnTo>
                  <a:lnTo>
                    <a:pt x="18" y="422"/>
                  </a:lnTo>
                  <a:lnTo>
                    <a:pt x="18" y="422"/>
                  </a:lnTo>
                  <a:lnTo>
                    <a:pt x="16" y="422"/>
                  </a:lnTo>
                  <a:lnTo>
                    <a:pt x="16" y="422"/>
                  </a:lnTo>
                  <a:lnTo>
                    <a:pt x="16" y="422"/>
                  </a:lnTo>
                  <a:lnTo>
                    <a:pt x="14" y="426"/>
                  </a:lnTo>
                  <a:lnTo>
                    <a:pt x="14" y="428"/>
                  </a:lnTo>
                  <a:lnTo>
                    <a:pt x="14" y="428"/>
                  </a:lnTo>
                  <a:lnTo>
                    <a:pt x="12" y="428"/>
                  </a:lnTo>
                  <a:lnTo>
                    <a:pt x="12" y="430"/>
                  </a:lnTo>
                  <a:lnTo>
                    <a:pt x="12" y="430"/>
                  </a:lnTo>
                  <a:lnTo>
                    <a:pt x="12" y="430"/>
                  </a:lnTo>
                  <a:lnTo>
                    <a:pt x="14" y="432"/>
                  </a:lnTo>
                  <a:lnTo>
                    <a:pt x="14" y="432"/>
                  </a:lnTo>
                  <a:lnTo>
                    <a:pt x="14" y="434"/>
                  </a:lnTo>
                  <a:lnTo>
                    <a:pt x="14" y="436"/>
                  </a:lnTo>
                  <a:lnTo>
                    <a:pt x="14" y="438"/>
                  </a:lnTo>
                  <a:lnTo>
                    <a:pt x="12" y="440"/>
                  </a:lnTo>
                  <a:lnTo>
                    <a:pt x="12" y="441"/>
                  </a:lnTo>
                  <a:lnTo>
                    <a:pt x="12" y="441"/>
                  </a:lnTo>
                  <a:lnTo>
                    <a:pt x="12" y="441"/>
                  </a:lnTo>
                  <a:lnTo>
                    <a:pt x="10" y="443"/>
                  </a:lnTo>
                  <a:lnTo>
                    <a:pt x="10" y="443"/>
                  </a:lnTo>
                  <a:lnTo>
                    <a:pt x="10" y="443"/>
                  </a:lnTo>
                  <a:lnTo>
                    <a:pt x="10" y="445"/>
                  </a:lnTo>
                  <a:lnTo>
                    <a:pt x="10" y="445"/>
                  </a:lnTo>
                  <a:lnTo>
                    <a:pt x="10" y="449"/>
                  </a:lnTo>
                  <a:lnTo>
                    <a:pt x="10" y="451"/>
                  </a:lnTo>
                  <a:lnTo>
                    <a:pt x="10" y="453"/>
                  </a:lnTo>
                  <a:lnTo>
                    <a:pt x="8" y="453"/>
                  </a:lnTo>
                  <a:lnTo>
                    <a:pt x="8" y="453"/>
                  </a:lnTo>
                  <a:lnTo>
                    <a:pt x="8" y="455"/>
                  </a:lnTo>
                  <a:lnTo>
                    <a:pt x="6" y="455"/>
                  </a:lnTo>
                  <a:lnTo>
                    <a:pt x="6" y="457"/>
                  </a:lnTo>
                  <a:lnTo>
                    <a:pt x="6" y="457"/>
                  </a:lnTo>
                  <a:lnTo>
                    <a:pt x="6" y="459"/>
                  </a:lnTo>
                  <a:lnTo>
                    <a:pt x="6" y="460"/>
                  </a:lnTo>
                  <a:lnTo>
                    <a:pt x="6" y="460"/>
                  </a:lnTo>
                  <a:lnTo>
                    <a:pt x="6" y="460"/>
                  </a:lnTo>
                  <a:lnTo>
                    <a:pt x="6" y="460"/>
                  </a:lnTo>
                  <a:lnTo>
                    <a:pt x="4" y="460"/>
                  </a:lnTo>
                  <a:lnTo>
                    <a:pt x="4" y="460"/>
                  </a:lnTo>
                  <a:lnTo>
                    <a:pt x="4" y="459"/>
                  </a:lnTo>
                  <a:lnTo>
                    <a:pt x="4" y="459"/>
                  </a:lnTo>
                  <a:lnTo>
                    <a:pt x="2" y="459"/>
                  </a:lnTo>
                  <a:lnTo>
                    <a:pt x="2" y="459"/>
                  </a:lnTo>
                  <a:lnTo>
                    <a:pt x="2" y="460"/>
                  </a:lnTo>
                  <a:lnTo>
                    <a:pt x="2" y="460"/>
                  </a:lnTo>
                  <a:lnTo>
                    <a:pt x="2" y="460"/>
                  </a:lnTo>
                  <a:lnTo>
                    <a:pt x="2" y="462"/>
                  </a:lnTo>
                  <a:lnTo>
                    <a:pt x="0" y="464"/>
                  </a:lnTo>
                  <a:lnTo>
                    <a:pt x="0" y="466"/>
                  </a:lnTo>
                  <a:lnTo>
                    <a:pt x="2" y="468"/>
                  </a:lnTo>
                  <a:lnTo>
                    <a:pt x="6" y="468"/>
                  </a:lnTo>
                  <a:lnTo>
                    <a:pt x="8" y="468"/>
                  </a:lnTo>
                  <a:lnTo>
                    <a:pt x="8" y="468"/>
                  </a:lnTo>
                  <a:lnTo>
                    <a:pt x="10" y="468"/>
                  </a:lnTo>
                  <a:lnTo>
                    <a:pt x="10" y="468"/>
                  </a:lnTo>
                  <a:lnTo>
                    <a:pt x="10" y="468"/>
                  </a:lnTo>
                  <a:lnTo>
                    <a:pt x="12" y="466"/>
                  </a:lnTo>
                  <a:lnTo>
                    <a:pt x="12" y="466"/>
                  </a:lnTo>
                  <a:lnTo>
                    <a:pt x="12" y="466"/>
                  </a:lnTo>
                  <a:lnTo>
                    <a:pt x="14" y="466"/>
                  </a:lnTo>
                  <a:lnTo>
                    <a:pt x="18" y="468"/>
                  </a:lnTo>
                  <a:lnTo>
                    <a:pt x="19" y="468"/>
                  </a:lnTo>
                  <a:lnTo>
                    <a:pt x="21" y="466"/>
                  </a:lnTo>
                  <a:lnTo>
                    <a:pt x="23" y="464"/>
                  </a:lnTo>
                  <a:lnTo>
                    <a:pt x="25" y="464"/>
                  </a:lnTo>
                  <a:lnTo>
                    <a:pt x="25" y="462"/>
                  </a:lnTo>
                  <a:lnTo>
                    <a:pt x="29" y="462"/>
                  </a:lnTo>
                  <a:lnTo>
                    <a:pt x="31" y="462"/>
                  </a:lnTo>
                  <a:lnTo>
                    <a:pt x="31" y="460"/>
                  </a:lnTo>
                  <a:lnTo>
                    <a:pt x="33" y="460"/>
                  </a:lnTo>
                  <a:lnTo>
                    <a:pt x="33" y="459"/>
                  </a:lnTo>
                  <a:lnTo>
                    <a:pt x="35" y="457"/>
                  </a:lnTo>
                  <a:lnTo>
                    <a:pt x="42" y="455"/>
                  </a:lnTo>
                  <a:lnTo>
                    <a:pt x="50" y="449"/>
                  </a:lnTo>
                  <a:lnTo>
                    <a:pt x="54" y="449"/>
                  </a:lnTo>
                  <a:lnTo>
                    <a:pt x="58" y="447"/>
                  </a:lnTo>
                  <a:lnTo>
                    <a:pt x="61" y="443"/>
                  </a:lnTo>
                  <a:lnTo>
                    <a:pt x="65" y="443"/>
                  </a:lnTo>
                  <a:lnTo>
                    <a:pt x="69" y="445"/>
                  </a:lnTo>
                  <a:lnTo>
                    <a:pt x="71" y="445"/>
                  </a:lnTo>
                  <a:lnTo>
                    <a:pt x="73" y="447"/>
                  </a:lnTo>
                  <a:lnTo>
                    <a:pt x="75" y="449"/>
                  </a:lnTo>
                  <a:lnTo>
                    <a:pt x="75" y="449"/>
                  </a:lnTo>
                  <a:lnTo>
                    <a:pt x="75" y="449"/>
                  </a:lnTo>
                  <a:lnTo>
                    <a:pt x="77" y="449"/>
                  </a:lnTo>
                  <a:lnTo>
                    <a:pt x="77" y="449"/>
                  </a:lnTo>
                  <a:lnTo>
                    <a:pt x="78" y="449"/>
                  </a:lnTo>
                  <a:lnTo>
                    <a:pt x="78" y="449"/>
                  </a:lnTo>
                  <a:lnTo>
                    <a:pt x="80" y="449"/>
                  </a:lnTo>
                  <a:lnTo>
                    <a:pt x="80" y="449"/>
                  </a:lnTo>
                  <a:lnTo>
                    <a:pt x="80" y="447"/>
                  </a:lnTo>
                  <a:lnTo>
                    <a:pt x="82" y="447"/>
                  </a:lnTo>
                  <a:lnTo>
                    <a:pt x="82" y="445"/>
                  </a:lnTo>
                  <a:lnTo>
                    <a:pt x="82" y="445"/>
                  </a:lnTo>
                  <a:lnTo>
                    <a:pt x="84" y="443"/>
                  </a:lnTo>
                  <a:lnTo>
                    <a:pt x="86" y="445"/>
                  </a:lnTo>
                  <a:lnTo>
                    <a:pt x="88" y="443"/>
                  </a:lnTo>
                  <a:lnTo>
                    <a:pt x="88" y="443"/>
                  </a:lnTo>
                  <a:lnTo>
                    <a:pt x="88" y="441"/>
                  </a:lnTo>
                  <a:lnTo>
                    <a:pt x="88" y="441"/>
                  </a:lnTo>
                  <a:lnTo>
                    <a:pt x="88" y="440"/>
                  </a:lnTo>
                  <a:lnTo>
                    <a:pt x="88" y="438"/>
                  </a:lnTo>
                  <a:lnTo>
                    <a:pt x="88" y="438"/>
                  </a:lnTo>
                  <a:lnTo>
                    <a:pt x="90" y="436"/>
                  </a:lnTo>
                  <a:lnTo>
                    <a:pt x="90" y="436"/>
                  </a:lnTo>
                  <a:lnTo>
                    <a:pt x="90" y="436"/>
                  </a:lnTo>
                  <a:lnTo>
                    <a:pt x="90" y="434"/>
                  </a:lnTo>
                  <a:lnTo>
                    <a:pt x="90" y="434"/>
                  </a:lnTo>
                  <a:lnTo>
                    <a:pt x="88" y="432"/>
                  </a:lnTo>
                  <a:lnTo>
                    <a:pt x="86" y="430"/>
                  </a:lnTo>
                  <a:lnTo>
                    <a:pt x="86" y="430"/>
                  </a:lnTo>
                  <a:lnTo>
                    <a:pt x="86" y="428"/>
                  </a:lnTo>
                  <a:lnTo>
                    <a:pt x="86" y="428"/>
                  </a:lnTo>
                  <a:lnTo>
                    <a:pt x="90" y="422"/>
                  </a:lnTo>
                  <a:lnTo>
                    <a:pt x="90" y="421"/>
                  </a:lnTo>
                  <a:lnTo>
                    <a:pt x="90" y="421"/>
                  </a:lnTo>
                  <a:lnTo>
                    <a:pt x="90" y="419"/>
                  </a:lnTo>
                  <a:lnTo>
                    <a:pt x="90" y="417"/>
                  </a:lnTo>
                  <a:lnTo>
                    <a:pt x="90" y="417"/>
                  </a:lnTo>
                  <a:lnTo>
                    <a:pt x="90" y="417"/>
                  </a:lnTo>
                  <a:lnTo>
                    <a:pt x="92" y="413"/>
                  </a:lnTo>
                  <a:lnTo>
                    <a:pt x="92" y="411"/>
                  </a:lnTo>
                  <a:lnTo>
                    <a:pt x="92" y="409"/>
                  </a:lnTo>
                  <a:lnTo>
                    <a:pt x="92" y="409"/>
                  </a:lnTo>
                  <a:lnTo>
                    <a:pt x="92" y="407"/>
                  </a:lnTo>
                  <a:lnTo>
                    <a:pt x="92" y="407"/>
                  </a:lnTo>
                  <a:lnTo>
                    <a:pt x="96" y="403"/>
                  </a:lnTo>
                  <a:lnTo>
                    <a:pt x="96" y="402"/>
                  </a:lnTo>
                  <a:lnTo>
                    <a:pt x="98" y="400"/>
                  </a:lnTo>
                  <a:lnTo>
                    <a:pt x="98" y="398"/>
                  </a:lnTo>
                  <a:lnTo>
                    <a:pt x="99" y="398"/>
                  </a:lnTo>
                  <a:lnTo>
                    <a:pt x="101" y="398"/>
                  </a:lnTo>
                  <a:lnTo>
                    <a:pt x="101" y="400"/>
                  </a:lnTo>
                  <a:lnTo>
                    <a:pt x="103" y="400"/>
                  </a:lnTo>
                  <a:lnTo>
                    <a:pt x="103" y="400"/>
                  </a:lnTo>
                  <a:lnTo>
                    <a:pt x="103" y="400"/>
                  </a:lnTo>
                  <a:lnTo>
                    <a:pt x="105" y="400"/>
                  </a:lnTo>
                  <a:lnTo>
                    <a:pt x="105" y="400"/>
                  </a:lnTo>
                  <a:lnTo>
                    <a:pt x="105" y="402"/>
                  </a:lnTo>
                  <a:lnTo>
                    <a:pt x="105" y="402"/>
                  </a:lnTo>
                  <a:lnTo>
                    <a:pt x="105" y="402"/>
                  </a:lnTo>
                  <a:lnTo>
                    <a:pt x="105" y="403"/>
                  </a:lnTo>
                  <a:lnTo>
                    <a:pt x="105" y="403"/>
                  </a:lnTo>
                  <a:lnTo>
                    <a:pt x="105" y="405"/>
                  </a:lnTo>
                  <a:lnTo>
                    <a:pt x="105" y="407"/>
                  </a:lnTo>
                  <a:lnTo>
                    <a:pt x="105" y="407"/>
                  </a:lnTo>
                  <a:lnTo>
                    <a:pt x="105" y="409"/>
                  </a:lnTo>
                  <a:lnTo>
                    <a:pt x="107" y="409"/>
                  </a:lnTo>
                  <a:lnTo>
                    <a:pt x="111" y="415"/>
                  </a:lnTo>
                  <a:lnTo>
                    <a:pt x="111" y="415"/>
                  </a:lnTo>
                  <a:lnTo>
                    <a:pt x="113" y="415"/>
                  </a:lnTo>
                  <a:lnTo>
                    <a:pt x="113" y="417"/>
                  </a:lnTo>
                  <a:lnTo>
                    <a:pt x="113" y="417"/>
                  </a:lnTo>
                  <a:lnTo>
                    <a:pt x="113" y="417"/>
                  </a:lnTo>
                  <a:lnTo>
                    <a:pt x="113" y="419"/>
                  </a:lnTo>
                  <a:lnTo>
                    <a:pt x="111" y="421"/>
                  </a:lnTo>
                  <a:lnTo>
                    <a:pt x="111" y="422"/>
                  </a:lnTo>
                  <a:lnTo>
                    <a:pt x="111" y="422"/>
                  </a:lnTo>
                  <a:lnTo>
                    <a:pt x="111" y="424"/>
                  </a:lnTo>
                  <a:lnTo>
                    <a:pt x="111" y="424"/>
                  </a:lnTo>
                  <a:lnTo>
                    <a:pt x="113" y="424"/>
                  </a:lnTo>
                  <a:lnTo>
                    <a:pt x="113" y="426"/>
                  </a:lnTo>
                  <a:lnTo>
                    <a:pt x="115" y="426"/>
                  </a:lnTo>
                  <a:lnTo>
                    <a:pt x="115" y="426"/>
                  </a:lnTo>
                  <a:lnTo>
                    <a:pt x="117" y="426"/>
                  </a:lnTo>
                  <a:lnTo>
                    <a:pt x="117" y="426"/>
                  </a:lnTo>
                  <a:lnTo>
                    <a:pt x="119" y="424"/>
                  </a:lnTo>
                  <a:lnTo>
                    <a:pt x="119" y="424"/>
                  </a:lnTo>
                  <a:lnTo>
                    <a:pt x="119" y="422"/>
                  </a:lnTo>
                  <a:lnTo>
                    <a:pt x="119" y="421"/>
                  </a:lnTo>
                  <a:lnTo>
                    <a:pt x="119" y="421"/>
                  </a:lnTo>
                  <a:lnTo>
                    <a:pt x="120" y="421"/>
                  </a:lnTo>
                  <a:lnTo>
                    <a:pt x="122" y="419"/>
                  </a:lnTo>
                  <a:lnTo>
                    <a:pt x="124" y="417"/>
                  </a:lnTo>
                  <a:lnTo>
                    <a:pt x="128" y="415"/>
                  </a:lnTo>
                  <a:lnTo>
                    <a:pt x="128" y="415"/>
                  </a:lnTo>
                  <a:lnTo>
                    <a:pt x="130" y="413"/>
                  </a:lnTo>
                  <a:lnTo>
                    <a:pt x="130" y="413"/>
                  </a:lnTo>
                  <a:lnTo>
                    <a:pt x="130" y="411"/>
                  </a:lnTo>
                  <a:lnTo>
                    <a:pt x="130" y="409"/>
                  </a:lnTo>
                  <a:lnTo>
                    <a:pt x="130" y="407"/>
                  </a:lnTo>
                  <a:lnTo>
                    <a:pt x="130" y="407"/>
                  </a:lnTo>
                  <a:lnTo>
                    <a:pt x="132" y="407"/>
                  </a:lnTo>
                  <a:lnTo>
                    <a:pt x="134" y="407"/>
                  </a:lnTo>
                  <a:lnTo>
                    <a:pt x="134" y="407"/>
                  </a:lnTo>
                  <a:lnTo>
                    <a:pt x="136" y="407"/>
                  </a:lnTo>
                  <a:lnTo>
                    <a:pt x="136" y="409"/>
                  </a:lnTo>
                  <a:lnTo>
                    <a:pt x="138" y="409"/>
                  </a:lnTo>
                  <a:lnTo>
                    <a:pt x="139" y="409"/>
                  </a:lnTo>
                  <a:lnTo>
                    <a:pt x="139" y="409"/>
                  </a:lnTo>
                  <a:lnTo>
                    <a:pt x="139" y="409"/>
                  </a:lnTo>
                  <a:lnTo>
                    <a:pt x="139" y="411"/>
                  </a:lnTo>
                  <a:lnTo>
                    <a:pt x="139" y="413"/>
                  </a:lnTo>
                  <a:lnTo>
                    <a:pt x="139" y="413"/>
                  </a:lnTo>
                  <a:lnTo>
                    <a:pt x="139" y="413"/>
                  </a:lnTo>
                  <a:lnTo>
                    <a:pt x="141" y="415"/>
                  </a:lnTo>
                  <a:lnTo>
                    <a:pt x="145" y="413"/>
                  </a:lnTo>
                  <a:lnTo>
                    <a:pt x="145" y="413"/>
                  </a:lnTo>
                  <a:lnTo>
                    <a:pt x="149" y="413"/>
                  </a:lnTo>
                  <a:lnTo>
                    <a:pt x="149" y="411"/>
                  </a:lnTo>
                  <a:lnTo>
                    <a:pt x="151" y="411"/>
                  </a:lnTo>
                  <a:lnTo>
                    <a:pt x="151" y="411"/>
                  </a:lnTo>
                  <a:lnTo>
                    <a:pt x="153" y="411"/>
                  </a:lnTo>
                  <a:lnTo>
                    <a:pt x="153" y="411"/>
                  </a:lnTo>
                  <a:lnTo>
                    <a:pt x="155" y="407"/>
                  </a:lnTo>
                  <a:lnTo>
                    <a:pt x="153" y="407"/>
                  </a:lnTo>
                  <a:lnTo>
                    <a:pt x="153" y="405"/>
                  </a:lnTo>
                  <a:lnTo>
                    <a:pt x="153" y="405"/>
                  </a:lnTo>
                  <a:lnTo>
                    <a:pt x="153" y="405"/>
                  </a:lnTo>
                  <a:lnTo>
                    <a:pt x="153" y="403"/>
                  </a:lnTo>
                  <a:lnTo>
                    <a:pt x="153" y="403"/>
                  </a:lnTo>
                  <a:lnTo>
                    <a:pt x="157" y="398"/>
                  </a:lnTo>
                  <a:lnTo>
                    <a:pt x="157" y="396"/>
                  </a:lnTo>
                  <a:lnTo>
                    <a:pt x="157" y="396"/>
                  </a:lnTo>
                  <a:lnTo>
                    <a:pt x="157" y="396"/>
                  </a:lnTo>
                  <a:lnTo>
                    <a:pt x="157" y="396"/>
                  </a:lnTo>
                  <a:lnTo>
                    <a:pt x="155" y="396"/>
                  </a:lnTo>
                  <a:lnTo>
                    <a:pt x="155" y="396"/>
                  </a:lnTo>
                  <a:lnTo>
                    <a:pt x="155" y="396"/>
                  </a:lnTo>
                  <a:lnTo>
                    <a:pt x="153" y="394"/>
                  </a:lnTo>
                  <a:lnTo>
                    <a:pt x="151" y="392"/>
                  </a:lnTo>
                  <a:lnTo>
                    <a:pt x="151" y="390"/>
                  </a:lnTo>
                  <a:lnTo>
                    <a:pt x="151" y="390"/>
                  </a:lnTo>
                  <a:lnTo>
                    <a:pt x="153" y="388"/>
                  </a:lnTo>
                  <a:lnTo>
                    <a:pt x="153" y="388"/>
                  </a:lnTo>
                  <a:lnTo>
                    <a:pt x="153" y="388"/>
                  </a:lnTo>
                  <a:lnTo>
                    <a:pt x="153" y="386"/>
                  </a:lnTo>
                  <a:lnTo>
                    <a:pt x="153" y="386"/>
                  </a:lnTo>
                  <a:lnTo>
                    <a:pt x="155" y="384"/>
                  </a:lnTo>
                  <a:lnTo>
                    <a:pt x="157" y="383"/>
                  </a:lnTo>
                  <a:lnTo>
                    <a:pt x="157" y="381"/>
                  </a:lnTo>
                  <a:lnTo>
                    <a:pt x="159" y="379"/>
                  </a:lnTo>
                  <a:lnTo>
                    <a:pt x="160" y="377"/>
                  </a:lnTo>
                  <a:lnTo>
                    <a:pt x="162" y="375"/>
                  </a:lnTo>
                  <a:lnTo>
                    <a:pt x="162" y="375"/>
                  </a:lnTo>
                  <a:lnTo>
                    <a:pt x="164" y="375"/>
                  </a:lnTo>
                  <a:lnTo>
                    <a:pt x="164" y="375"/>
                  </a:lnTo>
                  <a:lnTo>
                    <a:pt x="166" y="375"/>
                  </a:lnTo>
                  <a:lnTo>
                    <a:pt x="166" y="375"/>
                  </a:lnTo>
                  <a:lnTo>
                    <a:pt x="168" y="377"/>
                  </a:lnTo>
                  <a:lnTo>
                    <a:pt x="168" y="377"/>
                  </a:lnTo>
                  <a:lnTo>
                    <a:pt x="174" y="375"/>
                  </a:lnTo>
                  <a:lnTo>
                    <a:pt x="176" y="373"/>
                  </a:lnTo>
                  <a:lnTo>
                    <a:pt x="178" y="371"/>
                  </a:lnTo>
                  <a:lnTo>
                    <a:pt x="179" y="369"/>
                  </a:lnTo>
                  <a:lnTo>
                    <a:pt x="181" y="367"/>
                  </a:lnTo>
                  <a:lnTo>
                    <a:pt x="183" y="367"/>
                  </a:lnTo>
                  <a:lnTo>
                    <a:pt x="185" y="367"/>
                  </a:lnTo>
                  <a:lnTo>
                    <a:pt x="185" y="365"/>
                  </a:lnTo>
                  <a:lnTo>
                    <a:pt x="187" y="365"/>
                  </a:lnTo>
                  <a:lnTo>
                    <a:pt x="187" y="363"/>
                  </a:lnTo>
                  <a:lnTo>
                    <a:pt x="185" y="363"/>
                  </a:lnTo>
                  <a:lnTo>
                    <a:pt x="185" y="363"/>
                  </a:lnTo>
                  <a:lnTo>
                    <a:pt x="185" y="363"/>
                  </a:lnTo>
                  <a:lnTo>
                    <a:pt x="185" y="363"/>
                  </a:lnTo>
                  <a:lnTo>
                    <a:pt x="185" y="362"/>
                  </a:lnTo>
                  <a:lnTo>
                    <a:pt x="183" y="362"/>
                  </a:lnTo>
                  <a:lnTo>
                    <a:pt x="183" y="362"/>
                  </a:lnTo>
                  <a:lnTo>
                    <a:pt x="183" y="362"/>
                  </a:lnTo>
                  <a:lnTo>
                    <a:pt x="183" y="362"/>
                  </a:lnTo>
                  <a:lnTo>
                    <a:pt x="181" y="362"/>
                  </a:lnTo>
                  <a:lnTo>
                    <a:pt x="181" y="360"/>
                  </a:lnTo>
                  <a:lnTo>
                    <a:pt x="179" y="358"/>
                  </a:lnTo>
                  <a:lnTo>
                    <a:pt x="179" y="358"/>
                  </a:lnTo>
                  <a:lnTo>
                    <a:pt x="179" y="356"/>
                  </a:lnTo>
                  <a:lnTo>
                    <a:pt x="179" y="356"/>
                  </a:lnTo>
                  <a:lnTo>
                    <a:pt x="178" y="354"/>
                  </a:lnTo>
                  <a:lnTo>
                    <a:pt x="178" y="354"/>
                  </a:lnTo>
                  <a:lnTo>
                    <a:pt x="178" y="354"/>
                  </a:lnTo>
                  <a:lnTo>
                    <a:pt x="178" y="352"/>
                  </a:lnTo>
                  <a:lnTo>
                    <a:pt x="178" y="352"/>
                  </a:lnTo>
                  <a:lnTo>
                    <a:pt x="179" y="352"/>
                  </a:lnTo>
                  <a:lnTo>
                    <a:pt x="179" y="350"/>
                  </a:lnTo>
                  <a:lnTo>
                    <a:pt x="179" y="350"/>
                  </a:lnTo>
                  <a:lnTo>
                    <a:pt x="181" y="350"/>
                  </a:lnTo>
                  <a:lnTo>
                    <a:pt x="183" y="352"/>
                  </a:lnTo>
                  <a:lnTo>
                    <a:pt x="183" y="352"/>
                  </a:lnTo>
                  <a:lnTo>
                    <a:pt x="183" y="352"/>
                  </a:lnTo>
                  <a:lnTo>
                    <a:pt x="185" y="352"/>
                  </a:lnTo>
                  <a:lnTo>
                    <a:pt x="187" y="354"/>
                  </a:lnTo>
                  <a:lnTo>
                    <a:pt x="189" y="354"/>
                  </a:lnTo>
                  <a:lnTo>
                    <a:pt x="191" y="356"/>
                  </a:lnTo>
                  <a:lnTo>
                    <a:pt x="191" y="354"/>
                  </a:lnTo>
                  <a:lnTo>
                    <a:pt x="191" y="354"/>
                  </a:lnTo>
                  <a:lnTo>
                    <a:pt x="191" y="352"/>
                  </a:lnTo>
                  <a:lnTo>
                    <a:pt x="191" y="352"/>
                  </a:lnTo>
                  <a:lnTo>
                    <a:pt x="191" y="352"/>
                  </a:lnTo>
                  <a:lnTo>
                    <a:pt x="191" y="352"/>
                  </a:lnTo>
                  <a:lnTo>
                    <a:pt x="191" y="350"/>
                  </a:lnTo>
                  <a:lnTo>
                    <a:pt x="191" y="350"/>
                  </a:lnTo>
                  <a:lnTo>
                    <a:pt x="193" y="350"/>
                  </a:lnTo>
                  <a:lnTo>
                    <a:pt x="193" y="350"/>
                  </a:lnTo>
                  <a:lnTo>
                    <a:pt x="193" y="348"/>
                  </a:lnTo>
                  <a:lnTo>
                    <a:pt x="193" y="344"/>
                  </a:lnTo>
                  <a:lnTo>
                    <a:pt x="193" y="344"/>
                  </a:lnTo>
                  <a:lnTo>
                    <a:pt x="193" y="344"/>
                  </a:lnTo>
                  <a:lnTo>
                    <a:pt x="193" y="344"/>
                  </a:lnTo>
                  <a:lnTo>
                    <a:pt x="195" y="344"/>
                  </a:lnTo>
                  <a:lnTo>
                    <a:pt x="195" y="346"/>
                  </a:lnTo>
                  <a:lnTo>
                    <a:pt x="195" y="348"/>
                  </a:lnTo>
                  <a:lnTo>
                    <a:pt x="197" y="350"/>
                  </a:lnTo>
                  <a:lnTo>
                    <a:pt x="197" y="350"/>
                  </a:lnTo>
                  <a:lnTo>
                    <a:pt x="197" y="350"/>
                  </a:lnTo>
                  <a:lnTo>
                    <a:pt x="199" y="350"/>
                  </a:lnTo>
                  <a:lnTo>
                    <a:pt x="199" y="350"/>
                  </a:lnTo>
                  <a:lnTo>
                    <a:pt x="199" y="348"/>
                  </a:lnTo>
                  <a:lnTo>
                    <a:pt x="200" y="346"/>
                  </a:lnTo>
                  <a:lnTo>
                    <a:pt x="200" y="346"/>
                  </a:lnTo>
                  <a:lnTo>
                    <a:pt x="200" y="344"/>
                  </a:lnTo>
                  <a:lnTo>
                    <a:pt x="202" y="344"/>
                  </a:lnTo>
                  <a:lnTo>
                    <a:pt x="204" y="343"/>
                  </a:lnTo>
                  <a:lnTo>
                    <a:pt x="204" y="343"/>
                  </a:lnTo>
                  <a:lnTo>
                    <a:pt x="204" y="341"/>
                  </a:lnTo>
                  <a:lnTo>
                    <a:pt x="204" y="341"/>
                  </a:lnTo>
                  <a:lnTo>
                    <a:pt x="204" y="339"/>
                  </a:lnTo>
                  <a:lnTo>
                    <a:pt x="206" y="339"/>
                  </a:lnTo>
                  <a:lnTo>
                    <a:pt x="206" y="339"/>
                  </a:lnTo>
                  <a:lnTo>
                    <a:pt x="208" y="341"/>
                  </a:lnTo>
                  <a:lnTo>
                    <a:pt x="208" y="343"/>
                  </a:lnTo>
                  <a:lnTo>
                    <a:pt x="210" y="344"/>
                  </a:lnTo>
                  <a:lnTo>
                    <a:pt x="214" y="348"/>
                  </a:lnTo>
                  <a:lnTo>
                    <a:pt x="214" y="350"/>
                  </a:lnTo>
                  <a:lnTo>
                    <a:pt x="216" y="350"/>
                  </a:lnTo>
                  <a:lnTo>
                    <a:pt x="218" y="356"/>
                  </a:lnTo>
                  <a:lnTo>
                    <a:pt x="218" y="358"/>
                  </a:lnTo>
                  <a:lnTo>
                    <a:pt x="218" y="358"/>
                  </a:lnTo>
                  <a:lnTo>
                    <a:pt x="218" y="358"/>
                  </a:lnTo>
                  <a:lnTo>
                    <a:pt x="220" y="358"/>
                  </a:lnTo>
                  <a:lnTo>
                    <a:pt x="220" y="356"/>
                  </a:lnTo>
                  <a:lnTo>
                    <a:pt x="220" y="356"/>
                  </a:lnTo>
                  <a:lnTo>
                    <a:pt x="220" y="354"/>
                  </a:lnTo>
                  <a:lnTo>
                    <a:pt x="220" y="354"/>
                  </a:lnTo>
                  <a:lnTo>
                    <a:pt x="220" y="354"/>
                  </a:lnTo>
                  <a:lnTo>
                    <a:pt x="220" y="352"/>
                  </a:lnTo>
                  <a:lnTo>
                    <a:pt x="220" y="352"/>
                  </a:lnTo>
                  <a:lnTo>
                    <a:pt x="220" y="352"/>
                  </a:lnTo>
                  <a:lnTo>
                    <a:pt x="220" y="352"/>
                  </a:lnTo>
                  <a:lnTo>
                    <a:pt x="220" y="350"/>
                  </a:lnTo>
                  <a:lnTo>
                    <a:pt x="220" y="350"/>
                  </a:lnTo>
                  <a:lnTo>
                    <a:pt x="221" y="350"/>
                  </a:lnTo>
                  <a:lnTo>
                    <a:pt x="221" y="350"/>
                  </a:lnTo>
                  <a:lnTo>
                    <a:pt x="223" y="352"/>
                  </a:lnTo>
                  <a:lnTo>
                    <a:pt x="225" y="356"/>
                  </a:lnTo>
                  <a:lnTo>
                    <a:pt x="225" y="360"/>
                  </a:lnTo>
                  <a:lnTo>
                    <a:pt x="227" y="360"/>
                  </a:lnTo>
                  <a:lnTo>
                    <a:pt x="227" y="362"/>
                  </a:lnTo>
                  <a:lnTo>
                    <a:pt x="229" y="363"/>
                  </a:lnTo>
                  <a:lnTo>
                    <a:pt x="229" y="365"/>
                  </a:lnTo>
                  <a:lnTo>
                    <a:pt x="229" y="365"/>
                  </a:lnTo>
                  <a:lnTo>
                    <a:pt x="229" y="365"/>
                  </a:lnTo>
                  <a:lnTo>
                    <a:pt x="229" y="367"/>
                  </a:lnTo>
                  <a:lnTo>
                    <a:pt x="231" y="367"/>
                  </a:lnTo>
                  <a:lnTo>
                    <a:pt x="231" y="369"/>
                  </a:lnTo>
                  <a:lnTo>
                    <a:pt x="231" y="369"/>
                  </a:lnTo>
                  <a:lnTo>
                    <a:pt x="231" y="369"/>
                  </a:lnTo>
                  <a:lnTo>
                    <a:pt x="233" y="369"/>
                  </a:lnTo>
                  <a:lnTo>
                    <a:pt x="233" y="369"/>
                  </a:lnTo>
                  <a:lnTo>
                    <a:pt x="233" y="371"/>
                  </a:lnTo>
                  <a:lnTo>
                    <a:pt x="237" y="369"/>
                  </a:lnTo>
                  <a:lnTo>
                    <a:pt x="242" y="369"/>
                  </a:lnTo>
                  <a:lnTo>
                    <a:pt x="248" y="369"/>
                  </a:lnTo>
                  <a:lnTo>
                    <a:pt x="248" y="369"/>
                  </a:lnTo>
                  <a:lnTo>
                    <a:pt x="250" y="369"/>
                  </a:lnTo>
                  <a:lnTo>
                    <a:pt x="250" y="369"/>
                  </a:lnTo>
                  <a:lnTo>
                    <a:pt x="252" y="371"/>
                  </a:lnTo>
                  <a:lnTo>
                    <a:pt x="254" y="371"/>
                  </a:lnTo>
                  <a:lnTo>
                    <a:pt x="256" y="371"/>
                  </a:lnTo>
                  <a:lnTo>
                    <a:pt x="256" y="371"/>
                  </a:lnTo>
                  <a:lnTo>
                    <a:pt x="258" y="373"/>
                  </a:lnTo>
                  <a:lnTo>
                    <a:pt x="260" y="371"/>
                  </a:lnTo>
                  <a:lnTo>
                    <a:pt x="265" y="371"/>
                  </a:lnTo>
                  <a:lnTo>
                    <a:pt x="271" y="369"/>
                  </a:lnTo>
                  <a:lnTo>
                    <a:pt x="273" y="369"/>
                  </a:lnTo>
                  <a:lnTo>
                    <a:pt x="275" y="367"/>
                  </a:lnTo>
                  <a:lnTo>
                    <a:pt x="277" y="365"/>
                  </a:lnTo>
                  <a:lnTo>
                    <a:pt x="277" y="363"/>
                  </a:lnTo>
                  <a:lnTo>
                    <a:pt x="279" y="362"/>
                  </a:lnTo>
                  <a:lnTo>
                    <a:pt x="279" y="362"/>
                  </a:lnTo>
                  <a:lnTo>
                    <a:pt x="279" y="360"/>
                  </a:lnTo>
                  <a:lnTo>
                    <a:pt x="280" y="362"/>
                  </a:lnTo>
                  <a:lnTo>
                    <a:pt x="280" y="362"/>
                  </a:lnTo>
                  <a:lnTo>
                    <a:pt x="282" y="360"/>
                  </a:lnTo>
                  <a:lnTo>
                    <a:pt x="284" y="356"/>
                  </a:lnTo>
                  <a:lnTo>
                    <a:pt x="286" y="356"/>
                  </a:lnTo>
                  <a:lnTo>
                    <a:pt x="286" y="356"/>
                  </a:lnTo>
                  <a:lnTo>
                    <a:pt x="284" y="354"/>
                  </a:lnTo>
                  <a:lnTo>
                    <a:pt x="284" y="354"/>
                  </a:lnTo>
                  <a:lnTo>
                    <a:pt x="284" y="354"/>
                  </a:lnTo>
                  <a:lnTo>
                    <a:pt x="284" y="354"/>
                  </a:lnTo>
                  <a:lnTo>
                    <a:pt x="284" y="352"/>
                  </a:lnTo>
                  <a:lnTo>
                    <a:pt x="286" y="352"/>
                  </a:lnTo>
                  <a:lnTo>
                    <a:pt x="286" y="352"/>
                  </a:lnTo>
                  <a:lnTo>
                    <a:pt x="286" y="350"/>
                  </a:lnTo>
                  <a:lnTo>
                    <a:pt x="286" y="350"/>
                  </a:lnTo>
                  <a:lnTo>
                    <a:pt x="286" y="348"/>
                  </a:lnTo>
                  <a:lnTo>
                    <a:pt x="286" y="348"/>
                  </a:lnTo>
                  <a:lnTo>
                    <a:pt x="286" y="348"/>
                  </a:lnTo>
                  <a:lnTo>
                    <a:pt x="288" y="348"/>
                  </a:lnTo>
                  <a:lnTo>
                    <a:pt x="288" y="348"/>
                  </a:lnTo>
                  <a:lnTo>
                    <a:pt x="290" y="348"/>
                  </a:lnTo>
                  <a:lnTo>
                    <a:pt x="290" y="348"/>
                  </a:lnTo>
                  <a:lnTo>
                    <a:pt x="294" y="346"/>
                  </a:lnTo>
                  <a:lnTo>
                    <a:pt x="294" y="344"/>
                  </a:lnTo>
                  <a:lnTo>
                    <a:pt x="301" y="341"/>
                  </a:lnTo>
                  <a:lnTo>
                    <a:pt x="301" y="343"/>
                  </a:lnTo>
                  <a:lnTo>
                    <a:pt x="303" y="343"/>
                  </a:lnTo>
                  <a:lnTo>
                    <a:pt x="303" y="343"/>
                  </a:lnTo>
                  <a:lnTo>
                    <a:pt x="303" y="343"/>
                  </a:lnTo>
                  <a:lnTo>
                    <a:pt x="305" y="341"/>
                  </a:lnTo>
                  <a:lnTo>
                    <a:pt x="305" y="341"/>
                  </a:lnTo>
                  <a:lnTo>
                    <a:pt x="305" y="339"/>
                  </a:lnTo>
                  <a:lnTo>
                    <a:pt x="305" y="339"/>
                  </a:lnTo>
                  <a:lnTo>
                    <a:pt x="305" y="337"/>
                  </a:lnTo>
                  <a:lnTo>
                    <a:pt x="305" y="337"/>
                  </a:lnTo>
                  <a:lnTo>
                    <a:pt x="305" y="337"/>
                  </a:lnTo>
                  <a:lnTo>
                    <a:pt x="305" y="335"/>
                  </a:lnTo>
                  <a:lnTo>
                    <a:pt x="307" y="335"/>
                  </a:lnTo>
                  <a:lnTo>
                    <a:pt x="307" y="335"/>
                  </a:lnTo>
                  <a:lnTo>
                    <a:pt x="311" y="335"/>
                  </a:lnTo>
                  <a:lnTo>
                    <a:pt x="311" y="335"/>
                  </a:lnTo>
                  <a:lnTo>
                    <a:pt x="313" y="337"/>
                  </a:lnTo>
                  <a:lnTo>
                    <a:pt x="313" y="337"/>
                  </a:lnTo>
                  <a:lnTo>
                    <a:pt x="313" y="337"/>
                  </a:lnTo>
                  <a:lnTo>
                    <a:pt x="315" y="341"/>
                  </a:lnTo>
                  <a:lnTo>
                    <a:pt x="315" y="339"/>
                  </a:lnTo>
                  <a:lnTo>
                    <a:pt x="322" y="329"/>
                  </a:lnTo>
                  <a:lnTo>
                    <a:pt x="334" y="320"/>
                  </a:lnTo>
                  <a:lnTo>
                    <a:pt x="341" y="314"/>
                  </a:lnTo>
                  <a:lnTo>
                    <a:pt x="351" y="305"/>
                  </a:lnTo>
                  <a:lnTo>
                    <a:pt x="357" y="301"/>
                  </a:lnTo>
                  <a:lnTo>
                    <a:pt x="361" y="299"/>
                  </a:lnTo>
                  <a:lnTo>
                    <a:pt x="366" y="295"/>
                  </a:lnTo>
                  <a:lnTo>
                    <a:pt x="370" y="293"/>
                  </a:lnTo>
                  <a:lnTo>
                    <a:pt x="378" y="289"/>
                  </a:lnTo>
                  <a:lnTo>
                    <a:pt x="383" y="286"/>
                  </a:lnTo>
                  <a:lnTo>
                    <a:pt x="387" y="284"/>
                  </a:lnTo>
                  <a:lnTo>
                    <a:pt x="364" y="295"/>
                  </a:lnTo>
                  <a:lnTo>
                    <a:pt x="362" y="295"/>
                  </a:lnTo>
                  <a:lnTo>
                    <a:pt x="362" y="295"/>
                  </a:lnTo>
                  <a:lnTo>
                    <a:pt x="362" y="293"/>
                  </a:lnTo>
                  <a:lnTo>
                    <a:pt x="361" y="293"/>
                  </a:lnTo>
                  <a:lnTo>
                    <a:pt x="362" y="293"/>
                  </a:lnTo>
                  <a:lnTo>
                    <a:pt x="362" y="293"/>
                  </a:lnTo>
                  <a:lnTo>
                    <a:pt x="362" y="293"/>
                  </a:lnTo>
                  <a:lnTo>
                    <a:pt x="362" y="291"/>
                  </a:lnTo>
                  <a:lnTo>
                    <a:pt x="364" y="291"/>
                  </a:lnTo>
                  <a:lnTo>
                    <a:pt x="364" y="291"/>
                  </a:lnTo>
                  <a:lnTo>
                    <a:pt x="364" y="293"/>
                  </a:lnTo>
                  <a:lnTo>
                    <a:pt x="366" y="293"/>
                  </a:lnTo>
                  <a:lnTo>
                    <a:pt x="366" y="293"/>
                  </a:lnTo>
                  <a:lnTo>
                    <a:pt x="368" y="291"/>
                  </a:lnTo>
                  <a:lnTo>
                    <a:pt x="370" y="291"/>
                  </a:lnTo>
                  <a:lnTo>
                    <a:pt x="370" y="291"/>
                  </a:lnTo>
                  <a:lnTo>
                    <a:pt x="370" y="289"/>
                  </a:lnTo>
                  <a:lnTo>
                    <a:pt x="370" y="289"/>
                  </a:lnTo>
                  <a:lnTo>
                    <a:pt x="370" y="289"/>
                  </a:lnTo>
                  <a:lnTo>
                    <a:pt x="372" y="289"/>
                  </a:lnTo>
                  <a:lnTo>
                    <a:pt x="372" y="287"/>
                  </a:lnTo>
                  <a:lnTo>
                    <a:pt x="372" y="287"/>
                  </a:lnTo>
                  <a:lnTo>
                    <a:pt x="372" y="286"/>
                  </a:lnTo>
                  <a:lnTo>
                    <a:pt x="372" y="286"/>
                  </a:lnTo>
                  <a:lnTo>
                    <a:pt x="370" y="284"/>
                  </a:lnTo>
                  <a:lnTo>
                    <a:pt x="370" y="286"/>
                  </a:lnTo>
                  <a:lnTo>
                    <a:pt x="368" y="286"/>
                  </a:lnTo>
                  <a:lnTo>
                    <a:pt x="368" y="286"/>
                  </a:lnTo>
                  <a:lnTo>
                    <a:pt x="366" y="286"/>
                  </a:lnTo>
                  <a:lnTo>
                    <a:pt x="362" y="289"/>
                  </a:lnTo>
                  <a:lnTo>
                    <a:pt x="359" y="287"/>
                  </a:lnTo>
                  <a:lnTo>
                    <a:pt x="357" y="287"/>
                  </a:lnTo>
                  <a:lnTo>
                    <a:pt x="357" y="287"/>
                  </a:lnTo>
                  <a:lnTo>
                    <a:pt x="357" y="289"/>
                  </a:lnTo>
                  <a:lnTo>
                    <a:pt x="357" y="289"/>
                  </a:lnTo>
                  <a:lnTo>
                    <a:pt x="357" y="289"/>
                  </a:lnTo>
                  <a:lnTo>
                    <a:pt x="357" y="291"/>
                  </a:lnTo>
                  <a:lnTo>
                    <a:pt x="357" y="291"/>
                  </a:lnTo>
                  <a:lnTo>
                    <a:pt x="357" y="291"/>
                  </a:lnTo>
                  <a:lnTo>
                    <a:pt x="357" y="291"/>
                  </a:lnTo>
                  <a:lnTo>
                    <a:pt x="357" y="293"/>
                  </a:lnTo>
                  <a:lnTo>
                    <a:pt x="355" y="293"/>
                  </a:lnTo>
                  <a:lnTo>
                    <a:pt x="355" y="295"/>
                  </a:lnTo>
                  <a:lnTo>
                    <a:pt x="353" y="295"/>
                  </a:lnTo>
                  <a:lnTo>
                    <a:pt x="353" y="295"/>
                  </a:lnTo>
                  <a:lnTo>
                    <a:pt x="353" y="295"/>
                  </a:lnTo>
                  <a:lnTo>
                    <a:pt x="357" y="297"/>
                  </a:lnTo>
                  <a:lnTo>
                    <a:pt x="355" y="297"/>
                  </a:lnTo>
                  <a:lnTo>
                    <a:pt x="355" y="297"/>
                  </a:lnTo>
                  <a:lnTo>
                    <a:pt x="353" y="297"/>
                  </a:lnTo>
                  <a:lnTo>
                    <a:pt x="353" y="297"/>
                  </a:lnTo>
                  <a:lnTo>
                    <a:pt x="353" y="299"/>
                  </a:lnTo>
                  <a:lnTo>
                    <a:pt x="353" y="301"/>
                  </a:lnTo>
                  <a:lnTo>
                    <a:pt x="353" y="301"/>
                  </a:lnTo>
                  <a:lnTo>
                    <a:pt x="351" y="303"/>
                  </a:lnTo>
                  <a:lnTo>
                    <a:pt x="351" y="303"/>
                  </a:lnTo>
                  <a:lnTo>
                    <a:pt x="351" y="303"/>
                  </a:lnTo>
                  <a:lnTo>
                    <a:pt x="349" y="303"/>
                  </a:lnTo>
                  <a:lnTo>
                    <a:pt x="349" y="303"/>
                  </a:lnTo>
                  <a:lnTo>
                    <a:pt x="347" y="303"/>
                  </a:lnTo>
                  <a:lnTo>
                    <a:pt x="347" y="305"/>
                  </a:lnTo>
                  <a:lnTo>
                    <a:pt x="347" y="305"/>
                  </a:lnTo>
                  <a:lnTo>
                    <a:pt x="345" y="305"/>
                  </a:lnTo>
                  <a:lnTo>
                    <a:pt x="347" y="305"/>
                  </a:lnTo>
                  <a:lnTo>
                    <a:pt x="347" y="303"/>
                  </a:lnTo>
                  <a:lnTo>
                    <a:pt x="347" y="301"/>
                  </a:lnTo>
                  <a:lnTo>
                    <a:pt x="345" y="301"/>
                  </a:lnTo>
                  <a:lnTo>
                    <a:pt x="345" y="303"/>
                  </a:lnTo>
                  <a:lnTo>
                    <a:pt x="345" y="303"/>
                  </a:lnTo>
                  <a:lnTo>
                    <a:pt x="343" y="301"/>
                  </a:lnTo>
                  <a:lnTo>
                    <a:pt x="343" y="299"/>
                  </a:lnTo>
                  <a:lnTo>
                    <a:pt x="345" y="299"/>
                  </a:lnTo>
                  <a:lnTo>
                    <a:pt x="345" y="297"/>
                  </a:lnTo>
                  <a:lnTo>
                    <a:pt x="347" y="297"/>
                  </a:lnTo>
                  <a:lnTo>
                    <a:pt x="349" y="297"/>
                  </a:lnTo>
                  <a:lnTo>
                    <a:pt x="349" y="295"/>
                  </a:lnTo>
                  <a:lnTo>
                    <a:pt x="347" y="295"/>
                  </a:lnTo>
                  <a:lnTo>
                    <a:pt x="347" y="293"/>
                  </a:lnTo>
                  <a:lnTo>
                    <a:pt x="349" y="291"/>
                  </a:lnTo>
                  <a:lnTo>
                    <a:pt x="349" y="289"/>
                  </a:lnTo>
                  <a:lnTo>
                    <a:pt x="351" y="289"/>
                  </a:lnTo>
                  <a:lnTo>
                    <a:pt x="353" y="286"/>
                  </a:lnTo>
                  <a:lnTo>
                    <a:pt x="353" y="284"/>
                  </a:lnTo>
                  <a:lnTo>
                    <a:pt x="353" y="282"/>
                  </a:lnTo>
                  <a:lnTo>
                    <a:pt x="355" y="280"/>
                  </a:lnTo>
                  <a:lnTo>
                    <a:pt x="357" y="276"/>
                  </a:lnTo>
                  <a:lnTo>
                    <a:pt x="359" y="276"/>
                  </a:lnTo>
                  <a:lnTo>
                    <a:pt x="361" y="274"/>
                  </a:lnTo>
                  <a:lnTo>
                    <a:pt x="361" y="274"/>
                  </a:lnTo>
                  <a:lnTo>
                    <a:pt x="362" y="274"/>
                  </a:lnTo>
                  <a:lnTo>
                    <a:pt x="364" y="274"/>
                  </a:lnTo>
                  <a:lnTo>
                    <a:pt x="368" y="270"/>
                  </a:lnTo>
                  <a:lnTo>
                    <a:pt x="372" y="265"/>
                  </a:lnTo>
                  <a:lnTo>
                    <a:pt x="376" y="265"/>
                  </a:lnTo>
                  <a:lnTo>
                    <a:pt x="378" y="263"/>
                  </a:lnTo>
                  <a:lnTo>
                    <a:pt x="378" y="263"/>
                  </a:lnTo>
                  <a:lnTo>
                    <a:pt x="381" y="265"/>
                  </a:lnTo>
                  <a:lnTo>
                    <a:pt x="385" y="265"/>
                  </a:lnTo>
                  <a:lnTo>
                    <a:pt x="387" y="266"/>
                  </a:lnTo>
                  <a:lnTo>
                    <a:pt x="387" y="274"/>
                  </a:lnTo>
                  <a:lnTo>
                    <a:pt x="387" y="276"/>
                  </a:lnTo>
                  <a:lnTo>
                    <a:pt x="387" y="276"/>
                  </a:lnTo>
                  <a:lnTo>
                    <a:pt x="387" y="278"/>
                  </a:lnTo>
                  <a:lnTo>
                    <a:pt x="387" y="278"/>
                  </a:lnTo>
                  <a:lnTo>
                    <a:pt x="387" y="278"/>
                  </a:lnTo>
                  <a:lnTo>
                    <a:pt x="385" y="280"/>
                  </a:lnTo>
                  <a:lnTo>
                    <a:pt x="381" y="282"/>
                  </a:lnTo>
                  <a:lnTo>
                    <a:pt x="381" y="282"/>
                  </a:lnTo>
                  <a:lnTo>
                    <a:pt x="383" y="280"/>
                  </a:lnTo>
                  <a:lnTo>
                    <a:pt x="383" y="280"/>
                  </a:lnTo>
                  <a:lnTo>
                    <a:pt x="383" y="280"/>
                  </a:lnTo>
                  <a:lnTo>
                    <a:pt x="378" y="280"/>
                  </a:lnTo>
                  <a:lnTo>
                    <a:pt x="376" y="282"/>
                  </a:lnTo>
                  <a:lnTo>
                    <a:pt x="376" y="282"/>
                  </a:lnTo>
                  <a:lnTo>
                    <a:pt x="374" y="282"/>
                  </a:lnTo>
                  <a:lnTo>
                    <a:pt x="374" y="282"/>
                  </a:lnTo>
                  <a:lnTo>
                    <a:pt x="374" y="282"/>
                  </a:lnTo>
                  <a:lnTo>
                    <a:pt x="374" y="284"/>
                  </a:lnTo>
                  <a:lnTo>
                    <a:pt x="374" y="284"/>
                  </a:lnTo>
                  <a:lnTo>
                    <a:pt x="374" y="284"/>
                  </a:lnTo>
                  <a:lnTo>
                    <a:pt x="376" y="284"/>
                  </a:lnTo>
                  <a:lnTo>
                    <a:pt x="376" y="284"/>
                  </a:lnTo>
                  <a:lnTo>
                    <a:pt x="376" y="286"/>
                  </a:lnTo>
                  <a:lnTo>
                    <a:pt x="376" y="286"/>
                  </a:lnTo>
                  <a:lnTo>
                    <a:pt x="376" y="287"/>
                  </a:lnTo>
                  <a:lnTo>
                    <a:pt x="380" y="286"/>
                  </a:lnTo>
                  <a:lnTo>
                    <a:pt x="385" y="284"/>
                  </a:lnTo>
                  <a:lnTo>
                    <a:pt x="391" y="280"/>
                  </a:lnTo>
                  <a:lnTo>
                    <a:pt x="393" y="280"/>
                  </a:lnTo>
                  <a:lnTo>
                    <a:pt x="393" y="280"/>
                  </a:lnTo>
                  <a:lnTo>
                    <a:pt x="393" y="280"/>
                  </a:lnTo>
                  <a:lnTo>
                    <a:pt x="393" y="282"/>
                  </a:lnTo>
                  <a:lnTo>
                    <a:pt x="397" y="278"/>
                  </a:lnTo>
                  <a:lnTo>
                    <a:pt x="401" y="278"/>
                  </a:lnTo>
                  <a:lnTo>
                    <a:pt x="402" y="276"/>
                  </a:lnTo>
                  <a:lnTo>
                    <a:pt x="402" y="276"/>
                  </a:lnTo>
                  <a:lnTo>
                    <a:pt x="406" y="276"/>
                  </a:lnTo>
                  <a:lnTo>
                    <a:pt x="408" y="276"/>
                  </a:lnTo>
                  <a:lnTo>
                    <a:pt x="408" y="276"/>
                  </a:lnTo>
                  <a:lnTo>
                    <a:pt x="412" y="274"/>
                  </a:lnTo>
                  <a:lnTo>
                    <a:pt x="416" y="272"/>
                  </a:lnTo>
                  <a:lnTo>
                    <a:pt x="427" y="268"/>
                  </a:lnTo>
                  <a:lnTo>
                    <a:pt x="429" y="268"/>
                  </a:lnTo>
                  <a:lnTo>
                    <a:pt x="431" y="268"/>
                  </a:lnTo>
                  <a:lnTo>
                    <a:pt x="431" y="268"/>
                  </a:lnTo>
                  <a:lnTo>
                    <a:pt x="433" y="268"/>
                  </a:lnTo>
                  <a:lnTo>
                    <a:pt x="433" y="268"/>
                  </a:lnTo>
                  <a:lnTo>
                    <a:pt x="435" y="268"/>
                  </a:lnTo>
                  <a:lnTo>
                    <a:pt x="435" y="268"/>
                  </a:lnTo>
                  <a:lnTo>
                    <a:pt x="437" y="268"/>
                  </a:lnTo>
                  <a:lnTo>
                    <a:pt x="452" y="263"/>
                  </a:lnTo>
                  <a:lnTo>
                    <a:pt x="462" y="257"/>
                  </a:lnTo>
                  <a:lnTo>
                    <a:pt x="460" y="257"/>
                  </a:lnTo>
                  <a:lnTo>
                    <a:pt x="458" y="255"/>
                  </a:lnTo>
                  <a:lnTo>
                    <a:pt x="458" y="255"/>
                  </a:lnTo>
                  <a:lnTo>
                    <a:pt x="456" y="255"/>
                  </a:lnTo>
                  <a:lnTo>
                    <a:pt x="456" y="255"/>
                  </a:lnTo>
                  <a:lnTo>
                    <a:pt x="454" y="253"/>
                  </a:lnTo>
                  <a:lnTo>
                    <a:pt x="454" y="253"/>
                  </a:lnTo>
                  <a:lnTo>
                    <a:pt x="454" y="253"/>
                  </a:lnTo>
                  <a:lnTo>
                    <a:pt x="454" y="251"/>
                  </a:lnTo>
                  <a:lnTo>
                    <a:pt x="454" y="251"/>
                  </a:lnTo>
                  <a:lnTo>
                    <a:pt x="454" y="251"/>
                  </a:lnTo>
                  <a:lnTo>
                    <a:pt x="454" y="251"/>
                  </a:lnTo>
                  <a:lnTo>
                    <a:pt x="452" y="251"/>
                  </a:lnTo>
                  <a:lnTo>
                    <a:pt x="452" y="251"/>
                  </a:lnTo>
                  <a:lnTo>
                    <a:pt x="448" y="249"/>
                  </a:lnTo>
                  <a:lnTo>
                    <a:pt x="446" y="249"/>
                  </a:lnTo>
                  <a:lnTo>
                    <a:pt x="444" y="247"/>
                  </a:lnTo>
                  <a:lnTo>
                    <a:pt x="442" y="246"/>
                  </a:lnTo>
                  <a:lnTo>
                    <a:pt x="441" y="246"/>
                  </a:lnTo>
                  <a:lnTo>
                    <a:pt x="441" y="246"/>
                  </a:lnTo>
                  <a:lnTo>
                    <a:pt x="441" y="242"/>
                  </a:lnTo>
                  <a:lnTo>
                    <a:pt x="441" y="240"/>
                  </a:lnTo>
                  <a:lnTo>
                    <a:pt x="441" y="240"/>
                  </a:lnTo>
                  <a:lnTo>
                    <a:pt x="442" y="240"/>
                  </a:lnTo>
                  <a:lnTo>
                    <a:pt x="442" y="242"/>
                  </a:lnTo>
                  <a:lnTo>
                    <a:pt x="442" y="244"/>
                  </a:lnTo>
                  <a:lnTo>
                    <a:pt x="444" y="246"/>
                  </a:lnTo>
                  <a:lnTo>
                    <a:pt x="444" y="246"/>
                  </a:lnTo>
                  <a:lnTo>
                    <a:pt x="446" y="247"/>
                  </a:lnTo>
                  <a:lnTo>
                    <a:pt x="448" y="247"/>
                  </a:lnTo>
                  <a:lnTo>
                    <a:pt x="452" y="247"/>
                  </a:lnTo>
                  <a:lnTo>
                    <a:pt x="460" y="253"/>
                  </a:lnTo>
                  <a:lnTo>
                    <a:pt x="463" y="255"/>
                  </a:lnTo>
                  <a:lnTo>
                    <a:pt x="465" y="253"/>
                  </a:lnTo>
                  <a:lnTo>
                    <a:pt x="465" y="253"/>
                  </a:lnTo>
                  <a:lnTo>
                    <a:pt x="463" y="253"/>
                  </a:lnTo>
                  <a:lnTo>
                    <a:pt x="463" y="253"/>
                  </a:lnTo>
                  <a:lnTo>
                    <a:pt x="463" y="251"/>
                  </a:lnTo>
                  <a:lnTo>
                    <a:pt x="465" y="249"/>
                  </a:lnTo>
                  <a:lnTo>
                    <a:pt x="469" y="244"/>
                  </a:lnTo>
                  <a:lnTo>
                    <a:pt x="469" y="244"/>
                  </a:lnTo>
                  <a:lnTo>
                    <a:pt x="471" y="242"/>
                  </a:lnTo>
                  <a:lnTo>
                    <a:pt x="473" y="236"/>
                  </a:lnTo>
                  <a:lnTo>
                    <a:pt x="473" y="236"/>
                  </a:lnTo>
                  <a:lnTo>
                    <a:pt x="475" y="234"/>
                  </a:lnTo>
                  <a:lnTo>
                    <a:pt x="477" y="234"/>
                  </a:lnTo>
                  <a:lnTo>
                    <a:pt x="481" y="232"/>
                  </a:lnTo>
                  <a:lnTo>
                    <a:pt x="484" y="230"/>
                  </a:lnTo>
                  <a:lnTo>
                    <a:pt x="494" y="225"/>
                  </a:lnTo>
                  <a:lnTo>
                    <a:pt x="496" y="223"/>
                  </a:lnTo>
                  <a:lnTo>
                    <a:pt x="494" y="225"/>
                  </a:lnTo>
                  <a:lnTo>
                    <a:pt x="492" y="225"/>
                  </a:lnTo>
                  <a:lnTo>
                    <a:pt x="490" y="225"/>
                  </a:lnTo>
                  <a:lnTo>
                    <a:pt x="492" y="223"/>
                  </a:lnTo>
                  <a:lnTo>
                    <a:pt x="494" y="223"/>
                  </a:lnTo>
                  <a:lnTo>
                    <a:pt x="496" y="221"/>
                  </a:lnTo>
                  <a:lnTo>
                    <a:pt x="496" y="221"/>
                  </a:lnTo>
                  <a:lnTo>
                    <a:pt x="498" y="219"/>
                  </a:lnTo>
                  <a:lnTo>
                    <a:pt x="500" y="217"/>
                  </a:lnTo>
                  <a:lnTo>
                    <a:pt x="502" y="213"/>
                  </a:lnTo>
                  <a:lnTo>
                    <a:pt x="500" y="211"/>
                  </a:lnTo>
                  <a:lnTo>
                    <a:pt x="500" y="213"/>
                  </a:lnTo>
                  <a:lnTo>
                    <a:pt x="500" y="213"/>
                  </a:lnTo>
                  <a:lnTo>
                    <a:pt x="500" y="215"/>
                  </a:lnTo>
                  <a:lnTo>
                    <a:pt x="498" y="213"/>
                  </a:lnTo>
                  <a:lnTo>
                    <a:pt x="496" y="215"/>
                  </a:lnTo>
                  <a:lnTo>
                    <a:pt x="496" y="217"/>
                  </a:lnTo>
                  <a:lnTo>
                    <a:pt x="494" y="217"/>
                  </a:lnTo>
                  <a:lnTo>
                    <a:pt x="494" y="211"/>
                  </a:lnTo>
                  <a:lnTo>
                    <a:pt x="494" y="208"/>
                  </a:lnTo>
                  <a:lnTo>
                    <a:pt x="496" y="206"/>
                  </a:lnTo>
                  <a:lnTo>
                    <a:pt x="498" y="204"/>
                  </a:lnTo>
                  <a:lnTo>
                    <a:pt x="511" y="192"/>
                  </a:lnTo>
                  <a:lnTo>
                    <a:pt x="517" y="190"/>
                  </a:lnTo>
                  <a:lnTo>
                    <a:pt x="519" y="189"/>
                  </a:lnTo>
                  <a:lnTo>
                    <a:pt x="522" y="187"/>
                  </a:lnTo>
                  <a:lnTo>
                    <a:pt x="522" y="185"/>
                  </a:lnTo>
                  <a:lnTo>
                    <a:pt x="522" y="187"/>
                  </a:lnTo>
                  <a:lnTo>
                    <a:pt x="521" y="187"/>
                  </a:lnTo>
                  <a:lnTo>
                    <a:pt x="519" y="189"/>
                  </a:lnTo>
                  <a:lnTo>
                    <a:pt x="519" y="187"/>
                  </a:lnTo>
                  <a:lnTo>
                    <a:pt x="519" y="187"/>
                  </a:lnTo>
                  <a:lnTo>
                    <a:pt x="517" y="187"/>
                  </a:lnTo>
                  <a:lnTo>
                    <a:pt x="517" y="187"/>
                  </a:lnTo>
                  <a:lnTo>
                    <a:pt x="517" y="185"/>
                  </a:lnTo>
                  <a:lnTo>
                    <a:pt x="515" y="185"/>
                  </a:lnTo>
                  <a:lnTo>
                    <a:pt x="515" y="185"/>
                  </a:lnTo>
                  <a:lnTo>
                    <a:pt x="513" y="185"/>
                  </a:lnTo>
                  <a:lnTo>
                    <a:pt x="515" y="185"/>
                  </a:lnTo>
                  <a:lnTo>
                    <a:pt x="515" y="183"/>
                  </a:lnTo>
                  <a:lnTo>
                    <a:pt x="517" y="183"/>
                  </a:lnTo>
                  <a:lnTo>
                    <a:pt x="519" y="185"/>
                  </a:lnTo>
                  <a:lnTo>
                    <a:pt x="519" y="183"/>
                  </a:lnTo>
                  <a:lnTo>
                    <a:pt x="519" y="183"/>
                  </a:lnTo>
                  <a:lnTo>
                    <a:pt x="519" y="183"/>
                  </a:lnTo>
                  <a:lnTo>
                    <a:pt x="519" y="181"/>
                  </a:lnTo>
                  <a:lnTo>
                    <a:pt x="519" y="179"/>
                  </a:lnTo>
                  <a:lnTo>
                    <a:pt x="517" y="179"/>
                  </a:lnTo>
                  <a:lnTo>
                    <a:pt x="515" y="179"/>
                  </a:lnTo>
                  <a:lnTo>
                    <a:pt x="511" y="179"/>
                  </a:lnTo>
                  <a:lnTo>
                    <a:pt x="509" y="179"/>
                  </a:lnTo>
                  <a:lnTo>
                    <a:pt x="507" y="177"/>
                  </a:lnTo>
                  <a:lnTo>
                    <a:pt x="511" y="175"/>
                  </a:lnTo>
                  <a:lnTo>
                    <a:pt x="513" y="175"/>
                  </a:lnTo>
                  <a:lnTo>
                    <a:pt x="515" y="177"/>
                  </a:lnTo>
                  <a:lnTo>
                    <a:pt x="517" y="175"/>
                  </a:lnTo>
                  <a:lnTo>
                    <a:pt x="515" y="170"/>
                  </a:lnTo>
                  <a:lnTo>
                    <a:pt x="505" y="147"/>
                  </a:lnTo>
                  <a:lnTo>
                    <a:pt x="503" y="137"/>
                  </a:lnTo>
                  <a:lnTo>
                    <a:pt x="507" y="130"/>
                  </a:lnTo>
                  <a:lnTo>
                    <a:pt x="511" y="122"/>
                  </a:lnTo>
                  <a:lnTo>
                    <a:pt x="524" y="109"/>
                  </a:lnTo>
                  <a:lnTo>
                    <a:pt x="530" y="105"/>
                  </a:lnTo>
                  <a:lnTo>
                    <a:pt x="538" y="101"/>
                  </a:lnTo>
                  <a:lnTo>
                    <a:pt x="538" y="101"/>
                  </a:lnTo>
                  <a:lnTo>
                    <a:pt x="542" y="101"/>
                  </a:lnTo>
                  <a:lnTo>
                    <a:pt x="542" y="101"/>
                  </a:lnTo>
                  <a:lnTo>
                    <a:pt x="543" y="99"/>
                  </a:lnTo>
                  <a:lnTo>
                    <a:pt x="545" y="101"/>
                  </a:lnTo>
                  <a:lnTo>
                    <a:pt x="551" y="99"/>
                  </a:lnTo>
                  <a:lnTo>
                    <a:pt x="557" y="97"/>
                  </a:lnTo>
                  <a:lnTo>
                    <a:pt x="563" y="95"/>
                  </a:lnTo>
                  <a:lnTo>
                    <a:pt x="563" y="95"/>
                  </a:lnTo>
                  <a:lnTo>
                    <a:pt x="563" y="9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5" name="Freeform 27">
              <a:extLst>
                <a:ext uri="{FF2B5EF4-FFF2-40B4-BE49-F238E27FC236}">
                  <a16:creationId xmlns:a16="http://schemas.microsoft.com/office/drawing/2014/main" id="{D2E332E9-B4CF-35A7-C678-CA6671FFF347}"/>
                </a:ext>
              </a:extLst>
            </p:cNvPr>
            <p:cNvSpPr>
              <a:spLocks/>
            </p:cNvSpPr>
            <p:nvPr/>
          </p:nvSpPr>
          <p:spPr bwMode="auto">
            <a:xfrm>
              <a:off x="5716588" y="3852076"/>
              <a:ext cx="893763" cy="742950"/>
            </a:xfrm>
            <a:custGeom>
              <a:avLst/>
              <a:gdLst>
                <a:gd name="T0" fmla="*/ 528 w 563"/>
                <a:gd name="T1" fmla="*/ 59 h 468"/>
                <a:gd name="T2" fmla="*/ 509 w 563"/>
                <a:gd name="T3" fmla="*/ 44 h 468"/>
                <a:gd name="T4" fmla="*/ 460 w 563"/>
                <a:gd name="T5" fmla="*/ 21 h 468"/>
                <a:gd name="T6" fmla="*/ 421 w 563"/>
                <a:gd name="T7" fmla="*/ 6 h 468"/>
                <a:gd name="T8" fmla="*/ 423 w 563"/>
                <a:gd name="T9" fmla="*/ 48 h 468"/>
                <a:gd name="T10" fmla="*/ 401 w 563"/>
                <a:gd name="T11" fmla="*/ 48 h 468"/>
                <a:gd name="T12" fmla="*/ 343 w 563"/>
                <a:gd name="T13" fmla="*/ 44 h 468"/>
                <a:gd name="T14" fmla="*/ 334 w 563"/>
                <a:gd name="T15" fmla="*/ 12 h 468"/>
                <a:gd name="T16" fmla="*/ 288 w 563"/>
                <a:gd name="T17" fmla="*/ 19 h 468"/>
                <a:gd name="T18" fmla="*/ 240 w 563"/>
                <a:gd name="T19" fmla="*/ 8 h 468"/>
                <a:gd name="T20" fmla="*/ 200 w 563"/>
                <a:gd name="T21" fmla="*/ 46 h 468"/>
                <a:gd name="T22" fmla="*/ 202 w 563"/>
                <a:gd name="T23" fmla="*/ 67 h 468"/>
                <a:gd name="T24" fmla="*/ 181 w 563"/>
                <a:gd name="T25" fmla="*/ 97 h 468"/>
                <a:gd name="T26" fmla="*/ 176 w 563"/>
                <a:gd name="T27" fmla="*/ 120 h 468"/>
                <a:gd name="T28" fmla="*/ 153 w 563"/>
                <a:gd name="T29" fmla="*/ 141 h 468"/>
                <a:gd name="T30" fmla="*/ 117 w 563"/>
                <a:gd name="T31" fmla="*/ 141 h 468"/>
                <a:gd name="T32" fmla="*/ 96 w 563"/>
                <a:gd name="T33" fmla="*/ 171 h 468"/>
                <a:gd name="T34" fmla="*/ 90 w 563"/>
                <a:gd name="T35" fmla="*/ 192 h 468"/>
                <a:gd name="T36" fmla="*/ 96 w 563"/>
                <a:gd name="T37" fmla="*/ 211 h 468"/>
                <a:gd name="T38" fmla="*/ 111 w 563"/>
                <a:gd name="T39" fmla="*/ 251 h 468"/>
                <a:gd name="T40" fmla="*/ 120 w 563"/>
                <a:gd name="T41" fmla="*/ 265 h 468"/>
                <a:gd name="T42" fmla="*/ 111 w 563"/>
                <a:gd name="T43" fmla="*/ 270 h 468"/>
                <a:gd name="T44" fmla="*/ 77 w 563"/>
                <a:gd name="T45" fmla="*/ 255 h 468"/>
                <a:gd name="T46" fmla="*/ 61 w 563"/>
                <a:gd name="T47" fmla="*/ 251 h 468"/>
                <a:gd name="T48" fmla="*/ 40 w 563"/>
                <a:gd name="T49" fmla="*/ 263 h 468"/>
                <a:gd name="T50" fmla="*/ 61 w 563"/>
                <a:gd name="T51" fmla="*/ 301 h 468"/>
                <a:gd name="T52" fmla="*/ 73 w 563"/>
                <a:gd name="T53" fmla="*/ 320 h 468"/>
                <a:gd name="T54" fmla="*/ 78 w 563"/>
                <a:gd name="T55" fmla="*/ 352 h 468"/>
                <a:gd name="T56" fmla="*/ 67 w 563"/>
                <a:gd name="T57" fmla="*/ 373 h 468"/>
                <a:gd name="T58" fmla="*/ 50 w 563"/>
                <a:gd name="T59" fmla="*/ 388 h 468"/>
                <a:gd name="T60" fmla="*/ 25 w 563"/>
                <a:gd name="T61" fmla="*/ 419 h 468"/>
                <a:gd name="T62" fmla="*/ 12 w 563"/>
                <a:gd name="T63" fmla="*/ 441 h 468"/>
                <a:gd name="T64" fmla="*/ 4 w 563"/>
                <a:gd name="T65" fmla="*/ 460 h 468"/>
                <a:gd name="T66" fmla="*/ 19 w 563"/>
                <a:gd name="T67" fmla="*/ 468 h 468"/>
                <a:gd name="T68" fmla="*/ 77 w 563"/>
                <a:gd name="T69" fmla="*/ 449 h 468"/>
                <a:gd name="T70" fmla="*/ 90 w 563"/>
                <a:gd name="T71" fmla="*/ 434 h 468"/>
                <a:gd name="T72" fmla="*/ 99 w 563"/>
                <a:gd name="T73" fmla="*/ 398 h 468"/>
                <a:gd name="T74" fmla="*/ 113 w 563"/>
                <a:gd name="T75" fmla="*/ 417 h 468"/>
                <a:gd name="T76" fmla="*/ 130 w 563"/>
                <a:gd name="T77" fmla="*/ 413 h 468"/>
                <a:gd name="T78" fmla="*/ 149 w 563"/>
                <a:gd name="T79" fmla="*/ 411 h 468"/>
                <a:gd name="T80" fmla="*/ 151 w 563"/>
                <a:gd name="T81" fmla="*/ 390 h 468"/>
                <a:gd name="T82" fmla="*/ 181 w 563"/>
                <a:gd name="T83" fmla="*/ 367 h 468"/>
                <a:gd name="T84" fmla="*/ 178 w 563"/>
                <a:gd name="T85" fmla="*/ 354 h 468"/>
                <a:gd name="T86" fmla="*/ 193 w 563"/>
                <a:gd name="T87" fmla="*/ 350 h 468"/>
                <a:gd name="T88" fmla="*/ 204 w 563"/>
                <a:gd name="T89" fmla="*/ 339 h 468"/>
                <a:gd name="T90" fmla="*/ 220 w 563"/>
                <a:gd name="T91" fmla="*/ 350 h 468"/>
                <a:gd name="T92" fmla="*/ 248 w 563"/>
                <a:gd name="T93" fmla="*/ 369 h 468"/>
                <a:gd name="T94" fmla="*/ 286 w 563"/>
                <a:gd name="T95" fmla="*/ 356 h 468"/>
                <a:gd name="T96" fmla="*/ 303 w 563"/>
                <a:gd name="T97" fmla="*/ 343 h 468"/>
                <a:gd name="T98" fmla="*/ 357 w 563"/>
                <a:gd name="T99" fmla="*/ 301 h 468"/>
                <a:gd name="T100" fmla="*/ 370 w 563"/>
                <a:gd name="T101" fmla="*/ 291 h 468"/>
                <a:gd name="T102" fmla="*/ 357 w 563"/>
                <a:gd name="T103" fmla="*/ 291 h 468"/>
                <a:gd name="T104" fmla="*/ 347 w 563"/>
                <a:gd name="T105" fmla="*/ 305 h 468"/>
                <a:gd name="T106" fmla="*/ 355 w 563"/>
                <a:gd name="T107" fmla="*/ 280 h 468"/>
                <a:gd name="T108" fmla="*/ 381 w 563"/>
                <a:gd name="T109" fmla="*/ 282 h 468"/>
                <a:gd name="T110" fmla="*/ 393 w 563"/>
                <a:gd name="T111" fmla="*/ 280 h 468"/>
                <a:gd name="T112" fmla="*/ 458 w 563"/>
                <a:gd name="T113" fmla="*/ 255 h 468"/>
                <a:gd name="T114" fmla="*/ 442 w 563"/>
                <a:gd name="T115" fmla="*/ 242 h 468"/>
                <a:gd name="T116" fmla="*/ 484 w 563"/>
                <a:gd name="T117" fmla="*/ 230 h 468"/>
                <a:gd name="T118" fmla="*/ 496 w 563"/>
                <a:gd name="T119" fmla="*/ 206 h 468"/>
                <a:gd name="T120" fmla="*/ 519 w 563"/>
                <a:gd name="T121" fmla="*/ 183 h 468"/>
                <a:gd name="T122" fmla="*/ 542 w 563"/>
                <a:gd name="T123" fmla="*/ 10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3" h="468">
                  <a:moveTo>
                    <a:pt x="563" y="93"/>
                  </a:moveTo>
                  <a:lnTo>
                    <a:pt x="559" y="88"/>
                  </a:lnTo>
                  <a:lnTo>
                    <a:pt x="559" y="88"/>
                  </a:lnTo>
                  <a:lnTo>
                    <a:pt x="559" y="86"/>
                  </a:lnTo>
                  <a:lnTo>
                    <a:pt x="559" y="84"/>
                  </a:lnTo>
                  <a:lnTo>
                    <a:pt x="559" y="82"/>
                  </a:lnTo>
                  <a:lnTo>
                    <a:pt x="559" y="80"/>
                  </a:lnTo>
                  <a:lnTo>
                    <a:pt x="559" y="78"/>
                  </a:lnTo>
                  <a:lnTo>
                    <a:pt x="557" y="78"/>
                  </a:lnTo>
                  <a:lnTo>
                    <a:pt x="545" y="74"/>
                  </a:lnTo>
                  <a:lnTo>
                    <a:pt x="542" y="74"/>
                  </a:lnTo>
                  <a:lnTo>
                    <a:pt x="542" y="73"/>
                  </a:lnTo>
                  <a:lnTo>
                    <a:pt x="540" y="71"/>
                  </a:lnTo>
                  <a:lnTo>
                    <a:pt x="540" y="69"/>
                  </a:lnTo>
                  <a:lnTo>
                    <a:pt x="540" y="67"/>
                  </a:lnTo>
                  <a:lnTo>
                    <a:pt x="540" y="63"/>
                  </a:lnTo>
                  <a:lnTo>
                    <a:pt x="538" y="61"/>
                  </a:lnTo>
                  <a:lnTo>
                    <a:pt x="536" y="61"/>
                  </a:lnTo>
                  <a:lnTo>
                    <a:pt x="534" y="59"/>
                  </a:lnTo>
                  <a:lnTo>
                    <a:pt x="532" y="59"/>
                  </a:lnTo>
                  <a:lnTo>
                    <a:pt x="530" y="59"/>
                  </a:lnTo>
                  <a:lnTo>
                    <a:pt x="530" y="59"/>
                  </a:lnTo>
                  <a:lnTo>
                    <a:pt x="528" y="59"/>
                  </a:lnTo>
                  <a:lnTo>
                    <a:pt x="528" y="61"/>
                  </a:lnTo>
                  <a:lnTo>
                    <a:pt x="528" y="61"/>
                  </a:lnTo>
                  <a:lnTo>
                    <a:pt x="526" y="63"/>
                  </a:lnTo>
                  <a:lnTo>
                    <a:pt x="526" y="63"/>
                  </a:lnTo>
                  <a:lnTo>
                    <a:pt x="526" y="63"/>
                  </a:lnTo>
                  <a:lnTo>
                    <a:pt x="524" y="65"/>
                  </a:lnTo>
                  <a:lnTo>
                    <a:pt x="524" y="65"/>
                  </a:lnTo>
                  <a:lnTo>
                    <a:pt x="524" y="65"/>
                  </a:lnTo>
                  <a:lnTo>
                    <a:pt x="522" y="65"/>
                  </a:lnTo>
                  <a:lnTo>
                    <a:pt x="519" y="63"/>
                  </a:lnTo>
                  <a:lnTo>
                    <a:pt x="519" y="61"/>
                  </a:lnTo>
                  <a:lnTo>
                    <a:pt x="519" y="59"/>
                  </a:lnTo>
                  <a:lnTo>
                    <a:pt x="519" y="55"/>
                  </a:lnTo>
                  <a:lnTo>
                    <a:pt x="519" y="55"/>
                  </a:lnTo>
                  <a:lnTo>
                    <a:pt x="519" y="55"/>
                  </a:lnTo>
                  <a:lnTo>
                    <a:pt x="519" y="53"/>
                  </a:lnTo>
                  <a:lnTo>
                    <a:pt x="519" y="52"/>
                  </a:lnTo>
                  <a:lnTo>
                    <a:pt x="519" y="52"/>
                  </a:lnTo>
                  <a:lnTo>
                    <a:pt x="519" y="50"/>
                  </a:lnTo>
                  <a:lnTo>
                    <a:pt x="519" y="50"/>
                  </a:lnTo>
                  <a:lnTo>
                    <a:pt x="517" y="48"/>
                  </a:lnTo>
                  <a:lnTo>
                    <a:pt x="513" y="46"/>
                  </a:lnTo>
                  <a:lnTo>
                    <a:pt x="509" y="44"/>
                  </a:lnTo>
                  <a:lnTo>
                    <a:pt x="507" y="44"/>
                  </a:lnTo>
                  <a:lnTo>
                    <a:pt x="507" y="44"/>
                  </a:lnTo>
                  <a:lnTo>
                    <a:pt x="505" y="44"/>
                  </a:lnTo>
                  <a:lnTo>
                    <a:pt x="503" y="44"/>
                  </a:lnTo>
                  <a:lnTo>
                    <a:pt x="500" y="40"/>
                  </a:lnTo>
                  <a:lnTo>
                    <a:pt x="498" y="40"/>
                  </a:lnTo>
                  <a:lnTo>
                    <a:pt x="496" y="38"/>
                  </a:lnTo>
                  <a:lnTo>
                    <a:pt x="494" y="38"/>
                  </a:lnTo>
                  <a:lnTo>
                    <a:pt x="492" y="38"/>
                  </a:lnTo>
                  <a:lnTo>
                    <a:pt x="492" y="38"/>
                  </a:lnTo>
                  <a:lnTo>
                    <a:pt x="490" y="34"/>
                  </a:lnTo>
                  <a:lnTo>
                    <a:pt x="486" y="33"/>
                  </a:lnTo>
                  <a:lnTo>
                    <a:pt x="482" y="29"/>
                  </a:lnTo>
                  <a:lnTo>
                    <a:pt x="473" y="23"/>
                  </a:lnTo>
                  <a:lnTo>
                    <a:pt x="473" y="23"/>
                  </a:lnTo>
                  <a:lnTo>
                    <a:pt x="471" y="23"/>
                  </a:lnTo>
                  <a:lnTo>
                    <a:pt x="471" y="23"/>
                  </a:lnTo>
                  <a:lnTo>
                    <a:pt x="467" y="23"/>
                  </a:lnTo>
                  <a:lnTo>
                    <a:pt x="465" y="25"/>
                  </a:lnTo>
                  <a:lnTo>
                    <a:pt x="463" y="25"/>
                  </a:lnTo>
                  <a:lnTo>
                    <a:pt x="462" y="23"/>
                  </a:lnTo>
                  <a:lnTo>
                    <a:pt x="462" y="23"/>
                  </a:lnTo>
                  <a:lnTo>
                    <a:pt x="460" y="21"/>
                  </a:lnTo>
                  <a:lnTo>
                    <a:pt x="458" y="21"/>
                  </a:lnTo>
                  <a:lnTo>
                    <a:pt x="456" y="19"/>
                  </a:lnTo>
                  <a:lnTo>
                    <a:pt x="456" y="17"/>
                  </a:lnTo>
                  <a:lnTo>
                    <a:pt x="454" y="15"/>
                  </a:lnTo>
                  <a:lnTo>
                    <a:pt x="452" y="14"/>
                  </a:lnTo>
                  <a:lnTo>
                    <a:pt x="437" y="6"/>
                  </a:lnTo>
                  <a:lnTo>
                    <a:pt x="433" y="2"/>
                  </a:lnTo>
                  <a:lnTo>
                    <a:pt x="433" y="0"/>
                  </a:lnTo>
                  <a:lnTo>
                    <a:pt x="431" y="0"/>
                  </a:lnTo>
                  <a:lnTo>
                    <a:pt x="431" y="0"/>
                  </a:lnTo>
                  <a:lnTo>
                    <a:pt x="429" y="0"/>
                  </a:lnTo>
                  <a:lnTo>
                    <a:pt x="429" y="2"/>
                  </a:lnTo>
                  <a:lnTo>
                    <a:pt x="427" y="4"/>
                  </a:lnTo>
                  <a:lnTo>
                    <a:pt x="427" y="4"/>
                  </a:lnTo>
                  <a:lnTo>
                    <a:pt x="425" y="4"/>
                  </a:lnTo>
                  <a:lnTo>
                    <a:pt x="425" y="4"/>
                  </a:lnTo>
                  <a:lnTo>
                    <a:pt x="423" y="4"/>
                  </a:lnTo>
                  <a:lnTo>
                    <a:pt x="423" y="6"/>
                  </a:lnTo>
                  <a:lnTo>
                    <a:pt x="421" y="6"/>
                  </a:lnTo>
                  <a:lnTo>
                    <a:pt x="421" y="6"/>
                  </a:lnTo>
                  <a:lnTo>
                    <a:pt x="421" y="6"/>
                  </a:lnTo>
                  <a:lnTo>
                    <a:pt x="421" y="6"/>
                  </a:lnTo>
                  <a:lnTo>
                    <a:pt x="421" y="6"/>
                  </a:lnTo>
                  <a:lnTo>
                    <a:pt x="421" y="8"/>
                  </a:lnTo>
                  <a:lnTo>
                    <a:pt x="421" y="10"/>
                  </a:lnTo>
                  <a:lnTo>
                    <a:pt x="421" y="12"/>
                  </a:lnTo>
                  <a:lnTo>
                    <a:pt x="425" y="14"/>
                  </a:lnTo>
                  <a:lnTo>
                    <a:pt x="425" y="15"/>
                  </a:lnTo>
                  <a:lnTo>
                    <a:pt x="425" y="17"/>
                  </a:lnTo>
                  <a:lnTo>
                    <a:pt x="425" y="23"/>
                  </a:lnTo>
                  <a:lnTo>
                    <a:pt x="425" y="25"/>
                  </a:lnTo>
                  <a:lnTo>
                    <a:pt x="425" y="27"/>
                  </a:lnTo>
                  <a:lnTo>
                    <a:pt x="423" y="29"/>
                  </a:lnTo>
                  <a:lnTo>
                    <a:pt x="423" y="31"/>
                  </a:lnTo>
                  <a:lnTo>
                    <a:pt x="423" y="33"/>
                  </a:lnTo>
                  <a:lnTo>
                    <a:pt x="423" y="33"/>
                  </a:lnTo>
                  <a:lnTo>
                    <a:pt x="425" y="36"/>
                  </a:lnTo>
                  <a:lnTo>
                    <a:pt x="425" y="38"/>
                  </a:lnTo>
                  <a:lnTo>
                    <a:pt x="425" y="38"/>
                  </a:lnTo>
                  <a:lnTo>
                    <a:pt x="425" y="42"/>
                  </a:lnTo>
                  <a:lnTo>
                    <a:pt x="423" y="42"/>
                  </a:lnTo>
                  <a:lnTo>
                    <a:pt x="423" y="44"/>
                  </a:lnTo>
                  <a:lnTo>
                    <a:pt x="425" y="46"/>
                  </a:lnTo>
                  <a:lnTo>
                    <a:pt x="425" y="46"/>
                  </a:lnTo>
                  <a:lnTo>
                    <a:pt x="423" y="46"/>
                  </a:lnTo>
                  <a:lnTo>
                    <a:pt x="423" y="48"/>
                  </a:lnTo>
                  <a:lnTo>
                    <a:pt x="420" y="53"/>
                  </a:lnTo>
                  <a:lnTo>
                    <a:pt x="418" y="55"/>
                  </a:lnTo>
                  <a:lnTo>
                    <a:pt x="416" y="57"/>
                  </a:lnTo>
                  <a:lnTo>
                    <a:pt x="412" y="57"/>
                  </a:lnTo>
                  <a:lnTo>
                    <a:pt x="406" y="55"/>
                  </a:lnTo>
                  <a:lnTo>
                    <a:pt x="406" y="53"/>
                  </a:lnTo>
                  <a:lnTo>
                    <a:pt x="406" y="52"/>
                  </a:lnTo>
                  <a:lnTo>
                    <a:pt x="406" y="52"/>
                  </a:lnTo>
                  <a:lnTo>
                    <a:pt x="406" y="50"/>
                  </a:lnTo>
                  <a:lnTo>
                    <a:pt x="406" y="50"/>
                  </a:lnTo>
                  <a:lnTo>
                    <a:pt x="406" y="48"/>
                  </a:lnTo>
                  <a:lnTo>
                    <a:pt x="408" y="46"/>
                  </a:lnTo>
                  <a:lnTo>
                    <a:pt x="408" y="46"/>
                  </a:lnTo>
                  <a:lnTo>
                    <a:pt x="408" y="44"/>
                  </a:lnTo>
                  <a:lnTo>
                    <a:pt x="408" y="44"/>
                  </a:lnTo>
                  <a:lnTo>
                    <a:pt x="408" y="44"/>
                  </a:lnTo>
                  <a:lnTo>
                    <a:pt x="406" y="44"/>
                  </a:lnTo>
                  <a:lnTo>
                    <a:pt x="404" y="44"/>
                  </a:lnTo>
                  <a:lnTo>
                    <a:pt x="404" y="46"/>
                  </a:lnTo>
                  <a:lnTo>
                    <a:pt x="402" y="46"/>
                  </a:lnTo>
                  <a:lnTo>
                    <a:pt x="402" y="46"/>
                  </a:lnTo>
                  <a:lnTo>
                    <a:pt x="401" y="48"/>
                  </a:lnTo>
                  <a:lnTo>
                    <a:pt x="401" y="48"/>
                  </a:lnTo>
                  <a:lnTo>
                    <a:pt x="399" y="48"/>
                  </a:lnTo>
                  <a:lnTo>
                    <a:pt x="397" y="48"/>
                  </a:lnTo>
                  <a:lnTo>
                    <a:pt x="395" y="48"/>
                  </a:lnTo>
                  <a:lnTo>
                    <a:pt x="391" y="48"/>
                  </a:lnTo>
                  <a:lnTo>
                    <a:pt x="385" y="46"/>
                  </a:lnTo>
                  <a:lnTo>
                    <a:pt x="378" y="40"/>
                  </a:lnTo>
                  <a:lnTo>
                    <a:pt x="376" y="40"/>
                  </a:lnTo>
                  <a:lnTo>
                    <a:pt x="374" y="40"/>
                  </a:lnTo>
                  <a:lnTo>
                    <a:pt x="374" y="40"/>
                  </a:lnTo>
                  <a:lnTo>
                    <a:pt x="372" y="40"/>
                  </a:lnTo>
                  <a:lnTo>
                    <a:pt x="372" y="40"/>
                  </a:lnTo>
                  <a:lnTo>
                    <a:pt x="370" y="42"/>
                  </a:lnTo>
                  <a:lnTo>
                    <a:pt x="366" y="42"/>
                  </a:lnTo>
                  <a:lnTo>
                    <a:pt x="364" y="44"/>
                  </a:lnTo>
                  <a:lnTo>
                    <a:pt x="361" y="48"/>
                  </a:lnTo>
                  <a:lnTo>
                    <a:pt x="357" y="53"/>
                  </a:lnTo>
                  <a:lnTo>
                    <a:pt x="355" y="53"/>
                  </a:lnTo>
                  <a:lnTo>
                    <a:pt x="355" y="53"/>
                  </a:lnTo>
                  <a:lnTo>
                    <a:pt x="355" y="53"/>
                  </a:lnTo>
                  <a:lnTo>
                    <a:pt x="353" y="52"/>
                  </a:lnTo>
                  <a:lnTo>
                    <a:pt x="351" y="50"/>
                  </a:lnTo>
                  <a:lnTo>
                    <a:pt x="345" y="46"/>
                  </a:lnTo>
                  <a:lnTo>
                    <a:pt x="343" y="44"/>
                  </a:lnTo>
                  <a:lnTo>
                    <a:pt x="341" y="44"/>
                  </a:lnTo>
                  <a:lnTo>
                    <a:pt x="340" y="44"/>
                  </a:lnTo>
                  <a:lnTo>
                    <a:pt x="340" y="44"/>
                  </a:lnTo>
                  <a:lnTo>
                    <a:pt x="338" y="44"/>
                  </a:lnTo>
                  <a:lnTo>
                    <a:pt x="334" y="46"/>
                  </a:lnTo>
                  <a:lnTo>
                    <a:pt x="334" y="46"/>
                  </a:lnTo>
                  <a:lnTo>
                    <a:pt x="334" y="46"/>
                  </a:lnTo>
                  <a:lnTo>
                    <a:pt x="334" y="44"/>
                  </a:lnTo>
                  <a:lnTo>
                    <a:pt x="334" y="44"/>
                  </a:lnTo>
                  <a:lnTo>
                    <a:pt x="334" y="42"/>
                  </a:lnTo>
                  <a:lnTo>
                    <a:pt x="336" y="40"/>
                  </a:lnTo>
                  <a:lnTo>
                    <a:pt x="338" y="34"/>
                  </a:lnTo>
                  <a:lnTo>
                    <a:pt x="343" y="29"/>
                  </a:lnTo>
                  <a:lnTo>
                    <a:pt x="343" y="27"/>
                  </a:lnTo>
                  <a:lnTo>
                    <a:pt x="343" y="25"/>
                  </a:lnTo>
                  <a:lnTo>
                    <a:pt x="343" y="23"/>
                  </a:lnTo>
                  <a:lnTo>
                    <a:pt x="343" y="21"/>
                  </a:lnTo>
                  <a:lnTo>
                    <a:pt x="343" y="17"/>
                  </a:lnTo>
                  <a:lnTo>
                    <a:pt x="343" y="12"/>
                  </a:lnTo>
                  <a:lnTo>
                    <a:pt x="340" y="6"/>
                  </a:lnTo>
                  <a:lnTo>
                    <a:pt x="338" y="8"/>
                  </a:lnTo>
                  <a:lnTo>
                    <a:pt x="334" y="12"/>
                  </a:lnTo>
                  <a:lnTo>
                    <a:pt x="334" y="12"/>
                  </a:lnTo>
                  <a:lnTo>
                    <a:pt x="330" y="12"/>
                  </a:lnTo>
                  <a:lnTo>
                    <a:pt x="330" y="12"/>
                  </a:lnTo>
                  <a:lnTo>
                    <a:pt x="328" y="12"/>
                  </a:lnTo>
                  <a:lnTo>
                    <a:pt x="328" y="14"/>
                  </a:lnTo>
                  <a:lnTo>
                    <a:pt x="326" y="14"/>
                  </a:lnTo>
                  <a:lnTo>
                    <a:pt x="326" y="14"/>
                  </a:lnTo>
                  <a:lnTo>
                    <a:pt x="322" y="14"/>
                  </a:lnTo>
                  <a:lnTo>
                    <a:pt x="317" y="12"/>
                  </a:lnTo>
                  <a:lnTo>
                    <a:pt x="317" y="12"/>
                  </a:lnTo>
                  <a:lnTo>
                    <a:pt x="315" y="12"/>
                  </a:lnTo>
                  <a:lnTo>
                    <a:pt x="313" y="12"/>
                  </a:lnTo>
                  <a:lnTo>
                    <a:pt x="313" y="12"/>
                  </a:lnTo>
                  <a:lnTo>
                    <a:pt x="313" y="14"/>
                  </a:lnTo>
                  <a:lnTo>
                    <a:pt x="311" y="14"/>
                  </a:lnTo>
                  <a:lnTo>
                    <a:pt x="309" y="14"/>
                  </a:lnTo>
                  <a:lnTo>
                    <a:pt x="292" y="14"/>
                  </a:lnTo>
                  <a:lnTo>
                    <a:pt x="290" y="14"/>
                  </a:lnTo>
                  <a:lnTo>
                    <a:pt x="288" y="15"/>
                  </a:lnTo>
                  <a:lnTo>
                    <a:pt x="288" y="15"/>
                  </a:lnTo>
                  <a:lnTo>
                    <a:pt x="288" y="15"/>
                  </a:lnTo>
                  <a:lnTo>
                    <a:pt x="288" y="17"/>
                  </a:lnTo>
                  <a:lnTo>
                    <a:pt x="288" y="17"/>
                  </a:lnTo>
                  <a:lnTo>
                    <a:pt x="288" y="19"/>
                  </a:lnTo>
                  <a:lnTo>
                    <a:pt x="288" y="19"/>
                  </a:lnTo>
                  <a:lnTo>
                    <a:pt x="288" y="19"/>
                  </a:lnTo>
                  <a:lnTo>
                    <a:pt x="286" y="19"/>
                  </a:lnTo>
                  <a:lnTo>
                    <a:pt x="280" y="23"/>
                  </a:lnTo>
                  <a:lnTo>
                    <a:pt x="280" y="23"/>
                  </a:lnTo>
                  <a:lnTo>
                    <a:pt x="271" y="23"/>
                  </a:lnTo>
                  <a:lnTo>
                    <a:pt x="269" y="23"/>
                  </a:lnTo>
                  <a:lnTo>
                    <a:pt x="263" y="21"/>
                  </a:lnTo>
                  <a:lnTo>
                    <a:pt x="261" y="21"/>
                  </a:lnTo>
                  <a:lnTo>
                    <a:pt x="260" y="21"/>
                  </a:lnTo>
                  <a:lnTo>
                    <a:pt x="260" y="21"/>
                  </a:lnTo>
                  <a:lnTo>
                    <a:pt x="260" y="19"/>
                  </a:lnTo>
                  <a:lnTo>
                    <a:pt x="256" y="17"/>
                  </a:lnTo>
                  <a:lnTo>
                    <a:pt x="256" y="15"/>
                  </a:lnTo>
                  <a:lnTo>
                    <a:pt x="254" y="15"/>
                  </a:lnTo>
                  <a:lnTo>
                    <a:pt x="254" y="14"/>
                  </a:lnTo>
                  <a:lnTo>
                    <a:pt x="248" y="6"/>
                  </a:lnTo>
                  <a:lnTo>
                    <a:pt x="246" y="4"/>
                  </a:lnTo>
                  <a:lnTo>
                    <a:pt x="242" y="4"/>
                  </a:lnTo>
                  <a:lnTo>
                    <a:pt x="239" y="2"/>
                  </a:lnTo>
                  <a:lnTo>
                    <a:pt x="239" y="4"/>
                  </a:lnTo>
                  <a:lnTo>
                    <a:pt x="239" y="4"/>
                  </a:lnTo>
                  <a:lnTo>
                    <a:pt x="240" y="8"/>
                  </a:lnTo>
                  <a:lnTo>
                    <a:pt x="242" y="10"/>
                  </a:lnTo>
                  <a:lnTo>
                    <a:pt x="242" y="12"/>
                  </a:lnTo>
                  <a:lnTo>
                    <a:pt x="242" y="12"/>
                  </a:lnTo>
                  <a:lnTo>
                    <a:pt x="242" y="14"/>
                  </a:lnTo>
                  <a:lnTo>
                    <a:pt x="242" y="14"/>
                  </a:lnTo>
                  <a:lnTo>
                    <a:pt x="240" y="15"/>
                  </a:lnTo>
                  <a:lnTo>
                    <a:pt x="240" y="15"/>
                  </a:lnTo>
                  <a:lnTo>
                    <a:pt x="239" y="19"/>
                  </a:lnTo>
                  <a:lnTo>
                    <a:pt x="237" y="19"/>
                  </a:lnTo>
                  <a:lnTo>
                    <a:pt x="237" y="19"/>
                  </a:lnTo>
                  <a:lnTo>
                    <a:pt x="235" y="19"/>
                  </a:lnTo>
                  <a:lnTo>
                    <a:pt x="231" y="21"/>
                  </a:lnTo>
                  <a:lnTo>
                    <a:pt x="227" y="21"/>
                  </a:lnTo>
                  <a:lnTo>
                    <a:pt x="225" y="23"/>
                  </a:lnTo>
                  <a:lnTo>
                    <a:pt x="218" y="31"/>
                  </a:lnTo>
                  <a:lnTo>
                    <a:pt x="216" y="31"/>
                  </a:lnTo>
                  <a:lnTo>
                    <a:pt x="212" y="33"/>
                  </a:lnTo>
                  <a:lnTo>
                    <a:pt x="208" y="34"/>
                  </a:lnTo>
                  <a:lnTo>
                    <a:pt x="208" y="34"/>
                  </a:lnTo>
                  <a:lnTo>
                    <a:pt x="206" y="36"/>
                  </a:lnTo>
                  <a:lnTo>
                    <a:pt x="200" y="44"/>
                  </a:lnTo>
                  <a:lnTo>
                    <a:pt x="200" y="44"/>
                  </a:lnTo>
                  <a:lnTo>
                    <a:pt x="200" y="46"/>
                  </a:lnTo>
                  <a:lnTo>
                    <a:pt x="200" y="46"/>
                  </a:lnTo>
                  <a:lnTo>
                    <a:pt x="202" y="48"/>
                  </a:lnTo>
                  <a:lnTo>
                    <a:pt x="202" y="48"/>
                  </a:lnTo>
                  <a:lnTo>
                    <a:pt x="202" y="48"/>
                  </a:lnTo>
                  <a:lnTo>
                    <a:pt x="202" y="50"/>
                  </a:lnTo>
                  <a:lnTo>
                    <a:pt x="202" y="50"/>
                  </a:lnTo>
                  <a:lnTo>
                    <a:pt x="202" y="52"/>
                  </a:lnTo>
                  <a:lnTo>
                    <a:pt x="200" y="52"/>
                  </a:lnTo>
                  <a:lnTo>
                    <a:pt x="200" y="52"/>
                  </a:lnTo>
                  <a:lnTo>
                    <a:pt x="199" y="53"/>
                  </a:lnTo>
                  <a:lnTo>
                    <a:pt x="199" y="53"/>
                  </a:lnTo>
                  <a:lnTo>
                    <a:pt x="199" y="53"/>
                  </a:lnTo>
                  <a:lnTo>
                    <a:pt x="197" y="57"/>
                  </a:lnTo>
                  <a:lnTo>
                    <a:pt x="197" y="59"/>
                  </a:lnTo>
                  <a:lnTo>
                    <a:pt x="197" y="59"/>
                  </a:lnTo>
                  <a:lnTo>
                    <a:pt x="199" y="61"/>
                  </a:lnTo>
                  <a:lnTo>
                    <a:pt x="199" y="61"/>
                  </a:lnTo>
                  <a:lnTo>
                    <a:pt x="200" y="63"/>
                  </a:lnTo>
                  <a:lnTo>
                    <a:pt x="202" y="63"/>
                  </a:lnTo>
                  <a:lnTo>
                    <a:pt x="202" y="63"/>
                  </a:lnTo>
                  <a:lnTo>
                    <a:pt x="202" y="65"/>
                  </a:lnTo>
                  <a:lnTo>
                    <a:pt x="202" y="65"/>
                  </a:lnTo>
                  <a:lnTo>
                    <a:pt x="202" y="67"/>
                  </a:lnTo>
                  <a:lnTo>
                    <a:pt x="202" y="69"/>
                  </a:lnTo>
                  <a:lnTo>
                    <a:pt x="202" y="69"/>
                  </a:lnTo>
                  <a:lnTo>
                    <a:pt x="202" y="71"/>
                  </a:lnTo>
                  <a:lnTo>
                    <a:pt x="200" y="73"/>
                  </a:lnTo>
                  <a:lnTo>
                    <a:pt x="200" y="73"/>
                  </a:lnTo>
                  <a:lnTo>
                    <a:pt x="200" y="73"/>
                  </a:lnTo>
                  <a:lnTo>
                    <a:pt x="199" y="73"/>
                  </a:lnTo>
                  <a:lnTo>
                    <a:pt x="199" y="73"/>
                  </a:lnTo>
                  <a:lnTo>
                    <a:pt x="199" y="73"/>
                  </a:lnTo>
                  <a:lnTo>
                    <a:pt x="199" y="74"/>
                  </a:lnTo>
                  <a:lnTo>
                    <a:pt x="197" y="76"/>
                  </a:lnTo>
                  <a:lnTo>
                    <a:pt x="197" y="76"/>
                  </a:lnTo>
                  <a:lnTo>
                    <a:pt x="197" y="76"/>
                  </a:lnTo>
                  <a:lnTo>
                    <a:pt x="197" y="76"/>
                  </a:lnTo>
                  <a:lnTo>
                    <a:pt x="195" y="74"/>
                  </a:lnTo>
                  <a:lnTo>
                    <a:pt x="195" y="74"/>
                  </a:lnTo>
                  <a:lnTo>
                    <a:pt x="193" y="74"/>
                  </a:lnTo>
                  <a:lnTo>
                    <a:pt x="193" y="76"/>
                  </a:lnTo>
                  <a:lnTo>
                    <a:pt x="193" y="76"/>
                  </a:lnTo>
                  <a:lnTo>
                    <a:pt x="193" y="80"/>
                  </a:lnTo>
                  <a:lnTo>
                    <a:pt x="193" y="82"/>
                  </a:lnTo>
                  <a:lnTo>
                    <a:pt x="191" y="84"/>
                  </a:lnTo>
                  <a:lnTo>
                    <a:pt x="181" y="97"/>
                  </a:lnTo>
                  <a:lnTo>
                    <a:pt x="181" y="99"/>
                  </a:lnTo>
                  <a:lnTo>
                    <a:pt x="181" y="101"/>
                  </a:lnTo>
                  <a:lnTo>
                    <a:pt x="181" y="103"/>
                  </a:lnTo>
                  <a:lnTo>
                    <a:pt x="179" y="105"/>
                  </a:lnTo>
                  <a:lnTo>
                    <a:pt x="179" y="107"/>
                  </a:lnTo>
                  <a:lnTo>
                    <a:pt x="179" y="109"/>
                  </a:lnTo>
                  <a:lnTo>
                    <a:pt x="179" y="111"/>
                  </a:lnTo>
                  <a:lnTo>
                    <a:pt x="181" y="111"/>
                  </a:lnTo>
                  <a:lnTo>
                    <a:pt x="181" y="112"/>
                  </a:lnTo>
                  <a:lnTo>
                    <a:pt x="185" y="114"/>
                  </a:lnTo>
                  <a:lnTo>
                    <a:pt x="185" y="116"/>
                  </a:lnTo>
                  <a:lnTo>
                    <a:pt x="185" y="116"/>
                  </a:lnTo>
                  <a:lnTo>
                    <a:pt x="185" y="118"/>
                  </a:lnTo>
                  <a:lnTo>
                    <a:pt x="185" y="120"/>
                  </a:lnTo>
                  <a:lnTo>
                    <a:pt x="185" y="120"/>
                  </a:lnTo>
                  <a:lnTo>
                    <a:pt x="185" y="122"/>
                  </a:lnTo>
                  <a:lnTo>
                    <a:pt x="183" y="122"/>
                  </a:lnTo>
                  <a:lnTo>
                    <a:pt x="183" y="122"/>
                  </a:lnTo>
                  <a:lnTo>
                    <a:pt x="183" y="122"/>
                  </a:lnTo>
                  <a:lnTo>
                    <a:pt x="181" y="122"/>
                  </a:lnTo>
                  <a:lnTo>
                    <a:pt x="178" y="120"/>
                  </a:lnTo>
                  <a:lnTo>
                    <a:pt x="176" y="120"/>
                  </a:lnTo>
                  <a:lnTo>
                    <a:pt x="176" y="120"/>
                  </a:lnTo>
                  <a:lnTo>
                    <a:pt x="176" y="120"/>
                  </a:lnTo>
                  <a:lnTo>
                    <a:pt x="174" y="122"/>
                  </a:lnTo>
                  <a:lnTo>
                    <a:pt x="174" y="122"/>
                  </a:lnTo>
                  <a:lnTo>
                    <a:pt x="174" y="124"/>
                  </a:lnTo>
                  <a:lnTo>
                    <a:pt x="174" y="124"/>
                  </a:lnTo>
                  <a:lnTo>
                    <a:pt x="174" y="124"/>
                  </a:lnTo>
                  <a:lnTo>
                    <a:pt x="174" y="124"/>
                  </a:lnTo>
                  <a:lnTo>
                    <a:pt x="174" y="126"/>
                  </a:lnTo>
                  <a:lnTo>
                    <a:pt x="174" y="126"/>
                  </a:lnTo>
                  <a:lnTo>
                    <a:pt x="174" y="126"/>
                  </a:lnTo>
                  <a:lnTo>
                    <a:pt x="172" y="130"/>
                  </a:lnTo>
                  <a:lnTo>
                    <a:pt x="170" y="130"/>
                  </a:lnTo>
                  <a:lnTo>
                    <a:pt x="168" y="137"/>
                  </a:lnTo>
                  <a:lnTo>
                    <a:pt x="166" y="139"/>
                  </a:lnTo>
                  <a:lnTo>
                    <a:pt x="166" y="141"/>
                  </a:lnTo>
                  <a:lnTo>
                    <a:pt x="164" y="143"/>
                  </a:lnTo>
                  <a:lnTo>
                    <a:pt x="162" y="143"/>
                  </a:lnTo>
                  <a:lnTo>
                    <a:pt x="162" y="143"/>
                  </a:lnTo>
                  <a:lnTo>
                    <a:pt x="157" y="143"/>
                  </a:lnTo>
                  <a:lnTo>
                    <a:pt x="157" y="143"/>
                  </a:lnTo>
                  <a:lnTo>
                    <a:pt x="155" y="143"/>
                  </a:lnTo>
                  <a:lnTo>
                    <a:pt x="155" y="141"/>
                  </a:lnTo>
                  <a:lnTo>
                    <a:pt x="153" y="141"/>
                  </a:lnTo>
                  <a:lnTo>
                    <a:pt x="153" y="141"/>
                  </a:lnTo>
                  <a:lnTo>
                    <a:pt x="151" y="141"/>
                  </a:lnTo>
                  <a:lnTo>
                    <a:pt x="151" y="141"/>
                  </a:lnTo>
                  <a:lnTo>
                    <a:pt x="149" y="139"/>
                  </a:lnTo>
                  <a:lnTo>
                    <a:pt x="149" y="139"/>
                  </a:lnTo>
                  <a:lnTo>
                    <a:pt x="149" y="139"/>
                  </a:lnTo>
                  <a:lnTo>
                    <a:pt x="147" y="137"/>
                  </a:lnTo>
                  <a:lnTo>
                    <a:pt x="147" y="137"/>
                  </a:lnTo>
                  <a:lnTo>
                    <a:pt x="138" y="139"/>
                  </a:lnTo>
                  <a:lnTo>
                    <a:pt x="136" y="139"/>
                  </a:lnTo>
                  <a:lnTo>
                    <a:pt x="134" y="139"/>
                  </a:lnTo>
                  <a:lnTo>
                    <a:pt x="132" y="139"/>
                  </a:lnTo>
                  <a:lnTo>
                    <a:pt x="132" y="141"/>
                  </a:lnTo>
                  <a:lnTo>
                    <a:pt x="130" y="141"/>
                  </a:lnTo>
                  <a:lnTo>
                    <a:pt x="130" y="141"/>
                  </a:lnTo>
                  <a:lnTo>
                    <a:pt x="130" y="141"/>
                  </a:lnTo>
                  <a:lnTo>
                    <a:pt x="128" y="139"/>
                  </a:lnTo>
                  <a:lnTo>
                    <a:pt x="128" y="139"/>
                  </a:lnTo>
                  <a:lnTo>
                    <a:pt x="126" y="139"/>
                  </a:lnTo>
                  <a:lnTo>
                    <a:pt x="119" y="139"/>
                  </a:lnTo>
                  <a:lnTo>
                    <a:pt x="119" y="141"/>
                  </a:lnTo>
                  <a:lnTo>
                    <a:pt x="117" y="141"/>
                  </a:lnTo>
                  <a:lnTo>
                    <a:pt x="117" y="141"/>
                  </a:lnTo>
                  <a:lnTo>
                    <a:pt x="117" y="141"/>
                  </a:lnTo>
                  <a:lnTo>
                    <a:pt x="117" y="141"/>
                  </a:lnTo>
                  <a:lnTo>
                    <a:pt x="117" y="143"/>
                  </a:lnTo>
                  <a:lnTo>
                    <a:pt x="117" y="145"/>
                  </a:lnTo>
                  <a:lnTo>
                    <a:pt x="115" y="147"/>
                  </a:lnTo>
                  <a:lnTo>
                    <a:pt x="113" y="152"/>
                  </a:lnTo>
                  <a:lnTo>
                    <a:pt x="109" y="160"/>
                  </a:lnTo>
                  <a:lnTo>
                    <a:pt x="109" y="162"/>
                  </a:lnTo>
                  <a:lnTo>
                    <a:pt x="107" y="162"/>
                  </a:lnTo>
                  <a:lnTo>
                    <a:pt x="107" y="162"/>
                  </a:lnTo>
                  <a:lnTo>
                    <a:pt x="105" y="162"/>
                  </a:lnTo>
                  <a:lnTo>
                    <a:pt x="105" y="162"/>
                  </a:lnTo>
                  <a:lnTo>
                    <a:pt x="103" y="164"/>
                  </a:lnTo>
                  <a:lnTo>
                    <a:pt x="103" y="166"/>
                  </a:lnTo>
                  <a:lnTo>
                    <a:pt x="101" y="168"/>
                  </a:lnTo>
                  <a:lnTo>
                    <a:pt x="99" y="170"/>
                  </a:lnTo>
                  <a:lnTo>
                    <a:pt x="99" y="170"/>
                  </a:lnTo>
                  <a:lnTo>
                    <a:pt x="98" y="171"/>
                  </a:lnTo>
                  <a:lnTo>
                    <a:pt x="96" y="171"/>
                  </a:lnTo>
                  <a:lnTo>
                    <a:pt x="96" y="171"/>
                  </a:lnTo>
                  <a:lnTo>
                    <a:pt x="96" y="171"/>
                  </a:lnTo>
                  <a:lnTo>
                    <a:pt x="96" y="171"/>
                  </a:lnTo>
                  <a:lnTo>
                    <a:pt x="96" y="171"/>
                  </a:lnTo>
                  <a:lnTo>
                    <a:pt x="96" y="170"/>
                  </a:lnTo>
                  <a:lnTo>
                    <a:pt x="96" y="170"/>
                  </a:lnTo>
                  <a:lnTo>
                    <a:pt x="96" y="168"/>
                  </a:lnTo>
                  <a:lnTo>
                    <a:pt x="96" y="168"/>
                  </a:lnTo>
                  <a:lnTo>
                    <a:pt x="94" y="168"/>
                  </a:lnTo>
                  <a:lnTo>
                    <a:pt x="94" y="168"/>
                  </a:lnTo>
                  <a:lnTo>
                    <a:pt x="92" y="168"/>
                  </a:lnTo>
                  <a:lnTo>
                    <a:pt x="90" y="168"/>
                  </a:lnTo>
                  <a:lnTo>
                    <a:pt x="90" y="168"/>
                  </a:lnTo>
                  <a:lnTo>
                    <a:pt x="90" y="168"/>
                  </a:lnTo>
                  <a:lnTo>
                    <a:pt x="90" y="168"/>
                  </a:lnTo>
                  <a:lnTo>
                    <a:pt x="90" y="168"/>
                  </a:lnTo>
                  <a:lnTo>
                    <a:pt x="90" y="170"/>
                  </a:lnTo>
                  <a:lnTo>
                    <a:pt x="90" y="181"/>
                  </a:lnTo>
                  <a:lnTo>
                    <a:pt x="90" y="181"/>
                  </a:lnTo>
                  <a:lnTo>
                    <a:pt x="90" y="183"/>
                  </a:lnTo>
                  <a:lnTo>
                    <a:pt x="90" y="185"/>
                  </a:lnTo>
                  <a:lnTo>
                    <a:pt x="92" y="185"/>
                  </a:lnTo>
                  <a:lnTo>
                    <a:pt x="92" y="187"/>
                  </a:lnTo>
                  <a:lnTo>
                    <a:pt x="92" y="189"/>
                  </a:lnTo>
                  <a:lnTo>
                    <a:pt x="92" y="189"/>
                  </a:lnTo>
                  <a:lnTo>
                    <a:pt x="92" y="190"/>
                  </a:lnTo>
                  <a:lnTo>
                    <a:pt x="90" y="192"/>
                  </a:lnTo>
                  <a:lnTo>
                    <a:pt x="88" y="198"/>
                  </a:lnTo>
                  <a:lnTo>
                    <a:pt x="88" y="200"/>
                  </a:lnTo>
                  <a:lnTo>
                    <a:pt x="90" y="202"/>
                  </a:lnTo>
                  <a:lnTo>
                    <a:pt x="90" y="204"/>
                  </a:lnTo>
                  <a:lnTo>
                    <a:pt x="90" y="204"/>
                  </a:lnTo>
                  <a:lnTo>
                    <a:pt x="90" y="204"/>
                  </a:lnTo>
                  <a:lnTo>
                    <a:pt x="92" y="204"/>
                  </a:lnTo>
                  <a:lnTo>
                    <a:pt x="92" y="204"/>
                  </a:lnTo>
                  <a:lnTo>
                    <a:pt x="92" y="204"/>
                  </a:lnTo>
                  <a:lnTo>
                    <a:pt x="92" y="204"/>
                  </a:lnTo>
                  <a:lnTo>
                    <a:pt x="92" y="204"/>
                  </a:lnTo>
                  <a:lnTo>
                    <a:pt x="92" y="204"/>
                  </a:lnTo>
                  <a:lnTo>
                    <a:pt x="92" y="204"/>
                  </a:lnTo>
                  <a:lnTo>
                    <a:pt x="94" y="206"/>
                  </a:lnTo>
                  <a:lnTo>
                    <a:pt x="94" y="208"/>
                  </a:lnTo>
                  <a:lnTo>
                    <a:pt x="94" y="209"/>
                  </a:lnTo>
                  <a:lnTo>
                    <a:pt x="94" y="209"/>
                  </a:lnTo>
                  <a:lnTo>
                    <a:pt x="94" y="209"/>
                  </a:lnTo>
                  <a:lnTo>
                    <a:pt x="96" y="209"/>
                  </a:lnTo>
                  <a:lnTo>
                    <a:pt x="96" y="208"/>
                  </a:lnTo>
                  <a:lnTo>
                    <a:pt x="96" y="208"/>
                  </a:lnTo>
                  <a:lnTo>
                    <a:pt x="96" y="209"/>
                  </a:lnTo>
                  <a:lnTo>
                    <a:pt x="96" y="211"/>
                  </a:lnTo>
                  <a:lnTo>
                    <a:pt x="96" y="219"/>
                  </a:lnTo>
                  <a:lnTo>
                    <a:pt x="96" y="221"/>
                  </a:lnTo>
                  <a:lnTo>
                    <a:pt x="96" y="223"/>
                  </a:lnTo>
                  <a:lnTo>
                    <a:pt x="96" y="223"/>
                  </a:lnTo>
                  <a:lnTo>
                    <a:pt x="96" y="223"/>
                  </a:lnTo>
                  <a:lnTo>
                    <a:pt x="98" y="225"/>
                  </a:lnTo>
                  <a:lnTo>
                    <a:pt x="98" y="230"/>
                  </a:lnTo>
                  <a:lnTo>
                    <a:pt x="98" y="234"/>
                  </a:lnTo>
                  <a:lnTo>
                    <a:pt x="98" y="236"/>
                  </a:lnTo>
                  <a:lnTo>
                    <a:pt x="98" y="238"/>
                  </a:lnTo>
                  <a:lnTo>
                    <a:pt x="96" y="244"/>
                  </a:lnTo>
                  <a:lnTo>
                    <a:pt x="96" y="246"/>
                  </a:lnTo>
                  <a:lnTo>
                    <a:pt x="96" y="247"/>
                  </a:lnTo>
                  <a:lnTo>
                    <a:pt x="99" y="249"/>
                  </a:lnTo>
                  <a:lnTo>
                    <a:pt x="101" y="249"/>
                  </a:lnTo>
                  <a:lnTo>
                    <a:pt x="103" y="251"/>
                  </a:lnTo>
                  <a:lnTo>
                    <a:pt x="103" y="251"/>
                  </a:lnTo>
                  <a:lnTo>
                    <a:pt x="103" y="251"/>
                  </a:lnTo>
                  <a:lnTo>
                    <a:pt x="105" y="251"/>
                  </a:lnTo>
                  <a:lnTo>
                    <a:pt x="109" y="251"/>
                  </a:lnTo>
                  <a:lnTo>
                    <a:pt x="109" y="251"/>
                  </a:lnTo>
                  <a:lnTo>
                    <a:pt x="109" y="251"/>
                  </a:lnTo>
                  <a:lnTo>
                    <a:pt x="111" y="251"/>
                  </a:lnTo>
                  <a:lnTo>
                    <a:pt x="111" y="251"/>
                  </a:lnTo>
                  <a:lnTo>
                    <a:pt x="113" y="253"/>
                  </a:lnTo>
                  <a:lnTo>
                    <a:pt x="113" y="253"/>
                  </a:lnTo>
                  <a:lnTo>
                    <a:pt x="113" y="255"/>
                  </a:lnTo>
                  <a:lnTo>
                    <a:pt x="113" y="255"/>
                  </a:lnTo>
                  <a:lnTo>
                    <a:pt x="115" y="255"/>
                  </a:lnTo>
                  <a:lnTo>
                    <a:pt x="115" y="255"/>
                  </a:lnTo>
                  <a:lnTo>
                    <a:pt x="115" y="255"/>
                  </a:lnTo>
                  <a:lnTo>
                    <a:pt x="117" y="253"/>
                  </a:lnTo>
                  <a:lnTo>
                    <a:pt x="117" y="253"/>
                  </a:lnTo>
                  <a:lnTo>
                    <a:pt x="117" y="253"/>
                  </a:lnTo>
                  <a:lnTo>
                    <a:pt x="117" y="253"/>
                  </a:lnTo>
                  <a:lnTo>
                    <a:pt x="119" y="253"/>
                  </a:lnTo>
                  <a:lnTo>
                    <a:pt x="119" y="253"/>
                  </a:lnTo>
                  <a:lnTo>
                    <a:pt x="120" y="253"/>
                  </a:lnTo>
                  <a:lnTo>
                    <a:pt x="122" y="253"/>
                  </a:lnTo>
                  <a:lnTo>
                    <a:pt x="122" y="253"/>
                  </a:lnTo>
                  <a:lnTo>
                    <a:pt x="122" y="253"/>
                  </a:lnTo>
                  <a:lnTo>
                    <a:pt x="122" y="255"/>
                  </a:lnTo>
                  <a:lnTo>
                    <a:pt x="122" y="257"/>
                  </a:lnTo>
                  <a:lnTo>
                    <a:pt x="122" y="257"/>
                  </a:lnTo>
                  <a:lnTo>
                    <a:pt x="120" y="263"/>
                  </a:lnTo>
                  <a:lnTo>
                    <a:pt x="120" y="265"/>
                  </a:lnTo>
                  <a:lnTo>
                    <a:pt x="120" y="265"/>
                  </a:lnTo>
                  <a:lnTo>
                    <a:pt x="120" y="265"/>
                  </a:lnTo>
                  <a:lnTo>
                    <a:pt x="120" y="265"/>
                  </a:lnTo>
                  <a:lnTo>
                    <a:pt x="122" y="266"/>
                  </a:lnTo>
                  <a:lnTo>
                    <a:pt x="124" y="268"/>
                  </a:lnTo>
                  <a:lnTo>
                    <a:pt x="124" y="268"/>
                  </a:lnTo>
                  <a:lnTo>
                    <a:pt x="122" y="268"/>
                  </a:lnTo>
                  <a:lnTo>
                    <a:pt x="120" y="270"/>
                  </a:lnTo>
                  <a:lnTo>
                    <a:pt x="120" y="270"/>
                  </a:lnTo>
                  <a:lnTo>
                    <a:pt x="119" y="272"/>
                  </a:lnTo>
                  <a:lnTo>
                    <a:pt x="117" y="272"/>
                  </a:lnTo>
                  <a:lnTo>
                    <a:pt x="117" y="272"/>
                  </a:lnTo>
                  <a:lnTo>
                    <a:pt x="113" y="276"/>
                  </a:lnTo>
                  <a:lnTo>
                    <a:pt x="113" y="276"/>
                  </a:lnTo>
                  <a:lnTo>
                    <a:pt x="111" y="276"/>
                  </a:lnTo>
                  <a:lnTo>
                    <a:pt x="111" y="276"/>
                  </a:lnTo>
                  <a:lnTo>
                    <a:pt x="111" y="276"/>
                  </a:lnTo>
                  <a:lnTo>
                    <a:pt x="111" y="274"/>
                  </a:lnTo>
                  <a:lnTo>
                    <a:pt x="111" y="274"/>
                  </a:lnTo>
                  <a:lnTo>
                    <a:pt x="111" y="272"/>
                  </a:lnTo>
                  <a:lnTo>
                    <a:pt x="111" y="272"/>
                  </a:lnTo>
                  <a:lnTo>
                    <a:pt x="111" y="270"/>
                  </a:lnTo>
                  <a:lnTo>
                    <a:pt x="111" y="270"/>
                  </a:lnTo>
                  <a:lnTo>
                    <a:pt x="111" y="268"/>
                  </a:lnTo>
                  <a:lnTo>
                    <a:pt x="111" y="268"/>
                  </a:lnTo>
                  <a:lnTo>
                    <a:pt x="109" y="268"/>
                  </a:lnTo>
                  <a:lnTo>
                    <a:pt x="105" y="268"/>
                  </a:lnTo>
                  <a:lnTo>
                    <a:pt x="105" y="268"/>
                  </a:lnTo>
                  <a:lnTo>
                    <a:pt x="103" y="266"/>
                  </a:lnTo>
                  <a:lnTo>
                    <a:pt x="101" y="266"/>
                  </a:lnTo>
                  <a:lnTo>
                    <a:pt x="92" y="265"/>
                  </a:lnTo>
                  <a:lnTo>
                    <a:pt x="92" y="265"/>
                  </a:lnTo>
                  <a:lnTo>
                    <a:pt x="90" y="265"/>
                  </a:lnTo>
                  <a:lnTo>
                    <a:pt x="90" y="265"/>
                  </a:lnTo>
                  <a:lnTo>
                    <a:pt x="90" y="266"/>
                  </a:lnTo>
                  <a:lnTo>
                    <a:pt x="90" y="266"/>
                  </a:lnTo>
                  <a:lnTo>
                    <a:pt x="88" y="266"/>
                  </a:lnTo>
                  <a:lnTo>
                    <a:pt x="88" y="266"/>
                  </a:lnTo>
                  <a:lnTo>
                    <a:pt x="86" y="270"/>
                  </a:lnTo>
                  <a:lnTo>
                    <a:pt x="86" y="270"/>
                  </a:lnTo>
                  <a:lnTo>
                    <a:pt x="86" y="270"/>
                  </a:lnTo>
                  <a:lnTo>
                    <a:pt x="84" y="270"/>
                  </a:lnTo>
                  <a:lnTo>
                    <a:pt x="84" y="270"/>
                  </a:lnTo>
                  <a:lnTo>
                    <a:pt x="78" y="257"/>
                  </a:lnTo>
                  <a:lnTo>
                    <a:pt x="78" y="257"/>
                  </a:lnTo>
                  <a:lnTo>
                    <a:pt x="77" y="255"/>
                  </a:lnTo>
                  <a:lnTo>
                    <a:pt x="77" y="255"/>
                  </a:lnTo>
                  <a:lnTo>
                    <a:pt x="75" y="255"/>
                  </a:lnTo>
                  <a:lnTo>
                    <a:pt x="73" y="255"/>
                  </a:lnTo>
                  <a:lnTo>
                    <a:pt x="73" y="255"/>
                  </a:lnTo>
                  <a:lnTo>
                    <a:pt x="73" y="255"/>
                  </a:lnTo>
                  <a:lnTo>
                    <a:pt x="73" y="255"/>
                  </a:lnTo>
                  <a:lnTo>
                    <a:pt x="73" y="255"/>
                  </a:lnTo>
                  <a:lnTo>
                    <a:pt x="71" y="253"/>
                  </a:lnTo>
                  <a:lnTo>
                    <a:pt x="71" y="253"/>
                  </a:lnTo>
                  <a:lnTo>
                    <a:pt x="71" y="253"/>
                  </a:lnTo>
                  <a:lnTo>
                    <a:pt x="71" y="253"/>
                  </a:lnTo>
                  <a:lnTo>
                    <a:pt x="69" y="251"/>
                  </a:lnTo>
                  <a:lnTo>
                    <a:pt x="67" y="249"/>
                  </a:lnTo>
                  <a:lnTo>
                    <a:pt x="65" y="247"/>
                  </a:lnTo>
                  <a:lnTo>
                    <a:pt x="65" y="247"/>
                  </a:lnTo>
                  <a:lnTo>
                    <a:pt x="65" y="247"/>
                  </a:lnTo>
                  <a:lnTo>
                    <a:pt x="65" y="247"/>
                  </a:lnTo>
                  <a:lnTo>
                    <a:pt x="63" y="247"/>
                  </a:lnTo>
                  <a:lnTo>
                    <a:pt x="63" y="247"/>
                  </a:lnTo>
                  <a:lnTo>
                    <a:pt x="63" y="249"/>
                  </a:lnTo>
                  <a:lnTo>
                    <a:pt x="63" y="249"/>
                  </a:lnTo>
                  <a:lnTo>
                    <a:pt x="61" y="251"/>
                  </a:lnTo>
                  <a:lnTo>
                    <a:pt x="61" y="251"/>
                  </a:lnTo>
                  <a:lnTo>
                    <a:pt x="61" y="251"/>
                  </a:lnTo>
                  <a:lnTo>
                    <a:pt x="61" y="253"/>
                  </a:lnTo>
                  <a:lnTo>
                    <a:pt x="59" y="253"/>
                  </a:lnTo>
                  <a:lnTo>
                    <a:pt x="59" y="251"/>
                  </a:lnTo>
                  <a:lnTo>
                    <a:pt x="59" y="251"/>
                  </a:lnTo>
                  <a:lnTo>
                    <a:pt x="59" y="251"/>
                  </a:lnTo>
                  <a:lnTo>
                    <a:pt x="59" y="249"/>
                  </a:lnTo>
                  <a:lnTo>
                    <a:pt x="58" y="249"/>
                  </a:lnTo>
                  <a:lnTo>
                    <a:pt x="54" y="244"/>
                  </a:lnTo>
                  <a:lnTo>
                    <a:pt x="54" y="244"/>
                  </a:lnTo>
                  <a:lnTo>
                    <a:pt x="52" y="244"/>
                  </a:lnTo>
                  <a:lnTo>
                    <a:pt x="52" y="244"/>
                  </a:lnTo>
                  <a:lnTo>
                    <a:pt x="52" y="244"/>
                  </a:lnTo>
                  <a:lnTo>
                    <a:pt x="48" y="247"/>
                  </a:lnTo>
                  <a:lnTo>
                    <a:pt x="46" y="249"/>
                  </a:lnTo>
                  <a:lnTo>
                    <a:pt x="46" y="249"/>
                  </a:lnTo>
                  <a:lnTo>
                    <a:pt x="44" y="249"/>
                  </a:lnTo>
                  <a:lnTo>
                    <a:pt x="40" y="257"/>
                  </a:lnTo>
                  <a:lnTo>
                    <a:pt x="40" y="257"/>
                  </a:lnTo>
                  <a:lnTo>
                    <a:pt x="40" y="259"/>
                  </a:lnTo>
                  <a:lnTo>
                    <a:pt x="40" y="261"/>
                  </a:lnTo>
                  <a:lnTo>
                    <a:pt x="40" y="261"/>
                  </a:lnTo>
                  <a:lnTo>
                    <a:pt x="40" y="263"/>
                  </a:lnTo>
                  <a:lnTo>
                    <a:pt x="42" y="263"/>
                  </a:lnTo>
                  <a:lnTo>
                    <a:pt x="42" y="265"/>
                  </a:lnTo>
                  <a:lnTo>
                    <a:pt x="52" y="268"/>
                  </a:lnTo>
                  <a:lnTo>
                    <a:pt x="52" y="268"/>
                  </a:lnTo>
                  <a:lnTo>
                    <a:pt x="52" y="270"/>
                  </a:lnTo>
                  <a:lnTo>
                    <a:pt x="54" y="272"/>
                  </a:lnTo>
                  <a:lnTo>
                    <a:pt x="54" y="274"/>
                  </a:lnTo>
                  <a:lnTo>
                    <a:pt x="54" y="274"/>
                  </a:lnTo>
                  <a:lnTo>
                    <a:pt x="56" y="274"/>
                  </a:lnTo>
                  <a:lnTo>
                    <a:pt x="59" y="274"/>
                  </a:lnTo>
                  <a:lnTo>
                    <a:pt x="59" y="274"/>
                  </a:lnTo>
                  <a:lnTo>
                    <a:pt x="59" y="276"/>
                  </a:lnTo>
                  <a:lnTo>
                    <a:pt x="61" y="276"/>
                  </a:lnTo>
                  <a:lnTo>
                    <a:pt x="61" y="278"/>
                  </a:lnTo>
                  <a:lnTo>
                    <a:pt x="59" y="282"/>
                  </a:lnTo>
                  <a:lnTo>
                    <a:pt x="59" y="284"/>
                  </a:lnTo>
                  <a:lnTo>
                    <a:pt x="59" y="286"/>
                  </a:lnTo>
                  <a:lnTo>
                    <a:pt x="61" y="287"/>
                  </a:lnTo>
                  <a:lnTo>
                    <a:pt x="61" y="289"/>
                  </a:lnTo>
                  <a:lnTo>
                    <a:pt x="61" y="291"/>
                  </a:lnTo>
                  <a:lnTo>
                    <a:pt x="61" y="293"/>
                  </a:lnTo>
                  <a:lnTo>
                    <a:pt x="59" y="301"/>
                  </a:lnTo>
                  <a:lnTo>
                    <a:pt x="61" y="301"/>
                  </a:lnTo>
                  <a:lnTo>
                    <a:pt x="61" y="303"/>
                  </a:lnTo>
                  <a:lnTo>
                    <a:pt x="63" y="303"/>
                  </a:lnTo>
                  <a:lnTo>
                    <a:pt x="65" y="303"/>
                  </a:lnTo>
                  <a:lnTo>
                    <a:pt x="65" y="303"/>
                  </a:lnTo>
                  <a:lnTo>
                    <a:pt x="65" y="305"/>
                  </a:lnTo>
                  <a:lnTo>
                    <a:pt x="67" y="308"/>
                  </a:lnTo>
                  <a:lnTo>
                    <a:pt x="67" y="308"/>
                  </a:lnTo>
                  <a:lnTo>
                    <a:pt x="67" y="308"/>
                  </a:lnTo>
                  <a:lnTo>
                    <a:pt x="69" y="308"/>
                  </a:lnTo>
                  <a:lnTo>
                    <a:pt x="71" y="310"/>
                  </a:lnTo>
                  <a:lnTo>
                    <a:pt x="71" y="310"/>
                  </a:lnTo>
                  <a:lnTo>
                    <a:pt x="73" y="310"/>
                  </a:lnTo>
                  <a:lnTo>
                    <a:pt x="73" y="312"/>
                  </a:lnTo>
                  <a:lnTo>
                    <a:pt x="73" y="312"/>
                  </a:lnTo>
                  <a:lnTo>
                    <a:pt x="73" y="314"/>
                  </a:lnTo>
                  <a:lnTo>
                    <a:pt x="73" y="314"/>
                  </a:lnTo>
                  <a:lnTo>
                    <a:pt x="71" y="316"/>
                  </a:lnTo>
                  <a:lnTo>
                    <a:pt x="71" y="316"/>
                  </a:lnTo>
                  <a:lnTo>
                    <a:pt x="71" y="316"/>
                  </a:lnTo>
                  <a:lnTo>
                    <a:pt x="71" y="318"/>
                  </a:lnTo>
                  <a:lnTo>
                    <a:pt x="71" y="318"/>
                  </a:lnTo>
                  <a:lnTo>
                    <a:pt x="73" y="318"/>
                  </a:lnTo>
                  <a:lnTo>
                    <a:pt x="73" y="320"/>
                  </a:lnTo>
                  <a:lnTo>
                    <a:pt x="73" y="320"/>
                  </a:lnTo>
                  <a:lnTo>
                    <a:pt x="73" y="322"/>
                  </a:lnTo>
                  <a:lnTo>
                    <a:pt x="71" y="325"/>
                  </a:lnTo>
                  <a:lnTo>
                    <a:pt x="71" y="325"/>
                  </a:lnTo>
                  <a:lnTo>
                    <a:pt x="71" y="327"/>
                  </a:lnTo>
                  <a:lnTo>
                    <a:pt x="71" y="329"/>
                  </a:lnTo>
                  <a:lnTo>
                    <a:pt x="71" y="331"/>
                  </a:lnTo>
                  <a:lnTo>
                    <a:pt x="71" y="331"/>
                  </a:lnTo>
                  <a:lnTo>
                    <a:pt x="73" y="333"/>
                  </a:lnTo>
                  <a:lnTo>
                    <a:pt x="73" y="335"/>
                  </a:lnTo>
                  <a:lnTo>
                    <a:pt x="73" y="337"/>
                  </a:lnTo>
                  <a:lnTo>
                    <a:pt x="73" y="339"/>
                  </a:lnTo>
                  <a:lnTo>
                    <a:pt x="73" y="339"/>
                  </a:lnTo>
                  <a:lnTo>
                    <a:pt x="73" y="341"/>
                  </a:lnTo>
                  <a:lnTo>
                    <a:pt x="75" y="341"/>
                  </a:lnTo>
                  <a:lnTo>
                    <a:pt x="75" y="343"/>
                  </a:lnTo>
                  <a:lnTo>
                    <a:pt x="77" y="343"/>
                  </a:lnTo>
                  <a:lnTo>
                    <a:pt x="77" y="346"/>
                  </a:lnTo>
                  <a:lnTo>
                    <a:pt x="77" y="346"/>
                  </a:lnTo>
                  <a:lnTo>
                    <a:pt x="78" y="348"/>
                  </a:lnTo>
                  <a:lnTo>
                    <a:pt x="78" y="350"/>
                  </a:lnTo>
                  <a:lnTo>
                    <a:pt x="78" y="350"/>
                  </a:lnTo>
                  <a:lnTo>
                    <a:pt x="78" y="352"/>
                  </a:lnTo>
                  <a:lnTo>
                    <a:pt x="78" y="358"/>
                  </a:lnTo>
                  <a:lnTo>
                    <a:pt x="78" y="360"/>
                  </a:lnTo>
                  <a:lnTo>
                    <a:pt x="78" y="360"/>
                  </a:lnTo>
                  <a:lnTo>
                    <a:pt x="77" y="360"/>
                  </a:lnTo>
                  <a:lnTo>
                    <a:pt x="75" y="362"/>
                  </a:lnTo>
                  <a:lnTo>
                    <a:pt x="75" y="362"/>
                  </a:lnTo>
                  <a:lnTo>
                    <a:pt x="75" y="362"/>
                  </a:lnTo>
                  <a:lnTo>
                    <a:pt x="75" y="362"/>
                  </a:lnTo>
                  <a:lnTo>
                    <a:pt x="73" y="362"/>
                  </a:lnTo>
                  <a:lnTo>
                    <a:pt x="73" y="363"/>
                  </a:lnTo>
                  <a:lnTo>
                    <a:pt x="73" y="363"/>
                  </a:lnTo>
                  <a:lnTo>
                    <a:pt x="73" y="363"/>
                  </a:lnTo>
                  <a:lnTo>
                    <a:pt x="73" y="367"/>
                  </a:lnTo>
                  <a:lnTo>
                    <a:pt x="71" y="371"/>
                  </a:lnTo>
                  <a:lnTo>
                    <a:pt x="71" y="371"/>
                  </a:lnTo>
                  <a:lnTo>
                    <a:pt x="71" y="373"/>
                  </a:lnTo>
                  <a:lnTo>
                    <a:pt x="71" y="375"/>
                  </a:lnTo>
                  <a:lnTo>
                    <a:pt x="71" y="377"/>
                  </a:lnTo>
                  <a:lnTo>
                    <a:pt x="69" y="375"/>
                  </a:lnTo>
                  <a:lnTo>
                    <a:pt x="69" y="375"/>
                  </a:lnTo>
                  <a:lnTo>
                    <a:pt x="67" y="373"/>
                  </a:lnTo>
                  <a:lnTo>
                    <a:pt x="67" y="373"/>
                  </a:lnTo>
                  <a:lnTo>
                    <a:pt x="67" y="373"/>
                  </a:lnTo>
                  <a:lnTo>
                    <a:pt x="67" y="373"/>
                  </a:lnTo>
                  <a:lnTo>
                    <a:pt x="65" y="375"/>
                  </a:lnTo>
                  <a:lnTo>
                    <a:pt x="65" y="377"/>
                  </a:lnTo>
                  <a:lnTo>
                    <a:pt x="63" y="379"/>
                  </a:lnTo>
                  <a:lnTo>
                    <a:pt x="63" y="379"/>
                  </a:lnTo>
                  <a:lnTo>
                    <a:pt x="61" y="379"/>
                  </a:lnTo>
                  <a:lnTo>
                    <a:pt x="58" y="381"/>
                  </a:lnTo>
                  <a:lnTo>
                    <a:pt x="58" y="381"/>
                  </a:lnTo>
                  <a:lnTo>
                    <a:pt x="56" y="381"/>
                  </a:lnTo>
                  <a:lnTo>
                    <a:pt x="56" y="381"/>
                  </a:lnTo>
                  <a:lnTo>
                    <a:pt x="54" y="383"/>
                  </a:lnTo>
                  <a:lnTo>
                    <a:pt x="54" y="383"/>
                  </a:lnTo>
                  <a:lnTo>
                    <a:pt x="52" y="384"/>
                  </a:lnTo>
                  <a:lnTo>
                    <a:pt x="52" y="384"/>
                  </a:lnTo>
                  <a:lnTo>
                    <a:pt x="52" y="386"/>
                  </a:lnTo>
                  <a:lnTo>
                    <a:pt x="50" y="386"/>
                  </a:lnTo>
                  <a:lnTo>
                    <a:pt x="50" y="386"/>
                  </a:lnTo>
                  <a:lnTo>
                    <a:pt x="50" y="386"/>
                  </a:lnTo>
                  <a:lnTo>
                    <a:pt x="48" y="386"/>
                  </a:lnTo>
                  <a:lnTo>
                    <a:pt x="48" y="388"/>
                  </a:lnTo>
                  <a:lnTo>
                    <a:pt x="48" y="388"/>
                  </a:lnTo>
                  <a:lnTo>
                    <a:pt x="50" y="388"/>
                  </a:lnTo>
                  <a:lnTo>
                    <a:pt x="50" y="388"/>
                  </a:lnTo>
                  <a:lnTo>
                    <a:pt x="52" y="390"/>
                  </a:lnTo>
                  <a:lnTo>
                    <a:pt x="52" y="390"/>
                  </a:lnTo>
                  <a:lnTo>
                    <a:pt x="52" y="392"/>
                  </a:lnTo>
                  <a:lnTo>
                    <a:pt x="52" y="394"/>
                  </a:lnTo>
                  <a:lnTo>
                    <a:pt x="52" y="394"/>
                  </a:lnTo>
                  <a:lnTo>
                    <a:pt x="52" y="394"/>
                  </a:lnTo>
                  <a:lnTo>
                    <a:pt x="50" y="396"/>
                  </a:lnTo>
                  <a:lnTo>
                    <a:pt x="50" y="396"/>
                  </a:lnTo>
                  <a:lnTo>
                    <a:pt x="48" y="398"/>
                  </a:lnTo>
                  <a:lnTo>
                    <a:pt x="46" y="400"/>
                  </a:lnTo>
                  <a:lnTo>
                    <a:pt x="42" y="402"/>
                  </a:lnTo>
                  <a:lnTo>
                    <a:pt x="40" y="405"/>
                  </a:lnTo>
                  <a:lnTo>
                    <a:pt x="38" y="405"/>
                  </a:lnTo>
                  <a:lnTo>
                    <a:pt x="37" y="409"/>
                  </a:lnTo>
                  <a:lnTo>
                    <a:pt x="33" y="413"/>
                  </a:lnTo>
                  <a:lnTo>
                    <a:pt x="33" y="415"/>
                  </a:lnTo>
                  <a:lnTo>
                    <a:pt x="33" y="415"/>
                  </a:lnTo>
                  <a:lnTo>
                    <a:pt x="31" y="415"/>
                  </a:lnTo>
                  <a:lnTo>
                    <a:pt x="29" y="415"/>
                  </a:lnTo>
                  <a:lnTo>
                    <a:pt x="29" y="417"/>
                  </a:lnTo>
                  <a:lnTo>
                    <a:pt x="27" y="417"/>
                  </a:lnTo>
                  <a:lnTo>
                    <a:pt x="27" y="417"/>
                  </a:lnTo>
                  <a:lnTo>
                    <a:pt x="25" y="419"/>
                  </a:lnTo>
                  <a:lnTo>
                    <a:pt x="25" y="419"/>
                  </a:lnTo>
                  <a:lnTo>
                    <a:pt x="25" y="421"/>
                  </a:lnTo>
                  <a:lnTo>
                    <a:pt x="19" y="422"/>
                  </a:lnTo>
                  <a:lnTo>
                    <a:pt x="18" y="422"/>
                  </a:lnTo>
                  <a:lnTo>
                    <a:pt x="18" y="422"/>
                  </a:lnTo>
                  <a:lnTo>
                    <a:pt x="18" y="422"/>
                  </a:lnTo>
                  <a:lnTo>
                    <a:pt x="16" y="422"/>
                  </a:lnTo>
                  <a:lnTo>
                    <a:pt x="16" y="422"/>
                  </a:lnTo>
                  <a:lnTo>
                    <a:pt x="16" y="422"/>
                  </a:lnTo>
                  <a:lnTo>
                    <a:pt x="14" y="426"/>
                  </a:lnTo>
                  <a:lnTo>
                    <a:pt x="14" y="428"/>
                  </a:lnTo>
                  <a:lnTo>
                    <a:pt x="14" y="428"/>
                  </a:lnTo>
                  <a:lnTo>
                    <a:pt x="12" y="428"/>
                  </a:lnTo>
                  <a:lnTo>
                    <a:pt x="12" y="430"/>
                  </a:lnTo>
                  <a:lnTo>
                    <a:pt x="12" y="430"/>
                  </a:lnTo>
                  <a:lnTo>
                    <a:pt x="12" y="430"/>
                  </a:lnTo>
                  <a:lnTo>
                    <a:pt x="14" y="432"/>
                  </a:lnTo>
                  <a:lnTo>
                    <a:pt x="14" y="432"/>
                  </a:lnTo>
                  <a:lnTo>
                    <a:pt x="14" y="434"/>
                  </a:lnTo>
                  <a:lnTo>
                    <a:pt x="14" y="436"/>
                  </a:lnTo>
                  <a:lnTo>
                    <a:pt x="14" y="438"/>
                  </a:lnTo>
                  <a:lnTo>
                    <a:pt x="12" y="440"/>
                  </a:lnTo>
                  <a:lnTo>
                    <a:pt x="12" y="441"/>
                  </a:lnTo>
                  <a:lnTo>
                    <a:pt x="12" y="441"/>
                  </a:lnTo>
                  <a:lnTo>
                    <a:pt x="12" y="441"/>
                  </a:lnTo>
                  <a:lnTo>
                    <a:pt x="10" y="443"/>
                  </a:lnTo>
                  <a:lnTo>
                    <a:pt x="10" y="443"/>
                  </a:lnTo>
                  <a:lnTo>
                    <a:pt x="10" y="443"/>
                  </a:lnTo>
                  <a:lnTo>
                    <a:pt x="10" y="445"/>
                  </a:lnTo>
                  <a:lnTo>
                    <a:pt x="10" y="445"/>
                  </a:lnTo>
                  <a:lnTo>
                    <a:pt x="10" y="449"/>
                  </a:lnTo>
                  <a:lnTo>
                    <a:pt x="10" y="451"/>
                  </a:lnTo>
                  <a:lnTo>
                    <a:pt x="10" y="453"/>
                  </a:lnTo>
                  <a:lnTo>
                    <a:pt x="8" y="453"/>
                  </a:lnTo>
                  <a:lnTo>
                    <a:pt x="8" y="453"/>
                  </a:lnTo>
                  <a:lnTo>
                    <a:pt x="8" y="455"/>
                  </a:lnTo>
                  <a:lnTo>
                    <a:pt x="6" y="455"/>
                  </a:lnTo>
                  <a:lnTo>
                    <a:pt x="6" y="457"/>
                  </a:lnTo>
                  <a:lnTo>
                    <a:pt x="6" y="457"/>
                  </a:lnTo>
                  <a:lnTo>
                    <a:pt x="6" y="459"/>
                  </a:lnTo>
                  <a:lnTo>
                    <a:pt x="6" y="460"/>
                  </a:lnTo>
                  <a:lnTo>
                    <a:pt x="6" y="460"/>
                  </a:lnTo>
                  <a:lnTo>
                    <a:pt x="6" y="460"/>
                  </a:lnTo>
                  <a:lnTo>
                    <a:pt x="6" y="460"/>
                  </a:lnTo>
                  <a:lnTo>
                    <a:pt x="4" y="460"/>
                  </a:lnTo>
                  <a:lnTo>
                    <a:pt x="4" y="460"/>
                  </a:lnTo>
                  <a:lnTo>
                    <a:pt x="4" y="459"/>
                  </a:lnTo>
                  <a:lnTo>
                    <a:pt x="4" y="459"/>
                  </a:lnTo>
                  <a:lnTo>
                    <a:pt x="2" y="459"/>
                  </a:lnTo>
                  <a:lnTo>
                    <a:pt x="2" y="459"/>
                  </a:lnTo>
                  <a:lnTo>
                    <a:pt x="2" y="460"/>
                  </a:lnTo>
                  <a:lnTo>
                    <a:pt x="2" y="460"/>
                  </a:lnTo>
                  <a:lnTo>
                    <a:pt x="2" y="460"/>
                  </a:lnTo>
                  <a:lnTo>
                    <a:pt x="2" y="462"/>
                  </a:lnTo>
                  <a:lnTo>
                    <a:pt x="0" y="464"/>
                  </a:lnTo>
                  <a:lnTo>
                    <a:pt x="0" y="466"/>
                  </a:lnTo>
                  <a:lnTo>
                    <a:pt x="2" y="468"/>
                  </a:lnTo>
                  <a:lnTo>
                    <a:pt x="6" y="468"/>
                  </a:lnTo>
                  <a:lnTo>
                    <a:pt x="8" y="468"/>
                  </a:lnTo>
                  <a:lnTo>
                    <a:pt x="8" y="468"/>
                  </a:lnTo>
                  <a:lnTo>
                    <a:pt x="10" y="468"/>
                  </a:lnTo>
                  <a:lnTo>
                    <a:pt x="10" y="468"/>
                  </a:lnTo>
                  <a:lnTo>
                    <a:pt x="10" y="468"/>
                  </a:lnTo>
                  <a:lnTo>
                    <a:pt x="12" y="466"/>
                  </a:lnTo>
                  <a:lnTo>
                    <a:pt x="12" y="466"/>
                  </a:lnTo>
                  <a:lnTo>
                    <a:pt x="12" y="466"/>
                  </a:lnTo>
                  <a:lnTo>
                    <a:pt x="14" y="466"/>
                  </a:lnTo>
                  <a:lnTo>
                    <a:pt x="18" y="468"/>
                  </a:lnTo>
                  <a:lnTo>
                    <a:pt x="19" y="468"/>
                  </a:lnTo>
                  <a:lnTo>
                    <a:pt x="21" y="466"/>
                  </a:lnTo>
                  <a:lnTo>
                    <a:pt x="23" y="464"/>
                  </a:lnTo>
                  <a:lnTo>
                    <a:pt x="25" y="464"/>
                  </a:lnTo>
                  <a:lnTo>
                    <a:pt x="25" y="462"/>
                  </a:lnTo>
                  <a:lnTo>
                    <a:pt x="29" y="462"/>
                  </a:lnTo>
                  <a:lnTo>
                    <a:pt x="31" y="462"/>
                  </a:lnTo>
                  <a:lnTo>
                    <a:pt x="31" y="460"/>
                  </a:lnTo>
                  <a:lnTo>
                    <a:pt x="33" y="460"/>
                  </a:lnTo>
                  <a:lnTo>
                    <a:pt x="33" y="459"/>
                  </a:lnTo>
                  <a:lnTo>
                    <a:pt x="35" y="457"/>
                  </a:lnTo>
                  <a:lnTo>
                    <a:pt x="42" y="455"/>
                  </a:lnTo>
                  <a:lnTo>
                    <a:pt x="50" y="449"/>
                  </a:lnTo>
                  <a:lnTo>
                    <a:pt x="54" y="449"/>
                  </a:lnTo>
                  <a:lnTo>
                    <a:pt x="58" y="447"/>
                  </a:lnTo>
                  <a:lnTo>
                    <a:pt x="61" y="443"/>
                  </a:lnTo>
                  <a:lnTo>
                    <a:pt x="65" y="443"/>
                  </a:lnTo>
                  <a:lnTo>
                    <a:pt x="69" y="445"/>
                  </a:lnTo>
                  <a:lnTo>
                    <a:pt x="71" y="445"/>
                  </a:lnTo>
                  <a:lnTo>
                    <a:pt x="73" y="447"/>
                  </a:lnTo>
                  <a:lnTo>
                    <a:pt x="75" y="449"/>
                  </a:lnTo>
                  <a:lnTo>
                    <a:pt x="75" y="449"/>
                  </a:lnTo>
                  <a:lnTo>
                    <a:pt x="75" y="449"/>
                  </a:lnTo>
                  <a:lnTo>
                    <a:pt x="77" y="449"/>
                  </a:lnTo>
                  <a:lnTo>
                    <a:pt x="77" y="449"/>
                  </a:lnTo>
                  <a:lnTo>
                    <a:pt x="78" y="449"/>
                  </a:lnTo>
                  <a:lnTo>
                    <a:pt x="78" y="449"/>
                  </a:lnTo>
                  <a:lnTo>
                    <a:pt x="80" y="449"/>
                  </a:lnTo>
                  <a:lnTo>
                    <a:pt x="80" y="449"/>
                  </a:lnTo>
                  <a:lnTo>
                    <a:pt x="80" y="447"/>
                  </a:lnTo>
                  <a:lnTo>
                    <a:pt x="82" y="447"/>
                  </a:lnTo>
                  <a:lnTo>
                    <a:pt x="82" y="445"/>
                  </a:lnTo>
                  <a:lnTo>
                    <a:pt x="82" y="445"/>
                  </a:lnTo>
                  <a:lnTo>
                    <a:pt x="84" y="443"/>
                  </a:lnTo>
                  <a:lnTo>
                    <a:pt x="86" y="445"/>
                  </a:lnTo>
                  <a:lnTo>
                    <a:pt x="88" y="443"/>
                  </a:lnTo>
                  <a:lnTo>
                    <a:pt x="88" y="443"/>
                  </a:lnTo>
                  <a:lnTo>
                    <a:pt x="88" y="441"/>
                  </a:lnTo>
                  <a:lnTo>
                    <a:pt x="88" y="441"/>
                  </a:lnTo>
                  <a:lnTo>
                    <a:pt x="88" y="440"/>
                  </a:lnTo>
                  <a:lnTo>
                    <a:pt x="88" y="438"/>
                  </a:lnTo>
                  <a:lnTo>
                    <a:pt x="88" y="438"/>
                  </a:lnTo>
                  <a:lnTo>
                    <a:pt x="90" y="436"/>
                  </a:lnTo>
                  <a:lnTo>
                    <a:pt x="90" y="436"/>
                  </a:lnTo>
                  <a:lnTo>
                    <a:pt x="90" y="436"/>
                  </a:lnTo>
                  <a:lnTo>
                    <a:pt x="90" y="434"/>
                  </a:lnTo>
                  <a:lnTo>
                    <a:pt x="90" y="434"/>
                  </a:lnTo>
                  <a:lnTo>
                    <a:pt x="88" y="432"/>
                  </a:lnTo>
                  <a:lnTo>
                    <a:pt x="86" y="430"/>
                  </a:lnTo>
                  <a:lnTo>
                    <a:pt x="86" y="430"/>
                  </a:lnTo>
                  <a:lnTo>
                    <a:pt x="86" y="428"/>
                  </a:lnTo>
                  <a:lnTo>
                    <a:pt x="86" y="428"/>
                  </a:lnTo>
                  <a:lnTo>
                    <a:pt x="90" y="422"/>
                  </a:lnTo>
                  <a:lnTo>
                    <a:pt x="90" y="421"/>
                  </a:lnTo>
                  <a:lnTo>
                    <a:pt x="90" y="421"/>
                  </a:lnTo>
                  <a:lnTo>
                    <a:pt x="90" y="419"/>
                  </a:lnTo>
                  <a:lnTo>
                    <a:pt x="90" y="417"/>
                  </a:lnTo>
                  <a:lnTo>
                    <a:pt x="90" y="417"/>
                  </a:lnTo>
                  <a:lnTo>
                    <a:pt x="90" y="417"/>
                  </a:lnTo>
                  <a:lnTo>
                    <a:pt x="92" y="413"/>
                  </a:lnTo>
                  <a:lnTo>
                    <a:pt x="92" y="411"/>
                  </a:lnTo>
                  <a:lnTo>
                    <a:pt x="92" y="409"/>
                  </a:lnTo>
                  <a:lnTo>
                    <a:pt x="92" y="409"/>
                  </a:lnTo>
                  <a:lnTo>
                    <a:pt x="92" y="407"/>
                  </a:lnTo>
                  <a:lnTo>
                    <a:pt x="92" y="407"/>
                  </a:lnTo>
                  <a:lnTo>
                    <a:pt x="96" y="403"/>
                  </a:lnTo>
                  <a:lnTo>
                    <a:pt x="96" y="402"/>
                  </a:lnTo>
                  <a:lnTo>
                    <a:pt x="98" y="400"/>
                  </a:lnTo>
                  <a:lnTo>
                    <a:pt x="98" y="398"/>
                  </a:lnTo>
                  <a:lnTo>
                    <a:pt x="99" y="398"/>
                  </a:lnTo>
                  <a:lnTo>
                    <a:pt x="101" y="398"/>
                  </a:lnTo>
                  <a:lnTo>
                    <a:pt x="101" y="400"/>
                  </a:lnTo>
                  <a:lnTo>
                    <a:pt x="103" y="400"/>
                  </a:lnTo>
                  <a:lnTo>
                    <a:pt x="103" y="400"/>
                  </a:lnTo>
                  <a:lnTo>
                    <a:pt x="103" y="400"/>
                  </a:lnTo>
                  <a:lnTo>
                    <a:pt x="105" y="400"/>
                  </a:lnTo>
                  <a:lnTo>
                    <a:pt x="105" y="400"/>
                  </a:lnTo>
                  <a:lnTo>
                    <a:pt x="105" y="402"/>
                  </a:lnTo>
                  <a:lnTo>
                    <a:pt x="105" y="402"/>
                  </a:lnTo>
                  <a:lnTo>
                    <a:pt x="105" y="402"/>
                  </a:lnTo>
                  <a:lnTo>
                    <a:pt x="105" y="403"/>
                  </a:lnTo>
                  <a:lnTo>
                    <a:pt x="105" y="403"/>
                  </a:lnTo>
                  <a:lnTo>
                    <a:pt x="105" y="405"/>
                  </a:lnTo>
                  <a:lnTo>
                    <a:pt x="105" y="407"/>
                  </a:lnTo>
                  <a:lnTo>
                    <a:pt x="105" y="407"/>
                  </a:lnTo>
                  <a:lnTo>
                    <a:pt x="105" y="409"/>
                  </a:lnTo>
                  <a:lnTo>
                    <a:pt x="107" y="409"/>
                  </a:lnTo>
                  <a:lnTo>
                    <a:pt x="111" y="415"/>
                  </a:lnTo>
                  <a:lnTo>
                    <a:pt x="111" y="415"/>
                  </a:lnTo>
                  <a:lnTo>
                    <a:pt x="113" y="415"/>
                  </a:lnTo>
                  <a:lnTo>
                    <a:pt x="113" y="417"/>
                  </a:lnTo>
                  <a:lnTo>
                    <a:pt x="113" y="417"/>
                  </a:lnTo>
                  <a:lnTo>
                    <a:pt x="113" y="417"/>
                  </a:lnTo>
                  <a:lnTo>
                    <a:pt x="113" y="419"/>
                  </a:lnTo>
                  <a:lnTo>
                    <a:pt x="111" y="421"/>
                  </a:lnTo>
                  <a:lnTo>
                    <a:pt x="111" y="422"/>
                  </a:lnTo>
                  <a:lnTo>
                    <a:pt x="111" y="422"/>
                  </a:lnTo>
                  <a:lnTo>
                    <a:pt x="111" y="424"/>
                  </a:lnTo>
                  <a:lnTo>
                    <a:pt x="111" y="424"/>
                  </a:lnTo>
                  <a:lnTo>
                    <a:pt x="113" y="424"/>
                  </a:lnTo>
                  <a:lnTo>
                    <a:pt x="113" y="426"/>
                  </a:lnTo>
                  <a:lnTo>
                    <a:pt x="115" y="426"/>
                  </a:lnTo>
                  <a:lnTo>
                    <a:pt x="115" y="426"/>
                  </a:lnTo>
                  <a:lnTo>
                    <a:pt x="117" y="426"/>
                  </a:lnTo>
                  <a:lnTo>
                    <a:pt x="117" y="426"/>
                  </a:lnTo>
                  <a:lnTo>
                    <a:pt x="119" y="424"/>
                  </a:lnTo>
                  <a:lnTo>
                    <a:pt x="119" y="424"/>
                  </a:lnTo>
                  <a:lnTo>
                    <a:pt x="119" y="422"/>
                  </a:lnTo>
                  <a:lnTo>
                    <a:pt x="119" y="421"/>
                  </a:lnTo>
                  <a:lnTo>
                    <a:pt x="119" y="421"/>
                  </a:lnTo>
                  <a:lnTo>
                    <a:pt x="120" y="421"/>
                  </a:lnTo>
                  <a:lnTo>
                    <a:pt x="122" y="419"/>
                  </a:lnTo>
                  <a:lnTo>
                    <a:pt x="124" y="417"/>
                  </a:lnTo>
                  <a:lnTo>
                    <a:pt x="128" y="415"/>
                  </a:lnTo>
                  <a:lnTo>
                    <a:pt x="128" y="415"/>
                  </a:lnTo>
                  <a:lnTo>
                    <a:pt x="130" y="413"/>
                  </a:lnTo>
                  <a:lnTo>
                    <a:pt x="130" y="413"/>
                  </a:lnTo>
                  <a:lnTo>
                    <a:pt x="130" y="411"/>
                  </a:lnTo>
                  <a:lnTo>
                    <a:pt x="130" y="409"/>
                  </a:lnTo>
                  <a:lnTo>
                    <a:pt x="130" y="407"/>
                  </a:lnTo>
                  <a:lnTo>
                    <a:pt x="130" y="407"/>
                  </a:lnTo>
                  <a:lnTo>
                    <a:pt x="132" y="407"/>
                  </a:lnTo>
                  <a:lnTo>
                    <a:pt x="134" y="407"/>
                  </a:lnTo>
                  <a:lnTo>
                    <a:pt x="134" y="407"/>
                  </a:lnTo>
                  <a:lnTo>
                    <a:pt x="136" y="407"/>
                  </a:lnTo>
                  <a:lnTo>
                    <a:pt x="136" y="409"/>
                  </a:lnTo>
                  <a:lnTo>
                    <a:pt x="138" y="409"/>
                  </a:lnTo>
                  <a:lnTo>
                    <a:pt x="139" y="409"/>
                  </a:lnTo>
                  <a:lnTo>
                    <a:pt x="139" y="409"/>
                  </a:lnTo>
                  <a:lnTo>
                    <a:pt x="139" y="409"/>
                  </a:lnTo>
                  <a:lnTo>
                    <a:pt x="139" y="411"/>
                  </a:lnTo>
                  <a:lnTo>
                    <a:pt x="139" y="413"/>
                  </a:lnTo>
                  <a:lnTo>
                    <a:pt x="139" y="413"/>
                  </a:lnTo>
                  <a:lnTo>
                    <a:pt x="139" y="413"/>
                  </a:lnTo>
                  <a:lnTo>
                    <a:pt x="141" y="415"/>
                  </a:lnTo>
                  <a:lnTo>
                    <a:pt x="145" y="413"/>
                  </a:lnTo>
                  <a:lnTo>
                    <a:pt x="145" y="413"/>
                  </a:lnTo>
                  <a:lnTo>
                    <a:pt x="149" y="413"/>
                  </a:lnTo>
                  <a:lnTo>
                    <a:pt x="149" y="411"/>
                  </a:lnTo>
                  <a:lnTo>
                    <a:pt x="151" y="411"/>
                  </a:lnTo>
                  <a:lnTo>
                    <a:pt x="151" y="411"/>
                  </a:lnTo>
                  <a:lnTo>
                    <a:pt x="153" y="411"/>
                  </a:lnTo>
                  <a:lnTo>
                    <a:pt x="153" y="411"/>
                  </a:lnTo>
                  <a:lnTo>
                    <a:pt x="155" y="407"/>
                  </a:lnTo>
                  <a:lnTo>
                    <a:pt x="153" y="407"/>
                  </a:lnTo>
                  <a:lnTo>
                    <a:pt x="153" y="405"/>
                  </a:lnTo>
                  <a:lnTo>
                    <a:pt x="153" y="405"/>
                  </a:lnTo>
                  <a:lnTo>
                    <a:pt x="153" y="405"/>
                  </a:lnTo>
                  <a:lnTo>
                    <a:pt x="153" y="403"/>
                  </a:lnTo>
                  <a:lnTo>
                    <a:pt x="153" y="403"/>
                  </a:lnTo>
                  <a:lnTo>
                    <a:pt x="157" y="398"/>
                  </a:lnTo>
                  <a:lnTo>
                    <a:pt x="157" y="396"/>
                  </a:lnTo>
                  <a:lnTo>
                    <a:pt x="157" y="396"/>
                  </a:lnTo>
                  <a:lnTo>
                    <a:pt x="157" y="396"/>
                  </a:lnTo>
                  <a:lnTo>
                    <a:pt x="157" y="396"/>
                  </a:lnTo>
                  <a:lnTo>
                    <a:pt x="155" y="396"/>
                  </a:lnTo>
                  <a:lnTo>
                    <a:pt x="155" y="396"/>
                  </a:lnTo>
                  <a:lnTo>
                    <a:pt x="155" y="396"/>
                  </a:lnTo>
                  <a:lnTo>
                    <a:pt x="153" y="394"/>
                  </a:lnTo>
                  <a:lnTo>
                    <a:pt x="151" y="392"/>
                  </a:lnTo>
                  <a:lnTo>
                    <a:pt x="151" y="390"/>
                  </a:lnTo>
                  <a:lnTo>
                    <a:pt x="151" y="390"/>
                  </a:lnTo>
                  <a:lnTo>
                    <a:pt x="153" y="388"/>
                  </a:lnTo>
                  <a:lnTo>
                    <a:pt x="153" y="388"/>
                  </a:lnTo>
                  <a:lnTo>
                    <a:pt x="153" y="388"/>
                  </a:lnTo>
                  <a:lnTo>
                    <a:pt x="153" y="386"/>
                  </a:lnTo>
                  <a:lnTo>
                    <a:pt x="153" y="386"/>
                  </a:lnTo>
                  <a:lnTo>
                    <a:pt x="155" y="384"/>
                  </a:lnTo>
                  <a:lnTo>
                    <a:pt x="157" y="383"/>
                  </a:lnTo>
                  <a:lnTo>
                    <a:pt x="157" y="381"/>
                  </a:lnTo>
                  <a:lnTo>
                    <a:pt x="159" y="379"/>
                  </a:lnTo>
                  <a:lnTo>
                    <a:pt x="160" y="377"/>
                  </a:lnTo>
                  <a:lnTo>
                    <a:pt x="162" y="375"/>
                  </a:lnTo>
                  <a:lnTo>
                    <a:pt x="162" y="375"/>
                  </a:lnTo>
                  <a:lnTo>
                    <a:pt x="164" y="375"/>
                  </a:lnTo>
                  <a:lnTo>
                    <a:pt x="164" y="375"/>
                  </a:lnTo>
                  <a:lnTo>
                    <a:pt x="166" y="375"/>
                  </a:lnTo>
                  <a:lnTo>
                    <a:pt x="166" y="375"/>
                  </a:lnTo>
                  <a:lnTo>
                    <a:pt x="168" y="377"/>
                  </a:lnTo>
                  <a:lnTo>
                    <a:pt x="168" y="377"/>
                  </a:lnTo>
                  <a:lnTo>
                    <a:pt x="174" y="375"/>
                  </a:lnTo>
                  <a:lnTo>
                    <a:pt x="176" y="373"/>
                  </a:lnTo>
                  <a:lnTo>
                    <a:pt x="178" y="371"/>
                  </a:lnTo>
                  <a:lnTo>
                    <a:pt x="179" y="369"/>
                  </a:lnTo>
                  <a:lnTo>
                    <a:pt x="181" y="367"/>
                  </a:lnTo>
                  <a:lnTo>
                    <a:pt x="183" y="367"/>
                  </a:lnTo>
                  <a:lnTo>
                    <a:pt x="185" y="367"/>
                  </a:lnTo>
                  <a:lnTo>
                    <a:pt x="185" y="365"/>
                  </a:lnTo>
                  <a:lnTo>
                    <a:pt x="187" y="365"/>
                  </a:lnTo>
                  <a:lnTo>
                    <a:pt x="187" y="363"/>
                  </a:lnTo>
                  <a:lnTo>
                    <a:pt x="185" y="363"/>
                  </a:lnTo>
                  <a:lnTo>
                    <a:pt x="185" y="363"/>
                  </a:lnTo>
                  <a:lnTo>
                    <a:pt x="185" y="363"/>
                  </a:lnTo>
                  <a:lnTo>
                    <a:pt x="185" y="363"/>
                  </a:lnTo>
                  <a:lnTo>
                    <a:pt x="185" y="362"/>
                  </a:lnTo>
                  <a:lnTo>
                    <a:pt x="183" y="362"/>
                  </a:lnTo>
                  <a:lnTo>
                    <a:pt x="183" y="362"/>
                  </a:lnTo>
                  <a:lnTo>
                    <a:pt x="183" y="362"/>
                  </a:lnTo>
                  <a:lnTo>
                    <a:pt x="183" y="362"/>
                  </a:lnTo>
                  <a:lnTo>
                    <a:pt x="181" y="362"/>
                  </a:lnTo>
                  <a:lnTo>
                    <a:pt x="181" y="360"/>
                  </a:lnTo>
                  <a:lnTo>
                    <a:pt x="179" y="358"/>
                  </a:lnTo>
                  <a:lnTo>
                    <a:pt x="179" y="358"/>
                  </a:lnTo>
                  <a:lnTo>
                    <a:pt x="179" y="356"/>
                  </a:lnTo>
                  <a:lnTo>
                    <a:pt x="179" y="356"/>
                  </a:lnTo>
                  <a:lnTo>
                    <a:pt x="178" y="354"/>
                  </a:lnTo>
                  <a:lnTo>
                    <a:pt x="178" y="354"/>
                  </a:lnTo>
                  <a:lnTo>
                    <a:pt x="178" y="354"/>
                  </a:lnTo>
                  <a:lnTo>
                    <a:pt x="178" y="352"/>
                  </a:lnTo>
                  <a:lnTo>
                    <a:pt x="178" y="352"/>
                  </a:lnTo>
                  <a:lnTo>
                    <a:pt x="179" y="352"/>
                  </a:lnTo>
                  <a:lnTo>
                    <a:pt x="179" y="350"/>
                  </a:lnTo>
                  <a:lnTo>
                    <a:pt x="179" y="350"/>
                  </a:lnTo>
                  <a:lnTo>
                    <a:pt x="181" y="350"/>
                  </a:lnTo>
                  <a:lnTo>
                    <a:pt x="183" y="352"/>
                  </a:lnTo>
                  <a:lnTo>
                    <a:pt x="183" y="352"/>
                  </a:lnTo>
                  <a:lnTo>
                    <a:pt x="183" y="352"/>
                  </a:lnTo>
                  <a:lnTo>
                    <a:pt x="185" y="352"/>
                  </a:lnTo>
                  <a:lnTo>
                    <a:pt x="187" y="354"/>
                  </a:lnTo>
                  <a:lnTo>
                    <a:pt x="189" y="354"/>
                  </a:lnTo>
                  <a:lnTo>
                    <a:pt x="191" y="356"/>
                  </a:lnTo>
                  <a:lnTo>
                    <a:pt x="191" y="354"/>
                  </a:lnTo>
                  <a:lnTo>
                    <a:pt x="191" y="354"/>
                  </a:lnTo>
                  <a:lnTo>
                    <a:pt x="191" y="352"/>
                  </a:lnTo>
                  <a:lnTo>
                    <a:pt x="191" y="352"/>
                  </a:lnTo>
                  <a:lnTo>
                    <a:pt x="191" y="352"/>
                  </a:lnTo>
                  <a:lnTo>
                    <a:pt x="191" y="352"/>
                  </a:lnTo>
                  <a:lnTo>
                    <a:pt x="191" y="350"/>
                  </a:lnTo>
                  <a:lnTo>
                    <a:pt x="191" y="350"/>
                  </a:lnTo>
                  <a:lnTo>
                    <a:pt x="193" y="350"/>
                  </a:lnTo>
                  <a:lnTo>
                    <a:pt x="193" y="350"/>
                  </a:lnTo>
                  <a:lnTo>
                    <a:pt x="193" y="348"/>
                  </a:lnTo>
                  <a:lnTo>
                    <a:pt x="193" y="344"/>
                  </a:lnTo>
                  <a:lnTo>
                    <a:pt x="193" y="344"/>
                  </a:lnTo>
                  <a:lnTo>
                    <a:pt x="193" y="344"/>
                  </a:lnTo>
                  <a:lnTo>
                    <a:pt x="193" y="344"/>
                  </a:lnTo>
                  <a:lnTo>
                    <a:pt x="195" y="344"/>
                  </a:lnTo>
                  <a:lnTo>
                    <a:pt x="195" y="346"/>
                  </a:lnTo>
                  <a:lnTo>
                    <a:pt x="195" y="348"/>
                  </a:lnTo>
                  <a:lnTo>
                    <a:pt x="197" y="350"/>
                  </a:lnTo>
                  <a:lnTo>
                    <a:pt x="197" y="350"/>
                  </a:lnTo>
                  <a:lnTo>
                    <a:pt x="197" y="350"/>
                  </a:lnTo>
                  <a:lnTo>
                    <a:pt x="199" y="350"/>
                  </a:lnTo>
                  <a:lnTo>
                    <a:pt x="199" y="350"/>
                  </a:lnTo>
                  <a:lnTo>
                    <a:pt x="199" y="348"/>
                  </a:lnTo>
                  <a:lnTo>
                    <a:pt x="200" y="346"/>
                  </a:lnTo>
                  <a:lnTo>
                    <a:pt x="200" y="346"/>
                  </a:lnTo>
                  <a:lnTo>
                    <a:pt x="200" y="344"/>
                  </a:lnTo>
                  <a:lnTo>
                    <a:pt x="202" y="344"/>
                  </a:lnTo>
                  <a:lnTo>
                    <a:pt x="204" y="343"/>
                  </a:lnTo>
                  <a:lnTo>
                    <a:pt x="204" y="343"/>
                  </a:lnTo>
                  <a:lnTo>
                    <a:pt x="204" y="341"/>
                  </a:lnTo>
                  <a:lnTo>
                    <a:pt x="204" y="341"/>
                  </a:lnTo>
                  <a:lnTo>
                    <a:pt x="204" y="339"/>
                  </a:lnTo>
                  <a:lnTo>
                    <a:pt x="206" y="339"/>
                  </a:lnTo>
                  <a:lnTo>
                    <a:pt x="206" y="339"/>
                  </a:lnTo>
                  <a:lnTo>
                    <a:pt x="208" y="341"/>
                  </a:lnTo>
                  <a:lnTo>
                    <a:pt x="208" y="343"/>
                  </a:lnTo>
                  <a:lnTo>
                    <a:pt x="210" y="344"/>
                  </a:lnTo>
                  <a:lnTo>
                    <a:pt x="214" y="348"/>
                  </a:lnTo>
                  <a:lnTo>
                    <a:pt x="214" y="350"/>
                  </a:lnTo>
                  <a:lnTo>
                    <a:pt x="216" y="350"/>
                  </a:lnTo>
                  <a:lnTo>
                    <a:pt x="218" y="356"/>
                  </a:lnTo>
                  <a:lnTo>
                    <a:pt x="218" y="358"/>
                  </a:lnTo>
                  <a:lnTo>
                    <a:pt x="218" y="358"/>
                  </a:lnTo>
                  <a:lnTo>
                    <a:pt x="218" y="358"/>
                  </a:lnTo>
                  <a:lnTo>
                    <a:pt x="220" y="358"/>
                  </a:lnTo>
                  <a:lnTo>
                    <a:pt x="220" y="356"/>
                  </a:lnTo>
                  <a:lnTo>
                    <a:pt x="220" y="356"/>
                  </a:lnTo>
                  <a:lnTo>
                    <a:pt x="220" y="354"/>
                  </a:lnTo>
                  <a:lnTo>
                    <a:pt x="220" y="354"/>
                  </a:lnTo>
                  <a:lnTo>
                    <a:pt x="220" y="354"/>
                  </a:lnTo>
                  <a:lnTo>
                    <a:pt x="220" y="352"/>
                  </a:lnTo>
                  <a:lnTo>
                    <a:pt x="220" y="352"/>
                  </a:lnTo>
                  <a:lnTo>
                    <a:pt x="220" y="352"/>
                  </a:lnTo>
                  <a:lnTo>
                    <a:pt x="220" y="352"/>
                  </a:lnTo>
                  <a:lnTo>
                    <a:pt x="220" y="350"/>
                  </a:lnTo>
                  <a:lnTo>
                    <a:pt x="220" y="350"/>
                  </a:lnTo>
                  <a:lnTo>
                    <a:pt x="221" y="350"/>
                  </a:lnTo>
                  <a:lnTo>
                    <a:pt x="221" y="350"/>
                  </a:lnTo>
                  <a:lnTo>
                    <a:pt x="223" y="352"/>
                  </a:lnTo>
                  <a:lnTo>
                    <a:pt x="225" y="356"/>
                  </a:lnTo>
                  <a:lnTo>
                    <a:pt x="225" y="360"/>
                  </a:lnTo>
                  <a:lnTo>
                    <a:pt x="227" y="360"/>
                  </a:lnTo>
                  <a:lnTo>
                    <a:pt x="227" y="362"/>
                  </a:lnTo>
                  <a:lnTo>
                    <a:pt x="229" y="363"/>
                  </a:lnTo>
                  <a:lnTo>
                    <a:pt x="229" y="365"/>
                  </a:lnTo>
                  <a:lnTo>
                    <a:pt x="229" y="365"/>
                  </a:lnTo>
                  <a:lnTo>
                    <a:pt x="229" y="365"/>
                  </a:lnTo>
                  <a:lnTo>
                    <a:pt x="229" y="367"/>
                  </a:lnTo>
                  <a:lnTo>
                    <a:pt x="231" y="367"/>
                  </a:lnTo>
                  <a:lnTo>
                    <a:pt x="231" y="369"/>
                  </a:lnTo>
                  <a:lnTo>
                    <a:pt x="231" y="369"/>
                  </a:lnTo>
                  <a:lnTo>
                    <a:pt x="231" y="369"/>
                  </a:lnTo>
                  <a:lnTo>
                    <a:pt x="233" y="369"/>
                  </a:lnTo>
                  <a:lnTo>
                    <a:pt x="233" y="369"/>
                  </a:lnTo>
                  <a:lnTo>
                    <a:pt x="233" y="371"/>
                  </a:lnTo>
                  <a:lnTo>
                    <a:pt x="237" y="369"/>
                  </a:lnTo>
                  <a:lnTo>
                    <a:pt x="242" y="369"/>
                  </a:lnTo>
                  <a:lnTo>
                    <a:pt x="248" y="369"/>
                  </a:lnTo>
                  <a:lnTo>
                    <a:pt x="248" y="369"/>
                  </a:lnTo>
                  <a:lnTo>
                    <a:pt x="250" y="369"/>
                  </a:lnTo>
                  <a:lnTo>
                    <a:pt x="250" y="369"/>
                  </a:lnTo>
                  <a:lnTo>
                    <a:pt x="252" y="371"/>
                  </a:lnTo>
                  <a:lnTo>
                    <a:pt x="254" y="371"/>
                  </a:lnTo>
                  <a:lnTo>
                    <a:pt x="256" y="371"/>
                  </a:lnTo>
                  <a:lnTo>
                    <a:pt x="256" y="371"/>
                  </a:lnTo>
                  <a:lnTo>
                    <a:pt x="258" y="373"/>
                  </a:lnTo>
                  <a:lnTo>
                    <a:pt x="260" y="371"/>
                  </a:lnTo>
                  <a:lnTo>
                    <a:pt x="265" y="371"/>
                  </a:lnTo>
                  <a:lnTo>
                    <a:pt x="271" y="369"/>
                  </a:lnTo>
                  <a:lnTo>
                    <a:pt x="273" y="369"/>
                  </a:lnTo>
                  <a:lnTo>
                    <a:pt x="275" y="367"/>
                  </a:lnTo>
                  <a:lnTo>
                    <a:pt x="277" y="365"/>
                  </a:lnTo>
                  <a:lnTo>
                    <a:pt x="277" y="363"/>
                  </a:lnTo>
                  <a:lnTo>
                    <a:pt x="279" y="362"/>
                  </a:lnTo>
                  <a:lnTo>
                    <a:pt x="279" y="362"/>
                  </a:lnTo>
                  <a:lnTo>
                    <a:pt x="279" y="360"/>
                  </a:lnTo>
                  <a:lnTo>
                    <a:pt x="280" y="362"/>
                  </a:lnTo>
                  <a:lnTo>
                    <a:pt x="280" y="362"/>
                  </a:lnTo>
                  <a:lnTo>
                    <a:pt x="282" y="360"/>
                  </a:lnTo>
                  <a:lnTo>
                    <a:pt x="284" y="356"/>
                  </a:lnTo>
                  <a:lnTo>
                    <a:pt x="286" y="356"/>
                  </a:lnTo>
                  <a:lnTo>
                    <a:pt x="286" y="356"/>
                  </a:lnTo>
                  <a:lnTo>
                    <a:pt x="284" y="354"/>
                  </a:lnTo>
                  <a:lnTo>
                    <a:pt x="284" y="354"/>
                  </a:lnTo>
                  <a:lnTo>
                    <a:pt x="284" y="354"/>
                  </a:lnTo>
                  <a:lnTo>
                    <a:pt x="284" y="354"/>
                  </a:lnTo>
                  <a:lnTo>
                    <a:pt x="284" y="352"/>
                  </a:lnTo>
                  <a:lnTo>
                    <a:pt x="286" y="352"/>
                  </a:lnTo>
                  <a:lnTo>
                    <a:pt x="286" y="352"/>
                  </a:lnTo>
                  <a:lnTo>
                    <a:pt x="286" y="350"/>
                  </a:lnTo>
                  <a:lnTo>
                    <a:pt x="286" y="350"/>
                  </a:lnTo>
                  <a:lnTo>
                    <a:pt x="286" y="348"/>
                  </a:lnTo>
                  <a:lnTo>
                    <a:pt x="286" y="348"/>
                  </a:lnTo>
                  <a:lnTo>
                    <a:pt x="286" y="348"/>
                  </a:lnTo>
                  <a:lnTo>
                    <a:pt x="288" y="348"/>
                  </a:lnTo>
                  <a:lnTo>
                    <a:pt x="288" y="348"/>
                  </a:lnTo>
                  <a:lnTo>
                    <a:pt x="290" y="348"/>
                  </a:lnTo>
                  <a:lnTo>
                    <a:pt x="290" y="348"/>
                  </a:lnTo>
                  <a:lnTo>
                    <a:pt x="294" y="346"/>
                  </a:lnTo>
                  <a:lnTo>
                    <a:pt x="294" y="344"/>
                  </a:lnTo>
                  <a:lnTo>
                    <a:pt x="301" y="341"/>
                  </a:lnTo>
                  <a:lnTo>
                    <a:pt x="301" y="343"/>
                  </a:lnTo>
                  <a:lnTo>
                    <a:pt x="303" y="343"/>
                  </a:lnTo>
                  <a:lnTo>
                    <a:pt x="303" y="343"/>
                  </a:lnTo>
                  <a:lnTo>
                    <a:pt x="303" y="343"/>
                  </a:lnTo>
                  <a:lnTo>
                    <a:pt x="305" y="341"/>
                  </a:lnTo>
                  <a:lnTo>
                    <a:pt x="305" y="341"/>
                  </a:lnTo>
                  <a:lnTo>
                    <a:pt x="305" y="339"/>
                  </a:lnTo>
                  <a:lnTo>
                    <a:pt x="305" y="339"/>
                  </a:lnTo>
                  <a:lnTo>
                    <a:pt x="305" y="337"/>
                  </a:lnTo>
                  <a:lnTo>
                    <a:pt x="305" y="337"/>
                  </a:lnTo>
                  <a:lnTo>
                    <a:pt x="305" y="337"/>
                  </a:lnTo>
                  <a:lnTo>
                    <a:pt x="305" y="335"/>
                  </a:lnTo>
                  <a:lnTo>
                    <a:pt x="307" y="335"/>
                  </a:lnTo>
                  <a:lnTo>
                    <a:pt x="307" y="335"/>
                  </a:lnTo>
                  <a:lnTo>
                    <a:pt x="311" y="335"/>
                  </a:lnTo>
                  <a:lnTo>
                    <a:pt x="311" y="335"/>
                  </a:lnTo>
                  <a:lnTo>
                    <a:pt x="313" y="337"/>
                  </a:lnTo>
                  <a:lnTo>
                    <a:pt x="313" y="337"/>
                  </a:lnTo>
                  <a:lnTo>
                    <a:pt x="313" y="337"/>
                  </a:lnTo>
                  <a:lnTo>
                    <a:pt x="315" y="341"/>
                  </a:lnTo>
                  <a:lnTo>
                    <a:pt x="315" y="339"/>
                  </a:lnTo>
                  <a:lnTo>
                    <a:pt x="322" y="329"/>
                  </a:lnTo>
                  <a:lnTo>
                    <a:pt x="334" y="320"/>
                  </a:lnTo>
                  <a:lnTo>
                    <a:pt x="341" y="314"/>
                  </a:lnTo>
                  <a:lnTo>
                    <a:pt x="351" y="305"/>
                  </a:lnTo>
                  <a:lnTo>
                    <a:pt x="357" y="301"/>
                  </a:lnTo>
                  <a:lnTo>
                    <a:pt x="361" y="299"/>
                  </a:lnTo>
                  <a:lnTo>
                    <a:pt x="366" y="295"/>
                  </a:lnTo>
                  <a:lnTo>
                    <a:pt x="370" y="293"/>
                  </a:lnTo>
                  <a:lnTo>
                    <a:pt x="378" y="289"/>
                  </a:lnTo>
                  <a:lnTo>
                    <a:pt x="383" y="286"/>
                  </a:lnTo>
                  <a:lnTo>
                    <a:pt x="387" y="284"/>
                  </a:lnTo>
                  <a:lnTo>
                    <a:pt x="364" y="295"/>
                  </a:lnTo>
                  <a:lnTo>
                    <a:pt x="362" y="295"/>
                  </a:lnTo>
                  <a:lnTo>
                    <a:pt x="362" y="295"/>
                  </a:lnTo>
                  <a:lnTo>
                    <a:pt x="362" y="293"/>
                  </a:lnTo>
                  <a:lnTo>
                    <a:pt x="361" y="293"/>
                  </a:lnTo>
                  <a:lnTo>
                    <a:pt x="362" y="293"/>
                  </a:lnTo>
                  <a:lnTo>
                    <a:pt x="362" y="293"/>
                  </a:lnTo>
                  <a:lnTo>
                    <a:pt x="362" y="293"/>
                  </a:lnTo>
                  <a:lnTo>
                    <a:pt x="362" y="291"/>
                  </a:lnTo>
                  <a:lnTo>
                    <a:pt x="364" y="291"/>
                  </a:lnTo>
                  <a:lnTo>
                    <a:pt x="364" y="291"/>
                  </a:lnTo>
                  <a:lnTo>
                    <a:pt x="364" y="293"/>
                  </a:lnTo>
                  <a:lnTo>
                    <a:pt x="366" y="293"/>
                  </a:lnTo>
                  <a:lnTo>
                    <a:pt x="366" y="293"/>
                  </a:lnTo>
                  <a:lnTo>
                    <a:pt x="368" y="291"/>
                  </a:lnTo>
                  <a:lnTo>
                    <a:pt x="370" y="291"/>
                  </a:lnTo>
                  <a:lnTo>
                    <a:pt x="370" y="291"/>
                  </a:lnTo>
                  <a:lnTo>
                    <a:pt x="370" y="289"/>
                  </a:lnTo>
                  <a:lnTo>
                    <a:pt x="370" y="289"/>
                  </a:lnTo>
                  <a:lnTo>
                    <a:pt x="370" y="289"/>
                  </a:lnTo>
                  <a:lnTo>
                    <a:pt x="372" y="289"/>
                  </a:lnTo>
                  <a:lnTo>
                    <a:pt x="372" y="287"/>
                  </a:lnTo>
                  <a:lnTo>
                    <a:pt x="372" y="287"/>
                  </a:lnTo>
                  <a:lnTo>
                    <a:pt x="372" y="286"/>
                  </a:lnTo>
                  <a:lnTo>
                    <a:pt x="372" y="286"/>
                  </a:lnTo>
                  <a:lnTo>
                    <a:pt x="370" y="284"/>
                  </a:lnTo>
                  <a:lnTo>
                    <a:pt x="370" y="286"/>
                  </a:lnTo>
                  <a:lnTo>
                    <a:pt x="368" y="286"/>
                  </a:lnTo>
                  <a:lnTo>
                    <a:pt x="368" y="286"/>
                  </a:lnTo>
                  <a:lnTo>
                    <a:pt x="366" y="286"/>
                  </a:lnTo>
                  <a:lnTo>
                    <a:pt x="362" y="289"/>
                  </a:lnTo>
                  <a:lnTo>
                    <a:pt x="359" y="287"/>
                  </a:lnTo>
                  <a:lnTo>
                    <a:pt x="357" y="287"/>
                  </a:lnTo>
                  <a:lnTo>
                    <a:pt x="357" y="287"/>
                  </a:lnTo>
                  <a:lnTo>
                    <a:pt x="357" y="289"/>
                  </a:lnTo>
                  <a:lnTo>
                    <a:pt x="357" y="289"/>
                  </a:lnTo>
                  <a:lnTo>
                    <a:pt x="357" y="289"/>
                  </a:lnTo>
                  <a:lnTo>
                    <a:pt x="357" y="291"/>
                  </a:lnTo>
                  <a:lnTo>
                    <a:pt x="357" y="291"/>
                  </a:lnTo>
                  <a:lnTo>
                    <a:pt x="357" y="291"/>
                  </a:lnTo>
                  <a:lnTo>
                    <a:pt x="357" y="291"/>
                  </a:lnTo>
                  <a:lnTo>
                    <a:pt x="357" y="293"/>
                  </a:lnTo>
                  <a:lnTo>
                    <a:pt x="355" y="293"/>
                  </a:lnTo>
                  <a:lnTo>
                    <a:pt x="355" y="295"/>
                  </a:lnTo>
                  <a:lnTo>
                    <a:pt x="353" y="295"/>
                  </a:lnTo>
                  <a:lnTo>
                    <a:pt x="353" y="295"/>
                  </a:lnTo>
                  <a:lnTo>
                    <a:pt x="353" y="295"/>
                  </a:lnTo>
                  <a:lnTo>
                    <a:pt x="357" y="297"/>
                  </a:lnTo>
                  <a:lnTo>
                    <a:pt x="355" y="297"/>
                  </a:lnTo>
                  <a:lnTo>
                    <a:pt x="355" y="297"/>
                  </a:lnTo>
                  <a:lnTo>
                    <a:pt x="353" y="297"/>
                  </a:lnTo>
                  <a:lnTo>
                    <a:pt x="353" y="297"/>
                  </a:lnTo>
                  <a:lnTo>
                    <a:pt x="353" y="299"/>
                  </a:lnTo>
                  <a:lnTo>
                    <a:pt x="353" y="301"/>
                  </a:lnTo>
                  <a:lnTo>
                    <a:pt x="353" y="301"/>
                  </a:lnTo>
                  <a:lnTo>
                    <a:pt x="351" y="303"/>
                  </a:lnTo>
                  <a:lnTo>
                    <a:pt x="351" y="303"/>
                  </a:lnTo>
                  <a:lnTo>
                    <a:pt x="351" y="303"/>
                  </a:lnTo>
                  <a:lnTo>
                    <a:pt x="349" y="303"/>
                  </a:lnTo>
                  <a:lnTo>
                    <a:pt x="349" y="303"/>
                  </a:lnTo>
                  <a:lnTo>
                    <a:pt x="347" y="303"/>
                  </a:lnTo>
                  <a:lnTo>
                    <a:pt x="347" y="305"/>
                  </a:lnTo>
                  <a:lnTo>
                    <a:pt x="347" y="305"/>
                  </a:lnTo>
                  <a:lnTo>
                    <a:pt x="345" y="305"/>
                  </a:lnTo>
                  <a:lnTo>
                    <a:pt x="347" y="305"/>
                  </a:lnTo>
                  <a:lnTo>
                    <a:pt x="347" y="303"/>
                  </a:lnTo>
                  <a:lnTo>
                    <a:pt x="347" y="301"/>
                  </a:lnTo>
                  <a:lnTo>
                    <a:pt x="345" y="301"/>
                  </a:lnTo>
                  <a:lnTo>
                    <a:pt x="345" y="303"/>
                  </a:lnTo>
                  <a:lnTo>
                    <a:pt x="345" y="303"/>
                  </a:lnTo>
                  <a:lnTo>
                    <a:pt x="343" y="301"/>
                  </a:lnTo>
                  <a:lnTo>
                    <a:pt x="343" y="299"/>
                  </a:lnTo>
                  <a:lnTo>
                    <a:pt x="345" y="299"/>
                  </a:lnTo>
                  <a:lnTo>
                    <a:pt x="345" y="297"/>
                  </a:lnTo>
                  <a:lnTo>
                    <a:pt x="347" y="297"/>
                  </a:lnTo>
                  <a:lnTo>
                    <a:pt x="349" y="297"/>
                  </a:lnTo>
                  <a:lnTo>
                    <a:pt x="349" y="295"/>
                  </a:lnTo>
                  <a:lnTo>
                    <a:pt x="347" y="295"/>
                  </a:lnTo>
                  <a:lnTo>
                    <a:pt x="347" y="293"/>
                  </a:lnTo>
                  <a:lnTo>
                    <a:pt x="349" y="291"/>
                  </a:lnTo>
                  <a:lnTo>
                    <a:pt x="349" y="289"/>
                  </a:lnTo>
                  <a:lnTo>
                    <a:pt x="351" y="289"/>
                  </a:lnTo>
                  <a:lnTo>
                    <a:pt x="353" y="286"/>
                  </a:lnTo>
                  <a:lnTo>
                    <a:pt x="353" y="284"/>
                  </a:lnTo>
                  <a:lnTo>
                    <a:pt x="353" y="282"/>
                  </a:lnTo>
                  <a:lnTo>
                    <a:pt x="355" y="280"/>
                  </a:lnTo>
                  <a:lnTo>
                    <a:pt x="357" y="276"/>
                  </a:lnTo>
                  <a:lnTo>
                    <a:pt x="359" y="276"/>
                  </a:lnTo>
                  <a:lnTo>
                    <a:pt x="361" y="274"/>
                  </a:lnTo>
                  <a:lnTo>
                    <a:pt x="361" y="274"/>
                  </a:lnTo>
                  <a:lnTo>
                    <a:pt x="362" y="274"/>
                  </a:lnTo>
                  <a:lnTo>
                    <a:pt x="364" y="274"/>
                  </a:lnTo>
                  <a:lnTo>
                    <a:pt x="368" y="270"/>
                  </a:lnTo>
                  <a:lnTo>
                    <a:pt x="372" y="265"/>
                  </a:lnTo>
                  <a:lnTo>
                    <a:pt x="376" y="265"/>
                  </a:lnTo>
                  <a:lnTo>
                    <a:pt x="378" y="263"/>
                  </a:lnTo>
                  <a:lnTo>
                    <a:pt x="378" y="263"/>
                  </a:lnTo>
                  <a:lnTo>
                    <a:pt x="381" y="265"/>
                  </a:lnTo>
                  <a:lnTo>
                    <a:pt x="385" y="265"/>
                  </a:lnTo>
                  <a:lnTo>
                    <a:pt x="387" y="266"/>
                  </a:lnTo>
                  <a:lnTo>
                    <a:pt x="387" y="274"/>
                  </a:lnTo>
                  <a:lnTo>
                    <a:pt x="387" y="276"/>
                  </a:lnTo>
                  <a:lnTo>
                    <a:pt x="387" y="276"/>
                  </a:lnTo>
                  <a:lnTo>
                    <a:pt x="387" y="278"/>
                  </a:lnTo>
                  <a:lnTo>
                    <a:pt x="387" y="278"/>
                  </a:lnTo>
                  <a:lnTo>
                    <a:pt x="387" y="278"/>
                  </a:lnTo>
                  <a:lnTo>
                    <a:pt x="385" y="280"/>
                  </a:lnTo>
                  <a:lnTo>
                    <a:pt x="381" y="282"/>
                  </a:lnTo>
                  <a:lnTo>
                    <a:pt x="381" y="282"/>
                  </a:lnTo>
                  <a:lnTo>
                    <a:pt x="383" y="280"/>
                  </a:lnTo>
                  <a:lnTo>
                    <a:pt x="383" y="280"/>
                  </a:lnTo>
                  <a:lnTo>
                    <a:pt x="383" y="280"/>
                  </a:lnTo>
                  <a:lnTo>
                    <a:pt x="378" y="280"/>
                  </a:lnTo>
                  <a:lnTo>
                    <a:pt x="376" y="282"/>
                  </a:lnTo>
                  <a:lnTo>
                    <a:pt x="376" y="282"/>
                  </a:lnTo>
                  <a:lnTo>
                    <a:pt x="374" y="282"/>
                  </a:lnTo>
                  <a:lnTo>
                    <a:pt x="374" y="282"/>
                  </a:lnTo>
                  <a:lnTo>
                    <a:pt x="374" y="282"/>
                  </a:lnTo>
                  <a:lnTo>
                    <a:pt x="374" y="284"/>
                  </a:lnTo>
                  <a:lnTo>
                    <a:pt x="374" y="284"/>
                  </a:lnTo>
                  <a:lnTo>
                    <a:pt x="374" y="284"/>
                  </a:lnTo>
                  <a:lnTo>
                    <a:pt x="376" y="284"/>
                  </a:lnTo>
                  <a:lnTo>
                    <a:pt x="376" y="284"/>
                  </a:lnTo>
                  <a:lnTo>
                    <a:pt x="376" y="286"/>
                  </a:lnTo>
                  <a:lnTo>
                    <a:pt x="376" y="286"/>
                  </a:lnTo>
                  <a:lnTo>
                    <a:pt x="376" y="287"/>
                  </a:lnTo>
                  <a:lnTo>
                    <a:pt x="380" y="286"/>
                  </a:lnTo>
                  <a:lnTo>
                    <a:pt x="385" y="284"/>
                  </a:lnTo>
                  <a:lnTo>
                    <a:pt x="391" y="280"/>
                  </a:lnTo>
                  <a:lnTo>
                    <a:pt x="393" y="280"/>
                  </a:lnTo>
                  <a:lnTo>
                    <a:pt x="393" y="280"/>
                  </a:lnTo>
                  <a:lnTo>
                    <a:pt x="393" y="280"/>
                  </a:lnTo>
                  <a:lnTo>
                    <a:pt x="393" y="282"/>
                  </a:lnTo>
                  <a:lnTo>
                    <a:pt x="397" y="278"/>
                  </a:lnTo>
                  <a:lnTo>
                    <a:pt x="401" y="278"/>
                  </a:lnTo>
                  <a:lnTo>
                    <a:pt x="402" y="276"/>
                  </a:lnTo>
                  <a:lnTo>
                    <a:pt x="402" y="276"/>
                  </a:lnTo>
                  <a:lnTo>
                    <a:pt x="406" y="276"/>
                  </a:lnTo>
                  <a:lnTo>
                    <a:pt x="408" y="276"/>
                  </a:lnTo>
                  <a:lnTo>
                    <a:pt x="408" y="276"/>
                  </a:lnTo>
                  <a:lnTo>
                    <a:pt x="412" y="274"/>
                  </a:lnTo>
                  <a:lnTo>
                    <a:pt x="416" y="272"/>
                  </a:lnTo>
                  <a:lnTo>
                    <a:pt x="427" y="268"/>
                  </a:lnTo>
                  <a:lnTo>
                    <a:pt x="429" y="268"/>
                  </a:lnTo>
                  <a:lnTo>
                    <a:pt x="431" y="268"/>
                  </a:lnTo>
                  <a:lnTo>
                    <a:pt x="431" y="268"/>
                  </a:lnTo>
                  <a:lnTo>
                    <a:pt x="433" y="268"/>
                  </a:lnTo>
                  <a:lnTo>
                    <a:pt x="433" y="268"/>
                  </a:lnTo>
                  <a:lnTo>
                    <a:pt x="435" y="268"/>
                  </a:lnTo>
                  <a:lnTo>
                    <a:pt x="435" y="268"/>
                  </a:lnTo>
                  <a:lnTo>
                    <a:pt x="437" y="268"/>
                  </a:lnTo>
                  <a:lnTo>
                    <a:pt x="452" y="263"/>
                  </a:lnTo>
                  <a:lnTo>
                    <a:pt x="462" y="257"/>
                  </a:lnTo>
                  <a:lnTo>
                    <a:pt x="460" y="257"/>
                  </a:lnTo>
                  <a:lnTo>
                    <a:pt x="458" y="255"/>
                  </a:lnTo>
                  <a:lnTo>
                    <a:pt x="458" y="255"/>
                  </a:lnTo>
                  <a:lnTo>
                    <a:pt x="456" y="255"/>
                  </a:lnTo>
                  <a:lnTo>
                    <a:pt x="456" y="255"/>
                  </a:lnTo>
                  <a:lnTo>
                    <a:pt x="454" y="253"/>
                  </a:lnTo>
                  <a:lnTo>
                    <a:pt x="454" y="253"/>
                  </a:lnTo>
                  <a:lnTo>
                    <a:pt x="454" y="253"/>
                  </a:lnTo>
                  <a:lnTo>
                    <a:pt x="454" y="251"/>
                  </a:lnTo>
                  <a:lnTo>
                    <a:pt x="454" y="251"/>
                  </a:lnTo>
                  <a:lnTo>
                    <a:pt x="454" y="251"/>
                  </a:lnTo>
                  <a:lnTo>
                    <a:pt x="454" y="251"/>
                  </a:lnTo>
                  <a:lnTo>
                    <a:pt x="452" y="251"/>
                  </a:lnTo>
                  <a:lnTo>
                    <a:pt x="452" y="251"/>
                  </a:lnTo>
                  <a:lnTo>
                    <a:pt x="448" y="249"/>
                  </a:lnTo>
                  <a:lnTo>
                    <a:pt x="446" y="249"/>
                  </a:lnTo>
                  <a:lnTo>
                    <a:pt x="444" y="247"/>
                  </a:lnTo>
                  <a:lnTo>
                    <a:pt x="442" y="246"/>
                  </a:lnTo>
                  <a:lnTo>
                    <a:pt x="441" y="246"/>
                  </a:lnTo>
                  <a:lnTo>
                    <a:pt x="441" y="246"/>
                  </a:lnTo>
                  <a:lnTo>
                    <a:pt x="441" y="242"/>
                  </a:lnTo>
                  <a:lnTo>
                    <a:pt x="441" y="240"/>
                  </a:lnTo>
                  <a:lnTo>
                    <a:pt x="441" y="240"/>
                  </a:lnTo>
                  <a:lnTo>
                    <a:pt x="442" y="240"/>
                  </a:lnTo>
                  <a:lnTo>
                    <a:pt x="442" y="242"/>
                  </a:lnTo>
                  <a:lnTo>
                    <a:pt x="442" y="244"/>
                  </a:lnTo>
                  <a:lnTo>
                    <a:pt x="444" y="246"/>
                  </a:lnTo>
                  <a:lnTo>
                    <a:pt x="444" y="246"/>
                  </a:lnTo>
                  <a:lnTo>
                    <a:pt x="446" y="247"/>
                  </a:lnTo>
                  <a:lnTo>
                    <a:pt x="448" y="247"/>
                  </a:lnTo>
                  <a:lnTo>
                    <a:pt x="452" y="247"/>
                  </a:lnTo>
                  <a:lnTo>
                    <a:pt x="460" y="253"/>
                  </a:lnTo>
                  <a:lnTo>
                    <a:pt x="463" y="255"/>
                  </a:lnTo>
                  <a:lnTo>
                    <a:pt x="465" y="253"/>
                  </a:lnTo>
                  <a:lnTo>
                    <a:pt x="465" y="253"/>
                  </a:lnTo>
                  <a:lnTo>
                    <a:pt x="463" y="253"/>
                  </a:lnTo>
                  <a:lnTo>
                    <a:pt x="463" y="253"/>
                  </a:lnTo>
                  <a:lnTo>
                    <a:pt x="463" y="251"/>
                  </a:lnTo>
                  <a:lnTo>
                    <a:pt x="465" y="249"/>
                  </a:lnTo>
                  <a:lnTo>
                    <a:pt x="469" y="244"/>
                  </a:lnTo>
                  <a:lnTo>
                    <a:pt x="469" y="244"/>
                  </a:lnTo>
                  <a:lnTo>
                    <a:pt x="471" y="242"/>
                  </a:lnTo>
                  <a:lnTo>
                    <a:pt x="473" y="236"/>
                  </a:lnTo>
                  <a:lnTo>
                    <a:pt x="473" y="236"/>
                  </a:lnTo>
                  <a:lnTo>
                    <a:pt x="475" y="234"/>
                  </a:lnTo>
                  <a:lnTo>
                    <a:pt x="477" y="234"/>
                  </a:lnTo>
                  <a:lnTo>
                    <a:pt x="481" y="232"/>
                  </a:lnTo>
                  <a:lnTo>
                    <a:pt x="484" y="230"/>
                  </a:lnTo>
                  <a:lnTo>
                    <a:pt x="494" y="225"/>
                  </a:lnTo>
                  <a:lnTo>
                    <a:pt x="496" y="223"/>
                  </a:lnTo>
                  <a:lnTo>
                    <a:pt x="494" y="225"/>
                  </a:lnTo>
                  <a:lnTo>
                    <a:pt x="492" y="225"/>
                  </a:lnTo>
                  <a:lnTo>
                    <a:pt x="490" y="225"/>
                  </a:lnTo>
                  <a:lnTo>
                    <a:pt x="492" y="223"/>
                  </a:lnTo>
                  <a:lnTo>
                    <a:pt x="494" y="223"/>
                  </a:lnTo>
                  <a:lnTo>
                    <a:pt x="496" y="221"/>
                  </a:lnTo>
                  <a:lnTo>
                    <a:pt x="496" y="221"/>
                  </a:lnTo>
                  <a:lnTo>
                    <a:pt x="498" y="219"/>
                  </a:lnTo>
                  <a:lnTo>
                    <a:pt x="500" y="217"/>
                  </a:lnTo>
                  <a:lnTo>
                    <a:pt x="502" y="213"/>
                  </a:lnTo>
                  <a:lnTo>
                    <a:pt x="500" y="211"/>
                  </a:lnTo>
                  <a:lnTo>
                    <a:pt x="500" y="213"/>
                  </a:lnTo>
                  <a:lnTo>
                    <a:pt x="500" y="213"/>
                  </a:lnTo>
                  <a:lnTo>
                    <a:pt x="500" y="215"/>
                  </a:lnTo>
                  <a:lnTo>
                    <a:pt x="498" y="213"/>
                  </a:lnTo>
                  <a:lnTo>
                    <a:pt x="496" y="215"/>
                  </a:lnTo>
                  <a:lnTo>
                    <a:pt x="496" y="217"/>
                  </a:lnTo>
                  <a:lnTo>
                    <a:pt x="494" y="217"/>
                  </a:lnTo>
                  <a:lnTo>
                    <a:pt x="494" y="211"/>
                  </a:lnTo>
                  <a:lnTo>
                    <a:pt x="494" y="208"/>
                  </a:lnTo>
                  <a:lnTo>
                    <a:pt x="496" y="206"/>
                  </a:lnTo>
                  <a:lnTo>
                    <a:pt x="498" y="204"/>
                  </a:lnTo>
                  <a:lnTo>
                    <a:pt x="511" y="192"/>
                  </a:lnTo>
                  <a:lnTo>
                    <a:pt x="517" y="190"/>
                  </a:lnTo>
                  <a:lnTo>
                    <a:pt x="519" y="189"/>
                  </a:lnTo>
                  <a:lnTo>
                    <a:pt x="522" y="187"/>
                  </a:lnTo>
                  <a:lnTo>
                    <a:pt x="522" y="185"/>
                  </a:lnTo>
                  <a:lnTo>
                    <a:pt x="522" y="187"/>
                  </a:lnTo>
                  <a:lnTo>
                    <a:pt x="521" y="187"/>
                  </a:lnTo>
                  <a:lnTo>
                    <a:pt x="519" y="189"/>
                  </a:lnTo>
                  <a:lnTo>
                    <a:pt x="519" y="187"/>
                  </a:lnTo>
                  <a:lnTo>
                    <a:pt x="519" y="187"/>
                  </a:lnTo>
                  <a:lnTo>
                    <a:pt x="517" y="187"/>
                  </a:lnTo>
                  <a:lnTo>
                    <a:pt x="517" y="187"/>
                  </a:lnTo>
                  <a:lnTo>
                    <a:pt x="517" y="185"/>
                  </a:lnTo>
                  <a:lnTo>
                    <a:pt x="515" y="185"/>
                  </a:lnTo>
                  <a:lnTo>
                    <a:pt x="515" y="185"/>
                  </a:lnTo>
                  <a:lnTo>
                    <a:pt x="513" y="185"/>
                  </a:lnTo>
                  <a:lnTo>
                    <a:pt x="515" y="185"/>
                  </a:lnTo>
                  <a:lnTo>
                    <a:pt x="515" y="183"/>
                  </a:lnTo>
                  <a:lnTo>
                    <a:pt x="517" y="183"/>
                  </a:lnTo>
                  <a:lnTo>
                    <a:pt x="519" y="185"/>
                  </a:lnTo>
                  <a:lnTo>
                    <a:pt x="519" y="183"/>
                  </a:lnTo>
                  <a:lnTo>
                    <a:pt x="519" y="183"/>
                  </a:lnTo>
                  <a:lnTo>
                    <a:pt x="519" y="183"/>
                  </a:lnTo>
                  <a:lnTo>
                    <a:pt x="519" y="181"/>
                  </a:lnTo>
                  <a:lnTo>
                    <a:pt x="519" y="179"/>
                  </a:lnTo>
                  <a:lnTo>
                    <a:pt x="517" y="179"/>
                  </a:lnTo>
                  <a:lnTo>
                    <a:pt x="515" y="179"/>
                  </a:lnTo>
                  <a:lnTo>
                    <a:pt x="511" y="179"/>
                  </a:lnTo>
                  <a:lnTo>
                    <a:pt x="509" y="179"/>
                  </a:lnTo>
                  <a:lnTo>
                    <a:pt x="507" y="177"/>
                  </a:lnTo>
                  <a:lnTo>
                    <a:pt x="511" y="175"/>
                  </a:lnTo>
                  <a:lnTo>
                    <a:pt x="513" y="175"/>
                  </a:lnTo>
                  <a:lnTo>
                    <a:pt x="515" y="177"/>
                  </a:lnTo>
                  <a:lnTo>
                    <a:pt x="517" y="175"/>
                  </a:lnTo>
                  <a:lnTo>
                    <a:pt x="515" y="170"/>
                  </a:lnTo>
                  <a:lnTo>
                    <a:pt x="505" y="147"/>
                  </a:lnTo>
                  <a:lnTo>
                    <a:pt x="503" y="137"/>
                  </a:lnTo>
                  <a:lnTo>
                    <a:pt x="507" y="130"/>
                  </a:lnTo>
                  <a:lnTo>
                    <a:pt x="511" y="122"/>
                  </a:lnTo>
                  <a:lnTo>
                    <a:pt x="524" y="109"/>
                  </a:lnTo>
                  <a:lnTo>
                    <a:pt x="530" y="105"/>
                  </a:lnTo>
                  <a:lnTo>
                    <a:pt x="538" y="101"/>
                  </a:lnTo>
                  <a:lnTo>
                    <a:pt x="538" y="101"/>
                  </a:lnTo>
                  <a:lnTo>
                    <a:pt x="542" y="101"/>
                  </a:lnTo>
                  <a:lnTo>
                    <a:pt x="542" y="101"/>
                  </a:lnTo>
                  <a:lnTo>
                    <a:pt x="543" y="99"/>
                  </a:lnTo>
                  <a:lnTo>
                    <a:pt x="545" y="101"/>
                  </a:lnTo>
                  <a:lnTo>
                    <a:pt x="551" y="99"/>
                  </a:lnTo>
                  <a:lnTo>
                    <a:pt x="557" y="97"/>
                  </a:lnTo>
                  <a:lnTo>
                    <a:pt x="563" y="95"/>
                  </a:lnTo>
                  <a:lnTo>
                    <a:pt x="563" y="95"/>
                  </a:lnTo>
                  <a:lnTo>
                    <a:pt x="563" y="93"/>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6" name="Freeform 28">
              <a:extLst>
                <a:ext uri="{FF2B5EF4-FFF2-40B4-BE49-F238E27FC236}">
                  <a16:creationId xmlns:a16="http://schemas.microsoft.com/office/drawing/2014/main" id="{E4B07AEF-BC9F-9343-5A87-B266071DD1B2}"/>
                </a:ext>
              </a:extLst>
            </p:cNvPr>
            <p:cNvSpPr>
              <a:spLocks/>
            </p:cNvSpPr>
            <p:nvPr/>
          </p:nvSpPr>
          <p:spPr bwMode="auto">
            <a:xfrm>
              <a:off x="7469188" y="3131351"/>
              <a:ext cx="280988" cy="298450"/>
            </a:xfrm>
            <a:custGeom>
              <a:avLst/>
              <a:gdLst>
                <a:gd name="T0" fmla="*/ 175 w 177"/>
                <a:gd name="T1" fmla="*/ 24 h 188"/>
                <a:gd name="T2" fmla="*/ 171 w 177"/>
                <a:gd name="T3" fmla="*/ 19 h 188"/>
                <a:gd name="T4" fmla="*/ 175 w 177"/>
                <a:gd name="T5" fmla="*/ 15 h 188"/>
                <a:gd name="T6" fmla="*/ 171 w 177"/>
                <a:gd name="T7" fmla="*/ 4 h 188"/>
                <a:gd name="T8" fmla="*/ 167 w 177"/>
                <a:gd name="T9" fmla="*/ 4 h 188"/>
                <a:gd name="T10" fmla="*/ 154 w 177"/>
                <a:gd name="T11" fmla="*/ 11 h 188"/>
                <a:gd name="T12" fmla="*/ 146 w 177"/>
                <a:gd name="T13" fmla="*/ 9 h 188"/>
                <a:gd name="T14" fmla="*/ 135 w 177"/>
                <a:gd name="T15" fmla="*/ 23 h 188"/>
                <a:gd name="T16" fmla="*/ 112 w 177"/>
                <a:gd name="T17" fmla="*/ 34 h 188"/>
                <a:gd name="T18" fmla="*/ 106 w 177"/>
                <a:gd name="T19" fmla="*/ 38 h 188"/>
                <a:gd name="T20" fmla="*/ 101 w 177"/>
                <a:gd name="T21" fmla="*/ 45 h 188"/>
                <a:gd name="T22" fmla="*/ 95 w 177"/>
                <a:gd name="T23" fmla="*/ 55 h 188"/>
                <a:gd name="T24" fmla="*/ 89 w 177"/>
                <a:gd name="T25" fmla="*/ 55 h 188"/>
                <a:gd name="T26" fmla="*/ 84 w 177"/>
                <a:gd name="T27" fmla="*/ 53 h 188"/>
                <a:gd name="T28" fmla="*/ 78 w 177"/>
                <a:gd name="T29" fmla="*/ 70 h 188"/>
                <a:gd name="T30" fmla="*/ 61 w 177"/>
                <a:gd name="T31" fmla="*/ 89 h 188"/>
                <a:gd name="T32" fmla="*/ 61 w 177"/>
                <a:gd name="T33" fmla="*/ 100 h 188"/>
                <a:gd name="T34" fmla="*/ 59 w 177"/>
                <a:gd name="T35" fmla="*/ 108 h 188"/>
                <a:gd name="T36" fmla="*/ 57 w 177"/>
                <a:gd name="T37" fmla="*/ 118 h 188"/>
                <a:gd name="T38" fmla="*/ 42 w 177"/>
                <a:gd name="T39" fmla="*/ 123 h 188"/>
                <a:gd name="T40" fmla="*/ 42 w 177"/>
                <a:gd name="T41" fmla="*/ 120 h 188"/>
                <a:gd name="T42" fmla="*/ 44 w 177"/>
                <a:gd name="T43" fmla="*/ 112 h 188"/>
                <a:gd name="T44" fmla="*/ 38 w 177"/>
                <a:gd name="T45" fmla="*/ 112 h 188"/>
                <a:gd name="T46" fmla="*/ 32 w 177"/>
                <a:gd name="T47" fmla="*/ 116 h 188"/>
                <a:gd name="T48" fmla="*/ 34 w 177"/>
                <a:gd name="T49" fmla="*/ 121 h 188"/>
                <a:gd name="T50" fmla="*/ 3 w 177"/>
                <a:gd name="T51" fmla="*/ 150 h 188"/>
                <a:gd name="T52" fmla="*/ 2 w 177"/>
                <a:gd name="T53" fmla="*/ 158 h 188"/>
                <a:gd name="T54" fmla="*/ 5 w 177"/>
                <a:gd name="T55" fmla="*/ 159 h 188"/>
                <a:gd name="T56" fmla="*/ 9 w 177"/>
                <a:gd name="T57" fmla="*/ 165 h 188"/>
                <a:gd name="T58" fmla="*/ 11 w 177"/>
                <a:gd name="T59" fmla="*/ 175 h 188"/>
                <a:gd name="T60" fmla="*/ 13 w 177"/>
                <a:gd name="T61" fmla="*/ 180 h 188"/>
                <a:gd name="T62" fmla="*/ 17 w 177"/>
                <a:gd name="T63" fmla="*/ 182 h 188"/>
                <a:gd name="T64" fmla="*/ 23 w 177"/>
                <a:gd name="T65" fmla="*/ 184 h 188"/>
                <a:gd name="T66" fmla="*/ 28 w 177"/>
                <a:gd name="T67" fmla="*/ 182 h 188"/>
                <a:gd name="T68" fmla="*/ 44 w 177"/>
                <a:gd name="T69" fmla="*/ 163 h 188"/>
                <a:gd name="T70" fmla="*/ 42 w 177"/>
                <a:gd name="T71" fmla="*/ 159 h 188"/>
                <a:gd name="T72" fmla="*/ 40 w 177"/>
                <a:gd name="T73" fmla="*/ 158 h 188"/>
                <a:gd name="T74" fmla="*/ 55 w 177"/>
                <a:gd name="T75" fmla="*/ 152 h 188"/>
                <a:gd name="T76" fmla="*/ 68 w 177"/>
                <a:gd name="T77" fmla="*/ 156 h 188"/>
                <a:gd name="T78" fmla="*/ 76 w 177"/>
                <a:gd name="T79" fmla="*/ 156 h 188"/>
                <a:gd name="T80" fmla="*/ 80 w 177"/>
                <a:gd name="T81" fmla="*/ 158 h 188"/>
                <a:gd name="T82" fmla="*/ 99 w 177"/>
                <a:gd name="T83" fmla="*/ 152 h 188"/>
                <a:gd name="T84" fmla="*/ 114 w 177"/>
                <a:gd name="T85" fmla="*/ 139 h 188"/>
                <a:gd name="T86" fmla="*/ 114 w 177"/>
                <a:gd name="T87" fmla="*/ 148 h 188"/>
                <a:gd name="T88" fmla="*/ 116 w 177"/>
                <a:gd name="T89" fmla="*/ 161 h 188"/>
                <a:gd name="T90" fmla="*/ 127 w 177"/>
                <a:gd name="T91" fmla="*/ 159 h 188"/>
                <a:gd name="T92" fmla="*/ 139 w 177"/>
                <a:gd name="T93" fmla="*/ 152 h 188"/>
                <a:gd name="T94" fmla="*/ 141 w 177"/>
                <a:gd name="T95" fmla="*/ 148 h 188"/>
                <a:gd name="T96" fmla="*/ 154 w 177"/>
                <a:gd name="T97" fmla="*/ 135 h 188"/>
                <a:gd name="T98" fmla="*/ 154 w 177"/>
                <a:gd name="T99" fmla="*/ 114 h 188"/>
                <a:gd name="T100" fmla="*/ 167 w 177"/>
                <a:gd name="T101" fmla="*/ 100 h 188"/>
                <a:gd name="T102" fmla="*/ 162 w 177"/>
                <a:gd name="T103" fmla="*/ 87 h 188"/>
                <a:gd name="T104" fmla="*/ 160 w 177"/>
                <a:gd name="T105" fmla="*/ 85 h 188"/>
                <a:gd name="T106" fmla="*/ 160 w 177"/>
                <a:gd name="T107" fmla="*/ 66 h 188"/>
                <a:gd name="T108" fmla="*/ 160 w 177"/>
                <a:gd name="T109" fmla="*/ 55 h 188"/>
                <a:gd name="T110" fmla="*/ 165 w 177"/>
                <a:gd name="T111" fmla="*/ 45 h 188"/>
                <a:gd name="T112" fmla="*/ 171 w 177"/>
                <a:gd name="T113" fmla="*/ 40 h 188"/>
                <a:gd name="T114" fmla="*/ 177 w 177"/>
                <a:gd name="T115" fmla="*/ 4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 h="188">
                  <a:moveTo>
                    <a:pt x="177" y="36"/>
                  </a:moveTo>
                  <a:lnTo>
                    <a:pt x="175" y="32"/>
                  </a:lnTo>
                  <a:lnTo>
                    <a:pt x="175" y="32"/>
                  </a:lnTo>
                  <a:lnTo>
                    <a:pt x="175" y="30"/>
                  </a:lnTo>
                  <a:lnTo>
                    <a:pt x="175" y="28"/>
                  </a:lnTo>
                  <a:lnTo>
                    <a:pt x="175" y="24"/>
                  </a:lnTo>
                  <a:lnTo>
                    <a:pt x="175" y="24"/>
                  </a:lnTo>
                  <a:lnTo>
                    <a:pt x="175" y="24"/>
                  </a:lnTo>
                  <a:lnTo>
                    <a:pt x="173" y="23"/>
                  </a:lnTo>
                  <a:lnTo>
                    <a:pt x="173" y="21"/>
                  </a:lnTo>
                  <a:lnTo>
                    <a:pt x="171" y="21"/>
                  </a:lnTo>
                  <a:lnTo>
                    <a:pt x="171" y="19"/>
                  </a:lnTo>
                  <a:lnTo>
                    <a:pt x="173" y="17"/>
                  </a:lnTo>
                  <a:lnTo>
                    <a:pt x="173" y="17"/>
                  </a:lnTo>
                  <a:lnTo>
                    <a:pt x="173" y="17"/>
                  </a:lnTo>
                  <a:lnTo>
                    <a:pt x="173" y="15"/>
                  </a:lnTo>
                  <a:lnTo>
                    <a:pt x="175" y="15"/>
                  </a:lnTo>
                  <a:lnTo>
                    <a:pt x="175" y="15"/>
                  </a:lnTo>
                  <a:lnTo>
                    <a:pt x="175" y="13"/>
                  </a:lnTo>
                  <a:lnTo>
                    <a:pt x="175" y="9"/>
                  </a:lnTo>
                  <a:lnTo>
                    <a:pt x="175" y="7"/>
                  </a:lnTo>
                  <a:lnTo>
                    <a:pt x="175" y="5"/>
                  </a:lnTo>
                  <a:lnTo>
                    <a:pt x="173" y="5"/>
                  </a:lnTo>
                  <a:lnTo>
                    <a:pt x="171" y="4"/>
                  </a:lnTo>
                  <a:lnTo>
                    <a:pt x="171" y="4"/>
                  </a:lnTo>
                  <a:lnTo>
                    <a:pt x="171" y="4"/>
                  </a:lnTo>
                  <a:lnTo>
                    <a:pt x="169" y="0"/>
                  </a:lnTo>
                  <a:lnTo>
                    <a:pt x="169" y="2"/>
                  </a:lnTo>
                  <a:lnTo>
                    <a:pt x="167" y="2"/>
                  </a:lnTo>
                  <a:lnTo>
                    <a:pt x="167" y="4"/>
                  </a:lnTo>
                  <a:lnTo>
                    <a:pt x="167" y="4"/>
                  </a:lnTo>
                  <a:lnTo>
                    <a:pt x="167" y="4"/>
                  </a:lnTo>
                  <a:lnTo>
                    <a:pt x="167" y="4"/>
                  </a:lnTo>
                  <a:lnTo>
                    <a:pt x="156" y="11"/>
                  </a:lnTo>
                  <a:lnTo>
                    <a:pt x="156" y="11"/>
                  </a:lnTo>
                  <a:lnTo>
                    <a:pt x="154" y="11"/>
                  </a:lnTo>
                  <a:lnTo>
                    <a:pt x="152" y="11"/>
                  </a:lnTo>
                  <a:lnTo>
                    <a:pt x="150" y="11"/>
                  </a:lnTo>
                  <a:lnTo>
                    <a:pt x="150" y="11"/>
                  </a:lnTo>
                  <a:lnTo>
                    <a:pt x="146" y="9"/>
                  </a:lnTo>
                  <a:lnTo>
                    <a:pt x="146" y="9"/>
                  </a:lnTo>
                  <a:lnTo>
                    <a:pt x="146" y="9"/>
                  </a:lnTo>
                  <a:lnTo>
                    <a:pt x="145" y="9"/>
                  </a:lnTo>
                  <a:lnTo>
                    <a:pt x="145" y="9"/>
                  </a:lnTo>
                  <a:lnTo>
                    <a:pt x="143" y="13"/>
                  </a:lnTo>
                  <a:lnTo>
                    <a:pt x="141" y="13"/>
                  </a:lnTo>
                  <a:lnTo>
                    <a:pt x="139" y="19"/>
                  </a:lnTo>
                  <a:lnTo>
                    <a:pt x="135" y="23"/>
                  </a:lnTo>
                  <a:lnTo>
                    <a:pt x="131" y="26"/>
                  </a:lnTo>
                  <a:lnTo>
                    <a:pt x="125" y="30"/>
                  </a:lnTo>
                  <a:lnTo>
                    <a:pt x="124" y="32"/>
                  </a:lnTo>
                  <a:lnTo>
                    <a:pt x="116" y="34"/>
                  </a:lnTo>
                  <a:lnTo>
                    <a:pt x="112" y="34"/>
                  </a:lnTo>
                  <a:lnTo>
                    <a:pt x="112" y="34"/>
                  </a:lnTo>
                  <a:lnTo>
                    <a:pt x="112" y="34"/>
                  </a:lnTo>
                  <a:lnTo>
                    <a:pt x="110" y="36"/>
                  </a:lnTo>
                  <a:lnTo>
                    <a:pt x="110" y="36"/>
                  </a:lnTo>
                  <a:lnTo>
                    <a:pt x="108" y="38"/>
                  </a:lnTo>
                  <a:lnTo>
                    <a:pt x="106" y="38"/>
                  </a:lnTo>
                  <a:lnTo>
                    <a:pt x="106" y="38"/>
                  </a:lnTo>
                  <a:lnTo>
                    <a:pt x="106" y="38"/>
                  </a:lnTo>
                  <a:lnTo>
                    <a:pt x="104" y="38"/>
                  </a:lnTo>
                  <a:lnTo>
                    <a:pt x="104" y="40"/>
                  </a:lnTo>
                  <a:lnTo>
                    <a:pt x="101" y="43"/>
                  </a:lnTo>
                  <a:lnTo>
                    <a:pt x="101" y="45"/>
                  </a:lnTo>
                  <a:lnTo>
                    <a:pt x="101" y="45"/>
                  </a:lnTo>
                  <a:lnTo>
                    <a:pt x="101" y="47"/>
                  </a:lnTo>
                  <a:lnTo>
                    <a:pt x="101" y="49"/>
                  </a:lnTo>
                  <a:lnTo>
                    <a:pt x="99" y="51"/>
                  </a:lnTo>
                  <a:lnTo>
                    <a:pt x="97" y="53"/>
                  </a:lnTo>
                  <a:lnTo>
                    <a:pt x="95" y="55"/>
                  </a:lnTo>
                  <a:lnTo>
                    <a:pt x="95" y="55"/>
                  </a:lnTo>
                  <a:lnTo>
                    <a:pt x="93" y="57"/>
                  </a:lnTo>
                  <a:lnTo>
                    <a:pt x="91" y="57"/>
                  </a:lnTo>
                  <a:lnTo>
                    <a:pt x="91" y="57"/>
                  </a:lnTo>
                  <a:lnTo>
                    <a:pt x="89" y="57"/>
                  </a:lnTo>
                  <a:lnTo>
                    <a:pt x="89" y="57"/>
                  </a:lnTo>
                  <a:lnTo>
                    <a:pt x="89" y="55"/>
                  </a:lnTo>
                  <a:lnTo>
                    <a:pt x="89" y="55"/>
                  </a:lnTo>
                  <a:lnTo>
                    <a:pt x="89" y="55"/>
                  </a:lnTo>
                  <a:lnTo>
                    <a:pt x="89" y="53"/>
                  </a:lnTo>
                  <a:lnTo>
                    <a:pt x="87" y="51"/>
                  </a:lnTo>
                  <a:lnTo>
                    <a:pt x="85" y="49"/>
                  </a:lnTo>
                  <a:lnTo>
                    <a:pt x="84" y="53"/>
                  </a:lnTo>
                  <a:lnTo>
                    <a:pt x="80" y="57"/>
                  </a:lnTo>
                  <a:lnTo>
                    <a:pt x="80" y="59"/>
                  </a:lnTo>
                  <a:lnTo>
                    <a:pt x="80" y="61"/>
                  </a:lnTo>
                  <a:lnTo>
                    <a:pt x="78" y="66"/>
                  </a:lnTo>
                  <a:lnTo>
                    <a:pt x="78" y="68"/>
                  </a:lnTo>
                  <a:lnTo>
                    <a:pt x="78" y="70"/>
                  </a:lnTo>
                  <a:lnTo>
                    <a:pt x="76" y="70"/>
                  </a:lnTo>
                  <a:lnTo>
                    <a:pt x="74" y="72"/>
                  </a:lnTo>
                  <a:lnTo>
                    <a:pt x="70" y="76"/>
                  </a:lnTo>
                  <a:lnTo>
                    <a:pt x="63" y="87"/>
                  </a:lnTo>
                  <a:lnTo>
                    <a:pt x="61" y="89"/>
                  </a:lnTo>
                  <a:lnTo>
                    <a:pt x="61" y="89"/>
                  </a:lnTo>
                  <a:lnTo>
                    <a:pt x="63" y="91"/>
                  </a:lnTo>
                  <a:lnTo>
                    <a:pt x="63" y="93"/>
                  </a:lnTo>
                  <a:lnTo>
                    <a:pt x="61" y="99"/>
                  </a:lnTo>
                  <a:lnTo>
                    <a:pt x="61" y="100"/>
                  </a:lnTo>
                  <a:lnTo>
                    <a:pt x="61" y="100"/>
                  </a:lnTo>
                  <a:lnTo>
                    <a:pt x="61" y="100"/>
                  </a:lnTo>
                  <a:lnTo>
                    <a:pt x="59" y="102"/>
                  </a:lnTo>
                  <a:lnTo>
                    <a:pt x="59" y="104"/>
                  </a:lnTo>
                  <a:lnTo>
                    <a:pt x="59" y="106"/>
                  </a:lnTo>
                  <a:lnTo>
                    <a:pt x="59" y="108"/>
                  </a:lnTo>
                  <a:lnTo>
                    <a:pt x="59" y="108"/>
                  </a:lnTo>
                  <a:lnTo>
                    <a:pt x="59" y="108"/>
                  </a:lnTo>
                  <a:lnTo>
                    <a:pt x="59" y="110"/>
                  </a:lnTo>
                  <a:lnTo>
                    <a:pt x="61" y="112"/>
                  </a:lnTo>
                  <a:lnTo>
                    <a:pt x="61" y="112"/>
                  </a:lnTo>
                  <a:lnTo>
                    <a:pt x="59" y="114"/>
                  </a:lnTo>
                  <a:lnTo>
                    <a:pt x="59" y="114"/>
                  </a:lnTo>
                  <a:lnTo>
                    <a:pt x="57" y="118"/>
                  </a:lnTo>
                  <a:lnTo>
                    <a:pt x="55" y="120"/>
                  </a:lnTo>
                  <a:lnTo>
                    <a:pt x="53" y="121"/>
                  </a:lnTo>
                  <a:lnTo>
                    <a:pt x="51" y="121"/>
                  </a:lnTo>
                  <a:lnTo>
                    <a:pt x="45" y="123"/>
                  </a:lnTo>
                  <a:lnTo>
                    <a:pt x="44" y="123"/>
                  </a:lnTo>
                  <a:lnTo>
                    <a:pt x="42" y="123"/>
                  </a:lnTo>
                  <a:lnTo>
                    <a:pt x="42" y="123"/>
                  </a:lnTo>
                  <a:lnTo>
                    <a:pt x="40" y="123"/>
                  </a:lnTo>
                  <a:lnTo>
                    <a:pt x="40" y="123"/>
                  </a:lnTo>
                  <a:lnTo>
                    <a:pt x="40" y="121"/>
                  </a:lnTo>
                  <a:lnTo>
                    <a:pt x="42" y="121"/>
                  </a:lnTo>
                  <a:lnTo>
                    <a:pt x="42" y="120"/>
                  </a:lnTo>
                  <a:lnTo>
                    <a:pt x="44" y="120"/>
                  </a:lnTo>
                  <a:lnTo>
                    <a:pt x="44" y="118"/>
                  </a:lnTo>
                  <a:lnTo>
                    <a:pt x="44" y="116"/>
                  </a:lnTo>
                  <a:lnTo>
                    <a:pt x="44" y="116"/>
                  </a:lnTo>
                  <a:lnTo>
                    <a:pt x="44" y="114"/>
                  </a:lnTo>
                  <a:lnTo>
                    <a:pt x="44" y="112"/>
                  </a:lnTo>
                  <a:lnTo>
                    <a:pt x="42" y="112"/>
                  </a:lnTo>
                  <a:lnTo>
                    <a:pt x="42" y="112"/>
                  </a:lnTo>
                  <a:lnTo>
                    <a:pt x="40" y="110"/>
                  </a:lnTo>
                  <a:lnTo>
                    <a:pt x="40" y="110"/>
                  </a:lnTo>
                  <a:lnTo>
                    <a:pt x="38" y="110"/>
                  </a:lnTo>
                  <a:lnTo>
                    <a:pt x="38" y="112"/>
                  </a:lnTo>
                  <a:lnTo>
                    <a:pt x="36" y="112"/>
                  </a:lnTo>
                  <a:lnTo>
                    <a:pt x="34" y="114"/>
                  </a:lnTo>
                  <a:lnTo>
                    <a:pt x="32" y="114"/>
                  </a:lnTo>
                  <a:lnTo>
                    <a:pt x="32" y="116"/>
                  </a:lnTo>
                  <a:lnTo>
                    <a:pt x="32" y="116"/>
                  </a:lnTo>
                  <a:lnTo>
                    <a:pt x="32" y="116"/>
                  </a:lnTo>
                  <a:lnTo>
                    <a:pt x="32" y="118"/>
                  </a:lnTo>
                  <a:lnTo>
                    <a:pt x="34" y="120"/>
                  </a:lnTo>
                  <a:lnTo>
                    <a:pt x="34" y="120"/>
                  </a:lnTo>
                  <a:lnTo>
                    <a:pt x="34" y="120"/>
                  </a:lnTo>
                  <a:lnTo>
                    <a:pt x="34" y="120"/>
                  </a:lnTo>
                  <a:lnTo>
                    <a:pt x="34" y="121"/>
                  </a:lnTo>
                  <a:lnTo>
                    <a:pt x="24" y="129"/>
                  </a:lnTo>
                  <a:lnTo>
                    <a:pt x="23" y="131"/>
                  </a:lnTo>
                  <a:lnTo>
                    <a:pt x="17" y="139"/>
                  </a:lnTo>
                  <a:lnTo>
                    <a:pt x="13" y="142"/>
                  </a:lnTo>
                  <a:lnTo>
                    <a:pt x="7" y="146"/>
                  </a:lnTo>
                  <a:lnTo>
                    <a:pt x="3" y="150"/>
                  </a:lnTo>
                  <a:lnTo>
                    <a:pt x="2" y="152"/>
                  </a:lnTo>
                  <a:lnTo>
                    <a:pt x="0" y="152"/>
                  </a:lnTo>
                  <a:lnTo>
                    <a:pt x="0" y="154"/>
                  </a:lnTo>
                  <a:lnTo>
                    <a:pt x="0" y="156"/>
                  </a:lnTo>
                  <a:lnTo>
                    <a:pt x="2" y="156"/>
                  </a:lnTo>
                  <a:lnTo>
                    <a:pt x="2" y="158"/>
                  </a:lnTo>
                  <a:lnTo>
                    <a:pt x="3" y="158"/>
                  </a:lnTo>
                  <a:lnTo>
                    <a:pt x="3" y="158"/>
                  </a:lnTo>
                  <a:lnTo>
                    <a:pt x="3" y="158"/>
                  </a:lnTo>
                  <a:lnTo>
                    <a:pt x="3" y="158"/>
                  </a:lnTo>
                  <a:lnTo>
                    <a:pt x="3" y="159"/>
                  </a:lnTo>
                  <a:lnTo>
                    <a:pt x="5" y="159"/>
                  </a:lnTo>
                  <a:lnTo>
                    <a:pt x="5" y="161"/>
                  </a:lnTo>
                  <a:lnTo>
                    <a:pt x="5" y="161"/>
                  </a:lnTo>
                  <a:lnTo>
                    <a:pt x="7" y="163"/>
                  </a:lnTo>
                  <a:lnTo>
                    <a:pt x="7" y="163"/>
                  </a:lnTo>
                  <a:lnTo>
                    <a:pt x="9" y="163"/>
                  </a:lnTo>
                  <a:lnTo>
                    <a:pt x="9" y="165"/>
                  </a:lnTo>
                  <a:lnTo>
                    <a:pt x="9" y="165"/>
                  </a:lnTo>
                  <a:lnTo>
                    <a:pt x="11" y="167"/>
                  </a:lnTo>
                  <a:lnTo>
                    <a:pt x="11" y="169"/>
                  </a:lnTo>
                  <a:lnTo>
                    <a:pt x="11" y="169"/>
                  </a:lnTo>
                  <a:lnTo>
                    <a:pt x="11" y="171"/>
                  </a:lnTo>
                  <a:lnTo>
                    <a:pt x="11" y="175"/>
                  </a:lnTo>
                  <a:lnTo>
                    <a:pt x="11" y="177"/>
                  </a:lnTo>
                  <a:lnTo>
                    <a:pt x="11" y="178"/>
                  </a:lnTo>
                  <a:lnTo>
                    <a:pt x="11" y="178"/>
                  </a:lnTo>
                  <a:lnTo>
                    <a:pt x="11" y="178"/>
                  </a:lnTo>
                  <a:lnTo>
                    <a:pt x="13" y="180"/>
                  </a:lnTo>
                  <a:lnTo>
                    <a:pt x="13" y="180"/>
                  </a:lnTo>
                  <a:lnTo>
                    <a:pt x="13" y="180"/>
                  </a:lnTo>
                  <a:lnTo>
                    <a:pt x="15" y="180"/>
                  </a:lnTo>
                  <a:lnTo>
                    <a:pt x="15" y="180"/>
                  </a:lnTo>
                  <a:lnTo>
                    <a:pt x="15" y="180"/>
                  </a:lnTo>
                  <a:lnTo>
                    <a:pt x="15" y="180"/>
                  </a:lnTo>
                  <a:lnTo>
                    <a:pt x="17" y="182"/>
                  </a:lnTo>
                  <a:lnTo>
                    <a:pt x="17" y="182"/>
                  </a:lnTo>
                  <a:lnTo>
                    <a:pt x="17" y="182"/>
                  </a:lnTo>
                  <a:lnTo>
                    <a:pt x="19" y="182"/>
                  </a:lnTo>
                  <a:lnTo>
                    <a:pt x="21" y="184"/>
                  </a:lnTo>
                  <a:lnTo>
                    <a:pt x="21" y="184"/>
                  </a:lnTo>
                  <a:lnTo>
                    <a:pt x="23" y="184"/>
                  </a:lnTo>
                  <a:lnTo>
                    <a:pt x="23" y="186"/>
                  </a:lnTo>
                  <a:lnTo>
                    <a:pt x="24" y="188"/>
                  </a:lnTo>
                  <a:lnTo>
                    <a:pt x="24" y="188"/>
                  </a:lnTo>
                  <a:lnTo>
                    <a:pt x="26" y="188"/>
                  </a:lnTo>
                  <a:lnTo>
                    <a:pt x="26" y="186"/>
                  </a:lnTo>
                  <a:lnTo>
                    <a:pt x="28" y="182"/>
                  </a:lnTo>
                  <a:lnTo>
                    <a:pt x="32" y="177"/>
                  </a:lnTo>
                  <a:lnTo>
                    <a:pt x="32" y="177"/>
                  </a:lnTo>
                  <a:lnTo>
                    <a:pt x="32" y="175"/>
                  </a:lnTo>
                  <a:lnTo>
                    <a:pt x="34" y="173"/>
                  </a:lnTo>
                  <a:lnTo>
                    <a:pt x="36" y="171"/>
                  </a:lnTo>
                  <a:lnTo>
                    <a:pt x="44" y="163"/>
                  </a:lnTo>
                  <a:lnTo>
                    <a:pt x="44" y="161"/>
                  </a:lnTo>
                  <a:lnTo>
                    <a:pt x="44" y="161"/>
                  </a:lnTo>
                  <a:lnTo>
                    <a:pt x="44" y="161"/>
                  </a:lnTo>
                  <a:lnTo>
                    <a:pt x="44" y="159"/>
                  </a:lnTo>
                  <a:lnTo>
                    <a:pt x="44" y="159"/>
                  </a:lnTo>
                  <a:lnTo>
                    <a:pt x="42" y="159"/>
                  </a:lnTo>
                  <a:lnTo>
                    <a:pt x="40" y="158"/>
                  </a:lnTo>
                  <a:lnTo>
                    <a:pt x="40" y="158"/>
                  </a:lnTo>
                  <a:lnTo>
                    <a:pt x="40" y="158"/>
                  </a:lnTo>
                  <a:lnTo>
                    <a:pt x="40" y="158"/>
                  </a:lnTo>
                  <a:lnTo>
                    <a:pt x="40" y="158"/>
                  </a:lnTo>
                  <a:lnTo>
                    <a:pt x="40" y="158"/>
                  </a:lnTo>
                  <a:lnTo>
                    <a:pt x="40" y="156"/>
                  </a:lnTo>
                  <a:lnTo>
                    <a:pt x="40" y="156"/>
                  </a:lnTo>
                  <a:lnTo>
                    <a:pt x="40" y="154"/>
                  </a:lnTo>
                  <a:lnTo>
                    <a:pt x="42" y="154"/>
                  </a:lnTo>
                  <a:lnTo>
                    <a:pt x="44" y="154"/>
                  </a:lnTo>
                  <a:lnTo>
                    <a:pt x="55" y="152"/>
                  </a:lnTo>
                  <a:lnTo>
                    <a:pt x="59" y="152"/>
                  </a:lnTo>
                  <a:lnTo>
                    <a:pt x="61" y="152"/>
                  </a:lnTo>
                  <a:lnTo>
                    <a:pt x="64" y="152"/>
                  </a:lnTo>
                  <a:lnTo>
                    <a:pt x="64" y="152"/>
                  </a:lnTo>
                  <a:lnTo>
                    <a:pt x="66" y="154"/>
                  </a:lnTo>
                  <a:lnTo>
                    <a:pt x="68" y="156"/>
                  </a:lnTo>
                  <a:lnTo>
                    <a:pt x="68" y="156"/>
                  </a:lnTo>
                  <a:lnTo>
                    <a:pt x="70" y="156"/>
                  </a:lnTo>
                  <a:lnTo>
                    <a:pt x="72" y="156"/>
                  </a:lnTo>
                  <a:lnTo>
                    <a:pt x="72" y="156"/>
                  </a:lnTo>
                  <a:lnTo>
                    <a:pt x="76" y="156"/>
                  </a:lnTo>
                  <a:lnTo>
                    <a:pt x="76" y="156"/>
                  </a:lnTo>
                  <a:lnTo>
                    <a:pt x="78" y="156"/>
                  </a:lnTo>
                  <a:lnTo>
                    <a:pt x="78" y="158"/>
                  </a:lnTo>
                  <a:lnTo>
                    <a:pt x="78" y="158"/>
                  </a:lnTo>
                  <a:lnTo>
                    <a:pt x="78" y="158"/>
                  </a:lnTo>
                  <a:lnTo>
                    <a:pt x="78" y="158"/>
                  </a:lnTo>
                  <a:lnTo>
                    <a:pt x="80" y="158"/>
                  </a:lnTo>
                  <a:lnTo>
                    <a:pt x="82" y="158"/>
                  </a:lnTo>
                  <a:lnTo>
                    <a:pt x="85" y="158"/>
                  </a:lnTo>
                  <a:lnTo>
                    <a:pt x="91" y="156"/>
                  </a:lnTo>
                  <a:lnTo>
                    <a:pt x="95" y="156"/>
                  </a:lnTo>
                  <a:lnTo>
                    <a:pt x="97" y="154"/>
                  </a:lnTo>
                  <a:lnTo>
                    <a:pt x="99" y="152"/>
                  </a:lnTo>
                  <a:lnTo>
                    <a:pt x="101" y="150"/>
                  </a:lnTo>
                  <a:lnTo>
                    <a:pt x="101" y="148"/>
                  </a:lnTo>
                  <a:lnTo>
                    <a:pt x="104" y="146"/>
                  </a:lnTo>
                  <a:lnTo>
                    <a:pt x="106" y="144"/>
                  </a:lnTo>
                  <a:lnTo>
                    <a:pt x="114" y="139"/>
                  </a:lnTo>
                  <a:lnTo>
                    <a:pt x="114" y="139"/>
                  </a:lnTo>
                  <a:lnTo>
                    <a:pt x="114" y="139"/>
                  </a:lnTo>
                  <a:lnTo>
                    <a:pt x="114" y="140"/>
                  </a:lnTo>
                  <a:lnTo>
                    <a:pt x="114" y="140"/>
                  </a:lnTo>
                  <a:lnTo>
                    <a:pt x="114" y="142"/>
                  </a:lnTo>
                  <a:lnTo>
                    <a:pt x="114" y="146"/>
                  </a:lnTo>
                  <a:lnTo>
                    <a:pt x="114" y="148"/>
                  </a:lnTo>
                  <a:lnTo>
                    <a:pt x="112" y="150"/>
                  </a:lnTo>
                  <a:lnTo>
                    <a:pt x="110" y="156"/>
                  </a:lnTo>
                  <a:lnTo>
                    <a:pt x="110" y="156"/>
                  </a:lnTo>
                  <a:lnTo>
                    <a:pt x="112" y="158"/>
                  </a:lnTo>
                  <a:lnTo>
                    <a:pt x="112" y="159"/>
                  </a:lnTo>
                  <a:lnTo>
                    <a:pt x="116" y="161"/>
                  </a:lnTo>
                  <a:lnTo>
                    <a:pt x="118" y="163"/>
                  </a:lnTo>
                  <a:lnTo>
                    <a:pt x="122" y="163"/>
                  </a:lnTo>
                  <a:lnTo>
                    <a:pt x="122" y="163"/>
                  </a:lnTo>
                  <a:lnTo>
                    <a:pt x="122" y="161"/>
                  </a:lnTo>
                  <a:lnTo>
                    <a:pt x="125" y="159"/>
                  </a:lnTo>
                  <a:lnTo>
                    <a:pt x="127" y="159"/>
                  </a:lnTo>
                  <a:lnTo>
                    <a:pt x="129" y="159"/>
                  </a:lnTo>
                  <a:lnTo>
                    <a:pt x="131" y="159"/>
                  </a:lnTo>
                  <a:lnTo>
                    <a:pt x="133" y="158"/>
                  </a:lnTo>
                  <a:lnTo>
                    <a:pt x="137" y="154"/>
                  </a:lnTo>
                  <a:lnTo>
                    <a:pt x="137" y="152"/>
                  </a:lnTo>
                  <a:lnTo>
                    <a:pt x="139" y="152"/>
                  </a:lnTo>
                  <a:lnTo>
                    <a:pt x="141" y="152"/>
                  </a:lnTo>
                  <a:lnTo>
                    <a:pt x="141" y="150"/>
                  </a:lnTo>
                  <a:lnTo>
                    <a:pt x="141" y="150"/>
                  </a:lnTo>
                  <a:lnTo>
                    <a:pt x="141" y="150"/>
                  </a:lnTo>
                  <a:lnTo>
                    <a:pt x="141" y="148"/>
                  </a:lnTo>
                  <a:lnTo>
                    <a:pt x="141" y="148"/>
                  </a:lnTo>
                  <a:lnTo>
                    <a:pt x="141" y="148"/>
                  </a:lnTo>
                  <a:lnTo>
                    <a:pt x="143" y="148"/>
                  </a:lnTo>
                  <a:lnTo>
                    <a:pt x="150" y="135"/>
                  </a:lnTo>
                  <a:lnTo>
                    <a:pt x="150" y="135"/>
                  </a:lnTo>
                  <a:lnTo>
                    <a:pt x="152" y="135"/>
                  </a:lnTo>
                  <a:lnTo>
                    <a:pt x="154" y="135"/>
                  </a:lnTo>
                  <a:lnTo>
                    <a:pt x="154" y="133"/>
                  </a:lnTo>
                  <a:lnTo>
                    <a:pt x="156" y="131"/>
                  </a:lnTo>
                  <a:lnTo>
                    <a:pt x="154" y="129"/>
                  </a:lnTo>
                  <a:lnTo>
                    <a:pt x="152" y="120"/>
                  </a:lnTo>
                  <a:lnTo>
                    <a:pt x="154" y="118"/>
                  </a:lnTo>
                  <a:lnTo>
                    <a:pt x="154" y="114"/>
                  </a:lnTo>
                  <a:lnTo>
                    <a:pt x="154" y="114"/>
                  </a:lnTo>
                  <a:lnTo>
                    <a:pt x="158" y="112"/>
                  </a:lnTo>
                  <a:lnTo>
                    <a:pt x="160" y="112"/>
                  </a:lnTo>
                  <a:lnTo>
                    <a:pt x="164" y="106"/>
                  </a:lnTo>
                  <a:lnTo>
                    <a:pt x="167" y="104"/>
                  </a:lnTo>
                  <a:lnTo>
                    <a:pt x="167" y="100"/>
                  </a:lnTo>
                  <a:lnTo>
                    <a:pt x="167" y="99"/>
                  </a:lnTo>
                  <a:lnTo>
                    <a:pt x="165" y="99"/>
                  </a:lnTo>
                  <a:lnTo>
                    <a:pt x="164" y="97"/>
                  </a:lnTo>
                  <a:lnTo>
                    <a:pt x="162" y="97"/>
                  </a:lnTo>
                  <a:lnTo>
                    <a:pt x="162" y="89"/>
                  </a:lnTo>
                  <a:lnTo>
                    <a:pt x="162" y="87"/>
                  </a:lnTo>
                  <a:lnTo>
                    <a:pt x="162" y="87"/>
                  </a:lnTo>
                  <a:lnTo>
                    <a:pt x="162" y="87"/>
                  </a:lnTo>
                  <a:lnTo>
                    <a:pt x="162" y="85"/>
                  </a:lnTo>
                  <a:lnTo>
                    <a:pt x="162" y="85"/>
                  </a:lnTo>
                  <a:lnTo>
                    <a:pt x="160" y="85"/>
                  </a:lnTo>
                  <a:lnTo>
                    <a:pt x="160" y="85"/>
                  </a:lnTo>
                  <a:lnTo>
                    <a:pt x="160" y="83"/>
                  </a:lnTo>
                  <a:lnTo>
                    <a:pt x="158" y="81"/>
                  </a:lnTo>
                  <a:lnTo>
                    <a:pt x="158" y="78"/>
                  </a:lnTo>
                  <a:lnTo>
                    <a:pt x="158" y="72"/>
                  </a:lnTo>
                  <a:lnTo>
                    <a:pt x="158" y="70"/>
                  </a:lnTo>
                  <a:lnTo>
                    <a:pt x="160" y="66"/>
                  </a:lnTo>
                  <a:lnTo>
                    <a:pt x="160" y="64"/>
                  </a:lnTo>
                  <a:lnTo>
                    <a:pt x="160" y="62"/>
                  </a:lnTo>
                  <a:lnTo>
                    <a:pt x="158" y="59"/>
                  </a:lnTo>
                  <a:lnTo>
                    <a:pt x="158" y="57"/>
                  </a:lnTo>
                  <a:lnTo>
                    <a:pt x="158" y="55"/>
                  </a:lnTo>
                  <a:lnTo>
                    <a:pt x="160" y="55"/>
                  </a:lnTo>
                  <a:lnTo>
                    <a:pt x="164" y="51"/>
                  </a:lnTo>
                  <a:lnTo>
                    <a:pt x="164" y="49"/>
                  </a:lnTo>
                  <a:lnTo>
                    <a:pt x="164" y="49"/>
                  </a:lnTo>
                  <a:lnTo>
                    <a:pt x="164" y="47"/>
                  </a:lnTo>
                  <a:lnTo>
                    <a:pt x="164" y="47"/>
                  </a:lnTo>
                  <a:lnTo>
                    <a:pt x="165" y="45"/>
                  </a:lnTo>
                  <a:lnTo>
                    <a:pt x="165" y="43"/>
                  </a:lnTo>
                  <a:lnTo>
                    <a:pt x="165" y="43"/>
                  </a:lnTo>
                  <a:lnTo>
                    <a:pt x="167" y="42"/>
                  </a:lnTo>
                  <a:lnTo>
                    <a:pt x="169" y="42"/>
                  </a:lnTo>
                  <a:lnTo>
                    <a:pt x="169" y="42"/>
                  </a:lnTo>
                  <a:lnTo>
                    <a:pt x="171" y="40"/>
                  </a:lnTo>
                  <a:lnTo>
                    <a:pt x="171" y="38"/>
                  </a:lnTo>
                  <a:lnTo>
                    <a:pt x="173" y="38"/>
                  </a:lnTo>
                  <a:lnTo>
                    <a:pt x="175" y="38"/>
                  </a:lnTo>
                  <a:lnTo>
                    <a:pt x="175" y="40"/>
                  </a:lnTo>
                  <a:lnTo>
                    <a:pt x="177" y="40"/>
                  </a:lnTo>
                  <a:lnTo>
                    <a:pt x="177" y="40"/>
                  </a:lnTo>
                  <a:lnTo>
                    <a:pt x="177" y="3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7" name="Freeform 29">
              <a:extLst>
                <a:ext uri="{FF2B5EF4-FFF2-40B4-BE49-F238E27FC236}">
                  <a16:creationId xmlns:a16="http://schemas.microsoft.com/office/drawing/2014/main" id="{35BA6A99-226F-7128-4911-2F648F15073A}"/>
                </a:ext>
              </a:extLst>
            </p:cNvPr>
            <p:cNvSpPr>
              <a:spLocks/>
            </p:cNvSpPr>
            <p:nvPr/>
          </p:nvSpPr>
          <p:spPr bwMode="auto">
            <a:xfrm>
              <a:off x="7469188" y="3131351"/>
              <a:ext cx="280988" cy="298450"/>
            </a:xfrm>
            <a:custGeom>
              <a:avLst/>
              <a:gdLst>
                <a:gd name="T0" fmla="*/ 175 w 177"/>
                <a:gd name="T1" fmla="*/ 24 h 188"/>
                <a:gd name="T2" fmla="*/ 171 w 177"/>
                <a:gd name="T3" fmla="*/ 19 h 188"/>
                <a:gd name="T4" fmla="*/ 175 w 177"/>
                <a:gd name="T5" fmla="*/ 15 h 188"/>
                <a:gd name="T6" fmla="*/ 171 w 177"/>
                <a:gd name="T7" fmla="*/ 4 h 188"/>
                <a:gd name="T8" fmla="*/ 167 w 177"/>
                <a:gd name="T9" fmla="*/ 4 h 188"/>
                <a:gd name="T10" fmla="*/ 154 w 177"/>
                <a:gd name="T11" fmla="*/ 11 h 188"/>
                <a:gd name="T12" fmla="*/ 146 w 177"/>
                <a:gd name="T13" fmla="*/ 9 h 188"/>
                <a:gd name="T14" fmla="*/ 135 w 177"/>
                <a:gd name="T15" fmla="*/ 23 h 188"/>
                <a:gd name="T16" fmla="*/ 112 w 177"/>
                <a:gd name="T17" fmla="*/ 34 h 188"/>
                <a:gd name="T18" fmla="*/ 106 w 177"/>
                <a:gd name="T19" fmla="*/ 38 h 188"/>
                <a:gd name="T20" fmla="*/ 101 w 177"/>
                <a:gd name="T21" fmla="*/ 45 h 188"/>
                <a:gd name="T22" fmla="*/ 95 w 177"/>
                <a:gd name="T23" fmla="*/ 55 h 188"/>
                <a:gd name="T24" fmla="*/ 89 w 177"/>
                <a:gd name="T25" fmla="*/ 55 h 188"/>
                <a:gd name="T26" fmla="*/ 84 w 177"/>
                <a:gd name="T27" fmla="*/ 53 h 188"/>
                <a:gd name="T28" fmla="*/ 78 w 177"/>
                <a:gd name="T29" fmla="*/ 70 h 188"/>
                <a:gd name="T30" fmla="*/ 61 w 177"/>
                <a:gd name="T31" fmla="*/ 89 h 188"/>
                <a:gd name="T32" fmla="*/ 61 w 177"/>
                <a:gd name="T33" fmla="*/ 100 h 188"/>
                <a:gd name="T34" fmla="*/ 59 w 177"/>
                <a:gd name="T35" fmla="*/ 108 h 188"/>
                <a:gd name="T36" fmla="*/ 57 w 177"/>
                <a:gd name="T37" fmla="*/ 118 h 188"/>
                <a:gd name="T38" fmla="*/ 42 w 177"/>
                <a:gd name="T39" fmla="*/ 123 h 188"/>
                <a:gd name="T40" fmla="*/ 42 w 177"/>
                <a:gd name="T41" fmla="*/ 120 h 188"/>
                <a:gd name="T42" fmla="*/ 44 w 177"/>
                <a:gd name="T43" fmla="*/ 112 h 188"/>
                <a:gd name="T44" fmla="*/ 38 w 177"/>
                <a:gd name="T45" fmla="*/ 112 h 188"/>
                <a:gd name="T46" fmla="*/ 32 w 177"/>
                <a:gd name="T47" fmla="*/ 116 h 188"/>
                <a:gd name="T48" fmla="*/ 34 w 177"/>
                <a:gd name="T49" fmla="*/ 121 h 188"/>
                <a:gd name="T50" fmla="*/ 3 w 177"/>
                <a:gd name="T51" fmla="*/ 150 h 188"/>
                <a:gd name="T52" fmla="*/ 2 w 177"/>
                <a:gd name="T53" fmla="*/ 158 h 188"/>
                <a:gd name="T54" fmla="*/ 5 w 177"/>
                <a:gd name="T55" fmla="*/ 159 h 188"/>
                <a:gd name="T56" fmla="*/ 9 w 177"/>
                <a:gd name="T57" fmla="*/ 165 h 188"/>
                <a:gd name="T58" fmla="*/ 11 w 177"/>
                <a:gd name="T59" fmla="*/ 175 h 188"/>
                <a:gd name="T60" fmla="*/ 13 w 177"/>
                <a:gd name="T61" fmla="*/ 180 h 188"/>
                <a:gd name="T62" fmla="*/ 17 w 177"/>
                <a:gd name="T63" fmla="*/ 182 h 188"/>
                <a:gd name="T64" fmla="*/ 23 w 177"/>
                <a:gd name="T65" fmla="*/ 184 h 188"/>
                <a:gd name="T66" fmla="*/ 28 w 177"/>
                <a:gd name="T67" fmla="*/ 182 h 188"/>
                <a:gd name="T68" fmla="*/ 44 w 177"/>
                <a:gd name="T69" fmla="*/ 163 h 188"/>
                <a:gd name="T70" fmla="*/ 42 w 177"/>
                <a:gd name="T71" fmla="*/ 159 h 188"/>
                <a:gd name="T72" fmla="*/ 40 w 177"/>
                <a:gd name="T73" fmla="*/ 158 h 188"/>
                <a:gd name="T74" fmla="*/ 55 w 177"/>
                <a:gd name="T75" fmla="*/ 152 h 188"/>
                <a:gd name="T76" fmla="*/ 68 w 177"/>
                <a:gd name="T77" fmla="*/ 156 h 188"/>
                <a:gd name="T78" fmla="*/ 76 w 177"/>
                <a:gd name="T79" fmla="*/ 156 h 188"/>
                <a:gd name="T80" fmla="*/ 80 w 177"/>
                <a:gd name="T81" fmla="*/ 158 h 188"/>
                <a:gd name="T82" fmla="*/ 99 w 177"/>
                <a:gd name="T83" fmla="*/ 152 h 188"/>
                <a:gd name="T84" fmla="*/ 114 w 177"/>
                <a:gd name="T85" fmla="*/ 139 h 188"/>
                <a:gd name="T86" fmla="*/ 114 w 177"/>
                <a:gd name="T87" fmla="*/ 148 h 188"/>
                <a:gd name="T88" fmla="*/ 116 w 177"/>
                <a:gd name="T89" fmla="*/ 161 h 188"/>
                <a:gd name="T90" fmla="*/ 127 w 177"/>
                <a:gd name="T91" fmla="*/ 159 h 188"/>
                <a:gd name="T92" fmla="*/ 139 w 177"/>
                <a:gd name="T93" fmla="*/ 152 h 188"/>
                <a:gd name="T94" fmla="*/ 141 w 177"/>
                <a:gd name="T95" fmla="*/ 148 h 188"/>
                <a:gd name="T96" fmla="*/ 154 w 177"/>
                <a:gd name="T97" fmla="*/ 135 h 188"/>
                <a:gd name="T98" fmla="*/ 154 w 177"/>
                <a:gd name="T99" fmla="*/ 114 h 188"/>
                <a:gd name="T100" fmla="*/ 167 w 177"/>
                <a:gd name="T101" fmla="*/ 100 h 188"/>
                <a:gd name="T102" fmla="*/ 162 w 177"/>
                <a:gd name="T103" fmla="*/ 87 h 188"/>
                <a:gd name="T104" fmla="*/ 160 w 177"/>
                <a:gd name="T105" fmla="*/ 85 h 188"/>
                <a:gd name="T106" fmla="*/ 160 w 177"/>
                <a:gd name="T107" fmla="*/ 66 h 188"/>
                <a:gd name="T108" fmla="*/ 160 w 177"/>
                <a:gd name="T109" fmla="*/ 55 h 188"/>
                <a:gd name="T110" fmla="*/ 165 w 177"/>
                <a:gd name="T111" fmla="*/ 45 h 188"/>
                <a:gd name="T112" fmla="*/ 171 w 177"/>
                <a:gd name="T113" fmla="*/ 40 h 188"/>
                <a:gd name="T114" fmla="*/ 177 w 177"/>
                <a:gd name="T115" fmla="*/ 4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 h="188">
                  <a:moveTo>
                    <a:pt x="177" y="36"/>
                  </a:moveTo>
                  <a:lnTo>
                    <a:pt x="175" y="32"/>
                  </a:lnTo>
                  <a:lnTo>
                    <a:pt x="175" y="32"/>
                  </a:lnTo>
                  <a:lnTo>
                    <a:pt x="175" y="30"/>
                  </a:lnTo>
                  <a:lnTo>
                    <a:pt x="175" y="28"/>
                  </a:lnTo>
                  <a:lnTo>
                    <a:pt x="175" y="24"/>
                  </a:lnTo>
                  <a:lnTo>
                    <a:pt x="175" y="24"/>
                  </a:lnTo>
                  <a:lnTo>
                    <a:pt x="175" y="24"/>
                  </a:lnTo>
                  <a:lnTo>
                    <a:pt x="173" y="23"/>
                  </a:lnTo>
                  <a:lnTo>
                    <a:pt x="173" y="21"/>
                  </a:lnTo>
                  <a:lnTo>
                    <a:pt x="171" y="21"/>
                  </a:lnTo>
                  <a:lnTo>
                    <a:pt x="171" y="19"/>
                  </a:lnTo>
                  <a:lnTo>
                    <a:pt x="173" y="17"/>
                  </a:lnTo>
                  <a:lnTo>
                    <a:pt x="173" y="17"/>
                  </a:lnTo>
                  <a:lnTo>
                    <a:pt x="173" y="17"/>
                  </a:lnTo>
                  <a:lnTo>
                    <a:pt x="173" y="15"/>
                  </a:lnTo>
                  <a:lnTo>
                    <a:pt x="175" y="15"/>
                  </a:lnTo>
                  <a:lnTo>
                    <a:pt x="175" y="15"/>
                  </a:lnTo>
                  <a:lnTo>
                    <a:pt x="175" y="13"/>
                  </a:lnTo>
                  <a:lnTo>
                    <a:pt x="175" y="9"/>
                  </a:lnTo>
                  <a:lnTo>
                    <a:pt x="175" y="7"/>
                  </a:lnTo>
                  <a:lnTo>
                    <a:pt x="175" y="5"/>
                  </a:lnTo>
                  <a:lnTo>
                    <a:pt x="173" y="5"/>
                  </a:lnTo>
                  <a:lnTo>
                    <a:pt x="171" y="4"/>
                  </a:lnTo>
                  <a:lnTo>
                    <a:pt x="171" y="4"/>
                  </a:lnTo>
                  <a:lnTo>
                    <a:pt x="171" y="4"/>
                  </a:lnTo>
                  <a:lnTo>
                    <a:pt x="169" y="0"/>
                  </a:lnTo>
                  <a:lnTo>
                    <a:pt x="169" y="2"/>
                  </a:lnTo>
                  <a:lnTo>
                    <a:pt x="167" y="2"/>
                  </a:lnTo>
                  <a:lnTo>
                    <a:pt x="167" y="4"/>
                  </a:lnTo>
                  <a:lnTo>
                    <a:pt x="167" y="4"/>
                  </a:lnTo>
                  <a:lnTo>
                    <a:pt x="167" y="4"/>
                  </a:lnTo>
                  <a:lnTo>
                    <a:pt x="167" y="4"/>
                  </a:lnTo>
                  <a:lnTo>
                    <a:pt x="156" y="11"/>
                  </a:lnTo>
                  <a:lnTo>
                    <a:pt x="156" y="11"/>
                  </a:lnTo>
                  <a:lnTo>
                    <a:pt x="154" y="11"/>
                  </a:lnTo>
                  <a:lnTo>
                    <a:pt x="152" y="11"/>
                  </a:lnTo>
                  <a:lnTo>
                    <a:pt x="150" y="11"/>
                  </a:lnTo>
                  <a:lnTo>
                    <a:pt x="150" y="11"/>
                  </a:lnTo>
                  <a:lnTo>
                    <a:pt x="146" y="9"/>
                  </a:lnTo>
                  <a:lnTo>
                    <a:pt x="146" y="9"/>
                  </a:lnTo>
                  <a:lnTo>
                    <a:pt x="146" y="9"/>
                  </a:lnTo>
                  <a:lnTo>
                    <a:pt x="145" y="9"/>
                  </a:lnTo>
                  <a:lnTo>
                    <a:pt x="145" y="9"/>
                  </a:lnTo>
                  <a:lnTo>
                    <a:pt x="143" y="13"/>
                  </a:lnTo>
                  <a:lnTo>
                    <a:pt x="141" y="13"/>
                  </a:lnTo>
                  <a:lnTo>
                    <a:pt x="139" y="19"/>
                  </a:lnTo>
                  <a:lnTo>
                    <a:pt x="135" y="23"/>
                  </a:lnTo>
                  <a:lnTo>
                    <a:pt x="131" y="26"/>
                  </a:lnTo>
                  <a:lnTo>
                    <a:pt x="125" y="30"/>
                  </a:lnTo>
                  <a:lnTo>
                    <a:pt x="124" y="32"/>
                  </a:lnTo>
                  <a:lnTo>
                    <a:pt x="116" y="34"/>
                  </a:lnTo>
                  <a:lnTo>
                    <a:pt x="112" y="34"/>
                  </a:lnTo>
                  <a:lnTo>
                    <a:pt x="112" y="34"/>
                  </a:lnTo>
                  <a:lnTo>
                    <a:pt x="112" y="34"/>
                  </a:lnTo>
                  <a:lnTo>
                    <a:pt x="110" y="36"/>
                  </a:lnTo>
                  <a:lnTo>
                    <a:pt x="110" y="36"/>
                  </a:lnTo>
                  <a:lnTo>
                    <a:pt x="108" y="38"/>
                  </a:lnTo>
                  <a:lnTo>
                    <a:pt x="106" y="38"/>
                  </a:lnTo>
                  <a:lnTo>
                    <a:pt x="106" y="38"/>
                  </a:lnTo>
                  <a:lnTo>
                    <a:pt x="106" y="38"/>
                  </a:lnTo>
                  <a:lnTo>
                    <a:pt x="104" y="38"/>
                  </a:lnTo>
                  <a:lnTo>
                    <a:pt x="104" y="40"/>
                  </a:lnTo>
                  <a:lnTo>
                    <a:pt x="101" y="43"/>
                  </a:lnTo>
                  <a:lnTo>
                    <a:pt x="101" y="45"/>
                  </a:lnTo>
                  <a:lnTo>
                    <a:pt x="101" y="45"/>
                  </a:lnTo>
                  <a:lnTo>
                    <a:pt x="101" y="47"/>
                  </a:lnTo>
                  <a:lnTo>
                    <a:pt x="101" y="49"/>
                  </a:lnTo>
                  <a:lnTo>
                    <a:pt x="99" y="51"/>
                  </a:lnTo>
                  <a:lnTo>
                    <a:pt x="97" y="53"/>
                  </a:lnTo>
                  <a:lnTo>
                    <a:pt x="95" y="55"/>
                  </a:lnTo>
                  <a:lnTo>
                    <a:pt x="95" y="55"/>
                  </a:lnTo>
                  <a:lnTo>
                    <a:pt x="93" y="57"/>
                  </a:lnTo>
                  <a:lnTo>
                    <a:pt x="91" y="57"/>
                  </a:lnTo>
                  <a:lnTo>
                    <a:pt x="91" y="57"/>
                  </a:lnTo>
                  <a:lnTo>
                    <a:pt x="89" y="57"/>
                  </a:lnTo>
                  <a:lnTo>
                    <a:pt x="89" y="57"/>
                  </a:lnTo>
                  <a:lnTo>
                    <a:pt x="89" y="55"/>
                  </a:lnTo>
                  <a:lnTo>
                    <a:pt x="89" y="55"/>
                  </a:lnTo>
                  <a:lnTo>
                    <a:pt x="89" y="55"/>
                  </a:lnTo>
                  <a:lnTo>
                    <a:pt x="89" y="53"/>
                  </a:lnTo>
                  <a:lnTo>
                    <a:pt x="87" y="51"/>
                  </a:lnTo>
                  <a:lnTo>
                    <a:pt x="85" y="49"/>
                  </a:lnTo>
                  <a:lnTo>
                    <a:pt x="84" y="53"/>
                  </a:lnTo>
                  <a:lnTo>
                    <a:pt x="80" y="57"/>
                  </a:lnTo>
                  <a:lnTo>
                    <a:pt x="80" y="59"/>
                  </a:lnTo>
                  <a:lnTo>
                    <a:pt x="80" y="61"/>
                  </a:lnTo>
                  <a:lnTo>
                    <a:pt x="78" y="66"/>
                  </a:lnTo>
                  <a:lnTo>
                    <a:pt x="78" y="68"/>
                  </a:lnTo>
                  <a:lnTo>
                    <a:pt x="78" y="70"/>
                  </a:lnTo>
                  <a:lnTo>
                    <a:pt x="76" y="70"/>
                  </a:lnTo>
                  <a:lnTo>
                    <a:pt x="74" y="72"/>
                  </a:lnTo>
                  <a:lnTo>
                    <a:pt x="70" y="76"/>
                  </a:lnTo>
                  <a:lnTo>
                    <a:pt x="63" y="87"/>
                  </a:lnTo>
                  <a:lnTo>
                    <a:pt x="61" y="89"/>
                  </a:lnTo>
                  <a:lnTo>
                    <a:pt x="61" y="89"/>
                  </a:lnTo>
                  <a:lnTo>
                    <a:pt x="63" y="91"/>
                  </a:lnTo>
                  <a:lnTo>
                    <a:pt x="63" y="93"/>
                  </a:lnTo>
                  <a:lnTo>
                    <a:pt x="61" y="99"/>
                  </a:lnTo>
                  <a:lnTo>
                    <a:pt x="61" y="100"/>
                  </a:lnTo>
                  <a:lnTo>
                    <a:pt x="61" y="100"/>
                  </a:lnTo>
                  <a:lnTo>
                    <a:pt x="61" y="100"/>
                  </a:lnTo>
                  <a:lnTo>
                    <a:pt x="59" y="102"/>
                  </a:lnTo>
                  <a:lnTo>
                    <a:pt x="59" y="104"/>
                  </a:lnTo>
                  <a:lnTo>
                    <a:pt x="59" y="106"/>
                  </a:lnTo>
                  <a:lnTo>
                    <a:pt x="59" y="108"/>
                  </a:lnTo>
                  <a:lnTo>
                    <a:pt x="59" y="108"/>
                  </a:lnTo>
                  <a:lnTo>
                    <a:pt x="59" y="108"/>
                  </a:lnTo>
                  <a:lnTo>
                    <a:pt x="59" y="110"/>
                  </a:lnTo>
                  <a:lnTo>
                    <a:pt x="61" y="112"/>
                  </a:lnTo>
                  <a:lnTo>
                    <a:pt x="61" y="112"/>
                  </a:lnTo>
                  <a:lnTo>
                    <a:pt x="59" y="114"/>
                  </a:lnTo>
                  <a:lnTo>
                    <a:pt x="59" y="114"/>
                  </a:lnTo>
                  <a:lnTo>
                    <a:pt x="57" y="118"/>
                  </a:lnTo>
                  <a:lnTo>
                    <a:pt x="55" y="120"/>
                  </a:lnTo>
                  <a:lnTo>
                    <a:pt x="53" y="121"/>
                  </a:lnTo>
                  <a:lnTo>
                    <a:pt x="51" y="121"/>
                  </a:lnTo>
                  <a:lnTo>
                    <a:pt x="45" y="123"/>
                  </a:lnTo>
                  <a:lnTo>
                    <a:pt x="44" y="123"/>
                  </a:lnTo>
                  <a:lnTo>
                    <a:pt x="42" y="123"/>
                  </a:lnTo>
                  <a:lnTo>
                    <a:pt x="42" y="123"/>
                  </a:lnTo>
                  <a:lnTo>
                    <a:pt x="40" y="123"/>
                  </a:lnTo>
                  <a:lnTo>
                    <a:pt x="40" y="123"/>
                  </a:lnTo>
                  <a:lnTo>
                    <a:pt x="40" y="121"/>
                  </a:lnTo>
                  <a:lnTo>
                    <a:pt x="42" y="121"/>
                  </a:lnTo>
                  <a:lnTo>
                    <a:pt x="42" y="120"/>
                  </a:lnTo>
                  <a:lnTo>
                    <a:pt x="44" y="120"/>
                  </a:lnTo>
                  <a:lnTo>
                    <a:pt x="44" y="118"/>
                  </a:lnTo>
                  <a:lnTo>
                    <a:pt x="44" y="116"/>
                  </a:lnTo>
                  <a:lnTo>
                    <a:pt x="44" y="116"/>
                  </a:lnTo>
                  <a:lnTo>
                    <a:pt x="44" y="114"/>
                  </a:lnTo>
                  <a:lnTo>
                    <a:pt x="44" y="112"/>
                  </a:lnTo>
                  <a:lnTo>
                    <a:pt x="42" y="112"/>
                  </a:lnTo>
                  <a:lnTo>
                    <a:pt x="42" y="112"/>
                  </a:lnTo>
                  <a:lnTo>
                    <a:pt x="40" y="110"/>
                  </a:lnTo>
                  <a:lnTo>
                    <a:pt x="40" y="110"/>
                  </a:lnTo>
                  <a:lnTo>
                    <a:pt x="38" y="110"/>
                  </a:lnTo>
                  <a:lnTo>
                    <a:pt x="38" y="112"/>
                  </a:lnTo>
                  <a:lnTo>
                    <a:pt x="36" y="112"/>
                  </a:lnTo>
                  <a:lnTo>
                    <a:pt x="34" y="114"/>
                  </a:lnTo>
                  <a:lnTo>
                    <a:pt x="32" y="114"/>
                  </a:lnTo>
                  <a:lnTo>
                    <a:pt x="32" y="116"/>
                  </a:lnTo>
                  <a:lnTo>
                    <a:pt x="32" y="116"/>
                  </a:lnTo>
                  <a:lnTo>
                    <a:pt x="32" y="116"/>
                  </a:lnTo>
                  <a:lnTo>
                    <a:pt x="32" y="118"/>
                  </a:lnTo>
                  <a:lnTo>
                    <a:pt x="34" y="120"/>
                  </a:lnTo>
                  <a:lnTo>
                    <a:pt x="34" y="120"/>
                  </a:lnTo>
                  <a:lnTo>
                    <a:pt x="34" y="120"/>
                  </a:lnTo>
                  <a:lnTo>
                    <a:pt x="34" y="120"/>
                  </a:lnTo>
                  <a:lnTo>
                    <a:pt x="34" y="121"/>
                  </a:lnTo>
                  <a:lnTo>
                    <a:pt x="24" y="129"/>
                  </a:lnTo>
                  <a:lnTo>
                    <a:pt x="23" y="131"/>
                  </a:lnTo>
                  <a:lnTo>
                    <a:pt x="17" y="139"/>
                  </a:lnTo>
                  <a:lnTo>
                    <a:pt x="13" y="142"/>
                  </a:lnTo>
                  <a:lnTo>
                    <a:pt x="7" y="146"/>
                  </a:lnTo>
                  <a:lnTo>
                    <a:pt x="3" y="150"/>
                  </a:lnTo>
                  <a:lnTo>
                    <a:pt x="2" y="152"/>
                  </a:lnTo>
                  <a:lnTo>
                    <a:pt x="0" y="152"/>
                  </a:lnTo>
                  <a:lnTo>
                    <a:pt x="0" y="154"/>
                  </a:lnTo>
                  <a:lnTo>
                    <a:pt x="0" y="156"/>
                  </a:lnTo>
                  <a:lnTo>
                    <a:pt x="2" y="156"/>
                  </a:lnTo>
                  <a:lnTo>
                    <a:pt x="2" y="158"/>
                  </a:lnTo>
                  <a:lnTo>
                    <a:pt x="3" y="158"/>
                  </a:lnTo>
                  <a:lnTo>
                    <a:pt x="3" y="158"/>
                  </a:lnTo>
                  <a:lnTo>
                    <a:pt x="3" y="158"/>
                  </a:lnTo>
                  <a:lnTo>
                    <a:pt x="3" y="158"/>
                  </a:lnTo>
                  <a:lnTo>
                    <a:pt x="3" y="159"/>
                  </a:lnTo>
                  <a:lnTo>
                    <a:pt x="5" y="159"/>
                  </a:lnTo>
                  <a:lnTo>
                    <a:pt x="5" y="161"/>
                  </a:lnTo>
                  <a:lnTo>
                    <a:pt x="5" y="161"/>
                  </a:lnTo>
                  <a:lnTo>
                    <a:pt x="7" y="163"/>
                  </a:lnTo>
                  <a:lnTo>
                    <a:pt x="7" y="163"/>
                  </a:lnTo>
                  <a:lnTo>
                    <a:pt x="9" y="163"/>
                  </a:lnTo>
                  <a:lnTo>
                    <a:pt x="9" y="165"/>
                  </a:lnTo>
                  <a:lnTo>
                    <a:pt x="9" y="165"/>
                  </a:lnTo>
                  <a:lnTo>
                    <a:pt x="11" y="167"/>
                  </a:lnTo>
                  <a:lnTo>
                    <a:pt x="11" y="169"/>
                  </a:lnTo>
                  <a:lnTo>
                    <a:pt x="11" y="169"/>
                  </a:lnTo>
                  <a:lnTo>
                    <a:pt x="11" y="171"/>
                  </a:lnTo>
                  <a:lnTo>
                    <a:pt x="11" y="175"/>
                  </a:lnTo>
                  <a:lnTo>
                    <a:pt x="11" y="177"/>
                  </a:lnTo>
                  <a:lnTo>
                    <a:pt x="11" y="178"/>
                  </a:lnTo>
                  <a:lnTo>
                    <a:pt x="11" y="178"/>
                  </a:lnTo>
                  <a:lnTo>
                    <a:pt x="11" y="178"/>
                  </a:lnTo>
                  <a:lnTo>
                    <a:pt x="13" y="180"/>
                  </a:lnTo>
                  <a:lnTo>
                    <a:pt x="13" y="180"/>
                  </a:lnTo>
                  <a:lnTo>
                    <a:pt x="13" y="180"/>
                  </a:lnTo>
                  <a:lnTo>
                    <a:pt x="15" y="180"/>
                  </a:lnTo>
                  <a:lnTo>
                    <a:pt x="15" y="180"/>
                  </a:lnTo>
                  <a:lnTo>
                    <a:pt x="15" y="180"/>
                  </a:lnTo>
                  <a:lnTo>
                    <a:pt x="15" y="180"/>
                  </a:lnTo>
                  <a:lnTo>
                    <a:pt x="17" y="182"/>
                  </a:lnTo>
                  <a:lnTo>
                    <a:pt x="17" y="182"/>
                  </a:lnTo>
                  <a:lnTo>
                    <a:pt x="17" y="182"/>
                  </a:lnTo>
                  <a:lnTo>
                    <a:pt x="19" y="182"/>
                  </a:lnTo>
                  <a:lnTo>
                    <a:pt x="21" y="184"/>
                  </a:lnTo>
                  <a:lnTo>
                    <a:pt x="21" y="184"/>
                  </a:lnTo>
                  <a:lnTo>
                    <a:pt x="23" y="184"/>
                  </a:lnTo>
                  <a:lnTo>
                    <a:pt x="23" y="186"/>
                  </a:lnTo>
                  <a:lnTo>
                    <a:pt x="24" y="188"/>
                  </a:lnTo>
                  <a:lnTo>
                    <a:pt x="24" y="188"/>
                  </a:lnTo>
                  <a:lnTo>
                    <a:pt x="26" y="188"/>
                  </a:lnTo>
                  <a:lnTo>
                    <a:pt x="26" y="186"/>
                  </a:lnTo>
                  <a:lnTo>
                    <a:pt x="28" y="182"/>
                  </a:lnTo>
                  <a:lnTo>
                    <a:pt x="32" y="177"/>
                  </a:lnTo>
                  <a:lnTo>
                    <a:pt x="32" y="177"/>
                  </a:lnTo>
                  <a:lnTo>
                    <a:pt x="32" y="175"/>
                  </a:lnTo>
                  <a:lnTo>
                    <a:pt x="34" y="173"/>
                  </a:lnTo>
                  <a:lnTo>
                    <a:pt x="36" y="171"/>
                  </a:lnTo>
                  <a:lnTo>
                    <a:pt x="44" y="163"/>
                  </a:lnTo>
                  <a:lnTo>
                    <a:pt x="44" y="161"/>
                  </a:lnTo>
                  <a:lnTo>
                    <a:pt x="44" y="161"/>
                  </a:lnTo>
                  <a:lnTo>
                    <a:pt x="44" y="161"/>
                  </a:lnTo>
                  <a:lnTo>
                    <a:pt x="44" y="159"/>
                  </a:lnTo>
                  <a:lnTo>
                    <a:pt x="44" y="159"/>
                  </a:lnTo>
                  <a:lnTo>
                    <a:pt x="42" y="159"/>
                  </a:lnTo>
                  <a:lnTo>
                    <a:pt x="40" y="158"/>
                  </a:lnTo>
                  <a:lnTo>
                    <a:pt x="40" y="158"/>
                  </a:lnTo>
                  <a:lnTo>
                    <a:pt x="40" y="158"/>
                  </a:lnTo>
                  <a:lnTo>
                    <a:pt x="40" y="158"/>
                  </a:lnTo>
                  <a:lnTo>
                    <a:pt x="40" y="158"/>
                  </a:lnTo>
                  <a:lnTo>
                    <a:pt x="40" y="158"/>
                  </a:lnTo>
                  <a:lnTo>
                    <a:pt x="40" y="156"/>
                  </a:lnTo>
                  <a:lnTo>
                    <a:pt x="40" y="156"/>
                  </a:lnTo>
                  <a:lnTo>
                    <a:pt x="40" y="154"/>
                  </a:lnTo>
                  <a:lnTo>
                    <a:pt x="42" y="154"/>
                  </a:lnTo>
                  <a:lnTo>
                    <a:pt x="44" y="154"/>
                  </a:lnTo>
                  <a:lnTo>
                    <a:pt x="55" y="152"/>
                  </a:lnTo>
                  <a:lnTo>
                    <a:pt x="59" y="152"/>
                  </a:lnTo>
                  <a:lnTo>
                    <a:pt x="61" y="152"/>
                  </a:lnTo>
                  <a:lnTo>
                    <a:pt x="64" y="152"/>
                  </a:lnTo>
                  <a:lnTo>
                    <a:pt x="64" y="152"/>
                  </a:lnTo>
                  <a:lnTo>
                    <a:pt x="66" y="154"/>
                  </a:lnTo>
                  <a:lnTo>
                    <a:pt x="68" y="156"/>
                  </a:lnTo>
                  <a:lnTo>
                    <a:pt x="68" y="156"/>
                  </a:lnTo>
                  <a:lnTo>
                    <a:pt x="70" y="156"/>
                  </a:lnTo>
                  <a:lnTo>
                    <a:pt x="72" y="156"/>
                  </a:lnTo>
                  <a:lnTo>
                    <a:pt x="72" y="156"/>
                  </a:lnTo>
                  <a:lnTo>
                    <a:pt x="76" y="156"/>
                  </a:lnTo>
                  <a:lnTo>
                    <a:pt x="76" y="156"/>
                  </a:lnTo>
                  <a:lnTo>
                    <a:pt x="78" y="156"/>
                  </a:lnTo>
                  <a:lnTo>
                    <a:pt x="78" y="158"/>
                  </a:lnTo>
                  <a:lnTo>
                    <a:pt x="78" y="158"/>
                  </a:lnTo>
                  <a:lnTo>
                    <a:pt x="78" y="158"/>
                  </a:lnTo>
                  <a:lnTo>
                    <a:pt x="78" y="158"/>
                  </a:lnTo>
                  <a:lnTo>
                    <a:pt x="80" y="158"/>
                  </a:lnTo>
                  <a:lnTo>
                    <a:pt x="82" y="158"/>
                  </a:lnTo>
                  <a:lnTo>
                    <a:pt x="85" y="158"/>
                  </a:lnTo>
                  <a:lnTo>
                    <a:pt x="91" y="156"/>
                  </a:lnTo>
                  <a:lnTo>
                    <a:pt x="95" y="156"/>
                  </a:lnTo>
                  <a:lnTo>
                    <a:pt x="97" y="154"/>
                  </a:lnTo>
                  <a:lnTo>
                    <a:pt x="99" y="152"/>
                  </a:lnTo>
                  <a:lnTo>
                    <a:pt x="101" y="150"/>
                  </a:lnTo>
                  <a:lnTo>
                    <a:pt x="101" y="148"/>
                  </a:lnTo>
                  <a:lnTo>
                    <a:pt x="104" y="146"/>
                  </a:lnTo>
                  <a:lnTo>
                    <a:pt x="106" y="144"/>
                  </a:lnTo>
                  <a:lnTo>
                    <a:pt x="114" y="139"/>
                  </a:lnTo>
                  <a:lnTo>
                    <a:pt x="114" y="139"/>
                  </a:lnTo>
                  <a:lnTo>
                    <a:pt x="114" y="139"/>
                  </a:lnTo>
                  <a:lnTo>
                    <a:pt x="114" y="140"/>
                  </a:lnTo>
                  <a:lnTo>
                    <a:pt x="114" y="140"/>
                  </a:lnTo>
                  <a:lnTo>
                    <a:pt x="114" y="142"/>
                  </a:lnTo>
                  <a:lnTo>
                    <a:pt x="114" y="146"/>
                  </a:lnTo>
                  <a:lnTo>
                    <a:pt x="114" y="148"/>
                  </a:lnTo>
                  <a:lnTo>
                    <a:pt x="112" y="150"/>
                  </a:lnTo>
                  <a:lnTo>
                    <a:pt x="110" y="156"/>
                  </a:lnTo>
                  <a:lnTo>
                    <a:pt x="110" y="156"/>
                  </a:lnTo>
                  <a:lnTo>
                    <a:pt x="112" y="158"/>
                  </a:lnTo>
                  <a:lnTo>
                    <a:pt x="112" y="159"/>
                  </a:lnTo>
                  <a:lnTo>
                    <a:pt x="116" y="161"/>
                  </a:lnTo>
                  <a:lnTo>
                    <a:pt x="118" y="163"/>
                  </a:lnTo>
                  <a:lnTo>
                    <a:pt x="122" y="163"/>
                  </a:lnTo>
                  <a:lnTo>
                    <a:pt x="122" y="163"/>
                  </a:lnTo>
                  <a:lnTo>
                    <a:pt x="122" y="161"/>
                  </a:lnTo>
                  <a:lnTo>
                    <a:pt x="125" y="159"/>
                  </a:lnTo>
                  <a:lnTo>
                    <a:pt x="127" y="159"/>
                  </a:lnTo>
                  <a:lnTo>
                    <a:pt x="129" y="159"/>
                  </a:lnTo>
                  <a:lnTo>
                    <a:pt x="131" y="159"/>
                  </a:lnTo>
                  <a:lnTo>
                    <a:pt x="133" y="158"/>
                  </a:lnTo>
                  <a:lnTo>
                    <a:pt x="137" y="154"/>
                  </a:lnTo>
                  <a:lnTo>
                    <a:pt x="137" y="152"/>
                  </a:lnTo>
                  <a:lnTo>
                    <a:pt x="139" y="152"/>
                  </a:lnTo>
                  <a:lnTo>
                    <a:pt x="141" y="152"/>
                  </a:lnTo>
                  <a:lnTo>
                    <a:pt x="141" y="150"/>
                  </a:lnTo>
                  <a:lnTo>
                    <a:pt x="141" y="150"/>
                  </a:lnTo>
                  <a:lnTo>
                    <a:pt x="141" y="150"/>
                  </a:lnTo>
                  <a:lnTo>
                    <a:pt x="141" y="148"/>
                  </a:lnTo>
                  <a:lnTo>
                    <a:pt x="141" y="148"/>
                  </a:lnTo>
                  <a:lnTo>
                    <a:pt x="141" y="148"/>
                  </a:lnTo>
                  <a:lnTo>
                    <a:pt x="143" y="148"/>
                  </a:lnTo>
                  <a:lnTo>
                    <a:pt x="150" y="135"/>
                  </a:lnTo>
                  <a:lnTo>
                    <a:pt x="150" y="135"/>
                  </a:lnTo>
                  <a:lnTo>
                    <a:pt x="152" y="135"/>
                  </a:lnTo>
                  <a:lnTo>
                    <a:pt x="154" y="135"/>
                  </a:lnTo>
                  <a:lnTo>
                    <a:pt x="154" y="133"/>
                  </a:lnTo>
                  <a:lnTo>
                    <a:pt x="156" y="131"/>
                  </a:lnTo>
                  <a:lnTo>
                    <a:pt x="154" y="129"/>
                  </a:lnTo>
                  <a:lnTo>
                    <a:pt x="152" y="120"/>
                  </a:lnTo>
                  <a:lnTo>
                    <a:pt x="154" y="118"/>
                  </a:lnTo>
                  <a:lnTo>
                    <a:pt x="154" y="114"/>
                  </a:lnTo>
                  <a:lnTo>
                    <a:pt x="154" y="114"/>
                  </a:lnTo>
                  <a:lnTo>
                    <a:pt x="158" y="112"/>
                  </a:lnTo>
                  <a:lnTo>
                    <a:pt x="160" y="112"/>
                  </a:lnTo>
                  <a:lnTo>
                    <a:pt x="164" y="106"/>
                  </a:lnTo>
                  <a:lnTo>
                    <a:pt x="167" y="104"/>
                  </a:lnTo>
                  <a:lnTo>
                    <a:pt x="167" y="100"/>
                  </a:lnTo>
                  <a:lnTo>
                    <a:pt x="167" y="99"/>
                  </a:lnTo>
                  <a:lnTo>
                    <a:pt x="165" y="99"/>
                  </a:lnTo>
                  <a:lnTo>
                    <a:pt x="164" y="97"/>
                  </a:lnTo>
                  <a:lnTo>
                    <a:pt x="162" y="97"/>
                  </a:lnTo>
                  <a:lnTo>
                    <a:pt x="162" y="89"/>
                  </a:lnTo>
                  <a:lnTo>
                    <a:pt x="162" y="87"/>
                  </a:lnTo>
                  <a:lnTo>
                    <a:pt x="162" y="87"/>
                  </a:lnTo>
                  <a:lnTo>
                    <a:pt x="162" y="87"/>
                  </a:lnTo>
                  <a:lnTo>
                    <a:pt x="162" y="85"/>
                  </a:lnTo>
                  <a:lnTo>
                    <a:pt x="162" y="85"/>
                  </a:lnTo>
                  <a:lnTo>
                    <a:pt x="160" y="85"/>
                  </a:lnTo>
                  <a:lnTo>
                    <a:pt x="160" y="85"/>
                  </a:lnTo>
                  <a:lnTo>
                    <a:pt x="160" y="83"/>
                  </a:lnTo>
                  <a:lnTo>
                    <a:pt x="158" y="81"/>
                  </a:lnTo>
                  <a:lnTo>
                    <a:pt x="158" y="78"/>
                  </a:lnTo>
                  <a:lnTo>
                    <a:pt x="158" y="72"/>
                  </a:lnTo>
                  <a:lnTo>
                    <a:pt x="158" y="70"/>
                  </a:lnTo>
                  <a:lnTo>
                    <a:pt x="160" y="66"/>
                  </a:lnTo>
                  <a:lnTo>
                    <a:pt x="160" y="64"/>
                  </a:lnTo>
                  <a:lnTo>
                    <a:pt x="160" y="62"/>
                  </a:lnTo>
                  <a:lnTo>
                    <a:pt x="158" y="59"/>
                  </a:lnTo>
                  <a:lnTo>
                    <a:pt x="158" y="57"/>
                  </a:lnTo>
                  <a:lnTo>
                    <a:pt x="158" y="55"/>
                  </a:lnTo>
                  <a:lnTo>
                    <a:pt x="160" y="55"/>
                  </a:lnTo>
                  <a:lnTo>
                    <a:pt x="164" y="51"/>
                  </a:lnTo>
                  <a:lnTo>
                    <a:pt x="164" y="49"/>
                  </a:lnTo>
                  <a:lnTo>
                    <a:pt x="164" y="49"/>
                  </a:lnTo>
                  <a:lnTo>
                    <a:pt x="164" y="47"/>
                  </a:lnTo>
                  <a:lnTo>
                    <a:pt x="164" y="47"/>
                  </a:lnTo>
                  <a:lnTo>
                    <a:pt x="165" y="45"/>
                  </a:lnTo>
                  <a:lnTo>
                    <a:pt x="165" y="43"/>
                  </a:lnTo>
                  <a:lnTo>
                    <a:pt x="165" y="43"/>
                  </a:lnTo>
                  <a:lnTo>
                    <a:pt x="167" y="42"/>
                  </a:lnTo>
                  <a:lnTo>
                    <a:pt x="169" y="42"/>
                  </a:lnTo>
                  <a:lnTo>
                    <a:pt x="169" y="42"/>
                  </a:lnTo>
                  <a:lnTo>
                    <a:pt x="171" y="40"/>
                  </a:lnTo>
                  <a:lnTo>
                    <a:pt x="171" y="38"/>
                  </a:lnTo>
                  <a:lnTo>
                    <a:pt x="173" y="38"/>
                  </a:lnTo>
                  <a:lnTo>
                    <a:pt x="175" y="38"/>
                  </a:lnTo>
                  <a:lnTo>
                    <a:pt x="175" y="40"/>
                  </a:lnTo>
                  <a:lnTo>
                    <a:pt x="177" y="40"/>
                  </a:lnTo>
                  <a:lnTo>
                    <a:pt x="177" y="40"/>
                  </a:lnTo>
                  <a:lnTo>
                    <a:pt x="177" y="3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8" name="Freeform 30">
              <a:extLst>
                <a:ext uri="{FF2B5EF4-FFF2-40B4-BE49-F238E27FC236}">
                  <a16:creationId xmlns:a16="http://schemas.microsoft.com/office/drawing/2014/main" id="{9298F35E-B50C-26DE-D510-6F940B9F8937}"/>
                </a:ext>
              </a:extLst>
            </p:cNvPr>
            <p:cNvSpPr>
              <a:spLocks/>
            </p:cNvSpPr>
            <p:nvPr/>
          </p:nvSpPr>
          <p:spPr bwMode="auto">
            <a:xfrm>
              <a:off x="7312025" y="3544101"/>
              <a:ext cx="171450" cy="404813"/>
            </a:xfrm>
            <a:custGeom>
              <a:avLst/>
              <a:gdLst>
                <a:gd name="T0" fmla="*/ 106 w 108"/>
                <a:gd name="T1" fmla="*/ 80 h 255"/>
                <a:gd name="T2" fmla="*/ 101 w 108"/>
                <a:gd name="T3" fmla="*/ 59 h 255"/>
                <a:gd name="T4" fmla="*/ 97 w 108"/>
                <a:gd name="T5" fmla="*/ 48 h 255"/>
                <a:gd name="T6" fmla="*/ 91 w 108"/>
                <a:gd name="T7" fmla="*/ 48 h 255"/>
                <a:gd name="T8" fmla="*/ 89 w 108"/>
                <a:gd name="T9" fmla="*/ 44 h 255"/>
                <a:gd name="T10" fmla="*/ 87 w 108"/>
                <a:gd name="T11" fmla="*/ 46 h 255"/>
                <a:gd name="T12" fmla="*/ 83 w 108"/>
                <a:gd name="T13" fmla="*/ 44 h 255"/>
                <a:gd name="T14" fmla="*/ 80 w 108"/>
                <a:gd name="T15" fmla="*/ 46 h 255"/>
                <a:gd name="T16" fmla="*/ 74 w 108"/>
                <a:gd name="T17" fmla="*/ 42 h 255"/>
                <a:gd name="T18" fmla="*/ 66 w 108"/>
                <a:gd name="T19" fmla="*/ 38 h 255"/>
                <a:gd name="T20" fmla="*/ 68 w 108"/>
                <a:gd name="T21" fmla="*/ 31 h 255"/>
                <a:gd name="T22" fmla="*/ 70 w 108"/>
                <a:gd name="T23" fmla="*/ 23 h 255"/>
                <a:gd name="T24" fmla="*/ 72 w 108"/>
                <a:gd name="T25" fmla="*/ 15 h 255"/>
                <a:gd name="T26" fmla="*/ 66 w 108"/>
                <a:gd name="T27" fmla="*/ 12 h 255"/>
                <a:gd name="T28" fmla="*/ 53 w 108"/>
                <a:gd name="T29" fmla="*/ 12 h 255"/>
                <a:gd name="T30" fmla="*/ 45 w 108"/>
                <a:gd name="T31" fmla="*/ 2 h 255"/>
                <a:gd name="T32" fmla="*/ 34 w 108"/>
                <a:gd name="T33" fmla="*/ 19 h 255"/>
                <a:gd name="T34" fmla="*/ 32 w 108"/>
                <a:gd name="T35" fmla="*/ 27 h 255"/>
                <a:gd name="T36" fmla="*/ 22 w 108"/>
                <a:gd name="T37" fmla="*/ 34 h 255"/>
                <a:gd name="T38" fmla="*/ 17 w 108"/>
                <a:gd name="T39" fmla="*/ 36 h 255"/>
                <a:gd name="T40" fmla="*/ 15 w 108"/>
                <a:gd name="T41" fmla="*/ 29 h 255"/>
                <a:gd name="T42" fmla="*/ 15 w 108"/>
                <a:gd name="T43" fmla="*/ 27 h 255"/>
                <a:gd name="T44" fmla="*/ 3 w 108"/>
                <a:gd name="T45" fmla="*/ 29 h 255"/>
                <a:gd name="T46" fmla="*/ 5 w 108"/>
                <a:gd name="T47" fmla="*/ 40 h 255"/>
                <a:gd name="T48" fmla="*/ 5 w 108"/>
                <a:gd name="T49" fmla="*/ 48 h 255"/>
                <a:gd name="T50" fmla="*/ 5 w 108"/>
                <a:gd name="T51" fmla="*/ 55 h 255"/>
                <a:gd name="T52" fmla="*/ 5 w 108"/>
                <a:gd name="T53" fmla="*/ 61 h 255"/>
                <a:gd name="T54" fmla="*/ 5 w 108"/>
                <a:gd name="T55" fmla="*/ 65 h 255"/>
                <a:gd name="T56" fmla="*/ 3 w 108"/>
                <a:gd name="T57" fmla="*/ 65 h 255"/>
                <a:gd name="T58" fmla="*/ 2 w 108"/>
                <a:gd name="T59" fmla="*/ 67 h 255"/>
                <a:gd name="T60" fmla="*/ 0 w 108"/>
                <a:gd name="T61" fmla="*/ 71 h 255"/>
                <a:gd name="T62" fmla="*/ 0 w 108"/>
                <a:gd name="T63" fmla="*/ 90 h 255"/>
                <a:gd name="T64" fmla="*/ 5 w 108"/>
                <a:gd name="T65" fmla="*/ 111 h 255"/>
                <a:gd name="T66" fmla="*/ 7 w 108"/>
                <a:gd name="T67" fmla="*/ 114 h 255"/>
                <a:gd name="T68" fmla="*/ 9 w 108"/>
                <a:gd name="T69" fmla="*/ 122 h 255"/>
                <a:gd name="T70" fmla="*/ 9 w 108"/>
                <a:gd name="T71" fmla="*/ 154 h 255"/>
                <a:gd name="T72" fmla="*/ 17 w 108"/>
                <a:gd name="T73" fmla="*/ 173 h 255"/>
                <a:gd name="T74" fmla="*/ 22 w 108"/>
                <a:gd name="T75" fmla="*/ 194 h 255"/>
                <a:gd name="T76" fmla="*/ 28 w 108"/>
                <a:gd name="T77" fmla="*/ 236 h 255"/>
                <a:gd name="T78" fmla="*/ 28 w 108"/>
                <a:gd name="T79" fmla="*/ 253 h 255"/>
                <a:gd name="T80" fmla="*/ 34 w 108"/>
                <a:gd name="T81" fmla="*/ 249 h 255"/>
                <a:gd name="T82" fmla="*/ 36 w 108"/>
                <a:gd name="T83" fmla="*/ 242 h 255"/>
                <a:gd name="T84" fmla="*/ 38 w 108"/>
                <a:gd name="T85" fmla="*/ 236 h 255"/>
                <a:gd name="T86" fmla="*/ 55 w 108"/>
                <a:gd name="T87" fmla="*/ 247 h 255"/>
                <a:gd name="T88" fmla="*/ 59 w 108"/>
                <a:gd name="T89" fmla="*/ 247 h 255"/>
                <a:gd name="T90" fmla="*/ 64 w 108"/>
                <a:gd name="T91" fmla="*/ 251 h 255"/>
                <a:gd name="T92" fmla="*/ 66 w 108"/>
                <a:gd name="T93" fmla="*/ 249 h 255"/>
                <a:gd name="T94" fmla="*/ 68 w 108"/>
                <a:gd name="T95" fmla="*/ 240 h 255"/>
                <a:gd name="T96" fmla="*/ 70 w 108"/>
                <a:gd name="T97" fmla="*/ 230 h 255"/>
                <a:gd name="T98" fmla="*/ 80 w 108"/>
                <a:gd name="T99" fmla="*/ 232 h 255"/>
                <a:gd name="T100" fmla="*/ 82 w 108"/>
                <a:gd name="T101" fmla="*/ 227 h 255"/>
                <a:gd name="T102" fmla="*/ 82 w 108"/>
                <a:gd name="T103" fmla="*/ 208 h 255"/>
                <a:gd name="T104" fmla="*/ 78 w 108"/>
                <a:gd name="T105" fmla="*/ 190 h 255"/>
                <a:gd name="T106" fmla="*/ 78 w 108"/>
                <a:gd name="T107" fmla="*/ 170 h 255"/>
                <a:gd name="T108" fmla="*/ 83 w 108"/>
                <a:gd name="T109" fmla="*/ 158 h 255"/>
                <a:gd name="T110" fmla="*/ 83 w 108"/>
                <a:gd name="T111" fmla="*/ 145 h 255"/>
                <a:gd name="T112" fmla="*/ 95 w 108"/>
                <a:gd name="T113" fmla="*/ 149 h 255"/>
                <a:gd name="T114" fmla="*/ 102 w 108"/>
                <a:gd name="T115" fmla="*/ 133 h 255"/>
                <a:gd name="T116" fmla="*/ 106 w 108"/>
                <a:gd name="T117"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255">
                  <a:moveTo>
                    <a:pt x="104" y="107"/>
                  </a:moveTo>
                  <a:lnTo>
                    <a:pt x="104" y="105"/>
                  </a:lnTo>
                  <a:lnTo>
                    <a:pt x="108" y="86"/>
                  </a:lnTo>
                  <a:lnTo>
                    <a:pt x="108" y="82"/>
                  </a:lnTo>
                  <a:lnTo>
                    <a:pt x="108" y="80"/>
                  </a:lnTo>
                  <a:lnTo>
                    <a:pt x="106" y="80"/>
                  </a:lnTo>
                  <a:lnTo>
                    <a:pt x="106" y="78"/>
                  </a:lnTo>
                  <a:lnTo>
                    <a:pt x="102" y="76"/>
                  </a:lnTo>
                  <a:lnTo>
                    <a:pt x="101" y="65"/>
                  </a:lnTo>
                  <a:lnTo>
                    <a:pt x="101" y="61"/>
                  </a:lnTo>
                  <a:lnTo>
                    <a:pt x="101" y="59"/>
                  </a:lnTo>
                  <a:lnTo>
                    <a:pt x="101" y="59"/>
                  </a:lnTo>
                  <a:lnTo>
                    <a:pt x="101" y="57"/>
                  </a:lnTo>
                  <a:lnTo>
                    <a:pt x="99" y="57"/>
                  </a:lnTo>
                  <a:lnTo>
                    <a:pt x="97" y="54"/>
                  </a:lnTo>
                  <a:lnTo>
                    <a:pt x="97" y="52"/>
                  </a:lnTo>
                  <a:lnTo>
                    <a:pt x="97" y="50"/>
                  </a:lnTo>
                  <a:lnTo>
                    <a:pt x="97" y="48"/>
                  </a:lnTo>
                  <a:lnTo>
                    <a:pt x="97" y="46"/>
                  </a:lnTo>
                  <a:lnTo>
                    <a:pt x="97" y="46"/>
                  </a:lnTo>
                  <a:lnTo>
                    <a:pt x="95" y="46"/>
                  </a:lnTo>
                  <a:lnTo>
                    <a:pt x="91" y="48"/>
                  </a:lnTo>
                  <a:lnTo>
                    <a:pt x="91" y="48"/>
                  </a:lnTo>
                  <a:lnTo>
                    <a:pt x="91" y="48"/>
                  </a:lnTo>
                  <a:lnTo>
                    <a:pt x="91" y="48"/>
                  </a:lnTo>
                  <a:lnTo>
                    <a:pt x="91" y="46"/>
                  </a:lnTo>
                  <a:lnTo>
                    <a:pt x="91" y="46"/>
                  </a:lnTo>
                  <a:lnTo>
                    <a:pt x="91" y="44"/>
                  </a:lnTo>
                  <a:lnTo>
                    <a:pt x="91" y="44"/>
                  </a:lnTo>
                  <a:lnTo>
                    <a:pt x="89" y="44"/>
                  </a:lnTo>
                  <a:lnTo>
                    <a:pt x="89" y="42"/>
                  </a:lnTo>
                  <a:lnTo>
                    <a:pt x="89" y="44"/>
                  </a:lnTo>
                  <a:lnTo>
                    <a:pt x="89" y="44"/>
                  </a:lnTo>
                  <a:lnTo>
                    <a:pt x="89" y="44"/>
                  </a:lnTo>
                  <a:lnTo>
                    <a:pt x="87" y="44"/>
                  </a:lnTo>
                  <a:lnTo>
                    <a:pt x="87" y="46"/>
                  </a:lnTo>
                  <a:lnTo>
                    <a:pt x="85" y="46"/>
                  </a:lnTo>
                  <a:lnTo>
                    <a:pt x="85" y="46"/>
                  </a:lnTo>
                  <a:lnTo>
                    <a:pt x="83" y="46"/>
                  </a:lnTo>
                  <a:lnTo>
                    <a:pt x="83" y="46"/>
                  </a:lnTo>
                  <a:lnTo>
                    <a:pt x="83" y="46"/>
                  </a:lnTo>
                  <a:lnTo>
                    <a:pt x="83" y="44"/>
                  </a:lnTo>
                  <a:lnTo>
                    <a:pt x="83" y="44"/>
                  </a:lnTo>
                  <a:lnTo>
                    <a:pt x="83" y="44"/>
                  </a:lnTo>
                  <a:lnTo>
                    <a:pt x="82" y="44"/>
                  </a:lnTo>
                  <a:lnTo>
                    <a:pt x="82" y="44"/>
                  </a:lnTo>
                  <a:lnTo>
                    <a:pt x="80" y="44"/>
                  </a:lnTo>
                  <a:lnTo>
                    <a:pt x="80" y="46"/>
                  </a:lnTo>
                  <a:lnTo>
                    <a:pt x="78" y="46"/>
                  </a:lnTo>
                  <a:lnTo>
                    <a:pt x="78" y="46"/>
                  </a:lnTo>
                  <a:lnTo>
                    <a:pt x="78" y="44"/>
                  </a:lnTo>
                  <a:lnTo>
                    <a:pt x="76" y="44"/>
                  </a:lnTo>
                  <a:lnTo>
                    <a:pt x="76" y="44"/>
                  </a:lnTo>
                  <a:lnTo>
                    <a:pt x="74" y="42"/>
                  </a:lnTo>
                  <a:lnTo>
                    <a:pt x="68" y="40"/>
                  </a:lnTo>
                  <a:lnTo>
                    <a:pt x="66" y="40"/>
                  </a:lnTo>
                  <a:lnTo>
                    <a:pt x="66" y="40"/>
                  </a:lnTo>
                  <a:lnTo>
                    <a:pt x="66" y="38"/>
                  </a:lnTo>
                  <a:lnTo>
                    <a:pt x="66" y="38"/>
                  </a:lnTo>
                  <a:lnTo>
                    <a:pt x="66" y="38"/>
                  </a:lnTo>
                  <a:lnTo>
                    <a:pt x="66" y="38"/>
                  </a:lnTo>
                  <a:lnTo>
                    <a:pt x="68" y="36"/>
                  </a:lnTo>
                  <a:lnTo>
                    <a:pt x="68" y="36"/>
                  </a:lnTo>
                  <a:lnTo>
                    <a:pt x="68" y="36"/>
                  </a:lnTo>
                  <a:lnTo>
                    <a:pt x="68" y="34"/>
                  </a:lnTo>
                  <a:lnTo>
                    <a:pt x="68" y="31"/>
                  </a:lnTo>
                  <a:lnTo>
                    <a:pt x="68" y="31"/>
                  </a:lnTo>
                  <a:lnTo>
                    <a:pt x="68" y="29"/>
                  </a:lnTo>
                  <a:lnTo>
                    <a:pt x="68" y="29"/>
                  </a:lnTo>
                  <a:lnTo>
                    <a:pt x="70" y="27"/>
                  </a:lnTo>
                  <a:lnTo>
                    <a:pt x="70" y="25"/>
                  </a:lnTo>
                  <a:lnTo>
                    <a:pt x="70" y="23"/>
                  </a:lnTo>
                  <a:lnTo>
                    <a:pt x="70" y="23"/>
                  </a:lnTo>
                  <a:lnTo>
                    <a:pt x="70" y="21"/>
                  </a:lnTo>
                  <a:lnTo>
                    <a:pt x="70" y="19"/>
                  </a:lnTo>
                  <a:lnTo>
                    <a:pt x="72" y="17"/>
                  </a:lnTo>
                  <a:lnTo>
                    <a:pt x="72" y="17"/>
                  </a:lnTo>
                  <a:lnTo>
                    <a:pt x="72" y="15"/>
                  </a:lnTo>
                  <a:lnTo>
                    <a:pt x="70" y="14"/>
                  </a:lnTo>
                  <a:lnTo>
                    <a:pt x="70" y="14"/>
                  </a:lnTo>
                  <a:lnTo>
                    <a:pt x="70" y="10"/>
                  </a:lnTo>
                  <a:lnTo>
                    <a:pt x="70" y="10"/>
                  </a:lnTo>
                  <a:lnTo>
                    <a:pt x="68" y="12"/>
                  </a:lnTo>
                  <a:lnTo>
                    <a:pt x="66" y="12"/>
                  </a:lnTo>
                  <a:lnTo>
                    <a:pt x="62" y="12"/>
                  </a:lnTo>
                  <a:lnTo>
                    <a:pt x="62" y="10"/>
                  </a:lnTo>
                  <a:lnTo>
                    <a:pt x="55" y="14"/>
                  </a:lnTo>
                  <a:lnTo>
                    <a:pt x="55" y="14"/>
                  </a:lnTo>
                  <a:lnTo>
                    <a:pt x="53" y="14"/>
                  </a:lnTo>
                  <a:lnTo>
                    <a:pt x="53" y="12"/>
                  </a:lnTo>
                  <a:lnTo>
                    <a:pt x="47" y="4"/>
                  </a:lnTo>
                  <a:lnTo>
                    <a:pt x="47" y="2"/>
                  </a:lnTo>
                  <a:lnTo>
                    <a:pt x="47" y="2"/>
                  </a:lnTo>
                  <a:lnTo>
                    <a:pt x="45" y="0"/>
                  </a:lnTo>
                  <a:lnTo>
                    <a:pt x="45" y="2"/>
                  </a:lnTo>
                  <a:lnTo>
                    <a:pt x="45" y="2"/>
                  </a:lnTo>
                  <a:lnTo>
                    <a:pt x="42" y="10"/>
                  </a:lnTo>
                  <a:lnTo>
                    <a:pt x="42" y="12"/>
                  </a:lnTo>
                  <a:lnTo>
                    <a:pt x="42" y="12"/>
                  </a:lnTo>
                  <a:lnTo>
                    <a:pt x="40" y="14"/>
                  </a:lnTo>
                  <a:lnTo>
                    <a:pt x="38" y="15"/>
                  </a:lnTo>
                  <a:lnTo>
                    <a:pt x="34" y="19"/>
                  </a:lnTo>
                  <a:lnTo>
                    <a:pt x="34" y="21"/>
                  </a:lnTo>
                  <a:lnTo>
                    <a:pt x="34" y="23"/>
                  </a:lnTo>
                  <a:lnTo>
                    <a:pt x="34" y="25"/>
                  </a:lnTo>
                  <a:lnTo>
                    <a:pt x="34" y="25"/>
                  </a:lnTo>
                  <a:lnTo>
                    <a:pt x="34" y="25"/>
                  </a:lnTo>
                  <a:lnTo>
                    <a:pt x="32" y="27"/>
                  </a:lnTo>
                  <a:lnTo>
                    <a:pt x="32" y="27"/>
                  </a:lnTo>
                  <a:lnTo>
                    <a:pt x="32" y="27"/>
                  </a:lnTo>
                  <a:lnTo>
                    <a:pt x="30" y="27"/>
                  </a:lnTo>
                  <a:lnTo>
                    <a:pt x="26" y="31"/>
                  </a:lnTo>
                  <a:lnTo>
                    <a:pt x="24" y="33"/>
                  </a:lnTo>
                  <a:lnTo>
                    <a:pt x="22" y="34"/>
                  </a:lnTo>
                  <a:lnTo>
                    <a:pt x="22" y="36"/>
                  </a:lnTo>
                  <a:lnTo>
                    <a:pt x="21" y="36"/>
                  </a:lnTo>
                  <a:lnTo>
                    <a:pt x="21" y="36"/>
                  </a:lnTo>
                  <a:lnTo>
                    <a:pt x="19" y="36"/>
                  </a:lnTo>
                  <a:lnTo>
                    <a:pt x="19" y="36"/>
                  </a:lnTo>
                  <a:lnTo>
                    <a:pt x="17" y="36"/>
                  </a:lnTo>
                  <a:lnTo>
                    <a:pt x="17" y="36"/>
                  </a:lnTo>
                  <a:lnTo>
                    <a:pt x="17" y="34"/>
                  </a:lnTo>
                  <a:lnTo>
                    <a:pt x="15" y="34"/>
                  </a:lnTo>
                  <a:lnTo>
                    <a:pt x="15" y="33"/>
                  </a:lnTo>
                  <a:lnTo>
                    <a:pt x="15" y="31"/>
                  </a:lnTo>
                  <a:lnTo>
                    <a:pt x="15" y="29"/>
                  </a:lnTo>
                  <a:lnTo>
                    <a:pt x="15" y="29"/>
                  </a:lnTo>
                  <a:lnTo>
                    <a:pt x="15" y="27"/>
                  </a:lnTo>
                  <a:lnTo>
                    <a:pt x="15" y="27"/>
                  </a:lnTo>
                  <a:lnTo>
                    <a:pt x="15" y="27"/>
                  </a:lnTo>
                  <a:lnTo>
                    <a:pt x="15" y="27"/>
                  </a:lnTo>
                  <a:lnTo>
                    <a:pt x="15" y="27"/>
                  </a:lnTo>
                  <a:lnTo>
                    <a:pt x="15" y="25"/>
                  </a:lnTo>
                  <a:lnTo>
                    <a:pt x="15" y="25"/>
                  </a:lnTo>
                  <a:lnTo>
                    <a:pt x="9" y="25"/>
                  </a:lnTo>
                  <a:lnTo>
                    <a:pt x="3" y="25"/>
                  </a:lnTo>
                  <a:lnTo>
                    <a:pt x="3" y="27"/>
                  </a:lnTo>
                  <a:lnTo>
                    <a:pt x="3" y="29"/>
                  </a:lnTo>
                  <a:lnTo>
                    <a:pt x="5" y="29"/>
                  </a:lnTo>
                  <a:lnTo>
                    <a:pt x="5" y="29"/>
                  </a:lnTo>
                  <a:lnTo>
                    <a:pt x="5" y="29"/>
                  </a:lnTo>
                  <a:lnTo>
                    <a:pt x="5" y="31"/>
                  </a:lnTo>
                  <a:lnTo>
                    <a:pt x="5" y="31"/>
                  </a:lnTo>
                  <a:lnTo>
                    <a:pt x="5" y="40"/>
                  </a:lnTo>
                  <a:lnTo>
                    <a:pt x="5" y="40"/>
                  </a:lnTo>
                  <a:lnTo>
                    <a:pt x="5" y="44"/>
                  </a:lnTo>
                  <a:lnTo>
                    <a:pt x="5" y="46"/>
                  </a:lnTo>
                  <a:lnTo>
                    <a:pt x="5" y="48"/>
                  </a:lnTo>
                  <a:lnTo>
                    <a:pt x="5" y="48"/>
                  </a:lnTo>
                  <a:lnTo>
                    <a:pt x="5" y="48"/>
                  </a:lnTo>
                  <a:lnTo>
                    <a:pt x="5" y="50"/>
                  </a:lnTo>
                  <a:lnTo>
                    <a:pt x="7" y="50"/>
                  </a:lnTo>
                  <a:lnTo>
                    <a:pt x="7" y="50"/>
                  </a:lnTo>
                  <a:lnTo>
                    <a:pt x="5" y="52"/>
                  </a:lnTo>
                  <a:lnTo>
                    <a:pt x="5" y="55"/>
                  </a:lnTo>
                  <a:lnTo>
                    <a:pt x="5" y="55"/>
                  </a:lnTo>
                  <a:lnTo>
                    <a:pt x="5" y="55"/>
                  </a:lnTo>
                  <a:lnTo>
                    <a:pt x="5" y="59"/>
                  </a:lnTo>
                  <a:lnTo>
                    <a:pt x="5" y="59"/>
                  </a:lnTo>
                  <a:lnTo>
                    <a:pt x="5" y="59"/>
                  </a:lnTo>
                  <a:lnTo>
                    <a:pt x="5" y="61"/>
                  </a:lnTo>
                  <a:lnTo>
                    <a:pt x="5" y="61"/>
                  </a:lnTo>
                  <a:lnTo>
                    <a:pt x="5" y="61"/>
                  </a:lnTo>
                  <a:lnTo>
                    <a:pt x="5" y="63"/>
                  </a:lnTo>
                  <a:lnTo>
                    <a:pt x="5" y="63"/>
                  </a:lnTo>
                  <a:lnTo>
                    <a:pt x="5" y="65"/>
                  </a:lnTo>
                  <a:lnTo>
                    <a:pt x="5" y="65"/>
                  </a:lnTo>
                  <a:lnTo>
                    <a:pt x="5" y="65"/>
                  </a:lnTo>
                  <a:lnTo>
                    <a:pt x="5" y="65"/>
                  </a:lnTo>
                  <a:lnTo>
                    <a:pt x="3" y="65"/>
                  </a:lnTo>
                  <a:lnTo>
                    <a:pt x="3" y="65"/>
                  </a:lnTo>
                  <a:lnTo>
                    <a:pt x="3" y="65"/>
                  </a:lnTo>
                  <a:lnTo>
                    <a:pt x="3" y="65"/>
                  </a:lnTo>
                  <a:lnTo>
                    <a:pt x="3" y="65"/>
                  </a:lnTo>
                  <a:lnTo>
                    <a:pt x="3" y="65"/>
                  </a:lnTo>
                  <a:lnTo>
                    <a:pt x="3" y="65"/>
                  </a:lnTo>
                  <a:lnTo>
                    <a:pt x="2" y="65"/>
                  </a:lnTo>
                  <a:lnTo>
                    <a:pt x="2" y="65"/>
                  </a:lnTo>
                  <a:lnTo>
                    <a:pt x="2" y="65"/>
                  </a:lnTo>
                  <a:lnTo>
                    <a:pt x="2" y="67"/>
                  </a:lnTo>
                  <a:lnTo>
                    <a:pt x="2" y="67"/>
                  </a:lnTo>
                  <a:lnTo>
                    <a:pt x="0" y="69"/>
                  </a:lnTo>
                  <a:lnTo>
                    <a:pt x="0" y="69"/>
                  </a:lnTo>
                  <a:lnTo>
                    <a:pt x="2" y="69"/>
                  </a:lnTo>
                  <a:lnTo>
                    <a:pt x="2" y="69"/>
                  </a:lnTo>
                  <a:lnTo>
                    <a:pt x="0" y="71"/>
                  </a:lnTo>
                  <a:lnTo>
                    <a:pt x="0" y="73"/>
                  </a:lnTo>
                  <a:lnTo>
                    <a:pt x="0" y="78"/>
                  </a:lnTo>
                  <a:lnTo>
                    <a:pt x="0" y="80"/>
                  </a:lnTo>
                  <a:lnTo>
                    <a:pt x="0" y="82"/>
                  </a:lnTo>
                  <a:lnTo>
                    <a:pt x="0" y="86"/>
                  </a:lnTo>
                  <a:lnTo>
                    <a:pt x="0" y="90"/>
                  </a:lnTo>
                  <a:lnTo>
                    <a:pt x="3" y="101"/>
                  </a:lnTo>
                  <a:lnTo>
                    <a:pt x="3" y="105"/>
                  </a:lnTo>
                  <a:lnTo>
                    <a:pt x="3" y="107"/>
                  </a:lnTo>
                  <a:lnTo>
                    <a:pt x="3" y="109"/>
                  </a:lnTo>
                  <a:lnTo>
                    <a:pt x="5" y="109"/>
                  </a:lnTo>
                  <a:lnTo>
                    <a:pt x="5" y="111"/>
                  </a:lnTo>
                  <a:lnTo>
                    <a:pt x="5" y="111"/>
                  </a:lnTo>
                  <a:lnTo>
                    <a:pt x="5" y="112"/>
                  </a:lnTo>
                  <a:lnTo>
                    <a:pt x="5" y="112"/>
                  </a:lnTo>
                  <a:lnTo>
                    <a:pt x="7" y="114"/>
                  </a:lnTo>
                  <a:lnTo>
                    <a:pt x="7" y="114"/>
                  </a:lnTo>
                  <a:lnTo>
                    <a:pt x="7" y="114"/>
                  </a:lnTo>
                  <a:lnTo>
                    <a:pt x="7" y="116"/>
                  </a:lnTo>
                  <a:lnTo>
                    <a:pt x="7" y="118"/>
                  </a:lnTo>
                  <a:lnTo>
                    <a:pt x="7" y="118"/>
                  </a:lnTo>
                  <a:lnTo>
                    <a:pt x="9" y="120"/>
                  </a:lnTo>
                  <a:lnTo>
                    <a:pt x="9" y="122"/>
                  </a:lnTo>
                  <a:lnTo>
                    <a:pt x="9" y="122"/>
                  </a:lnTo>
                  <a:lnTo>
                    <a:pt x="7" y="124"/>
                  </a:lnTo>
                  <a:lnTo>
                    <a:pt x="7" y="128"/>
                  </a:lnTo>
                  <a:lnTo>
                    <a:pt x="5" y="130"/>
                  </a:lnTo>
                  <a:lnTo>
                    <a:pt x="5" y="133"/>
                  </a:lnTo>
                  <a:lnTo>
                    <a:pt x="9" y="147"/>
                  </a:lnTo>
                  <a:lnTo>
                    <a:pt x="9" y="154"/>
                  </a:lnTo>
                  <a:lnTo>
                    <a:pt x="9" y="158"/>
                  </a:lnTo>
                  <a:lnTo>
                    <a:pt x="11" y="160"/>
                  </a:lnTo>
                  <a:lnTo>
                    <a:pt x="13" y="162"/>
                  </a:lnTo>
                  <a:lnTo>
                    <a:pt x="15" y="164"/>
                  </a:lnTo>
                  <a:lnTo>
                    <a:pt x="17" y="171"/>
                  </a:lnTo>
                  <a:lnTo>
                    <a:pt x="17" y="173"/>
                  </a:lnTo>
                  <a:lnTo>
                    <a:pt x="17" y="175"/>
                  </a:lnTo>
                  <a:lnTo>
                    <a:pt x="21" y="177"/>
                  </a:lnTo>
                  <a:lnTo>
                    <a:pt x="21" y="179"/>
                  </a:lnTo>
                  <a:lnTo>
                    <a:pt x="21" y="181"/>
                  </a:lnTo>
                  <a:lnTo>
                    <a:pt x="22" y="189"/>
                  </a:lnTo>
                  <a:lnTo>
                    <a:pt x="22" y="194"/>
                  </a:lnTo>
                  <a:lnTo>
                    <a:pt x="22" y="196"/>
                  </a:lnTo>
                  <a:lnTo>
                    <a:pt x="24" y="200"/>
                  </a:lnTo>
                  <a:lnTo>
                    <a:pt x="24" y="200"/>
                  </a:lnTo>
                  <a:lnTo>
                    <a:pt x="28" y="234"/>
                  </a:lnTo>
                  <a:lnTo>
                    <a:pt x="28" y="236"/>
                  </a:lnTo>
                  <a:lnTo>
                    <a:pt x="28" y="236"/>
                  </a:lnTo>
                  <a:lnTo>
                    <a:pt x="26" y="236"/>
                  </a:lnTo>
                  <a:lnTo>
                    <a:pt x="24" y="238"/>
                  </a:lnTo>
                  <a:lnTo>
                    <a:pt x="28" y="244"/>
                  </a:lnTo>
                  <a:lnTo>
                    <a:pt x="28" y="251"/>
                  </a:lnTo>
                  <a:lnTo>
                    <a:pt x="28" y="251"/>
                  </a:lnTo>
                  <a:lnTo>
                    <a:pt x="28" y="253"/>
                  </a:lnTo>
                  <a:lnTo>
                    <a:pt x="30" y="251"/>
                  </a:lnTo>
                  <a:lnTo>
                    <a:pt x="30" y="251"/>
                  </a:lnTo>
                  <a:lnTo>
                    <a:pt x="30" y="251"/>
                  </a:lnTo>
                  <a:lnTo>
                    <a:pt x="32" y="251"/>
                  </a:lnTo>
                  <a:lnTo>
                    <a:pt x="32" y="249"/>
                  </a:lnTo>
                  <a:lnTo>
                    <a:pt x="34" y="249"/>
                  </a:lnTo>
                  <a:lnTo>
                    <a:pt x="34" y="249"/>
                  </a:lnTo>
                  <a:lnTo>
                    <a:pt x="36" y="247"/>
                  </a:lnTo>
                  <a:lnTo>
                    <a:pt x="36" y="247"/>
                  </a:lnTo>
                  <a:lnTo>
                    <a:pt x="36" y="246"/>
                  </a:lnTo>
                  <a:lnTo>
                    <a:pt x="36" y="244"/>
                  </a:lnTo>
                  <a:lnTo>
                    <a:pt x="36" y="242"/>
                  </a:lnTo>
                  <a:lnTo>
                    <a:pt x="38" y="240"/>
                  </a:lnTo>
                  <a:lnTo>
                    <a:pt x="38" y="240"/>
                  </a:lnTo>
                  <a:lnTo>
                    <a:pt x="38" y="242"/>
                  </a:lnTo>
                  <a:lnTo>
                    <a:pt x="38" y="240"/>
                  </a:lnTo>
                  <a:lnTo>
                    <a:pt x="38" y="240"/>
                  </a:lnTo>
                  <a:lnTo>
                    <a:pt x="38" y="236"/>
                  </a:lnTo>
                  <a:lnTo>
                    <a:pt x="38" y="236"/>
                  </a:lnTo>
                  <a:lnTo>
                    <a:pt x="40" y="234"/>
                  </a:lnTo>
                  <a:lnTo>
                    <a:pt x="42" y="236"/>
                  </a:lnTo>
                  <a:lnTo>
                    <a:pt x="47" y="240"/>
                  </a:lnTo>
                  <a:lnTo>
                    <a:pt x="53" y="246"/>
                  </a:lnTo>
                  <a:lnTo>
                    <a:pt x="55" y="247"/>
                  </a:lnTo>
                  <a:lnTo>
                    <a:pt x="55" y="251"/>
                  </a:lnTo>
                  <a:lnTo>
                    <a:pt x="55" y="253"/>
                  </a:lnTo>
                  <a:lnTo>
                    <a:pt x="57" y="255"/>
                  </a:lnTo>
                  <a:lnTo>
                    <a:pt x="59" y="253"/>
                  </a:lnTo>
                  <a:lnTo>
                    <a:pt x="59" y="251"/>
                  </a:lnTo>
                  <a:lnTo>
                    <a:pt x="59" y="247"/>
                  </a:lnTo>
                  <a:lnTo>
                    <a:pt x="61" y="247"/>
                  </a:lnTo>
                  <a:lnTo>
                    <a:pt x="62" y="249"/>
                  </a:lnTo>
                  <a:lnTo>
                    <a:pt x="64" y="251"/>
                  </a:lnTo>
                  <a:lnTo>
                    <a:pt x="64" y="251"/>
                  </a:lnTo>
                  <a:lnTo>
                    <a:pt x="64" y="251"/>
                  </a:lnTo>
                  <a:lnTo>
                    <a:pt x="64" y="251"/>
                  </a:lnTo>
                  <a:lnTo>
                    <a:pt x="66" y="251"/>
                  </a:lnTo>
                  <a:lnTo>
                    <a:pt x="66" y="251"/>
                  </a:lnTo>
                  <a:lnTo>
                    <a:pt x="66" y="251"/>
                  </a:lnTo>
                  <a:lnTo>
                    <a:pt x="66" y="249"/>
                  </a:lnTo>
                  <a:lnTo>
                    <a:pt x="66" y="249"/>
                  </a:lnTo>
                  <a:lnTo>
                    <a:pt x="66" y="249"/>
                  </a:lnTo>
                  <a:lnTo>
                    <a:pt x="66" y="247"/>
                  </a:lnTo>
                  <a:lnTo>
                    <a:pt x="64" y="246"/>
                  </a:lnTo>
                  <a:lnTo>
                    <a:pt x="64" y="246"/>
                  </a:lnTo>
                  <a:lnTo>
                    <a:pt x="64" y="244"/>
                  </a:lnTo>
                  <a:lnTo>
                    <a:pt x="66" y="240"/>
                  </a:lnTo>
                  <a:lnTo>
                    <a:pt x="68" y="240"/>
                  </a:lnTo>
                  <a:lnTo>
                    <a:pt x="68" y="240"/>
                  </a:lnTo>
                  <a:lnTo>
                    <a:pt x="70" y="238"/>
                  </a:lnTo>
                  <a:lnTo>
                    <a:pt x="70" y="238"/>
                  </a:lnTo>
                  <a:lnTo>
                    <a:pt x="70" y="230"/>
                  </a:lnTo>
                  <a:lnTo>
                    <a:pt x="70" y="230"/>
                  </a:lnTo>
                  <a:lnTo>
                    <a:pt x="70" y="230"/>
                  </a:lnTo>
                  <a:lnTo>
                    <a:pt x="72" y="230"/>
                  </a:lnTo>
                  <a:lnTo>
                    <a:pt x="72" y="230"/>
                  </a:lnTo>
                  <a:lnTo>
                    <a:pt x="74" y="230"/>
                  </a:lnTo>
                  <a:lnTo>
                    <a:pt x="76" y="230"/>
                  </a:lnTo>
                  <a:lnTo>
                    <a:pt x="78" y="232"/>
                  </a:lnTo>
                  <a:lnTo>
                    <a:pt x="80" y="232"/>
                  </a:lnTo>
                  <a:lnTo>
                    <a:pt x="82" y="232"/>
                  </a:lnTo>
                  <a:lnTo>
                    <a:pt x="80" y="228"/>
                  </a:lnTo>
                  <a:lnTo>
                    <a:pt x="80" y="227"/>
                  </a:lnTo>
                  <a:lnTo>
                    <a:pt x="80" y="227"/>
                  </a:lnTo>
                  <a:lnTo>
                    <a:pt x="80" y="227"/>
                  </a:lnTo>
                  <a:lnTo>
                    <a:pt x="82" y="227"/>
                  </a:lnTo>
                  <a:lnTo>
                    <a:pt x="83" y="227"/>
                  </a:lnTo>
                  <a:lnTo>
                    <a:pt x="83" y="225"/>
                  </a:lnTo>
                  <a:lnTo>
                    <a:pt x="83" y="225"/>
                  </a:lnTo>
                  <a:lnTo>
                    <a:pt x="83" y="223"/>
                  </a:lnTo>
                  <a:lnTo>
                    <a:pt x="83" y="211"/>
                  </a:lnTo>
                  <a:lnTo>
                    <a:pt x="82" y="208"/>
                  </a:lnTo>
                  <a:lnTo>
                    <a:pt x="80" y="204"/>
                  </a:lnTo>
                  <a:lnTo>
                    <a:pt x="78" y="202"/>
                  </a:lnTo>
                  <a:lnTo>
                    <a:pt x="78" y="200"/>
                  </a:lnTo>
                  <a:lnTo>
                    <a:pt x="78" y="196"/>
                  </a:lnTo>
                  <a:lnTo>
                    <a:pt x="78" y="192"/>
                  </a:lnTo>
                  <a:lnTo>
                    <a:pt x="78" y="190"/>
                  </a:lnTo>
                  <a:lnTo>
                    <a:pt x="78" y="189"/>
                  </a:lnTo>
                  <a:lnTo>
                    <a:pt x="76" y="185"/>
                  </a:lnTo>
                  <a:lnTo>
                    <a:pt x="74" y="183"/>
                  </a:lnTo>
                  <a:lnTo>
                    <a:pt x="74" y="181"/>
                  </a:lnTo>
                  <a:lnTo>
                    <a:pt x="76" y="173"/>
                  </a:lnTo>
                  <a:lnTo>
                    <a:pt x="78" y="170"/>
                  </a:lnTo>
                  <a:lnTo>
                    <a:pt x="80" y="171"/>
                  </a:lnTo>
                  <a:lnTo>
                    <a:pt x="80" y="168"/>
                  </a:lnTo>
                  <a:lnTo>
                    <a:pt x="83" y="164"/>
                  </a:lnTo>
                  <a:lnTo>
                    <a:pt x="83" y="162"/>
                  </a:lnTo>
                  <a:lnTo>
                    <a:pt x="85" y="160"/>
                  </a:lnTo>
                  <a:lnTo>
                    <a:pt x="83" y="158"/>
                  </a:lnTo>
                  <a:lnTo>
                    <a:pt x="82" y="154"/>
                  </a:lnTo>
                  <a:lnTo>
                    <a:pt x="82" y="152"/>
                  </a:lnTo>
                  <a:lnTo>
                    <a:pt x="82" y="150"/>
                  </a:lnTo>
                  <a:lnTo>
                    <a:pt x="82" y="147"/>
                  </a:lnTo>
                  <a:lnTo>
                    <a:pt x="82" y="145"/>
                  </a:lnTo>
                  <a:lnTo>
                    <a:pt x="83" y="145"/>
                  </a:lnTo>
                  <a:lnTo>
                    <a:pt x="85" y="145"/>
                  </a:lnTo>
                  <a:lnTo>
                    <a:pt x="87" y="147"/>
                  </a:lnTo>
                  <a:lnTo>
                    <a:pt x="89" y="149"/>
                  </a:lnTo>
                  <a:lnTo>
                    <a:pt x="91" y="150"/>
                  </a:lnTo>
                  <a:lnTo>
                    <a:pt x="93" y="150"/>
                  </a:lnTo>
                  <a:lnTo>
                    <a:pt x="95" y="149"/>
                  </a:lnTo>
                  <a:lnTo>
                    <a:pt x="97" y="147"/>
                  </a:lnTo>
                  <a:lnTo>
                    <a:pt x="99" y="145"/>
                  </a:lnTo>
                  <a:lnTo>
                    <a:pt x="102" y="137"/>
                  </a:lnTo>
                  <a:lnTo>
                    <a:pt x="102" y="135"/>
                  </a:lnTo>
                  <a:lnTo>
                    <a:pt x="102" y="135"/>
                  </a:lnTo>
                  <a:lnTo>
                    <a:pt x="102" y="133"/>
                  </a:lnTo>
                  <a:lnTo>
                    <a:pt x="102" y="126"/>
                  </a:lnTo>
                  <a:lnTo>
                    <a:pt x="102" y="122"/>
                  </a:lnTo>
                  <a:lnTo>
                    <a:pt x="102" y="120"/>
                  </a:lnTo>
                  <a:lnTo>
                    <a:pt x="104" y="118"/>
                  </a:lnTo>
                  <a:lnTo>
                    <a:pt x="104" y="116"/>
                  </a:lnTo>
                  <a:lnTo>
                    <a:pt x="106" y="116"/>
                  </a:lnTo>
                  <a:lnTo>
                    <a:pt x="106" y="114"/>
                  </a:lnTo>
                  <a:lnTo>
                    <a:pt x="106" y="114"/>
                  </a:lnTo>
                  <a:lnTo>
                    <a:pt x="104" y="10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29" name="Freeform 31">
              <a:extLst>
                <a:ext uri="{FF2B5EF4-FFF2-40B4-BE49-F238E27FC236}">
                  <a16:creationId xmlns:a16="http://schemas.microsoft.com/office/drawing/2014/main" id="{9850DAE4-2259-A068-85AE-A09D1CC1DA6C}"/>
                </a:ext>
              </a:extLst>
            </p:cNvPr>
            <p:cNvSpPr>
              <a:spLocks/>
            </p:cNvSpPr>
            <p:nvPr/>
          </p:nvSpPr>
          <p:spPr bwMode="auto">
            <a:xfrm>
              <a:off x="7312025" y="3544101"/>
              <a:ext cx="171450" cy="404813"/>
            </a:xfrm>
            <a:custGeom>
              <a:avLst/>
              <a:gdLst>
                <a:gd name="T0" fmla="*/ 106 w 108"/>
                <a:gd name="T1" fmla="*/ 80 h 255"/>
                <a:gd name="T2" fmla="*/ 101 w 108"/>
                <a:gd name="T3" fmla="*/ 59 h 255"/>
                <a:gd name="T4" fmla="*/ 97 w 108"/>
                <a:gd name="T5" fmla="*/ 48 h 255"/>
                <a:gd name="T6" fmla="*/ 91 w 108"/>
                <a:gd name="T7" fmla="*/ 48 h 255"/>
                <a:gd name="T8" fmla="*/ 89 w 108"/>
                <a:gd name="T9" fmla="*/ 44 h 255"/>
                <a:gd name="T10" fmla="*/ 87 w 108"/>
                <a:gd name="T11" fmla="*/ 46 h 255"/>
                <a:gd name="T12" fmla="*/ 83 w 108"/>
                <a:gd name="T13" fmla="*/ 44 h 255"/>
                <a:gd name="T14" fmla="*/ 80 w 108"/>
                <a:gd name="T15" fmla="*/ 46 h 255"/>
                <a:gd name="T16" fmla="*/ 74 w 108"/>
                <a:gd name="T17" fmla="*/ 42 h 255"/>
                <a:gd name="T18" fmla="*/ 66 w 108"/>
                <a:gd name="T19" fmla="*/ 38 h 255"/>
                <a:gd name="T20" fmla="*/ 68 w 108"/>
                <a:gd name="T21" fmla="*/ 31 h 255"/>
                <a:gd name="T22" fmla="*/ 70 w 108"/>
                <a:gd name="T23" fmla="*/ 23 h 255"/>
                <a:gd name="T24" fmla="*/ 72 w 108"/>
                <a:gd name="T25" fmla="*/ 15 h 255"/>
                <a:gd name="T26" fmla="*/ 66 w 108"/>
                <a:gd name="T27" fmla="*/ 12 h 255"/>
                <a:gd name="T28" fmla="*/ 53 w 108"/>
                <a:gd name="T29" fmla="*/ 12 h 255"/>
                <a:gd name="T30" fmla="*/ 45 w 108"/>
                <a:gd name="T31" fmla="*/ 2 h 255"/>
                <a:gd name="T32" fmla="*/ 34 w 108"/>
                <a:gd name="T33" fmla="*/ 19 h 255"/>
                <a:gd name="T34" fmla="*/ 32 w 108"/>
                <a:gd name="T35" fmla="*/ 27 h 255"/>
                <a:gd name="T36" fmla="*/ 22 w 108"/>
                <a:gd name="T37" fmla="*/ 34 h 255"/>
                <a:gd name="T38" fmla="*/ 17 w 108"/>
                <a:gd name="T39" fmla="*/ 36 h 255"/>
                <a:gd name="T40" fmla="*/ 15 w 108"/>
                <a:gd name="T41" fmla="*/ 29 h 255"/>
                <a:gd name="T42" fmla="*/ 15 w 108"/>
                <a:gd name="T43" fmla="*/ 27 h 255"/>
                <a:gd name="T44" fmla="*/ 3 w 108"/>
                <a:gd name="T45" fmla="*/ 29 h 255"/>
                <a:gd name="T46" fmla="*/ 5 w 108"/>
                <a:gd name="T47" fmla="*/ 40 h 255"/>
                <a:gd name="T48" fmla="*/ 5 w 108"/>
                <a:gd name="T49" fmla="*/ 48 h 255"/>
                <a:gd name="T50" fmla="*/ 5 w 108"/>
                <a:gd name="T51" fmla="*/ 55 h 255"/>
                <a:gd name="T52" fmla="*/ 5 w 108"/>
                <a:gd name="T53" fmla="*/ 61 h 255"/>
                <a:gd name="T54" fmla="*/ 5 w 108"/>
                <a:gd name="T55" fmla="*/ 65 h 255"/>
                <a:gd name="T56" fmla="*/ 3 w 108"/>
                <a:gd name="T57" fmla="*/ 65 h 255"/>
                <a:gd name="T58" fmla="*/ 2 w 108"/>
                <a:gd name="T59" fmla="*/ 67 h 255"/>
                <a:gd name="T60" fmla="*/ 0 w 108"/>
                <a:gd name="T61" fmla="*/ 71 h 255"/>
                <a:gd name="T62" fmla="*/ 0 w 108"/>
                <a:gd name="T63" fmla="*/ 90 h 255"/>
                <a:gd name="T64" fmla="*/ 5 w 108"/>
                <a:gd name="T65" fmla="*/ 111 h 255"/>
                <a:gd name="T66" fmla="*/ 7 w 108"/>
                <a:gd name="T67" fmla="*/ 114 h 255"/>
                <a:gd name="T68" fmla="*/ 9 w 108"/>
                <a:gd name="T69" fmla="*/ 122 h 255"/>
                <a:gd name="T70" fmla="*/ 9 w 108"/>
                <a:gd name="T71" fmla="*/ 154 h 255"/>
                <a:gd name="T72" fmla="*/ 17 w 108"/>
                <a:gd name="T73" fmla="*/ 173 h 255"/>
                <a:gd name="T74" fmla="*/ 22 w 108"/>
                <a:gd name="T75" fmla="*/ 194 h 255"/>
                <a:gd name="T76" fmla="*/ 28 w 108"/>
                <a:gd name="T77" fmla="*/ 236 h 255"/>
                <a:gd name="T78" fmla="*/ 28 w 108"/>
                <a:gd name="T79" fmla="*/ 253 h 255"/>
                <a:gd name="T80" fmla="*/ 34 w 108"/>
                <a:gd name="T81" fmla="*/ 249 h 255"/>
                <a:gd name="T82" fmla="*/ 36 w 108"/>
                <a:gd name="T83" fmla="*/ 242 h 255"/>
                <a:gd name="T84" fmla="*/ 38 w 108"/>
                <a:gd name="T85" fmla="*/ 236 h 255"/>
                <a:gd name="T86" fmla="*/ 55 w 108"/>
                <a:gd name="T87" fmla="*/ 247 h 255"/>
                <a:gd name="T88" fmla="*/ 59 w 108"/>
                <a:gd name="T89" fmla="*/ 247 h 255"/>
                <a:gd name="T90" fmla="*/ 64 w 108"/>
                <a:gd name="T91" fmla="*/ 251 h 255"/>
                <a:gd name="T92" fmla="*/ 66 w 108"/>
                <a:gd name="T93" fmla="*/ 249 h 255"/>
                <a:gd name="T94" fmla="*/ 68 w 108"/>
                <a:gd name="T95" fmla="*/ 240 h 255"/>
                <a:gd name="T96" fmla="*/ 70 w 108"/>
                <a:gd name="T97" fmla="*/ 230 h 255"/>
                <a:gd name="T98" fmla="*/ 80 w 108"/>
                <a:gd name="T99" fmla="*/ 232 h 255"/>
                <a:gd name="T100" fmla="*/ 82 w 108"/>
                <a:gd name="T101" fmla="*/ 227 h 255"/>
                <a:gd name="T102" fmla="*/ 82 w 108"/>
                <a:gd name="T103" fmla="*/ 208 h 255"/>
                <a:gd name="T104" fmla="*/ 78 w 108"/>
                <a:gd name="T105" fmla="*/ 190 h 255"/>
                <a:gd name="T106" fmla="*/ 78 w 108"/>
                <a:gd name="T107" fmla="*/ 170 h 255"/>
                <a:gd name="T108" fmla="*/ 83 w 108"/>
                <a:gd name="T109" fmla="*/ 158 h 255"/>
                <a:gd name="T110" fmla="*/ 83 w 108"/>
                <a:gd name="T111" fmla="*/ 145 h 255"/>
                <a:gd name="T112" fmla="*/ 95 w 108"/>
                <a:gd name="T113" fmla="*/ 149 h 255"/>
                <a:gd name="T114" fmla="*/ 102 w 108"/>
                <a:gd name="T115" fmla="*/ 133 h 255"/>
                <a:gd name="T116" fmla="*/ 106 w 108"/>
                <a:gd name="T117"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255">
                  <a:moveTo>
                    <a:pt x="104" y="107"/>
                  </a:moveTo>
                  <a:lnTo>
                    <a:pt x="104" y="105"/>
                  </a:lnTo>
                  <a:lnTo>
                    <a:pt x="108" y="86"/>
                  </a:lnTo>
                  <a:lnTo>
                    <a:pt x="108" y="82"/>
                  </a:lnTo>
                  <a:lnTo>
                    <a:pt x="108" y="80"/>
                  </a:lnTo>
                  <a:lnTo>
                    <a:pt x="106" y="80"/>
                  </a:lnTo>
                  <a:lnTo>
                    <a:pt x="106" y="78"/>
                  </a:lnTo>
                  <a:lnTo>
                    <a:pt x="102" y="76"/>
                  </a:lnTo>
                  <a:lnTo>
                    <a:pt x="101" y="65"/>
                  </a:lnTo>
                  <a:lnTo>
                    <a:pt x="101" y="61"/>
                  </a:lnTo>
                  <a:lnTo>
                    <a:pt x="101" y="59"/>
                  </a:lnTo>
                  <a:lnTo>
                    <a:pt x="101" y="59"/>
                  </a:lnTo>
                  <a:lnTo>
                    <a:pt x="101" y="57"/>
                  </a:lnTo>
                  <a:lnTo>
                    <a:pt x="99" y="57"/>
                  </a:lnTo>
                  <a:lnTo>
                    <a:pt x="97" y="54"/>
                  </a:lnTo>
                  <a:lnTo>
                    <a:pt x="97" y="52"/>
                  </a:lnTo>
                  <a:lnTo>
                    <a:pt x="97" y="50"/>
                  </a:lnTo>
                  <a:lnTo>
                    <a:pt x="97" y="48"/>
                  </a:lnTo>
                  <a:lnTo>
                    <a:pt x="97" y="46"/>
                  </a:lnTo>
                  <a:lnTo>
                    <a:pt x="97" y="46"/>
                  </a:lnTo>
                  <a:lnTo>
                    <a:pt x="95" y="46"/>
                  </a:lnTo>
                  <a:lnTo>
                    <a:pt x="91" y="48"/>
                  </a:lnTo>
                  <a:lnTo>
                    <a:pt x="91" y="48"/>
                  </a:lnTo>
                  <a:lnTo>
                    <a:pt x="91" y="48"/>
                  </a:lnTo>
                  <a:lnTo>
                    <a:pt x="91" y="48"/>
                  </a:lnTo>
                  <a:lnTo>
                    <a:pt x="91" y="46"/>
                  </a:lnTo>
                  <a:lnTo>
                    <a:pt x="91" y="46"/>
                  </a:lnTo>
                  <a:lnTo>
                    <a:pt x="91" y="44"/>
                  </a:lnTo>
                  <a:lnTo>
                    <a:pt x="91" y="44"/>
                  </a:lnTo>
                  <a:lnTo>
                    <a:pt x="89" y="44"/>
                  </a:lnTo>
                  <a:lnTo>
                    <a:pt x="89" y="42"/>
                  </a:lnTo>
                  <a:lnTo>
                    <a:pt x="89" y="44"/>
                  </a:lnTo>
                  <a:lnTo>
                    <a:pt x="89" y="44"/>
                  </a:lnTo>
                  <a:lnTo>
                    <a:pt x="89" y="44"/>
                  </a:lnTo>
                  <a:lnTo>
                    <a:pt x="87" y="44"/>
                  </a:lnTo>
                  <a:lnTo>
                    <a:pt x="87" y="46"/>
                  </a:lnTo>
                  <a:lnTo>
                    <a:pt x="85" y="46"/>
                  </a:lnTo>
                  <a:lnTo>
                    <a:pt x="85" y="46"/>
                  </a:lnTo>
                  <a:lnTo>
                    <a:pt x="83" y="46"/>
                  </a:lnTo>
                  <a:lnTo>
                    <a:pt x="83" y="46"/>
                  </a:lnTo>
                  <a:lnTo>
                    <a:pt x="83" y="46"/>
                  </a:lnTo>
                  <a:lnTo>
                    <a:pt x="83" y="44"/>
                  </a:lnTo>
                  <a:lnTo>
                    <a:pt x="83" y="44"/>
                  </a:lnTo>
                  <a:lnTo>
                    <a:pt x="83" y="44"/>
                  </a:lnTo>
                  <a:lnTo>
                    <a:pt x="82" y="44"/>
                  </a:lnTo>
                  <a:lnTo>
                    <a:pt x="82" y="44"/>
                  </a:lnTo>
                  <a:lnTo>
                    <a:pt x="80" y="44"/>
                  </a:lnTo>
                  <a:lnTo>
                    <a:pt x="80" y="46"/>
                  </a:lnTo>
                  <a:lnTo>
                    <a:pt x="78" y="46"/>
                  </a:lnTo>
                  <a:lnTo>
                    <a:pt x="78" y="46"/>
                  </a:lnTo>
                  <a:lnTo>
                    <a:pt x="78" y="44"/>
                  </a:lnTo>
                  <a:lnTo>
                    <a:pt x="76" y="44"/>
                  </a:lnTo>
                  <a:lnTo>
                    <a:pt x="76" y="44"/>
                  </a:lnTo>
                  <a:lnTo>
                    <a:pt x="74" y="42"/>
                  </a:lnTo>
                  <a:lnTo>
                    <a:pt x="68" y="40"/>
                  </a:lnTo>
                  <a:lnTo>
                    <a:pt x="66" y="40"/>
                  </a:lnTo>
                  <a:lnTo>
                    <a:pt x="66" y="40"/>
                  </a:lnTo>
                  <a:lnTo>
                    <a:pt x="66" y="38"/>
                  </a:lnTo>
                  <a:lnTo>
                    <a:pt x="66" y="38"/>
                  </a:lnTo>
                  <a:lnTo>
                    <a:pt x="66" y="38"/>
                  </a:lnTo>
                  <a:lnTo>
                    <a:pt x="66" y="38"/>
                  </a:lnTo>
                  <a:lnTo>
                    <a:pt x="68" y="36"/>
                  </a:lnTo>
                  <a:lnTo>
                    <a:pt x="68" y="36"/>
                  </a:lnTo>
                  <a:lnTo>
                    <a:pt x="68" y="36"/>
                  </a:lnTo>
                  <a:lnTo>
                    <a:pt x="68" y="34"/>
                  </a:lnTo>
                  <a:lnTo>
                    <a:pt x="68" y="31"/>
                  </a:lnTo>
                  <a:lnTo>
                    <a:pt x="68" y="31"/>
                  </a:lnTo>
                  <a:lnTo>
                    <a:pt x="68" y="29"/>
                  </a:lnTo>
                  <a:lnTo>
                    <a:pt x="68" y="29"/>
                  </a:lnTo>
                  <a:lnTo>
                    <a:pt x="70" y="27"/>
                  </a:lnTo>
                  <a:lnTo>
                    <a:pt x="70" y="25"/>
                  </a:lnTo>
                  <a:lnTo>
                    <a:pt x="70" y="23"/>
                  </a:lnTo>
                  <a:lnTo>
                    <a:pt x="70" y="23"/>
                  </a:lnTo>
                  <a:lnTo>
                    <a:pt x="70" y="21"/>
                  </a:lnTo>
                  <a:lnTo>
                    <a:pt x="70" y="19"/>
                  </a:lnTo>
                  <a:lnTo>
                    <a:pt x="72" y="17"/>
                  </a:lnTo>
                  <a:lnTo>
                    <a:pt x="72" y="17"/>
                  </a:lnTo>
                  <a:lnTo>
                    <a:pt x="72" y="15"/>
                  </a:lnTo>
                  <a:lnTo>
                    <a:pt x="70" y="14"/>
                  </a:lnTo>
                  <a:lnTo>
                    <a:pt x="70" y="14"/>
                  </a:lnTo>
                  <a:lnTo>
                    <a:pt x="70" y="10"/>
                  </a:lnTo>
                  <a:lnTo>
                    <a:pt x="70" y="10"/>
                  </a:lnTo>
                  <a:lnTo>
                    <a:pt x="68" y="12"/>
                  </a:lnTo>
                  <a:lnTo>
                    <a:pt x="66" y="12"/>
                  </a:lnTo>
                  <a:lnTo>
                    <a:pt x="62" y="12"/>
                  </a:lnTo>
                  <a:lnTo>
                    <a:pt x="62" y="10"/>
                  </a:lnTo>
                  <a:lnTo>
                    <a:pt x="55" y="14"/>
                  </a:lnTo>
                  <a:lnTo>
                    <a:pt x="55" y="14"/>
                  </a:lnTo>
                  <a:lnTo>
                    <a:pt x="53" y="14"/>
                  </a:lnTo>
                  <a:lnTo>
                    <a:pt x="53" y="12"/>
                  </a:lnTo>
                  <a:lnTo>
                    <a:pt x="47" y="4"/>
                  </a:lnTo>
                  <a:lnTo>
                    <a:pt x="47" y="2"/>
                  </a:lnTo>
                  <a:lnTo>
                    <a:pt x="47" y="2"/>
                  </a:lnTo>
                  <a:lnTo>
                    <a:pt x="45" y="0"/>
                  </a:lnTo>
                  <a:lnTo>
                    <a:pt x="45" y="2"/>
                  </a:lnTo>
                  <a:lnTo>
                    <a:pt x="45" y="2"/>
                  </a:lnTo>
                  <a:lnTo>
                    <a:pt x="42" y="10"/>
                  </a:lnTo>
                  <a:lnTo>
                    <a:pt x="42" y="12"/>
                  </a:lnTo>
                  <a:lnTo>
                    <a:pt x="42" y="12"/>
                  </a:lnTo>
                  <a:lnTo>
                    <a:pt x="40" y="14"/>
                  </a:lnTo>
                  <a:lnTo>
                    <a:pt x="38" y="15"/>
                  </a:lnTo>
                  <a:lnTo>
                    <a:pt x="34" y="19"/>
                  </a:lnTo>
                  <a:lnTo>
                    <a:pt x="34" y="21"/>
                  </a:lnTo>
                  <a:lnTo>
                    <a:pt x="34" y="23"/>
                  </a:lnTo>
                  <a:lnTo>
                    <a:pt x="34" y="25"/>
                  </a:lnTo>
                  <a:lnTo>
                    <a:pt x="34" y="25"/>
                  </a:lnTo>
                  <a:lnTo>
                    <a:pt x="34" y="25"/>
                  </a:lnTo>
                  <a:lnTo>
                    <a:pt x="32" y="27"/>
                  </a:lnTo>
                  <a:lnTo>
                    <a:pt x="32" y="27"/>
                  </a:lnTo>
                  <a:lnTo>
                    <a:pt x="32" y="27"/>
                  </a:lnTo>
                  <a:lnTo>
                    <a:pt x="30" y="27"/>
                  </a:lnTo>
                  <a:lnTo>
                    <a:pt x="26" y="31"/>
                  </a:lnTo>
                  <a:lnTo>
                    <a:pt x="24" y="33"/>
                  </a:lnTo>
                  <a:lnTo>
                    <a:pt x="22" y="34"/>
                  </a:lnTo>
                  <a:lnTo>
                    <a:pt x="22" y="36"/>
                  </a:lnTo>
                  <a:lnTo>
                    <a:pt x="21" y="36"/>
                  </a:lnTo>
                  <a:lnTo>
                    <a:pt x="21" y="36"/>
                  </a:lnTo>
                  <a:lnTo>
                    <a:pt x="19" y="36"/>
                  </a:lnTo>
                  <a:lnTo>
                    <a:pt x="19" y="36"/>
                  </a:lnTo>
                  <a:lnTo>
                    <a:pt x="17" y="36"/>
                  </a:lnTo>
                  <a:lnTo>
                    <a:pt x="17" y="36"/>
                  </a:lnTo>
                  <a:lnTo>
                    <a:pt x="17" y="34"/>
                  </a:lnTo>
                  <a:lnTo>
                    <a:pt x="15" y="34"/>
                  </a:lnTo>
                  <a:lnTo>
                    <a:pt x="15" y="33"/>
                  </a:lnTo>
                  <a:lnTo>
                    <a:pt x="15" y="31"/>
                  </a:lnTo>
                  <a:lnTo>
                    <a:pt x="15" y="29"/>
                  </a:lnTo>
                  <a:lnTo>
                    <a:pt x="15" y="29"/>
                  </a:lnTo>
                  <a:lnTo>
                    <a:pt x="15" y="27"/>
                  </a:lnTo>
                  <a:lnTo>
                    <a:pt x="15" y="27"/>
                  </a:lnTo>
                  <a:lnTo>
                    <a:pt x="15" y="27"/>
                  </a:lnTo>
                  <a:lnTo>
                    <a:pt x="15" y="27"/>
                  </a:lnTo>
                  <a:lnTo>
                    <a:pt x="15" y="27"/>
                  </a:lnTo>
                  <a:lnTo>
                    <a:pt x="15" y="25"/>
                  </a:lnTo>
                  <a:lnTo>
                    <a:pt x="15" y="25"/>
                  </a:lnTo>
                  <a:lnTo>
                    <a:pt x="9" y="25"/>
                  </a:lnTo>
                  <a:lnTo>
                    <a:pt x="3" y="25"/>
                  </a:lnTo>
                  <a:lnTo>
                    <a:pt x="3" y="27"/>
                  </a:lnTo>
                  <a:lnTo>
                    <a:pt x="3" y="29"/>
                  </a:lnTo>
                  <a:lnTo>
                    <a:pt x="5" y="29"/>
                  </a:lnTo>
                  <a:lnTo>
                    <a:pt x="5" y="29"/>
                  </a:lnTo>
                  <a:lnTo>
                    <a:pt x="5" y="29"/>
                  </a:lnTo>
                  <a:lnTo>
                    <a:pt x="5" y="31"/>
                  </a:lnTo>
                  <a:lnTo>
                    <a:pt x="5" y="31"/>
                  </a:lnTo>
                  <a:lnTo>
                    <a:pt x="5" y="40"/>
                  </a:lnTo>
                  <a:lnTo>
                    <a:pt x="5" y="40"/>
                  </a:lnTo>
                  <a:lnTo>
                    <a:pt x="5" y="44"/>
                  </a:lnTo>
                  <a:lnTo>
                    <a:pt x="5" y="46"/>
                  </a:lnTo>
                  <a:lnTo>
                    <a:pt x="5" y="48"/>
                  </a:lnTo>
                  <a:lnTo>
                    <a:pt x="5" y="48"/>
                  </a:lnTo>
                  <a:lnTo>
                    <a:pt x="5" y="48"/>
                  </a:lnTo>
                  <a:lnTo>
                    <a:pt x="5" y="50"/>
                  </a:lnTo>
                  <a:lnTo>
                    <a:pt x="7" y="50"/>
                  </a:lnTo>
                  <a:lnTo>
                    <a:pt x="7" y="50"/>
                  </a:lnTo>
                  <a:lnTo>
                    <a:pt x="5" y="52"/>
                  </a:lnTo>
                  <a:lnTo>
                    <a:pt x="5" y="55"/>
                  </a:lnTo>
                  <a:lnTo>
                    <a:pt x="5" y="55"/>
                  </a:lnTo>
                  <a:lnTo>
                    <a:pt x="5" y="55"/>
                  </a:lnTo>
                  <a:lnTo>
                    <a:pt x="5" y="59"/>
                  </a:lnTo>
                  <a:lnTo>
                    <a:pt x="5" y="59"/>
                  </a:lnTo>
                  <a:lnTo>
                    <a:pt x="5" y="59"/>
                  </a:lnTo>
                  <a:lnTo>
                    <a:pt x="5" y="61"/>
                  </a:lnTo>
                  <a:lnTo>
                    <a:pt x="5" y="61"/>
                  </a:lnTo>
                  <a:lnTo>
                    <a:pt x="5" y="61"/>
                  </a:lnTo>
                  <a:lnTo>
                    <a:pt x="5" y="63"/>
                  </a:lnTo>
                  <a:lnTo>
                    <a:pt x="5" y="63"/>
                  </a:lnTo>
                  <a:lnTo>
                    <a:pt x="5" y="65"/>
                  </a:lnTo>
                  <a:lnTo>
                    <a:pt x="5" y="65"/>
                  </a:lnTo>
                  <a:lnTo>
                    <a:pt x="5" y="65"/>
                  </a:lnTo>
                  <a:lnTo>
                    <a:pt x="5" y="65"/>
                  </a:lnTo>
                  <a:lnTo>
                    <a:pt x="3" y="65"/>
                  </a:lnTo>
                  <a:lnTo>
                    <a:pt x="3" y="65"/>
                  </a:lnTo>
                  <a:lnTo>
                    <a:pt x="3" y="65"/>
                  </a:lnTo>
                  <a:lnTo>
                    <a:pt x="3" y="65"/>
                  </a:lnTo>
                  <a:lnTo>
                    <a:pt x="3" y="65"/>
                  </a:lnTo>
                  <a:lnTo>
                    <a:pt x="3" y="65"/>
                  </a:lnTo>
                  <a:lnTo>
                    <a:pt x="3" y="65"/>
                  </a:lnTo>
                  <a:lnTo>
                    <a:pt x="2" y="65"/>
                  </a:lnTo>
                  <a:lnTo>
                    <a:pt x="2" y="65"/>
                  </a:lnTo>
                  <a:lnTo>
                    <a:pt x="2" y="65"/>
                  </a:lnTo>
                  <a:lnTo>
                    <a:pt x="2" y="67"/>
                  </a:lnTo>
                  <a:lnTo>
                    <a:pt x="2" y="67"/>
                  </a:lnTo>
                  <a:lnTo>
                    <a:pt x="0" y="69"/>
                  </a:lnTo>
                  <a:lnTo>
                    <a:pt x="0" y="69"/>
                  </a:lnTo>
                  <a:lnTo>
                    <a:pt x="2" y="69"/>
                  </a:lnTo>
                  <a:lnTo>
                    <a:pt x="2" y="69"/>
                  </a:lnTo>
                  <a:lnTo>
                    <a:pt x="0" y="71"/>
                  </a:lnTo>
                  <a:lnTo>
                    <a:pt x="0" y="73"/>
                  </a:lnTo>
                  <a:lnTo>
                    <a:pt x="0" y="78"/>
                  </a:lnTo>
                  <a:lnTo>
                    <a:pt x="0" y="80"/>
                  </a:lnTo>
                  <a:lnTo>
                    <a:pt x="0" y="82"/>
                  </a:lnTo>
                  <a:lnTo>
                    <a:pt x="0" y="86"/>
                  </a:lnTo>
                  <a:lnTo>
                    <a:pt x="0" y="90"/>
                  </a:lnTo>
                  <a:lnTo>
                    <a:pt x="3" y="101"/>
                  </a:lnTo>
                  <a:lnTo>
                    <a:pt x="3" y="105"/>
                  </a:lnTo>
                  <a:lnTo>
                    <a:pt x="3" y="107"/>
                  </a:lnTo>
                  <a:lnTo>
                    <a:pt x="3" y="109"/>
                  </a:lnTo>
                  <a:lnTo>
                    <a:pt x="5" y="109"/>
                  </a:lnTo>
                  <a:lnTo>
                    <a:pt x="5" y="111"/>
                  </a:lnTo>
                  <a:lnTo>
                    <a:pt x="5" y="111"/>
                  </a:lnTo>
                  <a:lnTo>
                    <a:pt x="5" y="112"/>
                  </a:lnTo>
                  <a:lnTo>
                    <a:pt x="5" y="112"/>
                  </a:lnTo>
                  <a:lnTo>
                    <a:pt x="7" y="114"/>
                  </a:lnTo>
                  <a:lnTo>
                    <a:pt x="7" y="114"/>
                  </a:lnTo>
                  <a:lnTo>
                    <a:pt x="7" y="114"/>
                  </a:lnTo>
                  <a:lnTo>
                    <a:pt x="7" y="116"/>
                  </a:lnTo>
                  <a:lnTo>
                    <a:pt x="7" y="118"/>
                  </a:lnTo>
                  <a:lnTo>
                    <a:pt x="7" y="118"/>
                  </a:lnTo>
                  <a:lnTo>
                    <a:pt x="9" y="120"/>
                  </a:lnTo>
                  <a:lnTo>
                    <a:pt x="9" y="122"/>
                  </a:lnTo>
                  <a:lnTo>
                    <a:pt x="9" y="122"/>
                  </a:lnTo>
                  <a:lnTo>
                    <a:pt x="7" y="124"/>
                  </a:lnTo>
                  <a:lnTo>
                    <a:pt x="7" y="128"/>
                  </a:lnTo>
                  <a:lnTo>
                    <a:pt x="5" y="130"/>
                  </a:lnTo>
                  <a:lnTo>
                    <a:pt x="5" y="133"/>
                  </a:lnTo>
                  <a:lnTo>
                    <a:pt x="9" y="147"/>
                  </a:lnTo>
                  <a:lnTo>
                    <a:pt x="9" y="154"/>
                  </a:lnTo>
                  <a:lnTo>
                    <a:pt x="9" y="158"/>
                  </a:lnTo>
                  <a:lnTo>
                    <a:pt x="11" y="160"/>
                  </a:lnTo>
                  <a:lnTo>
                    <a:pt x="13" y="162"/>
                  </a:lnTo>
                  <a:lnTo>
                    <a:pt x="15" y="164"/>
                  </a:lnTo>
                  <a:lnTo>
                    <a:pt x="17" y="171"/>
                  </a:lnTo>
                  <a:lnTo>
                    <a:pt x="17" y="173"/>
                  </a:lnTo>
                  <a:lnTo>
                    <a:pt x="17" y="175"/>
                  </a:lnTo>
                  <a:lnTo>
                    <a:pt x="21" y="177"/>
                  </a:lnTo>
                  <a:lnTo>
                    <a:pt x="21" y="179"/>
                  </a:lnTo>
                  <a:lnTo>
                    <a:pt x="21" y="181"/>
                  </a:lnTo>
                  <a:lnTo>
                    <a:pt x="22" y="189"/>
                  </a:lnTo>
                  <a:lnTo>
                    <a:pt x="22" y="194"/>
                  </a:lnTo>
                  <a:lnTo>
                    <a:pt x="22" y="196"/>
                  </a:lnTo>
                  <a:lnTo>
                    <a:pt x="24" y="200"/>
                  </a:lnTo>
                  <a:lnTo>
                    <a:pt x="24" y="200"/>
                  </a:lnTo>
                  <a:lnTo>
                    <a:pt x="28" y="234"/>
                  </a:lnTo>
                  <a:lnTo>
                    <a:pt x="28" y="236"/>
                  </a:lnTo>
                  <a:lnTo>
                    <a:pt x="28" y="236"/>
                  </a:lnTo>
                  <a:lnTo>
                    <a:pt x="26" y="236"/>
                  </a:lnTo>
                  <a:lnTo>
                    <a:pt x="24" y="238"/>
                  </a:lnTo>
                  <a:lnTo>
                    <a:pt x="28" y="244"/>
                  </a:lnTo>
                  <a:lnTo>
                    <a:pt x="28" y="251"/>
                  </a:lnTo>
                  <a:lnTo>
                    <a:pt x="28" y="251"/>
                  </a:lnTo>
                  <a:lnTo>
                    <a:pt x="28" y="253"/>
                  </a:lnTo>
                  <a:lnTo>
                    <a:pt x="30" y="251"/>
                  </a:lnTo>
                  <a:lnTo>
                    <a:pt x="30" y="251"/>
                  </a:lnTo>
                  <a:lnTo>
                    <a:pt x="30" y="251"/>
                  </a:lnTo>
                  <a:lnTo>
                    <a:pt x="32" y="251"/>
                  </a:lnTo>
                  <a:lnTo>
                    <a:pt x="32" y="249"/>
                  </a:lnTo>
                  <a:lnTo>
                    <a:pt x="34" y="249"/>
                  </a:lnTo>
                  <a:lnTo>
                    <a:pt x="34" y="249"/>
                  </a:lnTo>
                  <a:lnTo>
                    <a:pt x="36" y="247"/>
                  </a:lnTo>
                  <a:lnTo>
                    <a:pt x="36" y="247"/>
                  </a:lnTo>
                  <a:lnTo>
                    <a:pt x="36" y="246"/>
                  </a:lnTo>
                  <a:lnTo>
                    <a:pt x="36" y="244"/>
                  </a:lnTo>
                  <a:lnTo>
                    <a:pt x="36" y="242"/>
                  </a:lnTo>
                  <a:lnTo>
                    <a:pt x="38" y="240"/>
                  </a:lnTo>
                  <a:lnTo>
                    <a:pt x="38" y="240"/>
                  </a:lnTo>
                  <a:lnTo>
                    <a:pt x="38" y="242"/>
                  </a:lnTo>
                  <a:lnTo>
                    <a:pt x="38" y="240"/>
                  </a:lnTo>
                  <a:lnTo>
                    <a:pt x="38" y="240"/>
                  </a:lnTo>
                  <a:lnTo>
                    <a:pt x="38" y="236"/>
                  </a:lnTo>
                  <a:lnTo>
                    <a:pt x="38" y="236"/>
                  </a:lnTo>
                  <a:lnTo>
                    <a:pt x="40" y="234"/>
                  </a:lnTo>
                  <a:lnTo>
                    <a:pt x="42" y="236"/>
                  </a:lnTo>
                  <a:lnTo>
                    <a:pt x="47" y="240"/>
                  </a:lnTo>
                  <a:lnTo>
                    <a:pt x="53" y="246"/>
                  </a:lnTo>
                  <a:lnTo>
                    <a:pt x="55" y="247"/>
                  </a:lnTo>
                  <a:lnTo>
                    <a:pt x="55" y="251"/>
                  </a:lnTo>
                  <a:lnTo>
                    <a:pt x="55" y="253"/>
                  </a:lnTo>
                  <a:lnTo>
                    <a:pt x="57" y="255"/>
                  </a:lnTo>
                  <a:lnTo>
                    <a:pt x="59" y="253"/>
                  </a:lnTo>
                  <a:lnTo>
                    <a:pt x="59" y="251"/>
                  </a:lnTo>
                  <a:lnTo>
                    <a:pt x="59" y="247"/>
                  </a:lnTo>
                  <a:lnTo>
                    <a:pt x="61" y="247"/>
                  </a:lnTo>
                  <a:lnTo>
                    <a:pt x="62" y="249"/>
                  </a:lnTo>
                  <a:lnTo>
                    <a:pt x="64" y="251"/>
                  </a:lnTo>
                  <a:lnTo>
                    <a:pt x="64" y="251"/>
                  </a:lnTo>
                  <a:lnTo>
                    <a:pt x="64" y="251"/>
                  </a:lnTo>
                  <a:lnTo>
                    <a:pt x="64" y="251"/>
                  </a:lnTo>
                  <a:lnTo>
                    <a:pt x="66" y="251"/>
                  </a:lnTo>
                  <a:lnTo>
                    <a:pt x="66" y="251"/>
                  </a:lnTo>
                  <a:lnTo>
                    <a:pt x="66" y="251"/>
                  </a:lnTo>
                  <a:lnTo>
                    <a:pt x="66" y="249"/>
                  </a:lnTo>
                  <a:lnTo>
                    <a:pt x="66" y="249"/>
                  </a:lnTo>
                  <a:lnTo>
                    <a:pt x="66" y="249"/>
                  </a:lnTo>
                  <a:lnTo>
                    <a:pt x="66" y="247"/>
                  </a:lnTo>
                  <a:lnTo>
                    <a:pt x="64" y="246"/>
                  </a:lnTo>
                  <a:lnTo>
                    <a:pt x="64" y="246"/>
                  </a:lnTo>
                  <a:lnTo>
                    <a:pt x="64" y="244"/>
                  </a:lnTo>
                  <a:lnTo>
                    <a:pt x="66" y="240"/>
                  </a:lnTo>
                  <a:lnTo>
                    <a:pt x="68" y="240"/>
                  </a:lnTo>
                  <a:lnTo>
                    <a:pt x="68" y="240"/>
                  </a:lnTo>
                  <a:lnTo>
                    <a:pt x="70" y="238"/>
                  </a:lnTo>
                  <a:lnTo>
                    <a:pt x="70" y="238"/>
                  </a:lnTo>
                  <a:lnTo>
                    <a:pt x="70" y="230"/>
                  </a:lnTo>
                  <a:lnTo>
                    <a:pt x="70" y="230"/>
                  </a:lnTo>
                  <a:lnTo>
                    <a:pt x="70" y="230"/>
                  </a:lnTo>
                  <a:lnTo>
                    <a:pt x="72" y="230"/>
                  </a:lnTo>
                  <a:lnTo>
                    <a:pt x="72" y="230"/>
                  </a:lnTo>
                  <a:lnTo>
                    <a:pt x="74" y="230"/>
                  </a:lnTo>
                  <a:lnTo>
                    <a:pt x="76" y="230"/>
                  </a:lnTo>
                  <a:lnTo>
                    <a:pt x="78" y="232"/>
                  </a:lnTo>
                  <a:lnTo>
                    <a:pt x="80" y="232"/>
                  </a:lnTo>
                  <a:lnTo>
                    <a:pt x="82" y="232"/>
                  </a:lnTo>
                  <a:lnTo>
                    <a:pt x="80" y="228"/>
                  </a:lnTo>
                  <a:lnTo>
                    <a:pt x="80" y="227"/>
                  </a:lnTo>
                  <a:lnTo>
                    <a:pt x="80" y="227"/>
                  </a:lnTo>
                  <a:lnTo>
                    <a:pt x="80" y="227"/>
                  </a:lnTo>
                  <a:lnTo>
                    <a:pt x="82" y="227"/>
                  </a:lnTo>
                  <a:lnTo>
                    <a:pt x="83" y="227"/>
                  </a:lnTo>
                  <a:lnTo>
                    <a:pt x="83" y="225"/>
                  </a:lnTo>
                  <a:lnTo>
                    <a:pt x="83" y="225"/>
                  </a:lnTo>
                  <a:lnTo>
                    <a:pt x="83" y="223"/>
                  </a:lnTo>
                  <a:lnTo>
                    <a:pt x="83" y="211"/>
                  </a:lnTo>
                  <a:lnTo>
                    <a:pt x="82" y="208"/>
                  </a:lnTo>
                  <a:lnTo>
                    <a:pt x="80" y="204"/>
                  </a:lnTo>
                  <a:lnTo>
                    <a:pt x="78" y="202"/>
                  </a:lnTo>
                  <a:lnTo>
                    <a:pt x="78" y="200"/>
                  </a:lnTo>
                  <a:lnTo>
                    <a:pt x="78" y="196"/>
                  </a:lnTo>
                  <a:lnTo>
                    <a:pt x="78" y="192"/>
                  </a:lnTo>
                  <a:lnTo>
                    <a:pt x="78" y="190"/>
                  </a:lnTo>
                  <a:lnTo>
                    <a:pt x="78" y="189"/>
                  </a:lnTo>
                  <a:lnTo>
                    <a:pt x="76" y="185"/>
                  </a:lnTo>
                  <a:lnTo>
                    <a:pt x="74" y="183"/>
                  </a:lnTo>
                  <a:lnTo>
                    <a:pt x="74" y="181"/>
                  </a:lnTo>
                  <a:lnTo>
                    <a:pt x="76" y="173"/>
                  </a:lnTo>
                  <a:lnTo>
                    <a:pt x="78" y="170"/>
                  </a:lnTo>
                  <a:lnTo>
                    <a:pt x="80" y="171"/>
                  </a:lnTo>
                  <a:lnTo>
                    <a:pt x="80" y="168"/>
                  </a:lnTo>
                  <a:lnTo>
                    <a:pt x="83" y="164"/>
                  </a:lnTo>
                  <a:lnTo>
                    <a:pt x="83" y="162"/>
                  </a:lnTo>
                  <a:lnTo>
                    <a:pt x="85" y="160"/>
                  </a:lnTo>
                  <a:lnTo>
                    <a:pt x="83" y="158"/>
                  </a:lnTo>
                  <a:lnTo>
                    <a:pt x="82" y="154"/>
                  </a:lnTo>
                  <a:lnTo>
                    <a:pt x="82" y="152"/>
                  </a:lnTo>
                  <a:lnTo>
                    <a:pt x="82" y="150"/>
                  </a:lnTo>
                  <a:lnTo>
                    <a:pt x="82" y="147"/>
                  </a:lnTo>
                  <a:lnTo>
                    <a:pt x="82" y="145"/>
                  </a:lnTo>
                  <a:lnTo>
                    <a:pt x="83" y="145"/>
                  </a:lnTo>
                  <a:lnTo>
                    <a:pt x="85" y="145"/>
                  </a:lnTo>
                  <a:lnTo>
                    <a:pt x="87" y="147"/>
                  </a:lnTo>
                  <a:lnTo>
                    <a:pt x="89" y="149"/>
                  </a:lnTo>
                  <a:lnTo>
                    <a:pt x="91" y="150"/>
                  </a:lnTo>
                  <a:lnTo>
                    <a:pt x="93" y="150"/>
                  </a:lnTo>
                  <a:lnTo>
                    <a:pt x="95" y="149"/>
                  </a:lnTo>
                  <a:lnTo>
                    <a:pt x="97" y="147"/>
                  </a:lnTo>
                  <a:lnTo>
                    <a:pt x="99" y="145"/>
                  </a:lnTo>
                  <a:lnTo>
                    <a:pt x="102" y="137"/>
                  </a:lnTo>
                  <a:lnTo>
                    <a:pt x="102" y="135"/>
                  </a:lnTo>
                  <a:lnTo>
                    <a:pt x="102" y="135"/>
                  </a:lnTo>
                  <a:lnTo>
                    <a:pt x="102" y="133"/>
                  </a:lnTo>
                  <a:lnTo>
                    <a:pt x="102" y="126"/>
                  </a:lnTo>
                  <a:lnTo>
                    <a:pt x="102" y="122"/>
                  </a:lnTo>
                  <a:lnTo>
                    <a:pt x="102" y="120"/>
                  </a:lnTo>
                  <a:lnTo>
                    <a:pt x="104" y="118"/>
                  </a:lnTo>
                  <a:lnTo>
                    <a:pt x="104" y="116"/>
                  </a:lnTo>
                  <a:lnTo>
                    <a:pt x="106" y="116"/>
                  </a:lnTo>
                  <a:lnTo>
                    <a:pt x="106" y="114"/>
                  </a:lnTo>
                  <a:lnTo>
                    <a:pt x="106" y="114"/>
                  </a:lnTo>
                  <a:lnTo>
                    <a:pt x="104" y="10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0" name="Freeform 32">
              <a:extLst>
                <a:ext uri="{FF2B5EF4-FFF2-40B4-BE49-F238E27FC236}">
                  <a16:creationId xmlns:a16="http://schemas.microsoft.com/office/drawing/2014/main" id="{84E4C52D-439D-B884-1CBC-3AB41A49152E}"/>
                </a:ext>
              </a:extLst>
            </p:cNvPr>
            <p:cNvSpPr>
              <a:spLocks/>
            </p:cNvSpPr>
            <p:nvPr/>
          </p:nvSpPr>
          <p:spPr bwMode="auto">
            <a:xfrm>
              <a:off x="6951663" y="3285338"/>
              <a:ext cx="441325" cy="177800"/>
            </a:xfrm>
            <a:custGeom>
              <a:avLst/>
              <a:gdLst>
                <a:gd name="T0" fmla="*/ 276 w 278"/>
                <a:gd name="T1" fmla="*/ 83 h 112"/>
                <a:gd name="T2" fmla="*/ 274 w 278"/>
                <a:gd name="T3" fmla="*/ 76 h 112"/>
                <a:gd name="T4" fmla="*/ 265 w 278"/>
                <a:gd name="T5" fmla="*/ 66 h 112"/>
                <a:gd name="T6" fmla="*/ 257 w 278"/>
                <a:gd name="T7" fmla="*/ 62 h 112"/>
                <a:gd name="T8" fmla="*/ 263 w 278"/>
                <a:gd name="T9" fmla="*/ 55 h 112"/>
                <a:gd name="T10" fmla="*/ 265 w 278"/>
                <a:gd name="T11" fmla="*/ 49 h 112"/>
                <a:gd name="T12" fmla="*/ 259 w 278"/>
                <a:gd name="T13" fmla="*/ 53 h 112"/>
                <a:gd name="T14" fmla="*/ 242 w 278"/>
                <a:gd name="T15" fmla="*/ 38 h 112"/>
                <a:gd name="T16" fmla="*/ 234 w 278"/>
                <a:gd name="T17" fmla="*/ 36 h 112"/>
                <a:gd name="T18" fmla="*/ 219 w 278"/>
                <a:gd name="T19" fmla="*/ 42 h 112"/>
                <a:gd name="T20" fmla="*/ 217 w 278"/>
                <a:gd name="T21" fmla="*/ 28 h 112"/>
                <a:gd name="T22" fmla="*/ 221 w 278"/>
                <a:gd name="T23" fmla="*/ 15 h 112"/>
                <a:gd name="T24" fmla="*/ 227 w 278"/>
                <a:gd name="T25" fmla="*/ 3 h 112"/>
                <a:gd name="T26" fmla="*/ 213 w 278"/>
                <a:gd name="T27" fmla="*/ 2 h 112"/>
                <a:gd name="T28" fmla="*/ 194 w 278"/>
                <a:gd name="T29" fmla="*/ 5 h 112"/>
                <a:gd name="T30" fmla="*/ 179 w 278"/>
                <a:gd name="T31" fmla="*/ 5 h 112"/>
                <a:gd name="T32" fmla="*/ 175 w 278"/>
                <a:gd name="T33" fmla="*/ 15 h 112"/>
                <a:gd name="T34" fmla="*/ 169 w 278"/>
                <a:gd name="T35" fmla="*/ 13 h 112"/>
                <a:gd name="T36" fmla="*/ 166 w 278"/>
                <a:gd name="T37" fmla="*/ 5 h 112"/>
                <a:gd name="T38" fmla="*/ 158 w 278"/>
                <a:gd name="T39" fmla="*/ 15 h 112"/>
                <a:gd name="T40" fmla="*/ 156 w 278"/>
                <a:gd name="T41" fmla="*/ 21 h 112"/>
                <a:gd name="T42" fmla="*/ 148 w 278"/>
                <a:gd name="T43" fmla="*/ 24 h 112"/>
                <a:gd name="T44" fmla="*/ 131 w 278"/>
                <a:gd name="T45" fmla="*/ 38 h 112"/>
                <a:gd name="T46" fmla="*/ 129 w 278"/>
                <a:gd name="T47" fmla="*/ 24 h 112"/>
                <a:gd name="T48" fmla="*/ 116 w 278"/>
                <a:gd name="T49" fmla="*/ 24 h 112"/>
                <a:gd name="T50" fmla="*/ 114 w 278"/>
                <a:gd name="T51" fmla="*/ 21 h 112"/>
                <a:gd name="T52" fmla="*/ 108 w 278"/>
                <a:gd name="T53" fmla="*/ 17 h 112"/>
                <a:gd name="T54" fmla="*/ 93 w 278"/>
                <a:gd name="T55" fmla="*/ 15 h 112"/>
                <a:gd name="T56" fmla="*/ 87 w 278"/>
                <a:gd name="T57" fmla="*/ 13 h 112"/>
                <a:gd name="T58" fmla="*/ 76 w 278"/>
                <a:gd name="T59" fmla="*/ 15 h 112"/>
                <a:gd name="T60" fmla="*/ 72 w 278"/>
                <a:gd name="T61" fmla="*/ 15 h 112"/>
                <a:gd name="T62" fmla="*/ 68 w 278"/>
                <a:gd name="T63" fmla="*/ 17 h 112"/>
                <a:gd name="T64" fmla="*/ 63 w 278"/>
                <a:gd name="T65" fmla="*/ 9 h 112"/>
                <a:gd name="T66" fmla="*/ 51 w 278"/>
                <a:gd name="T67" fmla="*/ 9 h 112"/>
                <a:gd name="T68" fmla="*/ 30 w 278"/>
                <a:gd name="T69" fmla="*/ 13 h 112"/>
                <a:gd name="T70" fmla="*/ 21 w 278"/>
                <a:gd name="T71" fmla="*/ 24 h 112"/>
                <a:gd name="T72" fmla="*/ 15 w 278"/>
                <a:gd name="T73" fmla="*/ 34 h 112"/>
                <a:gd name="T74" fmla="*/ 13 w 278"/>
                <a:gd name="T75" fmla="*/ 43 h 112"/>
                <a:gd name="T76" fmla="*/ 19 w 278"/>
                <a:gd name="T77" fmla="*/ 51 h 112"/>
                <a:gd name="T78" fmla="*/ 11 w 278"/>
                <a:gd name="T79" fmla="*/ 55 h 112"/>
                <a:gd name="T80" fmla="*/ 7 w 278"/>
                <a:gd name="T81" fmla="*/ 64 h 112"/>
                <a:gd name="T82" fmla="*/ 0 w 278"/>
                <a:gd name="T83" fmla="*/ 78 h 112"/>
                <a:gd name="T84" fmla="*/ 44 w 278"/>
                <a:gd name="T85" fmla="*/ 93 h 112"/>
                <a:gd name="T86" fmla="*/ 78 w 278"/>
                <a:gd name="T87" fmla="*/ 95 h 112"/>
                <a:gd name="T88" fmla="*/ 87 w 278"/>
                <a:gd name="T89" fmla="*/ 95 h 112"/>
                <a:gd name="T90" fmla="*/ 108 w 278"/>
                <a:gd name="T91" fmla="*/ 95 h 112"/>
                <a:gd name="T92" fmla="*/ 150 w 278"/>
                <a:gd name="T93" fmla="*/ 97 h 112"/>
                <a:gd name="T94" fmla="*/ 162 w 278"/>
                <a:gd name="T95" fmla="*/ 95 h 112"/>
                <a:gd name="T96" fmla="*/ 171 w 278"/>
                <a:gd name="T97" fmla="*/ 99 h 112"/>
                <a:gd name="T98" fmla="*/ 177 w 278"/>
                <a:gd name="T99" fmla="*/ 95 h 112"/>
                <a:gd name="T100" fmla="*/ 204 w 278"/>
                <a:gd name="T101" fmla="*/ 93 h 112"/>
                <a:gd name="T102" fmla="*/ 213 w 278"/>
                <a:gd name="T103" fmla="*/ 99 h 112"/>
                <a:gd name="T104" fmla="*/ 221 w 278"/>
                <a:gd name="T105" fmla="*/ 100 h 112"/>
                <a:gd name="T106" fmla="*/ 232 w 278"/>
                <a:gd name="T107" fmla="*/ 106 h 112"/>
                <a:gd name="T108" fmla="*/ 249 w 278"/>
                <a:gd name="T109" fmla="*/ 100 h 112"/>
                <a:gd name="T110" fmla="*/ 255 w 278"/>
                <a:gd name="T111" fmla="*/ 97 h 112"/>
                <a:gd name="T112" fmla="*/ 276 w 278"/>
                <a:gd name="T113"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8" h="112">
                  <a:moveTo>
                    <a:pt x="278" y="87"/>
                  </a:moveTo>
                  <a:lnTo>
                    <a:pt x="276" y="85"/>
                  </a:lnTo>
                  <a:lnTo>
                    <a:pt x="276" y="85"/>
                  </a:lnTo>
                  <a:lnTo>
                    <a:pt x="276" y="85"/>
                  </a:lnTo>
                  <a:lnTo>
                    <a:pt x="276" y="83"/>
                  </a:lnTo>
                  <a:lnTo>
                    <a:pt x="276" y="83"/>
                  </a:lnTo>
                  <a:lnTo>
                    <a:pt x="276" y="83"/>
                  </a:lnTo>
                  <a:lnTo>
                    <a:pt x="276" y="81"/>
                  </a:lnTo>
                  <a:lnTo>
                    <a:pt x="276" y="81"/>
                  </a:lnTo>
                  <a:lnTo>
                    <a:pt x="276" y="80"/>
                  </a:lnTo>
                  <a:lnTo>
                    <a:pt x="276" y="78"/>
                  </a:lnTo>
                  <a:lnTo>
                    <a:pt x="276" y="78"/>
                  </a:lnTo>
                  <a:lnTo>
                    <a:pt x="276" y="76"/>
                  </a:lnTo>
                  <a:lnTo>
                    <a:pt x="274" y="76"/>
                  </a:lnTo>
                  <a:lnTo>
                    <a:pt x="272" y="74"/>
                  </a:lnTo>
                  <a:lnTo>
                    <a:pt x="272" y="74"/>
                  </a:lnTo>
                  <a:lnTo>
                    <a:pt x="270" y="72"/>
                  </a:lnTo>
                  <a:lnTo>
                    <a:pt x="267" y="68"/>
                  </a:lnTo>
                  <a:lnTo>
                    <a:pt x="267" y="68"/>
                  </a:lnTo>
                  <a:lnTo>
                    <a:pt x="267" y="68"/>
                  </a:lnTo>
                  <a:lnTo>
                    <a:pt x="265" y="66"/>
                  </a:lnTo>
                  <a:lnTo>
                    <a:pt x="261" y="66"/>
                  </a:lnTo>
                  <a:lnTo>
                    <a:pt x="261" y="66"/>
                  </a:lnTo>
                  <a:lnTo>
                    <a:pt x="261" y="64"/>
                  </a:lnTo>
                  <a:lnTo>
                    <a:pt x="261" y="64"/>
                  </a:lnTo>
                  <a:lnTo>
                    <a:pt x="259" y="62"/>
                  </a:lnTo>
                  <a:lnTo>
                    <a:pt x="257" y="62"/>
                  </a:lnTo>
                  <a:lnTo>
                    <a:pt x="257" y="62"/>
                  </a:lnTo>
                  <a:lnTo>
                    <a:pt x="257" y="61"/>
                  </a:lnTo>
                  <a:lnTo>
                    <a:pt x="257" y="61"/>
                  </a:lnTo>
                  <a:lnTo>
                    <a:pt x="259" y="59"/>
                  </a:lnTo>
                  <a:lnTo>
                    <a:pt x="261" y="59"/>
                  </a:lnTo>
                  <a:lnTo>
                    <a:pt x="261" y="57"/>
                  </a:lnTo>
                  <a:lnTo>
                    <a:pt x="263" y="57"/>
                  </a:lnTo>
                  <a:lnTo>
                    <a:pt x="263" y="55"/>
                  </a:lnTo>
                  <a:lnTo>
                    <a:pt x="263" y="55"/>
                  </a:lnTo>
                  <a:lnTo>
                    <a:pt x="265" y="53"/>
                  </a:lnTo>
                  <a:lnTo>
                    <a:pt x="265" y="53"/>
                  </a:lnTo>
                  <a:lnTo>
                    <a:pt x="265" y="51"/>
                  </a:lnTo>
                  <a:lnTo>
                    <a:pt x="267" y="51"/>
                  </a:lnTo>
                  <a:lnTo>
                    <a:pt x="267" y="49"/>
                  </a:lnTo>
                  <a:lnTo>
                    <a:pt x="265" y="49"/>
                  </a:lnTo>
                  <a:lnTo>
                    <a:pt x="265" y="49"/>
                  </a:lnTo>
                  <a:lnTo>
                    <a:pt x="265" y="49"/>
                  </a:lnTo>
                  <a:lnTo>
                    <a:pt x="263" y="49"/>
                  </a:lnTo>
                  <a:lnTo>
                    <a:pt x="263" y="49"/>
                  </a:lnTo>
                  <a:lnTo>
                    <a:pt x="261" y="51"/>
                  </a:lnTo>
                  <a:lnTo>
                    <a:pt x="259" y="51"/>
                  </a:lnTo>
                  <a:lnTo>
                    <a:pt x="259" y="53"/>
                  </a:lnTo>
                  <a:lnTo>
                    <a:pt x="259" y="53"/>
                  </a:lnTo>
                  <a:lnTo>
                    <a:pt x="257" y="53"/>
                  </a:lnTo>
                  <a:lnTo>
                    <a:pt x="257" y="51"/>
                  </a:lnTo>
                  <a:lnTo>
                    <a:pt x="257" y="51"/>
                  </a:lnTo>
                  <a:lnTo>
                    <a:pt x="251" y="43"/>
                  </a:lnTo>
                  <a:lnTo>
                    <a:pt x="248" y="40"/>
                  </a:lnTo>
                  <a:lnTo>
                    <a:pt x="242" y="38"/>
                  </a:lnTo>
                  <a:lnTo>
                    <a:pt x="240" y="36"/>
                  </a:lnTo>
                  <a:lnTo>
                    <a:pt x="240" y="34"/>
                  </a:lnTo>
                  <a:lnTo>
                    <a:pt x="238" y="34"/>
                  </a:lnTo>
                  <a:lnTo>
                    <a:pt x="236" y="34"/>
                  </a:lnTo>
                  <a:lnTo>
                    <a:pt x="236" y="34"/>
                  </a:lnTo>
                  <a:lnTo>
                    <a:pt x="234" y="36"/>
                  </a:lnTo>
                  <a:lnTo>
                    <a:pt x="234" y="36"/>
                  </a:lnTo>
                  <a:lnTo>
                    <a:pt x="232" y="38"/>
                  </a:lnTo>
                  <a:lnTo>
                    <a:pt x="227" y="38"/>
                  </a:lnTo>
                  <a:lnTo>
                    <a:pt x="223" y="40"/>
                  </a:lnTo>
                  <a:lnTo>
                    <a:pt x="221" y="40"/>
                  </a:lnTo>
                  <a:lnTo>
                    <a:pt x="221" y="42"/>
                  </a:lnTo>
                  <a:lnTo>
                    <a:pt x="219" y="42"/>
                  </a:lnTo>
                  <a:lnTo>
                    <a:pt x="219" y="42"/>
                  </a:lnTo>
                  <a:lnTo>
                    <a:pt x="219" y="42"/>
                  </a:lnTo>
                  <a:lnTo>
                    <a:pt x="219" y="40"/>
                  </a:lnTo>
                  <a:lnTo>
                    <a:pt x="219" y="34"/>
                  </a:lnTo>
                  <a:lnTo>
                    <a:pt x="219" y="32"/>
                  </a:lnTo>
                  <a:lnTo>
                    <a:pt x="219" y="32"/>
                  </a:lnTo>
                  <a:lnTo>
                    <a:pt x="219" y="30"/>
                  </a:lnTo>
                  <a:lnTo>
                    <a:pt x="217" y="28"/>
                  </a:lnTo>
                  <a:lnTo>
                    <a:pt x="219" y="28"/>
                  </a:lnTo>
                  <a:lnTo>
                    <a:pt x="219" y="24"/>
                  </a:lnTo>
                  <a:lnTo>
                    <a:pt x="221" y="21"/>
                  </a:lnTo>
                  <a:lnTo>
                    <a:pt x="223" y="19"/>
                  </a:lnTo>
                  <a:lnTo>
                    <a:pt x="223" y="17"/>
                  </a:lnTo>
                  <a:lnTo>
                    <a:pt x="223" y="15"/>
                  </a:lnTo>
                  <a:lnTo>
                    <a:pt x="221" y="15"/>
                  </a:lnTo>
                  <a:lnTo>
                    <a:pt x="219" y="15"/>
                  </a:lnTo>
                  <a:lnTo>
                    <a:pt x="219" y="13"/>
                  </a:lnTo>
                  <a:lnTo>
                    <a:pt x="219" y="13"/>
                  </a:lnTo>
                  <a:lnTo>
                    <a:pt x="219" y="11"/>
                  </a:lnTo>
                  <a:lnTo>
                    <a:pt x="219" y="11"/>
                  </a:lnTo>
                  <a:lnTo>
                    <a:pt x="219" y="11"/>
                  </a:lnTo>
                  <a:lnTo>
                    <a:pt x="227" y="3"/>
                  </a:lnTo>
                  <a:lnTo>
                    <a:pt x="229" y="2"/>
                  </a:lnTo>
                  <a:lnTo>
                    <a:pt x="227" y="2"/>
                  </a:lnTo>
                  <a:lnTo>
                    <a:pt x="227" y="2"/>
                  </a:lnTo>
                  <a:lnTo>
                    <a:pt x="227" y="2"/>
                  </a:lnTo>
                  <a:lnTo>
                    <a:pt x="217" y="0"/>
                  </a:lnTo>
                  <a:lnTo>
                    <a:pt x="217" y="2"/>
                  </a:lnTo>
                  <a:lnTo>
                    <a:pt x="213" y="2"/>
                  </a:lnTo>
                  <a:lnTo>
                    <a:pt x="208" y="3"/>
                  </a:lnTo>
                  <a:lnTo>
                    <a:pt x="208" y="3"/>
                  </a:lnTo>
                  <a:lnTo>
                    <a:pt x="206" y="3"/>
                  </a:lnTo>
                  <a:lnTo>
                    <a:pt x="204" y="3"/>
                  </a:lnTo>
                  <a:lnTo>
                    <a:pt x="198" y="5"/>
                  </a:lnTo>
                  <a:lnTo>
                    <a:pt x="196" y="5"/>
                  </a:lnTo>
                  <a:lnTo>
                    <a:pt x="194" y="5"/>
                  </a:lnTo>
                  <a:lnTo>
                    <a:pt x="192" y="5"/>
                  </a:lnTo>
                  <a:lnTo>
                    <a:pt x="192" y="3"/>
                  </a:lnTo>
                  <a:lnTo>
                    <a:pt x="188" y="2"/>
                  </a:lnTo>
                  <a:lnTo>
                    <a:pt x="187" y="0"/>
                  </a:lnTo>
                  <a:lnTo>
                    <a:pt x="185" y="0"/>
                  </a:lnTo>
                  <a:lnTo>
                    <a:pt x="183" y="2"/>
                  </a:lnTo>
                  <a:lnTo>
                    <a:pt x="179" y="5"/>
                  </a:lnTo>
                  <a:lnTo>
                    <a:pt x="179" y="5"/>
                  </a:lnTo>
                  <a:lnTo>
                    <a:pt x="179" y="7"/>
                  </a:lnTo>
                  <a:lnTo>
                    <a:pt x="179" y="9"/>
                  </a:lnTo>
                  <a:lnTo>
                    <a:pt x="177" y="11"/>
                  </a:lnTo>
                  <a:lnTo>
                    <a:pt x="177" y="13"/>
                  </a:lnTo>
                  <a:lnTo>
                    <a:pt x="175" y="15"/>
                  </a:lnTo>
                  <a:lnTo>
                    <a:pt x="175" y="15"/>
                  </a:lnTo>
                  <a:lnTo>
                    <a:pt x="173" y="17"/>
                  </a:lnTo>
                  <a:lnTo>
                    <a:pt x="171" y="17"/>
                  </a:lnTo>
                  <a:lnTo>
                    <a:pt x="169" y="17"/>
                  </a:lnTo>
                  <a:lnTo>
                    <a:pt x="169" y="15"/>
                  </a:lnTo>
                  <a:lnTo>
                    <a:pt x="169" y="15"/>
                  </a:lnTo>
                  <a:lnTo>
                    <a:pt x="169" y="13"/>
                  </a:lnTo>
                  <a:lnTo>
                    <a:pt x="169" y="13"/>
                  </a:lnTo>
                  <a:lnTo>
                    <a:pt x="169" y="11"/>
                  </a:lnTo>
                  <a:lnTo>
                    <a:pt x="169" y="9"/>
                  </a:lnTo>
                  <a:lnTo>
                    <a:pt x="169" y="9"/>
                  </a:lnTo>
                  <a:lnTo>
                    <a:pt x="169" y="7"/>
                  </a:lnTo>
                  <a:lnTo>
                    <a:pt x="169" y="7"/>
                  </a:lnTo>
                  <a:lnTo>
                    <a:pt x="168" y="5"/>
                  </a:lnTo>
                  <a:lnTo>
                    <a:pt x="166" y="5"/>
                  </a:lnTo>
                  <a:lnTo>
                    <a:pt x="166" y="5"/>
                  </a:lnTo>
                  <a:lnTo>
                    <a:pt x="164" y="7"/>
                  </a:lnTo>
                  <a:lnTo>
                    <a:pt x="164" y="9"/>
                  </a:lnTo>
                  <a:lnTo>
                    <a:pt x="164" y="9"/>
                  </a:lnTo>
                  <a:lnTo>
                    <a:pt x="162" y="11"/>
                  </a:lnTo>
                  <a:lnTo>
                    <a:pt x="160" y="13"/>
                  </a:lnTo>
                  <a:lnTo>
                    <a:pt x="158" y="15"/>
                  </a:lnTo>
                  <a:lnTo>
                    <a:pt x="156" y="19"/>
                  </a:lnTo>
                  <a:lnTo>
                    <a:pt x="156" y="19"/>
                  </a:lnTo>
                  <a:lnTo>
                    <a:pt x="154" y="21"/>
                  </a:lnTo>
                  <a:lnTo>
                    <a:pt x="154" y="21"/>
                  </a:lnTo>
                  <a:lnTo>
                    <a:pt x="154" y="21"/>
                  </a:lnTo>
                  <a:lnTo>
                    <a:pt x="156" y="23"/>
                  </a:lnTo>
                  <a:lnTo>
                    <a:pt x="156" y="21"/>
                  </a:lnTo>
                  <a:lnTo>
                    <a:pt x="156" y="21"/>
                  </a:lnTo>
                  <a:lnTo>
                    <a:pt x="160" y="19"/>
                  </a:lnTo>
                  <a:lnTo>
                    <a:pt x="160" y="19"/>
                  </a:lnTo>
                  <a:lnTo>
                    <a:pt x="160" y="21"/>
                  </a:lnTo>
                  <a:lnTo>
                    <a:pt x="160" y="21"/>
                  </a:lnTo>
                  <a:lnTo>
                    <a:pt x="154" y="24"/>
                  </a:lnTo>
                  <a:lnTo>
                    <a:pt x="148" y="24"/>
                  </a:lnTo>
                  <a:lnTo>
                    <a:pt x="143" y="26"/>
                  </a:lnTo>
                  <a:lnTo>
                    <a:pt x="143" y="26"/>
                  </a:lnTo>
                  <a:lnTo>
                    <a:pt x="141" y="28"/>
                  </a:lnTo>
                  <a:lnTo>
                    <a:pt x="139" y="30"/>
                  </a:lnTo>
                  <a:lnTo>
                    <a:pt x="135" y="36"/>
                  </a:lnTo>
                  <a:lnTo>
                    <a:pt x="133" y="36"/>
                  </a:lnTo>
                  <a:lnTo>
                    <a:pt x="131" y="38"/>
                  </a:lnTo>
                  <a:lnTo>
                    <a:pt x="131" y="38"/>
                  </a:lnTo>
                  <a:lnTo>
                    <a:pt x="129" y="36"/>
                  </a:lnTo>
                  <a:lnTo>
                    <a:pt x="129" y="34"/>
                  </a:lnTo>
                  <a:lnTo>
                    <a:pt x="129" y="30"/>
                  </a:lnTo>
                  <a:lnTo>
                    <a:pt x="128" y="28"/>
                  </a:lnTo>
                  <a:lnTo>
                    <a:pt x="128" y="26"/>
                  </a:lnTo>
                  <a:lnTo>
                    <a:pt x="129" y="24"/>
                  </a:lnTo>
                  <a:lnTo>
                    <a:pt x="129" y="23"/>
                  </a:lnTo>
                  <a:lnTo>
                    <a:pt x="128" y="23"/>
                  </a:lnTo>
                  <a:lnTo>
                    <a:pt x="120" y="26"/>
                  </a:lnTo>
                  <a:lnTo>
                    <a:pt x="118" y="26"/>
                  </a:lnTo>
                  <a:lnTo>
                    <a:pt x="118" y="26"/>
                  </a:lnTo>
                  <a:lnTo>
                    <a:pt x="116" y="24"/>
                  </a:lnTo>
                  <a:lnTo>
                    <a:pt x="116" y="24"/>
                  </a:lnTo>
                  <a:lnTo>
                    <a:pt x="116" y="24"/>
                  </a:lnTo>
                  <a:lnTo>
                    <a:pt x="114" y="26"/>
                  </a:lnTo>
                  <a:lnTo>
                    <a:pt x="114" y="26"/>
                  </a:lnTo>
                  <a:lnTo>
                    <a:pt x="112" y="26"/>
                  </a:lnTo>
                  <a:lnTo>
                    <a:pt x="112" y="24"/>
                  </a:lnTo>
                  <a:lnTo>
                    <a:pt x="112" y="23"/>
                  </a:lnTo>
                  <a:lnTo>
                    <a:pt x="114" y="21"/>
                  </a:lnTo>
                  <a:lnTo>
                    <a:pt x="112" y="21"/>
                  </a:lnTo>
                  <a:lnTo>
                    <a:pt x="112" y="19"/>
                  </a:lnTo>
                  <a:lnTo>
                    <a:pt x="112" y="19"/>
                  </a:lnTo>
                  <a:lnTo>
                    <a:pt x="110" y="19"/>
                  </a:lnTo>
                  <a:lnTo>
                    <a:pt x="110" y="19"/>
                  </a:lnTo>
                  <a:lnTo>
                    <a:pt x="108" y="17"/>
                  </a:lnTo>
                  <a:lnTo>
                    <a:pt x="108" y="17"/>
                  </a:lnTo>
                  <a:lnTo>
                    <a:pt x="108" y="15"/>
                  </a:lnTo>
                  <a:lnTo>
                    <a:pt x="107" y="15"/>
                  </a:lnTo>
                  <a:lnTo>
                    <a:pt x="103" y="15"/>
                  </a:lnTo>
                  <a:lnTo>
                    <a:pt x="101" y="15"/>
                  </a:lnTo>
                  <a:lnTo>
                    <a:pt x="99" y="15"/>
                  </a:lnTo>
                  <a:lnTo>
                    <a:pt x="95" y="15"/>
                  </a:lnTo>
                  <a:lnTo>
                    <a:pt x="93" y="15"/>
                  </a:lnTo>
                  <a:lnTo>
                    <a:pt x="91" y="17"/>
                  </a:lnTo>
                  <a:lnTo>
                    <a:pt x="89" y="17"/>
                  </a:lnTo>
                  <a:lnTo>
                    <a:pt x="89" y="17"/>
                  </a:lnTo>
                  <a:lnTo>
                    <a:pt x="89" y="17"/>
                  </a:lnTo>
                  <a:lnTo>
                    <a:pt x="89" y="15"/>
                  </a:lnTo>
                  <a:lnTo>
                    <a:pt x="89" y="13"/>
                  </a:lnTo>
                  <a:lnTo>
                    <a:pt x="87" y="13"/>
                  </a:lnTo>
                  <a:lnTo>
                    <a:pt x="87" y="13"/>
                  </a:lnTo>
                  <a:lnTo>
                    <a:pt x="82" y="15"/>
                  </a:lnTo>
                  <a:lnTo>
                    <a:pt x="80" y="15"/>
                  </a:lnTo>
                  <a:lnTo>
                    <a:pt x="78" y="17"/>
                  </a:lnTo>
                  <a:lnTo>
                    <a:pt x="76" y="17"/>
                  </a:lnTo>
                  <a:lnTo>
                    <a:pt x="76" y="15"/>
                  </a:lnTo>
                  <a:lnTo>
                    <a:pt x="76" y="15"/>
                  </a:lnTo>
                  <a:lnTo>
                    <a:pt x="76" y="15"/>
                  </a:lnTo>
                  <a:lnTo>
                    <a:pt x="76" y="13"/>
                  </a:lnTo>
                  <a:lnTo>
                    <a:pt x="74" y="13"/>
                  </a:lnTo>
                  <a:lnTo>
                    <a:pt x="74" y="13"/>
                  </a:lnTo>
                  <a:lnTo>
                    <a:pt x="74" y="13"/>
                  </a:lnTo>
                  <a:lnTo>
                    <a:pt x="72" y="15"/>
                  </a:lnTo>
                  <a:lnTo>
                    <a:pt x="72" y="15"/>
                  </a:lnTo>
                  <a:lnTo>
                    <a:pt x="72" y="17"/>
                  </a:lnTo>
                  <a:lnTo>
                    <a:pt x="68" y="19"/>
                  </a:lnTo>
                  <a:lnTo>
                    <a:pt x="67" y="19"/>
                  </a:lnTo>
                  <a:lnTo>
                    <a:pt x="67" y="19"/>
                  </a:lnTo>
                  <a:lnTo>
                    <a:pt x="67" y="19"/>
                  </a:lnTo>
                  <a:lnTo>
                    <a:pt x="67" y="17"/>
                  </a:lnTo>
                  <a:lnTo>
                    <a:pt x="68" y="17"/>
                  </a:lnTo>
                  <a:lnTo>
                    <a:pt x="68" y="15"/>
                  </a:lnTo>
                  <a:lnTo>
                    <a:pt x="68" y="13"/>
                  </a:lnTo>
                  <a:lnTo>
                    <a:pt x="68" y="13"/>
                  </a:lnTo>
                  <a:lnTo>
                    <a:pt x="68" y="11"/>
                  </a:lnTo>
                  <a:lnTo>
                    <a:pt x="67" y="9"/>
                  </a:lnTo>
                  <a:lnTo>
                    <a:pt x="65" y="9"/>
                  </a:lnTo>
                  <a:lnTo>
                    <a:pt x="63" y="9"/>
                  </a:lnTo>
                  <a:lnTo>
                    <a:pt x="63" y="9"/>
                  </a:lnTo>
                  <a:lnTo>
                    <a:pt x="61" y="9"/>
                  </a:lnTo>
                  <a:lnTo>
                    <a:pt x="59" y="9"/>
                  </a:lnTo>
                  <a:lnTo>
                    <a:pt x="55" y="7"/>
                  </a:lnTo>
                  <a:lnTo>
                    <a:pt x="53" y="7"/>
                  </a:lnTo>
                  <a:lnTo>
                    <a:pt x="53" y="7"/>
                  </a:lnTo>
                  <a:lnTo>
                    <a:pt x="51" y="9"/>
                  </a:lnTo>
                  <a:lnTo>
                    <a:pt x="49" y="11"/>
                  </a:lnTo>
                  <a:lnTo>
                    <a:pt x="49" y="11"/>
                  </a:lnTo>
                  <a:lnTo>
                    <a:pt x="47" y="11"/>
                  </a:lnTo>
                  <a:lnTo>
                    <a:pt x="46" y="11"/>
                  </a:lnTo>
                  <a:lnTo>
                    <a:pt x="44" y="13"/>
                  </a:lnTo>
                  <a:lnTo>
                    <a:pt x="38" y="13"/>
                  </a:lnTo>
                  <a:lnTo>
                    <a:pt x="30" y="13"/>
                  </a:lnTo>
                  <a:lnTo>
                    <a:pt x="28" y="15"/>
                  </a:lnTo>
                  <a:lnTo>
                    <a:pt x="28" y="15"/>
                  </a:lnTo>
                  <a:lnTo>
                    <a:pt x="27" y="17"/>
                  </a:lnTo>
                  <a:lnTo>
                    <a:pt x="23" y="21"/>
                  </a:lnTo>
                  <a:lnTo>
                    <a:pt x="23" y="21"/>
                  </a:lnTo>
                  <a:lnTo>
                    <a:pt x="21" y="23"/>
                  </a:lnTo>
                  <a:lnTo>
                    <a:pt x="21" y="24"/>
                  </a:lnTo>
                  <a:lnTo>
                    <a:pt x="21" y="24"/>
                  </a:lnTo>
                  <a:lnTo>
                    <a:pt x="17" y="28"/>
                  </a:lnTo>
                  <a:lnTo>
                    <a:pt x="17" y="28"/>
                  </a:lnTo>
                  <a:lnTo>
                    <a:pt x="15" y="30"/>
                  </a:lnTo>
                  <a:lnTo>
                    <a:pt x="15" y="32"/>
                  </a:lnTo>
                  <a:lnTo>
                    <a:pt x="15" y="34"/>
                  </a:lnTo>
                  <a:lnTo>
                    <a:pt x="15" y="34"/>
                  </a:lnTo>
                  <a:lnTo>
                    <a:pt x="15" y="34"/>
                  </a:lnTo>
                  <a:lnTo>
                    <a:pt x="13" y="36"/>
                  </a:lnTo>
                  <a:lnTo>
                    <a:pt x="13" y="38"/>
                  </a:lnTo>
                  <a:lnTo>
                    <a:pt x="13" y="40"/>
                  </a:lnTo>
                  <a:lnTo>
                    <a:pt x="13" y="40"/>
                  </a:lnTo>
                  <a:lnTo>
                    <a:pt x="13" y="42"/>
                  </a:lnTo>
                  <a:lnTo>
                    <a:pt x="13" y="43"/>
                  </a:lnTo>
                  <a:lnTo>
                    <a:pt x="13" y="45"/>
                  </a:lnTo>
                  <a:lnTo>
                    <a:pt x="15" y="45"/>
                  </a:lnTo>
                  <a:lnTo>
                    <a:pt x="15" y="47"/>
                  </a:lnTo>
                  <a:lnTo>
                    <a:pt x="17" y="49"/>
                  </a:lnTo>
                  <a:lnTo>
                    <a:pt x="19" y="49"/>
                  </a:lnTo>
                  <a:lnTo>
                    <a:pt x="19" y="49"/>
                  </a:lnTo>
                  <a:lnTo>
                    <a:pt x="19" y="51"/>
                  </a:lnTo>
                  <a:lnTo>
                    <a:pt x="19" y="51"/>
                  </a:lnTo>
                  <a:lnTo>
                    <a:pt x="17" y="53"/>
                  </a:lnTo>
                  <a:lnTo>
                    <a:pt x="17" y="53"/>
                  </a:lnTo>
                  <a:lnTo>
                    <a:pt x="17" y="53"/>
                  </a:lnTo>
                  <a:lnTo>
                    <a:pt x="15" y="55"/>
                  </a:lnTo>
                  <a:lnTo>
                    <a:pt x="13" y="55"/>
                  </a:lnTo>
                  <a:lnTo>
                    <a:pt x="11" y="55"/>
                  </a:lnTo>
                  <a:lnTo>
                    <a:pt x="9" y="55"/>
                  </a:lnTo>
                  <a:lnTo>
                    <a:pt x="9" y="57"/>
                  </a:lnTo>
                  <a:lnTo>
                    <a:pt x="9" y="59"/>
                  </a:lnTo>
                  <a:lnTo>
                    <a:pt x="9" y="61"/>
                  </a:lnTo>
                  <a:lnTo>
                    <a:pt x="7" y="62"/>
                  </a:lnTo>
                  <a:lnTo>
                    <a:pt x="7" y="64"/>
                  </a:lnTo>
                  <a:lnTo>
                    <a:pt x="7" y="64"/>
                  </a:lnTo>
                  <a:lnTo>
                    <a:pt x="7" y="64"/>
                  </a:lnTo>
                  <a:lnTo>
                    <a:pt x="4" y="66"/>
                  </a:lnTo>
                  <a:lnTo>
                    <a:pt x="0" y="66"/>
                  </a:lnTo>
                  <a:lnTo>
                    <a:pt x="0" y="70"/>
                  </a:lnTo>
                  <a:lnTo>
                    <a:pt x="0" y="70"/>
                  </a:lnTo>
                  <a:lnTo>
                    <a:pt x="0" y="74"/>
                  </a:lnTo>
                  <a:lnTo>
                    <a:pt x="0" y="78"/>
                  </a:lnTo>
                  <a:lnTo>
                    <a:pt x="0" y="81"/>
                  </a:lnTo>
                  <a:lnTo>
                    <a:pt x="2" y="83"/>
                  </a:lnTo>
                  <a:lnTo>
                    <a:pt x="4" y="83"/>
                  </a:lnTo>
                  <a:lnTo>
                    <a:pt x="6" y="81"/>
                  </a:lnTo>
                  <a:lnTo>
                    <a:pt x="9" y="81"/>
                  </a:lnTo>
                  <a:lnTo>
                    <a:pt x="30" y="91"/>
                  </a:lnTo>
                  <a:lnTo>
                    <a:pt x="44" y="93"/>
                  </a:lnTo>
                  <a:lnTo>
                    <a:pt x="51" y="97"/>
                  </a:lnTo>
                  <a:lnTo>
                    <a:pt x="55" y="97"/>
                  </a:lnTo>
                  <a:lnTo>
                    <a:pt x="65" y="95"/>
                  </a:lnTo>
                  <a:lnTo>
                    <a:pt x="72" y="95"/>
                  </a:lnTo>
                  <a:lnTo>
                    <a:pt x="76" y="95"/>
                  </a:lnTo>
                  <a:lnTo>
                    <a:pt x="76" y="95"/>
                  </a:lnTo>
                  <a:lnTo>
                    <a:pt x="78" y="95"/>
                  </a:lnTo>
                  <a:lnTo>
                    <a:pt x="80" y="95"/>
                  </a:lnTo>
                  <a:lnTo>
                    <a:pt x="84" y="97"/>
                  </a:lnTo>
                  <a:lnTo>
                    <a:pt x="84" y="97"/>
                  </a:lnTo>
                  <a:lnTo>
                    <a:pt x="86" y="95"/>
                  </a:lnTo>
                  <a:lnTo>
                    <a:pt x="86" y="95"/>
                  </a:lnTo>
                  <a:lnTo>
                    <a:pt x="86" y="95"/>
                  </a:lnTo>
                  <a:lnTo>
                    <a:pt x="87" y="95"/>
                  </a:lnTo>
                  <a:lnTo>
                    <a:pt x="89" y="95"/>
                  </a:lnTo>
                  <a:lnTo>
                    <a:pt x="89" y="97"/>
                  </a:lnTo>
                  <a:lnTo>
                    <a:pt x="91" y="97"/>
                  </a:lnTo>
                  <a:lnTo>
                    <a:pt x="93" y="97"/>
                  </a:lnTo>
                  <a:lnTo>
                    <a:pt x="105" y="95"/>
                  </a:lnTo>
                  <a:lnTo>
                    <a:pt x="105" y="95"/>
                  </a:lnTo>
                  <a:lnTo>
                    <a:pt x="108" y="95"/>
                  </a:lnTo>
                  <a:lnTo>
                    <a:pt x="124" y="93"/>
                  </a:lnTo>
                  <a:lnTo>
                    <a:pt x="128" y="93"/>
                  </a:lnTo>
                  <a:lnTo>
                    <a:pt x="129" y="93"/>
                  </a:lnTo>
                  <a:lnTo>
                    <a:pt x="131" y="91"/>
                  </a:lnTo>
                  <a:lnTo>
                    <a:pt x="131" y="91"/>
                  </a:lnTo>
                  <a:lnTo>
                    <a:pt x="137" y="93"/>
                  </a:lnTo>
                  <a:lnTo>
                    <a:pt x="150" y="97"/>
                  </a:lnTo>
                  <a:lnTo>
                    <a:pt x="154" y="99"/>
                  </a:lnTo>
                  <a:lnTo>
                    <a:pt x="154" y="99"/>
                  </a:lnTo>
                  <a:lnTo>
                    <a:pt x="156" y="97"/>
                  </a:lnTo>
                  <a:lnTo>
                    <a:pt x="158" y="97"/>
                  </a:lnTo>
                  <a:lnTo>
                    <a:pt x="158" y="97"/>
                  </a:lnTo>
                  <a:lnTo>
                    <a:pt x="160" y="95"/>
                  </a:lnTo>
                  <a:lnTo>
                    <a:pt x="162" y="95"/>
                  </a:lnTo>
                  <a:lnTo>
                    <a:pt x="162" y="95"/>
                  </a:lnTo>
                  <a:lnTo>
                    <a:pt x="164" y="97"/>
                  </a:lnTo>
                  <a:lnTo>
                    <a:pt x="164" y="97"/>
                  </a:lnTo>
                  <a:lnTo>
                    <a:pt x="166" y="99"/>
                  </a:lnTo>
                  <a:lnTo>
                    <a:pt x="168" y="99"/>
                  </a:lnTo>
                  <a:lnTo>
                    <a:pt x="169" y="99"/>
                  </a:lnTo>
                  <a:lnTo>
                    <a:pt x="171" y="99"/>
                  </a:lnTo>
                  <a:lnTo>
                    <a:pt x="173" y="99"/>
                  </a:lnTo>
                  <a:lnTo>
                    <a:pt x="173" y="97"/>
                  </a:lnTo>
                  <a:lnTo>
                    <a:pt x="173" y="97"/>
                  </a:lnTo>
                  <a:lnTo>
                    <a:pt x="175" y="97"/>
                  </a:lnTo>
                  <a:lnTo>
                    <a:pt x="175" y="97"/>
                  </a:lnTo>
                  <a:lnTo>
                    <a:pt x="177" y="97"/>
                  </a:lnTo>
                  <a:lnTo>
                    <a:pt x="177" y="95"/>
                  </a:lnTo>
                  <a:lnTo>
                    <a:pt x="177" y="95"/>
                  </a:lnTo>
                  <a:lnTo>
                    <a:pt x="179" y="95"/>
                  </a:lnTo>
                  <a:lnTo>
                    <a:pt x="183" y="95"/>
                  </a:lnTo>
                  <a:lnTo>
                    <a:pt x="194" y="93"/>
                  </a:lnTo>
                  <a:lnTo>
                    <a:pt x="198" y="95"/>
                  </a:lnTo>
                  <a:lnTo>
                    <a:pt x="200" y="93"/>
                  </a:lnTo>
                  <a:lnTo>
                    <a:pt x="204" y="93"/>
                  </a:lnTo>
                  <a:lnTo>
                    <a:pt x="206" y="93"/>
                  </a:lnTo>
                  <a:lnTo>
                    <a:pt x="209" y="95"/>
                  </a:lnTo>
                  <a:lnTo>
                    <a:pt x="211" y="95"/>
                  </a:lnTo>
                  <a:lnTo>
                    <a:pt x="211" y="95"/>
                  </a:lnTo>
                  <a:lnTo>
                    <a:pt x="213" y="97"/>
                  </a:lnTo>
                  <a:lnTo>
                    <a:pt x="213" y="97"/>
                  </a:lnTo>
                  <a:lnTo>
                    <a:pt x="213" y="99"/>
                  </a:lnTo>
                  <a:lnTo>
                    <a:pt x="215" y="99"/>
                  </a:lnTo>
                  <a:lnTo>
                    <a:pt x="217" y="99"/>
                  </a:lnTo>
                  <a:lnTo>
                    <a:pt x="217" y="99"/>
                  </a:lnTo>
                  <a:lnTo>
                    <a:pt x="217" y="99"/>
                  </a:lnTo>
                  <a:lnTo>
                    <a:pt x="219" y="99"/>
                  </a:lnTo>
                  <a:lnTo>
                    <a:pt x="219" y="99"/>
                  </a:lnTo>
                  <a:lnTo>
                    <a:pt x="221" y="100"/>
                  </a:lnTo>
                  <a:lnTo>
                    <a:pt x="223" y="102"/>
                  </a:lnTo>
                  <a:lnTo>
                    <a:pt x="223" y="102"/>
                  </a:lnTo>
                  <a:lnTo>
                    <a:pt x="225" y="102"/>
                  </a:lnTo>
                  <a:lnTo>
                    <a:pt x="227" y="104"/>
                  </a:lnTo>
                  <a:lnTo>
                    <a:pt x="230" y="104"/>
                  </a:lnTo>
                  <a:lnTo>
                    <a:pt x="232" y="104"/>
                  </a:lnTo>
                  <a:lnTo>
                    <a:pt x="232" y="106"/>
                  </a:lnTo>
                  <a:lnTo>
                    <a:pt x="236" y="108"/>
                  </a:lnTo>
                  <a:lnTo>
                    <a:pt x="238" y="110"/>
                  </a:lnTo>
                  <a:lnTo>
                    <a:pt x="238" y="112"/>
                  </a:lnTo>
                  <a:lnTo>
                    <a:pt x="240" y="108"/>
                  </a:lnTo>
                  <a:lnTo>
                    <a:pt x="244" y="104"/>
                  </a:lnTo>
                  <a:lnTo>
                    <a:pt x="248" y="102"/>
                  </a:lnTo>
                  <a:lnTo>
                    <a:pt x="249" y="100"/>
                  </a:lnTo>
                  <a:lnTo>
                    <a:pt x="251" y="99"/>
                  </a:lnTo>
                  <a:lnTo>
                    <a:pt x="251" y="99"/>
                  </a:lnTo>
                  <a:lnTo>
                    <a:pt x="253" y="99"/>
                  </a:lnTo>
                  <a:lnTo>
                    <a:pt x="253" y="99"/>
                  </a:lnTo>
                  <a:lnTo>
                    <a:pt x="255" y="99"/>
                  </a:lnTo>
                  <a:lnTo>
                    <a:pt x="255" y="97"/>
                  </a:lnTo>
                  <a:lnTo>
                    <a:pt x="255" y="97"/>
                  </a:lnTo>
                  <a:lnTo>
                    <a:pt x="255" y="97"/>
                  </a:lnTo>
                  <a:lnTo>
                    <a:pt x="257" y="97"/>
                  </a:lnTo>
                  <a:lnTo>
                    <a:pt x="259" y="97"/>
                  </a:lnTo>
                  <a:lnTo>
                    <a:pt x="261" y="97"/>
                  </a:lnTo>
                  <a:lnTo>
                    <a:pt x="263" y="97"/>
                  </a:lnTo>
                  <a:lnTo>
                    <a:pt x="265" y="93"/>
                  </a:lnTo>
                  <a:lnTo>
                    <a:pt x="276" y="89"/>
                  </a:lnTo>
                  <a:lnTo>
                    <a:pt x="278" y="87"/>
                  </a:lnTo>
                  <a:lnTo>
                    <a:pt x="278" y="8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1" name="Freeform 33">
              <a:extLst>
                <a:ext uri="{FF2B5EF4-FFF2-40B4-BE49-F238E27FC236}">
                  <a16:creationId xmlns:a16="http://schemas.microsoft.com/office/drawing/2014/main" id="{1D31C098-EC3B-34EA-B4FA-A259CA898D5C}"/>
                </a:ext>
              </a:extLst>
            </p:cNvPr>
            <p:cNvSpPr>
              <a:spLocks/>
            </p:cNvSpPr>
            <p:nvPr/>
          </p:nvSpPr>
          <p:spPr bwMode="auto">
            <a:xfrm>
              <a:off x="6951663" y="3285338"/>
              <a:ext cx="441325" cy="177800"/>
            </a:xfrm>
            <a:custGeom>
              <a:avLst/>
              <a:gdLst>
                <a:gd name="T0" fmla="*/ 276 w 278"/>
                <a:gd name="T1" fmla="*/ 83 h 112"/>
                <a:gd name="T2" fmla="*/ 274 w 278"/>
                <a:gd name="T3" fmla="*/ 76 h 112"/>
                <a:gd name="T4" fmla="*/ 265 w 278"/>
                <a:gd name="T5" fmla="*/ 66 h 112"/>
                <a:gd name="T6" fmla="*/ 257 w 278"/>
                <a:gd name="T7" fmla="*/ 62 h 112"/>
                <a:gd name="T8" fmla="*/ 263 w 278"/>
                <a:gd name="T9" fmla="*/ 55 h 112"/>
                <a:gd name="T10" fmla="*/ 265 w 278"/>
                <a:gd name="T11" fmla="*/ 49 h 112"/>
                <a:gd name="T12" fmla="*/ 259 w 278"/>
                <a:gd name="T13" fmla="*/ 53 h 112"/>
                <a:gd name="T14" fmla="*/ 242 w 278"/>
                <a:gd name="T15" fmla="*/ 38 h 112"/>
                <a:gd name="T16" fmla="*/ 234 w 278"/>
                <a:gd name="T17" fmla="*/ 36 h 112"/>
                <a:gd name="T18" fmla="*/ 219 w 278"/>
                <a:gd name="T19" fmla="*/ 42 h 112"/>
                <a:gd name="T20" fmla="*/ 217 w 278"/>
                <a:gd name="T21" fmla="*/ 28 h 112"/>
                <a:gd name="T22" fmla="*/ 221 w 278"/>
                <a:gd name="T23" fmla="*/ 15 h 112"/>
                <a:gd name="T24" fmla="*/ 227 w 278"/>
                <a:gd name="T25" fmla="*/ 3 h 112"/>
                <a:gd name="T26" fmla="*/ 213 w 278"/>
                <a:gd name="T27" fmla="*/ 2 h 112"/>
                <a:gd name="T28" fmla="*/ 194 w 278"/>
                <a:gd name="T29" fmla="*/ 5 h 112"/>
                <a:gd name="T30" fmla="*/ 179 w 278"/>
                <a:gd name="T31" fmla="*/ 5 h 112"/>
                <a:gd name="T32" fmla="*/ 175 w 278"/>
                <a:gd name="T33" fmla="*/ 15 h 112"/>
                <a:gd name="T34" fmla="*/ 169 w 278"/>
                <a:gd name="T35" fmla="*/ 13 h 112"/>
                <a:gd name="T36" fmla="*/ 166 w 278"/>
                <a:gd name="T37" fmla="*/ 5 h 112"/>
                <a:gd name="T38" fmla="*/ 158 w 278"/>
                <a:gd name="T39" fmla="*/ 15 h 112"/>
                <a:gd name="T40" fmla="*/ 156 w 278"/>
                <a:gd name="T41" fmla="*/ 21 h 112"/>
                <a:gd name="T42" fmla="*/ 148 w 278"/>
                <a:gd name="T43" fmla="*/ 24 h 112"/>
                <a:gd name="T44" fmla="*/ 131 w 278"/>
                <a:gd name="T45" fmla="*/ 38 h 112"/>
                <a:gd name="T46" fmla="*/ 129 w 278"/>
                <a:gd name="T47" fmla="*/ 24 h 112"/>
                <a:gd name="T48" fmla="*/ 116 w 278"/>
                <a:gd name="T49" fmla="*/ 24 h 112"/>
                <a:gd name="T50" fmla="*/ 114 w 278"/>
                <a:gd name="T51" fmla="*/ 21 h 112"/>
                <a:gd name="T52" fmla="*/ 108 w 278"/>
                <a:gd name="T53" fmla="*/ 17 h 112"/>
                <a:gd name="T54" fmla="*/ 93 w 278"/>
                <a:gd name="T55" fmla="*/ 15 h 112"/>
                <a:gd name="T56" fmla="*/ 87 w 278"/>
                <a:gd name="T57" fmla="*/ 13 h 112"/>
                <a:gd name="T58" fmla="*/ 76 w 278"/>
                <a:gd name="T59" fmla="*/ 15 h 112"/>
                <a:gd name="T60" fmla="*/ 72 w 278"/>
                <a:gd name="T61" fmla="*/ 15 h 112"/>
                <a:gd name="T62" fmla="*/ 68 w 278"/>
                <a:gd name="T63" fmla="*/ 17 h 112"/>
                <a:gd name="T64" fmla="*/ 63 w 278"/>
                <a:gd name="T65" fmla="*/ 9 h 112"/>
                <a:gd name="T66" fmla="*/ 51 w 278"/>
                <a:gd name="T67" fmla="*/ 9 h 112"/>
                <a:gd name="T68" fmla="*/ 30 w 278"/>
                <a:gd name="T69" fmla="*/ 13 h 112"/>
                <a:gd name="T70" fmla="*/ 21 w 278"/>
                <a:gd name="T71" fmla="*/ 24 h 112"/>
                <a:gd name="T72" fmla="*/ 15 w 278"/>
                <a:gd name="T73" fmla="*/ 34 h 112"/>
                <a:gd name="T74" fmla="*/ 13 w 278"/>
                <a:gd name="T75" fmla="*/ 43 h 112"/>
                <a:gd name="T76" fmla="*/ 19 w 278"/>
                <a:gd name="T77" fmla="*/ 51 h 112"/>
                <a:gd name="T78" fmla="*/ 11 w 278"/>
                <a:gd name="T79" fmla="*/ 55 h 112"/>
                <a:gd name="T80" fmla="*/ 7 w 278"/>
                <a:gd name="T81" fmla="*/ 64 h 112"/>
                <a:gd name="T82" fmla="*/ 0 w 278"/>
                <a:gd name="T83" fmla="*/ 78 h 112"/>
                <a:gd name="T84" fmla="*/ 44 w 278"/>
                <a:gd name="T85" fmla="*/ 93 h 112"/>
                <a:gd name="T86" fmla="*/ 78 w 278"/>
                <a:gd name="T87" fmla="*/ 95 h 112"/>
                <a:gd name="T88" fmla="*/ 87 w 278"/>
                <a:gd name="T89" fmla="*/ 95 h 112"/>
                <a:gd name="T90" fmla="*/ 108 w 278"/>
                <a:gd name="T91" fmla="*/ 95 h 112"/>
                <a:gd name="T92" fmla="*/ 150 w 278"/>
                <a:gd name="T93" fmla="*/ 97 h 112"/>
                <a:gd name="T94" fmla="*/ 162 w 278"/>
                <a:gd name="T95" fmla="*/ 95 h 112"/>
                <a:gd name="T96" fmla="*/ 171 w 278"/>
                <a:gd name="T97" fmla="*/ 99 h 112"/>
                <a:gd name="T98" fmla="*/ 177 w 278"/>
                <a:gd name="T99" fmla="*/ 95 h 112"/>
                <a:gd name="T100" fmla="*/ 204 w 278"/>
                <a:gd name="T101" fmla="*/ 93 h 112"/>
                <a:gd name="T102" fmla="*/ 213 w 278"/>
                <a:gd name="T103" fmla="*/ 99 h 112"/>
                <a:gd name="T104" fmla="*/ 221 w 278"/>
                <a:gd name="T105" fmla="*/ 100 h 112"/>
                <a:gd name="T106" fmla="*/ 232 w 278"/>
                <a:gd name="T107" fmla="*/ 106 h 112"/>
                <a:gd name="T108" fmla="*/ 249 w 278"/>
                <a:gd name="T109" fmla="*/ 100 h 112"/>
                <a:gd name="T110" fmla="*/ 255 w 278"/>
                <a:gd name="T111" fmla="*/ 97 h 112"/>
                <a:gd name="T112" fmla="*/ 276 w 278"/>
                <a:gd name="T113"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8" h="112">
                  <a:moveTo>
                    <a:pt x="278" y="87"/>
                  </a:moveTo>
                  <a:lnTo>
                    <a:pt x="276" y="85"/>
                  </a:lnTo>
                  <a:lnTo>
                    <a:pt x="276" y="85"/>
                  </a:lnTo>
                  <a:lnTo>
                    <a:pt x="276" y="85"/>
                  </a:lnTo>
                  <a:lnTo>
                    <a:pt x="276" y="83"/>
                  </a:lnTo>
                  <a:lnTo>
                    <a:pt x="276" y="83"/>
                  </a:lnTo>
                  <a:lnTo>
                    <a:pt x="276" y="83"/>
                  </a:lnTo>
                  <a:lnTo>
                    <a:pt x="276" y="81"/>
                  </a:lnTo>
                  <a:lnTo>
                    <a:pt x="276" y="81"/>
                  </a:lnTo>
                  <a:lnTo>
                    <a:pt x="276" y="80"/>
                  </a:lnTo>
                  <a:lnTo>
                    <a:pt x="276" y="78"/>
                  </a:lnTo>
                  <a:lnTo>
                    <a:pt x="276" y="78"/>
                  </a:lnTo>
                  <a:lnTo>
                    <a:pt x="276" y="76"/>
                  </a:lnTo>
                  <a:lnTo>
                    <a:pt x="274" y="76"/>
                  </a:lnTo>
                  <a:lnTo>
                    <a:pt x="272" y="74"/>
                  </a:lnTo>
                  <a:lnTo>
                    <a:pt x="272" y="74"/>
                  </a:lnTo>
                  <a:lnTo>
                    <a:pt x="270" y="72"/>
                  </a:lnTo>
                  <a:lnTo>
                    <a:pt x="267" y="68"/>
                  </a:lnTo>
                  <a:lnTo>
                    <a:pt x="267" y="68"/>
                  </a:lnTo>
                  <a:lnTo>
                    <a:pt x="267" y="68"/>
                  </a:lnTo>
                  <a:lnTo>
                    <a:pt x="265" y="66"/>
                  </a:lnTo>
                  <a:lnTo>
                    <a:pt x="261" y="66"/>
                  </a:lnTo>
                  <a:lnTo>
                    <a:pt x="261" y="66"/>
                  </a:lnTo>
                  <a:lnTo>
                    <a:pt x="261" y="64"/>
                  </a:lnTo>
                  <a:lnTo>
                    <a:pt x="261" y="64"/>
                  </a:lnTo>
                  <a:lnTo>
                    <a:pt x="259" y="62"/>
                  </a:lnTo>
                  <a:lnTo>
                    <a:pt x="257" y="62"/>
                  </a:lnTo>
                  <a:lnTo>
                    <a:pt x="257" y="62"/>
                  </a:lnTo>
                  <a:lnTo>
                    <a:pt x="257" y="61"/>
                  </a:lnTo>
                  <a:lnTo>
                    <a:pt x="257" y="61"/>
                  </a:lnTo>
                  <a:lnTo>
                    <a:pt x="259" y="59"/>
                  </a:lnTo>
                  <a:lnTo>
                    <a:pt x="261" y="59"/>
                  </a:lnTo>
                  <a:lnTo>
                    <a:pt x="261" y="57"/>
                  </a:lnTo>
                  <a:lnTo>
                    <a:pt x="263" y="57"/>
                  </a:lnTo>
                  <a:lnTo>
                    <a:pt x="263" y="55"/>
                  </a:lnTo>
                  <a:lnTo>
                    <a:pt x="263" y="55"/>
                  </a:lnTo>
                  <a:lnTo>
                    <a:pt x="265" y="53"/>
                  </a:lnTo>
                  <a:lnTo>
                    <a:pt x="265" y="53"/>
                  </a:lnTo>
                  <a:lnTo>
                    <a:pt x="265" y="51"/>
                  </a:lnTo>
                  <a:lnTo>
                    <a:pt x="267" y="51"/>
                  </a:lnTo>
                  <a:lnTo>
                    <a:pt x="267" y="49"/>
                  </a:lnTo>
                  <a:lnTo>
                    <a:pt x="265" y="49"/>
                  </a:lnTo>
                  <a:lnTo>
                    <a:pt x="265" y="49"/>
                  </a:lnTo>
                  <a:lnTo>
                    <a:pt x="265" y="49"/>
                  </a:lnTo>
                  <a:lnTo>
                    <a:pt x="263" y="49"/>
                  </a:lnTo>
                  <a:lnTo>
                    <a:pt x="263" y="49"/>
                  </a:lnTo>
                  <a:lnTo>
                    <a:pt x="261" y="51"/>
                  </a:lnTo>
                  <a:lnTo>
                    <a:pt x="259" y="51"/>
                  </a:lnTo>
                  <a:lnTo>
                    <a:pt x="259" y="53"/>
                  </a:lnTo>
                  <a:lnTo>
                    <a:pt x="259" y="53"/>
                  </a:lnTo>
                  <a:lnTo>
                    <a:pt x="257" y="53"/>
                  </a:lnTo>
                  <a:lnTo>
                    <a:pt x="257" y="51"/>
                  </a:lnTo>
                  <a:lnTo>
                    <a:pt x="257" y="51"/>
                  </a:lnTo>
                  <a:lnTo>
                    <a:pt x="251" y="43"/>
                  </a:lnTo>
                  <a:lnTo>
                    <a:pt x="248" y="40"/>
                  </a:lnTo>
                  <a:lnTo>
                    <a:pt x="242" y="38"/>
                  </a:lnTo>
                  <a:lnTo>
                    <a:pt x="240" y="36"/>
                  </a:lnTo>
                  <a:lnTo>
                    <a:pt x="240" y="34"/>
                  </a:lnTo>
                  <a:lnTo>
                    <a:pt x="238" y="34"/>
                  </a:lnTo>
                  <a:lnTo>
                    <a:pt x="236" y="34"/>
                  </a:lnTo>
                  <a:lnTo>
                    <a:pt x="236" y="34"/>
                  </a:lnTo>
                  <a:lnTo>
                    <a:pt x="234" y="36"/>
                  </a:lnTo>
                  <a:lnTo>
                    <a:pt x="234" y="36"/>
                  </a:lnTo>
                  <a:lnTo>
                    <a:pt x="232" y="38"/>
                  </a:lnTo>
                  <a:lnTo>
                    <a:pt x="227" y="38"/>
                  </a:lnTo>
                  <a:lnTo>
                    <a:pt x="223" y="40"/>
                  </a:lnTo>
                  <a:lnTo>
                    <a:pt x="221" y="40"/>
                  </a:lnTo>
                  <a:lnTo>
                    <a:pt x="221" y="42"/>
                  </a:lnTo>
                  <a:lnTo>
                    <a:pt x="219" y="42"/>
                  </a:lnTo>
                  <a:lnTo>
                    <a:pt x="219" y="42"/>
                  </a:lnTo>
                  <a:lnTo>
                    <a:pt x="219" y="42"/>
                  </a:lnTo>
                  <a:lnTo>
                    <a:pt x="219" y="40"/>
                  </a:lnTo>
                  <a:lnTo>
                    <a:pt x="219" y="34"/>
                  </a:lnTo>
                  <a:lnTo>
                    <a:pt x="219" y="32"/>
                  </a:lnTo>
                  <a:lnTo>
                    <a:pt x="219" y="32"/>
                  </a:lnTo>
                  <a:lnTo>
                    <a:pt x="219" y="30"/>
                  </a:lnTo>
                  <a:lnTo>
                    <a:pt x="217" y="28"/>
                  </a:lnTo>
                  <a:lnTo>
                    <a:pt x="219" y="28"/>
                  </a:lnTo>
                  <a:lnTo>
                    <a:pt x="219" y="24"/>
                  </a:lnTo>
                  <a:lnTo>
                    <a:pt x="221" y="21"/>
                  </a:lnTo>
                  <a:lnTo>
                    <a:pt x="223" y="19"/>
                  </a:lnTo>
                  <a:lnTo>
                    <a:pt x="223" y="17"/>
                  </a:lnTo>
                  <a:lnTo>
                    <a:pt x="223" y="15"/>
                  </a:lnTo>
                  <a:lnTo>
                    <a:pt x="221" y="15"/>
                  </a:lnTo>
                  <a:lnTo>
                    <a:pt x="219" y="15"/>
                  </a:lnTo>
                  <a:lnTo>
                    <a:pt x="219" y="13"/>
                  </a:lnTo>
                  <a:lnTo>
                    <a:pt x="219" y="13"/>
                  </a:lnTo>
                  <a:lnTo>
                    <a:pt x="219" y="11"/>
                  </a:lnTo>
                  <a:lnTo>
                    <a:pt x="219" y="11"/>
                  </a:lnTo>
                  <a:lnTo>
                    <a:pt x="219" y="11"/>
                  </a:lnTo>
                  <a:lnTo>
                    <a:pt x="227" y="3"/>
                  </a:lnTo>
                  <a:lnTo>
                    <a:pt x="229" y="2"/>
                  </a:lnTo>
                  <a:lnTo>
                    <a:pt x="227" y="2"/>
                  </a:lnTo>
                  <a:lnTo>
                    <a:pt x="227" y="2"/>
                  </a:lnTo>
                  <a:lnTo>
                    <a:pt x="227" y="2"/>
                  </a:lnTo>
                  <a:lnTo>
                    <a:pt x="217" y="0"/>
                  </a:lnTo>
                  <a:lnTo>
                    <a:pt x="217" y="2"/>
                  </a:lnTo>
                  <a:lnTo>
                    <a:pt x="213" y="2"/>
                  </a:lnTo>
                  <a:lnTo>
                    <a:pt x="208" y="3"/>
                  </a:lnTo>
                  <a:lnTo>
                    <a:pt x="208" y="3"/>
                  </a:lnTo>
                  <a:lnTo>
                    <a:pt x="206" y="3"/>
                  </a:lnTo>
                  <a:lnTo>
                    <a:pt x="204" y="3"/>
                  </a:lnTo>
                  <a:lnTo>
                    <a:pt x="198" y="5"/>
                  </a:lnTo>
                  <a:lnTo>
                    <a:pt x="196" y="5"/>
                  </a:lnTo>
                  <a:lnTo>
                    <a:pt x="194" y="5"/>
                  </a:lnTo>
                  <a:lnTo>
                    <a:pt x="192" y="5"/>
                  </a:lnTo>
                  <a:lnTo>
                    <a:pt x="192" y="3"/>
                  </a:lnTo>
                  <a:lnTo>
                    <a:pt x="188" y="2"/>
                  </a:lnTo>
                  <a:lnTo>
                    <a:pt x="187" y="0"/>
                  </a:lnTo>
                  <a:lnTo>
                    <a:pt x="185" y="0"/>
                  </a:lnTo>
                  <a:lnTo>
                    <a:pt x="183" y="2"/>
                  </a:lnTo>
                  <a:lnTo>
                    <a:pt x="179" y="5"/>
                  </a:lnTo>
                  <a:lnTo>
                    <a:pt x="179" y="5"/>
                  </a:lnTo>
                  <a:lnTo>
                    <a:pt x="179" y="7"/>
                  </a:lnTo>
                  <a:lnTo>
                    <a:pt x="179" y="9"/>
                  </a:lnTo>
                  <a:lnTo>
                    <a:pt x="177" y="11"/>
                  </a:lnTo>
                  <a:lnTo>
                    <a:pt x="177" y="13"/>
                  </a:lnTo>
                  <a:lnTo>
                    <a:pt x="175" y="15"/>
                  </a:lnTo>
                  <a:lnTo>
                    <a:pt x="175" y="15"/>
                  </a:lnTo>
                  <a:lnTo>
                    <a:pt x="173" y="17"/>
                  </a:lnTo>
                  <a:lnTo>
                    <a:pt x="171" y="17"/>
                  </a:lnTo>
                  <a:lnTo>
                    <a:pt x="169" y="17"/>
                  </a:lnTo>
                  <a:lnTo>
                    <a:pt x="169" y="15"/>
                  </a:lnTo>
                  <a:lnTo>
                    <a:pt x="169" y="15"/>
                  </a:lnTo>
                  <a:lnTo>
                    <a:pt x="169" y="13"/>
                  </a:lnTo>
                  <a:lnTo>
                    <a:pt x="169" y="13"/>
                  </a:lnTo>
                  <a:lnTo>
                    <a:pt x="169" y="11"/>
                  </a:lnTo>
                  <a:lnTo>
                    <a:pt x="169" y="9"/>
                  </a:lnTo>
                  <a:lnTo>
                    <a:pt x="169" y="9"/>
                  </a:lnTo>
                  <a:lnTo>
                    <a:pt x="169" y="7"/>
                  </a:lnTo>
                  <a:lnTo>
                    <a:pt x="169" y="7"/>
                  </a:lnTo>
                  <a:lnTo>
                    <a:pt x="168" y="5"/>
                  </a:lnTo>
                  <a:lnTo>
                    <a:pt x="166" y="5"/>
                  </a:lnTo>
                  <a:lnTo>
                    <a:pt x="166" y="5"/>
                  </a:lnTo>
                  <a:lnTo>
                    <a:pt x="164" y="7"/>
                  </a:lnTo>
                  <a:lnTo>
                    <a:pt x="164" y="9"/>
                  </a:lnTo>
                  <a:lnTo>
                    <a:pt x="164" y="9"/>
                  </a:lnTo>
                  <a:lnTo>
                    <a:pt x="162" y="11"/>
                  </a:lnTo>
                  <a:lnTo>
                    <a:pt x="160" y="13"/>
                  </a:lnTo>
                  <a:lnTo>
                    <a:pt x="158" y="15"/>
                  </a:lnTo>
                  <a:lnTo>
                    <a:pt x="156" y="19"/>
                  </a:lnTo>
                  <a:lnTo>
                    <a:pt x="156" y="19"/>
                  </a:lnTo>
                  <a:lnTo>
                    <a:pt x="154" y="21"/>
                  </a:lnTo>
                  <a:lnTo>
                    <a:pt x="154" y="21"/>
                  </a:lnTo>
                  <a:lnTo>
                    <a:pt x="154" y="21"/>
                  </a:lnTo>
                  <a:lnTo>
                    <a:pt x="156" y="23"/>
                  </a:lnTo>
                  <a:lnTo>
                    <a:pt x="156" y="21"/>
                  </a:lnTo>
                  <a:lnTo>
                    <a:pt x="156" y="21"/>
                  </a:lnTo>
                  <a:lnTo>
                    <a:pt x="160" y="19"/>
                  </a:lnTo>
                  <a:lnTo>
                    <a:pt x="160" y="19"/>
                  </a:lnTo>
                  <a:lnTo>
                    <a:pt x="160" y="21"/>
                  </a:lnTo>
                  <a:lnTo>
                    <a:pt x="160" y="21"/>
                  </a:lnTo>
                  <a:lnTo>
                    <a:pt x="154" y="24"/>
                  </a:lnTo>
                  <a:lnTo>
                    <a:pt x="148" y="24"/>
                  </a:lnTo>
                  <a:lnTo>
                    <a:pt x="143" y="26"/>
                  </a:lnTo>
                  <a:lnTo>
                    <a:pt x="143" y="26"/>
                  </a:lnTo>
                  <a:lnTo>
                    <a:pt x="141" y="28"/>
                  </a:lnTo>
                  <a:lnTo>
                    <a:pt x="139" y="30"/>
                  </a:lnTo>
                  <a:lnTo>
                    <a:pt x="135" y="36"/>
                  </a:lnTo>
                  <a:lnTo>
                    <a:pt x="133" y="36"/>
                  </a:lnTo>
                  <a:lnTo>
                    <a:pt x="131" y="38"/>
                  </a:lnTo>
                  <a:lnTo>
                    <a:pt x="131" y="38"/>
                  </a:lnTo>
                  <a:lnTo>
                    <a:pt x="129" y="36"/>
                  </a:lnTo>
                  <a:lnTo>
                    <a:pt x="129" y="34"/>
                  </a:lnTo>
                  <a:lnTo>
                    <a:pt x="129" y="30"/>
                  </a:lnTo>
                  <a:lnTo>
                    <a:pt x="128" y="28"/>
                  </a:lnTo>
                  <a:lnTo>
                    <a:pt x="128" y="26"/>
                  </a:lnTo>
                  <a:lnTo>
                    <a:pt x="129" y="24"/>
                  </a:lnTo>
                  <a:lnTo>
                    <a:pt x="129" y="23"/>
                  </a:lnTo>
                  <a:lnTo>
                    <a:pt x="128" y="23"/>
                  </a:lnTo>
                  <a:lnTo>
                    <a:pt x="120" y="26"/>
                  </a:lnTo>
                  <a:lnTo>
                    <a:pt x="118" y="26"/>
                  </a:lnTo>
                  <a:lnTo>
                    <a:pt x="118" y="26"/>
                  </a:lnTo>
                  <a:lnTo>
                    <a:pt x="116" y="24"/>
                  </a:lnTo>
                  <a:lnTo>
                    <a:pt x="116" y="24"/>
                  </a:lnTo>
                  <a:lnTo>
                    <a:pt x="116" y="24"/>
                  </a:lnTo>
                  <a:lnTo>
                    <a:pt x="114" y="26"/>
                  </a:lnTo>
                  <a:lnTo>
                    <a:pt x="114" y="26"/>
                  </a:lnTo>
                  <a:lnTo>
                    <a:pt x="112" y="26"/>
                  </a:lnTo>
                  <a:lnTo>
                    <a:pt x="112" y="24"/>
                  </a:lnTo>
                  <a:lnTo>
                    <a:pt x="112" y="23"/>
                  </a:lnTo>
                  <a:lnTo>
                    <a:pt x="114" y="21"/>
                  </a:lnTo>
                  <a:lnTo>
                    <a:pt x="112" y="21"/>
                  </a:lnTo>
                  <a:lnTo>
                    <a:pt x="112" y="19"/>
                  </a:lnTo>
                  <a:lnTo>
                    <a:pt x="112" y="19"/>
                  </a:lnTo>
                  <a:lnTo>
                    <a:pt x="110" y="19"/>
                  </a:lnTo>
                  <a:lnTo>
                    <a:pt x="110" y="19"/>
                  </a:lnTo>
                  <a:lnTo>
                    <a:pt x="108" y="17"/>
                  </a:lnTo>
                  <a:lnTo>
                    <a:pt x="108" y="17"/>
                  </a:lnTo>
                  <a:lnTo>
                    <a:pt x="108" y="15"/>
                  </a:lnTo>
                  <a:lnTo>
                    <a:pt x="107" y="15"/>
                  </a:lnTo>
                  <a:lnTo>
                    <a:pt x="103" y="15"/>
                  </a:lnTo>
                  <a:lnTo>
                    <a:pt x="101" y="15"/>
                  </a:lnTo>
                  <a:lnTo>
                    <a:pt x="99" y="15"/>
                  </a:lnTo>
                  <a:lnTo>
                    <a:pt x="95" y="15"/>
                  </a:lnTo>
                  <a:lnTo>
                    <a:pt x="93" y="15"/>
                  </a:lnTo>
                  <a:lnTo>
                    <a:pt x="91" y="17"/>
                  </a:lnTo>
                  <a:lnTo>
                    <a:pt x="89" y="17"/>
                  </a:lnTo>
                  <a:lnTo>
                    <a:pt x="89" y="17"/>
                  </a:lnTo>
                  <a:lnTo>
                    <a:pt x="89" y="17"/>
                  </a:lnTo>
                  <a:lnTo>
                    <a:pt x="89" y="15"/>
                  </a:lnTo>
                  <a:lnTo>
                    <a:pt x="89" y="13"/>
                  </a:lnTo>
                  <a:lnTo>
                    <a:pt x="87" y="13"/>
                  </a:lnTo>
                  <a:lnTo>
                    <a:pt x="87" y="13"/>
                  </a:lnTo>
                  <a:lnTo>
                    <a:pt x="82" y="15"/>
                  </a:lnTo>
                  <a:lnTo>
                    <a:pt x="80" y="15"/>
                  </a:lnTo>
                  <a:lnTo>
                    <a:pt x="78" y="17"/>
                  </a:lnTo>
                  <a:lnTo>
                    <a:pt x="76" y="17"/>
                  </a:lnTo>
                  <a:lnTo>
                    <a:pt x="76" y="15"/>
                  </a:lnTo>
                  <a:lnTo>
                    <a:pt x="76" y="15"/>
                  </a:lnTo>
                  <a:lnTo>
                    <a:pt x="76" y="15"/>
                  </a:lnTo>
                  <a:lnTo>
                    <a:pt x="76" y="13"/>
                  </a:lnTo>
                  <a:lnTo>
                    <a:pt x="74" y="13"/>
                  </a:lnTo>
                  <a:lnTo>
                    <a:pt x="74" y="13"/>
                  </a:lnTo>
                  <a:lnTo>
                    <a:pt x="74" y="13"/>
                  </a:lnTo>
                  <a:lnTo>
                    <a:pt x="72" y="15"/>
                  </a:lnTo>
                  <a:lnTo>
                    <a:pt x="72" y="15"/>
                  </a:lnTo>
                  <a:lnTo>
                    <a:pt x="72" y="17"/>
                  </a:lnTo>
                  <a:lnTo>
                    <a:pt x="68" y="19"/>
                  </a:lnTo>
                  <a:lnTo>
                    <a:pt x="67" y="19"/>
                  </a:lnTo>
                  <a:lnTo>
                    <a:pt x="67" y="19"/>
                  </a:lnTo>
                  <a:lnTo>
                    <a:pt x="67" y="19"/>
                  </a:lnTo>
                  <a:lnTo>
                    <a:pt x="67" y="17"/>
                  </a:lnTo>
                  <a:lnTo>
                    <a:pt x="68" y="17"/>
                  </a:lnTo>
                  <a:lnTo>
                    <a:pt x="68" y="15"/>
                  </a:lnTo>
                  <a:lnTo>
                    <a:pt x="68" y="13"/>
                  </a:lnTo>
                  <a:lnTo>
                    <a:pt x="68" y="13"/>
                  </a:lnTo>
                  <a:lnTo>
                    <a:pt x="68" y="11"/>
                  </a:lnTo>
                  <a:lnTo>
                    <a:pt x="67" y="9"/>
                  </a:lnTo>
                  <a:lnTo>
                    <a:pt x="65" y="9"/>
                  </a:lnTo>
                  <a:lnTo>
                    <a:pt x="63" y="9"/>
                  </a:lnTo>
                  <a:lnTo>
                    <a:pt x="63" y="9"/>
                  </a:lnTo>
                  <a:lnTo>
                    <a:pt x="61" y="9"/>
                  </a:lnTo>
                  <a:lnTo>
                    <a:pt x="59" y="9"/>
                  </a:lnTo>
                  <a:lnTo>
                    <a:pt x="55" y="7"/>
                  </a:lnTo>
                  <a:lnTo>
                    <a:pt x="53" y="7"/>
                  </a:lnTo>
                  <a:lnTo>
                    <a:pt x="53" y="7"/>
                  </a:lnTo>
                  <a:lnTo>
                    <a:pt x="51" y="9"/>
                  </a:lnTo>
                  <a:lnTo>
                    <a:pt x="49" y="11"/>
                  </a:lnTo>
                  <a:lnTo>
                    <a:pt x="49" y="11"/>
                  </a:lnTo>
                  <a:lnTo>
                    <a:pt x="47" y="11"/>
                  </a:lnTo>
                  <a:lnTo>
                    <a:pt x="46" y="11"/>
                  </a:lnTo>
                  <a:lnTo>
                    <a:pt x="44" y="13"/>
                  </a:lnTo>
                  <a:lnTo>
                    <a:pt x="38" y="13"/>
                  </a:lnTo>
                  <a:lnTo>
                    <a:pt x="30" y="13"/>
                  </a:lnTo>
                  <a:lnTo>
                    <a:pt x="28" y="15"/>
                  </a:lnTo>
                  <a:lnTo>
                    <a:pt x="28" y="15"/>
                  </a:lnTo>
                  <a:lnTo>
                    <a:pt x="27" y="17"/>
                  </a:lnTo>
                  <a:lnTo>
                    <a:pt x="23" y="21"/>
                  </a:lnTo>
                  <a:lnTo>
                    <a:pt x="23" y="21"/>
                  </a:lnTo>
                  <a:lnTo>
                    <a:pt x="21" y="23"/>
                  </a:lnTo>
                  <a:lnTo>
                    <a:pt x="21" y="24"/>
                  </a:lnTo>
                  <a:lnTo>
                    <a:pt x="21" y="24"/>
                  </a:lnTo>
                  <a:lnTo>
                    <a:pt x="17" y="28"/>
                  </a:lnTo>
                  <a:lnTo>
                    <a:pt x="17" y="28"/>
                  </a:lnTo>
                  <a:lnTo>
                    <a:pt x="15" y="30"/>
                  </a:lnTo>
                  <a:lnTo>
                    <a:pt x="15" y="32"/>
                  </a:lnTo>
                  <a:lnTo>
                    <a:pt x="15" y="34"/>
                  </a:lnTo>
                  <a:lnTo>
                    <a:pt x="15" y="34"/>
                  </a:lnTo>
                  <a:lnTo>
                    <a:pt x="15" y="34"/>
                  </a:lnTo>
                  <a:lnTo>
                    <a:pt x="13" y="36"/>
                  </a:lnTo>
                  <a:lnTo>
                    <a:pt x="13" y="38"/>
                  </a:lnTo>
                  <a:lnTo>
                    <a:pt x="13" y="40"/>
                  </a:lnTo>
                  <a:lnTo>
                    <a:pt x="13" y="40"/>
                  </a:lnTo>
                  <a:lnTo>
                    <a:pt x="13" y="42"/>
                  </a:lnTo>
                  <a:lnTo>
                    <a:pt x="13" y="43"/>
                  </a:lnTo>
                  <a:lnTo>
                    <a:pt x="13" y="45"/>
                  </a:lnTo>
                  <a:lnTo>
                    <a:pt x="15" y="45"/>
                  </a:lnTo>
                  <a:lnTo>
                    <a:pt x="15" y="47"/>
                  </a:lnTo>
                  <a:lnTo>
                    <a:pt x="17" y="49"/>
                  </a:lnTo>
                  <a:lnTo>
                    <a:pt x="19" y="49"/>
                  </a:lnTo>
                  <a:lnTo>
                    <a:pt x="19" y="49"/>
                  </a:lnTo>
                  <a:lnTo>
                    <a:pt x="19" y="51"/>
                  </a:lnTo>
                  <a:lnTo>
                    <a:pt x="19" y="51"/>
                  </a:lnTo>
                  <a:lnTo>
                    <a:pt x="17" y="53"/>
                  </a:lnTo>
                  <a:lnTo>
                    <a:pt x="17" y="53"/>
                  </a:lnTo>
                  <a:lnTo>
                    <a:pt x="17" y="53"/>
                  </a:lnTo>
                  <a:lnTo>
                    <a:pt x="15" y="55"/>
                  </a:lnTo>
                  <a:lnTo>
                    <a:pt x="13" y="55"/>
                  </a:lnTo>
                  <a:lnTo>
                    <a:pt x="11" y="55"/>
                  </a:lnTo>
                  <a:lnTo>
                    <a:pt x="9" y="55"/>
                  </a:lnTo>
                  <a:lnTo>
                    <a:pt x="9" y="57"/>
                  </a:lnTo>
                  <a:lnTo>
                    <a:pt x="9" y="59"/>
                  </a:lnTo>
                  <a:lnTo>
                    <a:pt x="9" y="61"/>
                  </a:lnTo>
                  <a:lnTo>
                    <a:pt x="7" y="62"/>
                  </a:lnTo>
                  <a:lnTo>
                    <a:pt x="7" y="64"/>
                  </a:lnTo>
                  <a:lnTo>
                    <a:pt x="7" y="64"/>
                  </a:lnTo>
                  <a:lnTo>
                    <a:pt x="7" y="64"/>
                  </a:lnTo>
                  <a:lnTo>
                    <a:pt x="4" y="66"/>
                  </a:lnTo>
                  <a:lnTo>
                    <a:pt x="0" y="66"/>
                  </a:lnTo>
                  <a:lnTo>
                    <a:pt x="0" y="70"/>
                  </a:lnTo>
                  <a:lnTo>
                    <a:pt x="0" y="70"/>
                  </a:lnTo>
                  <a:lnTo>
                    <a:pt x="0" y="74"/>
                  </a:lnTo>
                  <a:lnTo>
                    <a:pt x="0" y="78"/>
                  </a:lnTo>
                  <a:lnTo>
                    <a:pt x="0" y="81"/>
                  </a:lnTo>
                  <a:lnTo>
                    <a:pt x="2" y="83"/>
                  </a:lnTo>
                  <a:lnTo>
                    <a:pt x="4" y="83"/>
                  </a:lnTo>
                  <a:lnTo>
                    <a:pt x="6" y="81"/>
                  </a:lnTo>
                  <a:lnTo>
                    <a:pt x="9" y="81"/>
                  </a:lnTo>
                  <a:lnTo>
                    <a:pt x="30" y="91"/>
                  </a:lnTo>
                  <a:lnTo>
                    <a:pt x="44" y="93"/>
                  </a:lnTo>
                  <a:lnTo>
                    <a:pt x="51" y="97"/>
                  </a:lnTo>
                  <a:lnTo>
                    <a:pt x="55" y="97"/>
                  </a:lnTo>
                  <a:lnTo>
                    <a:pt x="65" y="95"/>
                  </a:lnTo>
                  <a:lnTo>
                    <a:pt x="72" y="95"/>
                  </a:lnTo>
                  <a:lnTo>
                    <a:pt x="76" y="95"/>
                  </a:lnTo>
                  <a:lnTo>
                    <a:pt x="76" y="95"/>
                  </a:lnTo>
                  <a:lnTo>
                    <a:pt x="78" y="95"/>
                  </a:lnTo>
                  <a:lnTo>
                    <a:pt x="80" y="95"/>
                  </a:lnTo>
                  <a:lnTo>
                    <a:pt x="84" y="97"/>
                  </a:lnTo>
                  <a:lnTo>
                    <a:pt x="84" y="97"/>
                  </a:lnTo>
                  <a:lnTo>
                    <a:pt x="86" y="95"/>
                  </a:lnTo>
                  <a:lnTo>
                    <a:pt x="86" y="95"/>
                  </a:lnTo>
                  <a:lnTo>
                    <a:pt x="86" y="95"/>
                  </a:lnTo>
                  <a:lnTo>
                    <a:pt x="87" y="95"/>
                  </a:lnTo>
                  <a:lnTo>
                    <a:pt x="89" y="95"/>
                  </a:lnTo>
                  <a:lnTo>
                    <a:pt x="89" y="97"/>
                  </a:lnTo>
                  <a:lnTo>
                    <a:pt x="91" y="97"/>
                  </a:lnTo>
                  <a:lnTo>
                    <a:pt x="93" y="97"/>
                  </a:lnTo>
                  <a:lnTo>
                    <a:pt x="105" y="95"/>
                  </a:lnTo>
                  <a:lnTo>
                    <a:pt x="105" y="95"/>
                  </a:lnTo>
                  <a:lnTo>
                    <a:pt x="108" y="95"/>
                  </a:lnTo>
                  <a:lnTo>
                    <a:pt x="124" y="93"/>
                  </a:lnTo>
                  <a:lnTo>
                    <a:pt x="128" y="93"/>
                  </a:lnTo>
                  <a:lnTo>
                    <a:pt x="129" y="93"/>
                  </a:lnTo>
                  <a:lnTo>
                    <a:pt x="131" y="91"/>
                  </a:lnTo>
                  <a:lnTo>
                    <a:pt x="131" y="91"/>
                  </a:lnTo>
                  <a:lnTo>
                    <a:pt x="137" y="93"/>
                  </a:lnTo>
                  <a:lnTo>
                    <a:pt x="150" y="97"/>
                  </a:lnTo>
                  <a:lnTo>
                    <a:pt x="154" y="99"/>
                  </a:lnTo>
                  <a:lnTo>
                    <a:pt x="154" y="99"/>
                  </a:lnTo>
                  <a:lnTo>
                    <a:pt x="156" y="97"/>
                  </a:lnTo>
                  <a:lnTo>
                    <a:pt x="158" y="97"/>
                  </a:lnTo>
                  <a:lnTo>
                    <a:pt x="158" y="97"/>
                  </a:lnTo>
                  <a:lnTo>
                    <a:pt x="160" y="95"/>
                  </a:lnTo>
                  <a:lnTo>
                    <a:pt x="162" y="95"/>
                  </a:lnTo>
                  <a:lnTo>
                    <a:pt x="162" y="95"/>
                  </a:lnTo>
                  <a:lnTo>
                    <a:pt x="164" y="97"/>
                  </a:lnTo>
                  <a:lnTo>
                    <a:pt x="164" y="97"/>
                  </a:lnTo>
                  <a:lnTo>
                    <a:pt x="166" y="99"/>
                  </a:lnTo>
                  <a:lnTo>
                    <a:pt x="168" y="99"/>
                  </a:lnTo>
                  <a:lnTo>
                    <a:pt x="169" y="99"/>
                  </a:lnTo>
                  <a:lnTo>
                    <a:pt x="171" y="99"/>
                  </a:lnTo>
                  <a:lnTo>
                    <a:pt x="173" y="99"/>
                  </a:lnTo>
                  <a:lnTo>
                    <a:pt x="173" y="97"/>
                  </a:lnTo>
                  <a:lnTo>
                    <a:pt x="173" y="97"/>
                  </a:lnTo>
                  <a:lnTo>
                    <a:pt x="175" y="97"/>
                  </a:lnTo>
                  <a:lnTo>
                    <a:pt x="175" y="97"/>
                  </a:lnTo>
                  <a:lnTo>
                    <a:pt x="177" y="97"/>
                  </a:lnTo>
                  <a:lnTo>
                    <a:pt x="177" y="95"/>
                  </a:lnTo>
                  <a:lnTo>
                    <a:pt x="177" y="95"/>
                  </a:lnTo>
                  <a:lnTo>
                    <a:pt x="179" y="95"/>
                  </a:lnTo>
                  <a:lnTo>
                    <a:pt x="183" y="95"/>
                  </a:lnTo>
                  <a:lnTo>
                    <a:pt x="194" y="93"/>
                  </a:lnTo>
                  <a:lnTo>
                    <a:pt x="198" y="95"/>
                  </a:lnTo>
                  <a:lnTo>
                    <a:pt x="200" y="93"/>
                  </a:lnTo>
                  <a:lnTo>
                    <a:pt x="204" y="93"/>
                  </a:lnTo>
                  <a:lnTo>
                    <a:pt x="206" y="93"/>
                  </a:lnTo>
                  <a:lnTo>
                    <a:pt x="209" y="95"/>
                  </a:lnTo>
                  <a:lnTo>
                    <a:pt x="211" y="95"/>
                  </a:lnTo>
                  <a:lnTo>
                    <a:pt x="211" y="95"/>
                  </a:lnTo>
                  <a:lnTo>
                    <a:pt x="213" y="97"/>
                  </a:lnTo>
                  <a:lnTo>
                    <a:pt x="213" y="97"/>
                  </a:lnTo>
                  <a:lnTo>
                    <a:pt x="213" y="99"/>
                  </a:lnTo>
                  <a:lnTo>
                    <a:pt x="215" y="99"/>
                  </a:lnTo>
                  <a:lnTo>
                    <a:pt x="217" y="99"/>
                  </a:lnTo>
                  <a:lnTo>
                    <a:pt x="217" y="99"/>
                  </a:lnTo>
                  <a:lnTo>
                    <a:pt x="217" y="99"/>
                  </a:lnTo>
                  <a:lnTo>
                    <a:pt x="219" y="99"/>
                  </a:lnTo>
                  <a:lnTo>
                    <a:pt x="219" y="99"/>
                  </a:lnTo>
                  <a:lnTo>
                    <a:pt x="221" y="100"/>
                  </a:lnTo>
                  <a:lnTo>
                    <a:pt x="223" y="102"/>
                  </a:lnTo>
                  <a:lnTo>
                    <a:pt x="223" y="102"/>
                  </a:lnTo>
                  <a:lnTo>
                    <a:pt x="225" y="102"/>
                  </a:lnTo>
                  <a:lnTo>
                    <a:pt x="227" y="104"/>
                  </a:lnTo>
                  <a:lnTo>
                    <a:pt x="230" y="104"/>
                  </a:lnTo>
                  <a:lnTo>
                    <a:pt x="232" y="104"/>
                  </a:lnTo>
                  <a:lnTo>
                    <a:pt x="232" y="106"/>
                  </a:lnTo>
                  <a:lnTo>
                    <a:pt x="236" y="108"/>
                  </a:lnTo>
                  <a:lnTo>
                    <a:pt x="238" y="110"/>
                  </a:lnTo>
                  <a:lnTo>
                    <a:pt x="238" y="112"/>
                  </a:lnTo>
                  <a:lnTo>
                    <a:pt x="240" y="108"/>
                  </a:lnTo>
                  <a:lnTo>
                    <a:pt x="244" y="104"/>
                  </a:lnTo>
                  <a:lnTo>
                    <a:pt x="248" y="102"/>
                  </a:lnTo>
                  <a:lnTo>
                    <a:pt x="249" y="100"/>
                  </a:lnTo>
                  <a:lnTo>
                    <a:pt x="251" y="99"/>
                  </a:lnTo>
                  <a:lnTo>
                    <a:pt x="251" y="99"/>
                  </a:lnTo>
                  <a:lnTo>
                    <a:pt x="253" y="99"/>
                  </a:lnTo>
                  <a:lnTo>
                    <a:pt x="253" y="99"/>
                  </a:lnTo>
                  <a:lnTo>
                    <a:pt x="255" y="99"/>
                  </a:lnTo>
                  <a:lnTo>
                    <a:pt x="255" y="97"/>
                  </a:lnTo>
                  <a:lnTo>
                    <a:pt x="255" y="97"/>
                  </a:lnTo>
                  <a:lnTo>
                    <a:pt x="255" y="97"/>
                  </a:lnTo>
                  <a:lnTo>
                    <a:pt x="257" y="97"/>
                  </a:lnTo>
                  <a:lnTo>
                    <a:pt x="259" y="97"/>
                  </a:lnTo>
                  <a:lnTo>
                    <a:pt x="261" y="97"/>
                  </a:lnTo>
                  <a:lnTo>
                    <a:pt x="263" y="97"/>
                  </a:lnTo>
                  <a:lnTo>
                    <a:pt x="265" y="93"/>
                  </a:lnTo>
                  <a:lnTo>
                    <a:pt x="276" y="89"/>
                  </a:lnTo>
                  <a:lnTo>
                    <a:pt x="278" y="87"/>
                  </a:lnTo>
                  <a:lnTo>
                    <a:pt x="278" y="8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2" name="Freeform 34">
              <a:extLst>
                <a:ext uri="{FF2B5EF4-FFF2-40B4-BE49-F238E27FC236}">
                  <a16:creationId xmlns:a16="http://schemas.microsoft.com/office/drawing/2014/main" id="{4E116FA8-9F73-6D0F-D8B8-10F451346CC0}"/>
                </a:ext>
              </a:extLst>
            </p:cNvPr>
            <p:cNvSpPr>
              <a:spLocks/>
            </p:cNvSpPr>
            <p:nvPr/>
          </p:nvSpPr>
          <p:spPr bwMode="auto">
            <a:xfrm>
              <a:off x="7416800" y="3352013"/>
              <a:ext cx="254000" cy="295275"/>
            </a:xfrm>
            <a:custGeom>
              <a:avLst/>
              <a:gdLst>
                <a:gd name="T0" fmla="*/ 145 w 160"/>
                <a:gd name="T1" fmla="*/ 49 h 186"/>
                <a:gd name="T2" fmla="*/ 151 w 160"/>
                <a:gd name="T3" fmla="*/ 24 h 186"/>
                <a:gd name="T4" fmla="*/ 145 w 160"/>
                <a:gd name="T5" fmla="*/ 11 h 186"/>
                <a:gd name="T6" fmla="*/ 147 w 160"/>
                <a:gd name="T7" fmla="*/ 0 h 186"/>
                <a:gd name="T8" fmla="*/ 134 w 160"/>
                <a:gd name="T9" fmla="*/ 11 h 186"/>
                <a:gd name="T10" fmla="*/ 115 w 160"/>
                <a:gd name="T11" fmla="*/ 19 h 186"/>
                <a:gd name="T12" fmla="*/ 111 w 160"/>
                <a:gd name="T13" fmla="*/ 17 h 186"/>
                <a:gd name="T14" fmla="*/ 101 w 160"/>
                <a:gd name="T15" fmla="*/ 17 h 186"/>
                <a:gd name="T16" fmla="*/ 92 w 160"/>
                <a:gd name="T17" fmla="*/ 13 h 186"/>
                <a:gd name="T18" fmla="*/ 73 w 160"/>
                <a:gd name="T19" fmla="*/ 17 h 186"/>
                <a:gd name="T20" fmla="*/ 73 w 160"/>
                <a:gd name="T21" fmla="*/ 19 h 186"/>
                <a:gd name="T22" fmla="*/ 77 w 160"/>
                <a:gd name="T23" fmla="*/ 22 h 186"/>
                <a:gd name="T24" fmla="*/ 65 w 160"/>
                <a:gd name="T25" fmla="*/ 38 h 186"/>
                <a:gd name="T26" fmla="*/ 56 w 160"/>
                <a:gd name="T27" fmla="*/ 47 h 186"/>
                <a:gd name="T28" fmla="*/ 50 w 160"/>
                <a:gd name="T29" fmla="*/ 43 h 186"/>
                <a:gd name="T30" fmla="*/ 46 w 160"/>
                <a:gd name="T31" fmla="*/ 41 h 186"/>
                <a:gd name="T32" fmla="*/ 44 w 160"/>
                <a:gd name="T33" fmla="*/ 39 h 186"/>
                <a:gd name="T34" fmla="*/ 33 w 160"/>
                <a:gd name="T35" fmla="*/ 58 h 186"/>
                <a:gd name="T36" fmla="*/ 29 w 160"/>
                <a:gd name="T37" fmla="*/ 64 h 186"/>
                <a:gd name="T38" fmla="*/ 27 w 160"/>
                <a:gd name="T39" fmla="*/ 68 h 186"/>
                <a:gd name="T40" fmla="*/ 25 w 160"/>
                <a:gd name="T41" fmla="*/ 74 h 186"/>
                <a:gd name="T42" fmla="*/ 25 w 160"/>
                <a:gd name="T43" fmla="*/ 78 h 186"/>
                <a:gd name="T44" fmla="*/ 21 w 160"/>
                <a:gd name="T45" fmla="*/ 89 h 186"/>
                <a:gd name="T46" fmla="*/ 16 w 160"/>
                <a:gd name="T47" fmla="*/ 87 h 186"/>
                <a:gd name="T48" fmla="*/ 14 w 160"/>
                <a:gd name="T49" fmla="*/ 89 h 186"/>
                <a:gd name="T50" fmla="*/ 10 w 160"/>
                <a:gd name="T51" fmla="*/ 98 h 186"/>
                <a:gd name="T52" fmla="*/ 12 w 160"/>
                <a:gd name="T53" fmla="*/ 104 h 186"/>
                <a:gd name="T54" fmla="*/ 8 w 160"/>
                <a:gd name="T55" fmla="*/ 114 h 186"/>
                <a:gd name="T56" fmla="*/ 4 w 160"/>
                <a:gd name="T57" fmla="*/ 131 h 186"/>
                <a:gd name="T58" fmla="*/ 4 w 160"/>
                <a:gd name="T59" fmla="*/ 140 h 186"/>
                <a:gd name="T60" fmla="*/ 2 w 160"/>
                <a:gd name="T61" fmla="*/ 150 h 186"/>
                <a:gd name="T62" fmla="*/ 2 w 160"/>
                <a:gd name="T63" fmla="*/ 157 h 186"/>
                <a:gd name="T64" fmla="*/ 0 w 160"/>
                <a:gd name="T65" fmla="*/ 161 h 186"/>
                <a:gd name="T66" fmla="*/ 12 w 160"/>
                <a:gd name="T67" fmla="*/ 165 h 186"/>
                <a:gd name="T68" fmla="*/ 16 w 160"/>
                <a:gd name="T69" fmla="*/ 165 h 186"/>
                <a:gd name="T70" fmla="*/ 17 w 160"/>
                <a:gd name="T71" fmla="*/ 167 h 186"/>
                <a:gd name="T72" fmla="*/ 23 w 160"/>
                <a:gd name="T73" fmla="*/ 165 h 186"/>
                <a:gd name="T74" fmla="*/ 25 w 160"/>
                <a:gd name="T75" fmla="*/ 167 h 186"/>
                <a:gd name="T76" fmla="*/ 29 w 160"/>
                <a:gd name="T77" fmla="*/ 167 h 186"/>
                <a:gd name="T78" fmla="*/ 35 w 160"/>
                <a:gd name="T79" fmla="*/ 161 h 186"/>
                <a:gd name="T80" fmla="*/ 44 w 160"/>
                <a:gd name="T81" fmla="*/ 175 h 186"/>
                <a:gd name="T82" fmla="*/ 54 w 160"/>
                <a:gd name="T83" fmla="*/ 173 h 186"/>
                <a:gd name="T84" fmla="*/ 56 w 160"/>
                <a:gd name="T85" fmla="*/ 173 h 186"/>
                <a:gd name="T86" fmla="*/ 75 w 160"/>
                <a:gd name="T87" fmla="*/ 176 h 186"/>
                <a:gd name="T88" fmla="*/ 94 w 160"/>
                <a:gd name="T89" fmla="*/ 180 h 186"/>
                <a:gd name="T90" fmla="*/ 107 w 160"/>
                <a:gd name="T91" fmla="*/ 186 h 186"/>
                <a:gd name="T92" fmla="*/ 113 w 160"/>
                <a:gd name="T93" fmla="*/ 171 h 186"/>
                <a:gd name="T94" fmla="*/ 115 w 160"/>
                <a:gd name="T95" fmla="*/ 159 h 186"/>
                <a:gd name="T96" fmla="*/ 122 w 160"/>
                <a:gd name="T97" fmla="*/ 136 h 186"/>
                <a:gd name="T98" fmla="*/ 126 w 160"/>
                <a:gd name="T99" fmla="*/ 131 h 186"/>
                <a:gd name="T100" fmla="*/ 132 w 160"/>
                <a:gd name="T101" fmla="*/ 121 h 186"/>
                <a:gd name="T102" fmla="*/ 141 w 160"/>
                <a:gd name="T103" fmla="*/ 100 h 186"/>
                <a:gd name="T104" fmla="*/ 149 w 160"/>
                <a:gd name="T105" fmla="*/ 97 h 186"/>
                <a:gd name="T106" fmla="*/ 155 w 160"/>
                <a:gd name="T107" fmla="*/ 8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86">
                  <a:moveTo>
                    <a:pt x="160" y="58"/>
                  </a:moveTo>
                  <a:lnTo>
                    <a:pt x="158" y="55"/>
                  </a:lnTo>
                  <a:lnTo>
                    <a:pt x="155" y="55"/>
                  </a:lnTo>
                  <a:lnTo>
                    <a:pt x="151" y="53"/>
                  </a:lnTo>
                  <a:lnTo>
                    <a:pt x="147" y="53"/>
                  </a:lnTo>
                  <a:lnTo>
                    <a:pt x="145" y="49"/>
                  </a:lnTo>
                  <a:lnTo>
                    <a:pt x="145" y="45"/>
                  </a:lnTo>
                  <a:lnTo>
                    <a:pt x="151" y="30"/>
                  </a:lnTo>
                  <a:lnTo>
                    <a:pt x="153" y="26"/>
                  </a:lnTo>
                  <a:lnTo>
                    <a:pt x="155" y="24"/>
                  </a:lnTo>
                  <a:lnTo>
                    <a:pt x="155" y="24"/>
                  </a:lnTo>
                  <a:lnTo>
                    <a:pt x="151" y="24"/>
                  </a:lnTo>
                  <a:lnTo>
                    <a:pt x="149" y="22"/>
                  </a:lnTo>
                  <a:lnTo>
                    <a:pt x="145" y="20"/>
                  </a:lnTo>
                  <a:lnTo>
                    <a:pt x="145" y="19"/>
                  </a:lnTo>
                  <a:lnTo>
                    <a:pt x="143" y="17"/>
                  </a:lnTo>
                  <a:lnTo>
                    <a:pt x="143" y="17"/>
                  </a:lnTo>
                  <a:lnTo>
                    <a:pt x="145" y="11"/>
                  </a:lnTo>
                  <a:lnTo>
                    <a:pt x="147" y="9"/>
                  </a:lnTo>
                  <a:lnTo>
                    <a:pt x="147" y="7"/>
                  </a:lnTo>
                  <a:lnTo>
                    <a:pt x="147" y="3"/>
                  </a:lnTo>
                  <a:lnTo>
                    <a:pt x="147" y="1"/>
                  </a:lnTo>
                  <a:lnTo>
                    <a:pt x="147" y="1"/>
                  </a:lnTo>
                  <a:lnTo>
                    <a:pt x="147" y="0"/>
                  </a:lnTo>
                  <a:lnTo>
                    <a:pt x="147" y="0"/>
                  </a:lnTo>
                  <a:lnTo>
                    <a:pt x="147" y="0"/>
                  </a:lnTo>
                  <a:lnTo>
                    <a:pt x="139" y="5"/>
                  </a:lnTo>
                  <a:lnTo>
                    <a:pt x="137" y="7"/>
                  </a:lnTo>
                  <a:lnTo>
                    <a:pt x="134" y="9"/>
                  </a:lnTo>
                  <a:lnTo>
                    <a:pt x="134" y="11"/>
                  </a:lnTo>
                  <a:lnTo>
                    <a:pt x="132" y="13"/>
                  </a:lnTo>
                  <a:lnTo>
                    <a:pt x="130" y="15"/>
                  </a:lnTo>
                  <a:lnTo>
                    <a:pt x="128" y="17"/>
                  </a:lnTo>
                  <a:lnTo>
                    <a:pt x="124" y="17"/>
                  </a:lnTo>
                  <a:lnTo>
                    <a:pt x="118" y="19"/>
                  </a:lnTo>
                  <a:lnTo>
                    <a:pt x="115" y="19"/>
                  </a:lnTo>
                  <a:lnTo>
                    <a:pt x="113" y="19"/>
                  </a:lnTo>
                  <a:lnTo>
                    <a:pt x="111" y="19"/>
                  </a:lnTo>
                  <a:lnTo>
                    <a:pt x="111" y="19"/>
                  </a:lnTo>
                  <a:lnTo>
                    <a:pt x="111" y="19"/>
                  </a:lnTo>
                  <a:lnTo>
                    <a:pt x="111" y="19"/>
                  </a:lnTo>
                  <a:lnTo>
                    <a:pt x="111" y="17"/>
                  </a:lnTo>
                  <a:lnTo>
                    <a:pt x="109" y="17"/>
                  </a:lnTo>
                  <a:lnTo>
                    <a:pt x="109" y="17"/>
                  </a:lnTo>
                  <a:lnTo>
                    <a:pt x="105" y="17"/>
                  </a:lnTo>
                  <a:lnTo>
                    <a:pt x="105" y="17"/>
                  </a:lnTo>
                  <a:lnTo>
                    <a:pt x="103" y="17"/>
                  </a:lnTo>
                  <a:lnTo>
                    <a:pt x="101" y="17"/>
                  </a:lnTo>
                  <a:lnTo>
                    <a:pt x="101" y="17"/>
                  </a:lnTo>
                  <a:lnTo>
                    <a:pt x="99" y="15"/>
                  </a:lnTo>
                  <a:lnTo>
                    <a:pt x="97" y="13"/>
                  </a:lnTo>
                  <a:lnTo>
                    <a:pt x="97" y="13"/>
                  </a:lnTo>
                  <a:lnTo>
                    <a:pt x="94" y="13"/>
                  </a:lnTo>
                  <a:lnTo>
                    <a:pt x="92" y="13"/>
                  </a:lnTo>
                  <a:lnTo>
                    <a:pt x="88" y="13"/>
                  </a:lnTo>
                  <a:lnTo>
                    <a:pt x="77" y="15"/>
                  </a:lnTo>
                  <a:lnTo>
                    <a:pt x="75" y="15"/>
                  </a:lnTo>
                  <a:lnTo>
                    <a:pt x="73" y="15"/>
                  </a:lnTo>
                  <a:lnTo>
                    <a:pt x="73" y="17"/>
                  </a:lnTo>
                  <a:lnTo>
                    <a:pt x="73" y="17"/>
                  </a:lnTo>
                  <a:lnTo>
                    <a:pt x="73" y="19"/>
                  </a:lnTo>
                  <a:lnTo>
                    <a:pt x="73" y="19"/>
                  </a:lnTo>
                  <a:lnTo>
                    <a:pt x="73" y="19"/>
                  </a:lnTo>
                  <a:lnTo>
                    <a:pt x="73" y="19"/>
                  </a:lnTo>
                  <a:lnTo>
                    <a:pt x="73" y="19"/>
                  </a:lnTo>
                  <a:lnTo>
                    <a:pt x="73" y="19"/>
                  </a:lnTo>
                  <a:lnTo>
                    <a:pt x="75" y="20"/>
                  </a:lnTo>
                  <a:lnTo>
                    <a:pt x="77" y="20"/>
                  </a:lnTo>
                  <a:lnTo>
                    <a:pt x="77" y="20"/>
                  </a:lnTo>
                  <a:lnTo>
                    <a:pt x="77" y="22"/>
                  </a:lnTo>
                  <a:lnTo>
                    <a:pt x="77" y="22"/>
                  </a:lnTo>
                  <a:lnTo>
                    <a:pt x="77" y="22"/>
                  </a:lnTo>
                  <a:lnTo>
                    <a:pt x="77" y="24"/>
                  </a:lnTo>
                  <a:lnTo>
                    <a:pt x="69" y="32"/>
                  </a:lnTo>
                  <a:lnTo>
                    <a:pt x="67" y="34"/>
                  </a:lnTo>
                  <a:lnTo>
                    <a:pt x="65" y="36"/>
                  </a:lnTo>
                  <a:lnTo>
                    <a:pt x="65" y="38"/>
                  </a:lnTo>
                  <a:lnTo>
                    <a:pt x="65" y="38"/>
                  </a:lnTo>
                  <a:lnTo>
                    <a:pt x="61" y="43"/>
                  </a:lnTo>
                  <a:lnTo>
                    <a:pt x="59" y="47"/>
                  </a:lnTo>
                  <a:lnTo>
                    <a:pt x="59" y="49"/>
                  </a:lnTo>
                  <a:lnTo>
                    <a:pt x="57" y="49"/>
                  </a:lnTo>
                  <a:lnTo>
                    <a:pt x="57" y="49"/>
                  </a:lnTo>
                  <a:lnTo>
                    <a:pt x="56" y="47"/>
                  </a:lnTo>
                  <a:lnTo>
                    <a:pt x="56" y="45"/>
                  </a:lnTo>
                  <a:lnTo>
                    <a:pt x="54" y="45"/>
                  </a:lnTo>
                  <a:lnTo>
                    <a:pt x="54" y="45"/>
                  </a:lnTo>
                  <a:lnTo>
                    <a:pt x="52" y="43"/>
                  </a:lnTo>
                  <a:lnTo>
                    <a:pt x="50" y="43"/>
                  </a:lnTo>
                  <a:lnTo>
                    <a:pt x="50" y="43"/>
                  </a:lnTo>
                  <a:lnTo>
                    <a:pt x="50" y="43"/>
                  </a:lnTo>
                  <a:lnTo>
                    <a:pt x="48" y="41"/>
                  </a:lnTo>
                  <a:lnTo>
                    <a:pt x="48" y="41"/>
                  </a:lnTo>
                  <a:lnTo>
                    <a:pt x="48" y="41"/>
                  </a:lnTo>
                  <a:lnTo>
                    <a:pt x="48" y="41"/>
                  </a:lnTo>
                  <a:lnTo>
                    <a:pt x="46" y="41"/>
                  </a:lnTo>
                  <a:lnTo>
                    <a:pt x="46" y="41"/>
                  </a:lnTo>
                  <a:lnTo>
                    <a:pt x="46" y="41"/>
                  </a:lnTo>
                  <a:lnTo>
                    <a:pt x="44" y="39"/>
                  </a:lnTo>
                  <a:lnTo>
                    <a:pt x="44" y="39"/>
                  </a:lnTo>
                  <a:lnTo>
                    <a:pt x="44" y="39"/>
                  </a:lnTo>
                  <a:lnTo>
                    <a:pt x="44" y="39"/>
                  </a:lnTo>
                  <a:lnTo>
                    <a:pt x="40" y="41"/>
                  </a:lnTo>
                  <a:lnTo>
                    <a:pt x="40" y="43"/>
                  </a:lnTo>
                  <a:lnTo>
                    <a:pt x="38" y="45"/>
                  </a:lnTo>
                  <a:lnTo>
                    <a:pt x="36" y="51"/>
                  </a:lnTo>
                  <a:lnTo>
                    <a:pt x="35" y="57"/>
                  </a:lnTo>
                  <a:lnTo>
                    <a:pt x="33" y="58"/>
                  </a:lnTo>
                  <a:lnTo>
                    <a:pt x="33" y="60"/>
                  </a:lnTo>
                  <a:lnTo>
                    <a:pt x="31" y="60"/>
                  </a:lnTo>
                  <a:lnTo>
                    <a:pt x="31" y="62"/>
                  </a:lnTo>
                  <a:lnTo>
                    <a:pt x="31" y="62"/>
                  </a:lnTo>
                  <a:lnTo>
                    <a:pt x="31" y="64"/>
                  </a:lnTo>
                  <a:lnTo>
                    <a:pt x="29" y="64"/>
                  </a:lnTo>
                  <a:lnTo>
                    <a:pt x="29" y="64"/>
                  </a:lnTo>
                  <a:lnTo>
                    <a:pt x="27" y="64"/>
                  </a:lnTo>
                  <a:lnTo>
                    <a:pt x="27" y="64"/>
                  </a:lnTo>
                  <a:lnTo>
                    <a:pt x="27" y="66"/>
                  </a:lnTo>
                  <a:lnTo>
                    <a:pt x="27" y="66"/>
                  </a:lnTo>
                  <a:lnTo>
                    <a:pt x="27" y="68"/>
                  </a:lnTo>
                  <a:lnTo>
                    <a:pt x="27" y="72"/>
                  </a:lnTo>
                  <a:lnTo>
                    <a:pt x="27" y="72"/>
                  </a:lnTo>
                  <a:lnTo>
                    <a:pt x="27" y="74"/>
                  </a:lnTo>
                  <a:lnTo>
                    <a:pt x="27" y="74"/>
                  </a:lnTo>
                  <a:lnTo>
                    <a:pt x="25" y="74"/>
                  </a:lnTo>
                  <a:lnTo>
                    <a:pt x="25" y="74"/>
                  </a:lnTo>
                  <a:lnTo>
                    <a:pt x="25" y="74"/>
                  </a:lnTo>
                  <a:lnTo>
                    <a:pt x="25" y="76"/>
                  </a:lnTo>
                  <a:lnTo>
                    <a:pt x="25" y="76"/>
                  </a:lnTo>
                  <a:lnTo>
                    <a:pt x="25" y="76"/>
                  </a:lnTo>
                  <a:lnTo>
                    <a:pt x="25" y="78"/>
                  </a:lnTo>
                  <a:lnTo>
                    <a:pt x="25" y="78"/>
                  </a:lnTo>
                  <a:lnTo>
                    <a:pt x="25" y="78"/>
                  </a:lnTo>
                  <a:lnTo>
                    <a:pt x="23" y="81"/>
                  </a:lnTo>
                  <a:lnTo>
                    <a:pt x="21" y="85"/>
                  </a:lnTo>
                  <a:lnTo>
                    <a:pt x="21" y="87"/>
                  </a:lnTo>
                  <a:lnTo>
                    <a:pt x="21" y="87"/>
                  </a:lnTo>
                  <a:lnTo>
                    <a:pt x="21" y="89"/>
                  </a:lnTo>
                  <a:lnTo>
                    <a:pt x="19" y="89"/>
                  </a:lnTo>
                  <a:lnTo>
                    <a:pt x="19" y="89"/>
                  </a:lnTo>
                  <a:lnTo>
                    <a:pt x="17" y="89"/>
                  </a:lnTo>
                  <a:lnTo>
                    <a:pt x="17" y="89"/>
                  </a:lnTo>
                  <a:lnTo>
                    <a:pt x="16" y="87"/>
                  </a:lnTo>
                  <a:lnTo>
                    <a:pt x="16" y="87"/>
                  </a:lnTo>
                  <a:lnTo>
                    <a:pt x="16" y="87"/>
                  </a:lnTo>
                  <a:lnTo>
                    <a:pt x="16" y="87"/>
                  </a:lnTo>
                  <a:lnTo>
                    <a:pt x="16" y="87"/>
                  </a:lnTo>
                  <a:lnTo>
                    <a:pt x="14" y="89"/>
                  </a:lnTo>
                  <a:lnTo>
                    <a:pt x="14" y="89"/>
                  </a:lnTo>
                  <a:lnTo>
                    <a:pt x="14" y="89"/>
                  </a:lnTo>
                  <a:lnTo>
                    <a:pt x="14" y="91"/>
                  </a:lnTo>
                  <a:lnTo>
                    <a:pt x="12" y="93"/>
                  </a:lnTo>
                  <a:lnTo>
                    <a:pt x="12" y="97"/>
                  </a:lnTo>
                  <a:lnTo>
                    <a:pt x="12" y="97"/>
                  </a:lnTo>
                  <a:lnTo>
                    <a:pt x="10" y="98"/>
                  </a:lnTo>
                  <a:lnTo>
                    <a:pt x="10" y="98"/>
                  </a:lnTo>
                  <a:lnTo>
                    <a:pt x="10" y="100"/>
                  </a:lnTo>
                  <a:lnTo>
                    <a:pt x="10" y="100"/>
                  </a:lnTo>
                  <a:lnTo>
                    <a:pt x="10" y="102"/>
                  </a:lnTo>
                  <a:lnTo>
                    <a:pt x="12" y="102"/>
                  </a:lnTo>
                  <a:lnTo>
                    <a:pt x="12" y="102"/>
                  </a:lnTo>
                  <a:lnTo>
                    <a:pt x="12" y="104"/>
                  </a:lnTo>
                  <a:lnTo>
                    <a:pt x="10" y="108"/>
                  </a:lnTo>
                  <a:lnTo>
                    <a:pt x="12" y="112"/>
                  </a:lnTo>
                  <a:lnTo>
                    <a:pt x="12" y="112"/>
                  </a:lnTo>
                  <a:lnTo>
                    <a:pt x="10" y="114"/>
                  </a:lnTo>
                  <a:lnTo>
                    <a:pt x="8" y="114"/>
                  </a:lnTo>
                  <a:lnTo>
                    <a:pt x="8" y="114"/>
                  </a:lnTo>
                  <a:lnTo>
                    <a:pt x="6" y="117"/>
                  </a:lnTo>
                  <a:lnTo>
                    <a:pt x="6" y="125"/>
                  </a:lnTo>
                  <a:lnTo>
                    <a:pt x="6" y="129"/>
                  </a:lnTo>
                  <a:lnTo>
                    <a:pt x="2" y="129"/>
                  </a:lnTo>
                  <a:lnTo>
                    <a:pt x="4" y="131"/>
                  </a:lnTo>
                  <a:lnTo>
                    <a:pt x="4" y="131"/>
                  </a:lnTo>
                  <a:lnTo>
                    <a:pt x="4" y="135"/>
                  </a:lnTo>
                  <a:lnTo>
                    <a:pt x="4" y="135"/>
                  </a:lnTo>
                  <a:lnTo>
                    <a:pt x="6" y="136"/>
                  </a:lnTo>
                  <a:lnTo>
                    <a:pt x="6" y="138"/>
                  </a:lnTo>
                  <a:lnTo>
                    <a:pt x="6" y="138"/>
                  </a:lnTo>
                  <a:lnTo>
                    <a:pt x="4" y="140"/>
                  </a:lnTo>
                  <a:lnTo>
                    <a:pt x="4" y="142"/>
                  </a:lnTo>
                  <a:lnTo>
                    <a:pt x="4" y="144"/>
                  </a:lnTo>
                  <a:lnTo>
                    <a:pt x="4" y="144"/>
                  </a:lnTo>
                  <a:lnTo>
                    <a:pt x="4" y="146"/>
                  </a:lnTo>
                  <a:lnTo>
                    <a:pt x="4" y="148"/>
                  </a:lnTo>
                  <a:lnTo>
                    <a:pt x="2" y="150"/>
                  </a:lnTo>
                  <a:lnTo>
                    <a:pt x="2" y="150"/>
                  </a:lnTo>
                  <a:lnTo>
                    <a:pt x="2" y="152"/>
                  </a:lnTo>
                  <a:lnTo>
                    <a:pt x="2" y="152"/>
                  </a:lnTo>
                  <a:lnTo>
                    <a:pt x="2" y="155"/>
                  </a:lnTo>
                  <a:lnTo>
                    <a:pt x="2" y="157"/>
                  </a:lnTo>
                  <a:lnTo>
                    <a:pt x="2" y="157"/>
                  </a:lnTo>
                  <a:lnTo>
                    <a:pt x="2" y="157"/>
                  </a:lnTo>
                  <a:lnTo>
                    <a:pt x="0" y="159"/>
                  </a:lnTo>
                  <a:lnTo>
                    <a:pt x="0" y="159"/>
                  </a:lnTo>
                  <a:lnTo>
                    <a:pt x="0" y="159"/>
                  </a:lnTo>
                  <a:lnTo>
                    <a:pt x="0" y="159"/>
                  </a:lnTo>
                  <a:lnTo>
                    <a:pt x="0" y="161"/>
                  </a:lnTo>
                  <a:lnTo>
                    <a:pt x="0" y="161"/>
                  </a:lnTo>
                  <a:lnTo>
                    <a:pt x="2" y="161"/>
                  </a:lnTo>
                  <a:lnTo>
                    <a:pt x="8" y="163"/>
                  </a:lnTo>
                  <a:lnTo>
                    <a:pt x="10" y="165"/>
                  </a:lnTo>
                  <a:lnTo>
                    <a:pt x="10" y="165"/>
                  </a:lnTo>
                  <a:lnTo>
                    <a:pt x="12" y="165"/>
                  </a:lnTo>
                  <a:lnTo>
                    <a:pt x="12" y="167"/>
                  </a:lnTo>
                  <a:lnTo>
                    <a:pt x="12" y="167"/>
                  </a:lnTo>
                  <a:lnTo>
                    <a:pt x="14" y="167"/>
                  </a:lnTo>
                  <a:lnTo>
                    <a:pt x="14" y="165"/>
                  </a:lnTo>
                  <a:lnTo>
                    <a:pt x="16" y="165"/>
                  </a:lnTo>
                  <a:lnTo>
                    <a:pt x="16" y="165"/>
                  </a:lnTo>
                  <a:lnTo>
                    <a:pt x="17" y="165"/>
                  </a:lnTo>
                  <a:lnTo>
                    <a:pt x="17" y="165"/>
                  </a:lnTo>
                  <a:lnTo>
                    <a:pt x="17" y="165"/>
                  </a:lnTo>
                  <a:lnTo>
                    <a:pt x="17" y="167"/>
                  </a:lnTo>
                  <a:lnTo>
                    <a:pt x="17" y="167"/>
                  </a:lnTo>
                  <a:lnTo>
                    <a:pt x="17" y="167"/>
                  </a:lnTo>
                  <a:lnTo>
                    <a:pt x="19" y="167"/>
                  </a:lnTo>
                  <a:lnTo>
                    <a:pt x="19" y="167"/>
                  </a:lnTo>
                  <a:lnTo>
                    <a:pt x="21" y="167"/>
                  </a:lnTo>
                  <a:lnTo>
                    <a:pt x="21" y="165"/>
                  </a:lnTo>
                  <a:lnTo>
                    <a:pt x="23" y="165"/>
                  </a:lnTo>
                  <a:lnTo>
                    <a:pt x="23" y="165"/>
                  </a:lnTo>
                  <a:lnTo>
                    <a:pt x="23" y="165"/>
                  </a:lnTo>
                  <a:lnTo>
                    <a:pt x="23" y="163"/>
                  </a:lnTo>
                  <a:lnTo>
                    <a:pt x="23" y="165"/>
                  </a:lnTo>
                  <a:lnTo>
                    <a:pt x="25" y="165"/>
                  </a:lnTo>
                  <a:lnTo>
                    <a:pt x="25" y="165"/>
                  </a:lnTo>
                  <a:lnTo>
                    <a:pt x="25" y="167"/>
                  </a:lnTo>
                  <a:lnTo>
                    <a:pt x="25" y="167"/>
                  </a:lnTo>
                  <a:lnTo>
                    <a:pt x="25" y="169"/>
                  </a:lnTo>
                  <a:lnTo>
                    <a:pt x="25" y="169"/>
                  </a:lnTo>
                  <a:lnTo>
                    <a:pt x="25" y="169"/>
                  </a:lnTo>
                  <a:lnTo>
                    <a:pt x="25" y="169"/>
                  </a:lnTo>
                  <a:lnTo>
                    <a:pt x="29" y="167"/>
                  </a:lnTo>
                  <a:lnTo>
                    <a:pt x="31" y="167"/>
                  </a:lnTo>
                  <a:lnTo>
                    <a:pt x="31" y="167"/>
                  </a:lnTo>
                  <a:lnTo>
                    <a:pt x="31" y="167"/>
                  </a:lnTo>
                  <a:lnTo>
                    <a:pt x="31" y="165"/>
                  </a:lnTo>
                  <a:lnTo>
                    <a:pt x="33" y="163"/>
                  </a:lnTo>
                  <a:lnTo>
                    <a:pt x="35" y="161"/>
                  </a:lnTo>
                  <a:lnTo>
                    <a:pt x="36" y="163"/>
                  </a:lnTo>
                  <a:lnTo>
                    <a:pt x="38" y="167"/>
                  </a:lnTo>
                  <a:lnTo>
                    <a:pt x="40" y="169"/>
                  </a:lnTo>
                  <a:lnTo>
                    <a:pt x="42" y="171"/>
                  </a:lnTo>
                  <a:lnTo>
                    <a:pt x="44" y="173"/>
                  </a:lnTo>
                  <a:lnTo>
                    <a:pt x="44" y="175"/>
                  </a:lnTo>
                  <a:lnTo>
                    <a:pt x="44" y="175"/>
                  </a:lnTo>
                  <a:lnTo>
                    <a:pt x="46" y="175"/>
                  </a:lnTo>
                  <a:lnTo>
                    <a:pt x="48" y="175"/>
                  </a:lnTo>
                  <a:lnTo>
                    <a:pt x="50" y="173"/>
                  </a:lnTo>
                  <a:lnTo>
                    <a:pt x="52" y="173"/>
                  </a:lnTo>
                  <a:lnTo>
                    <a:pt x="54" y="173"/>
                  </a:lnTo>
                  <a:lnTo>
                    <a:pt x="54" y="175"/>
                  </a:lnTo>
                  <a:lnTo>
                    <a:pt x="54" y="175"/>
                  </a:lnTo>
                  <a:lnTo>
                    <a:pt x="56" y="175"/>
                  </a:lnTo>
                  <a:lnTo>
                    <a:pt x="56" y="175"/>
                  </a:lnTo>
                  <a:lnTo>
                    <a:pt x="56" y="173"/>
                  </a:lnTo>
                  <a:lnTo>
                    <a:pt x="56" y="173"/>
                  </a:lnTo>
                  <a:lnTo>
                    <a:pt x="56" y="171"/>
                  </a:lnTo>
                  <a:lnTo>
                    <a:pt x="59" y="171"/>
                  </a:lnTo>
                  <a:lnTo>
                    <a:pt x="63" y="171"/>
                  </a:lnTo>
                  <a:lnTo>
                    <a:pt x="67" y="171"/>
                  </a:lnTo>
                  <a:lnTo>
                    <a:pt x="71" y="171"/>
                  </a:lnTo>
                  <a:lnTo>
                    <a:pt x="75" y="176"/>
                  </a:lnTo>
                  <a:lnTo>
                    <a:pt x="77" y="176"/>
                  </a:lnTo>
                  <a:lnTo>
                    <a:pt x="84" y="176"/>
                  </a:lnTo>
                  <a:lnTo>
                    <a:pt x="86" y="176"/>
                  </a:lnTo>
                  <a:lnTo>
                    <a:pt x="88" y="178"/>
                  </a:lnTo>
                  <a:lnTo>
                    <a:pt x="92" y="178"/>
                  </a:lnTo>
                  <a:lnTo>
                    <a:pt x="94" y="180"/>
                  </a:lnTo>
                  <a:lnTo>
                    <a:pt x="99" y="182"/>
                  </a:lnTo>
                  <a:lnTo>
                    <a:pt x="101" y="184"/>
                  </a:lnTo>
                  <a:lnTo>
                    <a:pt x="101" y="186"/>
                  </a:lnTo>
                  <a:lnTo>
                    <a:pt x="103" y="186"/>
                  </a:lnTo>
                  <a:lnTo>
                    <a:pt x="105" y="186"/>
                  </a:lnTo>
                  <a:lnTo>
                    <a:pt x="107" y="186"/>
                  </a:lnTo>
                  <a:lnTo>
                    <a:pt x="107" y="186"/>
                  </a:lnTo>
                  <a:lnTo>
                    <a:pt x="107" y="184"/>
                  </a:lnTo>
                  <a:lnTo>
                    <a:pt x="107" y="180"/>
                  </a:lnTo>
                  <a:lnTo>
                    <a:pt x="107" y="178"/>
                  </a:lnTo>
                  <a:lnTo>
                    <a:pt x="107" y="176"/>
                  </a:lnTo>
                  <a:lnTo>
                    <a:pt x="113" y="171"/>
                  </a:lnTo>
                  <a:lnTo>
                    <a:pt x="113" y="171"/>
                  </a:lnTo>
                  <a:lnTo>
                    <a:pt x="113" y="167"/>
                  </a:lnTo>
                  <a:lnTo>
                    <a:pt x="113" y="165"/>
                  </a:lnTo>
                  <a:lnTo>
                    <a:pt x="115" y="163"/>
                  </a:lnTo>
                  <a:lnTo>
                    <a:pt x="115" y="163"/>
                  </a:lnTo>
                  <a:lnTo>
                    <a:pt x="115" y="159"/>
                  </a:lnTo>
                  <a:lnTo>
                    <a:pt x="117" y="155"/>
                  </a:lnTo>
                  <a:lnTo>
                    <a:pt x="120" y="144"/>
                  </a:lnTo>
                  <a:lnTo>
                    <a:pt x="120" y="142"/>
                  </a:lnTo>
                  <a:lnTo>
                    <a:pt x="120" y="138"/>
                  </a:lnTo>
                  <a:lnTo>
                    <a:pt x="122" y="136"/>
                  </a:lnTo>
                  <a:lnTo>
                    <a:pt x="122" y="136"/>
                  </a:lnTo>
                  <a:lnTo>
                    <a:pt x="124" y="135"/>
                  </a:lnTo>
                  <a:lnTo>
                    <a:pt x="124" y="135"/>
                  </a:lnTo>
                  <a:lnTo>
                    <a:pt x="124" y="133"/>
                  </a:lnTo>
                  <a:lnTo>
                    <a:pt x="124" y="131"/>
                  </a:lnTo>
                  <a:lnTo>
                    <a:pt x="124" y="131"/>
                  </a:lnTo>
                  <a:lnTo>
                    <a:pt x="126" y="131"/>
                  </a:lnTo>
                  <a:lnTo>
                    <a:pt x="126" y="129"/>
                  </a:lnTo>
                  <a:lnTo>
                    <a:pt x="128" y="129"/>
                  </a:lnTo>
                  <a:lnTo>
                    <a:pt x="128" y="123"/>
                  </a:lnTo>
                  <a:lnTo>
                    <a:pt x="128" y="123"/>
                  </a:lnTo>
                  <a:lnTo>
                    <a:pt x="130" y="121"/>
                  </a:lnTo>
                  <a:lnTo>
                    <a:pt x="132" y="121"/>
                  </a:lnTo>
                  <a:lnTo>
                    <a:pt x="132" y="116"/>
                  </a:lnTo>
                  <a:lnTo>
                    <a:pt x="134" y="114"/>
                  </a:lnTo>
                  <a:lnTo>
                    <a:pt x="134" y="114"/>
                  </a:lnTo>
                  <a:lnTo>
                    <a:pt x="137" y="110"/>
                  </a:lnTo>
                  <a:lnTo>
                    <a:pt x="139" y="108"/>
                  </a:lnTo>
                  <a:lnTo>
                    <a:pt x="141" y="100"/>
                  </a:lnTo>
                  <a:lnTo>
                    <a:pt x="141" y="100"/>
                  </a:lnTo>
                  <a:lnTo>
                    <a:pt x="143" y="98"/>
                  </a:lnTo>
                  <a:lnTo>
                    <a:pt x="145" y="98"/>
                  </a:lnTo>
                  <a:lnTo>
                    <a:pt x="145" y="98"/>
                  </a:lnTo>
                  <a:lnTo>
                    <a:pt x="147" y="98"/>
                  </a:lnTo>
                  <a:lnTo>
                    <a:pt x="149" y="97"/>
                  </a:lnTo>
                  <a:lnTo>
                    <a:pt x="149" y="95"/>
                  </a:lnTo>
                  <a:lnTo>
                    <a:pt x="149" y="93"/>
                  </a:lnTo>
                  <a:lnTo>
                    <a:pt x="149" y="91"/>
                  </a:lnTo>
                  <a:lnTo>
                    <a:pt x="149" y="89"/>
                  </a:lnTo>
                  <a:lnTo>
                    <a:pt x="153" y="83"/>
                  </a:lnTo>
                  <a:lnTo>
                    <a:pt x="155" y="81"/>
                  </a:lnTo>
                  <a:lnTo>
                    <a:pt x="157" y="72"/>
                  </a:lnTo>
                  <a:lnTo>
                    <a:pt x="158" y="70"/>
                  </a:lnTo>
                  <a:lnTo>
                    <a:pt x="160" y="66"/>
                  </a:lnTo>
                  <a:lnTo>
                    <a:pt x="160" y="62"/>
                  </a:lnTo>
                  <a:lnTo>
                    <a:pt x="160" y="5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3" name="Freeform 35">
              <a:extLst>
                <a:ext uri="{FF2B5EF4-FFF2-40B4-BE49-F238E27FC236}">
                  <a16:creationId xmlns:a16="http://schemas.microsoft.com/office/drawing/2014/main" id="{84DD3A1A-42EE-BB50-06A3-9E422D461931}"/>
                </a:ext>
              </a:extLst>
            </p:cNvPr>
            <p:cNvSpPr>
              <a:spLocks/>
            </p:cNvSpPr>
            <p:nvPr/>
          </p:nvSpPr>
          <p:spPr bwMode="auto">
            <a:xfrm>
              <a:off x="7416800" y="3352013"/>
              <a:ext cx="254000" cy="295275"/>
            </a:xfrm>
            <a:custGeom>
              <a:avLst/>
              <a:gdLst>
                <a:gd name="T0" fmla="*/ 145 w 160"/>
                <a:gd name="T1" fmla="*/ 49 h 186"/>
                <a:gd name="T2" fmla="*/ 151 w 160"/>
                <a:gd name="T3" fmla="*/ 24 h 186"/>
                <a:gd name="T4" fmla="*/ 145 w 160"/>
                <a:gd name="T5" fmla="*/ 11 h 186"/>
                <a:gd name="T6" fmla="*/ 147 w 160"/>
                <a:gd name="T7" fmla="*/ 0 h 186"/>
                <a:gd name="T8" fmla="*/ 134 w 160"/>
                <a:gd name="T9" fmla="*/ 11 h 186"/>
                <a:gd name="T10" fmla="*/ 115 w 160"/>
                <a:gd name="T11" fmla="*/ 19 h 186"/>
                <a:gd name="T12" fmla="*/ 111 w 160"/>
                <a:gd name="T13" fmla="*/ 17 h 186"/>
                <a:gd name="T14" fmla="*/ 101 w 160"/>
                <a:gd name="T15" fmla="*/ 17 h 186"/>
                <a:gd name="T16" fmla="*/ 92 w 160"/>
                <a:gd name="T17" fmla="*/ 13 h 186"/>
                <a:gd name="T18" fmla="*/ 73 w 160"/>
                <a:gd name="T19" fmla="*/ 17 h 186"/>
                <a:gd name="T20" fmla="*/ 73 w 160"/>
                <a:gd name="T21" fmla="*/ 19 h 186"/>
                <a:gd name="T22" fmla="*/ 77 w 160"/>
                <a:gd name="T23" fmla="*/ 22 h 186"/>
                <a:gd name="T24" fmla="*/ 65 w 160"/>
                <a:gd name="T25" fmla="*/ 38 h 186"/>
                <a:gd name="T26" fmla="*/ 56 w 160"/>
                <a:gd name="T27" fmla="*/ 47 h 186"/>
                <a:gd name="T28" fmla="*/ 50 w 160"/>
                <a:gd name="T29" fmla="*/ 43 h 186"/>
                <a:gd name="T30" fmla="*/ 46 w 160"/>
                <a:gd name="T31" fmla="*/ 41 h 186"/>
                <a:gd name="T32" fmla="*/ 44 w 160"/>
                <a:gd name="T33" fmla="*/ 39 h 186"/>
                <a:gd name="T34" fmla="*/ 33 w 160"/>
                <a:gd name="T35" fmla="*/ 58 h 186"/>
                <a:gd name="T36" fmla="*/ 29 w 160"/>
                <a:gd name="T37" fmla="*/ 64 h 186"/>
                <a:gd name="T38" fmla="*/ 27 w 160"/>
                <a:gd name="T39" fmla="*/ 68 h 186"/>
                <a:gd name="T40" fmla="*/ 25 w 160"/>
                <a:gd name="T41" fmla="*/ 74 h 186"/>
                <a:gd name="T42" fmla="*/ 25 w 160"/>
                <a:gd name="T43" fmla="*/ 78 h 186"/>
                <a:gd name="T44" fmla="*/ 21 w 160"/>
                <a:gd name="T45" fmla="*/ 89 h 186"/>
                <a:gd name="T46" fmla="*/ 16 w 160"/>
                <a:gd name="T47" fmla="*/ 87 h 186"/>
                <a:gd name="T48" fmla="*/ 14 w 160"/>
                <a:gd name="T49" fmla="*/ 89 h 186"/>
                <a:gd name="T50" fmla="*/ 10 w 160"/>
                <a:gd name="T51" fmla="*/ 98 h 186"/>
                <a:gd name="T52" fmla="*/ 12 w 160"/>
                <a:gd name="T53" fmla="*/ 104 h 186"/>
                <a:gd name="T54" fmla="*/ 8 w 160"/>
                <a:gd name="T55" fmla="*/ 114 h 186"/>
                <a:gd name="T56" fmla="*/ 4 w 160"/>
                <a:gd name="T57" fmla="*/ 131 h 186"/>
                <a:gd name="T58" fmla="*/ 4 w 160"/>
                <a:gd name="T59" fmla="*/ 140 h 186"/>
                <a:gd name="T60" fmla="*/ 2 w 160"/>
                <a:gd name="T61" fmla="*/ 150 h 186"/>
                <a:gd name="T62" fmla="*/ 2 w 160"/>
                <a:gd name="T63" fmla="*/ 157 h 186"/>
                <a:gd name="T64" fmla="*/ 0 w 160"/>
                <a:gd name="T65" fmla="*/ 161 h 186"/>
                <a:gd name="T66" fmla="*/ 12 w 160"/>
                <a:gd name="T67" fmla="*/ 165 h 186"/>
                <a:gd name="T68" fmla="*/ 16 w 160"/>
                <a:gd name="T69" fmla="*/ 165 h 186"/>
                <a:gd name="T70" fmla="*/ 17 w 160"/>
                <a:gd name="T71" fmla="*/ 167 h 186"/>
                <a:gd name="T72" fmla="*/ 23 w 160"/>
                <a:gd name="T73" fmla="*/ 165 h 186"/>
                <a:gd name="T74" fmla="*/ 25 w 160"/>
                <a:gd name="T75" fmla="*/ 167 h 186"/>
                <a:gd name="T76" fmla="*/ 29 w 160"/>
                <a:gd name="T77" fmla="*/ 167 h 186"/>
                <a:gd name="T78" fmla="*/ 35 w 160"/>
                <a:gd name="T79" fmla="*/ 161 h 186"/>
                <a:gd name="T80" fmla="*/ 44 w 160"/>
                <a:gd name="T81" fmla="*/ 175 h 186"/>
                <a:gd name="T82" fmla="*/ 54 w 160"/>
                <a:gd name="T83" fmla="*/ 173 h 186"/>
                <a:gd name="T84" fmla="*/ 56 w 160"/>
                <a:gd name="T85" fmla="*/ 173 h 186"/>
                <a:gd name="T86" fmla="*/ 75 w 160"/>
                <a:gd name="T87" fmla="*/ 176 h 186"/>
                <a:gd name="T88" fmla="*/ 94 w 160"/>
                <a:gd name="T89" fmla="*/ 180 h 186"/>
                <a:gd name="T90" fmla="*/ 107 w 160"/>
                <a:gd name="T91" fmla="*/ 186 h 186"/>
                <a:gd name="T92" fmla="*/ 113 w 160"/>
                <a:gd name="T93" fmla="*/ 171 h 186"/>
                <a:gd name="T94" fmla="*/ 115 w 160"/>
                <a:gd name="T95" fmla="*/ 159 h 186"/>
                <a:gd name="T96" fmla="*/ 122 w 160"/>
                <a:gd name="T97" fmla="*/ 136 h 186"/>
                <a:gd name="T98" fmla="*/ 126 w 160"/>
                <a:gd name="T99" fmla="*/ 131 h 186"/>
                <a:gd name="T100" fmla="*/ 132 w 160"/>
                <a:gd name="T101" fmla="*/ 121 h 186"/>
                <a:gd name="T102" fmla="*/ 141 w 160"/>
                <a:gd name="T103" fmla="*/ 100 h 186"/>
                <a:gd name="T104" fmla="*/ 149 w 160"/>
                <a:gd name="T105" fmla="*/ 97 h 186"/>
                <a:gd name="T106" fmla="*/ 155 w 160"/>
                <a:gd name="T107" fmla="*/ 8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86">
                  <a:moveTo>
                    <a:pt x="160" y="58"/>
                  </a:moveTo>
                  <a:lnTo>
                    <a:pt x="158" y="55"/>
                  </a:lnTo>
                  <a:lnTo>
                    <a:pt x="155" y="55"/>
                  </a:lnTo>
                  <a:lnTo>
                    <a:pt x="151" y="53"/>
                  </a:lnTo>
                  <a:lnTo>
                    <a:pt x="147" y="53"/>
                  </a:lnTo>
                  <a:lnTo>
                    <a:pt x="145" y="49"/>
                  </a:lnTo>
                  <a:lnTo>
                    <a:pt x="145" y="45"/>
                  </a:lnTo>
                  <a:lnTo>
                    <a:pt x="151" y="30"/>
                  </a:lnTo>
                  <a:lnTo>
                    <a:pt x="153" y="26"/>
                  </a:lnTo>
                  <a:lnTo>
                    <a:pt x="155" y="24"/>
                  </a:lnTo>
                  <a:lnTo>
                    <a:pt x="155" y="24"/>
                  </a:lnTo>
                  <a:lnTo>
                    <a:pt x="151" y="24"/>
                  </a:lnTo>
                  <a:lnTo>
                    <a:pt x="149" y="22"/>
                  </a:lnTo>
                  <a:lnTo>
                    <a:pt x="145" y="20"/>
                  </a:lnTo>
                  <a:lnTo>
                    <a:pt x="145" y="19"/>
                  </a:lnTo>
                  <a:lnTo>
                    <a:pt x="143" y="17"/>
                  </a:lnTo>
                  <a:lnTo>
                    <a:pt x="143" y="17"/>
                  </a:lnTo>
                  <a:lnTo>
                    <a:pt x="145" y="11"/>
                  </a:lnTo>
                  <a:lnTo>
                    <a:pt x="147" y="9"/>
                  </a:lnTo>
                  <a:lnTo>
                    <a:pt x="147" y="7"/>
                  </a:lnTo>
                  <a:lnTo>
                    <a:pt x="147" y="3"/>
                  </a:lnTo>
                  <a:lnTo>
                    <a:pt x="147" y="1"/>
                  </a:lnTo>
                  <a:lnTo>
                    <a:pt x="147" y="1"/>
                  </a:lnTo>
                  <a:lnTo>
                    <a:pt x="147" y="0"/>
                  </a:lnTo>
                  <a:lnTo>
                    <a:pt x="147" y="0"/>
                  </a:lnTo>
                  <a:lnTo>
                    <a:pt x="147" y="0"/>
                  </a:lnTo>
                  <a:lnTo>
                    <a:pt x="139" y="5"/>
                  </a:lnTo>
                  <a:lnTo>
                    <a:pt x="137" y="7"/>
                  </a:lnTo>
                  <a:lnTo>
                    <a:pt x="134" y="9"/>
                  </a:lnTo>
                  <a:lnTo>
                    <a:pt x="134" y="11"/>
                  </a:lnTo>
                  <a:lnTo>
                    <a:pt x="132" y="13"/>
                  </a:lnTo>
                  <a:lnTo>
                    <a:pt x="130" y="15"/>
                  </a:lnTo>
                  <a:lnTo>
                    <a:pt x="128" y="17"/>
                  </a:lnTo>
                  <a:lnTo>
                    <a:pt x="124" y="17"/>
                  </a:lnTo>
                  <a:lnTo>
                    <a:pt x="118" y="19"/>
                  </a:lnTo>
                  <a:lnTo>
                    <a:pt x="115" y="19"/>
                  </a:lnTo>
                  <a:lnTo>
                    <a:pt x="113" y="19"/>
                  </a:lnTo>
                  <a:lnTo>
                    <a:pt x="111" y="19"/>
                  </a:lnTo>
                  <a:lnTo>
                    <a:pt x="111" y="19"/>
                  </a:lnTo>
                  <a:lnTo>
                    <a:pt x="111" y="19"/>
                  </a:lnTo>
                  <a:lnTo>
                    <a:pt x="111" y="19"/>
                  </a:lnTo>
                  <a:lnTo>
                    <a:pt x="111" y="17"/>
                  </a:lnTo>
                  <a:lnTo>
                    <a:pt x="109" y="17"/>
                  </a:lnTo>
                  <a:lnTo>
                    <a:pt x="109" y="17"/>
                  </a:lnTo>
                  <a:lnTo>
                    <a:pt x="105" y="17"/>
                  </a:lnTo>
                  <a:lnTo>
                    <a:pt x="105" y="17"/>
                  </a:lnTo>
                  <a:lnTo>
                    <a:pt x="103" y="17"/>
                  </a:lnTo>
                  <a:lnTo>
                    <a:pt x="101" y="17"/>
                  </a:lnTo>
                  <a:lnTo>
                    <a:pt x="101" y="17"/>
                  </a:lnTo>
                  <a:lnTo>
                    <a:pt x="99" y="15"/>
                  </a:lnTo>
                  <a:lnTo>
                    <a:pt x="97" y="13"/>
                  </a:lnTo>
                  <a:lnTo>
                    <a:pt x="97" y="13"/>
                  </a:lnTo>
                  <a:lnTo>
                    <a:pt x="94" y="13"/>
                  </a:lnTo>
                  <a:lnTo>
                    <a:pt x="92" y="13"/>
                  </a:lnTo>
                  <a:lnTo>
                    <a:pt x="88" y="13"/>
                  </a:lnTo>
                  <a:lnTo>
                    <a:pt x="77" y="15"/>
                  </a:lnTo>
                  <a:lnTo>
                    <a:pt x="75" y="15"/>
                  </a:lnTo>
                  <a:lnTo>
                    <a:pt x="73" y="15"/>
                  </a:lnTo>
                  <a:lnTo>
                    <a:pt x="73" y="17"/>
                  </a:lnTo>
                  <a:lnTo>
                    <a:pt x="73" y="17"/>
                  </a:lnTo>
                  <a:lnTo>
                    <a:pt x="73" y="19"/>
                  </a:lnTo>
                  <a:lnTo>
                    <a:pt x="73" y="19"/>
                  </a:lnTo>
                  <a:lnTo>
                    <a:pt x="73" y="19"/>
                  </a:lnTo>
                  <a:lnTo>
                    <a:pt x="73" y="19"/>
                  </a:lnTo>
                  <a:lnTo>
                    <a:pt x="73" y="19"/>
                  </a:lnTo>
                  <a:lnTo>
                    <a:pt x="73" y="19"/>
                  </a:lnTo>
                  <a:lnTo>
                    <a:pt x="75" y="20"/>
                  </a:lnTo>
                  <a:lnTo>
                    <a:pt x="77" y="20"/>
                  </a:lnTo>
                  <a:lnTo>
                    <a:pt x="77" y="20"/>
                  </a:lnTo>
                  <a:lnTo>
                    <a:pt x="77" y="22"/>
                  </a:lnTo>
                  <a:lnTo>
                    <a:pt x="77" y="22"/>
                  </a:lnTo>
                  <a:lnTo>
                    <a:pt x="77" y="22"/>
                  </a:lnTo>
                  <a:lnTo>
                    <a:pt x="77" y="24"/>
                  </a:lnTo>
                  <a:lnTo>
                    <a:pt x="69" y="32"/>
                  </a:lnTo>
                  <a:lnTo>
                    <a:pt x="67" y="34"/>
                  </a:lnTo>
                  <a:lnTo>
                    <a:pt x="65" y="36"/>
                  </a:lnTo>
                  <a:lnTo>
                    <a:pt x="65" y="38"/>
                  </a:lnTo>
                  <a:lnTo>
                    <a:pt x="65" y="38"/>
                  </a:lnTo>
                  <a:lnTo>
                    <a:pt x="61" y="43"/>
                  </a:lnTo>
                  <a:lnTo>
                    <a:pt x="59" y="47"/>
                  </a:lnTo>
                  <a:lnTo>
                    <a:pt x="59" y="49"/>
                  </a:lnTo>
                  <a:lnTo>
                    <a:pt x="57" y="49"/>
                  </a:lnTo>
                  <a:lnTo>
                    <a:pt x="57" y="49"/>
                  </a:lnTo>
                  <a:lnTo>
                    <a:pt x="56" y="47"/>
                  </a:lnTo>
                  <a:lnTo>
                    <a:pt x="56" y="45"/>
                  </a:lnTo>
                  <a:lnTo>
                    <a:pt x="54" y="45"/>
                  </a:lnTo>
                  <a:lnTo>
                    <a:pt x="54" y="45"/>
                  </a:lnTo>
                  <a:lnTo>
                    <a:pt x="52" y="43"/>
                  </a:lnTo>
                  <a:lnTo>
                    <a:pt x="50" y="43"/>
                  </a:lnTo>
                  <a:lnTo>
                    <a:pt x="50" y="43"/>
                  </a:lnTo>
                  <a:lnTo>
                    <a:pt x="50" y="43"/>
                  </a:lnTo>
                  <a:lnTo>
                    <a:pt x="48" y="41"/>
                  </a:lnTo>
                  <a:lnTo>
                    <a:pt x="48" y="41"/>
                  </a:lnTo>
                  <a:lnTo>
                    <a:pt x="48" y="41"/>
                  </a:lnTo>
                  <a:lnTo>
                    <a:pt x="48" y="41"/>
                  </a:lnTo>
                  <a:lnTo>
                    <a:pt x="46" y="41"/>
                  </a:lnTo>
                  <a:lnTo>
                    <a:pt x="46" y="41"/>
                  </a:lnTo>
                  <a:lnTo>
                    <a:pt x="46" y="41"/>
                  </a:lnTo>
                  <a:lnTo>
                    <a:pt x="44" y="39"/>
                  </a:lnTo>
                  <a:lnTo>
                    <a:pt x="44" y="39"/>
                  </a:lnTo>
                  <a:lnTo>
                    <a:pt x="44" y="39"/>
                  </a:lnTo>
                  <a:lnTo>
                    <a:pt x="44" y="39"/>
                  </a:lnTo>
                  <a:lnTo>
                    <a:pt x="40" y="41"/>
                  </a:lnTo>
                  <a:lnTo>
                    <a:pt x="40" y="43"/>
                  </a:lnTo>
                  <a:lnTo>
                    <a:pt x="38" y="45"/>
                  </a:lnTo>
                  <a:lnTo>
                    <a:pt x="36" y="51"/>
                  </a:lnTo>
                  <a:lnTo>
                    <a:pt x="35" y="57"/>
                  </a:lnTo>
                  <a:lnTo>
                    <a:pt x="33" y="58"/>
                  </a:lnTo>
                  <a:lnTo>
                    <a:pt x="33" y="60"/>
                  </a:lnTo>
                  <a:lnTo>
                    <a:pt x="31" y="60"/>
                  </a:lnTo>
                  <a:lnTo>
                    <a:pt x="31" y="62"/>
                  </a:lnTo>
                  <a:lnTo>
                    <a:pt x="31" y="62"/>
                  </a:lnTo>
                  <a:lnTo>
                    <a:pt x="31" y="64"/>
                  </a:lnTo>
                  <a:lnTo>
                    <a:pt x="29" y="64"/>
                  </a:lnTo>
                  <a:lnTo>
                    <a:pt x="29" y="64"/>
                  </a:lnTo>
                  <a:lnTo>
                    <a:pt x="27" y="64"/>
                  </a:lnTo>
                  <a:lnTo>
                    <a:pt x="27" y="64"/>
                  </a:lnTo>
                  <a:lnTo>
                    <a:pt x="27" y="66"/>
                  </a:lnTo>
                  <a:lnTo>
                    <a:pt x="27" y="66"/>
                  </a:lnTo>
                  <a:lnTo>
                    <a:pt x="27" y="68"/>
                  </a:lnTo>
                  <a:lnTo>
                    <a:pt x="27" y="72"/>
                  </a:lnTo>
                  <a:lnTo>
                    <a:pt x="27" y="72"/>
                  </a:lnTo>
                  <a:lnTo>
                    <a:pt x="27" y="74"/>
                  </a:lnTo>
                  <a:lnTo>
                    <a:pt x="27" y="74"/>
                  </a:lnTo>
                  <a:lnTo>
                    <a:pt x="25" y="74"/>
                  </a:lnTo>
                  <a:lnTo>
                    <a:pt x="25" y="74"/>
                  </a:lnTo>
                  <a:lnTo>
                    <a:pt x="25" y="74"/>
                  </a:lnTo>
                  <a:lnTo>
                    <a:pt x="25" y="76"/>
                  </a:lnTo>
                  <a:lnTo>
                    <a:pt x="25" y="76"/>
                  </a:lnTo>
                  <a:lnTo>
                    <a:pt x="25" y="76"/>
                  </a:lnTo>
                  <a:lnTo>
                    <a:pt x="25" y="78"/>
                  </a:lnTo>
                  <a:lnTo>
                    <a:pt x="25" y="78"/>
                  </a:lnTo>
                  <a:lnTo>
                    <a:pt x="25" y="78"/>
                  </a:lnTo>
                  <a:lnTo>
                    <a:pt x="23" y="81"/>
                  </a:lnTo>
                  <a:lnTo>
                    <a:pt x="21" y="85"/>
                  </a:lnTo>
                  <a:lnTo>
                    <a:pt x="21" y="87"/>
                  </a:lnTo>
                  <a:lnTo>
                    <a:pt x="21" y="87"/>
                  </a:lnTo>
                  <a:lnTo>
                    <a:pt x="21" y="89"/>
                  </a:lnTo>
                  <a:lnTo>
                    <a:pt x="19" y="89"/>
                  </a:lnTo>
                  <a:lnTo>
                    <a:pt x="19" y="89"/>
                  </a:lnTo>
                  <a:lnTo>
                    <a:pt x="17" y="89"/>
                  </a:lnTo>
                  <a:lnTo>
                    <a:pt x="17" y="89"/>
                  </a:lnTo>
                  <a:lnTo>
                    <a:pt x="16" y="87"/>
                  </a:lnTo>
                  <a:lnTo>
                    <a:pt x="16" y="87"/>
                  </a:lnTo>
                  <a:lnTo>
                    <a:pt x="16" y="87"/>
                  </a:lnTo>
                  <a:lnTo>
                    <a:pt x="16" y="87"/>
                  </a:lnTo>
                  <a:lnTo>
                    <a:pt x="16" y="87"/>
                  </a:lnTo>
                  <a:lnTo>
                    <a:pt x="14" y="89"/>
                  </a:lnTo>
                  <a:lnTo>
                    <a:pt x="14" y="89"/>
                  </a:lnTo>
                  <a:lnTo>
                    <a:pt x="14" y="89"/>
                  </a:lnTo>
                  <a:lnTo>
                    <a:pt x="14" y="91"/>
                  </a:lnTo>
                  <a:lnTo>
                    <a:pt x="12" y="93"/>
                  </a:lnTo>
                  <a:lnTo>
                    <a:pt x="12" y="97"/>
                  </a:lnTo>
                  <a:lnTo>
                    <a:pt x="12" y="97"/>
                  </a:lnTo>
                  <a:lnTo>
                    <a:pt x="10" y="98"/>
                  </a:lnTo>
                  <a:lnTo>
                    <a:pt x="10" y="98"/>
                  </a:lnTo>
                  <a:lnTo>
                    <a:pt x="10" y="100"/>
                  </a:lnTo>
                  <a:lnTo>
                    <a:pt x="10" y="100"/>
                  </a:lnTo>
                  <a:lnTo>
                    <a:pt x="10" y="102"/>
                  </a:lnTo>
                  <a:lnTo>
                    <a:pt x="12" y="102"/>
                  </a:lnTo>
                  <a:lnTo>
                    <a:pt x="12" y="102"/>
                  </a:lnTo>
                  <a:lnTo>
                    <a:pt x="12" y="104"/>
                  </a:lnTo>
                  <a:lnTo>
                    <a:pt x="10" y="108"/>
                  </a:lnTo>
                  <a:lnTo>
                    <a:pt x="12" y="112"/>
                  </a:lnTo>
                  <a:lnTo>
                    <a:pt x="12" y="112"/>
                  </a:lnTo>
                  <a:lnTo>
                    <a:pt x="10" y="114"/>
                  </a:lnTo>
                  <a:lnTo>
                    <a:pt x="8" y="114"/>
                  </a:lnTo>
                  <a:lnTo>
                    <a:pt x="8" y="114"/>
                  </a:lnTo>
                  <a:lnTo>
                    <a:pt x="6" y="117"/>
                  </a:lnTo>
                  <a:lnTo>
                    <a:pt x="6" y="125"/>
                  </a:lnTo>
                  <a:lnTo>
                    <a:pt x="6" y="129"/>
                  </a:lnTo>
                  <a:lnTo>
                    <a:pt x="2" y="129"/>
                  </a:lnTo>
                  <a:lnTo>
                    <a:pt x="4" y="131"/>
                  </a:lnTo>
                  <a:lnTo>
                    <a:pt x="4" y="131"/>
                  </a:lnTo>
                  <a:lnTo>
                    <a:pt x="4" y="135"/>
                  </a:lnTo>
                  <a:lnTo>
                    <a:pt x="4" y="135"/>
                  </a:lnTo>
                  <a:lnTo>
                    <a:pt x="6" y="136"/>
                  </a:lnTo>
                  <a:lnTo>
                    <a:pt x="6" y="138"/>
                  </a:lnTo>
                  <a:lnTo>
                    <a:pt x="6" y="138"/>
                  </a:lnTo>
                  <a:lnTo>
                    <a:pt x="4" y="140"/>
                  </a:lnTo>
                  <a:lnTo>
                    <a:pt x="4" y="142"/>
                  </a:lnTo>
                  <a:lnTo>
                    <a:pt x="4" y="144"/>
                  </a:lnTo>
                  <a:lnTo>
                    <a:pt x="4" y="144"/>
                  </a:lnTo>
                  <a:lnTo>
                    <a:pt x="4" y="146"/>
                  </a:lnTo>
                  <a:lnTo>
                    <a:pt x="4" y="148"/>
                  </a:lnTo>
                  <a:lnTo>
                    <a:pt x="2" y="150"/>
                  </a:lnTo>
                  <a:lnTo>
                    <a:pt x="2" y="150"/>
                  </a:lnTo>
                  <a:lnTo>
                    <a:pt x="2" y="152"/>
                  </a:lnTo>
                  <a:lnTo>
                    <a:pt x="2" y="152"/>
                  </a:lnTo>
                  <a:lnTo>
                    <a:pt x="2" y="155"/>
                  </a:lnTo>
                  <a:lnTo>
                    <a:pt x="2" y="157"/>
                  </a:lnTo>
                  <a:lnTo>
                    <a:pt x="2" y="157"/>
                  </a:lnTo>
                  <a:lnTo>
                    <a:pt x="2" y="157"/>
                  </a:lnTo>
                  <a:lnTo>
                    <a:pt x="0" y="159"/>
                  </a:lnTo>
                  <a:lnTo>
                    <a:pt x="0" y="159"/>
                  </a:lnTo>
                  <a:lnTo>
                    <a:pt x="0" y="159"/>
                  </a:lnTo>
                  <a:lnTo>
                    <a:pt x="0" y="159"/>
                  </a:lnTo>
                  <a:lnTo>
                    <a:pt x="0" y="161"/>
                  </a:lnTo>
                  <a:lnTo>
                    <a:pt x="0" y="161"/>
                  </a:lnTo>
                  <a:lnTo>
                    <a:pt x="2" y="161"/>
                  </a:lnTo>
                  <a:lnTo>
                    <a:pt x="8" y="163"/>
                  </a:lnTo>
                  <a:lnTo>
                    <a:pt x="10" y="165"/>
                  </a:lnTo>
                  <a:lnTo>
                    <a:pt x="10" y="165"/>
                  </a:lnTo>
                  <a:lnTo>
                    <a:pt x="12" y="165"/>
                  </a:lnTo>
                  <a:lnTo>
                    <a:pt x="12" y="167"/>
                  </a:lnTo>
                  <a:lnTo>
                    <a:pt x="12" y="167"/>
                  </a:lnTo>
                  <a:lnTo>
                    <a:pt x="14" y="167"/>
                  </a:lnTo>
                  <a:lnTo>
                    <a:pt x="14" y="165"/>
                  </a:lnTo>
                  <a:lnTo>
                    <a:pt x="16" y="165"/>
                  </a:lnTo>
                  <a:lnTo>
                    <a:pt x="16" y="165"/>
                  </a:lnTo>
                  <a:lnTo>
                    <a:pt x="17" y="165"/>
                  </a:lnTo>
                  <a:lnTo>
                    <a:pt x="17" y="165"/>
                  </a:lnTo>
                  <a:lnTo>
                    <a:pt x="17" y="165"/>
                  </a:lnTo>
                  <a:lnTo>
                    <a:pt x="17" y="167"/>
                  </a:lnTo>
                  <a:lnTo>
                    <a:pt x="17" y="167"/>
                  </a:lnTo>
                  <a:lnTo>
                    <a:pt x="17" y="167"/>
                  </a:lnTo>
                  <a:lnTo>
                    <a:pt x="19" y="167"/>
                  </a:lnTo>
                  <a:lnTo>
                    <a:pt x="19" y="167"/>
                  </a:lnTo>
                  <a:lnTo>
                    <a:pt x="21" y="167"/>
                  </a:lnTo>
                  <a:lnTo>
                    <a:pt x="21" y="165"/>
                  </a:lnTo>
                  <a:lnTo>
                    <a:pt x="23" y="165"/>
                  </a:lnTo>
                  <a:lnTo>
                    <a:pt x="23" y="165"/>
                  </a:lnTo>
                  <a:lnTo>
                    <a:pt x="23" y="165"/>
                  </a:lnTo>
                  <a:lnTo>
                    <a:pt x="23" y="163"/>
                  </a:lnTo>
                  <a:lnTo>
                    <a:pt x="23" y="165"/>
                  </a:lnTo>
                  <a:lnTo>
                    <a:pt x="25" y="165"/>
                  </a:lnTo>
                  <a:lnTo>
                    <a:pt x="25" y="165"/>
                  </a:lnTo>
                  <a:lnTo>
                    <a:pt x="25" y="167"/>
                  </a:lnTo>
                  <a:lnTo>
                    <a:pt x="25" y="167"/>
                  </a:lnTo>
                  <a:lnTo>
                    <a:pt x="25" y="169"/>
                  </a:lnTo>
                  <a:lnTo>
                    <a:pt x="25" y="169"/>
                  </a:lnTo>
                  <a:lnTo>
                    <a:pt x="25" y="169"/>
                  </a:lnTo>
                  <a:lnTo>
                    <a:pt x="25" y="169"/>
                  </a:lnTo>
                  <a:lnTo>
                    <a:pt x="29" y="167"/>
                  </a:lnTo>
                  <a:lnTo>
                    <a:pt x="31" y="167"/>
                  </a:lnTo>
                  <a:lnTo>
                    <a:pt x="31" y="167"/>
                  </a:lnTo>
                  <a:lnTo>
                    <a:pt x="31" y="167"/>
                  </a:lnTo>
                  <a:lnTo>
                    <a:pt x="31" y="165"/>
                  </a:lnTo>
                  <a:lnTo>
                    <a:pt x="33" y="163"/>
                  </a:lnTo>
                  <a:lnTo>
                    <a:pt x="35" y="161"/>
                  </a:lnTo>
                  <a:lnTo>
                    <a:pt x="36" y="163"/>
                  </a:lnTo>
                  <a:lnTo>
                    <a:pt x="38" y="167"/>
                  </a:lnTo>
                  <a:lnTo>
                    <a:pt x="40" y="169"/>
                  </a:lnTo>
                  <a:lnTo>
                    <a:pt x="42" y="171"/>
                  </a:lnTo>
                  <a:lnTo>
                    <a:pt x="44" y="173"/>
                  </a:lnTo>
                  <a:lnTo>
                    <a:pt x="44" y="175"/>
                  </a:lnTo>
                  <a:lnTo>
                    <a:pt x="44" y="175"/>
                  </a:lnTo>
                  <a:lnTo>
                    <a:pt x="46" y="175"/>
                  </a:lnTo>
                  <a:lnTo>
                    <a:pt x="48" y="175"/>
                  </a:lnTo>
                  <a:lnTo>
                    <a:pt x="50" y="173"/>
                  </a:lnTo>
                  <a:lnTo>
                    <a:pt x="52" y="173"/>
                  </a:lnTo>
                  <a:lnTo>
                    <a:pt x="54" y="173"/>
                  </a:lnTo>
                  <a:lnTo>
                    <a:pt x="54" y="175"/>
                  </a:lnTo>
                  <a:lnTo>
                    <a:pt x="54" y="175"/>
                  </a:lnTo>
                  <a:lnTo>
                    <a:pt x="56" y="175"/>
                  </a:lnTo>
                  <a:lnTo>
                    <a:pt x="56" y="175"/>
                  </a:lnTo>
                  <a:lnTo>
                    <a:pt x="56" y="173"/>
                  </a:lnTo>
                  <a:lnTo>
                    <a:pt x="56" y="173"/>
                  </a:lnTo>
                  <a:lnTo>
                    <a:pt x="56" y="171"/>
                  </a:lnTo>
                  <a:lnTo>
                    <a:pt x="59" y="171"/>
                  </a:lnTo>
                  <a:lnTo>
                    <a:pt x="63" y="171"/>
                  </a:lnTo>
                  <a:lnTo>
                    <a:pt x="67" y="171"/>
                  </a:lnTo>
                  <a:lnTo>
                    <a:pt x="71" y="171"/>
                  </a:lnTo>
                  <a:lnTo>
                    <a:pt x="75" y="176"/>
                  </a:lnTo>
                  <a:lnTo>
                    <a:pt x="77" y="176"/>
                  </a:lnTo>
                  <a:lnTo>
                    <a:pt x="84" y="176"/>
                  </a:lnTo>
                  <a:lnTo>
                    <a:pt x="86" y="176"/>
                  </a:lnTo>
                  <a:lnTo>
                    <a:pt x="88" y="178"/>
                  </a:lnTo>
                  <a:lnTo>
                    <a:pt x="92" y="178"/>
                  </a:lnTo>
                  <a:lnTo>
                    <a:pt x="94" y="180"/>
                  </a:lnTo>
                  <a:lnTo>
                    <a:pt x="99" y="182"/>
                  </a:lnTo>
                  <a:lnTo>
                    <a:pt x="101" y="184"/>
                  </a:lnTo>
                  <a:lnTo>
                    <a:pt x="101" y="186"/>
                  </a:lnTo>
                  <a:lnTo>
                    <a:pt x="103" y="186"/>
                  </a:lnTo>
                  <a:lnTo>
                    <a:pt x="105" y="186"/>
                  </a:lnTo>
                  <a:lnTo>
                    <a:pt x="107" y="186"/>
                  </a:lnTo>
                  <a:lnTo>
                    <a:pt x="107" y="186"/>
                  </a:lnTo>
                  <a:lnTo>
                    <a:pt x="107" y="184"/>
                  </a:lnTo>
                  <a:lnTo>
                    <a:pt x="107" y="180"/>
                  </a:lnTo>
                  <a:lnTo>
                    <a:pt x="107" y="178"/>
                  </a:lnTo>
                  <a:lnTo>
                    <a:pt x="107" y="176"/>
                  </a:lnTo>
                  <a:lnTo>
                    <a:pt x="113" y="171"/>
                  </a:lnTo>
                  <a:lnTo>
                    <a:pt x="113" y="171"/>
                  </a:lnTo>
                  <a:lnTo>
                    <a:pt x="113" y="167"/>
                  </a:lnTo>
                  <a:lnTo>
                    <a:pt x="113" y="165"/>
                  </a:lnTo>
                  <a:lnTo>
                    <a:pt x="115" y="163"/>
                  </a:lnTo>
                  <a:lnTo>
                    <a:pt x="115" y="163"/>
                  </a:lnTo>
                  <a:lnTo>
                    <a:pt x="115" y="159"/>
                  </a:lnTo>
                  <a:lnTo>
                    <a:pt x="117" y="155"/>
                  </a:lnTo>
                  <a:lnTo>
                    <a:pt x="120" y="144"/>
                  </a:lnTo>
                  <a:lnTo>
                    <a:pt x="120" y="142"/>
                  </a:lnTo>
                  <a:lnTo>
                    <a:pt x="120" y="138"/>
                  </a:lnTo>
                  <a:lnTo>
                    <a:pt x="122" y="136"/>
                  </a:lnTo>
                  <a:lnTo>
                    <a:pt x="122" y="136"/>
                  </a:lnTo>
                  <a:lnTo>
                    <a:pt x="124" y="135"/>
                  </a:lnTo>
                  <a:lnTo>
                    <a:pt x="124" y="135"/>
                  </a:lnTo>
                  <a:lnTo>
                    <a:pt x="124" y="133"/>
                  </a:lnTo>
                  <a:lnTo>
                    <a:pt x="124" y="131"/>
                  </a:lnTo>
                  <a:lnTo>
                    <a:pt x="124" y="131"/>
                  </a:lnTo>
                  <a:lnTo>
                    <a:pt x="126" y="131"/>
                  </a:lnTo>
                  <a:lnTo>
                    <a:pt x="126" y="129"/>
                  </a:lnTo>
                  <a:lnTo>
                    <a:pt x="128" y="129"/>
                  </a:lnTo>
                  <a:lnTo>
                    <a:pt x="128" y="123"/>
                  </a:lnTo>
                  <a:lnTo>
                    <a:pt x="128" y="123"/>
                  </a:lnTo>
                  <a:lnTo>
                    <a:pt x="130" y="121"/>
                  </a:lnTo>
                  <a:lnTo>
                    <a:pt x="132" y="121"/>
                  </a:lnTo>
                  <a:lnTo>
                    <a:pt x="132" y="116"/>
                  </a:lnTo>
                  <a:lnTo>
                    <a:pt x="134" y="114"/>
                  </a:lnTo>
                  <a:lnTo>
                    <a:pt x="134" y="114"/>
                  </a:lnTo>
                  <a:lnTo>
                    <a:pt x="137" y="110"/>
                  </a:lnTo>
                  <a:lnTo>
                    <a:pt x="139" y="108"/>
                  </a:lnTo>
                  <a:lnTo>
                    <a:pt x="141" y="100"/>
                  </a:lnTo>
                  <a:lnTo>
                    <a:pt x="141" y="100"/>
                  </a:lnTo>
                  <a:lnTo>
                    <a:pt x="143" y="98"/>
                  </a:lnTo>
                  <a:lnTo>
                    <a:pt x="145" y="98"/>
                  </a:lnTo>
                  <a:lnTo>
                    <a:pt x="145" y="98"/>
                  </a:lnTo>
                  <a:lnTo>
                    <a:pt x="147" y="98"/>
                  </a:lnTo>
                  <a:lnTo>
                    <a:pt x="149" y="97"/>
                  </a:lnTo>
                  <a:lnTo>
                    <a:pt x="149" y="95"/>
                  </a:lnTo>
                  <a:lnTo>
                    <a:pt x="149" y="93"/>
                  </a:lnTo>
                  <a:lnTo>
                    <a:pt x="149" y="91"/>
                  </a:lnTo>
                  <a:lnTo>
                    <a:pt x="149" y="89"/>
                  </a:lnTo>
                  <a:lnTo>
                    <a:pt x="153" y="83"/>
                  </a:lnTo>
                  <a:lnTo>
                    <a:pt x="155" y="81"/>
                  </a:lnTo>
                  <a:lnTo>
                    <a:pt x="157" y="72"/>
                  </a:lnTo>
                  <a:lnTo>
                    <a:pt x="158" y="70"/>
                  </a:lnTo>
                  <a:lnTo>
                    <a:pt x="160" y="66"/>
                  </a:lnTo>
                  <a:lnTo>
                    <a:pt x="160" y="62"/>
                  </a:lnTo>
                  <a:lnTo>
                    <a:pt x="160" y="5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4" name="Freeform 36">
              <a:extLst>
                <a:ext uri="{FF2B5EF4-FFF2-40B4-BE49-F238E27FC236}">
                  <a16:creationId xmlns:a16="http://schemas.microsoft.com/office/drawing/2014/main" id="{C6876125-D63B-EF2D-F4C5-C4FBB7A53A04}"/>
                </a:ext>
              </a:extLst>
            </p:cNvPr>
            <p:cNvSpPr>
              <a:spLocks/>
            </p:cNvSpPr>
            <p:nvPr/>
          </p:nvSpPr>
          <p:spPr bwMode="auto">
            <a:xfrm>
              <a:off x="4437063" y="3936213"/>
              <a:ext cx="1211263" cy="990600"/>
            </a:xfrm>
            <a:custGeom>
              <a:avLst/>
              <a:gdLst>
                <a:gd name="T0" fmla="*/ 724 w 763"/>
                <a:gd name="T1" fmla="*/ 223 h 624"/>
                <a:gd name="T2" fmla="*/ 726 w 763"/>
                <a:gd name="T3" fmla="*/ 208 h 624"/>
                <a:gd name="T4" fmla="*/ 736 w 763"/>
                <a:gd name="T5" fmla="*/ 166 h 624"/>
                <a:gd name="T6" fmla="*/ 730 w 763"/>
                <a:gd name="T7" fmla="*/ 136 h 624"/>
                <a:gd name="T8" fmla="*/ 742 w 763"/>
                <a:gd name="T9" fmla="*/ 67 h 624"/>
                <a:gd name="T10" fmla="*/ 696 w 763"/>
                <a:gd name="T11" fmla="*/ 39 h 624"/>
                <a:gd name="T12" fmla="*/ 642 w 763"/>
                <a:gd name="T13" fmla="*/ 48 h 624"/>
                <a:gd name="T14" fmla="*/ 580 w 763"/>
                <a:gd name="T15" fmla="*/ 46 h 624"/>
                <a:gd name="T16" fmla="*/ 532 w 763"/>
                <a:gd name="T17" fmla="*/ 40 h 624"/>
                <a:gd name="T18" fmla="*/ 458 w 763"/>
                <a:gd name="T19" fmla="*/ 63 h 624"/>
                <a:gd name="T20" fmla="*/ 452 w 763"/>
                <a:gd name="T21" fmla="*/ 33 h 624"/>
                <a:gd name="T22" fmla="*/ 387 w 763"/>
                <a:gd name="T23" fmla="*/ 42 h 624"/>
                <a:gd name="T24" fmla="*/ 347 w 763"/>
                <a:gd name="T25" fmla="*/ 92 h 624"/>
                <a:gd name="T26" fmla="*/ 273 w 763"/>
                <a:gd name="T27" fmla="*/ 63 h 624"/>
                <a:gd name="T28" fmla="*/ 185 w 763"/>
                <a:gd name="T29" fmla="*/ 39 h 624"/>
                <a:gd name="T30" fmla="*/ 122 w 763"/>
                <a:gd name="T31" fmla="*/ 14 h 624"/>
                <a:gd name="T32" fmla="*/ 124 w 763"/>
                <a:gd name="T33" fmla="*/ 48 h 624"/>
                <a:gd name="T34" fmla="*/ 130 w 763"/>
                <a:gd name="T35" fmla="*/ 56 h 624"/>
                <a:gd name="T36" fmla="*/ 86 w 763"/>
                <a:gd name="T37" fmla="*/ 82 h 624"/>
                <a:gd name="T38" fmla="*/ 111 w 763"/>
                <a:gd name="T39" fmla="*/ 132 h 624"/>
                <a:gd name="T40" fmla="*/ 67 w 763"/>
                <a:gd name="T41" fmla="*/ 137 h 624"/>
                <a:gd name="T42" fmla="*/ 67 w 763"/>
                <a:gd name="T43" fmla="*/ 179 h 624"/>
                <a:gd name="T44" fmla="*/ 38 w 763"/>
                <a:gd name="T45" fmla="*/ 196 h 624"/>
                <a:gd name="T46" fmla="*/ 2 w 763"/>
                <a:gd name="T47" fmla="*/ 206 h 624"/>
                <a:gd name="T48" fmla="*/ 8 w 763"/>
                <a:gd name="T49" fmla="*/ 244 h 624"/>
                <a:gd name="T50" fmla="*/ 35 w 763"/>
                <a:gd name="T51" fmla="*/ 276 h 624"/>
                <a:gd name="T52" fmla="*/ 16 w 763"/>
                <a:gd name="T53" fmla="*/ 288 h 624"/>
                <a:gd name="T54" fmla="*/ 29 w 763"/>
                <a:gd name="T55" fmla="*/ 286 h 624"/>
                <a:gd name="T56" fmla="*/ 31 w 763"/>
                <a:gd name="T57" fmla="*/ 312 h 624"/>
                <a:gd name="T58" fmla="*/ 35 w 763"/>
                <a:gd name="T59" fmla="*/ 350 h 624"/>
                <a:gd name="T60" fmla="*/ 37 w 763"/>
                <a:gd name="T61" fmla="*/ 377 h 624"/>
                <a:gd name="T62" fmla="*/ 37 w 763"/>
                <a:gd name="T63" fmla="*/ 390 h 624"/>
                <a:gd name="T64" fmla="*/ 44 w 763"/>
                <a:gd name="T65" fmla="*/ 438 h 624"/>
                <a:gd name="T66" fmla="*/ 57 w 763"/>
                <a:gd name="T67" fmla="*/ 493 h 624"/>
                <a:gd name="T68" fmla="*/ 61 w 763"/>
                <a:gd name="T69" fmla="*/ 531 h 624"/>
                <a:gd name="T70" fmla="*/ 71 w 763"/>
                <a:gd name="T71" fmla="*/ 565 h 624"/>
                <a:gd name="T72" fmla="*/ 92 w 763"/>
                <a:gd name="T73" fmla="*/ 607 h 624"/>
                <a:gd name="T74" fmla="*/ 134 w 763"/>
                <a:gd name="T75" fmla="*/ 620 h 624"/>
                <a:gd name="T76" fmla="*/ 162 w 763"/>
                <a:gd name="T77" fmla="*/ 592 h 624"/>
                <a:gd name="T78" fmla="*/ 155 w 763"/>
                <a:gd name="T79" fmla="*/ 562 h 624"/>
                <a:gd name="T80" fmla="*/ 151 w 763"/>
                <a:gd name="T81" fmla="*/ 543 h 624"/>
                <a:gd name="T82" fmla="*/ 158 w 763"/>
                <a:gd name="T83" fmla="*/ 535 h 624"/>
                <a:gd name="T84" fmla="*/ 183 w 763"/>
                <a:gd name="T85" fmla="*/ 531 h 624"/>
                <a:gd name="T86" fmla="*/ 202 w 763"/>
                <a:gd name="T87" fmla="*/ 506 h 624"/>
                <a:gd name="T88" fmla="*/ 240 w 763"/>
                <a:gd name="T89" fmla="*/ 497 h 624"/>
                <a:gd name="T90" fmla="*/ 277 w 763"/>
                <a:gd name="T91" fmla="*/ 484 h 624"/>
                <a:gd name="T92" fmla="*/ 280 w 763"/>
                <a:gd name="T93" fmla="*/ 451 h 624"/>
                <a:gd name="T94" fmla="*/ 326 w 763"/>
                <a:gd name="T95" fmla="*/ 455 h 624"/>
                <a:gd name="T96" fmla="*/ 340 w 763"/>
                <a:gd name="T97" fmla="*/ 432 h 624"/>
                <a:gd name="T98" fmla="*/ 378 w 763"/>
                <a:gd name="T99" fmla="*/ 413 h 624"/>
                <a:gd name="T100" fmla="*/ 410 w 763"/>
                <a:gd name="T101" fmla="*/ 375 h 624"/>
                <a:gd name="T102" fmla="*/ 446 w 763"/>
                <a:gd name="T103" fmla="*/ 368 h 624"/>
                <a:gd name="T104" fmla="*/ 467 w 763"/>
                <a:gd name="T105" fmla="*/ 335 h 624"/>
                <a:gd name="T106" fmla="*/ 477 w 763"/>
                <a:gd name="T107" fmla="*/ 303 h 624"/>
                <a:gd name="T108" fmla="*/ 484 w 763"/>
                <a:gd name="T109" fmla="*/ 272 h 624"/>
                <a:gd name="T110" fmla="*/ 511 w 763"/>
                <a:gd name="T111" fmla="*/ 263 h 624"/>
                <a:gd name="T112" fmla="*/ 528 w 763"/>
                <a:gd name="T113" fmla="*/ 213 h 624"/>
                <a:gd name="T114" fmla="*/ 572 w 763"/>
                <a:gd name="T115" fmla="*/ 227 h 624"/>
                <a:gd name="T116" fmla="*/ 610 w 763"/>
                <a:gd name="T117" fmla="*/ 240 h 624"/>
                <a:gd name="T118" fmla="*/ 663 w 763"/>
                <a:gd name="T119" fmla="*/ 244 h 624"/>
                <a:gd name="T120" fmla="*/ 669 w 763"/>
                <a:gd name="T121" fmla="*/ 286 h 624"/>
                <a:gd name="T122" fmla="*/ 711 w 763"/>
                <a:gd name="T123" fmla="*/ 290 h 624"/>
                <a:gd name="T124" fmla="*/ 755 w 763"/>
                <a:gd name="T125" fmla="*/ 26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3" h="624">
                  <a:moveTo>
                    <a:pt x="761" y="252"/>
                  </a:moveTo>
                  <a:lnTo>
                    <a:pt x="761" y="250"/>
                  </a:lnTo>
                  <a:lnTo>
                    <a:pt x="757" y="248"/>
                  </a:lnTo>
                  <a:lnTo>
                    <a:pt x="757" y="246"/>
                  </a:lnTo>
                  <a:lnTo>
                    <a:pt x="755" y="244"/>
                  </a:lnTo>
                  <a:lnTo>
                    <a:pt x="755" y="244"/>
                  </a:lnTo>
                  <a:lnTo>
                    <a:pt x="755" y="244"/>
                  </a:lnTo>
                  <a:lnTo>
                    <a:pt x="753" y="244"/>
                  </a:lnTo>
                  <a:lnTo>
                    <a:pt x="751" y="242"/>
                  </a:lnTo>
                  <a:lnTo>
                    <a:pt x="749" y="242"/>
                  </a:lnTo>
                  <a:lnTo>
                    <a:pt x="745" y="240"/>
                  </a:lnTo>
                  <a:lnTo>
                    <a:pt x="743" y="240"/>
                  </a:lnTo>
                  <a:lnTo>
                    <a:pt x="743" y="238"/>
                  </a:lnTo>
                  <a:lnTo>
                    <a:pt x="742" y="238"/>
                  </a:lnTo>
                  <a:lnTo>
                    <a:pt x="742" y="233"/>
                  </a:lnTo>
                  <a:lnTo>
                    <a:pt x="740" y="231"/>
                  </a:lnTo>
                  <a:lnTo>
                    <a:pt x="740" y="231"/>
                  </a:lnTo>
                  <a:lnTo>
                    <a:pt x="740" y="231"/>
                  </a:lnTo>
                  <a:lnTo>
                    <a:pt x="738" y="229"/>
                  </a:lnTo>
                  <a:lnTo>
                    <a:pt x="734" y="229"/>
                  </a:lnTo>
                  <a:lnTo>
                    <a:pt x="734" y="229"/>
                  </a:lnTo>
                  <a:lnTo>
                    <a:pt x="732" y="227"/>
                  </a:lnTo>
                  <a:lnTo>
                    <a:pt x="730" y="227"/>
                  </a:lnTo>
                  <a:lnTo>
                    <a:pt x="730" y="225"/>
                  </a:lnTo>
                  <a:lnTo>
                    <a:pt x="730" y="221"/>
                  </a:lnTo>
                  <a:lnTo>
                    <a:pt x="728" y="219"/>
                  </a:lnTo>
                  <a:lnTo>
                    <a:pt x="728" y="219"/>
                  </a:lnTo>
                  <a:lnTo>
                    <a:pt x="728" y="219"/>
                  </a:lnTo>
                  <a:lnTo>
                    <a:pt x="726" y="219"/>
                  </a:lnTo>
                  <a:lnTo>
                    <a:pt x="726" y="219"/>
                  </a:lnTo>
                  <a:lnTo>
                    <a:pt x="724" y="219"/>
                  </a:lnTo>
                  <a:lnTo>
                    <a:pt x="724" y="219"/>
                  </a:lnTo>
                  <a:lnTo>
                    <a:pt x="724" y="221"/>
                  </a:lnTo>
                  <a:lnTo>
                    <a:pt x="724" y="221"/>
                  </a:lnTo>
                  <a:lnTo>
                    <a:pt x="724" y="221"/>
                  </a:lnTo>
                  <a:lnTo>
                    <a:pt x="724" y="221"/>
                  </a:lnTo>
                  <a:lnTo>
                    <a:pt x="724" y="223"/>
                  </a:lnTo>
                  <a:lnTo>
                    <a:pt x="724" y="223"/>
                  </a:lnTo>
                  <a:lnTo>
                    <a:pt x="724" y="223"/>
                  </a:lnTo>
                  <a:lnTo>
                    <a:pt x="724" y="223"/>
                  </a:lnTo>
                  <a:lnTo>
                    <a:pt x="723" y="223"/>
                  </a:lnTo>
                  <a:lnTo>
                    <a:pt x="723" y="223"/>
                  </a:lnTo>
                  <a:lnTo>
                    <a:pt x="721" y="223"/>
                  </a:lnTo>
                  <a:lnTo>
                    <a:pt x="719" y="223"/>
                  </a:lnTo>
                  <a:lnTo>
                    <a:pt x="717" y="223"/>
                  </a:lnTo>
                  <a:lnTo>
                    <a:pt x="717" y="221"/>
                  </a:lnTo>
                  <a:lnTo>
                    <a:pt x="717" y="221"/>
                  </a:lnTo>
                  <a:lnTo>
                    <a:pt x="717" y="221"/>
                  </a:lnTo>
                  <a:lnTo>
                    <a:pt x="717" y="219"/>
                  </a:lnTo>
                  <a:lnTo>
                    <a:pt x="719" y="219"/>
                  </a:lnTo>
                  <a:lnTo>
                    <a:pt x="721" y="219"/>
                  </a:lnTo>
                  <a:lnTo>
                    <a:pt x="723" y="217"/>
                  </a:lnTo>
                  <a:lnTo>
                    <a:pt x="723" y="217"/>
                  </a:lnTo>
                  <a:lnTo>
                    <a:pt x="723" y="217"/>
                  </a:lnTo>
                  <a:lnTo>
                    <a:pt x="723" y="215"/>
                  </a:lnTo>
                  <a:lnTo>
                    <a:pt x="723" y="215"/>
                  </a:lnTo>
                  <a:lnTo>
                    <a:pt x="724" y="215"/>
                  </a:lnTo>
                  <a:lnTo>
                    <a:pt x="724" y="213"/>
                  </a:lnTo>
                  <a:lnTo>
                    <a:pt x="723" y="213"/>
                  </a:lnTo>
                  <a:lnTo>
                    <a:pt x="723" y="213"/>
                  </a:lnTo>
                  <a:lnTo>
                    <a:pt x="721" y="212"/>
                  </a:lnTo>
                  <a:lnTo>
                    <a:pt x="719" y="212"/>
                  </a:lnTo>
                  <a:lnTo>
                    <a:pt x="719" y="212"/>
                  </a:lnTo>
                  <a:lnTo>
                    <a:pt x="719" y="212"/>
                  </a:lnTo>
                  <a:lnTo>
                    <a:pt x="719" y="212"/>
                  </a:lnTo>
                  <a:lnTo>
                    <a:pt x="719" y="210"/>
                  </a:lnTo>
                  <a:lnTo>
                    <a:pt x="719" y="210"/>
                  </a:lnTo>
                  <a:lnTo>
                    <a:pt x="721" y="208"/>
                  </a:lnTo>
                  <a:lnTo>
                    <a:pt x="721" y="206"/>
                  </a:lnTo>
                  <a:lnTo>
                    <a:pt x="721" y="206"/>
                  </a:lnTo>
                  <a:lnTo>
                    <a:pt x="723" y="206"/>
                  </a:lnTo>
                  <a:lnTo>
                    <a:pt x="724" y="208"/>
                  </a:lnTo>
                  <a:lnTo>
                    <a:pt x="726" y="208"/>
                  </a:lnTo>
                  <a:lnTo>
                    <a:pt x="726" y="208"/>
                  </a:lnTo>
                  <a:lnTo>
                    <a:pt x="728" y="208"/>
                  </a:lnTo>
                  <a:lnTo>
                    <a:pt x="728" y="208"/>
                  </a:lnTo>
                  <a:lnTo>
                    <a:pt x="728" y="208"/>
                  </a:lnTo>
                  <a:lnTo>
                    <a:pt x="728" y="206"/>
                  </a:lnTo>
                  <a:lnTo>
                    <a:pt x="728" y="200"/>
                  </a:lnTo>
                  <a:lnTo>
                    <a:pt x="730" y="198"/>
                  </a:lnTo>
                  <a:lnTo>
                    <a:pt x="730" y="198"/>
                  </a:lnTo>
                  <a:lnTo>
                    <a:pt x="730" y="196"/>
                  </a:lnTo>
                  <a:lnTo>
                    <a:pt x="730" y="196"/>
                  </a:lnTo>
                  <a:lnTo>
                    <a:pt x="730" y="193"/>
                  </a:lnTo>
                  <a:lnTo>
                    <a:pt x="728" y="187"/>
                  </a:lnTo>
                  <a:lnTo>
                    <a:pt x="726" y="187"/>
                  </a:lnTo>
                  <a:lnTo>
                    <a:pt x="726" y="187"/>
                  </a:lnTo>
                  <a:lnTo>
                    <a:pt x="726" y="187"/>
                  </a:lnTo>
                  <a:lnTo>
                    <a:pt x="719" y="187"/>
                  </a:lnTo>
                  <a:lnTo>
                    <a:pt x="717" y="185"/>
                  </a:lnTo>
                  <a:lnTo>
                    <a:pt x="717" y="185"/>
                  </a:lnTo>
                  <a:lnTo>
                    <a:pt x="717" y="185"/>
                  </a:lnTo>
                  <a:lnTo>
                    <a:pt x="719" y="181"/>
                  </a:lnTo>
                  <a:lnTo>
                    <a:pt x="719" y="179"/>
                  </a:lnTo>
                  <a:lnTo>
                    <a:pt x="719" y="179"/>
                  </a:lnTo>
                  <a:lnTo>
                    <a:pt x="719" y="177"/>
                  </a:lnTo>
                  <a:lnTo>
                    <a:pt x="719" y="175"/>
                  </a:lnTo>
                  <a:lnTo>
                    <a:pt x="719" y="175"/>
                  </a:lnTo>
                  <a:lnTo>
                    <a:pt x="721" y="175"/>
                  </a:lnTo>
                  <a:lnTo>
                    <a:pt x="726" y="175"/>
                  </a:lnTo>
                  <a:lnTo>
                    <a:pt x="726" y="174"/>
                  </a:lnTo>
                  <a:lnTo>
                    <a:pt x="728" y="174"/>
                  </a:lnTo>
                  <a:lnTo>
                    <a:pt x="730" y="174"/>
                  </a:lnTo>
                  <a:lnTo>
                    <a:pt x="732" y="172"/>
                  </a:lnTo>
                  <a:lnTo>
                    <a:pt x="732" y="170"/>
                  </a:lnTo>
                  <a:lnTo>
                    <a:pt x="734" y="170"/>
                  </a:lnTo>
                  <a:lnTo>
                    <a:pt x="736" y="170"/>
                  </a:lnTo>
                  <a:lnTo>
                    <a:pt x="736" y="168"/>
                  </a:lnTo>
                  <a:lnTo>
                    <a:pt x="736" y="168"/>
                  </a:lnTo>
                  <a:lnTo>
                    <a:pt x="736" y="166"/>
                  </a:lnTo>
                  <a:lnTo>
                    <a:pt x="736" y="166"/>
                  </a:lnTo>
                  <a:lnTo>
                    <a:pt x="736" y="164"/>
                  </a:lnTo>
                  <a:lnTo>
                    <a:pt x="736" y="162"/>
                  </a:lnTo>
                  <a:lnTo>
                    <a:pt x="736" y="160"/>
                  </a:lnTo>
                  <a:lnTo>
                    <a:pt x="736" y="155"/>
                  </a:lnTo>
                  <a:lnTo>
                    <a:pt x="736" y="155"/>
                  </a:lnTo>
                  <a:lnTo>
                    <a:pt x="736" y="153"/>
                  </a:lnTo>
                  <a:lnTo>
                    <a:pt x="738" y="151"/>
                  </a:lnTo>
                  <a:lnTo>
                    <a:pt x="738" y="151"/>
                  </a:lnTo>
                  <a:lnTo>
                    <a:pt x="738" y="149"/>
                  </a:lnTo>
                  <a:lnTo>
                    <a:pt x="736" y="149"/>
                  </a:lnTo>
                  <a:lnTo>
                    <a:pt x="736" y="149"/>
                  </a:lnTo>
                  <a:lnTo>
                    <a:pt x="736" y="147"/>
                  </a:lnTo>
                  <a:lnTo>
                    <a:pt x="736" y="143"/>
                  </a:lnTo>
                  <a:lnTo>
                    <a:pt x="736" y="143"/>
                  </a:lnTo>
                  <a:lnTo>
                    <a:pt x="736" y="141"/>
                  </a:lnTo>
                  <a:lnTo>
                    <a:pt x="736" y="141"/>
                  </a:lnTo>
                  <a:lnTo>
                    <a:pt x="736" y="141"/>
                  </a:lnTo>
                  <a:lnTo>
                    <a:pt x="736" y="141"/>
                  </a:lnTo>
                  <a:lnTo>
                    <a:pt x="734" y="141"/>
                  </a:lnTo>
                  <a:lnTo>
                    <a:pt x="732" y="139"/>
                  </a:lnTo>
                  <a:lnTo>
                    <a:pt x="732" y="139"/>
                  </a:lnTo>
                  <a:lnTo>
                    <a:pt x="732" y="139"/>
                  </a:lnTo>
                  <a:lnTo>
                    <a:pt x="730" y="139"/>
                  </a:lnTo>
                  <a:lnTo>
                    <a:pt x="730" y="141"/>
                  </a:lnTo>
                  <a:lnTo>
                    <a:pt x="728" y="143"/>
                  </a:lnTo>
                  <a:lnTo>
                    <a:pt x="726" y="143"/>
                  </a:lnTo>
                  <a:lnTo>
                    <a:pt x="726" y="143"/>
                  </a:lnTo>
                  <a:lnTo>
                    <a:pt x="726" y="143"/>
                  </a:lnTo>
                  <a:lnTo>
                    <a:pt x="724" y="143"/>
                  </a:lnTo>
                  <a:lnTo>
                    <a:pt x="724" y="141"/>
                  </a:lnTo>
                  <a:lnTo>
                    <a:pt x="724" y="141"/>
                  </a:lnTo>
                  <a:lnTo>
                    <a:pt x="724" y="141"/>
                  </a:lnTo>
                  <a:lnTo>
                    <a:pt x="724" y="139"/>
                  </a:lnTo>
                  <a:lnTo>
                    <a:pt x="724" y="137"/>
                  </a:lnTo>
                  <a:lnTo>
                    <a:pt x="726" y="137"/>
                  </a:lnTo>
                  <a:lnTo>
                    <a:pt x="726" y="137"/>
                  </a:lnTo>
                  <a:lnTo>
                    <a:pt x="730" y="136"/>
                  </a:lnTo>
                  <a:lnTo>
                    <a:pt x="730" y="134"/>
                  </a:lnTo>
                  <a:lnTo>
                    <a:pt x="732" y="134"/>
                  </a:lnTo>
                  <a:lnTo>
                    <a:pt x="732" y="132"/>
                  </a:lnTo>
                  <a:lnTo>
                    <a:pt x="730" y="124"/>
                  </a:lnTo>
                  <a:lnTo>
                    <a:pt x="730" y="115"/>
                  </a:lnTo>
                  <a:lnTo>
                    <a:pt x="730" y="113"/>
                  </a:lnTo>
                  <a:lnTo>
                    <a:pt x="730" y="111"/>
                  </a:lnTo>
                  <a:lnTo>
                    <a:pt x="730" y="111"/>
                  </a:lnTo>
                  <a:lnTo>
                    <a:pt x="730" y="109"/>
                  </a:lnTo>
                  <a:lnTo>
                    <a:pt x="728" y="109"/>
                  </a:lnTo>
                  <a:lnTo>
                    <a:pt x="728" y="109"/>
                  </a:lnTo>
                  <a:lnTo>
                    <a:pt x="728" y="109"/>
                  </a:lnTo>
                  <a:lnTo>
                    <a:pt x="726" y="109"/>
                  </a:lnTo>
                  <a:lnTo>
                    <a:pt x="724" y="109"/>
                  </a:lnTo>
                  <a:lnTo>
                    <a:pt x="724" y="109"/>
                  </a:lnTo>
                  <a:lnTo>
                    <a:pt x="724" y="109"/>
                  </a:lnTo>
                  <a:lnTo>
                    <a:pt x="723" y="109"/>
                  </a:lnTo>
                  <a:lnTo>
                    <a:pt x="723" y="109"/>
                  </a:lnTo>
                  <a:lnTo>
                    <a:pt x="723" y="107"/>
                  </a:lnTo>
                  <a:lnTo>
                    <a:pt x="721" y="107"/>
                  </a:lnTo>
                  <a:lnTo>
                    <a:pt x="721" y="107"/>
                  </a:lnTo>
                  <a:lnTo>
                    <a:pt x="719" y="105"/>
                  </a:lnTo>
                  <a:lnTo>
                    <a:pt x="719" y="101"/>
                  </a:lnTo>
                  <a:lnTo>
                    <a:pt x="719" y="101"/>
                  </a:lnTo>
                  <a:lnTo>
                    <a:pt x="719" y="99"/>
                  </a:lnTo>
                  <a:lnTo>
                    <a:pt x="721" y="96"/>
                  </a:lnTo>
                  <a:lnTo>
                    <a:pt x="721" y="90"/>
                  </a:lnTo>
                  <a:lnTo>
                    <a:pt x="721" y="88"/>
                  </a:lnTo>
                  <a:lnTo>
                    <a:pt x="723" y="88"/>
                  </a:lnTo>
                  <a:lnTo>
                    <a:pt x="723" y="86"/>
                  </a:lnTo>
                  <a:lnTo>
                    <a:pt x="724" y="86"/>
                  </a:lnTo>
                  <a:lnTo>
                    <a:pt x="730" y="82"/>
                  </a:lnTo>
                  <a:lnTo>
                    <a:pt x="736" y="78"/>
                  </a:lnTo>
                  <a:lnTo>
                    <a:pt x="738" y="77"/>
                  </a:lnTo>
                  <a:lnTo>
                    <a:pt x="740" y="75"/>
                  </a:lnTo>
                  <a:lnTo>
                    <a:pt x="742" y="73"/>
                  </a:lnTo>
                  <a:lnTo>
                    <a:pt x="742" y="67"/>
                  </a:lnTo>
                  <a:lnTo>
                    <a:pt x="740" y="67"/>
                  </a:lnTo>
                  <a:lnTo>
                    <a:pt x="738" y="69"/>
                  </a:lnTo>
                  <a:lnTo>
                    <a:pt x="738" y="69"/>
                  </a:lnTo>
                  <a:lnTo>
                    <a:pt x="738" y="69"/>
                  </a:lnTo>
                  <a:lnTo>
                    <a:pt x="736" y="69"/>
                  </a:lnTo>
                  <a:lnTo>
                    <a:pt x="736" y="69"/>
                  </a:lnTo>
                  <a:lnTo>
                    <a:pt x="724" y="63"/>
                  </a:lnTo>
                  <a:lnTo>
                    <a:pt x="724" y="63"/>
                  </a:lnTo>
                  <a:lnTo>
                    <a:pt x="723" y="61"/>
                  </a:lnTo>
                  <a:lnTo>
                    <a:pt x="723" y="61"/>
                  </a:lnTo>
                  <a:lnTo>
                    <a:pt x="721" y="63"/>
                  </a:lnTo>
                  <a:lnTo>
                    <a:pt x="719" y="63"/>
                  </a:lnTo>
                  <a:lnTo>
                    <a:pt x="717" y="63"/>
                  </a:lnTo>
                  <a:lnTo>
                    <a:pt x="717" y="63"/>
                  </a:lnTo>
                  <a:lnTo>
                    <a:pt x="717" y="63"/>
                  </a:lnTo>
                  <a:lnTo>
                    <a:pt x="715" y="63"/>
                  </a:lnTo>
                  <a:lnTo>
                    <a:pt x="715" y="61"/>
                  </a:lnTo>
                  <a:lnTo>
                    <a:pt x="715" y="61"/>
                  </a:lnTo>
                  <a:lnTo>
                    <a:pt x="717" y="59"/>
                  </a:lnTo>
                  <a:lnTo>
                    <a:pt x="717" y="59"/>
                  </a:lnTo>
                  <a:lnTo>
                    <a:pt x="717" y="59"/>
                  </a:lnTo>
                  <a:lnTo>
                    <a:pt x="717" y="58"/>
                  </a:lnTo>
                  <a:lnTo>
                    <a:pt x="717" y="58"/>
                  </a:lnTo>
                  <a:lnTo>
                    <a:pt x="717" y="56"/>
                  </a:lnTo>
                  <a:lnTo>
                    <a:pt x="717" y="54"/>
                  </a:lnTo>
                  <a:lnTo>
                    <a:pt x="715" y="54"/>
                  </a:lnTo>
                  <a:lnTo>
                    <a:pt x="709" y="50"/>
                  </a:lnTo>
                  <a:lnTo>
                    <a:pt x="709" y="48"/>
                  </a:lnTo>
                  <a:lnTo>
                    <a:pt x="709" y="48"/>
                  </a:lnTo>
                  <a:lnTo>
                    <a:pt x="709" y="46"/>
                  </a:lnTo>
                  <a:lnTo>
                    <a:pt x="709" y="46"/>
                  </a:lnTo>
                  <a:lnTo>
                    <a:pt x="707" y="46"/>
                  </a:lnTo>
                  <a:lnTo>
                    <a:pt x="707" y="44"/>
                  </a:lnTo>
                  <a:lnTo>
                    <a:pt x="703" y="44"/>
                  </a:lnTo>
                  <a:lnTo>
                    <a:pt x="702" y="42"/>
                  </a:lnTo>
                  <a:lnTo>
                    <a:pt x="698" y="40"/>
                  </a:lnTo>
                  <a:lnTo>
                    <a:pt x="696" y="39"/>
                  </a:lnTo>
                  <a:lnTo>
                    <a:pt x="696" y="40"/>
                  </a:lnTo>
                  <a:lnTo>
                    <a:pt x="696" y="40"/>
                  </a:lnTo>
                  <a:lnTo>
                    <a:pt x="694" y="40"/>
                  </a:lnTo>
                  <a:lnTo>
                    <a:pt x="688" y="42"/>
                  </a:lnTo>
                  <a:lnTo>
                    <a:pt x="686" y="44"/>
                  </a:lnTo>
                  <a:lnTo>
                    <a:pt x="686" y="46"/>
                  </a:lnTo>
                  <a:lnTo>
                    <a:pt x="679" y="48"/>
                  </a:lnTo>
                  <a:lnTo>
                    <a:pt x="679" y="48"/>
                  </a:lnTo>
                  <a:lnTo>
                    <a:pt x="677" y="48"/>
                  </a:lnTo>
                  <a:lnTo>
                    <a:pt x="677" y="48"/>
                  </a:lnTo>
                  <a:lnTo>
                    <a:pt x="677" y="48"/>
                  </a:lnTo>
                  <a:lnTo>
                    <a:pt x="677" y="46"/>
                  </a:lnTo>
                  <a:lnTo>
                    <a:pt x="677" y="46"/>
                  </a:lnTo>
                  <a:lnTo>
                    <a:pt x="675" y="46"/>
                  </a:lnTo>
                  <a:lnTo>
                    <a:pt x="673" y="48"/>
                  </a:lnTo>
                  <a:lnTo>
                    <a:pt x="673" y="48"/>
                  </a:lnTo>
                  <a:lnTo>
                    <a:pt x="671" y="48"/>
                  </a:lnTo>
                  <a:lnTo>
                    <a:pt x="671" y="48"/>
                  </a:lnTo>
                  <a:lnTo>
                    <a:pt x="669" y="50"/>
                  </a:lnTo>
                  <a:lnTo>
                    <a:pt x="667" y="50"/>
                  </a:lnTo>
                  <a:lnTo>
                    <a:pt x="665" y="50"/>
                  </a:lnTo>
                  <a:lnTo>
                    <a:pt x="665" y="50"/>
                  </a:lnTo>
                  <a:lnTo>
                    <a:pt x="663" y="50"/>
                  </a:lnTo>
                  <a:lnTo>
                    <a:pt x="663" y="48"/>
                  </a:lnTo>
                  <a:lnTo>
                    <a:pt x="663" y="46"/>
                  </a:lnTo>
                  <a:lnTo>
                    <a:pt x="662" y="46"/>
                  </a:lnTo>
                  <a:lnTo>
                    <a:pt x="662" y="44"/>
                  </a:lnTo>
                  <a:lnTo>
                    <a:pt x="660" y="44"/>
                  </a:lnTo>
                  <a:lnTo>
                    <a:pt x="658" y="44"/>
                  </a:lnTo>
                  <a:lnTo>
                    <a:pt x="656" y="44"/>
                  </a:lnTo>
                  <a:lnTo>
                    <a:pt x="652" y="44"/>
                  </a:lnTo>
                  <a:lnTo>
                    <a:pt x="648" y="44"/>
                  </a:lnTo>
                  <a:lnTo>
                    <a:pt x="648" y="44"/>
                  </a:lnTo>
                  <a:lnTo>
                    <a:pt x="646" y="44"/>
                  </a:lnTo>
                  <a:lnTo>
                    <a:pt x="644" y="46"/>
                  </a:lnTo>
                  <a:lnTo>
                    <a:pt x="642" y="48"/>
                  </a:lnTo>
                  <a:lnTo>
                    <a:pt x="642" y="48"/>
                  </a:lnTo>
                  <a:lnTo>
                    <a:pt x="641" y="48"/>
                  </a:lnTo>
                  <a:lnTo>
                    <a:pt x="639" y="48"/>
                  </a:lnTo>
                  <a:lnTo>
                    <a:pt x="639" y="48"/>
                  </a:lnTo>
                  <a:lnTo>
                    <a:pt x="637" y="48"/>
                  </a:lnTo>
                  <a:lnTo>
                    <a:pt x="637" y="46"/>
                  </a:lnTo>
                  <a:lnTo>
                    <a:pt x="637" y="44"/>
                  </a:lnTo>
                  <a:lnTo>
                    <a:pt x="637" y="44"/>
                  </a:lnTo>
                  <a:lnTo>
                    <a:pt x="637" y="44"/>
                  </a:lnTo>
                  <a:lnTo>
                    <a:pt x="637" y="42"/>
                  </a:lnTo>
                  <a:lnTo>
                    <a:pt x="635" y="40"/>
                  </a:lnTo>
                  <a:lnTo>
                    <a:pt x="633" y="39"/>
                  </a:lnTo>
                  <a:lnTo>
                    <a:pt x="631" y="37"/>
                  </a:lnTo>
                  <a:lnTo>
                    <a:pt x="629" y="35"/>
                  </a:lnTo>
                  <a:lnTo>
                    <a:pt x="625" y="35"/>
                  </a:lnTo>
                  <a:lnTo>
                    <a:pt x="625" y="35"/>
                  </a:lnTo>
                  <a:lnTo>
                    <a:pt x="623" y="35"/>
                  </a:lnTo>
                  <a:lnTo>
                    <a:pt x="622" y="35"/>
                  </a:lnTo>
                  <a:lnTo>
                    <a:pt x="622" y="33"/>
                  </a:lnTo>
                  <a:lnTo>
                    <a:pt x="618" y="35"/>
                  </a:lnTo>
                  <a:lnTo>
                    <a:pt x="616" y="33"/>
                  </a:lnTo>
                  <a:lnTo>
                    <a:pt x="614" y="33"/>
                  </a:lnTo>
                  <a:lnTo>
                    <a:pt x="610" y="31"/>
                  </a:lnTo>
                  <a:lnTo>
                    <a:pt x="608" y="31"/>
                  </a:lnTo>
                  <a:lnTo>
                    <a:pt x="608" y="33"/>
                  </a:lnTo>
                  <a:lnTo>
                    <a:pt x="608" y="33"/>
                  </a:lnTo>
                  <a:lnTo>
                    <a:pt x="608" y="33"/>
                  </a:lnTo>
                  <a:lnTo>
                    <a:pt x="608" y="35"/>
                  </a:lnTo>
                  <a:lnTo>
                    <a:pt x="608" y="37"/>
                  </a:lnTo>
                  <a:lnTo>
                    <a:pt x="606" y="37"/>
                  </a:lnTo>
                  <a:lnTo>
                    <a:pt x="604" y="39"/>
                  </a:lnTo>
                  <a:lnTo>
                    <a:pt x="602" y="39"/>
                  </a:lnTo>
                  <a:lnTo>
                    <a:pt x="597" y="40"/>
                  </a:lnTo>
                  <a:lnTo>
                    <a:pt x="595" y="42"/>
                  </a:lnTo>
                  <a:lnTo>
                    <a:pt x="585" y="42"/>
                  </a:lnTo>
                  <a:lnTo>
                    <a:pt x="582" y="44"/>
                  </a:lnTo>
                  <a:lnTo>
                    <a:pt x="580" y="44"/>
                  </a:lnTo>
                  <a:lnTo>
                    <a:pt x="580" y="46"/>
                  </a:lnTo>
                  <a:lnTo>
                    <a:pt x="580" y="46"/>
                  </a:lnTo>
                  <a:lnTo>
                    <a:pt x="580" y="48"/>
                  </a:lnTo>
                  <a:lnTo>
                    <a:pt x="580" y="48"/>
                  </a:lnTo>
                  <a:lnTo>
                    <a:pt x="580" y="50"/>
                  </a:lnTo>
                  <a:lnTo>
                    <a:pt x="580" y="50"/>
                  </a:lnTo>
                  <a:lnTo>
                    <a:pt x="580" y="52"/>
                  </a:lnTo>
                  <a:lnTo>
                    <a:pt x="578" y="52"/>
                  </a:lnTo>
                  <a:lnTo>
                    <a:pt x="574" y="52"/>
                  </a:lnTo>
                  <a:lnTo>
                    <a:pt x="572" y="52"/>
                  </a:lnTo>
                  <a:lnTo>
                    <a:pt x="568" y="54"/>
                  </a:lnTo>
                  <a:lnTo>
                    <a:pt x="562" y="54"/>
                  </a:lnTo>
                  <a:lnTo>
                    <a:pt x="561" y="56"/>
                  </a:lnTo>
                  <a:lnTo>
                    <a:pt x="559" y="56"/>
                  </a:lnTo>
                  <a:lnTo>
                    <a:pt x="553" y="56"/>
                  </a:lnTo>
                  <a:lnTo>
                    <a:pt x="545" y="54"/>
                  </a:lnTo>
                  <a:lnTo>
                    <a:pt x="545" y="52"/>
                  </a:lnTo>
                  <a:lnTo>
                    <a:pt x="543" y="52"/>
                  </a:lnTo>
                  <a:lnTo>
                    <a:pt x="543" y="50"/>
                  </a:lnTo>
                  <a:lnTo>
                    <a:pt x="541" y="50"/>
                  </a:lnTo>
                  <a:lnTo>
                    <a:pt x="540" y="50"/>
                  </a:lnTo>
                  <a:lnTo>
                    <a:pt x="540" y="50"/>
                  </a:lnTo>
                  <a:lnTo>
                    <a:pt x="538" y="50"/>
                  </a:lnTo>
                  <a:lnTo>
                    <a:pt x="538" y="52"/>
                  </a:lnTo>
                  <a:lnTo>
                    <a:pt x="536" y="52"/>
                  </a:lnTo>
                  <a:lnTo>
                    <a:pt x="536" y="52"/>
                  </a:lnTo>
                  <a:lnTo>
                    <a:pt x="534" y="52"/>
                  </a:lnTo>
                  <a:lnTo>
                    <a:pt x="534" y="52"/>
                  </a:lnTo>
                  <a:lnTo>
                    <a:pt x="534" y="52"/>
                  </a:lnTo>
                  <a:lnTo>
                    <a:pt x="534" y="52"/>
                  </a:lnTo>
                  <a:lnTo>
                    <a:pt x="534" y="52"/>
                  </a:lnTo>
                  <a:lnTo>
                    <a:pt x="534" y="52"/>
                  </a:lnTo>
                  <a:lnTo>
                    <a:pt x="534" y="50"/>
                  </a:lnTo>
                  <a:lnTo>
                    <a:pt x="534" y="48"/>
                  </a:lnTo>
                  <a:lnTo>
                    <a:pt x="534" y="46"/>
                  </a:lnTo>
                  <a:lnTo>
                    <a:pt x="532" y="44"/>
                  </a:lnTo>
                  <a:lnTo>
                    <a:pt x="532" y="42"/>
                  </a:lnTo>
                  <a:lnTo>
                    <a:pt x="532" y="40"/>
                  </a:lnTo>
                  <a:lnTo>
                    <a:pt x="530" y="40"/>
                  </a:lnTo>
                  <a:lnTo>
                    <a:pt x="530" y="40"/>
                  </a:lnTo>
                  <a:lnTo>
                    <a:pt x="528" y="40"/>
                  </a:lnTo>
                  <a:lnTo>
                    <a:pt x="528" y="40"/>
                  </a:lnTo>
                  <a:lnTo>
                    <a:pt x="526" y="40"/>
                  </a:lnTo>
                  <a:lnTo>
                    <a:pt x="526" y="40"/>
                  </a:lnTo>
                  <a:lnTo>
                    <a:pt x="524" y="40"/>
                  </a:lnTo>
                  <a:lnTo>
                    <a:pt x="522" y="44"/>
                  </a:lnTo>
                  <a:lnTo>
                    <a:pt x="519" y="46"/>
                  </a:lnTo>
                  <a:lnTo>
                    <a:pt x="513" y="46"/>
                  </a:lnTo>
                  <a:lnTo>
                    <a:pt x="513" y="48"/>
                  </a:lnTo>
                  <a:lnTo>
                    <a:pt x="511" y="48"/>
                  </a:lnTo>
                  <a:lnTo>
                    <a:pt x="509" y="50"/>
                  </a:lnTo>
                  <a:lnTo>
                    <a:pt x="507" y="54"/>
                  </a:lnTo>
                  <a:lnTo>
                    <a:pt x="505" y="54"/>
                  </a:lnTo>
                  <a:lnTo>
                    <a:pt x="501" y="56"/>
                  </a:lnTo>
                  <a:lnTo>
                    <a:pt x="498" y="59"/>
                  </a:lnTo>
                  <a:lnTo>
                    <a:pt x="486" y="63"/>
                  </a:lnTo>
                  <a:lnTo>
                    <a:pt x="484" y="63"/>
                  </a:lnTo>
                  <a:lnTo>
                    <a:pt x="482" y="63"/>
                  </a:lnTo>
                  <a:lnTo>
                    <a:pt x="481" y="61"/>
                  </a:lnTo>
                  <a:lnTo>
                    <a:pt x="477" y="59"/>
                  </a:lnTo>
                  <a:lnTo>
                    <a:pt x="475" y="59"/>
                  </a:lnTo>
                  <a:lnTo>
                    <a:pt x="475" y="59"/>
                  </a:lnTo>
                  <a:lnTo>
                    <a:pt x="473" y="61"/>
                  </a:lnTo>
                  <a:lnTo>
                    <a:pt x="471" y="63"/>
                  </a:lnTo>
                  <a:lnTo>
                    <a:pt x="467" y="65"/>
                  </a:lnTo>
                  <a:lnTo>
                    <a:pt x="467" y="65"/>
                  </a:lnTo>
                  <a:lnTo>
                    <a:pt x="465" y="65"/>
                  </a:lnTo>
                  <a:lnTo>
                    <a:pt x="465" y="63"/>
                  </a:lnTo>
                  <a:lnTo>
                    <a:pt x="465" y="63"/>
                  </a:lnTo>
                  <a:lnTo>
                    <a:pt x="463" y="63"/>
                  </a:lnTo>
                  <a:lnTo>
                    <a:pt x="461" y="63"/>
                  </a:lnTo>
                  <a:lnTo>
                    <a:pt x="461" y="63"/>
                  </a:lnTo>
                  <a:lnTo>
                    <a:pt x="460" y="63"/>
                  </a:lnTo>
                  <a:lnTo>
                    <a:pt x="460" y="63"/>
                  </a:lnTo>
                  <a:lnTo>
                    <a:pt x="458" y="63"/>
                  </a:lnTo>
                  <a:lnTo>
                    <a:pt x="456" y="63"/>
                  </a:lnTo>
                  <a:lnTo>
                    <a:pt x="456" y="63"/>
                  </a:lnTo>
                  <a:lnTo>
                    <a:pt x="454" y="63"/>
                  </a:lnTo>
                  <a:lnTo>
                    <a:pt x="454" y="63"/>
                  </a:lnTo>
                  <a:lnTo>
                    <a:pt x="454" y="63"/>
                  </a:lnTo>
                  <a:lnTo>
                    <a:pt x="452" y="61"/>
                  </a:lnTo>
                  <a:lnTo>
                    <a:pt x="452" y="61"/>
                  </a:lnTo>
                  <a:lnTo>
                    <a:pt x="450" y="61"/>
                  </a:lnTo>
                  <a:lnTo>
                    <a:pt x="450" y="61"/>
                  </a:lnTo>
                  <a:lnTo>
                    <a:pt x="450" y="61"/>
                  </a:lnTo>
                  <a:lnTo>
                    <a:pt x="448" y="61"/>
                  </a:lnTo>
                  <a:lnTo>
                    <a:pt x="448" y="63"/>
                  </a:lnTo>
                  <a:lnTo>
                    <a:pt x="448" y="63"/>
                  </a:lnTo>
                  <a:lnTo>
                    <a:pt x="446" y="63"/>
                  </a:lnTo>
                  <a:lnTo>
                    <a:pt x="446" y="63"/>
                  </a:lnTo>
                  <a:lnTo>
                    <a:pt x="446" y="61"/>
                  </a:lnTo>
                  <a:lnTo>
                    <a:pt x="446" y="59"/>
                  </a:lnTo>
                  <a:lnTo>
                    <a:pt x="444" y="56"/>
                  </a:lnTo>
                  <a:lnTo>
                    <a:pt x="442" y="54"/>
                  </a:lnTo>
                  <a:lnTo>
                    <a:pt x="442" y="52"/>
                  </a:lnTo>
                  <a:lnTo>
                    <a:pt x="442" y="52"/>
                  </a:lnTo>
                  <a:lnTo>
                    <a:pt x="442" y="50"/>
                  </a:lnTo>
                  <a:lnTo>
                    <a:pt x="442" y="50"/>
                  </a:lnTo>
                  <a:lnTo>
                    <a:pt x="442" y="48"/>
                  </a:lnTo>
                  <a:lnTo>
                    <a:pt x="442" y="48"/>
                  </a:lnTo>
                  <a:lnTo>
                    <a:pt x="444" y="48"/>
                  </a:lnTo>
                  <a:lnTo>
                    <a:pt x="454" y="48"/>
                  </a:lnTo>
                  <a:lnTo>
                    <a:pt x="454" y="48"/>
                  </a:lnTo>
                  <a:lnTo>
                    <a:pt x="456" y="48"/>
                  </a:lnTo>
                  <a:lnTo>
                    <a:pt x="456" y="48"/>
                  </a:lnTo>
                  <a:lnTo>
                    <a:pt x="456" y="46"/>
                  </a:lnTo>
                  <a:lnTo>
                    <a:pt x="454" y="46"/>
                  </a:lnTo>
                  <a:lnTo>
                    <a:pt x="454" y="44"/>
                  </a:lnTo>
                  <a:lnTo>
                    <a:pt x="454" y="42"/>
                  </a:lnTo>
                  <a:lnTo>
                    <a:pt x="454" y="42"/>
                  </a:lnTo>
                  <a:lnTo>
                    <a:pt x="454" y="40"/>
                  </a:lnTo>
                  <a:lnTo>
                    <a:pt x="452" y="33"/>
                  </a:lnTo>
                  <a:lnTo>
                    <a:pt x="452" y="33"/>
                  </a:lnTo>
                  <a:lnTo>
                    <a:pt x="452" y="31"/>
                  </a:lnTo>
                  <a:lnTo>
                    <a:pt x="450" y="31"/>
                  </a:lnTo>
                  <a:lnTo>
                    <a:pt x="448" y="29"/>
                  </a:lnTo>
                  <a:lnTo>
                    <a:pt x="448" y="29"/>
                  </a:lnTo>
                  <a:lnTo>
                    <a:pt x="448" y="29"/>
                  </a:lnTo>
                  <a:lnTo>
                    <a:pt x="448" y="29"/>
                  </a:lnTo>
                  <a:lnTo>
                    <a:pt x="448" y="29"/>
                  </a:lnTo>
                  <a:lnTo>
                    <a:pt x="448" y="27"/>
                  </a:lnTo>
                  <a:lnTo>
                    <a:pt x="446" y="27"/>
                  </a:lnTo>
                  <a:lnTo>
                    <a:pt x="446" y="27"/>
                  </a:lnTo>
                  <a:lnTo>
                    <a:pt x="444" y="25"/>
                  </a:lnTo>
                  <a:lnTo>
                    <a:pt x="433" y="25"/>
                  </a:lnTo>
                  <a:lnTo>
                    <a:pt x="431" y="25"/>
                  </a:lnTo>
                  <a:lnTo>
                    <a:pt x="431" y="27"/>
                  </a:lnTo>
                  <a:lnTo>
                    <a:pt x="429" y="29"/>
                  </a:lnTo>
                  <a:lnTo>
                    <a:pt x="429" y="29"/>
                  </a:lnTo>
                  <a:lnTo>
                    <a:pt x="425" y="29"/>
                  </a:lnTo>
                  <a:lnTo>
                    <a:pt x="425" y="29"/>
                  </a:lnTo>
                  <a:lnTo>
                    <a:pt x="423" y="31"/>
                  </a:lnTo>
                  <a:lnTo>
                    <a:pt x="423" y="33"/>
                  </a:lnTo>
                  <a:lnTo>
                    <a:pt x="423" y="33"/>
                  </a:lnTo>
                  <a:lnTo>
                    <a:pt x="421" y="33"/>
                  </a:lnTo>
                  <a:lnTo>
                    <a:pt x="421" y="33"/>
                  </a:lnTo>
                  <a:lnTo>
                    <a:pt x="421" y="33"/>
                  </a:lnTo>
                  <a:lnTo>
                    <a:pt x="420" y="33"/>
                  </a:lnTo>
                  <a:lnTo>
                    <a:pt x="420" y="31"/>
                  </a:lnTo>
                  <a:lnTo>
                    <a:pt x="420" y="31"/>
                  </a:lnTo>
                  <a:lnTo>
                    <a:pt x="420" y="31"/>
                  </a:lnTo>
                  <a:lnTo>
                    <a:pt x="418" y="31"/>
                  </a:lnTo>
                  <a:lnTo>
                    <a:pt x="418" y="31"/>
                  </a:lnTo>
                  <a:lnTo>
                    <a:pt x="412" y="31"/>
                  </a:lnTo>
                  <a:lnTo>
                    <a:pt x="408" y="31"/>
                  </a:lnTo>
                  <a:lnTo>
                    <a:pt x="404" y="33"/>
                  </a:lnTo>
                  <a:lnTo>
                    <a:pt x="395" y="40"/>
                  </a:lnTo>
                  <a:lnTo>
                    <a:pt x="393" y="42"/>
                  </a:lnTo>
                  <a:lnTo>
                    <a:pt x="387" y="42"/>
                  </a:lnTo>
                  <a:lnTo>
                    <a:pt x="385" y="42"/>
                  </a:lnTo>
                  <a:lnTo>
                    <a:pt x="383" y="44"/>
                  </a:lnTo>
                  <a:lnTo>
                    <a:pt x="381" y="48"/>
                  </a:lnTo>
                  <a:lnTo>
                    <a:pt x="381" y="50"/>
                  </a:lnTo>
                  <a:lnTo>
                    <a:pt x="381" y="50"/>
                  </a:lnTo>
                  <a:lnTo>
                    <a:pt x="381" y="52"/>
                  </a:lnTo>
                  <a:lnTo>
                    <a:pt x="381" y="52"/>
                  </a:lnTo>
                  <a:lnTo>
                    <a:pt x="381" y="52"/>
                  </a:lnTo>
                  <a:lnTo>
                    <a:pt x="381" y="54"/>
                  </a:lnTo>
                  <a:lnTo>
                    <a:pt x="381" y="54"/>
                  </a:lnTo>
                  <a:lnTo>
                    <a:pt x="381" y="54"/>
                  </a:lnTo>
                  <a:lnTo>
                    <a:pt x="381" y="56"/>
                  </a:lnTo>
                  <a:lnTo>
                    <a:pt x="380" y="56"/>
                  </a:lnTo>
                  <a:lnTo>
                    <a:pt x="380" y="58"/>
                  </a:lnTo>
                  <a:lnTo>
                    <a:pt x="378" y="61"/>
                  </a:lnTo>
                  <a:lnTo>
                    <a:pt x="376" y="61"/>
                  </a:lnTo>
                  <a:lnTo>
                    <a:pt x="376" y="63"/>
                  </a:lnTo>
                  <a:lnTo>
                    <a:pt x="372" y="65"/>
                  </a:lnTo>
                  <a:lnTo>
                    <a:pt x="370" y="67"/>
                  </a:lnTo>
                  <a:lnTo>
                    <a:pt x="368" y="67"/>
                  </a:lnTo>
                  <a:lnTo>
                    <a:pt x="368" y="69"/>
                  </a:lnTo>
                  <a:lnTo>
                    <a:pt x="368" y="69"/>
                  </a:lnTo>
                  <a:lnTo>
                    <a:pt x="368" y="71"/>
                  </a:lnTo>
                  <a:lnTo>
                    <a:pt x="370" y="73"/>
                  </a:lnTo>
                  <a:lnTo>
                    <a:pt x="370" y="77"/>
                  </a:lnTo>
                  <a:lnTo>
                    <a:pt x="370" y="78"/>
                  </a:lnTo>
                  <a:lnTo>
                    <a:pt x="368" y="80"/>
                  </a:lnTo>
                  <a:lnTo>
                    <a:pt x="368" y="82"/>
                  </a:lnTo>
                  <a:lnTo>
                    <a:pt x="366" y="82"/>
                  </a:lnTo>
                  <a:lnTo>
                    <a:pt x="360" y="82"/>
                  </a:lnTo>
                  <a:lnTo>
                    <a:pt x="359" y="82"/>
                  </a:lnTo>
                  <a:lnTo>
                    <a:pt x="355" y="84"/>
                  </a:lnTo>
                  <a:lnTo>
                    <a:pt x="355" y="86"/>
                  </a:lnTo>
                  <a:lnTo>
                    <a:pt x="353" y="88"/>
                  </a:lnTo>
                  <a:lnTo>
                    <a:pt x="351" y="90"/>
                  </a:lnTo>
                  <a:lnTo>
                    <a:pt x="349" y="92"/>
                  </a:lnTo>
                  <a:lnTo>
                    <a:pt x="347" y="92"/>
                  </a:lnTo>
                  <a:lnTo>
                    <a:pt x="345" y="94"/>
                  </a:lnTo>
                  <a:lnTo>
                    <a:pt x="340" y="94"/>
                  </a:lnTo>
                  <a:lnTo>
                    <a:pt x="336" y="96"/>
                  </a:lnTo>
                  <a:lnTo>
                    <a:pt x="326" y="94"/>
                  </a:lnTo>
                  <a:lnTo>
                    <a:pt x="324" y="94"/>
                  </a:lnTo>
                  <a:lnTo>
                    <a:pt x="322" y="92"/>
                  </a:lnTo>
                  <a:lnTo>
                    <a:pt x="320" y="86"/>
                  </a:lnTo>
                  <a:lnTo>
                    <a:pt x="319" y="86"/>
                  </a:lnTo>
                  <a:lnTo>
                    <a:pt x="319" y="86"/>
                  </a:lnTo>
                  <a:lnTo>
                    <a:pt x="319" y="86"/>
                  </a:lnTo>
                  <a:lnTo>
                    <a:pt x="319" y="86"/>
                  </a:lnTo>
                  <a:lnTo>
                    <a:pt x="319" y="86"/>
                  </a:lnTo>
                  <a:lnTo>
                    <a:pt x="320" y="84"/>
                  </a:lnTo>
                  <a:lnTo>
                    <a:pt x="320" y="84"/>
                  </a:lnTo>
                  <a:lnTo>
                    <a:pt x="320" y="84"/>
                  </a:lnTo>
                  <a:lnTo>
                    <a:pt x="322" y="84"/>
                  </a:lnTo>
                  <a:lnTo>
                    <a:pt x="322" y="84"/>
                  </a:lnTo>
                  <a:lnTo>
                    <a:pt x="322" y="82"/>
                  </a:lnTo>
                  <a:lnTo>
                    <a:pt x="322" y="78"/>
                  </a:lnTo>
                  <a:lnTo>
                    <a:pt x="322" y="75"/>
                  </a:lnTo>
                  <a:lnTo>
                    <a:pt x="320" y="69"/>
                  </a:lnTo>
                  <a:lnTo>
                    <a:pt x="319" y="67"/>
                  </a:lnTo>
                  <a:lnTo>
                    <a:pt x="317" y="65"/>
                  </a:lnTo>
                  <a:lnTo>
                    <a:pt x="317" y="65"/>
                  </a:lnTo>
                  <a:lnTo>
                    <a:pt x="315" y="65"/>
                  </a:lnTo>
                  <a:lnTo>
                    <a:pt x="315" y="65"/>
                  </a:lnTo>
                  <a:lnTo>
                    <a:pt x="313" y="65"/>
                  </a:lnTo>
                  <a:lnTo>
                    <a:pt x="309" y="65"/>
                  </a:lnTo>
                  <a:lnTo>
                    <a:pt x="305" y="63"/>
                  </a:lnTo>
                  <a:lnTo>
                    <a:pt x="303" y="63"/>
                  </a:lnTo>
                  <a:lnTo>
                    <a:pt x="301" y="63"/>
                  </a:lnTo>
                  <a:lnTo>
                    <a:pt x="298" y="63"/>
                  </a:lnTo>
                  <a:lnTo>
                    <a:pt x="292" y="65"/>
                  </a:lnTo>
                  <a:lnTo>
                    <a:pt x="282" y="65"/>
                  </a:lnTo>
                  <a:lnTo>
                    <a:pt x="279" y="65"/>
                  </a:lnTo>
                  <a:lnTo>
                    <a:pt x="275" y="63"/>
                  </a:lnTo>
                  <a:lnTo>
                    <a:pt x="273" y="63"/>
                  </a:lnTo>
                  <a:lnTo>
                    <a:pt x="273" y="65"/>
                  </a:lnTo>
                  <a:lnTo>
                    <a:pt x="269" y="65"/>
                  </a:lnTo>
                  <a:lnTo>
                    <a:pt x="267" y="65"/>
                  </a:lnTo>
                  <a:lnTo>
                    <a:pt x="265" y="65"/>
                  </a:lnTo>
                  <a:lnTo>
                    <a:pt x="261" y="65"/>
                  </a:lnTo>
                  <a:lnTo>
                    <a:pt x="252" y="65"/>
                  </a:lnTo>
                  <a:lnTo>
                    <a:pt x="252" y="65"/>
                  </a:lnTo>
                  <a:lnTo>
                    <a:pt x="250" y="65"/>
                  </a:lnTo>
                  <a:lnTo>
                    <a:pt x="250" y="63"/>
                  </a:lnTo>
                  <a:lnTo>
                    <a:pt x="246" y="65"/>
                  </a:lnTo>
                  <a:lnTo>
                    <a:pt x="237" y="63"/>
                  </a:lnTo>
                  <a:lnTo>
                    <a:pt x="231" y="59"/>
                  </a:lnTo>
                  <a:lnTo>
                    <a:pt x="231" y="59"/>
                  </a:lnTo>
                  <a:lnTo>
                    <a:pt x="229" y="59"/>
                  </a:lnTo>
                  <a:lnTo>
                    <a:pt x="229" y="58"/>
                  </a:lnTo>
                  <a:lnTo>
                    <a:pt x="227" y="58"/>
                  </a:lnTo>
                  <a:lnTo>
                    <a:pt x="227" y="54"/>
                  </a:lnTo>
                  <a:lnTo>
                    <a:pt x="223" y="50"/>
                  </a:lnTo>
                  <a:lnTo>
                    <a:pt x="221" y="48"/>
                  </a:lnTo>
                  <a:lnTo>
                    <a:pt x="221" y="46"/>
                  </a:lnTo>
                  <a:lnTo>
                    <a:pt x="218" y="46"/>
                  </a:lnTo>
                  <a:lnTo>
                    <a:pt x="218" y="46"/>
                  </a:lnTo>
                  <a:lnTo>
                    <a:pt x="214" y="44"/>
                  </a:lnTo>
                  <a:lnTo>
                    <a:pt x="212" y="44"/>
                  </a:lnTo>
                  <a:lnTo>
                    <a:pt x="210" y="44"/>
                  </a:lnTo>
                  <a:lnTo>
                    <a:pt x="210" y="42"/>
                  </a:lnTo>
                  <a:lnTo>
                    <a:pt x="208" y="42"/>
                  </a:lnTo>
                  <a:lnTo>
                    <a:pt x="208" y="42"/>
                  </a:lnTo>
                  <a:lnTo>
                    <a:pt x="204" y="40"/>
                  </a:lnTo>
                  <a:lnTo>
                    <a:pt x="204" y="40"/>
                  </a:lnTo>
                  <a:lnTo>
                    <a:pt x="195" y="42"/>
                  </a:lnTo>
                  <a:lnTo>
                    <a:pt x="193" y="42"/>
                  </a:lnTo>
                  <a:lnTo>
                    <a:pt x="191" y="42"/>
                  </a:lnTo>
                  <a:lnTo>
                    <a:pt x="189" y="40"/>
                  </a:lnTo>
                  <a:lnTo>
                    <a:pt x="187" y="40"/>
                  </a:lnTo>
                  <a:lnTo>
                    <a:pt x="187" y="39"/>
                  </a:lnTo>
                  <a:lnTo>
                    <a:pt x="185" y="39"/>
                  </a:lnTo>
                  <a:lnTo>
                    <a:pt x="181" y="37"/>
                  </a:lnTo>
                  <a:lnTo>
                    <a:pt x="179" y="37"/>
                  </a:lnTo>
                  <a:lnTo>
                    <a:pt x="176" y="33"/>
                  </a:lnTo>
                  <a:lnTo>
                    <a:pt x="174" y="33"/>
                  </a:lnTo>
                  <a:lnTo>
                    <a:pt x="174" y="31"/>
                  </a:lnTo>
                  <a:lnTo>
                    <a:pt x="172" y="31"/>
                  </a:lnTo>
                  <a:lnTo>
                    <a:pt x="172" y="29"/>
                  </a:lnTo>
                  <a:lnTo>
                    <a:pt x="172" y="27"/>
                  </a:lnTo>
                  <a:lnTo>
                    <a:pt x="172" y="25"/>
                  </a:lnTo>
                  <a:lnTo>
                    <a:pt x="170" y="23"/>
                  </a:lnTo>
                  <a:lnTo>
                    <a:pt x="170" y="23"/>
                  </a:lnTo>
                  <a:lnTo>
                    <a:pt x="170" y="21"/>
                  </a:lnTo>
                  <a:lnTo>
                    <a:pt x="170" y="12"/>
                  </a:lnTo>
                  <a:lnTo>
                    <a:pt x="170" y="12"/>
                  </a:lnTo>
                  <a:lnTo>
                    <a:pt x="170" y="8"/>
                  </a:lnTo>
                  <a:lnTo>
                    <a:pt x="164" y="2"/>
                  </a:lnTo>
                  <a:lnTo>
                    <a:pt x="162" y="0"/>
                  </a:lnTo>
                  <a:lnTo>
                    <a:pt x="160" y="0"/>
                  </a:lnTo>
                  <a:lnTo>
                    <a:pt x="157" y="4"/>
                  </a:lnTo>
                  <a:lnTo>
                    <a:pt x="157" y="4"/>
                  </a:lnTo>
                  <a:lnTo>
                    <a:pt x="155" y="6"/>
                  </a:lnTo>
                  <a:lnTo>
                    <a:pt x="153" y="6"/>
                  </a:lnTo>
                  <a:lnTo>
                    <a:pt x="153" y="6"/>
                  </a:lnTo>
                  <a:lnTo>
                    <a:pt x="151" y="6"/>
                  </a:lnTo>
                  <a:lnTo>
                    <a:pt x="151" y="6"/>
                  </a:lnTo>
                  <a:lnTo>
                    <a:pt x="151" y="8"/>
                  </a:lnTo>
                  <a:lnTo>
                    <a:pt x="151" y="8"/>
                  </a:lnTo>
                  <a:lnTo>
                    <a:pt x="151" y="8"/>
                  </a:lnTo>
                  <a:lnTo>
                    <a:pt x="149" y="10"/>
                  </a:lnTo>
                  <a:lnTo>
                    <a:pt x="147" y="10"/>
                  </a:lnTo>
                  <a:lnTo>
                    <a:pt x="145" y="10"/>
                  </a:lnTo>
                  <a:lnTo>
                    <a:pt x="143" y="10"/>
                  </a:lnTo>
                  <a:lnTo>
                    <a:pt x="141" y="10"/>
                  </a:lnTo>
                  <a:lnTo>
                    <a:pt x="139" y="8"/>
                  </a:lnTo>
                  <a:lnTo>
                    <a:pt x="138" y="8"/>
                  </a:lnTo>
                  <a:lnTo>
                    <a:pt x="130" y="8"/>
                  </a:lnTo>
                  <a:lnTo>
                    <a:pt x="122" y="14"/>
                  </a:lnTo>
                  <a:lnTo>
                    <a:pt x="122" y="14"/>
                  </a:lnTo>
                  <a:lnTo>
                    <a:pt x="120" y="16"/>
                  </a:lnTo>
                  <a:lnTo>
                    <a:pt x="117" y="16"/>
                  </a:lnTo>
                  <a:lnTo>
                    <a:pt x="117" y="16"/>
                  </a:lnTo>
                  <a:lnTo>
                    <a:pt x="113" y="18"/>
                  </a:lnTo>
                  <a:lnTo>
                    <a:pt x="109" y="20"/>
                  </a:lnTo>
                  <a:lnTo>
                    <a:pt x="109" y="20"/>
                  </a:lnTo>
                  <a:lnTo>
                    <a:pt x="107" y="20"/>
                  </a:lnTo>
                  <a:lnTo>
                    <a:pt x="107" y="21"/>
                  </a:lnTo>
                  <a:lnTo>
                    <a:pt x="105" y="23"/>
                  </a:lnTo>
                  <a:lnTo>
                    <a:pt x="107" y="23"/>
                  </a:lnTo>
                  <a:lnTo>
                    <a:pt x="107" y="27"/>
                  </a:lnTo>
                  <a:lnTo>
                    <a:pt x="107" y="27"/>
                  </a:lnTo>
                  <a:lnTo>
                    <a:pt x="107" y="29"/>
                  </a:lnTo>
                  <a:lnTo>
                    <a:pt x="107" y="31"/>
                  </a:lnTo>
                  <a:lnTo>
                    <a:pt x="107" y="31"/>
                  </a:lnTo>
                  <a:lnTo>
                    <a:pt x="109" y="33"/>
                  </a:lnTo>
                  <a:lnTo>
                    <a:pt x="109" y="33"/>
                  </a:lnTo>
                  <a:lnTo>
                    <a:pt x="111" y="35"/>
                  </a:lnTo>
                  <a:lnTo>
                    <a:pt x="109" y="39"/>
                  </a:lnTo>
                  <a:lnTo>
                    <a:pt x="107" y="39"/>
                  </a:lnTo>
                  <a:lnTo>
                    <a:pt x="105" y="40"/>
                  </a:lnTo>
                  <a:lnTo>
                    <a:pt x="103" y="40"/>
                  </a:lnTo>
                  <a:lnTo>
                    <a:pt x="101" y="40"/>
                  </a:lnTo>
                  <a:lnTo>
                    <a:pt x="101" y="42"/>
                  </a:lnTo>
                  <a:lnTo>
                    <a:pt x="103" y="42"/>
                  </a:lnTo>
                  <a:lnTo>
                    <a:pt x="103" y="44"/>
                  </a:lnTo>
                  <a:lnTo>
                    <a:pt x="105" y="48"/>
                  </a:lnTo>
                  <a:lnTo>
                    <a:pt x="107" y="48"/>
                  </a:lnTo>
                  <a:lnTo>
                    <a:pt x="107" y="52"/>
                  </a:lnTo>
                  <a:lnTo>
                    <a:pt x="107" y="52"/>
                  </a:lnTo>
                  <a:lnTo>
                    <a:pt x="109" y="52"/>
                  </a:lnTo>
                  <a:lnTo>
                    <a:pt x="109" y="52"/>
                  </a:lnTo>
                  <a:lnTo>
                    <a:pt x="111" y="50"/>
                  </a:lnTo>
                  <a:lnTo>
                    <a:pt x="118" y="50"/>
                  </a:lnTo>
                  <a:lnTo>
                    <a:pt x="120" y="48"/>
                  </a:lnTo>
                  <a:lnTo>
                    <a:pt x="124" y="48"/>
                  </a:lnTo>
                  <a:lnTo>
                    <a:pt x="126" y="46"/>
                  </a:lnTo>
                  <a:lnTo>
                    <a:pt x="128" y="46"/>
                  </a:lnTo>
                  <a:lnTo>
                    <a:pt x="136" y="48"/>
                  </a:lnTo>
                  <a:lnTo>
                    <a:pt x="136" y="48"/>
                  </a:lnTo>
                  <a:lnTo>
                    <a:pt x="136" y="46"/>
                  </a:lnTo>
                  <a:lnTo>
                    <a:pt x="138" y="46"/>
                  </a:lnTo>
                  <a:lnTo>
                    <a:pt x="138" y="46"/>
                  </a:lnTo>
                  <a:lnTo>
                    <a:pt x="138" y="46"/>
                  </a:lnTo>
                  <a:lnTo>
                    <a:pt x="138" y="46"/>
                  </a:lnTo>
                  <a:lnTo>
                    <a:pt x="139" y="46"/>
                  </a:lnTo>
                  <a:lnTo>
                    <a:pt x="139" y="46"/>
                  </a:lnTo>
                  <a:lnTo>
                    <a:pt x="141" y="46"/>
                  </a:lnTo>
                  <a:lnTo>
                    <a:pt x="141" y="48"/>
                  </a:lnTo>
                  <a:lnTo>
                    <a:pt x="141" y="48"/>
                  </a:lnTo>
                  <a:lnTo>
                    <a:pt x="143" y="48"/>
                  </a:lnTo>
                  <a:lnTo>
                    <a:pt x="147" y="48"/>
                  </a:lnTo>
                  <a:lnTo>
                    <a:pt x="147" y="48"/>
                  </a:lnTo>
                  <a:lnTo>
                    <a:pt x="147" y="46"/>
                  </a:lnTo>
                  <a:lnTo>
                    <a:pt x="149" y="46"/>
                  </a:lnTo>
                  <a:lnTo>
                    <a:pt x="151" y="46"/>
                  </a:lnTo>
                  <a:lnTo>
                    <a:pt x="151" y="46"/>
                  </a:lnTo>
                  <a:lnTo>
                    <a:pt x="151" y="46"/>
                  </a:lnTo>
                  <a:lnTo>
                    <a:pt x="151" y="46"/>
                  </a:lnTo>
                  <a:lnTo>
                    <a:pt x="151" y="46"/>
                  </a:lnTo>
                  <a:lnTo>
                    <a:pt x="153" y="48"/>
                  </a:lnTo>
                  <a:lnTo>
                    <a:pt x="153" y="48"/>
                  </a:lnTo>
                  <a:lnTo>
                    <a:pt x="153" y="50"/>
                  </a:lnTo>
                  <a:lnTo>
                    <a:pt x="153" y="50"/>
                  </a:lnTo>
                  <a:lnTo>
                    <a:pt x="153" y="50"/>
                  </a:lnTo>
                  <a:lnTo>
                    <a:pt x="153" y="52"/>
                  </a:lnTo>
                  <a:lnTo>
                    <a:pt x="151" y="52"/>
                  </a:lnTo>
                  <a:lnTo>
                    <a:pt x="149" y="54"/>
                  </a:lnTo>
                  <a:lnTo>
                    <a:pt x="147" y="54"/>
                  </a:lnTo>
                  <a:lnTo>
                    <a:pt x="136" y="58"/>
                  </a:lnTo>
                  <a:lnTo>
                    <a:pt x="134" y="58"/>
                  </a:lnTo>
                  <a:lnTo>
                    <a:pt x="134" y="58"/>
                  </a:lnTo>
                  <a:lnTo>
                    <a:pt x="130" y="56"/>
                  </a:lnTo>
                  <a:lnTo>
                    <a:pt x="130" y="56"/>
                  </a:lnTo>
                  <a:lnTo>
                    <a:pt x="128" y="56"/>
                  </a:lnTo>
                  <a:lnTo>
                    <a:pt x="128" y="58"/>
                  </a:lnTo>
                  <a:lnTo>
                    <a:pt x="126" y="59"/>
                  </a:lnTo>
                  <a:lnTo>
                    <a:pt x="124" y="61"/>
                  </a:lnTo>
                  <a:lnTo>
                    <a:pt x="122" y="61"/>
                  </a:lnTo>
                  <a:lnTo>
                    <a:pt x="120" y="63"/>
                  </a:lnTo>
                  <a:lnTo>
                    <a:pt x="120" y="65"/>
                  </a:lnTo>
                  <a:lnTo>
                    <a:pt x="118" y="71"/>
                  </a:lnTo>
                  <a:lnTo>
                    <a:pt x="117" y="73"/>
                  </a:lnTo>
                  <a:lnTo>
                    <a:pt x="117" y="75"/>
                  </a:lnTo>
                  <a:lnTo>
                    <a:pt x="111" y="77"/>
                  </a:lnTo>
                  <a:lnTo>
                    <a:pt x="111" y="77"/>
                  </a:lnTo>
                  <a:lnTo>
                    <a:pt x="109" y="75"/>
                  </a:lnTo>
                  <a:lnTo>
                    <a:pt x="107" y="75"/>
                  </a:lnTo>
                  <a:lnTo>
                    <a:pt x="107" y="75"/>
                  </a:lnTo>
                  <a:lnTo>
                    <a:pt x="107" y="75"/>
                  </a:lnTo>
                  <a:lnTo>
                    <a:pt x="105" y="77"/>
                  </a:lnTo>
                  <a:lnTo>
                    <a:pt x="105" y="80"/>
                  </a:lnTo>
                  <a:lnTo>
                    <a:pt x="103" y="82"/>
                  </a:lnTo>
                  <a:lnTo>
                    <a:pt x="103" y="82"/>
                  </a:lnTo>
                  <a:lnTo>
                    <a:pt x="101" y="82"/>
                  </a:lnTo>
                  <a:lnTo>
                    <a:pt x="99" y="84"/>
                  </a:lnTo>
                  <a:lnTo>
                    <a:pt x="99" y="84"/>
                  </a:lnTo>
                  <a:lnTo>
                    <a:pt x="99" y="84"/>
                  </a:lnTo>
                  <a:lnTo>
                    <a:pt x="98" y="86"/>
                  </a:lnTo>
                  <a:lnTo>
                    <a:pt x="98" y="86"/>
                  </a:lnTo>
                  <a:lnTo>
                    <a:pt x="98" y="86"/>
                  </a:lnTo>
                  <a:lnTo>
                    <a:pt x="96" y="86"/>
                  </a:lnTo>
                  <a:lnTo>
                    <a:pt x="96" y="86"/>
                  </a:lnTo>
                  <a:lnTo>
                    <a:pt x="94" y="86"/>
                  </a:lnTo>
                  <a:lnTo>
                    <a:pt x="94" y="84"/>
                  </a:lnTo>
                  <a:lnTo>
                    <a:pt x="94" y="86"/>
                  </a:lnTo>
                  <a:lnTo>
                    <a:pt x="92" y="86"/>
                  </a:lnTo>
                  <a:lnTo>
                    <a:pt x="92" y="86"/>
                  </a:lnTo>
                  <a:lnTo>
                    <a:pt x="92" y="86"/>
                  </a:lnTo>
                  <a:lnTo>
                    <a:pt x="86" y="82"/>
                  </a:lnTo>
                  <a:lnTo>
                    <a:pt x="84" y="82"/>
                  </a:lnTo>
                  <a:lnTo>
                    <a:pt x="84" y="82"/>
                  </a:lnTo>
                  <a:lnTo>
                    <a:pt x="84" y="82"/>
                  </a:lnTo>
                  <a:lnTo>
                    <a:pt x="84" y="84"/>
                  </a:lnTo>
                  <a:lnTo>
                    <a:pt x="84" y="84"/>
                  </a:lnTo>
                  <a:lnTo>
                    <a:pt x="84" y="84"/>
                  </a:lnTo>
                  <a:lnTo>
                    <a:pt x="88" y="88"/>
                  </a:lnTo>
                  <a:lnTo>
                    <a:pt x="92" y="90"/>
                  </a:lnTo>
                  <a:lnTo>
                    <a:pt x="94" y="90"/>
                  </a:lnTo>
                  <a:lnTo>
                    <a:pt x="94" y="90"/>
                  </a:lnTo>
                  <a:lnTo>
                    <a:pt x="96" y="90"/>
                  </a:lnTo>
                  <a:lnTo>
                    <a:pt x="96" y="90"/>
                  </a:lnTo>
                  <a:lnTo>
                    <a:pt x="98" y="90"/>
                  </a:lnTo>
                  <a:lnTo>
                    <a:pt x="98" y="90"/>
                  </a:lnTo>
                  <a:lnTo>
                    <a:pt x="99" y="92"/>
                  </a:lnTo>
                  <a:lnTo>
                    <a:pt x="99" y="92"/>
                  </a:lnTo>
                  <a:lnTo>
                    <a:pt x="99" y="94"/>
                  </a:lnTo>
                  <a:lnTo>
                    <a:pt x="101" y="96"/>
                  </a:lnTo>
                  <a:lnTo>
                    <a:pt x="103" y="96"/>
                  </a:lnTo>
                  <a:lnTo>
                    <a:pt x="105" y="96"/>
                  </a:lnTo>
                  <a:lnTo>
                    <a:pt x="107" y="97"/>
                  </a:lnTo>
                  <a:lnTo>
                    <a:pt x="107" y="99"/>
                  </a:lnTo>
                  <a:lnTo>
                    <a:pt x="109" y="101"/>
                  </a:lnTo>
                  <a:lnTo>
                    <a:pt x="111" y="103"/>
                  </a:lnTo>
                  <a:lnTo>
                    <a:pt x="113" y="103"/>
                  </a:lnTo>
                  <a:lnTo>
                    <a:pt x="113" y="105"/>
                  </a:lnTo>
                  <a:lnTo>
                    <a:pt x="113" y="105"/>
                  </a:lnTo>
                  <a:lnTo>
                    <a:pt x="115" y="109"/>
                  </a:lnTo>
                  <a:lnTo>
                    <a:pt x="115" y="111"/>
                  </a:lnTo>
                  <a:lnTo>
                    <a:pt x="117" y="113"/>
                  </a:lnTo>
                  <a:lnTo>
                    <a:pt x="117" y="120"/>
                  </a:lnTo>
                  <a:lnTo>
                    <a:pt x="117" y="122"/>
                  </a:lnTo>
                  <a:lnTo>
                    <a:pt x="117" y="124"/>
                  </a:lnTo>
                  <a:lnTo>
                    <a:pt x="117" y="126"/>
                  </a:lnTo>
                  <a:lnTo>
                    <a:pt x="115" y="126"/>
                  </a:lnTo>
                  <a:lnTo>
                    <a:pt x="115" y="128"/>
                  </a:lnTo>
                  <a:lnTo>
                    <a:pt x="111" y="132"/>
                  </a:lnTo>
                  <a:lnTo>
                    <a:pt x="107" y="134"/>
                  </a:lnTo>
                  <a:lnTo>
                    <a:pt x="107" y="136"/>
                  </a:lnTo>
                  <a:lnTo>
                    <a:pt x="107" y="137"/>
                  </a:lnTo>
                  <a:lnTo>
                    <a:pt x="107" y="137"/>
                  </a:lnTo>
                  <a:lnTo>
                    <a:pt x="107" y="139"/>
                  </a:lnTo>
                  <a:lnTo>
                    <a:pt x="107" y="139"/>
                  </a:lnTo>
                  <a:lnTo>
                    <a:pt x="105" y="141"/>
                  </a:lnTo>
                  <a:lnTo>
                    <a:pt x="105" y="141"/>
                  </a:lnTo>
                  <a:lnTo>
                    <a:pt x="103" y="143"/>
                  </a:lnTo>
                  <a:lnTo>
                    <a:pt x="101" y="143"/>
                  </a:lnTo>
                  <a:lnTo>
                    <a:pt x="98" y="145"/>
                  </a:lnTo>
                  <a:lnTo>
                    <a:pt x="98" y="145"/>
                  </a:lnTo>
                  <a:lnTo>
                    <a:pt x="92" y="145"/>
                  </a:lnTo>
                  <a:lnTo>
                    <a:pt x="92" y="145"/>
                  </a:lnTo>
                  <a:lnTo>
                    <a:pt x="90" y="145"/>
                  </a:lnTo>
                  <a:lnTo>
                    <a:pt x="90" y="145"/>
                  </a:lnTo>
                  <a:lnTo>
                    <a:pt x="88" y="141"/>
                  </a:lnTo>
                  <a:lnTo>
                    <a:pt x="86" y="139"/>
                  </a:lnTo>
                  <a:lnTo>
                    <a:pt x="86" y="139"/>
                  </a:lnTo>
                  <a:lnTo>
                    <a:pt x="82" y="137"/>
                  </a:lnTo>
                  <a:lnTo>
                    <a:pt x="78" y="136"/>
                  </a:lnTo>
                  <a:lnTo>
                    <a:pt x="78" y="136"/>
                  </a:lnTo>
                  <a:lnTo>
                    <a:pt x="78" y="136"/>
                  </a:lnTo>
                  <a:lnTo>
                    <a:pt x="77" y="134"/>
                  </a:lnTo>
                  <a:lnTo>
                    <a:pt x="77" y="134"/>
                  </a:lnTo>
                  <a:lnTo>
                    <a:pt x="75" y="132"/>
                  </a:lnTo>
                  <a:lnTo>
                    <a:pt x="75" y="130"/>
                  </a:lnTo>
                  <a:lnTo>
                    <a:pt x="75" y="130"/>
                  </a:lnTo>
                  <a:lnTo>
                    <a:pt x="75" y="130"/>
                  </a:lnTo>
                  <a:lnTo>
                    <a:pt x="73" y="130"/>
                  </a:lnTo>
                  <a:lnTo>
                    <a:pt x="73" y="130"/>
                  </a:lnTo>
                  <a:lnTo>
                    <a:pt x="73" y="130"/>
                  </a:lnTo>
                  <a:lnTo>
                    <a:pt x="71" y="134"/>
                  </a:lnTo>
                  <a:lnTo>
                    <a:pt x="71" y="136"/>
                  </a:lnTo>
                  <a:lnTo>
                    <a:pt x="67" y="136"/>
                  </a:lnTo>
                  <a:lnTo>
                    <a:pt x="67" y="136"/>
                  </a:lnTo>
                  <a:lnTo>
                    <a:pt x="67" y="137"/>
                  </a:lnTo>
                  <a:lnTo>
                    <a:pt x="67" y="137"/>
                  </a:lnTo>
                  <a:lnTo>
                    <a:pt x="67" y="137"/>
                  </a:lnTo>
                  <a:lnTo>
                    <a:pt x="67" y="137"/>
                  </a:lnTo>
                  <a:lnTo>
                    <a:pt x="69" y="137"/>
                  </a:lnTo>
                  <a:lnTo>
                    <a:pt x="69" y="137"/>
                  </a:lnTo>
                  <a:lnTo>
                    <a:pt x="69" y="137"/>
                  </a:lnTo>
                  <a:lnTo>
                    <a:pt x="71" y="139"/>
                  </a:lnTo>
                  <a:lnTo>
                    <a:pt x="71" y="139"/>
                  </a:lnTo>
                  <a:lnTo>
                    <a:pt x="71" y="141"/>
                  </a:lnTo>
                  <a:lnTo>
                    <a:pt x="71" y="141"/>
                  </a:lnTo>
                  <a:lnTo>
                    <a:pt x="71" y="143"/>
                  </a:lnTo>
                  <a:lnTo>
                    <a:pt x="71" y="143"/>
                  </a:lnTo>
                  <a:lnTo>
                    <a:pt x="73" y="143"/>
                  </a:lnTo>
                  <a:lnTo>
                    <a:pt x="73" y="143"/>
                  </a:lnTo>
                  <a:lnTo>
                    <a:pt x="73" y="143"/>
                  </a:lnTo>
                  <a:lnTo>
                    <a:pt x="75" y="143"/>
                  </a:lnTo>
                  <a:lnTo>
                    <a:pt x="75" y="143"/>
                  </a:lnTo>
                  <a:lnTo>
                    <a:pt x="75" y="145"/>
                  </a:lnTo>
                  <a:lnTo>
                    <a:pt x="75" y="147"/>
                  </a:lnTo>
                  <a:lnTo>
                    <a:pt x="75" y="149"/>
                  </a:lnTo>
                  <a:lnTo>
                    <a:pt x="73" y="153"/>
                  </a:lnTo>
                  <a:lnTo>
                    <a:pt x="69" y="160"/>
                  </a:lnTo>
                  <a:lnTo>
                    <a:pt x="67" y="162"/>
                  </a:lnTo>
                  <a:lnTo>
                    <a:pt x="65" y="164"/>
                  </a:lnTo>
                  <a:lnTo>
                    <a:pt x="67" y="164"/>
                  </a:lnTo>
                  <a:lnTo>
                    <a:pt x="67" y="166"/>
                  </a:lnTo>
                  <a:lnTo>
                    <a:pt x="67" y="166"/>
                  </a:lnTo>
                  <a:lnTo>
                    <a:pt x="67" y="166"/>
                  </a:lnTo>
                  <a:lnTo>
                    <a:pt x="67" y="166"/>
                  </a:lnTo>
                  <a:lnTo>
                    <a:pt x="69" y="168"/>
                  </a:lnTo>
                  <a:lnTo>
                    <a:pt x="69" y="168"/>
                  </a:lnTo>
                  <a:lnTo>
                    <a:pt x="69" y="170"/>
                  </a:lnTo>
                  <a:lnTo>
                    <a:pt x="69" y="174"/>
                  </a:lnTo>
                  <a:lnTo>
                    <a:pt x="69" y="175"/>
                  </a:lnTo>
                  <a:lnTo>
                    <a:pt x="69" y="177"/>
                  </a:lnTo>
                  <a:lnTo>
                    <a:pt x="67" y="177"/>
                  </a:lnTo>
                  <a:lnTo>
                    <a:pt x="67" y="179"/>
                  </a:lnTo>
                  <a:lnTo>
                    <a:pt x="67" y="179"/>
                  </a:lnTo>
                  <a:lnTo>
                    <a:pt x="69" y="181"/>
                  </a:lnTo>
                  <a:lnTo>
                    <a:pt x="67" y="183"/>
                  </a:lnTo>
                  <a:lnTo>
                    <a:pt x="67" y="183"/>
                  </a:lnTo>
                  <a:lnTo>
                    <a:pt x="67" y="183"/>
                  </a:lnTo>
                  <a:lnTo>
                    <a:pt x="65" y="183"/>
                  </a:lnTo>
                  <a:lnTo>
                    <a:pt x="63" y="183"/>
                  </a:lnTo>
                  <a:lnTo>
                    <a:pt x="57" y="181"/>
                  </a:lnTo>
                  <a:lnTo>
                    <a:pt x="57" y="181"/>
                  </a:lnTo>
                  <a:lnTo>
                    <a:pt x="56" y="183"/>
                  </a:lnTo>
                  <a:lnTo>
                    <a:pt x="56" y="183"/>
                  </a:lnTo>
                  <a:lnTo>
                    <a:pt x="56" y="185"/>
                  </a:lnTo>
                  <a:lnTo>
                    <a:pt x="56" y="185"/>
                  </a:lnTo>
                  <a:lnTo>
                    <a:pt x="56" y="185"/>
                  </a:lnTo>
                  <a:lnTo>
                    <a:pt x="56" y="187"/>
                  </a:lnTo>
                  <a:lnTo>
                    <a:pt x="56" y="187"/>
                  </a:lnTo>
                  <a:lnTo>
                    <a:pt x="54" y="187"/>
                  </a:lnTo>
                  <a:lnTo>
                    <a:pt x="54" y="189"/>
                  </a:lnTo>
                  <a:lnTo>
                    <a:pt x="52" y="189"/>
                  </a:lnTo>
                  <a:lnTo>
                    <a:pt x="52" y="189"/>
                  </a:lnTo>
                  <a:lnTo>
                    <a:pt x="50" y="189"/>
                  </a:lnTo>
                  <a:lnTo>
                    <a:pt x="48" y="189"/>
                  </a:lnTo>
                  <a:lnTo>
                    <a:pt x="48" y="193"/>
                  </a:lnTo>
                  <a:lnTo>
                    <a:pt x="48" y="194"/>
                  </a:lnTo>
                  <a:lnTo>
                    <a:pt x="48" y="196"/>
                  </a:lnTo>
                  <a:lnTo>
                    <a:pt x="46" y="196"/>
                  </a:lnTo>
                  <a:lnTo>
                    <a:pt x="46" y="198"/>
                  </a:lnTo>
                  <a:lnTo>
                    <a:pt x="46" y="198"/>
                  </a:lnTo>
                  <a:lnTo>
                    <a:pt x="46" y="198"/>
                  </a:lnTo>
                  <a:lnTo>
                    <a:pt x="44" y="196"/>
                  </a:lnTo>
                  <a:lnTo>
                    <a:pt x="44" y="196"/>
                  </a:lnTo>
                  <a:lnTo>
                    <a:pt x="42" y="194"/>
                  </a:lnTo>
                  <a:lnTo>
                    <a:pt x="42" y="194"/>
                  </a:lnTo>
                  <a:lnTo>
                    <a:pt x="40" y="194"/>
                  </a:lnTo>
                  <a:lnTo>
                    <a:pt x="40" y="194"/>
                  </a:lnTo>
                  <a:lnTo>
                    <a:pt x="38" y="196"/>
                  </a:lnTo>
                  <a:lnTo>
                    <a:pt x="38" y="196"/>
                  </a:lnTo>
                  <a:lnTo>
                    <a:pt x="38" y="196"/>
                  </a:lnTo>
                  <a:lnTo>
                    <a:pt x="38" y="196"/>
                  </a:lnTo>
                  <a:lnTo>
                    <a:pt x="37" y="196"/>
                  </a:lnTo>
                  <a:lnTo>
                    <a:pt x="37" y="194"/>
                  </a:lnTo>
                  <a:lnTo>
                    <a:pt x="37" y="194"/>
                  </a:lnTo>
                  <a:lnTo>
                    <a:pt x="35" y="194"/>
                  </a:lnTo>
                  <a:lnTo>
                    <a:pt x="35" y="196"/>
                  </a:lnTo>
                  <a:lnTo>
                    <a:pt x="33" y="196"/>
                  </a:lnTo>
                  <a:lnTo>
                    <a:pt x="33" y="196"/>
                  </a:lnTo>
                  <a:lnTo>
                    <a:pt x="33" y="196"/>
                  </a:lnTo>
                  <a:lnTo>
                    <a:pt x="31" y="196"/>
                  </a:lnTo>
                  <a:lnTo>
                    <a:pt x="31" y="194"/>
                  </a:lnTo>
                  <a:lnTo>
                    <a:pt x="29" y="193"/>
                  </a:lnTo>
                  <a:lnTo>
                    <a:pt x="27" y="189"/>
                  </a:lnTo>
                  <a:lnTo>
                    <a:pt x="23" y="191"/>
                  </a:lnTo>
                  <a:lnTo>
                    <a:pt x="21" y="191"/>
                  </a:lnTo>
                  <a:lnTo>
                    <a:pt x="19" y="191"/>
                  </a:lnTo>
                  <a:lnTo>
                    <a:pt x="17" y="191"/>
                  </a:lnTo>
                  <a:lnTo>
                    <a:pt x="16" y="191"/>
                  </a:lnTo>
                  <a:lnTo>
                    <a:pt x="16" y="191"/>
                  </a:lnTo>
                  <a:lnTo>
                    <a:pt x="16" y="191"/>
                  </a:lnTo>
                  <a:lnTo>
                    <a:pt x="16" y="191"/>
                  </a:lnTo>
                  <a:lnTo>
                    <a:pt x="12" y="191"/>
                  </a:lnTo>
                  <a:lnTo>
                    <a:pt x="12" y="191"/>
                  </a:lnTo>
                  <a:lnTo>
                    <a:pt x="12" y="191"/>
                  </a:lnTo>
                  <a:lnTo>
                    <a:pt x="10" y="191"/>
                  </a:lnTo>
                  <a:lnTo>
                    <a:pt x="10" y="193"/>
                  </a:lnTo>
                  <a:lnTo>
                    <a:pt x="8" y="193"/>
                  </a:lnTo>
                  <a:lnTo>
                    <a:pt x="6" y="193"/>
                  </a:lnTo>
                  <a:lnTo>
                    <a:pt x="6" y="194"/>
                  </a:lnTo>
                  <a:lnTo>
                    <a:pt x="6" y="200"/>
                  </a:lnTo>
                  <a:lnTo>
                    <a:pt x="6" y="200"/>
                  </a:lnTo>
                  <a:lnTo>
                    <a:pt x="4" y="202"/>
                  </a:lnTo>
                  <a:lnTo>
                    <a:pt x="4" y="204"/>
                  </a:lnTo>
                  <a:lnTo>
                    <a:pt x="2" y="204"/>
                  </a:lnTo>
                  <a:lnTo>
                    <a:pt x="2" y="206"/>
                  </a:lnTo>
                  <a:lnTo>
                    <a:pt x="2" y="206"/>
                  </a:lnTo>
                  <a:lnTo>
                    <a:pt x="2" y="208"/>
                  </a:lnTo>
                  <a:lnTo>
                    <a:pt x="2" y="212"/>
                  </a:lnTo>
                  <a:lnTo>
                    <a:pt x="0" y="213"/>
                  </a:lnTo>
                  <a:lnTo>
                    <a:pt x="0" y="215"/>
                  </a:lnTo>
                  <a:lnTo>
                    <a:pt x="0" y="215"/>
                  </a:lnTo>
                  <a:lnTo>
                    <a:pt x="2" y="219"/>
                  </a:lnTo>
                  <a:lnTo>
                    <a:pt x="2" y="219"/>
                  </a:lnTo>
                  <a:lnTo>
                    <a:pt x="2" y="223"/>
                  </a:lnTo>
                  <a:lnTo>
                    <a:pt x="2" y="225"/>
                  </a:lnTo>
                  <a:lnTo>
                    <a:pt x="4" y="225"/>
                  </a:lnTo>
                  <a:lnTo>
                    <a:pt x="8" y="221"/>
                  </a:lnTo>
                  <a:lnTo>
                    <a:pt x="8" y="223"/>
                  </a:lnTo>
                  <a:lnTo>
                    <a:pt x="8" y="223"/>
                  </a:lnTo>
                  <a:lnTo>
                    <a:pt x="8" y="223"/>
                  </a:lnTo>
                  <a:lnTo>
                    <a:pt x="8" y="225"/>
                  </a:lnTo>
                  <a:lnTo>
                    <a:pt x="8" y="225"/>
                  </a:lnTo>
                  <a:lnTo>
                    <a:pt x="6" y="225"/>
                  </a:lnTo>
                  <a:lnTo>
                    <a:pt x="6" y="225"/>
                  </a:lnTo>
                  <a:lnTo>
                    <a:pt x="6" y="227"/>
                  </a:lnTo>
                  <a:lnTo>
                    <a:pt x="8" y="229"/>
                  </a:lnTo>
                  <a:lnTo>
                    <a:pt x="8" y="229"/>
                  </a:lnTo>
                  <a:lnTo>
                    <a:pt x="6" y="231"/>
                  </a:lnTo>
                  <a:lnTo>
                    <a:pt x="6" y="229"/>
                  </a:lnTo>
                  <a:lnTo>
                    <a:pt x="4" y="229"/>
                  </a:lnTo>
                  <a:lnTo>
                    <a:pt x="4" y="229"/>
                  </a:lnTo>
                  <a:lnTo>
                    <a:pt x="4" y="227"/>
                  </a:lnTo>
                  <a:lnTo>
                    <a:pt x="6" y="234"/>
                  </a:lnTo>
                  <a:lnTo>
                    <a:pt x="6" y="238"/>
                  </a:lnTo>
                  <a:lnTo>
                    <a:pt x="6" y="240"/>
                  </a:lnTo>
                  <a:lnTo>
                    <a:pt x="6" y="246"/>
                  </a:lnTo>
                  <a:lnTo>
                    <a:pt x="8" y="248"/>
                  </a:lnTo>
                  <a:lnTo>
                    <a:pt x="10" y="248"/>
                  </a:lnTo>
                  <a:lnTo>
                    <a:pt x="10" y="248"/>
                  </a:lnTo>
                  <a:lnTo>
                    <a:pt x="10" y="248"/>
                  </a:lnTo>
                  <a:lnTo>
                    <a:pt x="10" y="246"/>
                  </a:lnTo>
                  <a:lnTo>
                    <a:pt x="8" y="246"/>
                  </a:lnTo>
                  <a:lnTo>
                    <a:pt x="8" y="244"/>
                  </a:lnTo>
                  <a:lnTo>
                    <a:pt x="8" y="244"/>
                  </a:lnTo>
                  <a:lnTo>
                    <a:pt x="8" y="242"/>
                  </a:lnTo>
                  <a:lnTo>
                    <a:pt x="8" y="242"/>
                  </a:lnTo>
                  <a:lnTo>
                    <a:pt x="8" y="242"/>
                  </a:lnTo>
                  <a:lnTo>
                    <a:pt x="10" y="242"/>
                  </a:lnTo>
                  <a:lnTo>
                    <a:pt x="12" y="244"/>
                  </a:lnTo>
                  <a:lnTo>
                    <a:pt x="12" y="244"/>
                  </a:lnTo>
                  <a:lnTo>
                    <a:pt x="12" y="246"/>
                  </a:lnTo>
                  <a:lnTo>
                    <a:pt x="12" y="246"/>
                  </a:lnTo>
                  <a:lnTo>
                    <a:pt x="14" y="246"/>
                  </a:lnTo>
                  <a:lnTo>
                    <a:pt x="14" y="248"/>
                  </a:lnTo>
                  <a:lnTo>
                    <a:pt x="16" y="246"/>
                  </a:lnTo>
                  <a:lnTo>
                    <a:pt x="17" y="246"/>
                  </a:lnTo>
                  <a:lnTo>
                    <a:pt x="19" y="246"/>
                  </a:lnTo>
                  <a:lnTo>
                    <a:pt x="21" y="246"/>
                  </a:lnTo>
                  <a:lnTo>
                    <a:pt x="12" y="250"/>
                  </a:lnTo>
                  <a:lnTo>
                    <a:pt x="10" y="252"/>
                  </a:lnTo>
                  <a:lnTo>
                    <a:pt x="10" y="253"/>
                  </a:lnTo>
                  <a:lnTo>
                    <a:pt x="10" y="255"/>
                  </a:lnTo>
                  <a:lnTo>
                    <a:pt x="10" y="261"/>
                  </a:lnTo>
                  <a:lnTo>
                    <a:pt x="10" y="261"/>
                  </a:lnTo>
                  <a:lnTo>
                    <a:pt x="14" y="265"/>
                  </a:lnTo>
                  <a:lnTo>
                    <a:pt x="14" y="267"/>
                  </a:lnTo>
                  <a:lnTo>
                    <a:pt x="16" y="267"/>
                  </a:lnTo>
                  <a:lnTo>
                    <a:pt x="17" y="265"/>
                  </a:lnTo>
                  <a:lnTo>
                    <a:pt x="19" y="265"/>
                  </a:lnTo>
                  <a:lnTo>
                    <a:pt x="21" y="267"/>
                  </a:lnTo>
                  <a:lnTo>
                    <a:pt x="23" y="269"/>
                  </a:lnTo>
                  <a:lnTo>
                    <a:pt x="25" y="269"/>
                  </a:lnTo>
                  <a:lnTo>
                    <a:pt x="31" y="269"/>
                  </a:lnTo>
                  <a:lnTo>
                    <a:pt x="31" y="269"/>
                  </a:lnTo>
                  <a:lnTo>
                    <a:pt x="33" y="271"/>
                  </a:lnTo>
                  <a:lnTo>
                    <a:pt x="35" y="272"/>
                  </a:lnTo>
                  <a:lnTo>
                    <a:pt x="35" y="272"/>
                  </a:lnTo>
                  <a:lnTo>
                    <a:pt x="35" y="272"/>
                  </a:lnTo>
                  <a:lnTo>
                    <a:pt x="35" y="274"/>
                  </a:lnTo>
                  <a:lnTo>
                    <a:pt x="35" y="276"/>
                  </a:lnTo>
                  <a:lnTo>
                    <a:pt x="37" y="276"/>
                  </a:lnTo>
                  <a:lnTo>
                    <a:pt x="35" y="278"/>
                  </a:lnTo>
                  <a:lnTo>
                    <a:pt x="33" y="276"/>
                  </a:lnTo>
                  <a:lnTo>
                    <a:pt x="31" y="271"/>
                  </a:lnTo>
                  <a:lnTo>
                    <a:pt x="31" y="271"/>
                  </a:lnTo>
                  <a:lnTo>
                    <a:pt x="29" y="269"/>
                  </a:lnTo>
                  <a:lnTo>
                    <a:pt x="27" y="271"/>
                  </a:lnTo>
                  <a:lnTo>
                    <a:pt x="27" y="271"/>
                  </a:lnTo>
                  <a:lnTo>
                    <a:pt x="23" y="271"/>
                  </a:lnTo>
                  <a:lnTo>
                    <a:pt x="21" y="269"/>
                  </a:lnTo>
                  <a:lnTo>
                    <a:pt x="19" y="267"/>
                  </a:lnTo>
                  <a:lnTo>
                    <a:pt x="17" y="267"/>
                  </a:lnTo>
                  <a:lnTo>
                    <a:pt x="14" y="267"/>
                  </a:lnTo>
                  <a:lnTo>
                    <a:pt x="12" y="269"/>
                  </a:lnTo>
                  <a:lnTo>
                    <a:pt x="12" y="272"/>
                  </a:lnTo>
                  <a:lnTo>
                    <a:pt x="12" y="278"/>
                  </a:lnTo>
                  <a:lnTo>
                    <a:pt x="14" y="276"/>
                  </a:lnTo>
                  <a:lnTo>
                    <a:pt x="14" y="274"/>
                  </a:lnTo>
                  <a:lnTo>
                    <a:pt x="16" y="274"/>
                  </a:lnTo>
                  <a:lnTo>
                    <a:pt x="17" y="274"/>
                  </a:lnTo>
                  <a:lnTo>
                    <a:pt x="16" y="274"/>
                  </a:lnTo>
                  <a:lnTo>
                    <a:pt x="14" y="278"/>
                  </a:lnTo>
                  <a:lnTo>
                    <a:pt x="12" y="282"/>
                  </a:lnTo>
                  <a:lnTo>
                    <a:pt x="12" y="282"/>
                  </a:lnTo>
                  <a:lnTo>
                    <a:pt x="14" y="284"/>
                  </a:lnTo>
                  <a:lnTo>
                    <a:pt x="14" y="284"/>
                  </a:lnTo>
                  <a:lnTo>
                    <a:pt x="14" y="284"/>
                  </a:lnTo>
                  <a:lnTo>
                    <a:pt x="14" y="282"/>
                  </a:lnTo>
                  <a:lnTo>
                    <a:pt x="16" y="282"/>
                  </a:lnTo>
                  <a:lnTo>
                    <a:pt x="16" y="282"/>
                  </a:lnTo>
                  <a:lnTo>
                    <a:pt x="16" y="282"/>
                  </a:lnTo>
                  <a:lnTo>
                    <a:pt x="16" y="282"/>
                  </a:lnTo>
                  <a:lnTo>
                    <a:pt x="16" y="284"/>
                  </a:lnTo>
                  <a:lnTo>
                    <a:pt x="16" y="284"/>
                  </a:lnTo>
                  <a:lnTo>
                    <a:pt x="16" y="286"/>
                  </a:lnTo>
                  <a:lnTo>
                    <a:pt x="16" y="286"/>
                  </a:lnTo>
                  <a:lnTo>
                    <a:pt x="16" y="288"/>
                  </a:lnTo>
                  <a:lnTo>
                    <a:pt x="16" y="290"/>
                  </a:lnTo>
                  <a:lnTo>
                    <a:pt x="16" y="291"/>
                  </a:lnTo>
                  <a:lnTo>
                    <a:pt x="16" y="291"/>
                  </a:lnTo>
                  <a:lnTo>
                    <a:pt x="16" y="293"/>
                  </a:lnTo>
                  <a:lnTo>
                    <a:pt x="16" y="293"/>
                  </a:lnTo>
                  <a:lnTo>
                    <a:pt x="16" y="295"/>
                  </a:lnTo>
                  <a:lnTo>
                    <a:pt x="16" y="295"/>
                  </a:lnTo>
                  <a:lnTo>
                    <a:pt x="14" y="295"/>
                  </a:lnTo>
                  <a:lnTo>
                    <a:pt x="14" y="297"/>
                  </a:lnTo>
                  <a:lnTo>
                    <a:pt x="14" y="299"/>
                  </a:lnTo>
                  <a:lnTo>
                    <a:pt x="14" y="299"/>
                  </a:lnTo>
                  <a:lnTo>
                    <a:pt x="12" y="303"/>
                  </a:lnTo>
                  <a:lnTo>
                    <a:pt x="12" y="303"/>
                  </a:lnTo>
                  <a:lnTo>
                    <a:pt x="12" y="305"/>
                  </a:lnTo>
                  <a:lnTo>
                    <a:pt x="14" y="303"/>
                  </a:lnTo>
                  <a:lnTo>
                    <a:pt x="14" y="303"/>
                  </a:lnTo>
                  <a:lnTo>
                    <a:pt x="14" y="303"/>
                  </a:lnTo>
                  <a:lnTo>
                    <a:pt x="14" y="303"/>
                  </a:lnTo>
                  <a:lnTo>
                    <a:pt x="16" y="303"/>
                  </a:lnTo>
                  <a:lnTo>
                    <a:pt x="14" y="305"/>
                  </a:lnTo>
                  <a:lnTo>
                    <a:pt x="14" y="307"/>
                  </a:lnTo>
                  <a:lnTo>
                    <a:pt x="14" y="307"/>
                  </a:lnTo>
                  <a:lnTo>
                    <a:pt x="16" y="309"/>
                  </a:lnTo>
                  <a:lnTo>
                    <a:pt x="16" y="309"/>
                  </a:lnTo>
                  <a:lnTo>
                    <a:pt x="17" y="307"/>
                  </a:lnTo>
                  <a:lnTo>
                    <a:pt x="17" y="303"/>
                  </a:lnTo>
                  <a:lnTo>
                    <a:pt x="19" y="299"/>
                  </a:lnTo>
                  <a:lnTo>
                    <a:pt x="21" y="297"/>
                  </a:lnTo>
                  <a:lnTo>
                    <a:pt x="21" y="295"/>
                  </a:lnTo>
                  <a:lnTo>
                    <a:pt x="23" y="297"/>
                  </a:lnTo>
                  <a:lnTo>
                    <a:pt x="23" y="299"/>
                  </a:lnTo>
                  <a:lnTo>
                    <a:pt x="27" y="295"/>
                  </a:lnTo>
                  <a:lnTo>
                    <a:pt x="27" y="293"/>
                  </a:lnTo>
                  <a:lnTo>
                    <a:pt x="25" y="291"/>
                  </a:lnTo>
                  <a:lnTo>
                    <a:pt x="27" y="290"/>
                  </a:lnTo>
                  <a:lnTo>
                    <a:pt x="27" y="288"/>
                  </a:lnTo>
                  <a:lnTo>
                    <a:pt x="29" y="286"/>
                  </a:lnTo>
                  <a:lnTo>
                    <a:pt x="29" y="282"/>
                  </a:lnTo>
                  <a:lnTo>
                    <a:pt x="31" y="282"/>
                  </a:lnTo>
                  <a:lnTo>
                    <a:pt x="29" y="290"/>
                  </a:lnTo>
                  <a:lnTo>
                    <a:pt x="31" y="291"/>
                  </a:lnTo>
                  <a:lnTo>
                    <a:pt x="31" y="291"/>
                  </a:lnTo>
                  <a:lnTo>
                    <a:pt x="33" y="291"/>
                  </a:lnTo>
                  <a:lnTo>
                    <a:pt x="31" y="293"/>
                  </a:lnTo>
                  <a:lnTo>
                    <a:pt x="31" y="295"/>
                  </a:lnTo>
                  <a:lnTo>
                    <a:pt x="31" y="297"/>
                  </a:lnTo>
                  <a:lnTo>
                    <a:pt x="31" y="299"/>
                  </a:lnTo>
                  <a:lnTo>
                    <a:pt x="35" y="297"/>
                  </a:lnTo>
                  <a:lnTo>
                    <a:pt x="37" y="297"/>
                  </a:lnTo>
                  <a:lnTo>
                    <a:pt x="38" y="297"/>
                  </a:lnTo>
                  <a:lnTo>
                    <a:pt x="37" y="299"/>
                  </a:lnTo>
                  <a:lnTo>
                    <a:pt x="37" y="299"/>
                  </a:lnTo>
                  <a:lnTo>
                    <a:pt x="33" y="299"/>
                  </a:lnTo>
                  <a:lnTo>
                    <a:pt x="29" y="301"/>
                  </a:lnTo>
                  <a:lnTo>
                    <a:pt x="29" y="301"/>
                  </a:lnTo>
                  <a:lnTo>
                    <a:pt x="29" y="301"/>
                  </a:lnTo>
                  <a:lnTo>
                    <a:pt x="31" y="301"/>
                  </a:lnTo>
                  <a:lnTo>
                    <a:pt x="31" y="303"/>
                  </a:lnTo>
                  <a:lnTo>
                    <a:pt x="29" y="303"/>
                  </a:lnTo>
                  <a:lnTo>
                    <a:pt x="27" y="303"/>
                  </a:lnTo>
                  <a:lnTo>
                    <a:pt x="27" y="303"/>
                  </a:lnTo>
                  <a:lnTo>
                    <a:pt x="27" y="307"/>
                  </a:lnTo>
                  <a:lnTo>
                    <a:pt x="25" y="307"/>
                  </a:lnTo>
                  <a:lnTo>
                    <a:pt x="25" y="305"/>
                  </a:lnTo>
                  <a:lnTo>
                    <a:pt x="23" y="309"/>
                  </a:lnTo>
                  <a:lnTo>
                    <a:pt x="25" y="310"/>
                  </a:lnTo>
                  <a:lnTo>
                    <a:pt x="27" y="312"/>
                  </a:lnTo>
                  <a:lnTo>
                    <a:pt x="29" y="310"/>
                  </a:lnTo>
                  <a:lnTo>
                    <a:pt x="29" y="310"/>
                  </a:lnTo>
                  <a:lnTo>
                    <a:pt x="29" y="310"/>
                  </a:lnTo>
                  <a:lnTo>
                    <a:pt x="31" y="310"/>
                  </a:lnTo>
                  <a:lnTo>
                    <a:pt x="31" y="310"/>
                  </a:lnTo>
                  <a:lnTo>
                    <a:pt x="31" y="310"/>
                  </a:lnTo>
                  <a:lnTo>
                    <a:pt x="31" y="312"/>
                  </a:lnTo>
                  <a:lnTo>
                    <a:pt x="31" y="312"/>
                  </a:lnTo>
                  <a:lnTo>
                    <a:pt x="31" y="312"/>
                  </a:lnTo>
                  <a:lnTo>
                    <a:pt x="31" y="314"/>
                  </a:lnTo>
                  <a:lnTo>
                    <a:pt x="31" y="316"/>
                  </a:lnTo>
                  <a:lnTo>
                    <a:pt x="35" y="316"/>
                  </a:lnTo>
                  <a:lnTo>
                    <a:pt x="33" y="318"/>
                  </a:lnTo>
                  <a:lnTo>
                    <a:pt x="33" y="320"/>
                  </a:lnTo>
                  <a:lnTo>
                    <a:pt x="31" y="322"/>
                  </a:lnTo>
                  <a:lnTo>
                    <a:pt x="33" y="324"/>
                  </a:lnTo>
                  <a:lnTo>
                    <a:pt x="31" y="324"/>
                  </a:lnTo>
                  <a:lnTo>
                    <a:pt x="29" y="324"/>
                  </a:lnTo>
                  <a:lnTo>
                    <a:pt x="29" y="322"/>
                  </a:lnTo>
                  <a:lnTo>
                    <a:pt x="31" y="320"/>
                  </a:lnTo>
                  <a:lnTo>
                    <a:pt x="27" y="316"/>
                  </a:lnTo>
                  <a:lnTo>
                    <a:pt x="25" y="314"/>
                  </a:lnTo>
                  <a:lnTo>
                    <a:pt x="25" y="318"/>
                  </a:lnTo>
                  <a:lnTo>
                    <a:pt x="23" y="318"/>
                  </a:lnTo>
                  <a:lnTo>
                    <a:pt x="21" y="316"/>
                  </a:lnTo>
                  <a:lnTo>
                    <a:pt x="21" y="316"/>
                  </a:lnTo>
                  <a:lnTo>
                    <a:pt x="19" y="318"/>
                  </a:lnTo>
                  <a:lnTo>
                    <a:pt x="19" y="320"/>
                  </a:lnTo>
                  <a:lnTo>
                    <a:pt x="19" y="320"/>
                  </a:lnTo>
                  <a:lnTo>
                    <a:pt x="19" y="326"/>
                  </a:lnTo>
                  <a:lnTo>
                    <a:pt x="19" y="330"/>
                  </a:lnTo>
                  <a:lnTo>
                    <a:pt x="19" y="333"/>
                  </a:lnTo>
                  <a:lnTo>
                    <a:pt x="21" y="333"/>
                  </a:lnTo>
                  <a:lnTo>
                    <a:pt x="23" y="339"/>
                  </a:lnTo>
                  <a:lnTo>
                    <a:pt x="25" y="341"/>
                  </a:lnTo>
                  <a:lnTo>
                    <a:pt x="25" y="341"/>
                  </a:lnTo>
                  <a:lnTo>
                    <a:pt x="29" y="341"/>
                  </a:lnTo>
                  <a:lnTo>
                    <a:pt x="29" y="341"/>
                  </a:lnTo>
                  <a:lnTo>
                    <a:pt x="29" y="343"/>
                  </a:lnTo>
                  <a:lnTo>
                    <a:pt x="31" y="345"/>
                  </a:lnTo>
                  <a:lnTo>
                    <a:pt x="31" y="347"/>
                  </a:lnTo>
                  <a:lnTo>
                    <a:pt x="31" y="349"/>
                  </a:lnTo>
                  <a:lnTo>
                    <a:pt x="33" y="349"/>
                  </a:lnTo>
                  <a:lnTo>
                    <a:pt x="35" y="350"/>
                  </a:lnTo>
                  <a:lnTo>
                    <a:pt x="33" y="352"/>
                  </a:lnTo>
                  <a:lnTo>
                    <a:pt x="31" y="350"/>
                  </a:lnTo>
                  <a:lnTo>
                    <a:pt x="29" y="345"/>
                  </a:lnTo>
                  <a:lnTo>
                    <a:pt x="27" y="343"/>
                  </a:lnTo>
                  <a:lnTo>
                    <a:pt x="25" y="343"/>
                  </a:lnTo>
                  <a:lnTo>
                    <a:pt x="23" y="345"/>
                  </a:lnTo>
                  <a:lnTo>
                    <a:pt x="23" y="347"/>
                  </a:lnTo>
                  <a:lnTo>
                    <a:pt x="23" y="349"/>
                  </a:lnTo>
                  <a:lnTo>
                    <a:pt x="23" y="352"/>
                  </a:lnTo>
                  <a:lnTo>
                    <a:pt x="23" y="354"/>
                  </a:lnTo>
                  <a:lnTo>
                    <a:pt x="23" y="354"/>
                  </a:lnTo>
                  <a:lnTo>
                    <a:pt x="23" y="356"/>
                  </a:lnTo>
                  <a:lnTo>
                    <a:pt x="25" y="356"/>
                  </a:lnTo>
                  <a:lnTo>
                    <a:pt x="25" y="358"/>
                  </a:lnTo>
                  <a:lnTo>
                    <a:pt x="25" y="358"/>
                  </a:lnTo>
                  <a:lnTo>
                    <a:pt x="25" y="360"/>
                  </a:lnTo>
                  <a:lnTo>
                    <a:pt x="25" y="360"/>
                  </a:lnTo>
                  <a:lnTo>
                    <a:pt x="25" y="360"/>
                  </a:lnTo>
                  <a:lnTo>
                    <a:pt x="25" y="360"/>
                  </a:lnTo>
                  <a:lnTo>
                    <a:pt x="25" y="360"/>
                  </a:lnTo>
                  <a:lnTo>
                    <a:pt x="25" y="360"/>
                  </a:lnTo>
                  <a:lnTo>
                    <a:pt x="27" y="362"/>
                  </a:lnTo>
                  <a:lnTo>
                    <a:pt x="29" y="364"/>
                  </a:lnTo>
                  <a:lnTo>
                    <a:pt x="29" y="364"/>
                  </a:lnTo>
                  <a:lnTo>
                    <a:pt x="31" y="364"/>
                  </a:lnTo>
                  <a:lnTo>
                    <a:pt x="29" y="366"/>
                  </a:lnTo>
                  <a:lnTo>
                    <a:pt x="31" y="368"/>
                  </a:lnTo>
                  <a:lnTo>
                    <a:pt x="33" y="368"/>
                  </a:lnTo>
                  <a:lnTo>
                    <a:pt x="35" y="368"/>
                  </a:lnTo>
                  <a:lnTo>
                    <a:pt x="37" y="368"/>
                  </a:lnTo>
                  <a:lnTo>
                    <a:pt x="38" y="368"/>
                  </a:lnTo>
                  <a:lnTo>
                    <a:pt x="38" y="369"/>
                  </a:lnTo>
                  <a:lnTo>
                    <a:pt x="38" y="371"/>
                  </a:lnTo>
                  <a:lnTo>
                    <a:pt x="40" y="373"/>
                  </a:lnTo>
                  <a:lnTo>
                    <a:pt x="38" y="375"/>
                  </a:lnTo>
                  <a:lnTo>
                    <a:pt x="38" y="377"/>
                  </a:lnTo>
                  <a:lnTo>
                    <a:pt x="37" y="377"/>
                  </a:lnTo>
                  <a:lnTo>
                    <a:pt x="37" y="375"/>
                  </a:lnTo>
                  <a:lnTo>
                    <a:pt x="38" y="375"/>
                  </a:lnTo>
                  <a:lnTo>
                    <a:pt x="37" y="373"/>
                  </a:lnTo>
                  <a:lnTo>
                    <a:pt x="35" y="373"/>
                  </a:lnTo>
                  <a:lnTo>
                    <a:pt x="35" y="371"/>
                  </a:lnTo>
                  <a:lnTo>
                    <a:pt x="33" y="371"/>
                  </a:lnTo>
                  <a:lnTo>
                    <a:pt x="31" y="371"/>
                  </a:lnTo>
                  <a:lnTo>
                    <a:pt x="31" y="371"/>
                  </a:lnTo>
                  <a:lnTo>
                    <a:pt x="31" y="371"/>
                  </a:lnTo>
                  <a:lnTo>
                    <a:pt x="29" y="371"/>
                  </a:lnTo>
                  <a:lnTo>
                    <a:pt x="29" y="369"/>
                  </a:lnTo>
                  <a:lnTo>
                    <a:pt x="29" y="369"/>
                  </a:lnTo>
                  <a:lnTo>
                    <a:pt x="29" y="368"/>
                  </a:lnTo>
                  <a:lnTo>
                    <a:pt x="27" y="368"/>
                  </a:lnTo>
                  <a:lnTo>
                    <a:pt x="27" y="369"/>
                  </a:lnTo>
                  <a:lnTo>
                    <a:pt x="27" y="369"/>
                  </a:lnTo>
                  <a:lnTo>
                    <a:pt x="27" y="371"/>
                  </a:lnTo>
                  <a:lnTo>
                    <a:pt x="27" y="371"/>
                  </a:lnTo>
                  <a:lnTo>
                    <a:pt x="27" y="371"/>
                  </a:lnTo>
                  <a:lnTo>
                    <a:pt x="25" y="373"/>
                  </a:lnTo>
                  <a:lnTo>
                    <a:pt x="29" y="375"/>
                  </a:lnTo>
                  <a:lnTo>
                    <a:pt x="29" y="377"/>
                  </a:lnTo>
                  <a:lnTo>
                    <a:pt x="31" y="385"/>
                  </a:lnTo>
                  <a:lnTo>
                    <a:pt x="31" y="385"/>
                  </a:lnTo>
                  <a:lnTo>
                    <a:pt x="31" y="385"/>
                  </a:lnTo>
                  <a:lnTo>
                    <a:pt x="31" y="387"/>
                  </a:lnTo>
                  <a:lnTo>
                    <a:pt x="31" y="387"/>
                  </a:lnTo>
                  <a:lnTo>
                    <a:pt x="31" y="387"/>
                  </a:lnTo>
                  <a:lnTo>
                    <a:pt x="31" y="388"/>
                  </a:lnTo>
                  <a:lnTo>
                    <a:pt x="31" y="388"/>
                  </a:lnTo>
                  <a:lnTo>
                    <a:pt x="33" y="390"/>
                  </a:lnTo>
                  <a:lnTo>
                    <a:pt x="33" y="392"/>
                  </a:lnTo>
                  <a:lnTo>
                    <a:pt x="35" y="390"/>
                  </a:lnTo>
                  <a:lnTo>
                    <a:pt x="35" y="390"/>
                  </a:lnTo>
                  <a:lnTo>
                    <a:pt x="35" y="388"/>
                  </a:lnTo>
                  <a:lnTo>
                    <a:pt x="37" y="388"/>
                  </a:lnTo>
                  <a:lnTo>
                    <a:pt x="37" y="390"/>
                  </a:lnTo>
                  <a:lnTo>
                    <a:pt x="37" y="392"/>
                  </a:lnTo>
                  <a:lnTo>
                    <a:pt x="35" y="392"/>
                  </a:lnTo>
                  <a:lnTo>
                    <a:pt x="33" y="392"/>
                  </a:lnTo>
                  <a:lnTo>
                    <a:pt x="33" y="394"/>
                  </a:lnTo>
                  <a:lnTo>
                    <a:pt x="33" y="396"/>
                  </a:lnTo>
                  <a:lnTo>
                    <a:pt x="35" y="396"/>
                  </a:lnTo>
                  <a:lnTo>
                    <a:pt x="37" y="396"/>
                  </a:lnTo>
                  <a:lnTo>
                    <a:pt x="35" y="398"/>
                  </a:lnTo>
                  <a:lnTo>
                    <a:pt x="35" y="400"/>
                  </a:lnTo>
                  <a:lnTo>
                    <a:pt x="38" y="407"/>
                  </a:lnTo>
                  <a:lnTo>
                    <a:pt x="40" y="409"/>
                  </a:lnTo>
                  <a:lnTo>
                    <a:pt x="40" y="413"/>
                  </a:lnTo>
                  <a:lnTo>
                    <a:pt x="40" y="413"/>
                  </a:lnTo>
                  <a:lnTo>
                    <a:pt x="42" y="415"/>
                  </a:lnTo>
                  <a:lnTo>
                    <a:pt x="42" y="417"/>
                  </a:lnTo>
                  <a:lnTo>
                    <a:pt x="42" y="419"/>
                  </a:lnTo>
                  <a:lnTo>
                    <a:pt x="44" y="419"/>
                  </a:lnTo>
                  <a:lnTo>
                    <a:pt x="44" y="421"/>
                  </a:lnTo>
                  <a:lnTo>
                    <a:pt x="44" y="423"/>
                  </a:lnTo>
                  <a:lnTo>
                    <a:pt x="44" y="423"/>
                  </a:lnTo>
                  <a:lnTo>
                    <a:pt x="42" y="425"/>
                  </a:lnTo>
                  <a:lnTo>
                    <a:pt x="42" y="425"/>
                  </a:lnTo>
                  <a:lnTo>
                    <a:pt x="42" y="427"/>
                  </a:lnTo>
                  <a:lnTo>
                    <a:pt x="44" y="428"/>
                  </a:lnTo>
                  <a:lnTo>
                    <a:pt x="44" y="428"/>
                  </a:lnTo>
                  <a:lnTo>
                    <a:pt x="44" y="430"/>
                  </a:lnTo>
                  <a:lnTo>
                    <a:pt x="44" y="432"/>
                  </a:lnTo>
                  <a:lnTo>
                    <a:pt x="44" y="432"/>
                  </a:lnTo>
                  <a:lnTo>
                    <a:pt x="46" y="434"/>
                  </a:lnTo>
                  <a:lnTo>
                    <a:pt x="46" y="434"/>
                  </a:lnTo>
                  <a:lnTo>
                    <a:pt x="50" y="434"/>
                  </a:lnTo>
                  <a:lnTo>
                    <a:pt x="52" y="436"/>
                  </a:lnTo>
                  <a:lnTo>
                    <a:pt x="48" y="438"/>
                  </a:lnTo>
                  <a:lnTo>
                    <a:pt x="46" y="438"/>
                  </a:lnTo>
                  <a:lnTo>
                    <a:pt x="46" y="438"/>
                  </a:lnTo>
                  <a:lnTo>
                    <a:pt x="44" y="438"/>
                  </a:lnTo>
                  <a:lnTo>
                    <a:pt x="44" y="438"/>
                  </a:lnTo>
                  <a:lnTo>
                    <a:pt x="44" y="440"/>
                  </a:lnTo>
                  <a:lnTo>
                    <a:pt x="48" y="444"/>
                  </a:lnTo>
                  <a:lnTo>
                    <a:pt x="50" y="446"/>
                  </a:lnTo>
                  <a:lnTo>
                    <a:pt x="48" y="447"/>
                  </a:lnTo>
                  <a:lnTo>
                    <a:pt x="50" y="449"/>
                  </a:lnTo>
                  <a:lnTo>
                    <a:pt x="50" y="451"/>
                  </a:lnTo>
                  <a:lnTo>
                    <a:pt x="48" y="453"/>
                  </a:lnTo>
                  <a:lnTo>
                    <a:pt x="48" y="453"/>
                  </a:lnTo>
                  <a:lnTo>
                    <a:pt x="48" y="455"/>
                  </a:lnTo>
                  <a:lnTo>
                    <a:pt x="50" y="457"/>
                  </a:lnTo>
                  <a:lnTo>
                    <a:pt x="52" y="459"/>
                  </a:lnTo>
                  <a:lnTo>
                    <a:pt x="54" y="463"/>
                  </a:lnTo>
                  <a:lnTo>
                    <a:pt x="56" y="465"/>
                  </a:lnTo>
                  <a:lnTo>
                    <a:pt x="54" y="465"/>
                  </a:lnTo>
                  <a:lnTo>
                    <a:pt x="52" y="465"/>
                  </a:lnTo>
                  <a:lnTo>
                    <a:pt x="52" y="463"/>
                  </a:lnTo>
                  <a:lnTo>
                    <a:pt x="50" y="463"/>
                  </a:lnTo>
                  <a:lnTo>
                    <a:pt x="50" y="465"/>
                  </a:lnTo>
                  <a:lnTo>
                    <a:pt x="52" y="466"/>
                  </a:lnTo>
                  <a:lnTo>
                    <a:pt x="52" y="466"/>
                  </a:lnTo>
                  <a:lnTo>
                    <a:pt x="52" y="468"/>
                  </a:lnTo>
                  <a:lnTo>
                    <a:pt x="54" y="470"/>
                  </a:lnTo>
                  <a:lnTo>
                    <a:pt x="54" y="472"/>
                  </a:lnTo>
                  <a:lnTo>
                    <a:pt x="56" y="476"/>
                  </a:lnTo>
                  <a:lnTo>
                    <a:pt x="57" y="478"/>
                  </a:lnTo>
                  <a:lnTo>
                    <a:pt x="57" y="480"/>
                  </a:lnTo>
                  <a:lnTo>
                    <a:pt x="56" y="480"/>
                  </a:lnTo>
                  <a:lnTo>
                    <a:pt x="57" y="482"/>
                  </a:lnTo>
                  <a:lnTo>
                    <a:pt x="57" y="484"/>
                  </a:lnTo>
                  <a:lnTo>
                    <a:pt x="57" y="487"/>
                  </a:lnTo>
                  <a:lnTo>
                    <a:pt x="57" y="489"/>
                  </a:lnTo>
                  <a:lnTo>
                    <a:pt x="56" y="487"/>
                  </a:lnTo>
                  <a:lnTo>
                    <a:pt x="56" y="487"/>
                  </a:lnTo>
                  <a:lnTo>
                    <a:pt x="56" y="489"/>
                  </a:lnTo>
                  <a:lnTo>
                    <a:pt x="57" y="491"/>
                  </a:lnTo>
                  <a:lnTo>
                    <a:pt x="56" y="491"/>
                  </a:lnTo>
                  <a:lnTo>
                    <a:pt x="57" y="493"/>
                  </a:lnTo>
                  <a:lnTo>
                    <a:pt x="59" y="493"/>
                  </a:lnTo>
                  <a:lnTo>
                    <a:pt x="57" y="497"/>
                  </a:lnTo>
                  <a:lnTo>
                    <a:pt x="57" y="497"/>
                  </a:lnTo>
                  <a:lnTo>
                    <a:pt x="57" y="499"/>
                  </a:lnTo>
                  <a:lnTo>
                    <a:pt x="57" y="503"/>
                  </a:lnTo>
                  <a:lnTo>
                    <a:pt x="57" y="503"/>
                  </a:lnTo>
                  <a:lnTo>
                    <a:pt x="57" y="504"/>
                  </a:lnTo>
                  <a:lnTo>
                    <a:pt x="57" y="506"/>
                  </a:lnTo>
                  <a:lnTo>
                    <a:pt x="59" y="510"/>
                  </a:lnTo>
                  <a:lnTo>
                    <a:pt x="59" y="510"/>
                  </a:lnTo>
                  <a:lnTo>
                    <a:pt x="61" y="510"/>
                  </a:lnTo>
                  <a:lnTo>
                    <a:pt x="61" y="512"/>
                  </a:lnTo>
                  <a:lnTo>
                    <a:pt x="59" y="514"/>
                  </a:lnTo>
                  <a:lnTo>
                    <a:pt x="59" y="518"/>
                  </a:lnTo>
                  <a:lnTo>
                    <a:pt x="59" y="520"/>
                  </a:lnTo>
                  <a:lnTo>
                    <a:pt x="61" y="522"/>
                  </a:lnTo>
                  <a:lnTo>
                    <a:pt x="63" y="522"/>
                  </a:lnTo>
                  <a:lnTo>
                    <a:pt x="63" y="524"/>
                  </a:lnTo>
                  <a:lnTo>
                    <a:pt x="63" y="524"/>
                  </a:lnTo>
                  <a:lnTo>
                    <a:pt x="61" y="525"/>
                  </a:lnTo>
                  <a:lnTo>
                    <a:pt x="61" y="525"/>
                  </a:lnTo>
                  <a:lnTo>
                    <a:pt x="61" y="525"/>
                  </a:lnTo>
                  <a:lnTo>
                    <a:pt x="63" y="529"/>
                  </a:lnTo>
                  <a:lnTo>
                    <a:pt x="63" y="527"/>
                  </a:lnTo>
                  <a:lnTo>
                    <a:pt x="65" y="527"/>
                  </a:lnTo>
                  <a:lnTo>
                    <a:pt x="67" y="527"/>
                  </a:lnTo>
                  <a:lnTo>
                    <a:pt x="67" y="529"/>
                  </a:lnTo>
                  <a:lnTo>
                    <a:pt x="67" y="531"/>
                  </a:lnTo>
                  <a:lnTo>
                    <a:pt x="67" y="531"/>
                  </a:lnTo>
                  <a:lnTo>
                    <a:pt x="65" y="531"/>
                  </a:lnTo>
                  <a:lnTo>
                    <a:pt x="65" y="529"/>
                  </a:lnTo>
                  <a:lnTo>
                    <a:pt x="63" y="529"/>
                  </a:lnTo>
                  <a:lnTo>
                    <a:pt x="63" y="529"/>
                  </a:lnTo>
                  <a:lnTo>
                    <a:pt x="61" y="531"/>
                  </a:lnTo>
                  <a:lnTo>
                    <a:pt x="61" y="531"/>
                  </a:lnTo>
                  <a:lnTo>
                    <a:pt x="61" y="531"/>
                  </a:lnTo>
                  <a:lnTo>
                    <a:pt x="61" y="531"/>
                  </a:lnTo>
                  <a:lnTo>
                    <a:pt x="63" y="533"/>
                  </a:lnTo>
                  <a:lnTo>
                    <a:pt x="63" y="533"/>
                  </a:lnTo>
                  <a:lnTo>
                    <a:pt x="65" y="535"/>
                  </a:lnTo>
                  <a:lnTo>
                    <a:pt x="67" y="535"/>
                  </a:lnTo>
                  <a:lnTo>
                    <a:pt x="67" y="535"/>
                  </a:lnTo>
                  <a:lnTo>
                    <a:pt x="65" y="537"/>
                  </a:lnTo>
                  <a:lnTo>
                    <a:pt x="65" y="537"/>
                  </a:lnTo>
                  <a:lnTo>
                    <a:pt x="65" y="537"/>
                  </a:lnTo>
                  <a:lnTo>
                    <a:pt x="65" y="537"/>
                  </a:lnTo>
                  <a:lnTo>
                    <a:pt x="67" y="539"/>
                  </a:lnTo>
                  <a:lnTo>
                    <a:pt x="67" y="539"/>
                  </a:lnTo>
                  <a:lnTo>
                    <a:pt x="65" y="539"/>
                  </a:lnTo>
                  <a:lnTo>
                    <a:pt x="65" y="539"/>
                  </a:lnTo>
                  <a:lnTo>
                    <a:pt x="63" y="535"/>
                  </a:lnTo>
                  <a:lnTo>
                    <a:pt x="63" y="535"/>
                  </a:lnTo>
                  <a:lnTo>
                    <a:pt x="61" y="535"/>
                  </a:lnTo>
                  <a:lnTo>
                    <a:pt x="61" y="535"/>
                  </a:lnTo>
                  <a:lnTo>
                    <a:pt x="61" y="535"/>
                  </a:lnTo>
                  <a:lnTo>
                    <a:pt x="61" y="537"/>
                  </a:lnTo>
                  <a:lnTo>
                    <a:pt x="61" y="539"/>
                  </a:lnTo>
                  <a:lnTo>
                    <a:pt x="61" y="539"/>
                  </a:lnTo>
                  <a:lnTo>
                    <a:pt x="61" y="539"/>
                  </a:lnTo>
                  <a:lnTo>
                    <a:pt x="63" y="543"/>
                  </a:lnTo>
                  <a:lnTo>
                    <a:pt x="63" y="546"/>
                  </a:lnTo>
                  <a:lnTo>
                    <a:pt x="65" y="548"/>
                  </a:lnTo>
                  <a:lnTo>
                    <a:pt x="67" y="548"/>
                  </a:lnTo>
                  <a:lnTo>
                    <a:pt x="69" y="550"/>
                  </a:lnTo>
                  <a:lnTo>
                    <a:pt x="67" y="550"/>
                  </a:lnTo>
                  <a:lnTo>
                    <a:pt x="67" y="550"/>
                  </a:lnTo>
                  <a:lnTo>
                    <a:pt x="65" y="552"/>
                  </a:lnTo>
                  <a:lnTo>
                    <a:pt x="65" y="552"/>
                  </a:lnTo>
                  <a:lnTo>
                    <a:pt x="67" y="554"/>
                  </a:lnTo>
                  <a:lnTo>
                    <a:pt x="67" y="554"/>
                  </a:lnTo>
                  <a:lnTo>
                    <a:pt x="67" y="556"/>
                  </a:lnTo>
                  <a:lnTo>
                    <a:pt x="67" y="556"/>
                  </a:lnTo>
                  <a:lnTo>
                    <a:pt x="71" y="563"/>
                  </a:lnTo>
                  <a:lnTo>
                    <a:pt x="71" y="565"/>
                  </a:lnTo>
                  <a:lnTo>
                    <a:pt x="71" y="567"/>
                  </a:lnTo>
                  <a:lnTo>
                    <a:pt x="71" y="567"/>
                  </a:lnTo>
                  <a:lnTo>
                    <a:pt x="73" y="567"/>
                  </a:lnTo>
                  <a:lnTo>
                    <a:pt x="73" y="567"/>
                  </a:lnTo>
                  <a:lnTo>
                    <a:pt x="73" y="567"/>
                  </a:lnTo>
                  <a:lnTo>
                    <a:pt x="73" y="569"/>
                  </a:lnTo>
                  <a:lnTo>
                    <a:pt x="73" y="573"/>
                  </a:lnTo>
                  <a:lnTo>
                    <a:pt x="75" y="577"/>
                  </a:lnTo>
                  <a:lnTo>
                    <a:pt x="75" y="575"/>
                  </a:lnTo>
                  <a:lnTo>
                    <a:pt x="75" y="573"/>
                  </a:lnTo>
                  <a:lnTo>
                    <a:pt x="75" y="571"/>
                  </a:lnTo>
                  <a:lnTo>
                    <a:pt x="78" y="569"/>
                  </a:lnTo>
                  <a:lnTo>
                    <a:pt x="77" y="571"/>
                  </a:lnTo>
                  <a:lnTo>
                    <a:pt x="77" y="571"/>
                  </a:lnTo>
                  <a:lnTo>
                    <a:pt x="75" y="573"/>
                  </a:lnTo>
                  <a:lnTo>
                    <a:pt x="75" y="575"/>
                  </a:lnTo>
                  <a:lnTo>
                    <a:pt x="75" y="581"/>
                  </a:lnTo>
                  <a:lnTo>
                    <a:pt x="75" y="581"/>
                  </a:lnTo>
                  <a:lnTo>
                    <a:pt x="75" y="581"/>
                  </a:lnTo>
                  <a:lnTo>
                    <a:pt x="75" y="582"/>
                  </a:lnTo>
                  <a:lnTo>
                    <a:pt x="75" y="582"/>
                  </a:lnTo>
                  <a:lnTo>
                    <a:pt x="75" y="582"/>
                  </a:lnTo>
                  <a:lnTo>
                    <a:pt x="75" y="582"/>
                  </a:lnTo>
                  <a:lnTo>
                    <a:pt x="77" y="584"/>
                  </a:lnTo>
                  <a:lnTo>
                    <a:pt x="77" y="584"/>
                  </a:lnTo>
                  <a:lnTo>
                    <a:pt x="77" y="586"/>
                  </a:lnTo>
                  <a:lnTo>
                    <a:pt x="78" y="586"/>
                  </a:lnTo>
                  <a:lnTo>
                    <a:pt x="80" y="586"/>
                  </a:lnTo>
                  <a:lnTo>
                    <a:pt x="80" y="586"/>
                  </a:lnTo>
                  <a:lnTo>
                    <a:pt x="78" y="586"/>
                  </a:lnTo>
                  <a:lnTo>
                    <a:pt x="78" y="588"/>
                  </a:lnTo>
                  <a:lnTo>
                    <a:pt x="80" y="592"/>
                  </a:lnTo>
                  <a:lnTo>
                    <a:pt x="82" y="594"/>
                  </a:lnTo>
                  <a:lnTo>
                    <a:pt x="86" y="598"/>
                  </a:lnTo>
                  <a:lnTo>
                    <a:pt x="88" y="600"/>
                  </a:lnTo>
                  <a:lnTo>
                    <a:pt x="92" y="605"/>
                  </a:lnTo>
                  <a:lnTo>
                    <a:pt x="92" y="607"/>
                  </a:lnTo>
                  <a:lnTo>
                    <a:pt x="92" y="613"/>
                  </a:lnTo>
                  <a:lnTo>
                    <a:pt x="92" y="613"/>
                  </a:lnTo>
                  <a:lnTo>
                    <a:pt x="94" y="615"/>
                  </a:lnTo>
                  <a:lnTo>
                    <a:pt x="96" y="615"/>
                  </a:lnTo>
                  <a:lnTo>
                    <a:pt x="96" y="615"/>
                  </a:lnTo>
                  <a:lnTo>
                    <a:pt x="98" y="615"/>
                  </a:lnTo>
                  <a:lnTo>
                    <a:pt x="99" y="613"/>
                  </a:lnTo>
                  <a:lnTo>
                    <a:pt x="103" y="613"/>
                  </a:lnTo>
                  <a:lnTo>
                    <a:pt x="105" y="613"/>
                  </a:lnTo>
                  <a:lnTo>
                    <a:pt x="105" y="613"/>
                  </a:lnTo>
                  <a:lnTo>
                    <a:pt x="107" y="613"/>
                  </a:lnTo>
                  <a:lnTo>
                    <a:pt x="107" y="609"/>
                  </a:lnTo>
                  <a:lnTo>
                    <a:pt x="109" y="609"/>
                  </a:lnTo>
                  <a:lnTo>
                    <a:pt x="109" y="609"/>
                  </a:lnTo>
                  <a:lnTo>
                    <a:pt x="109" y="609"/>
                  </a:lnTo>
                  <a:lnTo>
                    <a:pt x="109" y="609"/>
                  </a:lnTo>
                  <a:lnTo>
                    <a:pt x="111" y="611"/>
                  </a:lnTo>
                  <a:lnTo>
                    <a:pt x="111" y="611"/>
                  </a:lnTo>
                  <a:lnTo>
                    <a:pt x="111" y="613"/>
                  </a:lnTo>
                  <a:lnTo>
                    <a:pt x="111" y="613"/>
                  </a:lnTo>
                  <a:lnTo>
                    <a:pt x="111" y="613"/>
                  </a:lnTo>
                  <a:lnTo>
                    <a:pt x="113" y="613"/>
                  </a:lnTo>
                  <a:lnTo>
                    <a:pt x="115" y="613"/>
                  </a:lnTo>
                  <a:lnTo>
                    <a:pt x="117" y="615"/>
                  </a:lnTo>
                  <a:lnTo>
                    <a:pt x="117" y="615"/>
                  </a:lnTo>
                  <a:lnTo>
                    <a:pt x="117" y="617"/>
                  </a:lnTo>
                  <a:lnTo>
                    <a:pt x="118" y="620"/>
                  </a:lnTo>
                  <a:lnTo>
                    <a:pt x="118" y="622"/>
                  </a:lnTo>
                  <a:lnTo>
                    <a:pt x="120" y="622"/>
                  </a:lnTo>
                  <a:lnTo>
                    <a:pt x="122" y="624"/>
                  </a:lnTo>
                  <a:lnTo>
                    <a:pt x="122" y="624"/>
                  </a:lnTo>
                  <a:lnTo>
                    <a:pt x="124" y="624"/>
                  </a:lnTo>
                  <a:lnTo>
                    <a:pt x="126" y="624"/>
                  </a:lnTo>
                  <a:lnTo>
                    <a:pt x="130" y="622"/>
                  </a:lnTo>
                  <a:lnTo>
                    <a:pt x="134" y="622"/>
                  </a:lnTo>
                  <a:lnTo>
                    <a:pt x="134" y="620"/>
                  </a:lnTo>
                  <a:lnTo>
                    <a:pt x="134" y="620"/>
                  </a:lnTo>
                  <a:lnTo>
                    <a:pt x="134" y="620"/>
                  </a:lnTo>
                  <a:lnTo>
                    <a:pt x="134" y="619"/>
                  </a:lnTo>
                  <a:lnTo>
                    <a:pt x="136" y="619"/>
                  </a:lnTo>
                  <a:lnTo>
                    <a:pt x="136" y="619"/>
                  </a:lnTo>
                  <a:lnTo>
                    <a:pt x="136" y="619"/>
                  </a:lnTo>
                  <a:lnTo>
                    <a:pt x="136" y="615"/>
                  </a:lnTo>
                  <a:lnTo>
                    <a:pt x="138" y="615"/>
                  </a:lnTo>
                  <a:lnTo>
                    <a:pt x="141" y="611"/>
                  </a:lnTo>
                  <a:lnTo>
                    <a:pt x="143" y="611"/>
                  </a:lnTo>
                  <a:lnTo>
                    <a:pt x="143" y="611"/>
                  </a:lnTo>
                  <a:lnTo>
                    <a:pt x="145" y="611"/>
                  </a:lnTo>
                  <a:lnTo>
                    <a:pt x="145" y="611"/>
                  </a:lnTo>
                  <a:lnTo>
                    <a:pt x="145" y="611"/>
                  </a:lnTo>
                  <a:lnTo>
                    <a:pt x="145" y="613"/>
                  </a:lnTo>
                  <a:lnTo>
                    <a:pt x="145" y="613"/>
                  </a:lnTo>
                  <a:lnTo>
                    <a:pt x="145" y="613"/>
                  </a:lnTo>
                  <a:lnTo>
                    <a:pt x="145" y="615"/>
                  </a:lnTo>
                  <a:lnTo>
                    <a:pt x="145" y="615"/>
                  </a:lnTo>
                  <a:lnTo>
                    <a:pt x="145" y="615"/>
                  </a:lnTo>
                  <a:lnTo>
                    <a:pt x="145" y="615"/>
                  </a:lnTo>
                  <a:lnTo>
                    <a:pt x="149" y="615"/>
                  </a:lnTo>
                  <a:lnTo>
                    <a:pt x="151" y="615"/>
                  </a:lnTo>
                  <a:lnTo>
                    <a:pt x="153" y="613"/>
                  </a:lnTo>
                  <a:lnTo>
                    <a:pt x="153" y="613"/>
                  </a:lnTo>
                  <a:lnTo>
                    <a:pt x="155" y="611"/>
                  </a:lnTo>
                  <a:lnTo>
                    <a:pt x="155" y="611"/>
                  </a:lnTo>
                  <a:lnTo>
                    <a:pt x="157" y="609"/>
                  </a:lnTo>
                  <a:lnTo>
                    <a:pt x="158" y="605"/>
                  </a:lnTo>
                  <a:lnTo>
                    <a:pt x="158" y="603"/>
                  </a:lnTo>
                  <a:lnTo>
                    <a:pt x="158" y="603"/>
                  </a:lnTo>
                  <a:lnTo>
                    <a:pt x="158" y="601"/>
                  </a:lnTo>
                  <a:lnTo>
                    <a:pt x="157" y="601"/>
                  </a:lnTo>
                  <a:lnTo>
                    <a:pt x="157" y="601"/>
                  </a:lnTo>
                  <a:lnTo>
                    <a:pt x="158" y="600"/>
                  </a:lnTo>
                  <a:lnTo>
                    <a:pt x="160" y="598"/>
                  </a:lnTo>
                  <a:lnTo>
                    <a:pt x="162" y="594"/>
                  </a:lnTo>
                  <a:lnTo>
                    <a:pt x="162" y="592"/>
                  </a:lnTo>
                  <a:lnTo>
                    <a:pt x="164" y="590"/>
                  </a:lnTo>
                  <a:lnTo>
                    <a:pt x="164" y="588"/>
                  </a:lnTo>
                  <a:lnTo>
                    <a:pt x="164" y="586"/>
                  </a:lnTo>
                  <a:lnTo>
                    <a:pt x="164" y="584"/>
                  </a:lnTo>
                  <a:lnTo>
                    <a:pt x="164" y="584"/>
                  </a:lnTo>
                  <a:lnTo>
                    <a:pt x="164" y="584"/>
                  </a:lnTo>
                  <a:lnTo>
                    <a:pt x="164" y="584"/>
                  </a:lnTo>
                  <a:lnTo>
                    <a:pt x="164" y="582"/>
                  </a:lnTo>
                  <a:lnTo>
                    <a:pt x="162" y="582"/>
                  </a:lnTo>
                  <a:lnTo>
                    <a:pt x="160" y="582"/>
                  </a:lnTo>
                  <a:lnTo>
                    <a:pt x="160" y="582"/>
                  </a:lnTo>
                  <a:lnTo>
                    <a:pt x="160" y="581"/>
                  </a:lnTo>
                  <a:lnTo>
                    <a:pt x="160" y="581"/>
                  </a:lnTo>
                  <a:lnTo>
                    <a:pt x="162" y="581"/>
                  </a:lnTo>
                  <a:lnTo>
                    <a:pt x="162" y="579"/>
                  </a:lnTo>
                  <a:lnTo>
                    <a:pt x="164" y="579"/>
                  </a:lnTo>
                  <a:lnTo>
                    <a:pt x="168" y="579"/>
                  </a:lnTo>
                  <a:lnTo>
                    <a:pt x="168" y="579"/>
                  </a:lnTo>
                  <a:lnTo>
                    <a:pt x="168" y="577"/>
                  </a:lnTo>
                  <a:lnTo>
                    <a:pt x="168" y="577"/>
                  </a:lnTo>
                  <a:lnTo>
                    <a:pt x="168" y="573"/>
                  </a:lnTo>
                  <a:lnTo>
                    <a:pt x="168" y="569"/>
                  </a:lnTo>
                  <a:lnTo>
                    <a:pt x="168" y="567"/>
                  </a:lnTo>
                  <a:lnTo>
                    <a:pt x="168" y="565"/>
                  </a:lnTo>
                  <a:lnTo>
                    <a:pt x="168" y="565"/>
                  </a:lnTo>
                  <a:lnTo>
                    <a:pt x="168" y="565"/>
                  </a:lnTo>
                  <a:lnTo>
                    <a:pt x="168" y="563"/>
                  </a:lnTo>
                  <a:lnTo>
                    <a:pt x="166" y="563"/>
                  </a:lnTo>
                  <a:lnTo>
                    <a:pt x="158" y="560"/>
                  </a:lnTo>
                  <a:lnTo>
                    <a:pt x="158" y="560"/>
                  </a:lnTo>
                  <a:lnTo>
                    <a:pt x="158" y="560"/>
                  </a:lnTo>
                  <a:lnTo>
                    <a:pt x="157" y="560"/>
                  </a:lnTo>
                  <a:lnTo>
                    <a:pt x="157" y="562"/>
                  </a:lnTo>
                  <a:lnTo>
                    <a:pt x="157" y="562"/>
                  </a:lnTo>
                  <a:lnTo>
                    <a:pt x="155" y="562"/>
                  </a:lnTo>
                  <a:lnTo>
                    <a:pt x="155" y="562"/>
                  </a:lnTo>
                  <a:lnTo>
                    <a:pt x="155" y="562"/>
                  </a:lnTo>
                  <a:lnTo>
                    <a:pt x="155" y="560"/>
                  </a:lnTo>
                  <a:lnTo>
                    <a:pt x="155" y="560"/>
                  </a:lnTo>
                  <a:lnTo>
                    <a:pt x="155" y="558"/>
                  </a:lnTo>
                  <a:lnTo>
                    <a:pt x="155" y="558"/>
                  </a:lnTo>
                  <a:lnTo>
                    <a:pt x="155" y="558"/>
                  </a:lnTo>
                  <a:lnTo>
                    <a:pt x="155" y="556"/>
                  </a:lnTo>
                  <a:lnTo>
                    <a:pt x="153" y="556"/>
                  </a:lnTo>
                  <a:lnTo>
                    <a:pt x="153" y="554"/>
                  </a:lnTo>
                  <a:lnTo>
                    <a:pt x="153" y="552"/>
                  </a:lnTo>
                  <a:lnTo>
                    <a:pt x="153" y="552"/>
                  </a:lnTo>
                  <a:lnTo>
                    <a:pt x="153" y="552"/>
                  </a:lnTo>
                  <a:lnTo>
                    <a:pt x="155" y="552"/>
                  </a:lnTo>
                  <a:lnTo>
                    <a:pt x="157" y="550"/>
                  </a:lnTo>
                  <a:lnTo>
                    <a:pt x="157" y="550"/>
                  </a:lnTo>
                  <a:lnTo>
                    <a:pt x="157" y="550"/>
                  </a:lnTo>
                  <a:lnTo>
                    <a:pt x="158" y="550"/>
                  </a:lnTo>
                  <a:lnTo>
                    <a:pt x="158" y="550"/>
                  </a:lnTo>
                  <a:lnTo>
                    <a:pt x="158" y="550"/>
                  </a:lnTo>
                  <a:lnTo>
                    <a:pt x="157" y="548"/>
                  </a:lnTo>
                  <a:lnTo>
                    <a:pt x="157" y="548"/>
                  </a:lnTo>
                  <a:lnTo>
                    <a:pt x="155" y="548"/>
                  </a:lnTo>
                  <a:lnTo>
                    <a:pt x="155" y="548"/>
                  </a:lnTo>
                  <a:lnTo>
                    <a:pt x="155" y="548"/>
                  </a:lnTo>
                  <a:lnTo>
                    <a:pt x="155" y="546"/>
                  </a:lnTo>
                  <a:lnTo>
                    <a:pt x="155" y="546"/>
                  </a:lnTo>
                  <a:lnTo>
                    <a:pt x="155" y="546"/>
                  </a:lnTo>
                  <a:lnTo>
                    <a:pt x="155" y="544"/>
                  </a:lnTo>
                  <a:lnTo>
                    <a:pt x="155" y="544"/>
                  </a:lnTo>
                  <a:lnTo>
                    <a:pt x="153" y="544"/>
                  </a:lnTo>
                  <a:lnTo>
                    <a:pt x="153" y="544"/>
                  </a:lnTo>
                  <a:lnTo>
                    <a:pt x="153" y="544"/>
                  </a:lnTo>
                  <a:lnTo>
                    <a:pt x="151" y="544"/>
                  </a:lnTo>
                  <a:lnTo>
                    <a:pt x="151" y="544"/>
                  </a:lnTo>
                  <a:lnTo>
                    <a:pt x="151" y="544"/>
                  </a:lnTo>
                  <a:lnTo>
                    <a:pt x="151" y="543"/>
                  </a:lnTo>
                  <a:lnTo>
                    <a:pt x="151" y="543"/>
                  </a:lnTo>
                  <a:lnTo>
                    <a:pt x="151" y="543"/>
                  </a:lnTo>
                  <a:lnTo>
                    <a:pt x="151" y="543"/>
                  </a:lnTo>
                  <a:lnTo>
                    <a:pt x="151" y="541"/>
                  </a:lnTo>
                  <a:lnTo>
                    <a:pt x="149" y="541"/>
                  </a:lnTo>
                  <a:lnTo>
                    <a:pt x="149" y="541"/>
                  </a:lnTo>
                  <a:lnTo>
                    <a:pt x="149" y="541"/>
                  </a:lnTo>
                  <a:lnTo>
                    <a:pt x="149" y="541"/>
                  </a:lnTo>
                  <a:lnTo>
                    <a:pt x="149" y="541"/>
                  </a:lnTo>
                  <a:lnTo>
                    <a:pt x="147" y="543"/>
                  </a:lnTo>
                  <a:lnTo>
                    <a:pt x="147" y="543"/>
                  </a:lnTo>
                  <a:lnTo>
                    <a:pt x="147" y="543"/>
                  </a:lnTo>
                  <a:lnTo>
                    <a:pt x="147" y="543"/>
                  </a:lnTo>
                  <a:lnTo>
                    <a:pt x="145" y="543"/>
                  </a:lnTo>
                  <a:lnTo>
                    <a:pt x="145" y="541"/>
                  </a:lnTo>
                  <a:lnTo>
                    <a:pt x="145" y="541"/>
                  </a:lnTo>
                  <a:lnTo>
                    <a:pt x="145" y="541"/>
                  </a:lnTo>
                  <a:lnTo>
                    <a:pt x="147" y="539"/>
                  </a:lnTo>
                  <a:lnTo>
                    <a:pt x="147" y="537"/>
                  </a:lnTo>
                  <a:lnTo>
                    <a:pt x="147" y="535"/>
                  </a:lnTo>
                  <a:lnTo>
                    <a:pt x="149" y="537"/>
                  </a:lnTo>
                  <a:lnTo>
                    <a:pt x="149" y="537"/>
                  </a:lnTo>
                  <a:lnTo>
                    <a:pt x="151" y="537"/>
                  </a:lnTo>
                  <a:lnTo>
                    <a:pt x="151" y="537"/>
                  </a:lnTo>
                  <a:lnTo>
                    <a:pt x="151" y="537"/>
                  </a:lnTo>
                  <a:lnTo>
                    <a:pt x="153" y="537"/>
                  </a:lnTo>
                  <a:lnTo>
                    <a:pt x="153" y="537"/>
                  </a:lnTo>
                  <a:lnTo>
                    <a:pt x="153" y="537"/>
                  </a:lnTo>
                  <a:lnTo>
                    <a:pt x="153" y="535"/>
                  </a:lnTo>
                  <a:lnTo>
                    <a:pt x="153" y="535"/>
                  </a:lnTo>
                  <a:lnTo>
                    <a:pt x="155" y="533"/>
                  </a:lnTo>
                  <a:lnTo>
                    <a:pt x="155" y="535"/>
                  </a:lnTo>
                  <a:lnTo>
                    <a:pt x="155" y="535"/>
                  </a:lnTo>
                  <a:lnTo>
                    <a:pt x="155" y="535"/>
                  </a:lnTo>
                  <a:lnTo>
                    <a:pt x="157" y="535"/>
                  </a:lnTo>
                  <a:lnTo>
                    <a:pt x="157" y="537"/>
                  </a:lnTo>
                  <a:lnTo>
                    <a:pt x="157" y="537"/>
                  </a:lnTo>
                  <a:lnTo>
                    <a:pt x="157" y="537"/>
                  </a:lnTo>
                  <a:lnTo>
                    <a:pt x="158" y="535"/>
                  </a:lnTo>
                  <a:lnTo>
                    <a:pt x="160" y="533"/>
                  </a:lnTo>
                  <a:lnTo>
                    <a:pt x="160" y="533"/>
                  </a:lnTo>
                  <a:lnTo>
                    <a:pt x="160" y="533"/>
                  </a:lnTo>
                  <a:lnTo>
                    <a:pt x="162" y="533"/>
                  </a:lnTo>
                  <a:lnTo>
                    <a:pt x="162" y="531"/>
                  </a:lnTo>
                  <a:lnTo>
                    <a:pt x="162" y="531"/>
                  </a:lnTo>
                  <a:lnTo>
                    <a:pt x="164" y="531"/>
                  </a:lnTo>
                  <a:lnTo>
                    <a:pt x="164" y="529"/>
                  </a:lnTo>
                  <a:lnTo>
                    <a:pt x="164" y="527"/>
                  </a:lnTo>
                  <a:lnTo>
                    <a:pt x="164" y="525"/>
                  </a:lnTo>
                  <a:lnTo>
                    <a:pt x="164" y="525"/>
                  </a:lnTo>
                  <a:lnTo>
                    <a:pt x="166" y="525"/>
                  </a:lnTo>
                  <a:lnTo>
                    <a:pt x="166" y="527"/>
                  </a:lnTo>
                  <a:lnTo>
                    <a:pt x="168" y="527"/>
                  </a:lnTo>
                  <a:lnTo>
                    <a:pt x="170" y="527"/>
                  </a:lnTo>
                  <a:lnTo>
                    <a:pt x="172" y="527"/>
                  </a:lnTo>
                  <a:lnTo>
                    <a:pt x="174" y="527"/>
                  </a:lnTo>
                  <a:lnTo>
                    <a:pt x="174" y="527"/>
                  </a:lnTo>
                  <a:lnTo>
                    <a:pt x="174" y="529"/>
                  </a:lnTo>
                  <a:lnTo>
                    <a:pt x="174" y="531"/>
                  </a:lnTo>
                  <a:lnTo>
                    <a:pt x="174" y="531"/>
                  </a:lnTo>
                  <a:lnTo>
                    <a:pt x="176" y="533"/>
                  </a:lnTo>
                  <a:lnTo>
                    <a:pt x="176" y="533"/>
                  </a:lnTo>
                  <a:lnTo>
                    <a:pt x="176" y="533"/>
                  </a:lnTo>
                  <a:lnTo>
                    <a:pt x="176" y="533"/>
                  </a:lnTo>
                  <a:lnTo>
                    <a:pt x="176" y="535"/>
                  </a:lnTo>
                  <a:lnTo>
                    <a:pt x="176" y="535"/>
                  </a:lnTo>
                  <a:lnTo>
                    <a:pt x="176" y="535"/>
                  </a:lnTo>
                  <a:lnTo>
                    <a:pt x="176" y="535"/>
                  </a:lnTo>
                  <a:lnTo>
                    <a:pt x="176" y="535"/>
                  </a:lnTo>
                  <a:lnTo>
                    <a:pt x="176" y="535"/>
                  </a:lnTo>
                  <a:lnTo>
                    <a:pt x="178" y="535"/>
                  </a:lnTo>
                  <a:lnTo>
                    <a:pt x="178" y="535"/>
                  </a:lnTo>
                  <a:lnTo>
                    <a:pt x="179" y="535"/>
                  </a:lnTo>
                  <a:lnTo>
                    <a:pt x="181" y="531"/>
                  </a:lnTo>
                  <a:lnTo>
                    <a:pt x="183" y="531"/>
                  </a:lnTo>
                  <a:lnTo>
                    <a:pt x="183" y="531"/>
                  </a:lnTo>
                  <a:lnTo>
                    <a:pt x="183" y="531"/>
                  </a:lnTo>
                  <a:lnTo>
                    <a:pt x="185" y="531"/>
                  </a:lnTo>
                  <a:lnTo>
                    <a:pt x="187" y="529"/>
                  </a:lnTo>
                  <a:lnTo>
                    <a:pt x="187" y="529"/>
                  </a:lnTo>
                  <a:lnTo>
                    <a:pt x="187" y="527"/>
                  </a:lnTo>
                  <a:lnTo>
                    <a:pt x="185" y="525"/>
                  </a:lnTo>
                  <a:lnTo>
                    <a:pt x="185" y="524"/>
                  </a:lnTo>
                  <a:lnTo>
                    <a:pt x="187" y="524"/>
                  </a:lnTo>
                  <a:lnTo>
                    <a:pt x="187" y="524"/>
                  </a:lnTo>
                  <a:lnTo>
                    <a:pt x="187" y="524"/>
                  </a:lnTo>
                  <a:lnTo>
                    <a:pt x="189" y="520"/>
                  </a:lnTo>
                  <a:lnTo>
                    <a:pt x="189" y="520"/>
                  </a:lnTo>
                  <a:lnTo>
                    <a:pt x="189" y="520"/>
                  </a:lnTo>
                  <a:lnTo>
                    <a:pt x="191" y="520"/>
                  </a:lnTo>
                  <a:lnTo>
                    <a:pt x="191" y="520"/>
                  </a:lnTo>
                  <a:lnTo>
                    <a:pt x="191" y="520"/>
                  </a:lnTo>
                  <a:lnTo>
                    <a:pt x="193" y="518"/>
                  </a:lnTo>
                  <a:lnTo>
                    <a:pt x="193" y="518"/>
                  </a:lnTo>
                  <a:lnTo>
                    <a:pt x="193" y="518"/>
                  </a:lnTo>
                  <a:lnTo>
                    <a:pt x="193" y="516"/>
                  </a:lnTo>
                  <a:lnTo>
                    <a:pt x="195" y="516"/>
                  </a:lnTo>
                  <a:lnTo>
                    <a:pt x="197" y="516"/>
                  </a:lnTo>
                  <a:lnTo>
                    <a:pt x="198" y="514"/>
                  </a:lnTo>
                  <a:lnTo>
                    <a:pt x="198" y="514"/>
                  </a:lnTo>
                  <a:lnTo>
                    <a:pt x="198" y="514"/>
                  </a:lnTo>
                  <a:lnTo>
                    <a:pt x="200" y="514"/>
                  </a:lnTo>
                  <a:lnTo>
                    <a:pt x="202" y="516"/>
                  </a:lnTo>
                  <a:lnTo>
                    <a:pt x="204" y="516"/>
                  </a:lnTo>
                  <a:lnTo>
                    <a:pt x="204" y="516"/>
                  </a:lnTo>
                  <a:lnTo>
                    <a:pt x="204" y="514"/>
                  </a:lnTo>
                  <a:lnTo>
                    <a:pt x="204" y="514"/>
                  </a:lnTo>
                  <a:lnTo>
                    <a:pt x="204" y="514"/>
                  </a:lnTo>
                  <a:lnTo>
                    <a:pt x="204" y="514"/>
                  </a:lnTo>
                  <a:lnTo>
                    <a:pt x="204" y="510"/>
                  </a:lnTo>
                  <a:lnTo>
                    <a:pt x="204" y="508"/>
                  </a:lnTo>
                  <a:lnTo>
                    <a:pt x="204" y="508"/>
                  </a:lnTo>
                  <a:lnTo>
                    <a:pt x="202" y="506"/>
                  </a:lnTo>
                  <a:lnTo>
                    <a:pt x="202" y="506"/>
                  </a:lnTo>
                  <a:lnTo>
                    <a:pt x="202" y="506"/>
                  </a:lnTo>
                  <a:lnTo>
                    <a:pt x="202" y="504"/>
                  </a:lnTo>
                  <a:lnTo>
                    <a:pt x="204" y="504"/>
                  </a:lnTo>
                  <a:lnTo>
                    <a:pt x="208" y="504"/>
                  </a:lnTo>
                  <a:lnTo>
                    <a:pt x="210" y="503"/>
                  </a:lnTo>
                  <a:lnTo>
                    <a:pt x="210" y="503"/>
                  </a:lnTo>
                  <a:lnTo>
                    <a:pt x="210" y="503"/>
                  </a:lnTo>
                  <a:lnTo>
                    <a:pt x="212" y="501"/>
                  </a:lnTo>
                  <a:lnTo>
                    <a:pt x="212" y="501"/>
                  </a:lnTo>
                  <a:lnTo>
                    <a:pt x="212" y="499"/>
                  </a:lnTo>
                  <a:lnTo>
                    <a:pt x="214" y="497"/>
                  </a:lnTo>
                  <a:lnTo>
                    <a:pt x="214" y="497"/>
                  </a:lnTo>
                  <a:lnTo>
                    <a:pt x="214" y="497"/>
                  </a:lnTo>
                  <a:lnTo>
                    <a:pt x="218" y="497"/>
                  </a:lnTo>
                  <a:lnTo>
                    <a:pt x="221" y="497"/>
                  </a:lnTo>
                  <a:lnTo>
                    <a:pt x="221" y="497"/>
                  </a:lnTo>
                  <a:lnTo>
                    <a:pt x="221" y="497"/>
                  </a:lnTo>
                  <a:lnTo>
                    <a:pt x="223" y="497"/>
                  </a:lnTo>
                  <a:lnTo>
                    <a:pt x="223" y="499"/>
                  </a:lnTo>
                  <a:lnTo>
                    <a:pt x="223" y="499"/>
                  </a:lnTo>
                  <a:lnTo>
                    <a:pt x="223" y="501"/>
                  </a:lnTo>
                  <a:lnTo>
                    <a:pt x="225" y="501"/>
                  </a:lnTo>
                  <a:lnTo>
                    <a:pt x="227" y="501"/>
                  </a:lnTo>
                  <a:lnTo>
                    <a:pt x="227" y="503"/>
                  </a:lnTo>
                  <a:lnTo>
                    <a:pt x="227" y="503"/>
                  </a:lnTo>
                  <a:lnTo>
                    <a:pt x="229" y="503"/>
                  </a:lnTo>
                  <a:lnTo>
                    <a:pt x="229" y="504"/>
                  </a:lnTo>
                  <a:lnTo>
                    <a:pt x="231" y="504"/>
                  </a:lnTo>
                  <a:lnTo>
                    <a:pt x="231" y="504"/>
                  </a:lnTo>
                  <a:lnTo>
                    <a:pt x="233" y="504"/>
                  </a:lnTo>
                  <a:lnTo>
                    <a:pt x="235" y="504"/>
                  </a:lnTo>
                  <a:lnTo>
                    <a:pt x="240" y="501"/>
                  </a:lnTo>
                  <a:lnTo>
                    <a:pt x="240" y="501"/>
                  </a:lnTo>
                  <a:lnTo>
                    <a:pt x="240" y="499"/>
                  </a:lnTo>
                  <a:lnTo>
                    <a:pt x="240" y="497"/>
                  </a:lnTo>
                  <a:lnTo>
                    <a:pt x="240" y="497"/>
                  </a:lnTo>
                  <a:lnTo>
                    <a:pt x="240" y="497"/>
                  </a:lnTo>
                  <a:lnTo>
                    <a:pt x="246" y="495"/>
                  </a:lnTo>
                  <a:lnTo>
                    <a:pt x="248" y="495"/>
                  </a:lnTo>
                  <a:lnTo>
                    <a:pt x="248" y="495"/>
                  </a:lnTo>
                  <a:lnTo>
                    <a:pt x="250" y="493"/>
                  </a:lnTo>
                  <a:lnTo>
                    <a:pt x="252" y="493"/>
                  </a:lnTo>
                  <a:lnTo>
                    <a:pt x="256" y="493"/>
                  </a:lnTo>
                  <a:lnTo>
                    <a:pt x="258" y="493"/>
                  </a:lnTo>
                  <a:lnTo>
                    <a:pt x="258" y="495"/>
                  </a:lnTo>
                  <a:lnTo>
                    <a:pt x="258" y="495"/>
                  </a:lnTo>
                  <a:lnTo>
                    <a:pt x="259" y="495"/>
                  </a:lnTo>
                  <a:lnTo>
                    <a:pt x="259" y="495"/>
                  </a:lnTo>
                  <a:lnTo>
                    <a:pt x="261" y="495"/>
                  </a:lnTo>
                  <a:lnTo>
                    <a:pt x="263" y="495"/>
                  </a:lnTo>
                  <a:lnTo>
                    <a:pt x="265" y="493"/>
                  </a:lnTo>
                  <a:lnTo>
                    <a:pt x="265" y="493"/>
                  </a:lnTo>
                  <a:lnTo>
                    <a:pt x="267" y="493"/>
                  </a:lnTo>
                  <a:lnTo>
                    <a:pt x="267" y="491"/>
                  </a:lnTo>
                  <a:lnTo>
                    <a:pt x="267" y="491"/>
                  </a:lnTo>
                  <a:lnTo>
                    <a:pt x="269" y="491"/>
                  </a:lnTo>
                  <a:lnTo>
                    <a:pt x="269" y="491"/>
                  </a:lnTo>
                  <a:lnTo>
                    <a:pt x="271" y="493"/>
                  </a:lnTo>
                  <a:lnTo>
                    <a:pt x="273" y="495"/>
                  </a:lnTo>
                  <a:lnTo>
                    <a:pt x="275" y="495"/>
                  </a:lnTo>
                  <a:lnTo>
                    <a:pt x="275" y="495"/>
                  </a:lnTo>
                  <a:lnTo>
                    <a:pt x="277" y="493"/>
                  </a:lnTo>
                  <a:lnTo>
                    <a:pt x="277" y="493"/>
                  </a:lnTo>
                  <a:lnTo>
                    <a:pt x="277" y="493"/>
                  </a:lnTo>
                  <a:lnTo>
                    <a:pt x="277" y="491"/>
                  </a:lnTo>
                  <a:lnTo>
                    <a:pt x="277" y="491"/>
                  </a:lnTo>
                  <a:lnTo>
                    <a:pt x="277" y="489"/>
                  </a:lnTo>
                  <a:lnTo>
                    <a:pt x="275" y="487"/>
                  </a:lnTo>
                  <a:lnTo>
                    <a:pt x="275" y="487"/>
                  </a:lnTo>
                  <a:lnTo>
                    <a:pt x="275" y="485"/>
                  </a:lnTo>
                  <a:lnTo>
                    <a:pt x="275" y="485"/>
                  </a:lnTo>
                  <a:lnTo>
                    <a:pt x="277" y="485"/>
                  </a:lnTo>
                  <a:lnTo>
                    <a:pt x="277" y="484"/>
                  </a:lnTo>
                  <a:lnTo>
                    <a:pt x="277" y="484"/>
                  </a:lnTo>
                  <a:lnTo>
                    <a:pt x="277" y="482"/>
                  </a:lnTo>
                  <a:lnTo>
                    <a:pt x="277" y="480"/>
                  </a:lnTo>
                  <a:lnTo>
                    <a:pt x="275" y="480"/>
                  </a:lnTo>
                  <a:lnTo>
                    <a:pt x="275" y="478"/>
                  </a:lnTo>
                  <a:lnTo>
                    <a:pt x="273" y="478"/>
                  </a:lnTo>
                  <a:lnTo>
                    <a:pt x="273" y="476"/>
                  </a:lnTo>
                  <a:lnTo>
                    <a:pt x="273" y="474"/>
                  </a:lnTo>
                  <a:lnTo>
                    <a:pt x="273" y="474"/>
                  </a:lnTo>
                  <a:lnTo>
                    <a:pt x="275" y="472"/>
                  </a:lnTo>
                  <a:lnTo>
                    <a:pt x="275" y="472"/>
                  </a:lnTo>
                  <a:lnTo>
                    <a:pt x="275" y="470"/>
                  </a:lnTo>
                  <a:lnTo>
                    <a:pt x="275" y="470"/>
                  </a:lnTo>
                  <a:lnTo>
                    <a:pt x="275" y="468"/>
                  </a:lnTo>
                  <a:lnTo>
                    <a:pt x="275" y="466"/>
                  </a:lnTo>
                  <a:lnTo>
                    <a:pt x="273" y="466"/>
                  </a:lnTo>
                  <a:lnTo>
                    <a:pt x="273" y="465"/>
                  </a:lnTo>
                  <a:lnTo>
                    <a:pt x="271" y="465"/>
                  </a:lnTo>
                  <a:lnTo>
                    <a:pt x="271" y="465"/>
                  </a:lnTo>
                  <a:lnTo>
                    <a:pt x="271" y="463"/>
                  </a:lnTo>
                  <a:lnTo>
                    <a:pt x="271" y="461"/>
                  </a:lnTo>
                  <a:lnTo>
                    <a:pt x="269" y="461"/>
                  </a:lnTo>
                  <a:lnTo>
                    <a:pt x="269" y="457"/>
                  </a:lnTo>
                  <a:lnTo>
                    <a:pt x="269" y="455"/>
                  </a:lnTo>
                  <a:lnTo>
                    <a:pt x="269" y="453"/>
                  </a:lnTo>
                  <a:lnTo>
                    <a:pt x="271" y="453"/>
                  </a:lnTo>
                  <a:lnTo>
                    <a:pt x="271" y="451"/>
                  </a:lnTo>
                  <a:lnTo>
                    <a:pt x="271" y="451"/>
                  </a:lnTo>
                  <a:lnTo>
                    <a:pt x="273" y="447"/>
                  </a:lnTo>
                  <a:lnTo>
                    <a:pt x="273" y="447"/>
                  </a:lnTo>
                  <a:lnTo>
                    <a:pt x="275" y="447"/>
                  </a:lnTo>
                  <a:lnTo>
                    <a:pt x="275" y="446"/>
                  </a:lnTo>
                  <a:lnTo>
                    <a:pt x="277" y="446"/>
                  </a:lnTo>
                  <a:lnTo>
                    <a:pt x="277" y="446"/>
                  </a:lnTo>
                  <a:lnTo>
                    <a:pt x="279" y="447"/>
                  </a:lnTo>
                  <a:lnTo>
                    <a:pt x="279" y="449"/>
                  </a:lnTo>
                  <a:lnTo>
                    <a:pt x="280" y="451"/>
                  </a:lnTo>
                  <a:lnTo>
                    <a:pt x="282" y="451"/>
                  </a:lnTo>
                  <a:lnTo>
                    <a:pt x="284" y="451"/>
                  </a:lnTo>
                  <a:lnTo>
                    <a:pt x="286" y="451"/>
                  </a:lnTo>
                  <a:lnTo>
                    <a:pt x="286" y="453"/>
                  </a:lnTo>
                  <a:lnTo>
                    <a:pt x="288" y="453"/>
                  </a:lnTo>
                  <a:lnTo>
                    <a:pt x="288" y="455"/>
                  </a:lnTo>
                  <a:lnTo>
                    <a:pt x="288" y="455"/>
                  </a:lnTo>
                  <a:lnTo>
                    <a:pt x="290" y="455"/>
                  </a:lnTo>
                  <a:lnTo>
                    <a:pt x="292" y="455"/>
                  </a:lnTo>
                  <a:lnTo>
                    <a:pt x="292" y="453"/>
                  </a:lnTo>
                  <a:lnTo>
                    <a:pt x="294" y="451"/>
                  </a:lnTo>
                  <a:lnTo>
                    <a:pt x="296" y="453"/>
                  </a:lnTo>
                  <a:lnTo>
                    <a:pt x="298" y="451"/>
                  </a:lnTo>
                  <a:lnTo>
                    <a:pt x="298" y="453"/>
                  </a:lnTo>
                  <a:lnTo>
                    <a:pt x="299" y="453"/>
                  </a:lnTo>
                  <a:lnTo>
                    <a:pt x="299" y="455"/>
                  </a:lnTo>
                  <a:lnTo>
                    <a:pt x="299" y="457"/>
                  </a:lnTo>
                  <a:lnTo>
                    <a:pt x="299" y="459"/>
                  </a:lnTo>
                  <a:lnTo>
                    <a:pt x="301" y="459"/>
                  </a:lnTo>
                  <a:lnTo>
                    <a:pt x="301" y="459"/>
                  </a:lnTo>
                  <a:lnTo>
                    <a:pt x="303" y="461"/>
                  </a:lnTo>
                  <a:lnTo>
                    <a:pt x="303" y="461"/>
                  </a:lnTo>
                  <a:lnTo>
                    <a:pt x="305" y="459"/>
                  </a:lnTo>
                  <a:lnTo>
                    <a:pt x="305" y="459"/>
                  </a:lnTo>
                  <a:lnTo>
                    <a:pt x="309" y="459"/>
                  </a:lnTo>
                  <a:lnTo>
                    <a:pt x="311" y="459"/>
                  </a:lnTo>
                  <a:lnTo>
                    <a:pt x="311" y="459"/>
                  </a:lnTo>
                  <a:lnTo>
                    <a:pt x="313" y="459"/>
                  </a:lnTo>
                  <a:lnTo>
                    <a:pt x="313" y="459"/>
                  </a:lnTo>
                  <a:lnTo>
                    <a:pt x="315" y="457"/>
                  </a:lnTo>
                  <a:lnTo>
                    <a:pt x="319" y="455"/>
                  </a:lnTo>
                  <a:lnTo>
                    <a:pt x="320" y="455"/>
                  </a:lnTo>
                  <a:lnTo>
                    <a:pt x="320" y="455"/>
                  </a:lnTo>
                  <a:lnTo>
                    <a:pt x="322" y="457"/>
                  </a:lnTo>
                  <a:lnTo>
                    <a:pt x="324" y="457"/>
                  </a:lnTo>
                  <a:lnTo>
                    <a:pt x="324" y="455"/>
                  </a:lnTo>
                  <a:lnTo>
                    <a:pt x="326" y="455"/>
                  </a:lnTo>
                  <a:lnTo>
                    <a:pt x="328" y="455"/>
                  </a:lnTo>
                  <a:lnTo>
                    <a:pt x="328" y="455"/>
                  </a:lnTo>
                  <a:lnTo>
                    <a:pt x="330" y="455"/>
                  </a:lnTo>
                  <a:lnTo>
                    <a:pt x="330" y="455"/>
                  </a:lnTo>
                  <a:lnTo>
                    <a:pt x="332" y="457"/>
                  </a:lnTo>
                  <a:lnTo>
                    <a:pt x="334" y="457"/>
                  </a:lnTo>
                  <a:lnTo>
                    <a:pt x="334" y="457"/>
                  </a:lnTo>
                  <a:lnTo>
                    <a:pt x="336" y="457"/>
                  </a:lnTo>
                  <a:lnTo>
                    <a:pt x="338" y="457"/>
                  </a:lnTo>
                  <a:lnTo>
                    <a:pt x="340" y="459"/>
                  </a:lnTo>
                  <a:lnTo>
                    <a:pt x="341" y="459"/>
                  </a:lnTo>
                  <a:lnTo>
                    <a:pt x="341" y="457"/>
                  </a:lnTo>
                  <a:lnTo>
                    <a:pt x="343" y="457"/>
                  </a:lnTo>
                  <a:lnTo>
                    <a:pt x="345" y="455"/>
                  </a:lnTo>
                  <a:lnTo>
                    <a:pt x="345" y="455"/>
                  </a:lnTo>
                  <a:lnTo>
                    <a:pt x="343" y="453"/>
                  </a:lnTo>
                  <a:lnTo>
                    <a:pt x="341" y="451"/>
                  </a:lnTo>
                  <a:lnTo>
                    <a:pt x="341" y="451"/>
                  </a:lnTo>
                  <a:lnTo>
                    <a:pt x="341" y="449"/>
                  </a:lnTo>
                  <a:lnTo>
                    <a:pt x="340" y="447"/>
                  </a:lnTo>
                  <a:lnTo>
                    <a:pt x="340" y="447"/>
                  </a:lnTo>
                  <a:lnTo>
                    <a:pt x="340" y="446"/>
                  </a:lnTo>
                  <a:lnTo>
                    <a:pt x="340" y="446"/>
                  </a:lnTo>
                  <a:lnTo>
                    <a:pt x="340" y="444"/>
                  </a:lnTo>
                  <a:lnTo>
                    <a:pt x="341" y="444"/>
                  </a:lnTo>
                  <a:lnTo>
                    <a:pt x="341" y="442"/>
                  </a:lnTo>
                  <a:lnTo>
                    <a:pt x="341" y="442"/>
                  </a:lnTo>
                  <a:lnTo>
                    <a:pt x="340" y="440"/>
                  </a:lnTo>
                  <a:lnTo>
                    <a:pt x="340" y="440"/>
                  </a:lnTo>
                  <a:lnTo>
                    <a:pt x="341" y="438"/>
                  </a:lnTo>
                  <a:lnTo>
                    <a:pt x="341" y="438"/>
                  </a:lnTo>
                  <a:lnTo>
                    <a:pt x="341" y="438"/>
                  </a:lnTo>
                  <a:lnTo>
                    <a:pt x="340" y="436"/>
                  </a:lnTo>
                  <a:lnTo>
                    <a:pt x="340" y="434"/>
                  </a:lnTo>
                  <a:lnTo>
                    <a:pt x="338" y="434"/>
                  </a:lnTo>
                  <a:lnTo>
                    <a:pt x="338" y="434"/>
                  </a:lnTo>
                  <a:lnTo>
                    <a:pt x="340" y="432"/>
                  </a:lnTo>
                  <a:lnTo>
                    <a:pt x="345" y="430"/>
                  </a:lnTo>
                  <a:lnTo>
                    <a:pt x="347" y="428"/>
                  </a:lnTo>
                  <a:lnTo>
                    <a:pt x="347" y="428"/>
                  </a:lnTo>
                  <a:lnTo>
                    <a:pt x="347" y="427"/>
                  </a:lnTo>
                  <a:lnTo>
                    <a:pt x="349" y="427"/>
                  </a:lnTo>
                  <a:lnTo>
                    <a:pt x="349" y="427"/>
                  </a:lnTo>
                  <a:lnTo>
                    <a:pt x="351" y="425"/>
                  </a:lnTo>
                  <a:lnTo>
                    <a:pt x="353" y="425"/>
                  </a:lnTo>
                  <a:lnTo>
                    <a:pt x="353" y="425"/>
                  </a:lnTo>
                  <a:lnTo>
                    <a:pt x="353" y="423"/>
                  </a:lnTo>
                  <a:lnTo>
                    <a:pt x="353" y="423"/>
                  </a:lnTo>
                  <a:lnTo>
                    <a:pt x="353" y="423"/>
                  </a:lnTo>
                  <a:lnTo>
                    <a:pt x="353" y="421"/>
                  </a:lnTo>
                  <a:lnTo>
                    <a:pt x="353" y="421"/>
                  </a:lnTo>
                  <a:lnTo>
                    <a:pt x="355" y="421"/>
                  </a:lnTo>
                  <a:lnTo>
                    <a:pt x="355" y="421"/>
                  </a:lnTo>
                  <a:lnTo>
                    <a:pt x="357" y="419"/>
                  </a:lnTo>
                  <a:lnTo>
                    <a:pt x="357" y="419"/>
                  </a:lnTo>
                  <a:lnTo>
                    <a:pt x="357" y="417"/>
                  </a:lnTo>
                  <a:lnTo>
                    <a:pt x="359" y="417"/>
                  </a:lnTo>
                  <a:lnTo>
                    <a:pt x="359" y="417"/>
                  </a:lnTo>
                  <a:lnTo>
                    <a:pt x="360" y="419"/>
                  </a:lnTo>
                  <a:lnTo>
                    <a:pt x="362" y="419"/>
                  </a:lnTo>
                  <a:lnTo>
                    <a:pt x="364" y="417"/>
                  </a:lnTo>
                  <a:lnTo>
                    <a:pt x="364" y="417"/>
                  </a:lnTo>
                  <a:lnTo>
                    <a:pt x="364" y="419"/>
                  </a:lnTo>
                  <a:lnTo>
                    <a:pt x="366" y="421"/>
                  </a:lnTo>
                  <a:lnTo>
                    <a:pt x="368" y="421"/>
                  </a:lnTo>
                  <a:lnTo>
                    <a:pt x="368" y="421"/>
                  </a:lnTo>
                  <a:lnTo>
                    <a:pt x="370" y="423"/>
                  </a:lnTo>
                  <a:lnTo>
                    <a:pt x="372" y="425"/>
                  </a:lnTo>
                  <a:lnTo>
                    <a:pt x="374" y="419"/>
                  </a:lnTo>
                  <a:lnTo>
                    <a:pt x="374" y="417"/>
                  </a:lnTo>
                  <a:lnTo>
                    <a:pt x="374" y="415"/>
                  </a:lnTo>
                  <a:lnTo>
                    <a:pt x="376" y="415"/>
                  </a:lnTo>
                  <a:lnTo>
                    <a:pt x="378" y="413"/>
                  </a:lnTo>
                  <a:lnTo>
                    <a:pt x="378" y="413"/>
                  </a:lnTo>
                  <a:lnTo>
                    <a:pt x="380" y="413"/>
                  </a:lnTo>
                  <a:lnTo>
                    <a:pt x="380" y="413"/>
                  </a:lnTo>
                  <a:lnTo>
                    <a:pt x="380" y="411"/>
                  </a:lnTo>
                  <a:lnTo>
                    <a:pt x="380" y="409"/>
                  </a:lnTo>
                  <a:lnTo>
                    <a:pt x="378" y="407"/>
                  </a:lnTo>
                  <a:lnTo>
                    <a:pt x="378" y="406"/>
                  </a:lnTo>
                  <a:lnTo>
                    <a:pt x="380" y="406"/>
                  </a:lnTo>
                  <a:lnTo>
                    <a:pt x="380" y="406"/>
                  </a:lnTo>
                  <a:lnTo>
                    <a:pt x="381" y="406"/>
                  </a:lnTo>
                  <a:lnTo>
                    <a:pt x="385" y="407"/>
                  </a:lnTo>
                  <a:lnTo>
                    <a:pt x="387" y="407"/>
                  </a:lnTo>
                  <a:lnTo>
                    <a:pt x="389" y="406"/>
                  </a:lnTo>
                  <a:lnTo>
                    <a:pt x="389" y="406"/>
                  </a:lnTo>
                  <a:lnTo>
                    <a:pt x="391" y="402"/>
                  </a:lnTo>
                  <a:lnTo>
                    <a:pt x="391" y="400"/>
                  </a:lnTo>
                  <a:lnTo>
                    <a:pt x="391" y="398"/>
                  </a:lnTo>
                  <a:lnTo>
                    <a:pt x="391" y="396"/>
                  </a:lnTo>
                  <a:lnTo>
                    <a:pt x="391" y="394"/>
                  </a:lnTo>
                  <a:lnTo>
                    <a:pt x="391" y="392"/>
                  </a:lnTo>
                  <a:lnTo>
                    <a:pt x="393" y="388"/>
                  </a:lnTo>
                  <a:lnTo>
                    <a:pt x="393" y="387"/>
                  </a:lnTo>
                  <a:lnTo>
                    <a:pt x="393" y="385"/>
                  </a:lnTo>
                  <a:lnTo>
                    <a:pt x="393" y="381"/>
                  </a:lnTo>
                  <a:lnTo>
                    <a:pt x="393" y="381"/>
                  </a:lnTo>
                  <a:lnTo>
                    <a:pt x="395" y="379"/>
                  </a:lnTo>
                  <a:lnTo>
                    <a:pt x="397" y="377"/>
                  </a:lnTo>
                  <a:lnTo>
                    <a:pt x="399" y="377"/>
                  </a:lnTo>
                  <a:lnTo>
                    <a:pt x="402" y="379"/>
                  </a:lnTo>
                  <a:lnTo>
                    <a:pt x="402" y="379"/>
                  </a:lnTo>
                  <a:lnTo>
                    <a:pt x="402" y="377"/>
                  </a:lnTo>
                  <a:lnTo>
                    <a:pt x="404" y="377"/>
                  </a:lnTo>
                  <a:lnTo>
                    <a:pt x="406" y="377"/>
                  </a:lnTo>
                  <a:lnTo>
                    <a:pt x="406" y="377"/>
                  </a:lnTo>
                  <a:lnTo>
                    <a:pt x="408" y="377"/>
                  </a:lnTo>
                  <a:lnTo>
                    <a:pt x="410" y="377"/>
                  </a:lnTo>
                  <a:lnTo>
                    <a:pt x="410" y="377"/>
                  </a:lnTo>
                  <a:lnTo>
                    <a:pt x="410" y="375"/>
                  </a:lnTo>
                  <a:lnTo>
                    <a:pt x="410" y="373"/>
                  </a:lnTo>
                  <a:lnTo>
                    <a:pt x="410" y="373"/>
                  </a:lnTo>
                  <a:lnTo>
                    <a:pt x="412" y="371"/>
                  </a:lnTo>
                  <a:lnTo>
                    <a:pt x="412" y="371"/>
                  </a:lnTo>
                  <a:lnTo>
                    <a:pt x="418" y="368"/>
                  </a:lnTo>
                  <a:lnTo>
                    <a:pt x="421" y="366"/>
                  </a:lnTo>
                  <a:lnTo>
                    <a:pt x="421" y="366"/>
                  </a:lnTo>
                  <a:lnTo>
                    <a:pt x="421" y="366"/>
                  </a:lnTo>
                  <a:lnTo>
                    <a:pt x="423" y="364"/>
                  </a:lnTo>
                  <a:lnTo>
                    <a:pt x="423" y="364"/>
                  </a:lnTo>
                  <a:lnTo>
                    <a:pt x="423" y="362"/>
                  </a:lnTo>
                  <a:lnTo>
                    <a:pt x="423" y="358"/>
                  </a:lnTo>
                  <a:lnTo>
                    <a:pt x="423" y="356"/>
                  </a:lnTo>
                  <a:lnTo>
                    <a:pt x="423" y="356"/>
                  </a:lnTo>
                  <a:lnTo>
                    <a:pt x="427" y="352"/>
                  </a:lnTo>
                  <a:lnTo>
                    <a:pt x="427" y="350"/>
                  </a:lnTo>
                  <a:lnTo>
                    <a:pt x="429" y="350"/>
                  </a:lnTo>
                  <a:lnTo>
                    <a:pt x="429" y="350"/>
                  </a:lnTo>
                  <a:lnTo>
                    <a:pt x="431" y="350"/>
                  </a:lnTo>
                  <a:lnTo>
                    <a:pt x="431" y="352"/>
                  </a:lnTo>
                  <a:lnTo>
                    <a:pt x="433" y="352"/>
                  </a:lnTo>
                  <a:lnTo>
                    <a:pt x="433" y="354"/>
                  </a:lnTo>
                  <a:lnTo>
                    <a:pt x="433" y="354"/>
                  </a:lnTo>
                  <a:lnTo>
                    <a:pt x="433" y="360"/>
                  </a:lnTo>
                  <a:lnTo>
                    <a:pt x="433" y="360"/>
                  </a:lnTo>
                  <a:lnTo>
                    <a:pt x="435" y="362"/>
                  </a:lnTo>
                  <a:lnTo>
                    <a:pt x="435" y="362"/>
                  </a:lnTo>
                  <a:lnTo>
                    <a:pt x="437" y="362"/>
                  </a:lnTo>
                  <a:lnTo>
                    <a:pt x="439" y="364"/>
                  </a:lnTo>
                  <a:lnTo>
                    <a:pt x="441" y="364"/>
                  </a:lnTo>
                  <a:lnTo>
                    <a:pt x="441" y="366"/>
                  </a:lnTo>
                  <a:lnTo>
                    <a:pt x="442" y="368"/>
                  </a:lnTo>
                  <a:lnTo>
                    <a:pt x="442" y="368"/>
                  </a:lnTo>
                  <a:lnTo>
                    <a:pt x="442" y="368"/>
                  </a:lnTo>
                  <a:lnTo>
                    <a:pt x="442" y="368"/>
                  </a:lnTo>
                  <a:lnTo>
                    <a:pt x="444" y="368"/>
                  </a:lnTo>
                  <a:lnTo>
                    <a:pt x="446" y="368"/>
                  </a:lnTo>
                  <a:lnTo>
                    <a:pt x="448" y="366"/>
                  </a:lnTo>
                  <a:lnTo>
                    <a:pt x="448" y="366"/>
                  </a:lnTo>
                  <a:lnTo>
                    <a:pt x="448" y="366"/>
                  </a:lnTo>
                  <a:lnTo>
                    <a:pt x="452" y="366"/>
                  </a:lnTo>
                  <a:lnTo>
                    <a:pt x="454" y="364"/>
                  </a:lnTo>
                  <a:lnTo>
                    <a:pt x="454" y="362"/>
                  </a:lnTo>
                  <a:lnTo>
                    <a:pt x="454" y="362"/>
                  </a:lnTo>
                  <a:lnTo>
                    <a:pt x="452" y="362"/>
                  </a:lnTo>
                  <a:lnTo>
                    <a:pt x="448" y="358"/>
                  </a:lnTo>
                  <a:lnTo>
                    <a:pt x="448" y="358"/>
                  </a:lnTo>
                  <a:lnTo>
                    <a:pt x="448" y="358"/>
                  </a:lnTo>
                  <a:lnTo>
                    <a:pt x="450" y="356"/>
                  </a:lnTo>
                  <a:lnTo>
                    <a:pt x="450" y="356"/>
                  </a:lnTo>
                  <a:lnTo>
                    <a:pt x="452" y="354"/>
                  </a:lnTo>
                  <a:lnTo>
                    <a:pt x="452" y="354"/>
                  </a:lnTo>
                  <a:lnTo>
                    <a:pt x="452" y="352"/>
                  </a:lnTo>
                  <a:lnTo>
                    <a:pt x="452" y="350"/>
                  </a:lnTo>
                  <a:lnTo>
                    <a:pt x="452" y="350"/>
                  </a:lnTo>
                  <a:lnTo>
                    <a:pt x="454" y="349"/>
                  </a:lnTo>
                  <a:lnTo>
                    <a:pt x="454" y="349"/>
                  </a:lnTo>
                  <a:lnTo>
                    <a:pt x="454" y="349"/>
                  </a:lnTo>
                  <a:lnTo>
                    <a:pt x="454" y="347"/>
                  </a:lnTo>
                  <a:lnTo>
                    <a:pt x="454" y="347"/>
                  </a:lnTo>
                  <a:lnTo>
                    <a:pt x="456" y="345"/>
                  </a:lnTo>
                  <a:lnTo>
                    <a:pt x="456" y="345"/>
                  </a:lnTo>
                  <a:lnTo>
                    <a:pt x="456" y="343"/>
                  </a:lnTo>
                  <a:lnTo>
                    <a:pt x="456" y="343"/>
                  </a:lnTo>
                  <a:lnTo>
                    <a:pt x="458" y="341"/>
                  </a:lnTo>
                  <a:lnTo>
                    <a:pt x="458" y="341"/>
                  </a:lnTo>
                  <a:lnTo>
                    <a:pt x="460" y="341"/>
                  </a:lnTo>
                  <a:lnTo>
                    <a:pt x="463" y="341"/>
                  </a:lnTo>
                  <a:lnTo>
                    <a:pt x="463" y="341"/>
                  </a:lnTo>
                  <a:lnTo>
                    <a:pt x="465" y="341"/>
                  </a:lnTo>
                  <a:lnTo>
                    <a:pt x="465" y="339"/>
                  </a:lnTo>
                  <a:lnTo>
                    <a:pt x="465" y="339"/>
                  </a:lnTo>
                  <a:lnTo>
                    <a:pt x="467" y="337"/>
                  </a:lnTo>
                  <a:lnTo>
                    <a:pt x="467" y="335"/>
                  </a:lnTo>
                  <a:lnTo>
                    <a:pt x="467" y="333"/>
                  </a:lnTo>
                  <a:lnTo>
                    <a:pt x="467" y="331"/>
                  </a:lnTo>
                  <a:lnTo>
                    <a:pt x="467" y="331"/>
                  </a:lnTo>
                  <a:lnTo>
                    <a:pt x="467" y="331"/>
                  </a:lnTo>
                  <a:lnTo>
                    <a:pt x="467" y="330"/>
                  </a:lnTo>
                  <a:lnTo>
                    <a:pt x="467" y="328"/>
                  </a:lnTo>
                  <a:lnTo>
                    <a:pt x="469" y="328"/>
                  </a:lnTo>
                  <a:lnTo>
                    <a:pt x="469" y="328"/>
                  </a:lnTo>
                  <a:lnTo>
                    <a:pt x="471" y="328"/>
                  </a:lnTo>
                  <a:lnTo>
                    <a:pt x="473" y="328"/>
                  </a:lnTo>
                  <a:lnTo>
                    <a:pt x="473" y="328"/>
                  </a:lnTo>
                  <a:lnTo>
                    <a:pt x="475" y="328"/>
                  </a:lnTo>
                  <a:lnTo>
                    <a:pt x="475" y="326"/>
                  </a:lnTo>
                  <a:lnTo>
                    <a:pt x="477" y="320"/>
                  </a:lnTo>
                  <a:lnTo>
                    <a:pt x="479" y="318"/>
                  </a:lnTo>
                  <a:lnTo>
                    <a:pt x="479" y="316"/>
                  </a:lnTo>
                  <a:lnTo>
                    <a:pt x="481" y="316"/>
                  </a:lnTo>
                  <a:lnTo>
                    <a:pt x="482" y="316"/>
                  </a:lnTo>
                  <a:lnTo>
                    <a:pt x="482" y="314"/>
                  </a:lnTo>
                  <a:lnTo>
                    <a:pt x="484" y="314"/>
                  </a:lnTo>
                  <a:lnTo>
                    <a:pt x="486" y="314"/>
                  </a:lnTo>
                  <a:lnTo>
                    <a:pt x="486" y="314"/>
                  </a:lnTo>
                  <a:lnTo>
                    <a:pt x="486" y="312"/>
                  </a:lnTo>
                  <a:lnTo>
                    <a:pt x="486" y="312"/>
                  </a:lnTo>
                  <a:lnTo>
                    <a:pt x="486" y="312"/>
                  </a:lnTo>
                  <a:lnTo>
                    <a:pt x="484" y="310"/>
                  </a:lnTo>
                  <a:lnTo>
                    <a:pt x="481" y="309"/>
                  </a:lnTo>
                  <a:lnTo>
                    <a:pt x="481" y="307"/>
                  </a:lnTo>
                  <a:lnTo>
                    <a:pt x="479" y="307"/>
                  </a:lnTo>
                  <a:lnTo>
                    <a:pt x="479" y="305"/>
                  </a:lnTo>
                  <a:lnTo>
                    <a:pt x="479" y="305"/>
                  </a:lnTo>
                  <a:lnTo>
                    <a:pt x="479" y="303"/>
                  </a:lnTo>
                  <a:lnTo>
                    <a:pt x="479" y="303"/>
                  </a:lnTo>
                  <a:lnTo>
                    <a:pt x="479" y="303"/>
                  </a:lnTo>
                  <a:lnTo>
                    <a:pt x="477" y="303"/>
                  </a:lnTo>
                  <a:lnTo>
                    <a:pt x="477" y="303"/>
                  </a:lnTo>
                  <a:lnTo>
                    <a:pt x="477" y="303"/>
                  </a:lnTo>
                  <a:lnTo>
                    <a:pt x="477" y="303"/>
                  </a:lnTo>
                  <a:lnTo>
                    <a:pt x="477" y="301"/>
                  </a:lnTo>
                  <a:lnTo>
                    <a:pt x="477" y="301"/>
                  </a:lnTo>
                  <a:lnTo>
                    <a:pt x="477" y="301"/>
                  </a:lnTo>
                  <a:lnTo>
                    <a:pt x="477" y="299"/>
                  </a:lnTo>
                  <a:lnTo>
                    <a:pt x="475" y="299"/>
                  </a:lnTo>
                  <a:lnTo>
                    <a:pt x="475" y="299"/>
                  </a:lnTo>
                  <a:lnTo>
                    <a:pt x="473" y="299"/>
                  </a:lnTo>
                  <a:lnTo>
                    <a:pt x="473" y="299"/>
                  </a:lnTo>
                  <a:lnTo>
                    <a:pt x="473" y="299"/>
                  </a:lnTo>
                  <a:lnTo>
                    <a:pt x="473" y="299"/>
                  </a:lnTo>
                  <a:lnTo>
                    <a:pt x="473" y="299"/>
                  </a:lnTo>
                  <a:lnTo>
                    <a:pt x="473" y="297"/>
                  </a:lnTo>
                  <a:lnTo>
                    <a:pt x="473" y="297"/>
                  </a:lnTo>
                  <a:lnTo>
                    <a:pt x="471" y="295"/>
                  </a:lnTo>
                  <a:lnTo>
                    <a:pt x="471" y="293"/>
                  </a:lnTo>
                  <a:lnTo>
                    <a:pt x="471" y="293"/>
                  </a:lnTo>
                  <a:lnTo>
                    <a:pt x="471" y="293"/>
                  </a:lnTo>
                  <a:lnTo>
                    <a:pt x="473" y="291"/>
                  </a:lnTo>
                  <a:lnTo>
                    <a:pt x="473" y="291"/>
                  </a:lnTo>
                  <a:lnTo>
                    <a:pt x="475" y="290"/>
                  </a:lnTo>
                  <a:lnTo>
                    <a:pt x="477" y="288"/>
                  </a:lnTo>
                  <a:lnTo>
                    <a:pt x="477" y="288"/>
                  </a:lnTo>
                  <a:lnTo>
                    <a:pt x="477" y="288"/>
                  </a:lnTo>
                  <a:lnTo>
                    <a:pt x="479" y="288"/>
                  </a:lnTo>
                  <a:lnTo>
                    <a:pt x="479" y="286"/>
                  </a:lnTo>
                  <a:lnTo>
                    <a:pt x="479" y="286"/>
                  </a:lnTo>
                  <a:lnTo>
                    <a:pt x="479" y="286"/>
                  </a:lnTo>
                  <a:lnTo>
                    <a:pt x="479" y="284"/>
                  </a:lnTo>
                  <a:lnTo>
                    <a:pt x="479" y="284"/>
                  </a:lnTo>
                  <a:lnTo>
                    <a:pt x="479" y="282"/>
                  </a:lnTo>
                  <a:lnTo>
                    <a:pt x="479" y="282"/>
                  </a:lnTo>
                  <a:lnTo>
                    <a:pt x="481" y="280"/>
                  </a:lnTo>
                  <a:lnTo>
                    <a:pt x="481" y="276"/>
                  </a:lnTo>
                  <a:lnTo>
                    <a:pt x="481" y="274"/>
                  </a:lnTo>
                  <a:lnTo>
                    <a:pt x="482" y="274"/>
                  </a:lnTo>
                  <a:lnTo>
                    <a:pt x="484" y="272"/>
                  </a:lnTo>
                  <a:lnTo>
                    <a:pt x="484" y="271"/>
                  </a:lnTo>
                  <a:lnTo>
                    <a:pt x="484" y="271"/>
                  </a:lnTo>
                  <a:lnTo>
                    <a:pt x="482" y="271"/>
                  </a:lnTo>
                  <a:lnTo>
                    <a:pt x="482" y="271"/>
                  </a:lnTo>
                  <a:lnTo>
                    <a:pt x="482" y="269"/>
                  </a:lnTo>
                  <a:lnTo>
                    <a:pt x="482" y="269"/>
                  </a:lnTo>
                  <a:lnTo>
                    <a:pt x="484" y="267"/>
                  </a:lnTo>
                  <a:lnTo>
                    <a:pt x="484" y="267"/>
                  </a:lnTo>
                  <a:lnTo>
                    <a:pt x="484" y="267"/>
                  </a:lnTo>
                  <a:lnTo>
                    <a:pt x="486" y="267"/>
                  </a:lnTo>
                  <a:lnTo>
                    <a:pt x="486" y="267"/>
                  </a:lnTo>
                  <a:lnTo>
                    <a:pt x="488" y="267"/>
                  </a:lnTo>
                  <a:lnTo>
                    <a:pt x="488" y="267"/>
                  </a:lnTo>
                  <a:lnTo>
                    <a:pt x="490" y="267"/>
                  </a:lnTo>
                  <a:lnTo>
                    <a:pt x="490" y="267"/>
                  </a:lnTo>
                  <a:lnTo>
                    <a:pt x="492" y="267"/>
                  </a:lnTo>
                  <a:lnTo>
                    <a:pt x="494" y="267"/>
                  </a:lnTo>
                  <a:lnTo>
                    <a:pt x="494" y="267"/>
                  </a:lnTo>
                  <a:lnTo>
                    <a:pt x="496" y="271"/>
                  </a:lnTo>
                  <a:lnTo>
                    <a:pt x="496" y="271"/>
                  </a:lnTo>
                  <a:lnTo>
                    <a:pt x="498" y="272"/>
                  </a:lnTo>
                  <a:lnTo>
                    <a:pt x="500" y="272"/>
                  </a:lnTo>
                  <a:lnTo>
                    <a:pt x="500" y="272"/>
                  </a:lnTo>
                  <a:lnTo>
                    <a:pt x="501" y="272"/>
                  </a:lnTo>
                  <a:lnTo>
                    <a:pt x="503" y="272"/>
                  </a:lnTo>
                  <a:lnTo>
                    <a:pt x="503" y="272"/>
                  </a:lnTo>
                  <a:lnTo>
                    <a:pt x="503" y="272"/>
                  </a:lnTo>
                  <a:lnTo>
                    <a:pt x="505" y="272"/>
                  </a:lnTo>
                  <a:lnTo>
                    <a:pt x="505" y="272"/>
                  </a:lnTo>
                  <a:lnTo>
                    <a:pt x="509" y="272"/>
                  </a:lnTo>
                  <a:lnTo>
                    <a:pt x="509" y="272"/>
                  </a:lnTo>
                  <a:lnTo>
                    <a:pt x="511" y="272"/>
                  </a:lnTo>
                  <a:lnTo>
                    <a:pt x="511" y="271"/>
                  </a:lnTo>
                  <a:lnTo>
                    <a:pt x="511" y="269"/>
                  </a:lnTo>
                  <a:lnTo>
                    <a:pt x="511" y="269"/>
                  </a:lnTo>
                  <a:lnTo>
                    <a:pt x="511" y="263"/>
                  </a:lnTo>
                  <a:lnTo>
                    <a:pt x="511" y="263"/>
                  </a:lnTo>
                  <a:lnTo>
                    <a:pt x="511" y="261"/>
                  </a:lnTo>
                  <a:lnTo>
                    <a:pt x="511" y="261"/>
                  </a:lnTo>
                  <a:lnTo>
                    <a:pt x="511" y="261"/>
                  </a:lnTo>
                  <a:lnTo>
                    <a:pt x="511" y="259"/>
                  </a:lnTo>
                  <a:lnTo>
                    <a:pt x="513" y="257"/>
                  </a:lnTo>
                  <a:lnTo>
                    <a:pt x="513" y="255"/>
                  </a:lnTo>
                  <a:lnTo>
                    <a:pt x="515" y="253"/>
                  </a:lnTo>
                  <a:lnTo>
                    <a:pt x="515" y="253"/>
                  </a:lnTo>
                  <a:lnTo>
                    <a:pt x="517" y="253"/>
                  </a:lnTo>
                  <a:lnTo>
                    <a:pt x="521" y="253"/>
                  </a:lnTo>
                  <a:lnTo>
                    <a:pt x="521" y="252"/>
                  </a:lnTo>
                  <a:lnTo>
                    <a:pt x="522" y="252"/>
                  </a:lnTo>
                  <a:lnTo>
                    <a:pt x="522" y="252"/>
                  </a:lnTo>
                  <a:lnTo>
                    <a:pt x="522" y="250"/>
                  </a:lnTo>
                  <a:lnTo>
                    <a:pt x="522" y="250"/>
                  </a:lnTo>
                  <a:lnTo>
                    <a:pt x="522" y="244"/>
                  </a:lnTo>
                  <a:lnTo>
                    <a:pt x="522" y="242"/>
                  </a:lnTo>
                  <a:lnTo>
                    <a:pt x="522" y="240"/>
                  </a:lnTo>
                  <a:lnTo>
                    <a:pt x="524" y="238"/>
                  </a:lnTo>
                  <a:lnTo>
                    <a:pt x="524" y="236"/>
                  </a:lnTo>
                  <a:lnTo>
                    <a:pt x="526" y="234"/>
                  </a:lnTo>
                  <a:lnTo>
                    <a:pt x="526" y="233"/>
                  </a:lnTo>
                  <a:lnTo>
                    <a:pt x="530" y="231"/>
                  </a:lnTo>
                  <a:lnTo>
                    <a:pt x="530" y="231"/>
                  </a:lnTo>
                  <a:lnTo>
                    <a:pt x="530" y="231"/>
                  </a:lnTo>
                  <a:lnTo>
                    <a:pt x="532" y="229"/>
                  </a:lnTo>
                  <a:lnTo>
                    <a:pt x="532" y="229"/>
                  </a:lnTo>
                  <a:lnTo>
                    <a:pt x="532" y="227"/>
                  </a:lnTo>
                  <a:lnTo>
                    <a:pt x="532" y="227"/>
                  </a:lnTo>
                  <a:lnTo>
                    <a:pt x="530" y="225"/>
                  </a:lnTo>
                  <a:lnTo>
                    <a:pt x="530" y="225"/>
                  </a:lnTo>
                  <a:lnTo>
                    <a:pt x="528" y="225"/>
                  </a:lnTo>
                  <a:lnTo>
                    <a:pt x="528" y="225"/>
                  </a:lnTo>
                  <a:lnTo>
                    <a:pt x="524" y="215"/>
                  </a:lnTo>
                  <a:lnTo>
                    <a:pt x="524" y="213"/>
                  </a:lnTo>
                  <a:lnTo>
                    <a:pt x="524" y="212"/>
                  </a:lnTo>
                  <a:lnTo>
                    <a:pt x="528" y="213"/>
                  </a:lnTo>
                  <a:lnTo>
                    <a:pt x="530" y="213"/>
                  </a:lnTo>
                  <a:lnTo>
                    <a:pt x="530" y="213"/>
                  </a:lnTo>
                  <a:lnTo>
                    <a:pt x="530" y="215"/>
                  </a:lnTo>
                  <a:lnTo>
                    <a:pt x="532" y="217"/>
                  </a:lnTo>
                  <a:lnTo>
                    <a:pt x="532" y="217"/>
                  </a:lnTo>
                  <a:lnTo>
                    <a:pt x="532" y="217"/>
                  </a:lnTo>
                  <a:lnTo>
                    <a:pt x="532" y="217"/>
                  </a:lnTo>
                  <a:lnTo>
                    <a:pt x="538" y="221"/>
                  </a:lnTo>
                  <a:lnTo>
                    <a:pt x="540" y="221"/>
                  </a:lnTo>
                  <a:lnTo>
                    <a:pt x="540" y="219"/>
                  </a:lnTo>
                  <a:lnTo>
                    <a:pt x="540" y="219"/>
                  </a:lnTo>
                  <a:lnTo>
                    <a:pt x="540" y="219"/>
                  </a:lnTo>
                  <a:lnTo>
                    <a:pt x="540" y="219"/>
                  </a:lnTo>
                  <a:lnTo>
                    <a:pt x="541" y="219"/>
                  </a:lnTo>
                  <a:lnTo>
                    <a:pt x="541" y="219"/>
                  </a:lnTo>
                  <a:lnTo>
                    <a:pt x="541" y="217"/>
                  </a:lnTo>
                  <a:lnTo>
                    <a:pt x="541" y="217"/>
                  </a:lnTo>
                  <a:lnTo>
                    <a:pt x="543" y="217"/>
                  </a:lnTo>
                  <a:lnTo>
                    <a:pt x="543" y="217"/>
                  </a:lnTo>
                  <a:lnTo>
                    <a:pt x="543" y="217"/>
                  </a:lnTo>
                  <a:lnTo>
                    <a:pt x="545" y="219"/>
                  </a:lnTo>
                  <a:lnTo>
                    <a:pt x="545" y="219"/>
                  </a:lnTo>
                  <a:lnTo>
                    <a:pt x="547" y="219"/>
                  </a:lnTo>
                  <a:lnTo>
                    <a:pt x="547" y="219"/>
                  </a:lnTo>
                  <a:lnTo>
                    <a:pt x="549" y="219"/>
                  </a:lnTo>
                  <a:lnTo>
                    <a:pt x="551" y="219"/>
                  </a:lnTo>
                  <a:lnTo>
                    <a:pt x="557" y="221"/>
                  </a:lnTo>
                  <a:lnTo>
                    <a:pt x="561" y="223"/>
                  </a:lnTo>
                  <a:lnTo>
                    <a:pt x="561" y="223"/>
                  </a:lnTo>
                  <a:lnTo>
                    <a:pt x="562" y="223"/>
                  </a:lnTo>
                  <a:lnTo>
                    <a:pt x="566" y="223"/>
                  </a:lnTo>
                  <a:lnTo>
                    <a:pt x="568" y="223"/>
                  </a:lnTo>
                  <a:lnTo>
                    <a:pt x="570" y="225"/>
                  </a:lnTo>
                  <a:lnTo>
                    <a:pt x="570" y="225"/>
                  </a:lnTo>
                  <a:lnTo>
                    <a:pt x="570" y="225"/>
                  </a:lnTo>
                  <a:lnTo>
                    <a:pt x="572" y="227"/>
                  </a:lnTo>
                  <a:lnTo>
                    <a:pt x="572" y="227"/>
                  </a:lnTo>
                  <a:lnTo>
                    <a:pt x="572" y="227"/>
                  </a:lnTo>
                  <a:lnTo>
                    <a:pt x="572" y="227"/>
                  </a:lnTo>
                  <a:lnTo>
                    <a:pt x="574" y="234"/>
                  </a:lnTo>
                  <a:lnTo>
                    <a:pt x="576" y="234"/>
                  </a:lnTo>
                  <a:lnTo>
                    <a:pt x="576" y="236"/>
                  </a:lnTo>
                  <a:lnTo>
                    <a:pt x="576" y="236"/>
                  </a:lnTo>
                  <a:lnTo>
                    <a:pt x="578" y="236"/>
                  </a:lnTo>
                  <a:lnTo>
                    <a:pt x="580" y="238"/>
                  </a:lnTo>
                  <a:lnTo>
                    <a:pt x="580" y="238"/>
                  </a:lnTo>
                  <a:lnTo>
                    <a:pt x="580" y="238"/>
                  </a:lnTo>
                  <a:lnTo>
                    <a:pt x="580" y="240"/>
                  </a:lnTo>
                  <a:lnTo>
                    <a:pt x="580" y="240"/>
                  </a:lnTo>
                  <a:lnTo>
                    <a:pt x="582" y="240"/>
                  </a:lnTo>
                  <a:lnTo>
                    <a:pt x="583" y="240"/>
                  </a:lnTo>
                  <a:lnTo>
                    <a:pt x="583" y="242"/>
                  </a:lnTo>
                  <a:lnTo>
                    <a:pt x="585" y="242"/>
                  </a:lnTo>
                  <a:lnTo>
                    <a:pt x="585" y="242"/>
                  </a:lnTo>
                  <a:lnTo>
                    <a:pt x="585" y="242"/>
                  </a:lnTo>
                  <a:lnTo>
                    <a:pt x="585" y="242"/>
                  </a:lnTo>
                  <a:lnTo>
                    <a:pt x="587" y="242"/>
                  </a:lnTo>
                  <a:lnTo>
                    <a:pt x="589" y="242"/>
                  </a:lnTo>
                  <a:lnTo>
                    <a:pt x="589" y="242"/>
                  </a:lnTo>
                  <a:lnTo>
                    <a:pt x="591" y="240"/>
                  </a:lnTo>
                  <a:lnTo>
                    <a:pt x="591" y="238"/>
                  </a:lnTo>
                  <a:lnTo>
                    <a:pt x="593" y="238"/>
                  </a:lnTo>
                  <a:lnTo>
                    <a:pt x="593" y="238"/>
                  </a:lnTo>
                  <a:lnTo>
                    <a:pt x="597" y="236"/>
                  </a:lnTo>
                  <a:lnTo>
                    <a:pt x="602" y="234"/>
                  </a:lnTo>
                  <a:lnTo>
                    <a:pt x="602" y="234"/>
                  </a:lnTo>
                  <a:lnTo>
                    <a:pt x="604" y="234"/>
                  </a:lnTo>
                  <a:lnTo>
                    <a:pt x="606" y="236"/>
                  </a:lnTo>
                  <a:lnTo>
                    <a:pt x="606" y="236"/>
                  </a:lnTo>
                  <a:lnTo>
                    <a:pt x="608" y="236"/>
                  </a:lnTo>
                  <a:lnTo>
                    <a:pt x="608" y="240"/>
                  </a:lnTo>
                  <a:lnTo>
                    <a:pt x="610" y="240"/>
                  </a:lnTo>
                  <a:lnTo>
                    <a:pt x="610" y="240"/>
                  </a:lnTo>
                  <a:lnTo>
                    <a:pt x="610" y="240"/>
                  </a:lnTo>
                  <a:lnTo>
                    <a:pt x="620" y="242"/>
                  </a:lnTo>
                  <a:lnTo>
                    <a:pt x="620" y="242"/>
                  </a:lnTo>
                  <a:lnTo>
                    <a:pt x="622" y="242"/>
                  </a:lnTo>
                  <a:lnTo>
                    <a:pt x="622" y="244"/>
                  </a:lnTo>
                  <a:lnTo>
                    <a:pt x="622" y="246"/>
                  </a:lnTo>
                  <a:lnTo>
                    <a:pt x="623" y="246"/>
                  </a:lnTo>
                  <a:lnTo>
                    <a:pt x="623" y="246"/>
                  </a:lnTo>
                  <a:lnTo>
                    <a:pt x="625" y="246"/>
                  </a:lnTo>
                  <a:lnTo>
                    <a:pt x="633" y="246"/>
                  </a:lnTo>
                  <a:lnTo>
                    <a:pt x="633" y="246"/>
                  </a:lnTo>
                  <a:lnTo>
                    <a:pt x="633" y="246"/>
                  </a:lnTo>
                  <a:lnTo>
                    <a:pt x="637" y="246"/>
                  </a:lnTo>
                  <a:lnTo>
                    <a:pt x="637" y="246"/>
                  </a:lnTo>
                  <a:lnTo>
                    <a:pt x="637" y="248"/>
                  </a:lnTo>
                  <a:lnTo>
                    <a:pt x="639" y="248"/>
                  </a:lnTo>
                  <a:lnTo>
                    <a:pt x="639" y="248"/>
                  </a:lnTo>
                  <a:lnTo>
                    <a:pt x="639" y="248"/>
                  </a:lnTo>
                  <a:lnTo>
                    <a:pt x="639" y="248"/>
                  </a:lnTo>
                  <a:lnTo>
                    <a:pt x="641" y="248"/>
                  </a:lnTo>
                  <a:lnTo>
                    <a:pt x="641" y="248"/>
                  </a:lnTo>
                  <a:lnTo>
                    <a:pt x="641" y="248"/>
                  </a:lnTo>
                  <a:lnTo>
                    <a:pt x="642" y="248"/>
                  </a:lnTo>
                  <a:lnTo>
                    <a:pt x="642" y="248"/>
                  </a:lnTo>
                  <a:lnTo>
                    <a:pt x="642" y="246"/>
                  </a:lnTo>
                  <a:lnTo>
                    <a:pt x="642" y="246"/>
                  </a:lnTo>
                  <a:lnTo>
                    <a:pt x="642" y="244"/>
                  </a:lnTo>
                  <a:lnTo>
                    <a:pt x="642" y="244"/>
                  </a:lnTo>
                  <a:lnTo>
                    <a:pt x="644" y="244"/>
                  </a:lnTo>
                  <a:lnTo>
                    <a:pt x="644" y="242"/>
                  </a:lnTo>
                  <a:lnTo>
                    <a:pt x="652" y="240"/>
                  </a:lnTo>
                  <a:lnTo>
                    <a:pt x="652" y="240"/>
                  </a:lnTo>
                  <a:lnTo>
                    <a:pt x="652" y="240"/>
                  </a:lnTo>
                  <a:lnTo>
                    <a:pt x="654" y="240"/>
                  </a:lnTo>
                  <a:lnTo>
                    <a:pt x="660" y="240"/>
                  </a:lnTo>
                  <a:lnTo>
                    <a:pt x="662" y="242"/>
                  </a:lnTo>
                  <a:lnTo>
                    <a:pt x="662" y="242"/>
                  </a:lnTo>
                  <a:lnTo>
                    <a:pt x="663" y="244"/>
                  </a:lnTo>
                  <a:lnTo>
                    <a:pt x="663" y="246"/>
                  </a:lnTo>
                  <a:lnTo>
                    <a:pt x="665" y="248"/>
                  </a:lnTo>
                  <a:lnTo>
                    <a:pt x="665" y="248"/>
                  </a:lnTo>
                  <a:lnTo>
                    <a:pt x="667" y="248"/>
                  </a:lnTo>
                  <a:lnTo>
                    <a:pt x="667" y="250"/>
                  </a:lnTo>
                  <a:lnTo>
                    <a:pt x="667" y="250"/>
                  </a:lnTo>
                  <a:lnTo>
                    <a:pt x="669" y="250"/>
                  </a:lnTo>
                  <a:lnTo>
                    <a:pt x="671" y="250"/>
                  </a:lnTo>
                  <a:lnTo>
                    <a:pt x="671" y="250"/>
                  </a:lnTo>
                  <a:lnTo>
                    <a:pt x="671" y="250"/>
                  </a:lnTo>
                  <a:lnTo>
                    <a:pt x="673" y="252"/>
                  </a:lnTo>
                  <a:lnTo>
                    <a:pt x="673" y="252"/>
                  </a:lnTo>
                  <a:lnTo>
                    <a:pt x="673" y="253"/>
                  </a:lnTo>
                  <a:lnTo>
                    <a:pt x="675" y="253"/>
                  </a:lnTo>
                  <a:lnTo>
                    <a:pt x="675" y="253"/>
                  </a:lnTo>
                  <a:lnTo>
                    <a:pt x="675" y="255"/>
                  </a:lnTo>
                  <a:lnTo>
                    <a:pt x="675" y="257"/>
                  </a:lnTo>
                  <a:lnTo>
                    <a:pt x="675" y="257"/>
                  </a:lnTo>
                  <a:lnTo>
                    <a:pt x="675" y="259"/>
                  </a:lnTo>
                  <a:lnTo>
                    <a:pt x="675" y="263"/>
                  </a:lnTo>
                  <a:lnTo>
                    <a:pt x="675" y="265"/>
                  </a:lnTo>
                  <a:lnTo>
                    <a:pt x="675" y="265"/>
                  </a:lnTo>
                  <a:lnTo>
                    <a:pt x="675" y="267"/>
                  </a:lnTo>
                  <a:lnTo>
                    <a:pt x="675" y="269"/>
                  </a:lnTo>
                  <a:lnTo>
                    <a:pt x="675" y="271"/>
                  </a:lnTo>
                  <a:lnTo>
                    <a:pt x="673" y="271"/>
                  </a:lnTo>
                  <a:lnTo>
                    <a:pt x="673" y="272"/>
                  </a:lnTo>
                  <a:lnTo>
                    <a:pt x="673" y="272"/>
                  </a:lnTo>
                  <a:lnTo>
                    <a:pt x="673" y="272"/>
                  </a:lnTo>
                  <a:lnTo>
                    <a:pt x="673" y="272"/>
                  </a:lnTo>
                  <a:lnTo>
                    <a:pt x="673" y="274"/>
                  </a:lnTo>
                  <a:lnTo>
                    <a:pt x="673" y="276"/>
                  </a:lnTo>
                  <a:lnTo>
                    <a:pt x="673" y="278"/>
                  </a:lnTo>
                  <a:lnTo>
                    <a:pt x="673" y="280"/>
                  </a:lnTo>
                  <a:lnTo>
                    <a:pt x="673" y="282"/>
                  </a:lnTo>
                  <a:lnTo>
                    <a:pt x="671" y="282"/>
                  </a:lnTo>
                  <a:lnTo>
                    <a:pt x="669" y="286"/>
                  </a:lnTo>
                  <a:lnTo>
                    <a:pt x="667" y="288"/>
                  </a:lnTo>
                  <a:lnTo>
                    <a:pt x="665" y="290"/>
                  </a:lnTo>
                  <a:lnTo>
                    <a:pt x="667" y="293"/>
                  </a:lnTo>
                  <a:lnTo>
                    <a:pt x="667" y="293"/>
                  </a:lnTo>
                  <a:lnTo>
                    <a:pt x="673" y="293"/>
                  </a:lnTo>
                  <a:lnTo>
                    <a:pt x="673" y="295"/>
                  </a:lnTo>
                  <a:lnTo>
                    <a:pt x="675" y="301"/>
                  </a:lnTo>
                  <a:lnTo>
                    <a:pt x="675" y="305"/>
                  </a:lnTo>
                  <a:lnTo>
                    <a:pt x="675" y="309"/>
                  </a:lnTo>
                  <a:lnTo>
                    <a:pt x="675" y="310"/>
                  </a:lnTo>
                  <a:lnTo>
                    <a:pt x="675" y="312"/>
                  </a:lnTo>
                  <a:lnTo>
                    <a:pt x="671" y="314"/>
                  </a:lnTo>
                  <a:lnTo>
                    <a:pt x="671" y="316"/>
                  </a:lnTo>
                  <a:lnTo>
                    <a:pt x="677" y="318"/>
                  </a:lnTo>
                  <a:lnTo>
                    <a:pt x="679" y="320"/>
                  </a:lnTo>
                  <a:lnTo>
                    <a:pt x="683" y="322"/>
                  </a:lnTo>
                  <a:lnTo>
                    <a:pt x="684" y="324"/>
                  </a:lnTo>
                  <a:lnTo>
                    <a:pt x="684" y="324"/>
                  </a:lnTo>
                  <a:lnTo>
                    <a:pt x="686" y="328"/>
                  </a:lnTo>
                  <a:lnTo>
                    <a:pt x="686" y="328"/>
                  </a:lnTo>
                  <a:lnTo>
                    <a:pt x="694" y="328"/>
                  </a:lnTo>
                  <a:lnTo>
                    <a:pt x="702" y="328"/>
                  </a:lnTo>
                  <a:lnTo>
                    <a:pt x="702" y="328"/>
                  </a:lnTo>
                  <a:lnTo>
                    <a:pt x="703" y="326"/>
                  </a:lnTo>
                  <a:lnTo>
                    <a:pt x="703" y="324"/>
                  </a:lnTo>
                  <a:lnTo>
                    <a:pt x="703" y="324"/>
                  </a:lnTo>
                  <a:lnTo>
                    <a:pt x="703" y="322"/>
                  </a:lnTo>
                  <a:lnTo>
                    <a:pt x="703" y="320"/>
                  </a:lnTo>
                  <a:lnTo>
                    <a:pt x="703" y="320"/>
                  </a:lnTo>
                  <a:lnTo>
                    <a:pt x="709" y="316"/>
                  </a:lnTo>
                  <a:lnTo>
                    <a:pt x="711" y="314"/>
                  </a:lnTo>
                  <a:lnTo>
                    <a:pt x="711" y="312"/>
                  </a:lnTo>
                  <a:lnTo>
                    <a:pt x="705" y="307"/>
                  </a:lnTo>
                  <a:lnTo>
                    <a:pt x="703" y="303"/>
                  </a:lnTo>
                  <a:lnTo>
                    <a:pt x="703" y="301"/>
                  </a:lnTo>
                  <a:lnTo>
                    <a:pt x="705" y="297"/>
                  </a:lnTo>
                  <a:lnTo>
                    <a:pt x="711" y="290"/>
                  </a:lnTo>
                  <a:lnTo>
                    <a:pt x="713" y="288"/>
                  </a:lnTo>
                  <a:lnTo>
                    <a:pt x="713" y="286"/>
                  </a:lnTo>
                  <a:lnTo>
                    <a:pt x="713" y="284"/>
                  </a:lnTo>
                  <a:lnTo>
                    <a:pt x="715" y="276"/>
                  </a:lnTo>
                  <a:lnTo>
                    <a:pt x="717" y="274"/>
                  </a:lnTo>
                  <a:lnTo>
                    <a:pt x="717" y="272"/>
                  </a:lnTo>
                  <a:lnTo>
                    <a:pt x="719" y="272"/>
                  </a:lnTo>
                  <a:lnTo>
                    <a:pt x="721" y="272"/>
                  </a:lnTo>
                  <a:lnTo>
                    <a:pt x="721" y="271"/>
                  </a:lnTo>
                  <a:lnTo>
                    <a:pt x="723" y="267"/>
                  </a:lnTo>
                  <a:lnTo>
                    <a:pt x="723" y="267"/>
                  </a:lnTo>
                  <a:lnTo>
                    <a:pt x="724" y="265"/>
                  </a:lnTo>
                  <a:lnTo>
                    <a:pt x="726" y="265"/>
                  </a:lnTo>
                  <a:lnTo>
                    <a:pt x="726" y="265"/>
                  </a:lnTo>
                  <a:lnTo>
                    <a:pt x="728" y="263"/>
                  </a:lnTo>
                  <a:lnTo>
                    <a:pt x="728" y="261"/>
                  </a:lnTo>
                  <a:lnTo>
                    <a:pt x="730" y="261"/>
                  </a:lnTo>
                  <a:lnTo>
                    <a:pt x="732" y="259"/>
                  </a:lnTo>
                  <a:lnTo>
                    <a:pt x="734" y="261"/>
                  </a:lnTo>
                  <a:lnTo>
                    <a:pt x="734" y="265"/>
                  </a:lnTo>
                  <a:lnTo>
                    <a:pt x="736" y="267"/>
                  </a:lnTo>
                  <a:lnTo>
                    <a:pt x="738" y="267"/>
                  </a:lnTo>
                  <a:lnTo>
                    <a:pt x="740" y="267"/>
                  </a:lnTo>
                  <a:lnTo>
                    <a:pt x="742" y="267"/>
                  </a:lnTo>
                  <a:lnTo>
                    <a:pt x="743" y="269"/>
                  </a:lnTo>
                  <a:lnTo>
                    <a:pt x="743" y="271"/>
                  </a:lnTo>
                  <a:lnTo>
                    <a:pt x="745" y="272"/>
                  </a:lnTo>
                  <a:lnTo>
                    <a:pt x="745" y="272"/>
                  </a:lnTo>
                  <a:lnTo>
                    <a:pt x="745" y="272"/>
                  </a:lnTo>
                  <a:lnTo>
                    <a:pt x="747" y="271"/>
                  </a:lnTo>
                  <a:lnTo>
                    <a:pt x="747" y="271"/>
                  </a:lnTo>
                  <a:lnTo>
                    <a:pt x="749" y="269"/>
                  </a:lnTo>
                  <a:lnTo>
                    <a:pt x="751" y="269"/>
                  </a:lnTo>
                  <a:lnTo>
                    <a:pt x="755" y="267"/>
                  </a:lnTo>
                  <a:lnTo>
                    <a:pt x="755" y="265"/>
                  </a:lnTo>
                  <a:lnTo>
                    <a:pt x="755" y="265"/>
                  </a:lnTo>
                  <a:lnTo>
                    <a:pt x="755" y="263"/>
                  </a:lnTo>
                  <a:lnTo>
                    <a:pt x="753" y="261"/>
                  </a:lnTo>
                  <a:lnTo>
                    <a:pt x="753" y="259"/>
                  </a:lnTo>
                  <a:lnTo>
                    <a:pt x="753" y="259"/>
                  </a:lnTo>
                  <a:lnTo>
                    <a:pt x="755" y="259"/>
                  </a:lnTo>
                  <a:lnTo>
                    <a:pt x="755" y="257"/>
                  </a:lnTo>
                  <a:lnTo>
                    <a:pt x="757" y="257"/>
                  </a:lnTo>
                  <a:lnTo>
                    <a:pt x="759" y="257"/>
                  </a:lnTo>
                  <a:lnTo>
                    <a:pt x="761" y="257"/>
                  </a:lnTo>
                  <a:lnTo>
                    <a:pt x="761" y="255"/>
                  </a:lnTo>
                  <a:lnTo>
                    <a:pt x="761" y="253"/>
                  </a:lnTo>
                  <a:lnTo>
                    <a:pt x="763" y="253"/>
                  </a:lnTo>
                  <a:lnTo>
                    <a:pt x="761" y="25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5" name="Freeform 37">
              <a:extLst>
                <a:ext uri="{FF2B5EF4-FFF2-40B4-BE49-F238E27FC236}">
                  <a16:creationId xmlns:a16="http://schemas.microsoft.com/office/drawing/2014/main" id="{86C7465B-0B8C-DE02-2AE2-4739B2B2E632}"/>
                </a:ext>
              </a:extLst>
            </p:cNvPr>
            <p:cNvSpPr>
              <a:spLocks/>
            </p:cNvSpPr>
            <p:nvPr/>
          </p:nvSpPr>
          <p:spPr bwMode="auto">
            <a:xfrm>
              <a:off x="4437063" y="3936213"/>
              <a:ext cx="1211263" cy="990600"/>
            </a:xfrm>
            <a:custGeom>
              <a:avLst/>
              <a:gdLst>
                <a:gd name="T0" fmla="*/ 724 w 763"/>
                <a:gd name="T1" fmla="*/ 223 h 624"/>
                <a:gd name="T2" fmla="*/ 726 w 763"/>
                <a:gd name="T3" fmla="*/ 208 h 624"/>
                <a:gd name="T4" fmla="*/ 736 w 763"/>
                <a:gd name="T5" fmla="*/ 166 h 624"/>
                <a:gd name="T6" fmla="*/ 730 w 763"/>
                <a:gd name="T7" fmla="*/ 136 h 624"/>
                <a:gd name="T8" fmla="*/ 742 w 763"/>
                <a:gd name="T9" fmla="*/ 67 h 624"/>
                <a:gd name="T10" fmla="*/ 696 w 763"/>
                <a:gd name="T11" fmla="*/ 39 h 624"/>
                <a:gd name="T12" fmla="*/ 642 w 763"/>
                <a:gd name="T13" fmla="*/ 48 h 624"/>
                <a:gd name="T14" fmla="*/ 580 w 763"/>
                <a:gd name="T15" fmla="*/ 46 h 624"/>
                <a:gd name="T16" fmla="*/ 532 w 763"/>
                <a:gd name="T17" fmla="*/ 40 h 624"/>
                <a:gd name="T18" fmla="*/ 458 w 763"/>
                <a:gd name="T19" fmla="*/ 63 h 624"/>
                <a:gd name="T20" fmla="*/ 452 w 763"/>
                <a:gd name="T21" fmla="*/ 33 h 624"/>
                <a:gd name="T22" fmla="*/ 387 w 763"/>
                <a:gd name="T23" fmla="*/ 42 h 624"/>
                <a:gd name="T24" fmla="*/ 347 w 763"/>
                <a:gd name="T25" fmla="*/ 92 h 624"/>
                <a:gd name="T26" fmla="*/ 273 w 763"/>
                <a:gd name="T27" fmla="*/ 63 h 624"/>
                <a:gd name="T28" fmla="*/ 185 w 763"/>
                <a:gd name="T29" fmla="*/ 39 h 624"/>
                <a:gd name="T30" fmla="*/ 122 w 763"/>
                <a:gd name="T31" fmla="*/ 14 h 624"/>
                <a:gd name="T32" fmla="*/ 124 w 763"/>
                <a:gd name="T33" fmla="*/ 48 h 624"/>
                <a:gd name="T34" fmla="*/ 130 w 763"/>
                <a:gd name="T35" fmla="*/ 56 h 624"/>
                <a:gd name="T36" fmla="*/ 86 w 763"/>
                <a:gd name="T37" fmla="*/ 82 h 624"/>
                <a:gd name="T38" fmla="*/ 111 w 763"/>
                <a:gd name="T39" fmla="*/ 132 h 624"/>
                <a:gd name="T40" fmla="*/ 67 w 763"/>
                <a:gd name="T41" fmla="*/ 137 h 624"/>
                <a:gd name="T42" fmla="*/ 67 w 763"/>
                <a:gd name="T43" fmla="*/ 179 h 624"/>
                <a:gd name="T44" fmla="*/ 38 w 763"/>
                <a:gd name="T45" fmla="*/ 196 h 624"/>
                <a:gd name="T46" fmla="*/ 2 w 763"/>
                <a:gd name="T47" fmla="*/ 206 h 624"/>
                <a:gd name="T48" fmla="*/ 8 w 763"/>
                <a:gd name="T49" fmla="*/ 244 h 624"/>
                <a:gd name="T50" fmla="*/ 35 w 763"/>
                <a:gd name="T51" fmla="*/ 276 h 624"/>
                <a:gd name="T52" fmla="*/ 16 w 763"/>
                <a:gd name="T53" fmla="*/ 288 h 624"/>
                <a:gd name="T54" fmla="*/ 29 w 763"/>
                <a:gd name="T55" fmla="*/ 286 h 624"/>
                <a:gd name="T56" fmla="*/ 31 w 763"/>
                <a:gd name="T57" fmla="*/ 312 h 624"/>
                <a:gd name="T58" fmla="*/ 35 w 763"/>
                <a:gd name="T59" fmla="*/ 350 h 624"/>
                <a:gd name="T60" fmla="*/ 37 w 763"/>
                <a:gd name="T61" fmla="*/ 377 h 624"/>
                <a:gd name="T62" fmla="*/ 37 w 763"/>
                <a:gd name="T63" fmla="*/ 390 h 624"/>
                <a:gd name="T64" fmla="*/ 44 w 763"/>
                <a:gd name="T65" fmla="*/ 438 h 624"/>
                <a:gd name="T66" fmla="*/ 57 w 763"/>
                <a:gd name="T67" fmla="*/ 493 h 624"/>
                <a:gd name="T68" fmla="*/ 61 w 763"/>
                <a:gd name="T69" fmla="*/ 531 h 624"/>
                <a:gd name="T70" fmla="*/ 71 w 763"/>
                <a:gd name="T71" fmla="*/ 565 h 624"/>
                <a:gd name="T72" fmla="*/ 92 w 763"/>
                <a:gd name="T73" fmla="*/ 607 h 624"/>
                <a:gd name="T74" fmla="*/ 134 w 763"/>
                <a:gd name="T75" fmla="*/ 620 h 624"/>
                <a:gd name="T76" fmla="*/ 162 w 763"/>
                <a:gd name="T77" fmla="*/ 592 h 624"/>
                <a:gd name="T78" fmla="*/ 155 w 763"/>
                <a:gd name="T79" fmla="*/ 562 h 624"/>
                <a:gd name="T80" fmla="*/ 151 w 763"/>
                <a:gd name="T81" fmla="*/ 543 h 624"/>
                <a:gd name="T82" fmla="*/ 158 w 763"/>
                <a:gd name="T83" fmla="*/ 535 h 624"/>
                <a:gd name="T84" fmla="*/ 183 w 763"/>
                <a:gd name="T85" fmla="*/ 531 h 624"/>
                <a:gd name="T86" fmla="*/ 202 w 763"/>
                <a:gd name="T87" fmla="*/ 506 h 624"/>
                <a:gd name="T88" fmla="*/ 240 w 763"/>
                <a:gd name="T89" fmla="*/ 497 h 624"/>
                <a:gd name="T90" fmla="*/ 277 w 763"/>
                <a:gd name="T91" fmla="*/ 484 h 624"/>
                <a:gd name="T92" fmla="*/ 280 w 763"/>
                <a:gd name="T93" fmla="*/ 451 h 624"/>
                <a:gd name="T94" fmla="*/ 326 w 763"/>
                <a:gd name="T95" fmla="*/ 455 h 624"/>
                <a:gd name="T96" fmla="*/ 340 w 763"/>
                <a:gd name="T97" fmla="*/ 432 h 624"/>
                <a:gd name="T98" fmla="*/ 378 w 763"/>
                <a:gd name="T99" fmla="*/ 413 h 624"/>
                <a:gd name="T100" fmla="*/ 410 w 763"/>
                <a:gd name="T101" fmla="*/ 375 h 624"/>
                <a:gd name="T102" fmla="*/ 446 w 763"/>
                <a:gd name="T103" fmla="*/ 368 h 624"/>
                <a:gd name="T104" fmla="*/ 467 w 763"/>
                <a:gd name="T105" fmla="*/ 335 h 624"/>
                <a:gd name="T106" fmla="*/ 477 w 763"/>
                <a:gd name="T107" fmla="*/ 303 h 624"/>
                <a:gd name="T108" fmla="*/ 484 w 763"/>
                <a:gd name="T109" fmla="*/ 272 h 624"/>
                <a:gd name="T110" fmla="*/ 511 w 763"/>
                <a:gd name="T111" fmla="*/ 263 h 624"/>
                <a:gd name="T112" fmla="*/ 528 w 763"/>
                <a:gd name="T113" fmla="*/ 213 h 624"/>
                <a:gd name="T114" fmla="*/ 572 w 763"/>
                <a:gd name="T115" fmla="*/ 227 h 624"/>
                <a:gd name="T116" fmla="*/ 610 w 763"/>
                <a:gd name="T117" fmla="*/ 240 h 624"/>
                <a:gd name="T118" fmla="*/ 663 w 763"/>
                <a:gd name="T119" fmla="*/ 244 h 624"/>
                <a:gd name="T120" fmla="*/ 669 w 763"/>
                <a:gd name="T121" fmla="*/ 286 h 624"/>
                <a:gd name="T122" fmla="*/ 711 w 763"/>
                <a:gd name="T123" fmla="*/ 290 h 624"/>
                <a:gd name="T124" fmla="*/ 755 w 763"/>
                <a:gd name="T125" fmla="*/ 26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3" h="624">
                  <a:moveTo>
                    <a:pt x="761" y="252"/>
                  </a:moveTo>
                  <a:lnTo>
                    <a:pt x="761" y="250"/>
                  </a:lnTo>
                  <a:lnTo>
                    <a:pt x="757" y="248"/>
                  </a:lnTo>
                  <a:lnTo>
                    <a:pt x="757" y="246"/>
                  </a:lnTo>
                  <a:lnTo>
                    <a:pt x="755" y="244"/>
                  </a:lnTo>
                  <a:lnTo>
                    <a:pt x="755" y="244"/>
                  </a:lnTo>
                  <a:lnTo>
                    <a:pt x="755" y="244"/>
                  </a:lnTo>
                  <a:lnTo>
                    <a:pt x="753" y="244"/>
                  </a:lnTo>
                  <a:lnTo>
                    <a:pt x="751" y="242"/>
                  </a:lnTo>
                  <a:lnTo>
                    <a:pt x="749" y="242"/>
                  </a:lnTo>
                  <a:lnTo>
                    <a:pt x="745" y="240"/>
                  </a:lnTo>
                  <a:lnTo>
                    <a:pt x="743" y="240"/>
                  </a:lnTo>
                  <a:lnTo>
                    <a:pt x="743" y="238"/>
                  </a:lnTo>
                  <a:lnTo>
                    <a:pt x="742" y="238"/>
                  </a:lnTo>
                  <a:lnTo>
                    <a:pt x="742" y="233"/>
                  </a:lnTo>
                  <a:lnTo>
                    <a:pt x="740" y="231"/>
                  </a:lnTo>
                  <a:lnTo>
                    <a:pt x="740" y="231"/>
                  </a:lnTo>
                  <a:lnTo>
                    <a:pt x="740" y="231"/>
                  </a:lnTo>
                  <a:lnTo>
                    <a:pt x="738" y="229"/>
                  </a:lnTo>
                  <a:lnTo>
                    <a:pt x="734" y="229"/>
                  </a:lnTo>
                  <a:lnTo>
                    <a:pt x="734" y="229"/>
                  </a:lnTo>
                  <a:lnTo>
                    <a:pt x="732" y="227"/>
                  </a:lnTo>
                  <a:lnTo>
                    <a:pt x="730" y="227"/>
                  </a:lnTo>
                  <a:lnTo>
                    <a:pt x="730" y="225"/>
                  </a:lnTo>
                  <a:lnTo>
                    <a:pt x="730" y="221"/>
                  </a:lnTo>
                  <a:lnTo>
                    <a:pt x="728" y="219"/>
                  </a:lnTo>
                  <a:lnTo>
                    <a:pt x="728" y="219"/>
                  </a:lnTo>
                  <a:lnTo>
                    <a:pt x="728" y="219"/>
                  </a:lnTo>
                  <a:lnTo>
                    <a:pt x="726" y="219"/>
                  </a:lnTo>
                  <a:lnTo>
                    <a:pt x="726" y="219"/>
                  </a:lnTo>
                  <a:lnTo>
                    <a:pt x="724" y="219"/>
                  </a:lnTo>
                  <a:lnTo>
                    <a:pt x="724" y="219"/>
                  </a:lnTo>
                  <a:lnTo>
                    <a:pt x="724" y="221"/>
                  </a:lnTo>
                  <a:lnTo>
                    <a:pt x="724" y="221"/>
                  </a:lnTo>
                  <a:lnTo>
                    <a:pt x="724" y="221"/>
                  </a:lnTo>
                  <a:lnTo>
                    <a:pt x="724" y="221"/>
                  </a:lnTo>
                  <a:lnTo>
                    <a:pt x="724" y="223"/>
                  </a:lnTo>
                  <a:lnTo>
                    <a:pt x="724" y="223"/>
                  </a:lnTo>
                  <a:lnTo>
                    <a:pt x="724" y="223"/>
                  </a:lnTo>
                  <a:lnTo>
                    <a:pt x="724" y="223"/>
                  </a:lnTo>
                  <a:lnTo>
                    <a:pt x="723" y="223"/>
                  </a:lnTo>
                  <a:lnTo>
                    <a:pt x="723" y="223"/>
                  </a:lnTo>
                  <a:lnTo>
                    <a:pt x="721" y="223"/>
                  </a:lnTo>
                  <a:lnTo>
                    <a:pt x="719" y="223"/>
                  </a:lnTo>
                  <a:lnTo>
                    <a:pt x="717" y="223"/>
                  </a:lnTo>
                  <a:lnTo>
                    <a:pt x="717" y="221"/>
                  </a:lnTo>
                  <a:lnTo>
                    <a:pt x="717" y="221"/>
                  </a:lnTo>
                  <a:lnTo>
                    <a:pt x="717" y="221"/>
                  </a:lnTo>
                  <a:lnTo>
                    <a:pt x="717" y="219"/>
                  </a:lnTo>
                  <a:lnTo>
                    <a:pt x="719" y="219"/>
                  </a:lnTo>
                  <a:lnTo>
                    <a:pt x="721" y="219"/>
                  </a:lnTo>
                  <a:lnTo>
                    <a:pt x="723" y="217"/>
                  </a:lnTo>
                  <a:lnTo>
                    <a:pt x="723" y="217"/>
                  </a:lnTo>
                  <a:lnTo>
                    <a:pt x="723" y="217"/>
                  </a:lnTo>
                  <a:lnTo>
                    <a:pt x="723" y="215"/>
                  </a:lnTo>
                  <a:lnTo>
                    <a:pt x="723" y="215"/>
                  </a:lnTo>
                  <a:lnTo>
                    <a:pt x="724" y="215"/>
                  </a:lnTo>
                  <a:lnTo>
                    <a:pt x="724" y="213"/>
                  </a:lnTo>
                  <a:lnTo>
                    <a:pt x="723" y="213"/>
                  </a:lnTo>
                  <a:lnTo>
                    <a:pt x="723" y="213"/>
                  </a:lnTo>
                  <a:lnTo>
                    <a:pt x="721" y="212"/>
                  </a:lnTo>
                  <a:lnTo>
                    <a:pt x="719" y="212"/>
                  </a:lnTo>
                  <a:lnTo>
                    <a:pt x="719" y="212"/>
                  </a:lnTo>
                  <a:lnTo>
                    <a:pt x="719" y="212"/>
                  </a:lnTo>
                  <a:lnTo>
                    <a:pt x="719" y="212"/>
                  </a:lnTo>
                  <a:lnTo>
                    <a:pt x="719" y="210"/>
                  </a:lnTo>
                  <a:lnTo>
                    <a:pt x="719" y="210"/>
                  </a:lnTo>
                  <a:lnTo>
                    <a:pt x="721" y="208"/>
                  </a:lnTo>
                  <a:lnTo>
                    <a:pt x="721" y="206"/>
                  </a:lnTo>
                  <a:lnTo>
                    <a:pt x="721" y="206"/>
                  </a:lnTo>
                  <a:lnTo>
                    <a:pt x="723" y="206"/>
                  </a:lnTo>
                  <a:lnTo>
                    <a:pt x="724" y="208"/>
                  </a:lnTo>
                  <a:lnTo>
                    <a:pt x="726" y="208"/>
                  </a:lnTo>
                  <a:lnTo>
                    <a:pt x="726" y="208"/>
                  </a:lnTo>
                  <a:lnTo>
                    <a:pt x="728" y="208"/>
                  </a:lnTo>
                  <a:lnTo>
                    <a:pt x="728" y="208"/>
                  </a:lnTo>
                  <a:lnTo>
                    <a:pt x="728" y="208"/>
                  </a:lnTo>
                  <a:lnTo>
                    <a:pt x="728" y="206"/>
                  </a:lnTo>
                  <a:lnTo>
                    <a:pt x="728" y="200"/>
                  </a:lnTo>
                  <a:lnTo>
                    <a:pt x="730" y="198"/>
                  </a:lnTo>
                  <a:lnTo>
                    <a:pt x="730" y="198"/>
                  </a:lnTo>
                  <a:lnTo>
                    <a:pt x="730" y="196"/>
                  </a:lnTo>
                  <a:lnTo>
                    <a:pt x="730" y="196"/>
                  </a:lnTo>
                  <a:lnTo>
                    <a:pt x="730" y="193"/>
                  </a:lnTo>
                  <a:lnTo>
                    <a:pt x="728" y="187"/>
                  </a:lnTo>
                  <a:lnTo>
                    <a:pt x="726" y="187"/>
                  </a:lnTo>
                  <a:lnTo>
                    <a:pt x="726" y="187"/>
                  </a:lnTo>
                  <a:lnTo>
                    <a:pt x="726" y="187"/>
                  </a:lnTo>
                  <a:lnTo>
                    <a:pt x="719" y="187"/>
                  </a:lnTo>
                  <a:lnTo>
                    <a:pt x="717" y="185"/>
                  </a:lnTo>
                  <a:lnTo>
                    <a:pt x="717" y="185"/>
                  </a:lnTo>
                  <a:lnTo>
                    <a:pt x="717" y="185"/>
                  </a:lnTo>
                  <a:lnTo>
                    <a:pt x="719" y="181"/>
                  </a:lnTo>
                  <a:lnTo>
                    <a:pt x="719" y="179"/>
                  </a:lnTo>
                  <a:lnTo>
                    <a:pt x="719" y="179"/>
                  </a:lnTo>
                  <a:lnTo>
                    <a:pt x="719" y="177"/>
                  </a:lnTo>
                  <a:lnTo>
                    <a:pt x="719" y="175"/>
                  </a:lnTo>
                  <a:lnTo>
                    <a:pt x="719" y="175"/>
                  </a:lnTo>
                  <a:lnTo>
                    <a:pt x="721" y="175"/>
                  </a:lnTo>
                  <a:lnTo>
                    <a:pt x="726" y="175"/>
                  </a:lnTo>
                  <a:lnTo>
                    <a:pt x="726" y="174"/>
                  </a:lnTo>
                  <a:lnTo>
                    <a:pt x="728" y="174"/>
                  </a:lnTo>
                  <a:lnTo>
                    <a:pt x="730" y="174"/>
                  </a:lnTo>
                  <a:lnTo>
                    <a:pt x="732" y="172"/>
                  </a:lnTo>
                  <a:lnTo>
                    <a:pt x="732" y="170"/>
                  </a:lnTo>
                  <a:lnTo>
                    <a:pt x="734" y="170"/>
                  </a:lnTo>
                  <a:lnTo>
                    <a:pt x="736" y="170"/>
                  </a:lnTo>
                  <a:lnTo>
                    <a:pt x="736" y="168"/>
                  </a:lnTo>
                  <a:lnTo>
                    <a:pt x="736" y="168"/>
                  </a:lnTo>
                  <a:lnTo>
                    <a:pt x="736" y="166"/>
                  </a:lnTo>
                  <a:lnTo>
                    <a:pt x="736" y="166"/>
                  </a:lnTo>
                  <a:lnTo>
                    <a:pt x="736" y="164"/>
                  </a:lnTo>
                  <a:lnTo>
                    <a:pt x="736" y="162"/>
                  </a:lnTo>
                  <a:lnTo>
                    <a:pt x="736" y="160"/>
                  </a:lnTo>
                  <a:lnTo>
                    <a:pt x="736" y="155"/>
                  </a:lnTo>
                  <a:lnTo>
                    <a:pt x="736" y="155"/>
                  </a:lnTo>
                  <a:lnTo>
                    <a:pt x="736" y="153"/>
                  </a:lnTo>
                  <a:lnTo>
                    <a:pt x="738" y="151"/>
                  </a:lnTo>
                  <a:lnTo>
                    <a:pt x="738" y="151"/>
                  </a:lnTo>
                  <a:lnTo>
                    <a:pt x="738" y="149"/>
                  </a:lnTo>
                  <a:lnTo>
                    <a:pt x="736" y="149"/>
                  </a:lnTo>
                  <a:lnTo>
                    <a:pt x="736" y="149"/>
                  </a:lnTo>
                  <a:lnTo>
                    <a:pt x="736" y="147"/>
                  </a:lnTo>
                  <a:lnTo>
                    <a:pt x="736" y="143"/>
                  </a:lnTo>
                  <a:lnTo>
                    <a:pt x="736" y="143"/>
                  </a:lnTo>
                  <a:lnTo>
                    <a:pt x="736" y="141"/>
                  </a:lnTo>
                  <a:lnTo>
                    <a:pt x="736" y="141"/>
                  </a:lnTo>
                  <a:lnTo>
                    <a:pt x="736" y="141"/>
                  </a:lnTo>
                  <a:lnTo>
                    <a:pt x="736" y="141"/>
                  </a:lnTo>
                  <a:lnTo>
                    <a:pt x="734" y="141"/>
                  </a:lnTo>
                  <a:lnTo>
                    <a:pt x="732" y="139"/>
                  </a:lnTo>
                  <a:lnTo>
                    <a:pt x="732" y="139"/>
                  </a:lnTo>
                  <a:lnTo>
                    <a:pt x="732" y="139"/>
                  </a:lnTo>
                  <a:lnTo>
                    <a:pt x="730" y="139"/>
                  </a:lnTo>
                  <a:lnTo>
                    <a:pt x="730" y="141"/>
                  </a:lnTo>
                  <a:lnTo>
                    <a:pt x="728" y="143"/>
                  </a:lnTo>
                  <a:lnTo>
                    <a:pt x="726" y="143"/>
                  </a:lnTo>
                  <a:lnTo>
                    <a:pt x="726" y="143"/>
                  </a:lnTo>
                  <a:lnTo>
                    <a:pt x="726" y="143"/>
                  </a:lnTo>
                  <a:lnTo>
                    <a:pt x="724" y="143"/>
                  </a:lnTo>
                  <a:lnTo>
                    <a:pt x="724" y="141"/>
                  </a:lnTo>
                  <a:lnTo>
                    <a:pt x="724" y="141"/>
                  </a:lnTo>
                  <a:lnTo>
                    <a:pt x="724" y="141"/>
                  </a:lnTo>
                  <a:lnTo>
                    <a:pt x="724" y="139"/>
                  </a:lnTo>
                  <a:lnTo>
                    <a:pt x="724" y="137"/>
                  </a:lnTo>
                  <a:lnTo>
                    <a:pt x="726" y="137"/>
                  </a:lnTo>
                  <a:lnTo>
                    <a:pt x="726" y="137"/>
                  </a:lnTo>
                  <a:lnTo>
                    <a:pt x="730" y="136"/>
                  </a:lnTo>
                  <a:lnTo>
                    <a:pt x="730" y="134"/>
                  </a:lnTo>
                  <a:lnTo>
                    <a:pt x="732" y="134"/>
                  </a:lnTo>
                  <a:lnTo>
                    <a:pt x="732" y="132"/>
                  </a:lnTo>
                  <a:lnTo>
                    <a:pt x="730" y="124"/>
                  </a:lnTo>
                  <a:lnTo>
                    <a:pt x="730" y="115"/>
                  </a:lnTo>
                  <a:lnTo>
                    <a:pt x="730" y="113"/>
                  </a:lnTo>
                  <a:lnTo>
                    <a:pt x="730" y="111"/>
                  </a:lnTo>
                  <a:lnTo>
                    <a:pt x="730" y="111"/>
                  </a:lnTo>
                  <a:lnTo>
                    <a:pt x="730" y="109"/>
                  </a:lnTo>
                  <a:lnTo>
                    <a:pt x="728" y="109"/>
                  </a:lnTo>
                  <a:lnTo>
                    <a:pt x="728" y="109"/>
                  </a:lnTo>
                  <a:lnTo>
                    <a:pt x="728" y="109"/>
                  </a:lnTo>
                  <a:lnTo>
                    <a:pt x="726" y="109"/>
                  </a:lnTo>
                  <a:lnTo>
                    <a:pt x="724" y="109"/>
                  </a:lnTo>
                  <a:lnTo>
                    <a:pt x="724" y="109"/>
                  </a:lnTo>
                  <a:lnTo>
                    <a:pt x="724" y="109"/>
                  </a:lnTo>
                  <a:lnTo>
                    <a:pt x="723" y="109"/>
                  </a:lnTo>
                  <a:lnTo>
                    <a:pt x="723" y="109"/>
                  </a:lnTo>
                  <a:lnTo>
                    <a:pt x="723" y="107"/>
                  </a:lnTo>
                  <a:lnTo>
                    <a:pt x="721" y="107"/>
                  </a:lnTo>
                  <a:lnTo>
                    <a:pt x="721" y="107"/>
                  </a:lnTo>
                  <a:lnTo>
                    <a:pt x="719" y="105"/>
                  </a:lnTo>
                  <a:lnTo>
                    <a:pt x="719" y="101"/>
                  </a:lnTo>
                  <a:lnTo>
                    <a:pt x="719" y="101"/>
                  </a:lnTo>
                  <a:lnTo>
                    <a:pt x="719" y="99"/>
                  </a:lnTo>
                  <a:lnTo>
                    <a:pt x="721" y="96"/>
                  </a:lnTo>
                  <a:lnTo>
                    <a:pt x="721" y="90"/>
                  </a:lnTo>
                  <a:lnTo>
                    <a:pt x="721" y="88"/>
                  </a:lnTo>
                  <a:lnTo>
                    <a:pt x="723" y="88"/>
                  </a:lnTo>
                  <a:lnTo>
                    <a:pt x="723" y="86"/>
                  </a:lnTo>
                  <a:lnTo>
                    <a:pt x="724" y="86"/>
                  </a:lnTo>
                  <a:lnTo>
                    <a:pt x="730" y="82"/>
                  </a:lnTo>
                  <a:lnTo>
                    <a:pt x="736" y="78"/>
                  </a:lnTo>
                  <a:lnTo>
                    <a:pt x="738" y="77"/>
                  </a:lnTo>
                  <a:lnTo>
                    <a:pt x="740" y="75"/>
                  </a:lnTo>
                  <a:lnTo>
                    <a:pt x="742" y="73"/>
                  </a:lnTo>
                  <a:lnTo>
                    <a:pt x="742" y="67"/>
                  </a:lnTo>
                  <a:lnTo>
                    <a:pt x="740" y="67"/>
                  </a:lnTo>
                  <a:lnTo>
                    <a:pt x="738" y="69"/>
                  </a:lnTo>
                  <a:lnTo>
                    <a:pt x="738" y="69"/>
                  </a:lnTo>
                  <a:lnTo>
                    <a:pt x="738" y="69"/>
                  </a:lnTo>
                  <a:lnTo>
                    <a:pt x="736" y="69"/>
                  </a:lnTo>
                  <a:lnTo>
                    <a:pt x="736" y="69"/>
                  </a:lnTo>
                  <a:lnTo>
                    <a:pt x="724" y="63"/>
                  </a:lnTo>
                  <a:lnTo>
                    <a:pt x="724" y="63"/>
                  </a:lnTo>
                  <a:lnTo>
                    <a:pt x="723" y="61"/>
                  </a:lnTo>
                  <a:lnTo>
                    <a:pt x="723" y="61"/>
                  </a:lnTo>
                  <a:lnTo>
                    <a:pt x="721" y="63"/>
                  </a:lnTo>
                  <a:lnTo>
                    <a:pt x="719" y="63"/>
                  </a:lnTo>
                  <a:lnTo>
                    <a:pt x="717" y="63"/>
                  </a:lnTo>
                  <a:lnTo>
                    <a:pt x="717" y="63"/>
                  </a:lnTo>
                  <a:lnTo>
                    <a:pt x="717" y="63"/>
                  </a:lnTo>
                  <a:lnTo>
                    <a:pt x="715" y="63"/>
                  </a:lnTo>
                  <a:lnTo>
                    <a:pt x="715" y="61"/>
                  </a:lnTo>
                  <a:lnTo>
                    <a:pt x="715" y="61"/>
                  </a:lnTo>
                  <a:lnTo>
                    <a:pt x="717" y="59"/>
                  </a:lnTo>
                  <a:lnTo>
                    <a:pt x="717" y="59"/>
                  </a:lnTo>
                  <a:lnTo>
                    <a:pt x="717" y="59"/>
                  </a:lnTo>
                  <a:lnTo>
                    <a:pt x="717" y="58"/>
                  </a:lnTo>
                  <a:lnTo>
                    <a:pt x="717" y="58"/>
                  </a:lnTo>
                  <a:lnTo>
                    <a:pt x="717" y="56"/>
                  </a:lnTo>
                  <a:lnTo>
                    <a:pt x="717" y="54"/>
                  </a:lnTo>
                  <a:lnTo>
                    <a:pt x="715" y="54"/>
                  </a:lnTo>
                  <a:lnTo>
                    <a:pt x="709" y="50"/>
                  </a:lnTo>
                  <a:lnTo>
                    <a:pt x="709" y="48"/>
                  </a:lnTo>
                  <a:lnTo>
                    <a:pt x="709" y="48"/>
                  </a:lnTo>
                  <a:lnTo>
                    <a:pt x="709" y="46"/>
                  </a:lnTo>
                  <a:lnTo>
                    <a:pt x="709" y="46"/>
                  </a:lnTo>
                  <a:lnTo>
                    <a:pt x="707" y="46"/>
                  </a:lnTo>
                  <a:lnTo>
                    <a:pt x="707" y="44"/>
                  </a:lnTo>
                  <a:lnTo>
                    <a:pt x="703" y="44"/>
                  </a:lnTo>
                  <a:lnTo>
                    <a:pt x="702" y="42"/>
                  </a:lnTo>
                  <a:lnTo>
                    <a:pt x="698" y="40"/>
                  </a:lnTo>
                  <a:lnTo>
                    <a:pt x="696" y="39"/>
                  </a:lnTo>
                  <a:lnTo>
                    <a:pt x="696" y="40"/>
                  </a:lnTo>
                  <a:lnTo>
                    <a:pt x="696" y="40"/>
                  </a:lnTo>
                  <a:lnTo>
                    <a:pt x="694" y="40"/>
                  </a:lnTo>
                  <a:lnTo>
                    <a:pt x="688" y="42"/>
                  </a:lnTo>
                  <a:lnTo>
                    <a:pt x="686" y="44"/>
                  </a:lnTo>
                  <a:lnTo>
                    <a:pt x="686" y="46"/>
                  </a:lnTo>
                  <a:lnTo>
                    <a:pt x="679" y="48"/>
                  </a:lnTo>
                  <a:lnTo>
                    <a:pt x="679" y="48"/>
                  </a:lnTo>
                  <a:lnTo>
                    <a:pt x="677" y="48"/>
                  </a:lnTo>
                  <a:lnTo>
                    <a:pt x="677" y="48"/>
                  </a:lnTo>
                  <a:lnTo>
                    <a:pt x="677" y="48"/>
                  </a:lnTo>
                  <a:lnTo>
                    <a:pt x="677" y="46"/>
                  </a:lnTo>
                  <a:lnTo>
                    <a:pt x="677" y="46"/>
                  </a:lnTo>
                  <a:lnTo>
                    <a:pt x="675" y="46"/>
                  </a:lnTo>
                  <a:lnTo>
                    <a:pt x="673" y="48"/>
                  </a:lnTo>
                  <a:lnTo>
                    <a:pt x="673" y="48"/>
                  </a:lnTo>
                  <a:lnTo>
                    <a:pt x="671" y="48"/>
                  </a:lnTo>
                  <a:lnTo>
                    <a:pt x="671" y="48"/>
                  </a:lnTo>
                  <a:lnTo>
                    <a:pt x="669" y="50"/>
                  </a:lnTo>
                  <a:lnTo>
                    <a:pt x="667" y="50"/>
                  </a:lnTo>
                  <a:lnTo>
                    <a:pt x="665" y="50"/>
                  </a:lnTo>
                  <a:lnTo>
                    <a:pt x="665" y="50"/>
                  </a:lnTo>
                  <a:lnTo>
                    <a:pt x="663" y="50"/>
                  </a:lnTo>
                  <a:lnTo>
                    <a:pt x="663" y="48"/>
                  </a:lnTo>
                  <a:lnTo>
                    <a:pt x="663" y="46"/>
                  </a:lnTo>
                  <a:lnTo>
                    <a:pt x="662" y="46"/>
                  </a:lnTo>
                  <a:lnTo>
                    <a:pt x="662" y="44"/>
                  </a:lnTo>
                  <a:lnTo>
                    <a:pt x="660" y="44"/>
                  </a:lnTo>
                  <a:lnTo>
                    <a:pt x="658" y="44"/>
                  </a:lnTo>
                  <a:lnTo>
                    <a:pt x="656" y="44"/>
                  </a:lnTo>
                  <a:lnTo>
                    <a:pt x="652" y="44"/>
                  </a:lnTo>
                  <a:lnTo>
                    <a:pt x="648" y="44"/>
                  </a:lnTo>
                  <a:lnTo>
                    <a:pt x="648" y="44"/>
                  </a:lnTo>
                  <a:lnTo>
                    <a:pt x="646" y="44"/>
                  </a:lnTo>
                  <a:lnTo>
                    <a:pt x="644" y="46"/>
                  </a:lnTo>
                  <a:lnTo>
                    <a:pt x="642" y="48"/>
                  </a:lnTo>
                  <a:lnTo>
                    <a:pt x="642" y="48"/>
                  </a:lnTo>
                  <a:lnTo>
                    <a:pt x="641" y="48"/>
                  </a:lnTo>
                  <a:lnTo>
                    <a:pt x="639" y="48"/>
                  </a:lnTo>
                  <a:lnTo>
                    <a:pt x="639" y="48"/>
                  </a:lnTo>
                  <a:lnTo>
                    <a:pt x="637" y="48"/>
                  </a:lnTo>
                  <a:lnTo>
                    <a:pt x="637" y="46"/>
                  </a:lnTo>
                  <a:lnTo>
                    <a:pt x="637" y="44"/>
                  </a:lnTo>
                  <a:lnTo>
                    <a:pt x="637" y="44"/>
                  </a:lnTo>
                  <a:lnTo>
                    <a:pt x="637" y="44"/>
                  </a:lnTo>
                  <a:lnTo>
                    <a:pt x="637" y="42"/>
                  </a:lnTo>
                  <a:lnTo>
                    <a:pt x="635" y="40"/>
                  </a:lnTo>
                  <a:lnTo>
                    <a:pt x="633" y="39"/>
                  </a:lnTo>
                  <a:lnTo>
                    <a:pt x="631" y="37"/>
                  </a:lnTo>
                  <a:lnTo>
                    <a:pt x="629" y="35"/>
                  </a:lnTo>
                  <a:lnTo>
                    <a:pt x="625" y="35"/>
                  </a:lnTo>
                  <a:lnTo>
                    <a:pt x="625" y="35"/>
                  </a:lnTo>
                  <a:lnTo>
                    <a:pt x="623" y="35"/>
                  </a:lnTo>
                  <a:lnTo>
                    <a:pt x="622" y="35"/>
                  </a:lnTo>
                  <a:lnTo>
                    <a:pt x="622" y="33"/>
                  </a:lnTo>
                  <a:lnTo>
                    <a:pt x="618" y="35"/>
                  </a:lnTo>
                  <a:lnTo>
                    <a:pt x="616" y="33"/>
                  </a:lnTo>
                  <a:lnTo>
                    <a:pt x="614" y="33"/>
                  </a:lnTo>
                  <a:lnTo>
                    <a:pt x="610" y="31"/>
                  </a:lnTo>
                  <a:lnTo>
                    <a:pt x="608" y="31"/>
                  </a:lnTo>
                  <a:lnTo>
                    <a:pt x="608" y="33"/>
                  </a:lnTo>
                  <a:lnTo>
                    <a:pt x="608" y="33"/>
                  </a:lnTo>
                  <a:lnTo>
                    <a:pt x="608" y="33"/>
                  </a:lnTo>
                  <a:lnTo>
                    <a:pt x="608" y="35"/>
                  </a:lnTo>
                  <a:lnTo>
                    <a:pt x="608" y="37"/>
                  </a:lnTo>
                  <a:lnTo>
                    <a:pt x="606" y="37"/>
                  </a:lnTo>
                  <a:lnTo>
                    <a:pt x="604" y="39"/>
                  </a:lnTo>
                  <a:lnTo>
                    <a:pt x="602" y="39"/>
                  </a:lnTo>
                  <a:lnTo>
                    <a:pt x="597" y="40"/>
                  </a:lnTo>
                  <a:lnTo>
                    <a:pt x="595" y="42"/>
                  </a:lnTo>
                  <a:lnTo>
                    <a:pt x="585" y="42"/>
                  </a:lnTo>
                  <a:lnTo>
                    <a:pt x="582" y="44"/>
                  </a:lnTo>
                  <a:lnTo>
                    <a:pt x="580" y="44"/>
                  </a:lnTo>
                  <a:lnTo>
                    <a:pt x="580" y="46"/>
                  </a:lnTo>
                  <a:lnTo>
                    <a:pt x="580" y="46"/>
                  </a:lnTo>
                  <a:lnTo>
                    <a:pt x="580" y="48"/>
                  </a:lnTo>
                  <a:lnTo>
                    <a:pt x="580" y="48"/>
                  </a:lnTo>
                  <a:lnTo>
                    <a:pt x="580" y="50"/>
                  </a:lnTo>
                  <a:lnTo>
                    <a:pt x="580" y="50"/>
                  </a:lnTo>
                  <a:lnTo>
                    <a:pt x="580" y="52"/>
                  </a:lnTo>
                  <a:lnTo>
                    <a:pt x="578" y="52"/>
                  </a:lnTo>
                  <a:lnTo>
                    <a:pt x="574" y="52"/>
                  </a:lnTo>
                  <a:lnTo>
                    <a:pt x="572" y="52"/>
                  </a:lnTo>
                  <a:lnTo>
                    <a:pt x="568" y="54"/>
                  </a:lnTo>
                  <a:lnTo>
                    <a:pt x="562" y="54"/>
                  </a:lnTo>
                  <a:lnTo>
                    <a:pt x="561" y="56"/>
                  </a:lnTo>
                  <a:lnTo>
                    <a:pt x="559" y="56"/>
                  </a:lnTo>
                  <a:lnTo>
                    <a:pt x="553" y="56"/>
                  </a:lnTo>
                  <a:lnTo>
                    <a:pt x="545" y="54"/>
                  </a:lnTo>
                  <a:lnTo>
                    <a:pt x="545" y="52"/>
                  </a:lnTo>
                  <a:lnTo>
                    <a:pt x="543" y="52"/>
                  </a:lnTo>
                  <a:lnTo>
                    <a:pt x="543" y="50"/>
                  </a:lnTo>
                  <a:lnTo>
                    <a:pt x="541" y="50"/>
                  </a:lnTo>
                  <a:lnTo>
                    <a:pt x="540" y="50"/>
                  </a:lnTo>
                  <a:lnTo>
                    <a:pt x="540" y="50"/>
                  </a:lnTo>
                  <a:lnTo>
                    <a:pt x="538" y="50"/>
                  </a:lnTo>
                  <a:lnTo>
                    <a:pt x="538" y="52"/>
                  </a:lnTo>
                  <a:lnTo>
                    <a:pt x="536" y="52"/>
                  </a:lnTo>
                  <a:lnTo>
                    <a:pt x="536" y="52"/>
                  </a:lnTo>
                  <a:lnTo>
                    <a:pt x="534" y="52"/>
                  </a:lnTo>
                  <a:lnTo>
                    <a:pt x="534" y="52"/>
                  </a:lnTo>
                  <a:lnTo>
                    <a:pt x="534" y="52"/>
                  </a:lnTo>
                  <a:lnTo>
                    <a:pt x="534" y="52"/>
                  </a:lnTo>
                  <a:lnTo>
                    <a:pt x="534" y="52"/>
                  </a:lnTo>
                  <a:lnTo>
                    <a:pt x="534" y="52"/>
                  </a:lnTo>
                  <a:lnTo>
                    <a:pt x="534" y="50"/>
                  </a:lnTo>
                  <a:lnTo>
                    <a:pt x="534" y="48"/>
                  </a:lnTo>
                  <a:lnTo>
                    <a:pt x="534" y="46"/>
                  </a:lnTo>
                  <a:lnTo>
                    <a:pt x="532" y="44"/>
                  </a:lnTo>
                  <a:lnTo>
                    <a:pt x="532" y="42"/>
                  </a:lnTo>
                  <a:lnTo>
                    <a:pt x="532" y="40"/>
                  </a:lnTo>
                  <a:lnTo>
                    <a:pt x="530" y="40"/>
                  </a:lnTo>
                  <a:lnTo>
                    <a:pt x="530" y="40"/>
                  </a:lnTo>
                  <a:lnTo>
                    <a:pt x="528" y="40"/>
                  </a:lnTo>
                  <a:lnTo>
                    <a:pt x="528" y="40"/>
                  </a:lnTo>
                  <a:lnTo>
                    <a:pt x="526" y="40"/>
                  </a:lnTo>
                  <a:lnTo>
                    <a:pt x="526" y="40"/>
                  </a:lnTo>
                  <a:lnTo>
                    <a:pt x="524" y="40"/>
                  </a:lnTo>
                  <a:lnTo>
                    <a:pt x="522" y="44"/>
                  </a:lnTo>
                  <a:lnTo>
                    <a:pt x="519" y="46"/>
                  </a:lnTo>
                  <a:lnTo>
                    <a:pt x="513" y="46"/>
                  </a:lnTo>
                  <a:lnTo>
                    <a:pt x="513" y="48"/>
                  </a:lnTo>
                  <a:lnTo>
                    <a:pt x="511" y="48"/>
                  </a:lnTo>
                  <a:lnTo>
                    <a:pt x="509" y="50"/>
                  </a:lnTo>
                  <a:lnTo>
                    <a:pt x="507" y="54"/>
                  </a:lnTo>
                  <a:lnTo>
                    <a:pt x="505" y="54"/>
                  </a:lnTo>
                  <a:lnTo>
                    <a:pt x="501" y="56"/>
                  </a:lnTo>
                  <a:lnTo>
                    <a:pt x="498" y="59"/>
                  </a:lnTo>
                  <a:lnTo>
                    <a:pt x="486" y="63"/>
                  </a:lnTo>
                  <a:lnTo>
                    <a:pt x="484" y="63"/>
                  </a:lnTo>
                  <a:lnTo>
                    <a:pt x="482" y="63"/>
                  </a:lnTo>
                  <a:lnTo>
                    <a:pt x="481" y="61"/>
                  </a:lnTo>
                  <a:lnTo>
                    <a:pt x="477" y="59"/>
                  </a:lnTo>
                  <a:lnTo>
                    <a:pt x="475" y="59"/>
                  </a:lnTo>
                  <a:lnTo>
                    <a:pt x="475" y="59"/>
                  </a:lnTo>
                  <a:lnTo>
                    <a:pt x="473" y="61"/>
                  </a:lnTo>
                  <a:lnTo>
                    <a:pt x="471" y="63"/>
                  </a:lnTo>
                  <a:lnTo>
                    <a:pt x="467" y="65"/>
                  </a:lnTo>
                  <a:lnTo>
                    <a:pt x="467" y="65"/>
                  </a:lnTo>
                  <a:lnTo>
                    <a:pt x="465" y="65"/>
                  </a:lnTo>
                  <a:lnTo>
                    <a:pt x="465" y="63"/>
                  </a:lnTo>
                  <a:lnTo>
                    <a:pt x="465" y="63"/>
                  </a:lnTo>
                  <a:lnTo>
                    <a:pt x="463" y="63"/>
                  </a:lnTo>
                  <a:lnTo>
                    <a:pt x="461" y="63"/>
                  </a:lnTo>
                  <a:lnTo>
                    <a:pt x="461" y="63"/>
                  </a:lnTo>
                  <a:lnTo>
                    <a:pt x="460" y="63"/>
                  </a:lnTo>
                  <a:lnTo>
                    <a:pt x="460" y="63"/>
                  </a:lnTo>
                  <a:lnTo>
                    <a:pt x="458" y="63"/>
                  </a:lnTo>
                  <a:lnTo>
                    <a:pt x="456" y="63"/>
                  </a:lnTo>
                  <a:lnTo>
                    <a:pt x="456" y="63"/>
                  </a:lnTo>
                  <a:lnTo>
                    <a:pt x="454" y="63"/>
                  </a:lnTo>
                  <a:lnTo>
                    <a:pt x="454" y="63"/>
                  </a:lnTo>
                  <a:lnTo>
                    <a:pt x="454" y="63"/>
                  </a:lnTo>
                  <a:lnTo>
                    <a:pt x="452" y="61"/>
                  </a:lnTo>
                  <a:lnTo>
                    <a:pt x="452" y="61"/>
                  </a:lnTo>
                  <a:lnTo>
                    <a:pt x="450" y="61"/>
                  </a:lnTo>
                  <a:lnTo>
                    <a:pt x="450" y="61"/>
                  </a:lnTo>
                  <a:lnTo>
                    <a:pt x="450" y="61"/>
                  </a:lnTo>
                  <a:lnTo>
                    <a:pt x="448" y="61"/>
                  </a:lnTo>
                  <a:lnTo>
                    <a:pt x="448" y="63"/>
                  </a:lnTo>
                  <a:lnTo>
                    <a:pt x="448" y="63"/>
                  </a:lnTo>
                  <a:lnTo>
                    <a:pt x="446" y="63"/>
                  </a:lnTo>
                  <a:lnTo>
                    <a:pt x="446" y="63"/>
                  </a:lnTo>
                  <a:lnTo>
                    <a:pt x="446" y="61"/>
                  </a:lnTo>
                  <a:lnTo>
                    <a:pt x="446" y="59"/>
                  </a:lnTo>
                  <a:lnTo>
                    <a:pt x="444" y="56"/>
                  </a:lnTo>
                  <a:lnTo>
                    <a:pt x="442" y="54"/>
                  </a:lnTo>
                  <a:lnTo>
                    <a:pt x="442" y="52"/>
                  </a:lnTo>
                  <a:lnTo>
                    <a:pt x="442" y="52"/>
                  </a:lnTo>
                  <a:lnTo>
                    <a:pt x="442" y="50"/>
                  </a:lnTo>
                  <a:lnTo>
                    <a:pt x="442" y="50"/>
                  </a:lnTo>
                  <a:lnTo>
                    <a:pt x="442" y="48"/>
                  </a:lnTo>
                  <a:lnTo>
                    <a:pt x="442" y="48"/>
                  </a:lnTo>
                  <a:lnTo>
                    <a:pt x="444" y="48"/>
                  </a:lnTo>
                  <a:lnTo>
                    <a:pt x="454" y="48"/>
                  </a:lnTo>
                  <a:lnTo>
                    <a:pt x="454" y="48"/>
                  </a:lnTo>
                  <a:lnTo>
                    <a:pt x="456" y="48"/>
                  </a:lnTo>
                  <a:lnTo>
                    <a:pt x="456" y="48"/>
                  </a:lnTo>
                  <a:lnTo>
                    <a:pt x="456" y="46"/>
                  </a:lnTo>
                  <a:lnTo>
                    <a:pt x="454" y="46"/>
                  </a:lnTo>
                  <a:lnTo>
                    <a:pt x="454" y="44"/>
                  </a:lnTo>
                  <a:lnTo>
                    <a:pt x="454" y="42"/>
                  </a:lnTo>
                  <a:lnTo>
                    <a:pt x="454" y="42"/>
                  </a:lnTo>
                  <a:lnTo>
                    <a:pt x="454" y="40"/>
                  </a:lnTo>
                  <a:lnTo>
                    <a:pt x="452" y="33"/>
                  </a:lnTo>
                  <a:lnTo>
                    <a:pt x="452" y="33"/>
                  </a:lnTo>
                  <a:lnTo>
                    <a:pt x="452" y="31"/>
                  </a:lnTo>
                  <a:lnTo>
                    <a:pt x="450" y="31"/>
                  </a:lnTo>
                  <a:lnTo>
                    <a:pt x="448" y="29"/>
                  </a:lnTo>
                  <a:lnTo>
                    <a:pt x="448" y="29"/>
                  </a:lnTo>
                  <a:lnTo>
                    <a:pt x="448" y="29"/>
                  </a:lnTo>
                  <a:lnTo>
                    <a:pt x="448" y="29"/>
                  </a:lnTo>
                  <a:lnTo>
                    <a:pt x="448" y="29"/>
                  </a:lnTo>
                  <a:lnTo>
                    <a:pt x="448" y="27"/>
                  </a:lnTo>
                  <a:lnTo>
                    <a:pt x="446" y="27"/>
                  </a:lnTo>
                  <a:lnTo>
                    <a:pt x="446" y="27"/>
                  </a:lnTo>
                  <a:lnTo>
                    <a:pt x="444" y="25"/>
                  </a:lnTo>
                  <a:lnTo>
                    <a:pt x="433" y="25"/>
                  </a:lnTo>
                  <a:lnTo>
                    <a:pt x="431" y="25"/>
                  </a:lnTo>
                  <a:lnTo>
                    <a:pt x="431" y="27"/>
                  </a:lnTo>
                  <a:lnTo>
                    <a:pt x="429" y="29"/>
                  </a:lnTo>
                  <a:lnTo>
                    <a:pt x="429" y="29"/>
                  </a:lnTo>
                  <a:lnTo>
                    <a:pt x="425" y="29"/>
                  </a:lnTo>
                  <a:lnTo>
                    <a:pt x="425" y="29"/>
                  </a:lnTo>
                  <a:lnTo>
                    <a:pt x="423" y="31"/>
                  </a:lnTo>
                  <a:lnTo>
                    <a:pt x="423" y="33"/>
                  </a:lnTo>
                  <a:lnTo>
                    <a:pt x="423" y="33"/>
                  </a:lnTo>
                  <a:lnTo>
                    <a:pt x="421" y="33"/>
                  </a:lnTo>
                  <a:lnTo>
                    <a:pt x="421" y="33"/>
                  </a:lnTo>
                  <a:lnTo>
                    <a:pt x="421" y="33"/>
                  </a:lnTo>
                  <a:lnTo>
                    <a:pt x="420" y="33"/>
                  </a:lnTo>
                  <a:lnTo>
                    <a:pt x="420" y="31"/>
                  </a:lnTo>
                  <a:lnTo>
                    <a:pt x="420" y="31"/>
                  </a:lnTo>
                  <a:lnTo>
                    <a:pt x="420" y="31"/>
                  </a:lnTo>
                  <a:lnTo>
                    <a:pt x="418" y="31"/>
                  </a:lnTo>
                  <a:lnTo>
                    <a:pt x="418" y="31"/>
                  </a:lnTo>
                  <a:lnTo>
                    <a:pt x="412" y="31"/>
                  </a:lnTo>
                  <a:lnTo>
                    <a:pt x="408" y="31"/>
                  </a:lnTo>
                  <a:lnTo>
                    <a:pt x="404" y="33"/>
                  </a:lnTo>
                  <a:lnTo>
                    <a:pt x="395" y="40"/>
                  </a:lnTo>
                  <a:lnTo>
                    <a:pt x="393" y="42"/>
                  </a:lnTo>
                  <a:lnTo>
                    <a:pt x="387" y="42"/>
                  </a:lnTo>
                  <a:lnTo>
                    <a:pt x="385" y="42"/>
                  </a:lnTo>
                  <a:lnTo>
                    <a:pt x="383" y="44"/>
                  </a:lnTo>
                  <a:lnTo>
                    <a:pt x="381" y="48"/>
                  </a:lnTo>
                  <a:lnTo>
                    <a:pt x="381" y="50"/>
                  </a:lnTo>
                  <a:lnTo>
                    <a:pt x="381" y="50"/>
                  </a:lnTo>
                  <a:lnTo>
                    <a:pt x="381" y="52"/>
                  </a:lnTo>
                  <a:lnTo>
                    <a:pt x="381" y="52"/>
                  </a:lnTo>
                  <a:lnTo>
                    <a:pt x="381" y="52"/>
                  </a:lnTo>
                  <a:lnTo>
                    <a:pt x="381" y="54"/>
                  </a:lnTo>
                  <a:lnTo>
                    <a:pt x="381" y="54"/>
                  </a:lnTo>
                  <a:lnTo>
                    <a:pt x="381" y="54"/>
                  </a:lnTo>
                  <a:lnTo>
                    <a:pt x="381" y="56"/>
                  </a:lnTo>
                  <a:lnTo>
                    <a:pt x="380" y="56"/>
                  </a:lnTo>
                  <a:lnTo>
                    <a:pt x="380" y="58"/>
                  </a:lnTo>
                  <a:lnTo>
                    <a:pt x="378" y="61"/>
                  </a:lnTo>
                  <a:lnTo>
                    <a:pt x="376" y="61"/>
                  </a:lnTo>
                  <a:lnTo>
                    <a:pt x="376" y="63"/>
                  </a:lnTo>
                  <a:lnTo>
                    <a:pt x="372" y="65"/>
                  </a:lnTo>
                  <a:lnTo>
                    <a:pt x="370" y="67"/>
                  </a:lnTo>
                  <a:lnTo>
                    <a:pt x="368" y="67"/>
                  </a:lnTo>
                  <a:lnTo>
                    <a:pt x="368" y="69"/>
                  </a:lnTo>
                  <a:lnTo>
                    <a:pt x="368" y="69"/>
                  </a:lnTo>
                  <a:lnTo>
                    <a:pt x="368" y="71"/>
                  </a:lnTo>
                  <a:lnTo>
                    <a:pt x="370" y="73"/>
                  </a:lnTo>
                  <a:lnTo>
                    <a:pt x="370" y="77"/>
                  </a:lnTo>
                  <a:lnTo>
                    <a:pt x="370" y="78"/>
                  </a:lnTo>
                  <a:lnTo>
                    <a:pt x="368" y="80"/>
                  </a:lnTo>
                  <a:lnTo>
                    <a:pt x="368" y="82"/>
                  </a:lnTo>
                  <a:lnTo>
                    <a:pt x="366" y="82"/>
                  </a:lnTo>
                  <a:lnTo>
                    <a:pt x="360" y="82"/>
                  </a:lnTo>
                  <a:lnTo>
                    <a:pt x="359" y="82"/>
                  </a:lnTo>
                  <a:lnTo>
                    <a:pt x="355" y="84"/>
                  </a:lnTo>
                  <a:lnTo>
                    <a:pt x="355" y="86"/>
                  </a:lnTo>
                  <a:lnTo>
                    <a:pt x="353" y="88"/>
                  </a:lnTo>
                  <a:lnTo>
                    <a:pt x="351" y="90"/>
                  </a:lnTo>
                  <a:lnTo>
                    <a:pt x="349" y="92"/>
                  </a:lnTo>
                  <a:lnTo>
                    <a:pt x="347" y="92"/>
                  </a:lnTo>
                  <a:lnTo>
                    <a:pt x="345" y="94"/>
                  </a:lnTo>
                  <a:lnTo>
                    <a:pt x="340" y="94"/>
                  </a:lnTo>
                  <a:lnTo>
                    <a:pt x="336" y="96"/>
                  </a:lnTo>
                  <a:lnTo>
                    <a:pt x="326" y="94"/>
                  </a:lnTo>
                  <a:lnTo>
                    <a:pt x="324" y="94"/>
                  </a:lnTo>
                  <a:lnTo>
                    <a:pt x="322" y="92"/>
                  </a:lnTo>
                  <a:lnTo>
                    <a:pt x="320" y="86"/>
                  </a:lnTo>
                  <a:lnTo>
                    <a:pt x="319" y="86"/>
                  </a:lnTo>
                  <a:lnTo>
                    <a:pt x="319" y="86"/>
                  </a:lnTo>
                  <a:lnTo>
                    <a:pt x="319" y="86"/>
                  </a:lnTo>
                  <a:lnTo>
                    <a:pt x="319" y="86"/>
                  </a:lnTo>
                  <a:lnTo>
                    <a:pt x="319" y="86"/>
                  </a:lnTo>
                  <a:lnTo>
                    <a:pt x="320" y="84"/>
                  </a:lnTo>
                  <a:lnTo>
                    <a:pt x="320" y="84"/>
                  </a:lnTo>
                  <a:lnTo>
                    <a:pt x="320" y="84"/>
                  </a:lnTo>
                  <a:lnTo>
                    <a:pt x="322" y="84"/>
                  </a:lnTo>
                  <a:lnTo>
                    <a:pt x="322" y="84"/>
                  </a:lnTo>
                  <a:lnTo>
                    <a:pt x="322" y="82"/>
                  </a:lnTo>
                  <a:lnTo>
                    <a:pt x="322" y="78"/>
                  </a:lnTo>
                  <a:lnTo>
                    <a:pt x="322" y="75"/>
                  </a:lnTo>
                  <a:lnTo>
                    <a:pt x="320" y="69"/>
                  </a:lnTo>
                  <a:lnTo>
                    <a:pt x="319" y="67"/>
                  </a:lnTo>
                  <a:lnTo>
                    <a:pt x="317" y="65"/>
                  </a:lnTo>
                  <a:lnTo>
                    <a:pt x="317" y="65"/>
                  </a:lnTo>
                  <a:lnTo>
                    <a:pt x="315" y="65"/>
                  </a:lnTo>
                  <a:lnTo>
                    <a:pt x="315" y="65"/>
                  </a:lnTo>
                  <a:lnTo>
                    <a:pt x="313" y="65"/>
                  </a:lnTo>
                  <a:lnTo>
                    <a:pt x="309" y="65"/>
                  </a:lnTo>
                  <a:lnTo>
                    <a:pt x="305" y="63"/>
                  </a:lnTo>
                  <a:lnTo>
                    <a:pt x="303" y="63"/>
                  </a:lnTo>
                  <a:lnTo>
                    <a:pt x="301" y="63"/>
                  </a:lnTo>
                  <a:lnTo>
                    <a:pt x="298" y="63"/>
                  </a:lnTo>
                  <a:lnTo>
                    <a:pt x="292" y="65"/>
                  </a:lnTo>
                  <a:lnTo>
                    <a:pt x="282" y="65"/>
                  </a:lnTo>
                  <a:lnTo>
                    <a:pt x="279" y="65"/>
                  </a:lnTo>
                  <a:lnTo>
                    <a:pt x="275" y="63"/>
                  </a:lnTo>
                  <a:lnTo>
                    <a:pt x="273" y="63"/>
                  </a:lnTo>
                  <a:lnTo>
                    <a:pt x="273" y="65"/>
                  </a:lnTo>
                  <a:lnTo>
                    <a:pt x="269" y="65"/>
                  </a:lnTo>
                  <a:lnTo>
                    <a:pt x="267" y="65"/>
                  </a:lnTo>
                  <a:lnTo>
                    <a:pt x="265" y="65"/>
                  </a:lnTo>
                  <a:lnTo>
                    <a:pt x="261" y="65"/>
                  </a:lnTo>
                  <a:lnTo>
                    <a:pt x="252" y="65"/>
                  </a:lnTo>
                  <a:lnTo>
                    <a:pt x="252" y="65"/>
                  </a:lnTo>
                  <a:lnTo>
                    <a:pt x="250" y="65"/>
                  </a:lnTo>
                  <a:lnTo>
                    <a:pt x="250" y="63"/>
                  </a:lnTo>
                  <a:lnTo>
                    <a:pt x="246" y="65"/>
                  </a:lnTo>
                  <a:lnTo>
                    <a:pt x="237" y="63"/>
                  </a:lnTo>
                  <a:lnTo>
                    <a:pt x="231" y="59"/>
                  </a:lnTo>
                  <a:lnTo>
                    <a:pt x="231" y="59"/>
                  </a:lnTo>
                  <a:lnTo>
                    <a:pt x="229" y="59"/>
                  </a:lnTo>
                  <a:lnTo>
                    <a:pt x="229" y="58"/>
                  </a:lnTo>
                  <a:lnTo>
                    <a:pt x="227" y="58"/>
                  </a:lnTo>
                  <a:lnTo>
                    <a:pt x="227" y="54"/>
                  </a:lnTo>
                  <a:lnTo>
                    <a:pt x="223" y="50"/>
                  </a:lnTo>
                  <a:lnTo>
                    <a:pt x="221" y="48"/>
                  </a:lnTo>
                  <a:lnTo>
                    <a:pt x="221" y="46"/>
                  </a:lnTo>
                  <a:lnTo>
                    <a:pt x="218" y="46"/>
                  </a:lnTo>
                  <a:lnTo>
                    <a:pt x="218" y="46"/>
                  </a:lnTo>
                  <a:lnTo>
                    <a:pt x="214" y="44"/>
                  </a:lnTo>
                  <a:lnTo>
                    <a:pt x="212" y="44"/>
                  </a:lnTo>
                  <a:lnTo>
                    <a:pt x="210" y="44"/>
                  </a:lnTo>
                  <a:lnTo>
                    <a:pt x="210" y="42"/>
                  </a:lnTo>
                  <a:lnTo>
                    <a:pt x="208" y="42"/>
                  </a:lnTo>
                  <a:lnTo>
                    <a:pt x="208" y="42"/>
                  </a:lnTo>
                  <a:lnTo>
                    <a:pt x="204" y="40"/>
                  </a:lnTo>
                  <a:lnTo>
                    <a:pt x="204" y="40"/>
                  </a:lnTo>
                  <a:lnTo>
                    <a:pt x="195" y="42"/>
                  </a:lnTo>
                  <a:lnTo>
                    <a:pt x="193" y="42"/>
                  </a:lnTo>
                  <a:lnTo>
                    <a:pt x="191" y="42"/>
                  </a:lnTo>
                  <a:lnTo>
                    <a:pt x="189" y="40"/>
                  </a:lnTo>
                  <a:lnTo>
                    <a:pt x="187" y="40"/>
                  </a:lnTo>
                  <a:lnTo>
                    <a:pt x="187" y="39"/>
                  </a:lnTo>
                  <a:lnTo>
                    <a:pt x="185" y="39"/>
                  </a:lnTo>
                  <a:lnTo>
                    <a:pt x="181" y="37"/>
                  </a:lnTo>
                  <a:lnTo>
                    <a:pt x="179" y="37"/>
                  </a:lnTo>
                  <a:lnTo>
                    <a:pt x="176" y="33"/>
                  </a:lnTo>
                  <a:lnTo>
                    <a:pt x="174" y="33"/>
                  </a:lnTo>
                  <a:lnTo>
                    <a:pt x="174" y="31"/>
                  </a:lnTo>
                  <a:lnTo>
                    <a:pt x="172" y="31"/>
                  </a:lnTo>
                  <a:lnTo>
                    <a:pt x="172" y="29"/>
                  </a:lnTo>
                  <a:lnTo>
                    <a:pt x="172" y="27"/>
                  </a:lnTo>
                  <a:lnTo>
                    <a:pt x="172" y="25"/>
                  </a:lnTo>
                  <a:lnTo>
                    <a:pt x="170" y="23"/>
                  </a:lnTo>
                  <a:lnTo>
                    <a:pt x="170" y="23"/>
                  </a:lnTo>
                  <a:lnTo>
                    <a:pt x="170" y="21"/>
                  </a:lnTo>
                  <a:lnTo>
                    <a:pt x="170" y="12"/>
                  </a:lnTo>
                  <a:lnTo>
                    <a:pt x="170" y="12"/>
                  </a:lnTo>
                  <a:lnTo>
                    <a:pt x="170" y="8"/>
                  </a:lnTo>
                  <a:lnTo>
                    <a:pt x="164" y="2"/>
                  </a:lnTo>
                  <a:lnTo>
                    <a:pt x="162" y="0"/>
                  </a:lnTo>
                  <a:lnTo>
                    <a:pt x="160" y="0"/>
                  </a:lnTo>
                  <a:lnTo>
                    <a:pt x="157" y="4"/>
                  </a:lnTo>
                  <a:lnTo>
                    <a:pt x="157" y="4"/>
                  </a:lnTo>
                  <a:lnTo>
                    <a:pt x="155" y="6"/>
                  </a:lnTo>
                  <a:lnTo>
                    <a:pt x="153" y="6"/>
                  </a:lnTo>
                  <a:lnTo>
                    <a:pt x="153" y="6"/>
                  </a:lnTo>
                  <a:lnTo>
                    <a:pt x="151" y="6"/>
                  </a:lnTo>
                  <a:lnTo>
                    <a:pt x="151" y="6"/>
                  </a:lnTo>
                  <a:lnTo>
                    <a:pt x="151" y="8"/>
                  </a:lnTo>
                  <a:lnTo>
                    <a:pt x="151" y="8"/>
                  </a:lnTo>
                  <a:lnTo>
                    <a:pt x="151" y="8"/>
                  </a:lnTo>
                  <a:lnTo>
                    <a:pt x="149" y="10"/>
                  </a:lnTo>
                  <a:lnTo>
                    <a:pt x="147" y="10"/>
                  </a:lnTo>
                  <a:lnTo>
                    <a:pt x="145" y="10"/>
                  </a:lnTo>
                  <a:lnTo>
                    <a:pt x="143" y="10"/>
                  </a:lnTo>
                  <a:lnTo>
                    <a:pt x="141" y="10"/>
                  </a:lnTo>
                  <a:lnTo>
                    <a:pt x="139" y="8"/>
                  </a:lnTo>
                  <a:lnTo>
                    <a:pt x="138" y="8"/>
                  </a:lnTo>
                  <a:lnTo>
                    <a:pt x="130" y="8"/>
                  </a:lnTo>
                  <a:lnTo>
                    <a:pt x="122" y="14"/>
                  </a:lnTo>
                  <a:lnTo>
                    <a:pt x="122" y="14"/>
                  </a:lnTo>
                  <a:lnTo>
                    <a:pt x="120" y="16"/>
                  </a:lnTo>
                  <a:lnTo>
                    <a:pt x="117" y="16"/>
                  </a:lnTo>
                  <a:lnTo>
                    <a:pt x="117" y="16"/>
                  </a:lnTo>
                  <a:lnTo>
                    <a:pt x="113" y="18"/>
                  </a:lnTo>
                  <a:lnTo>
                    <a:pt x="109" y="20"/>
                  </a:lnTo>
                  <a:lnTo>
                    <a:pt x="109" y="20"/>
                  </a:lnTo>
                  <a:lnTo>
                    <a:pt x="107" y="20"/>
                  </a:lnTo>
                  <a:lnTo>
                    <a:pt x="107" y="21"/>
                  </a:lnTo>
                  <a:lnTo>
                    <a:pt x="105" y="23"/>
                  </a:lnTo>
                  <a:lnTo>
                    <a:pt x="107" y="23"/>
                  </a:lnTo>
                  <a:lnTo>
                    <a:pt x="107" y="27"/>
                  </a:lnTo>
                  <a:lnTo>
                    <a:pt x="107" y="27"/>
                  </a:lnTo>
                  <a:lnTo>
                    <a:pt x="107" y="29"/>
                  </a:lnTo>
                  <a:lnTo>
                    <a:pt x="107" y="31"/>
                  </a:lnTo>
                  <a:lnTo>
                    <a:pt x="107" y="31"/>
                  </a:lnTo>
                  <a:lnTo>
                    <a:pt x="109" y="33"/>
                  </a:lnTo>
                  <a:lnTo>
                    <a:pt x="109" y="33"/>
                  </a:lnTo>
                  <a:lnTo>
                    <a:pt x="111" y="35"/>
                  </a:lnTo>
                  <a:lnTo>
                    <a:pt x="109" y="39"/>
                  </a:lnTo>
                  <a:lnTo>
                    <a:pt x="107" y="39"/>
                  </a:lnTo>
                  <a:lnTo>
                    <a:pt x="105" y="40"/>
                  </a:lnTo>
                  <a:lnTo>
                    <a:pt x="103" y="40"/>
                  </a:lnTo>
                  <a:lnTo>
                    <a:pt x="101" y="40"/>
                  </a:lnTo>
                  <a:lnTo>
                    <a:pt x="101" y="42"/>
                  </a:lnTo>
                  <a:lnTo>
                    <a:pt x="103" y="42"/>
                  </a:lnTo>
                  <a:lnTo>
                    <a:pt x="103" y="44"/>
                  </a:lnTo>
                  <a:lnTo>
                    <a:pt x="105" y="48"/>
                  </a:lnTo>
                  <a:lnTo>
                    <a:pt x="107" y="48"/>
                  </a:lnTo>
                  <a:lnTo>
                    <a:pt x="107" y="52"/>
                  </a:lnTo>
                  <a:lnTo>
                    <a:pt x="107" y="52"/>
                  </a:lnTo>
                  <a:lnTo>
                    <a:pt x="109" y="52"/>
                  </a:lnTo>
                  <a:lnTo>
                    <a:pt x="109" y="52"/>
                  </a:lnTo>
                  <a:lnTo>
                    <a:pt x="111" y="50"/>
                  </a:lnTo>
                  <a:lnTo>
                    <a:pt x="118" y="50"/>
                  </a:lnTo>
                  <a:lnTo>
                    <a:pt x="120" y="48"/>
                  </a:lnTo>
                  <a:lnTo>
                    <a:pt x="124" y="48"/>
                  </a:lnTo>
                  <a:lnTo>
                    <a:pt x="126" y="46"/>
                  </a:lnTo>
                  <a:lnTo>
                    <a:pt x="128" y="46"/>
                  </a:lnTo>
                  <a:lnTo>
                    <a:pt x="136" y="48"/>
                  </a:lnTo>
                  <a:lnTo>
                    <a:pt x="136" y="48"/>
                  </a:lnTo>
                  <a:lnTo>
                    <a:pt x="136" y="46"/>
                  </a:lnTo>
                  <a:lnTo>
                    <a:pt x="138" y="46"/>
                  </a:lnTo>
                  <a:lnTo>
                    <a:pt x="138" y="46"/>
                  </a:lnTo>
                  <a:lnTo>
                    <a:pt x="138" y="46"/>
                  </a:lnTo>
                  <a:lnTo>
                    <a:pt x="138" y="46"/>
                  </a:lnTo>
                  <a:lnTo>
                    <a:pt x="139" y="46"/>
                  </a:lnTo>
                  <a:lnTo>
                    <a:pt x="139" y="46"/>
                  </a:lnTo>
                  <a:lnTo>
                    <a:pt x="141" y="46"/>
                  </a:lnTo>
                  <a:lnTo>
                    <a:pt x="141" y="48"/>
                  </a:lnTo>
                  <a:lnTo>
                    <a:pt x="141" y="48"/>
                  </a:lnTo>
                  <a:lnTo>
                    <a:pt x="143" y="48"/>
                  </a:lnTo>
                  <a:lnTo>
                    <a:pt x="147" y="48"/>
                  </a:lnTo>
                  <a:lnTo>
                    <a:pt x="147" y="48"/>
                  </a:lnTo>
                  <a:lnTo>
                    <a:pt x="147" y="46"/>
                  </a:lnTo>
                  <a:lnTo>
                    <a:pt x="149" y="46"/>
                  </a:lnTo>
                  <a:lnTo>
                    <a:pt x="151" y="46"/>
                  </a:lnTo>
                  <a:lnTo>
                    <a:pt x="151" y="46"/>
                  </a:lnTo>
                  <a:lnTo>
                    <a:pt x="151" y="46"/>
                  </a:lnTo>
                  <a:lnTo>
                    <a:pt x="151" y="46"/>
                  </a:lnTo>
                  <a:lnTo>
                    <a:pt x="151" y="46"/>
                  </a:lnTo>
                  <a:lnTo>
                    <a:pt x="153" y="48"/>
                  </a:lnTo>
                  <a:lnTo>
                    <a:pt x="153" y="48"/>
                  </a:lnTo>
                  <a:lnTo>
                    <a:pt x="153" y="50"/>
                  </a:lnTo>
                  <a:lnTo>
                    <a:pt x="153" y="50"/>
                  </a:lnTo>
                  <a:lnTo>
                    <a:pt x="153" y="50"/>
                  </a:lnTo>
                  <a:lnTo>
                    <a:pt x="153" y="52"/>
                  </a:lnTo>
                  <a:lnTo>
                    <a:pt x="151" y="52"/>
                  </a:lnTo>
                  <a:lnTo>
                    <a:pt x="149" y="54"/>
                  </a:lnTo>
                  <a:lnTo>
                    <a:pt x="147" y="54"/>
                  </a:lnTo>
                  <a:lnTo>
                    <a:pt x="136" y="58"/>
                  </a:lnTo>
                  <a:lnTo>
                    <a:pt x="134" y="58"/>
                  </a:lnTo>
                  <a:lnTo>
                    <a:pt x="134" y="58"/>
                  </a:lnTo>
                  <a:lnTo>
                    <a:pt x="130" y="56"/>
                  </a:lnTo>
                  <a:lnTo>
                    <a:pt x="130" y="56"/>
                  </a:lnTo>
                  <a:lnTo>
                    <a:pt x="128" y="56"/>
                  </a:lnTo>
                  <a:lnTo>
                    <a:pt x="128" y="58"/>
                  </a:lnTo>
                  <a:lnTo>
                    <a:pt x="126" y="59"/>
                  </a:lnTo>
                  <a:lnTo>
                    <a:pt x="124" y="61"/>
                  </a:lnTo>
                  <a:lnTo>
                    <a:pt x="122" y="61"/>
                  </a:lnTo>
                  <a:lnTo>
                    <a:pt x="120" y="63"/>
                  </a:lnTo>
                  <a:lnTo>
                    <a:pt x="120" y="65"/>
                  </a:lnTo>
                  <a:lnTo>
                    <a:pt x="118" y="71"/>
                  </a:lnTo>
                  <a:lnTo>
                    <a:pt x="117" y="73"/>
                  </a:lnTo>
                  <a:lnTo>
                    <a:pt x="117" y="75"/>
                  </a:lnTo>
                  <a:lnTo>
                    <a:pt x="111" y="77"/>
                  </a:lnTo>
                  <a:lnTo>
                    <a:pt x="111" y="77"/>
                  </a:lnTo>
                  <a:lnTo>
                    <a:pt x="109" y="75"/>
                  </a:lnTo>
                  <a:lnTo>
                    <a:pt x="107" y="75"/>
                  </a:lnTo>
                  <a:lnTo>
                    <a:pt x="107" y="75"/>
                  </a:lnTo>
                  <a:lnTo>
                    <a:pt x="107" y="75"/>
                  </a:lnTo>
                  <a:lnTo>
                    <a:pt x="105" y="77"/>
                  </a:lnTo>
                  <a:lnTo>
                    <a:pt x="105" y="80"/>
                  </a:lnTo>
                  <a:lnTo>
                    <a:pt x="103" y="82"/>
                  </a:lnTo>
                  <a:lnTo>
                    <a:pt x="103" y="82"/>
                  </a:lnTo>
                  <a:lnTo>
                    <a:pt x="101" y="82"/>
                  </a:lnTo>
                  <a:lnTo>
                    <a:pt x="99" y="84"/>
                  </a:lnTo>
                  <a:lnTo>
                    <a:pt x="99" y="84"/>
                  </a:lnTo>
                  <a:lnTo>
                    <a:pt x="99" y="84"/>
                  </a:lnTo>
                  <a:lnTo>
                    <a:pt x="98" y="86"/>
                  </a:lnTo>
                  <a:lnTo>
                    <a:pt x="98" y="86"/>
                  </a:lnTo>
                  <a:lnTo>
                    <a:pt x="98" y="86"/>
                  </a:lnTo>
                  <a:lnTo>
                    <a:pt x="96" y="86"/>
                  </a:lnTo>
                  <a:lnTo>
                    <a:pt x="96" y="86"/>
                  </a:lnTo>
                  <a:lnTo>
                    <a:pt x="94" y="86"/>
                  </a:lnTo>
                  <a:lnTo>
                    <a:pt x="94" y="84"/>
                  </a:lnTo>
                  <a:lnTo>
                    <a:pt x="94" y="86"/>
                  </a:lnTo>
                  <a:lnTo>
                    <a:pt x="92" y="86"/>
                  </a:lnTo>
                  <a:lnTo>
                    <a:pt x="92" y="86"/>
                  </a:lnTo>
                  <a:lnTo>
                    <a:pt x="92" y="86"/>
                  </a:lnTo>
                  <a:lnTo>
                    <a:pt x="86" y="82"/>
                  </a:lnTo>
                  <a:lnTo>
                    <a:pt x="84" y="82"/>
                  </a:lnTo>
                  <a:lnTo>
                    <a:pt x="84" y="82"/>
                  </a:lnTo>
                  <a:lnTo>
                    <a:pt x="84" y="82"/>
                  </a:lnTo>
                  <a:lnTo>
                    <a:pt x="84" y="84"/>
                  </a:lnTo>
                  <a:lnTo>
                    <a:pt x="84" y="84"/>
                  </a:lnTo>
                  <a:lnTo>
                    <a:pt x="84" y="84"/>
                  </a:lnTo>
                  <a:lnTo>
                    <a:pt x="88" y="88"/>
                  </a:lnTo>
                  <a:lnTo>
                    <a:pt x="92" y="90"/>
                  </a:lnTo>
                  <a:lnTo>
                    <a:pt x="94" y="90"/>
                  </a:lnTo>
                  <a:lnTo>
                    <a:pt x="94" y="90"/>
                  </a:lnTo>
                  <a:lnTo>
                    <a:pt x="96" y="90"/>
                  </a:lnTo>
                  <a:lnTo>
                    <a:pt x="96" y="90"/>
                  </a:lnTo>
                  <a:lnTo>
                    <a:pt x="98" y="90"/>
                  </a:lnTo>
                  <a:lnTo>
                    <a:pt x="98" y="90"/>
                  </a:lnTo>
                  <a:lnTo>
                    <a:pt x="99" y="92"/>
                  </a:lnTo>
                  <a:lnTo>
                    <a:pt x="99" y="92"/>
                  </a:lnTo>
                  <a:lnTo>
                    <a:pt x="99" y="94"/>
                  </a:lnTo>
                  <a:lnTo>
                    <a:pt x="101" y="96"/>
                  </a:lnTo>
                  <a:lnTo>
                    <a:pt x="103" y="96"/>
                  </a:lnTo>
                  <a:lnTo>
                    <a:pt x="105" y="96"/>
                  </a:lnTo>
                  <a:lnTo>
                    <a:pt x="107" y="97"/>
                  </a:lnTo>
                  <a:lnTo>
                    <a:pt x="107" y="99"/>
                  </a:lnTo>
                  <a:lnTo>
                    <a:pt x="109" y="101"/>
                  </a:lnTo>
                  <a:lnTo>
                    <a:pt x="111" y="103"/>
                  </a:lnTo>
                  <a:lnTo>
                    <a:pt x="113" y="103"/>
                  </a:lnTo>
                  <a:lnTo>
                    <a:pt x="113" y="105"/>
                  </a:lnTo>
                  <a:lnTo>
                    <a:pt x="113" y="105"/>
                  </a:lnTo>
                  <a:lnTo>
                    <a:pt x="115" y="109"/>
                  </a:lnTo>
                  <a:lnTo>
                    <a:pt x="115" y="111"/>
                  </a:lnTo>
                  <a:lnTo>
                    <a:pt x="117" y="113"/>
                  </a:lnTo>
                  <a:lnTo>
                    <a:pt x="117" y="120"/>
                  </a:lnTo>
                  <a:lnTo>
                    <a:pt x="117" y="122"/>
                  </a:lnTo>
                  <a:lnTo>
                    <a:pt x="117" y="124"/>
                  </a:lnTo>
                  <a:lnTo>
                    <a:pt x="117" y="126"/>
                  </a:lnTo>
                  <a:lnTo>
                    <a:pt x="115" y="126"/>
                  </a:lnTo>
                  <a:lnTo>
                    <a:pt x="115" y="128"/>
                  </a:lnTo>
                  <a:lnTo>
                    <a:pt x="111" y="132"/>
                  </a:lnTo>
                  <a:lnTo>
                    <a:pt x="107" y="134"/>
                  </a:lnTo>
                  <a:lnTo>
                    <a:pt x="107" y="136"/>
                  </a:lnTo>
                  <a:lnTo>
                    <a:pt x="107" y="137"/>
                  </a:lnTo>
                  <a:lnTo>
                    <a:pt x="107" y="137"/>
                  </a:lnTo>
                  <a:lnTo>
                    <a:pt x="107" y="139"/>
                  </a:lnTo>
                  <a:lnTo>
                    <a:pt x="107" y="139"/>
                  </a:lnTo>
                  <a:lnTo>
                    <a:pt x="105" y="141"/>
                  </a:lnTo>
                  <a:lnTo>
                    <a:pt x="105" y="141"/>
                  </a:lnTo>
                  <a:lnTo>
                    <a:pt x="103" y="143"/>
                  </a:lnTo>
                  <a:lnTo>
                    <a:pt x="101" y="143"/>
                  </a:lnTo>
                  <a:lnTo>
                    <a:pt x="98" y="145"/>
                  </a:lnTo>
                  <a:lnTo>
                    <a:pt x="98" y="145"/>
                  </a:lnTo>
                  <a:lnTo>
                    <a:pt x="92" y="145"/>
                  </a:lnTo>
                  <a:lnTo>
                    <a:pt x="92" y="145"/>
                  </a:lnTo>
                  <a:lnTo>
                    <a:pt x="90" y="145"/>
                  </a:lnTo>
                  <a:lnTo>
                    <a:pt x="90" y="145"/>
                  </a:lnTo>
                  <a:lnTo>
                    <a:pt x="88" y="141"/>
                  </a:lnTo>
                  <a:lnTo>
                    <a:pt x="86" y="139"/>
                  </a:lnTo>
                  <a:lnTo>
                    <a:pt x="86" y="139"/>
                  </a:lnTo>
                  <a:lnTo>
                    <a:pt x="82" y="137"/>
                  </a:lnTo>
                  <a:lnTo>
                    <a:pt x="78" y="136"/>
                  </a:lnTo>
                  <a:lnTo>
                    <a:pt x="78" y="136"/>
                  </a:lnTo>
                  <a:lnTo>
                    <a:pt x="78" y="136"/>
                  </a:lnTo>
                  <a:lnTo>
                    <a:pt x="77" y="134"/>
                  </a:lnTo>
                  <a:lnTo>
                    <a:pt x="77" y="134"/>
                  </a:lnTo>
                  <a:lnTo>
                    <a:pt x="75" y="132"/>
                  </a:lnTo>
                  <a:lnTo>
                    <a:pt x="75" y="130"/>
                  </a:lnTo>
                  <a:lnTo>
                    <a:pt x="75" y="130"/>
                  </a:lnTo>
                  <a:lnTo>
                    <a:pt x="75" y="130"/>
                  </a:lnTo>
                  <a:lnTo>
                    <a:pt x="73" y="130"/>
                  </a:lnTo>
                  <a:lnTo>
                    <a:pt x="73" y="130"/>
                  </a:lnTo>
                  <a:lnTo>
                    <a:pt x="73" y="130"/>
                  </a:lnTo>
                  <a:lnTo>
                    <a:pt x="71" y="134"/>
                  </a:lnTo>
                  <a:lnTo>
                    <a:pt x="71" y="136"/>
                  </a:lnTo>
                  <a:lnTo>
                    <a:pt x="67" y="136"/>
                  </a:lnTo>
                  <a:lnTo>
                    <a:pt x="67" y="136"/>
                  </a:lnTo>
                  <a:lnTo>
                    <a:pt x="67" y="137"/>
                  </a:lnTo>
                  <a:lnTo>
                    <a:pt x="67" y="137"/>
                  </a:lnTo>
                  <a:lnTo>
                    <a:pt x="67" y="137"/>
                  </a:lnTo>
                  <a:lnTo>
                    <a:pt x="67" y="137"/>
                  </a:lnTo>
                  <a:lnTo>
                    <a:pt x="69" y="137"/>
                  </a:lnTo>
                  <a:lnTo>
                    <a:pt x="69" y="137"/>
                  </a:lnTo>
                  <a:lnTo>
                    <a:pt x="69" y="137"/>
                  </a:lnTo>
                  <a:lnTo>
                    <a:pt x="71" y="139"/>
                  </a:lnTo>
                  <a:lnTo>
                    <a:pt x="71" y="139"/>
                  </a:lnTo>
                  <a:lnTo>
                    <a:pt x="71" y="141"/>
                  </a:lnTo>
                  <a:lnTo>
                    <a:pt x="71" y="141"/>
                  </a:lnTo>
                  <a:lnTo>
                    <a:pt x="71" y="143"/>
                  </a:lnTo>
                  <a:lnTo>
                    <a:pt x="71" y="143"/>
                  </a:lnTo>
                  <a:lnTo>
                    <a:pt x="73" y="143"/>
                  </a:lnTo>
                  <a:lnTo>
                    <a:pt x="73" y="143"/>
                  </a:lnTo>
                  <a:lnTo>
                    <a:pt x="73" y="143"/>
                  </a:lnTo>
                  <a:lnTo>
                    <a:pt x="75" y="143"/>
                  </a:lnTo>
                  <a:lnTo>
                    <a:pt x="75" y="143"/>
                  </a:lnTo>
                  <a:lnTo>
                    <a:pt x="75" y="145"/>
                  </a:lnTo>
                  <a:lnTo>
                    <a:pt x="75" y="147"/>
                  </a:lnTo>
                  <a:lnTo>
                    <a:pt x="75" y="149"/>
                  </a:lnTo>
                  <a:lnTo>
                    <a:pt x="73" y="153"/>
                  </a:lnTo>
                  <a:lnTo>
                    <a:pt x="69" y="160"/>
                  </a:lnTo>
                  <a:lnTo>
                    <a:pt x="67" y="162"/>
                  </a:lnTo>
                  <a:lnTo>
                    <a:pt x="65" y="164"/>
                  </a:lnTo>
                  <a:lnTo>
                    <a:pt x="67" y="164"/>
                  </a:lnTo>
                  <a:lnTo>
                    <a:pt x="67" y="166"/>
                  </a:lnTo>
                  <a:lnTo>
                    <a:pt x="67" y="166"/>
                  </a:lnTo>
                  <a:lnTo>
                    <a:pt x="67" y="166"/>
                  </a:lnTo>
                  <a:lnTo>
                    <a:pt x="67" y="166"/>
                  </a:lnTo>
                  <a:lnTo>
                    <a:pt x="69" y="168"/>
                  </a:lnTo>
                  <a:lnTo>
                    <a:pt x="69" y="168"/>
                  </a:lnTo>
                  <a:lnTo>
                    <a:pt x="69" y="170"/>
                  </a:lnTo>
                  <a:lnTo>
                    <a:pt x="69" y="174"/>
                  </a:lnTo>
                  <a:lnTo>
                    <a:pt x="69" y="175"/>
                  </a:lnTo>
                  <a:lnTo>
                    <a:pt x="69" y="177"/>
                  </a:lnTo>
                  <a:lnTo>
                    <a:pt x="67" y="177"/>
                  </a:lnTo>
                  <a:lnTo>
                    <a:pt x="67" y="179"/>
                  </a:lnTo>
                  <a:lnTo>
                    <a:pt x="67" y="179"/>
                  </a:lnTo>
                  <a:lnTo>
                    <a:pt x="69" y="181"/>
                  </a:lnTo>
                  <a:lnTo>
                    <a:pt x="67" y="183"/>
                  </a:lnTo>
                  <a:lnTo>
                    <a:pt x="67" y="183"/>
                  </a:lnTo>
                  <a:lnTo>
                    <a:pt x="67" y="183"/>
                  </a:lnTo>
                  <a:lnTo>
                    <a:pt x="65" y="183"/>
                  </a:lnTo>
                  <a:lnTo>
                    <a:pt x="63" y="183"/>
                  </a:lnTo>
                  <a:lnTo>
                    <a:pt x="57" y="181"/>
                  </a:lnTo>
                  <a:lnTo>
                    <a:pt x="57" y="181"/>
                  </a:lnTo>
                  <a:lnTo>
                    <a:pt x="56" y="183"/>
                  </a:lnTo>
                  <a:lnTo>
                    <a:pt x="56" y="183"/>
                  </a:lnTo>
                  <a:lnTo>
                    <a:pt x="56" y="185"/>
                  </a:lnTo>
                  <a:lnTo>
                    <a:pt x="56" y="185"/>
                  </a:lnTo>
                  <a:lnTo>
                    <a:pt x="56" y="185"/>
                  </a:lnTo>
                  <a:lnTo>
                    <a:pt x="56" y="187"/>
                  </a:lnTo>
                  <a:lnTo>
                    <a:pt x="56" y="187"/>
                  </a:lnTo>
                  <a:lnTo>
                    <a:pt x="54" y="187"/>
                  </a:lnTo>
                  <a:lnTo>
                    <a:pt x="54" y="189"/>
                  </a:lnTo>
                  <a:lnTo>
                    <a:pt x="52" y="189"/>
                  </a:lnTo>
                  <a:lnTo>
                    <a:pt x="52" y="189"/>
                  </a:lnTo>
                  <a:lnTo>
                    <a:pt x="50" y="189"/>
                  </a:lnTo>
                  <a:lnTo>
                    <a:pt x="48" y="189"/>
                  </a:lnTo>
                  <a:lnTo>
                    <a:pt x="48" y="193"/>
                  </a:lnTo>
                  <a:lnTo>
                    <a:pt x="48" y="194"/>
                  </a:lnTo>
                  <a:lnTo>
                    <a:pt x="48" y="196"/>
                  </a:lnTo>
                  <a:lnTo>
                    <a:pt x="46" y="196"/>
                  </a:lnTo>
                  <a:lnTo>
                    <a:pt x="46" y="198"/>
                  </a:lnTo>
                  <a:lnTo>
                    <a:pt x="46" y="198"/>
                  </a:lnTo>
                  <a:lnTo>
                    <a:pt x="46" y="198"/>
                  </a:lnTo>
                  <a:lnTo>
                    <a:pt x="44" y="196"/>
                  </a:lnTo>
                  <a:lnTo>
                    <a:pt x="44" y="196"/>
                  </a:lnTo>
                  <a:lnTo>
                    <a:pt x="42" y="194"/>
                  </a:lnTo>
                  <a:lnTo>
                    <a:pt x="42" y="194"/>
                  </a:lnTo>
                  <a:lnTo>
                    <a:pt x="40" y="194"/>
                  </a:lnTo>
                  <a:lnTo>
                    <a:pt x="40" y="194"/>
                  </a:lnTo>
                  <a:lnTo>
                    <a:pt x="38" y="196"/>
                  </a:lnTo>
                  <a:lnTo>
                    <a:pt x="38" y="196"/>
                  </a:lnTo>
                  <a:lnTo>
                    <a:pt x="38" y="196"/>
                  </a:lnTo>
                  <a:lnTo>
                    <a:pt x="38" y="196"/>
                  </a:lnTo>
                  <a:lnTo>
                    <a:pt x="37" y="196"/>
                  </a:lnTo>
                  <a:lnTo>
                    <a:pt x="37" y="194"/>
                  </a:lnTo>
                  <a:lnTo>
                    <a:pt x="37" y="194"/>
                  </a:lnTo>
                  <a:lnTo>
                    <a:pt x="35" y="194"/>
                  </a:lnTo>
                  <a:lnTo>
                    <a:pt x="35" y="196"/>
                  </a:lnTo>
                  <a:lnTo>
                    <a:pt x="33" y="196"/>
                  </a:lnTo>
                  <a:lnTo>
                    <a:pt x="33" y="196"/>
                  </a:lnTo>
                  <a:lnTo>
                    <a:pt x="33" y="196"/>
                  </a:lnTo>
                  <a:lnTo>
                    <a:pt x="31" y="196"/>
                  </a:lnTo>
                  <a:lnTo>
                    <a:pt x="31" y="194"/>
                  </a:lnTo>
                  <a:lnTo>
                    <a:pt x="29" y="193"/>
                  </a:lnTo>
                  <a:lnTo>
                    <a:pt x="27" y="189"/>
                  </a:lnTo>
                  <a:lnTo>
                    <a:pt x="23" y="191"/>
                  </a:lnTo>
                  <a:lnTo>
                    <a:pt x="21" y="191"/>
                  </a:lnTo>
                  <a:lnTo>
                    <a:pt x="19" y="191"/>
                  </a:lnTo>
                  <a:lnTo>
                    <a:pt x="17" y="191"/>
                  </a:lnTo>
                  <a:lnTo>
                    <a:pt x="16" y="191"/>
                  </a:lnTo>
                  <a:lnTo>
                    <a:pt x="16" y="191"/>
                  </a:lnTo>
                  <a:lnTo>
                    <a:pt x="16" y="191"/>
                  </a:lnTo>
                  <a:lnTo>
                    <a:pt x="16" y="191"/>
                  </a:lnTo>
                  <a:lnTo>
                    <a:pt x="12" y="191"/>
                  </a:lnTo>
                  <a:lnTo>
                    <a:pt x="12" y="191"/>
                  </a:lnTo>
                  <a:lnTo>
                    <a:pt x="12" y="191"/>
                  </a:lnTo>
                  <a:lnTo>
                    <a:pt x="10" y="191"/>
                  </a:lnTo>
                  <a:lnTo>
                    <a:pt x="10" y="193"/>
                  </a:lnTo>
                  <a:lnTo>
                    <a:pt x="8" y="193"/>
                  </a:lnTo>
                  <a:lnTo>
                    <a:pt x="6" y="193"/>
                  </a:lnTo>
                  <a:lnTo>
                    <a:pt x="6" y="194"/>
                  </a:lnTo>
                  <a:lnTo>
                    <a:pt x="6" y="200"/>
                  </a:lnTo>
                  <a:lnTo>
                    <a:pt x="6" y="200"/>
                  </a:lnTo>
                  <a:lnTo>
                    <a:pt x="4" y="202"/>
                  </a:lnTo>
                  <a:lnTo>
                    <a:pt x="4" y="204"/>
                  </a:lnTo>
                  <a:lnTo>
                    <a:pt x="2" y="204"/>
                  </a:lnTo>
                  <a:lnTo>
                    <a:pt x="2" y="206"/>
                  </a:lnTo>
                  <a:lnTo>
                    <a:pt x="2" y="206"/>
                  </a:lnTo>
                  <a:lnTo>
                    <a:pt x="2" y="208"/>
                  </a:lnTo>
                  <a:lnTo>
                    <a:pt x="2" y="212"/>
                  </a:lnTo>
                  <a:lnTo>
                    <a:pt x="0" y="213"/>
                  </a:lnTo>
                  <a:lnTo>
                    <a:pt x="0" y="215"/>
                  </a:lnTo>
                  <a:lnTo>
                    <a:pt x="0" y="215"/>
                  </a:lnTo>
                  <a:lnTo>
                    <a:pt x="2" y="219"/>
                  </a:lnTo>
                  <a:lnTo>
                    <a:pt x="2" y="219"/>
                  </a:lnTo>
                  <a:lnTo>
                    <a:pt x="2" y="223"/>
                  </a:lnTo>
                  <a:lnTo>
                    <a:pt x="2" y="225"/>
                  </a:lnTo>
                  <a:lnTo>
                    <a:pt x="4" y="225"/>
                  </a:lnTo>
                  <a:lnTo>
                    <a:pt x="8" y="221"/>
                  </a:lnTo>
                  <a:lnTo>
                    <a:pt x="8" y="223"/>
                  </a:lnTo>
                  <a:lnTo>
                    <a:pt x="8" y="223"/>
                  </a:lnTo>
                  <a:lnTo>
                    <a:pt x="8" y="223"/>
                  </a:lnTo>
                  <a:lnTo>
                    <a:pt x="8" y="225"/>
                  </a:lnTo>
                  <a:lnTo>
                    <a:pt x="8" y="225"/>
                  </a:lnTo>
                  <a:lnTo>
                    <a:pt x="6" y="225"/>
                  </a:lnTo>
                  <a:lnTo>
                    <a:pt x="6" y="225"/>
                  </a:lnTo>
                  <a:lnTo>
                    <a:pt x="6" y="227"/>
                  </a:lnTo>
                  <a:lnTo>
                    <a:pt x="8" y="229"/>
                  </a:lnTo>
                  <a:lnTo>
                    <a:pt x="8" y="229"/>
                  </a:lnTo>
                  <a:lnTo>
                    <a:pt x="6" y="231"/>
                  </a:lnTo>
                  <a:lnTo>
                    <a:pt x="6" y="229"/>
                  </a:lnTo>
                  <a:lnTo>
                    <a:pt x="4" y="229"/>
                  </a:lnTo>
                  <a:lnTo>
                    <a:pt x="4" y="229"/>
                  </a:lnTo>
                  <a:lnTo>
                    <a:pt x="4" y="227"/>
                  </a:lnTo>
                  <a:lnTo>
                    <a:pt x="6" y="234"/>
                  </a:lnTo>
                  <a:lnTo>
                    <a:pt x="6" y="238"/>
                  </a:lnTo>
                  <a:lnTo>
                    <a:pt x="6" y="240"/>
                  </a:lnTo>
                  <a:lnTo>
                    <a:pt x="6" y="246"/>
                  </a:lnTo>
                  <a:lnTo>
                    <a:pt x="8" y="248"/>
                  </a:lnTo>
                  <a:lnTo>
                    <a:pt x="10" y="248"/>
                  </a:lnTo>
                  <a:lnTo>
                    <a:pt x="10" y="248"/>
                  </a:lnTo>
                  <a:lnTo>
                    <a:pt x="10" y="248"/>
                  </a:lnTo>
                  <a:lnTo>
                    <a:pt x="10" y="246"/>
                  </a:lnTo>
                  <a:lnTo>
                    <a:pt x="8" y="246"/>
                  </a:lnTo>
                  <a:lnTo>
                    <a:pt x="8" y="244"/>
                  </a:lnTo>
                  <a:lnTo>
                    <a:pt x="8" y="244"/>
                  </a:lnTo>
                  <a:lnTo>
                    <a:pt x="8" y="242"/>
                  </a:lnTo>
                  <a:lnTo>
                    <a:pt x="8" y="242"/>
                  </a:lnTo>
                  <a:lnTo>
                    <a:pt x="8" y="242"/>
                  </a:lnTo>
                  <a:lnTo>
                    <a:pt x="10" y="242"/>
                  </a:lnTo>
                  <a:lnTo>
                    <a:pt x="12" y="244"/>
                  </a:lnTo>
                  <a:lnTo>
                    <a:pt x="12" y="244"/>
                  </a:lnTo>
                  <a:lnTo>
                    <a:pt x="12" y="246"/>
                  </a:lnTo>
                  <a:lnTo>
                    <a:pt x="12" y="246"/>
                  </a:lnTo>
                  <a:lnTo>
                    <a:pt x="14" y="246"/>
                  </a:lnTo>
                  <a:lnTo>
                    <a:pt x="14" y="248"/>
                  </a:lnTo>
                  <a:lnTo>
                    <a:pt x="16" y="246"/>
                  </a:lnTo>
                  <a:lnTo>
                    <a:pt x="17" y="246"/>
                  </a:lnTo>
                  <a:lnTo>
                    <a:pt x="19" y="246"/>
                  </a:lnTo>
                  <a:lnTo>
                    <a:pt x="21" y="246"/>
                  </a:lnTo>
                  <a:lnTo>
                    <a:pt x="12" y="250"/>
                  </a:lnTo>
                  <a:lnTo>
                    <a:pt x="10" y="252"/>
                  </a:lnTo>
                  <a:lnTo>
                    <a:pt x="10" y="253"/>
                  </a:lnTo>
                  <a:lnTo>
                    <a:pt x="10" y="255"/>
                  </a:lnTo>
                  <a:lnTo>
                    <a:pt x="10" y="261"/>
                  </a:lnTo>
                  <a:lnTo>
                    <a:pt x="10" y="261"/>
                  </a:lnTo>
                  <a:lnTo>
                    <a:pt x="14" y="265"/>
                  </a:lnTo>
                  <a:lnTo>
                    <a:pt x="14" y="267"/>
                  </a:lnTo>
                  <a:lnTo>
                    <a:pt x="16" y="267"/>
                  </a:lnTo>
                  <a:lnTo>
                    <a:pt x="17" y="265"/>
                  </a:lnTo>
                  <a:lnTo>
                    <a:pt x="19" y="265"/>
                  </a:lnTo>
                  <a:lnTo>
                    <a:pt x="21" y="267"/>
                  </a:lnTo>
                  <a:lnTo>
                    <a:pt x="23" y="269"/>
                  </a:lnTo>
                  <a:lnTo>
                    <a:pt x="25" y="269"/>
                  </a:lnTo>
                  <a:lnTo>
                    <a:pt x="31" y="269"/>
                  </a:lnTo>
                  <a:lnTo>
                    <a:pt x="31" y="269"/>
                  </a:lnTo>
                  <a:lnTo>
                    <a:pt x="33" y="271"/>
                  </a:lnTo>
                  <a:lnTo>
                    <a:pt x="35" y="272"/>
                  </a:lnTo>
                  <a:lnTo>
                    <a:pt x="35" y="272"/>
                  </a:lnTo>
                  <a:lnTo>
                    <a:pt x="35" y="272"/>
                  </a:lnTo>
                  <a:lnTo>
                    <a:pt x="35" y="274"/>
                  </a:lnTo>
                  <a:lnTo>
                    <a:pt x="35" y="276"/>
                  </a:lnTo>
                  <a:lnTo>
                    <a:pt x="37" y="276"/>
                  </a:lnTo>
                  <a:lnTo>
                    <a:pt x="35" y="278"/>
                  </a:lnTo>
                  <a:lnTo>
                    <a:pt x="33" y="276"/>
                  </a:lnTo>
                  <a:lnTo>
                    <a:pt x="31" y="271"/>
                  </a:lnTo>
                  <a:lnTo>
                    <a:pt x="31" y="271"/>
                  </a:lnTo>
                  <a:lnTo>
                    <a:pt x="29" y="269"/>
                  </a:lnTo>
                  <a:lnTo>
                    <a:pt x="27" y="271"/>
                  </a:lnTo>
                  <a:lnTo>
                    <a:pt x="27" y="271"/>
                  </a:lnTo>
                  <a:lnTo>
                    <a:pt x="23" y="271"/>
                  </a:lnTo>
                  <a:lnTo>
                    <a:pt x="21" y="269"/>
                  </a:lnTo>
                  <a:lnTo>
                    <a:pt x="19" y="267"/>
                  </a:lnTo>
                  <a:lnTo>
                    <a:pt x="17" y="267"/>
                  </a:lnTo>
                  <a:lnTo>
                    <a:pt x="14" y="267"/>
                  </a:lnTo>
                  <a:lnTo>
                    <a:pt x="12" y="269"/>
                  </a:lnTo>
                  <a:lnTo>
                    <a:pt x="12" y="272"/>
                  </a:lnTo>
                  <a:lnTo>
                    <a:pt x="12" y="278"/>
                  </a:lnTo>
                  <a:lnTo>
                    <a:pt x="14" y="276"/>
                  </a:lnTo>
                  <a:lnTo>
                    <a:pt x="14" y="274"/>
                  </a:lnTo>
                  <a:lnTo>
                    <a:pt x="16" y="274"/>
                  </a:lnTo>
                  <a:lnTo>
                    <a:pt x="17" y="274"/>
                  </a:lnTo>
                  <a:lnTo>
                    <a:pt x="16" y="274"/>
                  </a:lnTo>
                  <a:lnTo>
                    <a:pt x="14" y="278"/>
                  </a:lnTo>
                  <a:lnTo>
                    <a:pt x="12" y="282"/>
                  </a:lnTo>
                  <a:lnTo>
                    <a:pt x="12" y="282"/>
                  </a:lnTo>
                  <a:lnTo>
                    <a:pt x="14" y="284"/>
                  </a:lnTo>
                  <a:lnTo>
                    <a:pt x="14" y="284"/>
                  </a:lnTo>
                  <a:lnTo>
                    <a:pt x="14" y="284"/>
                  </a:lnTo>
                  <a:lnTo>
                    <a:pt x="14" y="282"/>
                  </a:lnTo>
                  <a:lnTo>
                    <a:pt x="16" y="282"/>
                  </a:lnTo>
                  <a:lnTo>
                    <a:pt x="16" y="282"/>
                  </a:lnTo>
                  <a:lnTo>
                    <a:pt x="16" y="282"/>
                  </a:lnTo>
                  <a:lnTo>
                    <a:pt x="16" y="282"/>
                  </a:lnTo>
                  <a:lnTo>
                    <a:pt x="16" y="284"/>
                  </a:lnTo>
                  <a:lnTo>
                    <a:pt x="16" y="284"/>
                  </a:lnTo>
                  <a:lnTo>
                    <a:pt x="16" y="286"/>
                  </a:lnTo>
                  <a:lnTo>
                    <a:pt x="16" y="286"/>
                  </a:lnTo>
                  <a:lnTo>
                    <a:pt x="16" y="288"/>
                  </a:lnTo>
                  <a:lnTo>
                    <a:pt x="16" y="290"/>
                  </a:lnTo>
                  <a:lnTo>
                    <a:pt x="16" y="291"/>
                  </a:lnTo>
                  <a:lnTo>
                    <a:pt x="16" y="291"/>
                  </a:lnTo>
                  <a:lnTo>
                    <a:pt x="16" y="293"/>
                  </a:lnTo>
                  <a:lnTo>
                    <a:pt x="16" y="293"/>
                  </a:lnTo>
                  <a:lnTo>
                    <a:pt x="16" y="295"/>
                  </a:lnTo>
                  <a:lnTo>
                    <a:pt x="16" y="295"/>
                  </a:lnTo>
                  <a:lnTo>
                    <a:pt x="14" y="295"/>
                  </a:lnTo>
                  <a:lnTo>
                    <a:pt x="14" y="297"/>
                  </a:lnTo>
                  <a:lnTo>
                    <a:pt x="14" y="299"/>
                  </a:lnTo>
                  <a:lnTo>
                    <a:pt x="14" y="299"/>
                  </a:lnTo>
                  <a:lnTo>
                    <a:pt x="12" y="303"/>
                  </a:lnTo>
                  <a:lnTo>
                    <a:pt x="12" y="303"/>
                  </a:lnTo>
                  <a:lnTo>
                    <a:pt x="12" y="305"/>
                  </a:lnTo>
                  <a:lnTo>
                    <a:pt x="14" y="303"/>
                  </a:lnTo>
                  <a:lnTo>
                    <a:pt x="14" y="303"/>
                  </a:lnTo>
                  <a:lnTo>
                    <a:pt x="14" y="303"/>
                  </a:lnTo>
                  <a:lnTo>
                    <a:pt x="14" y="303"/>
                  </a:lnTo>
                  <a:lnTo>
                    <a:pt x="16" y="303"/>
                  </a:lnTo>
                  <a:lnTo>
                    <a:pt x="14" y="305"/>
                  </a:lnTo>
                  <a:lnTo>
                    <a:pt x="14" y="307"/>
                  </a:lnTo>
                  <a:lnTo>
                    <a:pt x="14" y="307"/>
                  </a:lnTo>
                  <a:lnTo>
                    <a:pt x="16" y="309"/>
                  </a:lnTo>
                  <a:lnTo>
                    <a:pt x="16" y="309"/>
                  </a:lnTo>
                  <a:lnTo>
                    <a:pt x="17" y="307"/>
                  </a:lnTo>
                  <a:lnTo>
                    <a:pt x="17" y="303"/>
                  </a:lnTo>
                  <a:lnTo>
                    <a:pt x="19" y="299"/>
                  </a:lnTo>
                  <a:lnTo>
                    <a:pt x="21" y="297"/>
                  </a:lnTo>
                  <a:lnTo>
                    <a:pt x="21" y="295"/>
                  </a:lnTo>
                  <a:lnTo>
                    <a:pt x="23" y="297"/>
                  </a:lnTo>
                  <a:lnTo>
                    <a:pt x="23" y="299"/>
                  </a:lnTo>
                  <a:lnTo>
                    <a:pt x="27" y="295"/>
                  </a:lnTo>
                  <a:lnTo>
                    <a:pt x="27" y="293"/>
                  </a:lnTo>
                  <a:lnTo>
                    <a:pt x="25" y="291"/>
                  </a:lnTo>
                  <a:lnTo>
                    <a:pt x="27" y="290"/>
                  </a:lnTo>
                  <a:lnTo>
                    <a:pt x="27" y="288"/>
                  </a:lnTo>
                  <a:lnTo>
                    <a:pt x="29" y="286"/>
                  </a:lnTo>
                  <a:lnTo>
                    <a:pt x="29" y="282"/>
                  </a:lnTo>
                  <a:lnTo>
                    <a:pt x="31" y="282"/>
                  </a:lnTo>
                  <a:lnTo>
                    <a:pt x="29" y="290"/>
                  </a:lnTo>
                  <a:lnTo>
                    <a:pt x="31" y="291"/>
                  </a:lnTo>
                  <a:lnTo>
                    <a:pt x="31" y="291"/>
                  </a:lnTo>
                  <a:lnTo>
                    <a:pt x="33" y="291"/>
                  </a:lnTo>
                  <a:lnTo>
                    <a:pt x="31" y="293"/>
                  </a:lnTo>
                  <a:lnTo>
                    <a:pt x="31" y="295"/>
                  </a:lnTo>
                  <a:lnTo>
                    <a:pt x="31" y="297"/>
                  </a:lnTo>
                  <a:lnTo>
                    <a:pt x="31" y="299"/>
                  </a:lnTo>
                  <a:lnTo>
                    <a:pt x="35" y="297"/>
                  </a:lnTo>
                  <a:lnTo>
                    <a:pt x="37" y="297"/>
                  </a:lnTo>
                  <a:lnTo>
                    <a:pt x="38" y="297"/>
                  </a:lnTo>
                  <a:lnTo>
                    <a:pt x="37" y="299"/>
                  </a:lnTo>
                  <a:lnTo>
                    <a:pt x="37" y="299"/>
                  </a:lnTo>
                  <a:lnTo>
                    <a:pt x="33" y="299"/>
                  </a:lnTo>
                  <a:lnTo>
                    <a:pt x="29" y="301"/>
                  </a:lnTo>
                  <a:lnTo>
                    <a:pt x="29" y="301"/>
                  </a:lnTo>
                  <a:lnTo>
                    <a:pt x="29" y="301"/>
                  </a:lnTo>
                  <a:lnTo>
                    <a:pt x="31" y="301"/>
                  </a:lnTo>
                  <a:lnTo>
                    <a:pt x="31" y="303"/>
                  </a:lnTo>
                  <a:lnTo>
                    <a:pt x="29" y="303"/>
                  </a:lnTo>
                  <a:lnTo>
                    <a:pt x="27" y="303"/>
                  </a:lnTo>
                  <a:lnTo>
                    <a:pt x="27" y="303"/>
                  </a:lnTo>
                  <a:lnTo>
                    <a:pt x="27" y="307"/>
                  </a:lnTo>
                  <a:lnTo>
                    <a:pt x="25" y="307"/>
                  </a:lnTo>
                  <a:lnTo>
                    <a:pt x="25" y="305"/>
                  </a:lnTo>
                  <a:lnTo>
                    <a:pt x="23" y="309"/>
                  </a:lnTo>
                  <a:lnTo>
                    <a:pt x="25" y="310"/>
                  </a:lnTo>
                  <a:lnTo>
                    <a:pt x="27" y="312"/>
                  </a:lnTo>
                  <a:lnTo>
                    <a:pt x="29" y="310"/>
                  </a:lnTo>
                  <a:lnTo>
                    <a:pt x="29" y="310"/>
                  </a:lnTo>
                  <a:lnTo>
                    <a:pt x="29" y="310"/>
                  </a:lnTo>
                  <a:lnTo>
                    <a:pt x="31" y="310"/>
                  </a:lnTo>
                  <a:lnTo>
                    <a:pt x="31" y="310"/>
                  </a:lnTo>
                  <a:lnTo>
                    <a:pt x="31" y="310"/>
                  </a:lnTo>
                  <a:lnTo>
                    <a:pt x="31" y="312"/>
                  </a:lnTo>
                  <a:lnTo>
                    <a:pt x="31" y="312"/>
                  </a:lnTo>
                  <a:lnTo>
                    <a:pt x="31" y="312"/>
                  </a:lnTo>
                  <a:lnTo>
                    <a:pt x="31" y="314"/>
                  </a:lnTo>
                  <a:lnTo>
                    <a:pt x="31" y="316"/>
                  </a:lnTo>
                  <a:lnTo>
                    <a:pt x="35" y="316"/>
                  </a:lnTo>
                  <a:lnTo>
                    <a:pt x="33" y="318"/>
                  </a:lnTo>
                  <a:lnTo>
                    <a:pt x="33" y="320"/>
                  </a:lnTo>
                  <a:lnTo>
                    <a:pt x="31" y="322"/>
                  </a:lnTo>
                  <a:lnTo>
                    <a:pt x="33" y="324"/>
                  </a:lnTo>
                  <a:lnTo>
                    <a:pt x="31" y="324"/>
                  </a:lnTo>
                  <a:lnTo>
                    <a:pt x="29" y="324"/>
                  </a:lnTo>
                  <a:lnTo>
                    <a:pt x="29" y="322"/>
                  </a:lnTo>
                  <a:lnTo>
                    <a:pt x="31" y="320"/>
                  </a:lnTo>
                  <a:lnTo>
                    <a:pt x="27" y="316"/>
                  </a:lnTo>
                  <a:lnTo>
                    <a:pt x="25" y="314"/>
                  </a:lnTo>
                  <a:lnTo>
                    <a:pt x="25" y="318"/>
                  </a:lnTo>
                  <a:lnTo>
                    <a:pt x="23" y="318"/>
                  </a:lnTo>
                  <a:lnTo>
                    <a:pt x="21" y="316"/>
                  </a:lnTo>
                  <a:lnTo>
                    <a:pt x="21" y="316"/>
                  </a:lnTo>
                  <a:lnTo>
                    <a:pt x="19" y="318"/>
                  </a:lnTo>
                  <a:lnTo>
                    <a:pt x="19" y="320"/>
                  </a:lnTo>
                  <a:lnTo>
                    <a:pt x="19" y="320"/>
                  </a:lnTo>
                  <a:lnTo>
                    <a:pt x="19" y="326"/>
                  </a:lnTo>
                  <a:lnTo>
                    <a:pt x="19" y="330"/>
                  </a:lnTo>
                  <a:lnTo>
                    <a:pt x="19" y="333"/>
                  </a:lnTo>
                  <a:lnTo>
                    <a:pt x="21" y="333"/>
                  </a:lnTo>
                  <a:lnTo>
                    <a:pt x="23" y="339"/>
                  </a:lnTo>
                  <a:lnTo>
                    <a:pt x="25" y="341"/>
                  </a:lnTo>
                  <a:lnTo>
                    <a:pt x="25" y="341"/>
                  </a:lnTo>
                  <a:lnTo>
                    <a:pt x="29" y="341"/>
                  </a:lnTo>
                  <a:lnTo>
                    <a:pt x="29" y="341"/>
                  </a:lnTo>
                  <a:lnTo>
                    <a:pt x="29" y="343"/>
                  </a:lnTo>
                  <a:lnTo>
                    <a:pt x="31" y="345"/>
                  </a:lnTo>
                  <a:lnTo>
                    <a:pt x="31" y="347"/>
                  </a:lnTo>
                  <a:lnTo>
                    <a:pt x="31" y="349"/>
                  </a:lnTo>
                  <a:lnTo>
                    <a:pt x="33" y="349"/>
                  </a:lnTo>
                  <a:lnTo>
                    <a:pt x="35" y="350"/>
                  </a:lnTo>
                  <a:lnTo>
                    <a:pt x="33" y="352"/>
                  </a:lnTo>
                  <a:lnTo>
                    <a:pt x="31" y="350"/>
                  </a:lnTo>
                  <a:lnTo>
                    <a:pt x="29" y="345"/>
                  </a:lnTo>
                  <a:lnTo>
                    <a:pt x="27" y="343"/>
                  </a:lnTo>
                  <a:lnTo>
                    <a:pt x="25" y="343"/>
                  </a:lnTo>
                  <a:lnTo>
                    <a:pt x="23" y="345"/>
                  </a:lnTo>
                  <a:lnTo>
                    <a:pt x="23" y="347"/>
                  </a:lnTo>
                  <a:lnTo>
                    <a:pt x="23" y="349"/>
                  </a:lnTo>
                  <a:lnTo>
                    <a:pt x="23" y="352"/>
                  </a:lnTo>
                  <a:lnTo>
                    <a:pt x="23" y="354"/>
                  </a:lnTo>
                  <a:lnTo>
                    <a:pt x="23" y="354"/>
                  </a:lnTo>
                  <a:lnTo>
                    <a:pt x="23" y="356"/>
                  </a:lnTo>
                  <a:lnTo>
                    <a:pt x="25" y="356"/>
                  </a:lnTo>
                  <a:lnTo>
                    <a:pt x="25" y="358"/>
                  </a:lnTo>
                  <a:lnTo>
                    <a:pt x="25" y="358"/>
                  </a:lnTo>
                  <a:lnTo>
                    <a:pt x="25" y="360"/>
                  </a:lnTo>
                  <a:lnTo>
                    <a:pt x="25" y="360"/>
                  </a:lnTo>
                  <a:lnTo>
                    <a:pt x="25" y="360"/>
                  </a:lnTo>
                  <a:lnTo>
                    <a:pt x="25" y="360"/>
                  </a:lnTo>
                  <a:lnTo>
                    <a:pt x="25" y="360"/>
                  </a:lnTo>
                  <a:lnTo>
                    <a:pt x="25" y="360"/>
                  </a:lnTo>
                  <a:lnTo>
                    <a:pt x="27" y="362"/>
                  </a:lnTo>
                  <a:lnTo>
                    <a:pt x="29" y="364"/>
                  </a:lnTo>
                  <a:lnTo>
                    <a:pt x="29" y="364"/>
                  </a:lnTo>
                  <a:lnTo>
                    <a:pt x="31" y="364"/>
                  </a:lnTo>
                  <a:lnTo>
                    <a:pt x="29" y="366"/>
                  </a:lnTo>
                  <a:lnTo>
                    <a:pt x="31" y="368"/>
                  </a:lnTo>
                  <a:lnTo>
                    <a:pt x="33" y="368"/>
                  </a:lnTo>
                  <a:lnTo>
                    <a:pt x="35" y="368"/>
                  </a:lnTo>
                  <a:lnTo>
                    <a:pt x="37" y="368"/>
                  </a:lnTo>
                  <a:lnTo>
                    <a:pt x="38" y="368"/>
                  </a:lnTo>
                  <a:lnTo>
                    <a:pt x="38" y="369"/>
                  </a:lnTo>
                  <a:lnTo>
                    <a:pt x="38" y="371"/>
                  </a:lnTo>
                  <a:lnTo>
                    <a:pt x="40" y="373"/>
                  </a:lnTo>
                  <a:lnTo>
                    <a:pt x="38" y="375"/>
                  </a:lnTo>
                  <a:lnTo>
                    <a:pt x="38" y="377"/>
                  </a:lnTo>
                  <a:lnTo>
                    <a:pt x="37" y="377"/>
                  </a:lnTo>
                  <a:lnTo>
                    <a:pt x="37" y="375"/>
                  </a:lnTo>
                  <a:lnTo>
                    <a:pt x="38" y="375"/>
                  </a:lnTo>
                  <a:lnTo>
                    <a:pt x="37" y="373"/>
                  </a:lnTo>
                  <a:lnTo>
                    <a:pt x="35" y="373"/>
                  </a:lnTo>
                  <a:lnTo>
                    <a:pt x="35" y="371"/>
                  </a:lnTo>
                  <a:lnTo>
                    <a:pt x="33" y="371"/>
                  </a:lnTo>
                  <a:lnTo>
                    <a:pt x="31" y="371"/>
                  </a:lnTo>
                  <a:lnTo>
                    <a:pt x="31" y="371"/>
                  </a:lnTo>
                  <a:lnTo>
                    <a:pt x="31" y="371"/>
                  </a:lnTo>
                  <a:lnTo>
                    <a:pt x="29" y="371"/>
                  </a:lnTo>
                  <a:lnTo>
                    <a:pt x="29" y="369"/>
                  </a:lnTo>
                  <a:lnTo>
                    <a:pt x="29" y="369"/>
                  </a:lnTo>
                  <a:lnTo>
                    <a:pt x="29" y="368"/>
                  </a:lnTo>
                  <a:lnTo>
                    <a:pt x="27" y="368"/>
                  </a:lnTo>
                  <a:lnTo>
                    <a:pt x="27" y="369"/>
                  </a:lnTo>
                  <a:lnTo>
                    <a:pt x="27" y="369"/>
                  </a:lnTo>
                  <a:lnTo>
                    <a:pt x="27" y="371"/>
                  </a:lnTo>
                  <a:lnTo>
                    <a:pt x="27" y="371"/>
                  </a:lnTo>
                  <a:lnTo>
                    <a:pt x="27" y="371"/>
                  </a:lnTo>
                  <a:lnTo>
                    <a:pt x="25" y="373"/>
                  </a:lnTo>
                  <a:lnTo>
                    <a:pt x="29" y="375"/>
                  </a:lnTo>
                  <a:lnTo>
                    <a:pt x="29" y="377"/>
                  </a:lnTo>
                  <a:lnTo>
                    <a:pt x="31" y="385"/>
                  </a:lnTo>
                  <a:lnTo>
                    <a:pt x="31" y="385"/>
                  </a:lnTo>
                  <a:lnTo>
                    <a:pt x="31" y="385"/>
                  </a:lnTo>
                  <a:lnTo>
                    <a:pt x="31" y="387"/>
                  </a:lnTo>
                  <a:lnTo>
                    <a:pt x="31" y="387"/>
                  </a:lnTo>
                  <a:lnTo>
                    <a:pt x="31" y="387"/>
                  </a:lnTo>
                  <a:lnTo>
                    <a:pt x="31" y="388"/>
                  </a:lnTo>
                  <a:lnTo>
                    <a:pt x="31" y="388"/>
                  </a:lnTo>
                  <a:lnTo>
                    <a:pt x="33" y="390"/>
                  </a:lnTo>
                  <a:lnTo>
                    <a:pt x="33" y="392"/>
                  </a:lnTo>
                  <a:lnTo>
                    <a:pt x="35" y="390"/>
                  </a:lnTo>
                  <a:lnTo>
                    <a:pt x="35" y="390"/>
                  </a:lnTo>
                  <a:lnTo>
                    <a:pt x="35" y="388"/>
                  </a:lnTo>
                  <a:lnTo>
                    <a:pt x="37" y="388"/>
                  </a:lnTo>
                  <a:lnTo>
                    <a:pt x="37" y="390"/>
                  </a:lnTo>
                  <a:lnTo>
                    <a:pt x="37" y="392"/>
                  </a:lnTo>
                  <a:lnTo>
                    <a:pt x="35" y="392"/>
                  </a:lnTo>
                  <a:lnTo>
                    <a:pt x="33" y="392"/>
                  </a:lnTo>
                  <a:lnTo>
                    <a:pt x="33" y="394"/>
                  </a:lnTo>
                  <a:lnTo>
                    <a:pt x="33" y="396"/>
                  </a:lnTo>
                  <a:lnTo>
                    <a:pt x="35" y="396"/>
                  </a:lnTo>
                  <a:lnTo>
                    <a:pt x="37" y="396"/>
                  </a:lnTo>
                  <a:lnTo>
                    <a:pt x="35" y="398"/>
                  </a:lnTo>
                  <a:lnTo>
                    <a:pt x="35" y="400"/>
                  </a:lnTo>
                  <a:lnTo>
                    <a:pt x="38" y="407"/>
                  </a:lnTo>
                  <a:lnTo>
                    <a:pt x="40" y="409"/>
                  </a:lnTo>
                  <a:lnTo>
                    <a:pt x="40" y="413"/>
                  </a:lnTo>
                  <a:lnTo>
                    <a:pt x="40" y="413"/>
                  </a:lnTo>
                  <a:lnTo>
                    <a:pt x="42" y="415"/>
                  </a:lnTo>
                  <a:lnTo>
                    <a:pt x="42" y="417"/>
                  </a:lnTo>
                  <a:lnTo>
                    <a:pt x="42" y="419"/>
                  </a:lnTo>
                  <a:lnTo>
                    <a:pt x="44" y="419"/>
                  </a:lnTo>
                  <a:lnTo>
                    <a:pt x="44" y="421"/>
                  </a:lnTo>
                  <a:lnTo>
                    <a:pt x="44" y="423"/>
                  </a:lnTo>
                  <a:lnTo>
                    <a:pt x="44" y="423"/>
                  </a:lnTo>
                  <a:lnTo>
                    <a:pt x="42" y="425"/>
                  </a:lnTo>
                  <a:lnTo>
                    <a:pt x="42" y="425"/>
                  </a:lnTo>
                  <a:lnTo>
                    <a:pt x="42" y="427"/>
                  </a:lnTo>
                  <a:lnTo>
                    <a:pt x="44" y="428"/>
                  </a:lnTo>
                  <a:lnTo>
                    <a:pt x="44" y="428"/>
                  </a:lnTo>
                  <a:lnTo>
                    <a:pt x="44" y="430"/>
                  </a:lnTo>
                  <a:lnTo>
                    <a:pt x="44" y="432"/>
                  </a:lnTo>
                  <a:lnTo>
                    <a:pt x="44" y="432"/>
                  </a:lnTo>
                  <a:lnTo>
                    <a:pt x="46" y="434"/>
                  </a:lnTo>
                  <a:lnTo>
                    <a:pt x="46" y="434"/>
                  </a:lnTo>
                  <a:lnTo>
                    <a:pt x="50" y="434"/>
                  </a:lnTo>
                  <a:lnTo>
                    <a:pt x="52" y="436"/>
                  </a:lnTo>
                  <a:lnTo>
                    <a:pt x="48" y="438"/>
                  </a:lnTo>
                  <a:lnTo>
                    <a:pt x="46" y="438"/>
                  </a:lnTo>
                  <a:lnTo>
                    <a:pt x="46" y="438"/>
                  </a:lnTo>
                  <a:lnTo>
                    <a:pt x="44" y="438"/>
                  </a:lnTo>
                  <a:lnTo>
                    <a:pt x="44" y="438"/>
                  </a:lnTo>
                  <a:lnTo>
                    <a:pt x="44" y="440"/>
                  </a:lnTo>
                  <a:lnTo>
                    <a:pt x="48" y="444"/>
                  </a:lnTo>
                  <a:lnTo>
                    <a:pt x="50" y="446"/>
                  </a:lnTo>
                  <a:lnTo>
                    <a:pt x="48" y="447"/>
                  </a:lnTo>
                  <a:lnTo>
                    <a:pt x="50" y="449"/>
                  </a:lnTo>
                  <a:lnTo>
                    <a:pt x="50" y="451"/>
                  </a:lnTo>
                  <a:lnTo>
                    <a:pt x="48" y="453"/>
                  </a:lnTo>
                  <a:lnTo>
                    <a:pt x="48" y="453"/>
                  </a:lnTo>
                  <a:lnTo>
                    <a:pt x="48" y="455"/>
                  </a:lnTo>
                  <a:lnTo>
                    <a:pt x="50" y="457"/>
                  </a:lnTo>
                  <a:lnTo>
                    <a:pt x="52" y="459"/>
                  </a:lnTo>
                  <a:lnTo>
                    <a:pt x="54" y="463"/>
                  </a:lnTo>
                  <a:lnTo>
                    <a:pt x="56" y="465"/>
                  </a:lnTo>
                  <a:lnTo>
                    <a:pt x="54" y="465"/>
                  </a:lnTo>
                  <a:lnTo>
                    <a:pt x="52" y="465"/>
                  </a:lnTo>
                  <a:lnTo>
                    <a:pt x="52" y="463"/>
                  </a:lnTo>
                  <a:lnTo>
                    <a:pt x="50" y="463"/>
                  </a:lnTo>
                  <a:lnTo>
                    <a:pt x="50" y="465"/>
                  </a:lnTo>
                  <a:lnTo>
                    <a:pt x="52" y="466"/>
                  </a:lnTo>
                  <a:lnTo>
                    <a:pt x="52" y="466"/>
                  </a:lnTo>
                  <a:lnTo>
                    <a:pt x="52" y="468"/>
                  </a:lnTo>
                  <a:lnTo>
                    <a:pt x="54" y="470"/>
                  </a:lnTo>
                  <a:lnTo>
                    <a:pt x="54" y="472"/>
                  </a:lnTo>
                  <a:lnTo>
                    <a:pt x="56" y="476"/>
                  </a:lnTo>
                  <a:lnTo>
                    <a:pt x="57" y="478"/>
                  </a:lnTo>
                  <a:lnTo>
                    <a:pt x="57" y="480"/>
                  </a:lnTo>
                  <a:lnTo>
                    <a:pt x="56" y="480"/>
                  </a:lnTo>
                  <a:lnTo>
                    <a:pt x="57" y="482"/>
                  </a:lnTo>
                  <a:lnTo>
                    <a:pt x="57" y="484"/>
                  </a:lnTo>
                  <a:lnTo>
                    <a:pt x="57" y="487"/>
                  </a:lnTo>
                  <a:lnTo>
                    <a:pt x="57" y="489"/>
                  </a:lnTo>
                  <a:lnTo>
                    <a:pt x="56" y="487"/>
                  </a:lnTo>
                  <a:lnTo>
                    <a:pt x="56" y="487"/>
                  </a:lnTo>
                  <a:lnTo>
                    <a:pt x="56" y="489"/>
                  </a:lnTo>
                  <a:lnTo>
                    <a:pt x="57" y="491"/>
                  </a:lnTo>
                  <a:lnTo>
                    <a:pt x="56" y="491"/>
                  </a:lnTo>
                  <a:lnTo>
                    <a:pt x="57" y="493"/>
                  </a:lnTo>
                  <a:lnTo>
                    <a:pt x="59" y="493"/>
                  </a:lnTo>
                  <a:lnTo>
                    <a:pt x="57" y="497"/>
                  </a:lnTo>
                  <a:lnTo>
                    <a:pt x="57" y="497"/>
                  </a:lnTo>
                  <a:lnTo>
                    <a:pt x="57" y="499"/>
                  </a:lnTo>
                  <a:lnTo>
                    <a:pt x="57" y="503"/>
                  </a:lnTo>
                  <a:lnTo>
                    <a:pt x="57" y="503"/>
                  </a:lnTo>
                  <a:lnTo>
                    <a:pt x="57" y="504"/>
                  </a:lnTo>
                  <a:lnTo>
                    <a:pt x="57" y="506"/>
                  </a:lnTo>
                  <a:lnTo>
                    <a:pt x="59" y="510"/>
                  </a:lnTo>
                  <a:lnTo>
                    <a:pt x="59" y="510"/>
                  </a:lnTo>
                  <a:lnTo>
                    <a:pt x="61" y="510"/>
                  </a:lnTo>
                  <a:lnTo>
                    <a:pt x="61" y="512"/>
                  </a:lnTo>
                  <a:lnTo>
                    <a:pt x="59" y="514"/>
                  </a:lnTo>
                  <a:lnTo>
                    <a:pt x="59" y="518"/>
                  </a:lnTo>
                  <a:lnTo>
                    <a:pt x="59" y="520"/>
                  </a:lnTo>
                  <a:lnTo>
                    <a:pt x="61" y="522"/>
                  </a:lnTo>
                  <a:lnTo>
                    <a:pt x="63" y="522"/>
                  </a:lnTo>
                  <a:lnTo>
                    <a:pt x="63" y="524"/>
                  </a:lnTo>
                  <a:lnTo>
                    <a:pt x="63" y="524"/>
                  </a:lnTo>
                  <a:lnTo>
                    <a:pt x="61" y="525"/>
                  </a:lnTo>
                  <a:lnTo>
                    <a:pt x="61" y="525"/>
                  </a:lnTo>
                  <a:lnTo>
                    <a:pt x="61" y="525"/>
                  </a:lnTo>
                  <a:lnTo>
                    <a:pt x="63" y="529"/>
                  </a:lnTo>
                  <a:lnTo>
                    <a:pt x="63" y="527"/>
                  </a:lnTo>
                  <a:lnTo>
                    <a:pt x="65" y="527"/>
                  </a:lnTo>
                  <a:lnTo>
                    <a:pt x="67" y="527"/>
                  </a:lnTo>
                  <a:lnTo>
                    <a:pt x="67" y="529"/>
                  </a:lnTo>
                  <a:lnTo>
                    <a:pt x="67" y="531"/>
                  </a:lnTo>
                  <a:lnTo>
                    <a:pt x="67" y="531"/>
                  </a:lnTo>
                  <a:lnTo>
                    <a:pt x="65" y="531"/>
                  </a:lnTo>
                  <a:lnTo>
                    <a:pt x="65" y="529"/>
                  </a:lnTo>
                  <a:lnTo>
                    <a:pt x="63" y="529"/>
                  </a:lnTo>
                  <a:lnTo>
                    <a:pt x="63" y="529"/>
                  </a:lnTo>
                  <a:lnTo>
                    <a:pt x="61" y="531"/>
                  </a:lnTo>
                  <a:lnTo>
                    <a:pt x="61" y="531"/>
                  </a:lnTo>
                  <a:lnTo>
                    <a:pt x="61" y="531"/>
                  </a:lnTo>
                  <a:lnTo>
                    <a:pt x="61" y="531"/>
                  </a:lnTo>
                  <a:lnTo>
                    <a:pt x="63" y="533"/>
                  </a:lnTo>
                  <a:lnTo>
                    <a:pt x="63" y="533"/>
                  </a:lnTo>
                  <a:lnTo>
                    <a:pt x="65" y="535"/>
                  </a:lnTo>
                  <a:lnTo>
                    <a:pt x="67" y="535"/>
                  </a:lnTo>
                  <a:lnTo>
                    <a:pt x="67" y="535"/>
                  </a:lnTo>
                  <a:lnTo>
                    <a:pt x="65" y="537"/>
                  </a:lnTo>
                  <a:lnTo>
                    <a:pt x="65" y="537"/>
                  </a:lnTo>
                  <a:lnTo>
                    <a:pt x="65" y="537"/>
                  </a:lnTo>
                  <a:lnTo>
                    <a:pt x="65" y="537"/>
                  </a:lnTo>
                  <a:lnTo>
                    <a:pt x="67" y="539"/>
                  </a:lnTo>
                  <a:lnTo>
                    <a:pt x="67" y="539"/>
                  </a:lnTo>
                  <a:lnTo>
                    <a:pt x="65" y="539"/>
                  </a:lnTo>
                  <a:lnTo>
                    <a:pt x="65" y="539"/>
                  </a:lnTo>
                  <a:lnTo>
                    <a:pt x="63" y="535"/>
                  </a:lnTo>
                  <a:lnTo>
                    <a:pt x="63" y="535"/>
                  </a:lnTo>
                  <a:lnTo>
                    <a:pt x="61" y="535"/>
                  </a:lnTo>
                  <a:lnTo>
                    <a:pt x="61" y="535"/>
                  </a:lnTo>
                  <a:lnTo>
                    <a:pt x="61" y="535"/>
                  </a:lnTo>
                  <a:lnTo>
                    <a:pt x="61" y="537"/>
                  </a:lnTo>
                  <a:lnTo>
                    <a:pt x="61" y="539"/>
                  </a:lnTo>
                  <a:lnTo>
                    <a:pt x="61" y="539"/>
                  </a:lnTo>
                  <a:lnTo>
                    <a:pt x="61" y="539"/>
                  </a:lnTo>
                  <a:lnTo>
                    <a:pt x="63" y="543"/>
                  </a:lnTo>
                  <a:lnTo>
                    <a:pt x="63" y="546"/>
                  </a:lnTo>
                  <a:lnTo>
                    <a:pt x="65" y="548"/>
                  </a:lnTo>
                  <a:lnTo>
                    <a:pt x="67" y="548"/>
                  </a:lnTo>
                  <a:lnTo>
                    <a:pt x="69" y="550"/>
                  </a:lnTo>
                  <a:lnTo>
                    <a:pt x="67" y="550"/>
                  </a:lnTo>
                  <a:lnTo>
                    <a:pt x="67" y="550"/>
                  </a:lnTo>
                  <a:lnTo>
                    <a:pt x="65" y="552"/>
                  </a:lnTo>
                  <a:lnTo>
                    <a:pt x="65" y="552"/>
                  </a:lnTo>
                  <a:lnTo>
                    <a:pt x="67" y="554"/>
                  </a:lnTo>
                  <a:lnTo>
                    <a:pt x="67" y="554"/>
                  </a:lnTo>
                  <a:lnTo>
                    <a:pt x="67" y="556"/>
                  </a:lnTo>
                  <a:lnTo>
                    <a:pt x="67" y="556"/>
                  </a:lnTo>
                  <a:lnTo>
                    <a:pt x="71" y="563"/>
                  </a:lnTo>
                  <a:lnTo>
                    <a:pt x="71" y="565"/>
                  </a:lnTo>
                  <a:lnTo>
                    <a:pt x="71" y="567"/>
                  </a:lnTo>
                  <a:lnTo>
                    <a:pt x="71" y="567"/>
                  </a:lnTo>
                  <a:lnTo>
                    <a:pt x="73" y="567"/>
                  </a:lnTo>
                  <a:lnTo>
                    <a:pt x="73" y="567"/>
                  </a:lnTo>
                  <a:lnTo>
                    <a:pt x="73" y="567"/>
                  </a:lnTo>
                  <a:lnTo>
                    <a:pt x="73" y="569"/>
                  </a:lnTo>
                  <a:lnTo>
                    <a:pt x="73" y="573"/>
                  </a:lnTo>
                  <a:lnTo>
                    <a:pt x="75" y="577"/>
                  </a:lnTo>
                  <a:lnTo>
                    <a:pt x="75" y="575"/>
                  </a:lnTo>
                  <a:lnTo>
                    <a:pt x="75" y="573"/>
                  </a:lnTo>
                  <a:lnTo>
                    <a:pt x="75" y="571"/>
                  </a:lnTo>
                  <a:lnTo>
                    <a:pt x="78" y="569"/>
                  </a:lnTo>
                  <a:lnTo>
                    <a:pt x="77" y="571"/>
                  </a:lnTo>
                  <a:lnTo>
                    <a:pt x="77" y="571"/>
                  </a:lnTo>
                  <a:lnTo>
                    <a:pt x="75" y="573"/>
                  </a:lnTo>
                  <a:lnTo>
                    <a:pt x="75" y="575"/>
                  </a:lnTo>
                  <a:lnTo>
                    <a:pt x="75" y="581"/>
                  </a:lnTo>
                  <a:lnTo>
                    <a:pt x="75" y="581"/>
                  </a:lnTo>
                  <a:lnTo>
                    <a:pt x="75" y="581"/>
                  </a:lnTo>
                  <a:lnTo>
                    <a:pt x="75" y="582"/>
                  </a:lnTo>
                  <a:lnTo>
                    <a:pt x="75" y="582"/>
                  </a:lnTo>
                  <a:lnTo>
                    <a:pt x="75" y="582"/>
                  </a:lnTo>
                  <a:lnTo>
                    <a:pt x="75" y="582"/>
                  </a:lnTo>
                  <a:lnTo>
                    <a:pt x="77" y="584"/>
                  </a:lnTo>
                  <a:lnTo>
                    <a:pt x="77" y="584"/>
                  </a:lnTo>
                  <a:lnTo>
                    <a:pt x="77" y="586"/>
                  </a:lnTo>
                  <a:lnTo>
                    <a:pt x="78" y="586"/>
                  </a:lnTo>
                  <a:lnTo>
                    <a:pt x="80" y="586"/>
                  </a:lnTo>
                  <a:lnTo>
                    <a:pt x="80" y="586"/>
                  </a:lnTo>
                  <a:lnTo>
                    <a:pt x="78" y="586"/>
                  </a:lnTo>
                  <a:lnTo>
                    <a:pt x="78" y="588"/>
                  </a:lnTo>
                  <a:lnTo>
                    <a:pt x="80" y="592"/>
                  </a:lnTo>
                  <a:lnTo>
                    <a:pt x="82" y="594"/>
                  </a:lnTo>
                  <a:lnTo>
                    <a:pt x="86" y="598"/>
                  </a:lnTo>
                  <a:lnTo>
                    <a:pt x="88" y="600"/>
                  </a:lnTo>
                  <a:lnTo>
                    <a:pt x="92" y="605"/>
                  </a:lnTo>
                  <a:lnTo>
                    <a:pt x="92" y="607"/>
                  </a:lnTo>
                  <a:lnTo>
                    <a:pt x="92" y="613"/>
                  </a:lnTo>
                  <a:lnTo>
                    <a:pt x="92" y="613"/>
                  </a:lnTo>
                  <a:lnTo>
                    <a:pt x="94" y="615"/>
                  </a:lnTo>
                  <a:lnTo>
                    <a:pt x="96" y="615"/>
                  </a:lnTo>
                  <a:lnTo>
                    <a:pt x="96" y="615"/>
                  </a:lnTo>
                  <a:lnTo>
                    <a:pt x="98" y="615"/>
                  </a:lnTo>
                  <a:lnTo>
                    <a:pt x="99" y="613"/>
                  </a:lnTo>
                  <a:lnTo>
                    <a:pt x="103" y="613"/>
                  </a:lnTo>
                  <a:lnTo>
                    <a:pt x="105" y="613"/>
                  </a:lnTo>
                  <a:lnTo>
                    <a:pt x="105" y="613"/>
                  </a:lnTo>
                  <a:lnTo>
                    <a:pt x="107" y="613"/>
                  </a:lnTo>
                  <a:lnTo>
                    <a:pt x="107" y="609"/>
                  </a:lnTo>
                  <a:lnTo>
                    <a:pt x="109" y="609"/>
                  </a:lnTo>
                  <a:lnTo>
                    <a:pt x="109" y="609"/>
                  </a:lnTo>
                  <a:lnTo>
                    <a:pt x="109" y="609"/>
                  </a:lnTo>
                  <a:lnTo>
                    <a:pt x="109" y="609"/>
                  </a:lnTo>
                  <a:lnTo>
                    <a:pt x="111" y="611"/>
                  </a:lnTo>
                  <a:lnTo>
                    <a:pt x="111" y="611"/>
                  </a:lnTo>
                  <a:lnTo>
                    <a:pt x="111" y="613"/>
                  </a:lnTo>
                  <a:lnTo>
                    <a:pt x="111" y="613"/>
                  </a:lnTo>
                  <a:lnTo>
                    <a:pt x="111" y="613"/>
                  </a:lnTo>
                  <a:lnTo>
                    <a:pt x="113" y="613"/>
                  </a:lnTo>
                  <a:lnTo>
                    <a:pt x="115" y="613"/>
                  </a:lnTo>
                  <a:lnTo>
                    <a:pt x="117" y="615"/>
                  </a:lnTo>
                  <a:lnTo>
                    <a:pt x="117" y="615"/>
                  </a:lnTo>
                  <a:lnTo>
                    <a:pt x="117" y="617"/>
                  </a:lnTo>
                  <a:lnTo>
                    <a:pt x="118" y="620"/>
                  </a:lnTo>
                  <a:lnTo>
                    <a:pt x="118" y="622"/>
                  </a:lnTo>
                  <a:lnTo>
                    <a:pt x="120" y="622"/>
                  </a:lnTo>
                  <a:lnTo>
                    <a:pt x="122" y="624"/>
                  </a:lnTo>
                  <a:lnTo>
                    <a:pt x="122" y="624"/>
                  </a:lnTo>
                  <a:lnTo>
                    <a:pt x="124" y="624"/>
                  </a:lnTo>
                  <a:lnTo>
                    <a:pt x="126" y="624"/>
                  </a:lnTo>
                  <a:lnTo>
                    <a:pt x="130" y="622"/>
                  </a:lnTo>
                  <a:lnTo>
                    <a:pt x="134" y="622"/>
                  </a:lnTo>
                  <a:lnTo>
                    <a:pt x="134" y="620"/>
                  </a:lnTo>
                  <a:lnTo>
                    <a:pt x="134" y="620"/>
                  </a:lnTo>
                  <a:lnTo>
                    <a:pt x="134" y="620"/>
                  </a:lnTo>
                  <a:lnTo>
                    <a:pt x="134" y="619"/>
                  </a:lnTo>
                  <a:lnTo>
                    <a:pt x="136" y="619"/>
                  </a:lnTo>
                  <a:lnTo>
                    <a:pt x="136" y="619"/>
                  </a:lnTo>
                  <a:lnTo>
                    <a:pt x="136" y="619"/>
                  </a:lnTo>
                  <a:lnTo>
                    <a:pt x="136" y="615"/>
                  </a:lnTo>
                  <a:lnTo>
                    <a:pt x="138" y="615"/>
                  </a:lnTo>
                  <a:lnTo>
                    <a:pt x="141" y="611"/>
                  </a:lnTo>
                  <a:lnTo>
                    <a:pt x="143" y="611"/>
                  </a:lnTo>
                  <a:lnTo>
                    <a:pt x="143" y="611"/>
                  </a:lnTo>
                  <a:lnTo>
                    <a:pt x="145" y="611"/>
                  </a:lnTo>
                  <a:lnTo>
                    <a:pt x="145" y="611"/>
                  </a:lnTo>
                  <a:lnTo>
                    <a:pt x="145" y="611"/>
                  </a:lnTo>
                  <a:lnTo>
                    <a:pt x="145" y="613"/>
                  </a:lnTo>
                  <a:lnTo>
                    <a:pt x="145" y="613"/>
                  </a:lnTo>
                  <a:lnTo>
                    <a:pt x="145" y="613"/>
                  </a:lnTo>
                  <a:lnTo>
                    <a:pt x="145" y="615"/>
                  </a:lnTo>
                  <a:lnTo>
                    <a:pt x="145" y="615"/>
                  </a:lnTo>
                  <a:lnTo>
                    <a:pt x="145" y="615"/>
                  </a:lnTo>
                  <a:lnTo>
                    <a:pt x="145" y="615"/>
                  </a:lnTo>
                  <a:lnTo>
                    <a:pt x="149" y="615"/>
                  </a:lnTo>
                  <a:lnTo>
                    <a:pt x="151" y="615"/>
                  </a:lnTo>
                  <a:lnTo>
                    <a:pt x="153" y="613"/>
                  </a:lnTo>
                  <a:lnTo>
                    <a:pt x="153" y="613"/>
                  </a:lnTo>
                  <a:lnTo>
                    <a:pt x="155" y="611"/>
                  </a:lnTo>
                  <a:lnTo>
                    <a:pt x="155" y="611"/>
                  </a:lnTo>
                  <a:lnTo>
                    <a:pt x="157" y="609"/>
                  </a:lnTo>
                  <a:lnTo>
                    <a:pt x="158" y="605"/>
                  </a:lnTo>
                  <a:lnTo>
                    <a:pt x="158" y="603"/>
                  </a:lnTo>
                  <a:lnTo>
                    <a:pt x="158" y="603"/>
                  </a:lnTo>
                  <a:lnTo>
                    <a:pt x="158" y="601"/>
                  </a:lnTo>
                  <a:lnTo>
                    <a:pt x="157" y="601"/>
                  </a:lnTo>
                  <a:lnTo>
                    <a:pt x="157" y="601"/>
                  </a:lnTo>
                  <a:lnTo>
                    <a:pt x="158" y="600"/>
                  </a:lnTo>
                  <a:lnTo>
                    <a:pt x="160" y="598"/>
                  </a:lnTo>
                  <a:lnTo>
                    <a:pt x="162" y="594"/>
                  </a:lnTo>
                  <a:lnTo>
                    <a:pt x="162" y="592"/>
                  </a:lnTo>
                  <a:lnTo>
                    <a:pt x="164" y="590"/>
                  </a:lnTo>
                  <a:lnTo>
                    <a:pt x="164" y="588"/>
                  </a:lnTo>
                  <a:lnTo>
                    <a:pt x="164" y="586"/>
                  </a:lnTo>
                  <a:lnTo>
                    <a:pt x="164" y="584"/>
                  </a:lnTo>
                  <a:lnTo>
                    <a:pt x="164" y="584"/>
                  </a:lnTo>
                  <a:lnTo>
                    <a:pt x="164" y="584"/>
                  </a:lnTo>
                  <a:lnTo>
                    <a:pt x="164" y="584"/>
                  </a:lnTo>
                  <a:lnTo>
                    <a:pt x="164" y="582"/>
                  </a:lnTo>
                  <a:lnTo>
                    <a:pt x="162" y="582"/>
                  </a:lnTo>
                  <a:lnTo>
                    <a:pt x="160" y="582"/>
                  </a:lnTo>
                  <a:lnTo>
                    <a:pt x="160" y="582"/>
                  </a:lnTo>
                  <a:lnTo>
                    <a:pt x="160" y="581"/>
                  </a:lnTo>
                  <a:lnTo>
                    <a:pt x="160" y="581"/>
                  </a:lnTo>
                  <a:lnTo>
                    <a:pt x="162" y="581"/>
                  </a:lnTo>
                  <a:lnTo>
                    <a:pt x="162" y="579"/>
                  </a:lnTo>
                  <a:lnTo>
                    <a:pt x="164" y="579"/>
                  </a:lnTo>
                  <a:lnTo>
                    <a:pt x="168" y="579"/>
                  </a:lnTo>
                  <a:lnTo>
                    <a:pt x="168" y="579"/>
                  </a:lnTo>
                  <a:lnTo>
                    <a:pt x="168" y="577"/>
                  </a:lnTo>
                  <a:lnTo>
                    <a:pt x="168" y="577"/>
                  </a:lnTo>
                  <a:lnTo>
                    <a:pt x="168" y="573"/>
                  </a:lnTo>
                  <a:lnTo>
                    <a:pt x="168" y="569"/>
                  </a:lnTo>
                  <a:lnTo>
                    <a:pt x="168" y="567"/>
                  </a:lnTo>
                  <a:lnTo>
                    <a:pt x="168" y="565"/>
                  </a:lnTo>
                  <a:lnTo>
                    <a:pt x="168" y="565"/>
                  </a:lnTo>
                  <a:lnTo>
                    <a:pt x="168" y="565"/>
                  </a:lnTo>
                  <a:lnTo>
                    <a:pt x="168" y="563"/>
                  </a:lnTo>
                  <a:lnTo>
                    <a:pt x="166" y="563"/>
                  </a:lnTo>
                  <a:lnTo>
                    <a:pt x="158" y="560"/>
                  </a:lnTo>
                  <a:lnTo>
                    <a:pt x="158" y="560"/>
                  </a:lnTo>
                  <a:lnTo>
                    <a:pt x="158" y="560"/>
                  </a:lnTo>
                  <a:lnTo>
                    <a:pt x="157" y="560"/>
                  </a:lnTo>
                  <a:lnTo>
                    <a:pt x="157" y="562"/>
                  </a:lnTo>
                  <a:lnTo>
                    <a:pt x="157" y="562"/>
                  </a:lnTo>
                  <a:lnTo>
                    <a:pt x="155" y="562"/>
                  </a:lnTo>
                  <a:lnTo>
                    <a:pt x="155" y="562"/>
                  </a:lnTo>
                  <a:lnTo>
                    <a:pt x="155" y="562"/>
                  </a:lnTo>
                  <a:lnTo>
                    <a:pt x="155" y="560"/>
                  </a:lnTo>
                  <a:lnTo>
                    <a:pt x="155" y="560"/>
                  </a:lnTo>
                  <a:lnTo>
                    <a:pt x="155" y="558"/>
                  </a:lnTo>
                  <a:lnTo>
                    <a:pt x="155" y="558"/>
                  </a:lnTo>
                  <a:lnTo>
                    <a:pt x="155" y="558"/>
                  </a:lnTo>
                  <a:lnTo>
                    <a:pt x="155" y="556"/>
                  </a:lnTo>
                  <a:lnTo>
                    <a:pt x="153" y="556"/>
                  </a:lnTo>
                  <a:lnTo>
                    <a:pt x="153" y="554"/>
                  </a:lnTo>
                  <a:lnTo>
                    <a:pt x="153" y="552"/>
                  </a:lnTo>
                  <a:lnTo>
                    <a:pt x="153" y="552"/>
                  </a:lnTo>
                  <a:lnTo>
                    <a:pt x="153" y="552"/>
                  </a:lnTo>
                  <a:lnTo>
                    <a:pt x="155" y="552"/>
                  </a:lnTo>
                  <a:lnTo>
                    <a:pt x="157" y="550"/>
                  </a:lnTo>
                  <a:lnTo>
                    <a:pt x="157" y="550"/>
                  </a:lnTo>
                  <a:lnTo>
                    <a:pt x="157" y="550"/>
                  </a:lnTo>
                  <a:lnTo>
                    <a:pt x="158" y="550"/>
                  </a:lnTo>
                  <a:lnTo>
                    <a:pt x="158" y="550"/>
                  </a:lnTo>
                  <a:lnTo>
                    <a:pt x="158" y="550"/>
                  </a:lnTo>
                  <a:lnTo>
                    <a:pt x="157" y="548"/>
                  </a:lnTo>
                  <a:lnTo>
                    <a:pt x="157" y="548"/>
                  </a:lnTo>
                  <a:lnTo>
                    <a:pt x="155" y="548"/>
                  </a:lnTo>
                  <a:lnTo>
                    <a:pt x="155" y="548"/>
                  </a:lnTo>
                  <a:lnTo>
                    <a:pt x="155" y="548"/>
                  </a:lnTo>
                  <a:lnTo>
                    <a:pt x="155" y="546"/>
                  </a:lnTo>
                  <a:lnTo>
                    <a:pt x="155" y="546"/>
                  </a:lnTo>
                  <a:lnTo>
                    <a:pt x="155" y="546"/>
                  </a:lnTo>
                  <a:lnTo>
                    <a:pt x="155" y="544"/>
                  </a:lnTo>
                  <a:lnTo>
                    <a:pt x="155" y="544"/>
                  </a:lnTo>
                  <a:lnTo>
                    <a:pt x="153" y="544"/>
                  </a:lnTo>
                  <a:lnTo>
                    <a:pt x="153" y="544"/>
                  </a:lnTo>
                  <a:lnTo>
                    <a:pt x="153" y="544"/>
                  </a:lnTo>
                  <a:lnTo>
                    <a:pt x="151" y="544"/>
                  </a:lnTo>
                  <a:lnTo>
                    <a:pt x="151" y="544"/>
                  </a:lnTo>
                  <a:lnTo>
                    <a:pt x="151" y="544"/>
                  </a:lnTo>
                  <a:lnTo>
                    <a:pt x="151" y="543"/>
                  </a:lnTo>
                  <a:lnTo>
                    <a:pt x="151" y="543"/>
                  </a:lnTo>
                  <a:lnTo>
                    <a:pt x="151" y="543"/>
                  </a:lnTo>
                  <a:lnTo>
                    <a:pt x="151" y="543"/>
                  </a:lnTo>
                  <a:lnTo>
                    <a:pt x="151" y="541"/>
                  </a:lnTo>
                  <a:lnTo>
                    <a:pt x="149" y="541"/>
                  </a:lnTo>
                  <a:lnTo>
                    <a:pt x="149" y="541"/>
                  </a:lnTo>
                  <a:lnTo>
                    <a:pt x="149" y="541"/>
                  </a:lnTo>
                  <a:lnTo>
                    <a:pt x="149" y="541"/>
                  </a:lnTo>
                  <a:lnTo>
                    <a:pt x="149" y="541"/>
                  </a:lnTo>
                  <a:lnTo>
                    <a:pt x="147" y="543"/>
                  </a:lnTo>
                  <a:lnTo>
                    <a:pt x="147" y="543"/>
                  </a:lnTo>
                  <a:lnTo>
                    <a:pt x="147" y="543"/>
                  </a:lnTo>
                  <a:lnTo>
                    <a:pt x="147" y="543"/>
                  </a:lnTo>
                  <a:lnTo>
                    <a:pt x="145" y="543"/>
                  </a:lnTo>
                  <a:lnTo>
                    <a:pt x="145" y="541"/>
                  </a:lnTo>
                  <a:lnTo>
                    <a:pt x="145" y="541"/>
                  </a:lnTo>
                  <a:lnTo>
                    <a:pt x="145" y="541"/>
                  </a:lnTo>
                  <a:lnTo>
                    <a:pt x="147" y="539"/>
                  </a:lnTo>
                  <a:lnTo>
                    <a:pt x="147" y="537"/>
                  </a:lnTo>
                  <a:lnTo>
                    <a:pt x="147" y="535"/>
                  </a:lnTo>
                  <a:lnTo>
                    <a:pt x="149" y="537"/>
                  </a:lnTo>
                  <a:lnTo>
                    <a:pt x="149" y="537"/>
                  </a:lnTo>
                  <a:lnTo>
                    <a:pt x="151" y="537"/>
                  </a:lnTo>
                  <a:lnTo>
                    <a:pt x="151" y="537"/>
                  </a:lnTo>
                  <a:lnTo>
                    <a:pt x="151" y="537"/>
                  </a:lnTo>
                  <a:lnTo>
                    <a:pt x="153" y="537"/>
                  </a:lnTo>
                  <a:lnTo>
                    <a:pt x="153" y="537"/>
                  </a:lnTo>
                  <a:lnTo>
                    <a:pt x="153" y="537"/>
                  </a:lnTo>
                  <a:lnTo>
                    <a:pt x="153" y="535"/>
                  </a:lnTo>
                  <a:lnTo>
                    <a:pt x="153" y="535"/>
                  </a:lnTo>
                  <a:lnTo>
                    <a:pt x="155" y="533"/>
                  </a:lnTo>
                  <a:lnTo>
                    <a:pt x="155" y="535"/>
                  </a:lnTo>
                  <a:lnTo>
                    <a:pt x="155" y="535"/>
                  </a:lnTo>
                  <a:lnTo>
                    <a:pt x="155" y="535"/>
                  </a:lnTo>
                  <a:lnTo>
                    <a:pt x="157" y="535"/>
                  </a:lnTo>
                  <a:lnTo>
                    <a:pt x="157" y="537"/>
                  </a:lnTo>
                  <a:lnTo>
                    <a:pt x="157" y="537"/>
                  </a:lnTo>
                  <a:lnTo>
                    <a:pt x="157" y="537"/>
                  </a:lnTo>
                  <a:lnTo>
                    <a:pt x="158" y="535"/>
                  </a:lnTo>
                  <a:lnTo>
                    <a:pt x="160" y="533"/>
                  </a:lnTo>
                  <a:lnTo>
                    <a:pt x="160" y="533"/>
                  </a:lnTo>
                  <a:lnTo>
                    <a:pt x="160" y="533"/>
                  </a:lnTo>
                  <a:lnTo>
                    <a:pt x="162" y="533"/>
                  </a:lnTo>
                  <a:lnTo>
                    <a:pt x="162" y="531"/>
                  </a:lnTo>
                  <a:lnTo>
                    <a:pt x="162" y="531"/>
                  </a:lnTo>
                  <a:lnTo>
                    <a:pt x="164" y="531"/>
                  </a:lnTo>
                  <a:lnTo>
                    <a:pt x="164" y="529"/>
                  </a:lnTo>
                  <a:lnTo>
                    <a:pt x="164" y="527"/>
                  </a:lnTo>
                  <a:lnTo>
                    <a:pt x="164" y="525"/>
                  </a:lnTo>
                  <a:lnTo>
                    <a:pt x="164" y="525"/>
                  </a:lnTo>
                  <a:lnTo>
                    <a:pt x="166" y="525"/>
                  </a:lnTo>
                  <a:lnTo>
                    <a:pt x="166" y="527"/>
                  </a:lnTo>
                  <a:lnTo>
                    <a:pt x="168" y="527"/>
                  </a:lnTo>
                  <a:lnTo>
                    <a:pt x="170" y="527"/>
                  </a:lnTo>
                  <a:lnTo>
                    <a:pt x="172" y="527"/>
                  </a:lnTo>
                  <a:lnTo>
                    <a:pt x="174" y="527"/>
                  </a:lnTo>
                  <a:lnTo>
                    <a:pt x="174" y="527"/>
                  </a:lnTo>
                  <a:lnTo>
                    <a:pt x="174" y="529"/>
                  </a:lnTo>
                  <a:lnTo>
                    <a:pt x="174" y="531"/>
                  </a:lnTo>
                  <a:lnTo>
                    <a:pt x="174" y="531"/>
                  </a:lnTo>
                  <a:lnTo>
                    <a:pt x="176" y="533"/>
                  </a:lnTo>
                  <a:lnTo>
                    <a:pt x="176" y="533"/>
                  </a:lnTo>
                  <a:lnTo>
                    <a:pt x="176" y="533"/>
                  </a:lnTo>
                  <a:lnTo>
                    <a:pt x="176" y="533"/>
                  </a:lnTo>
                  <a:lnTo>
                    <a:pt x="176" y="535"/>
                  </a:lnTo>
                  <a:lnTo>
                    <a:pt x="176" y="535"/>
                  </a:lnTo>
                  <a:lnTo>
                    <a:pt x="176" y="535"/>
                  </a:lnTo>
                  <a:lnTo>
                    <a:pt x="176" y="535"/>
                  </a:lnTo>
                  <a:lnTo>
                    <a:pt x="176" y="535"/>
                  </a:lnTo>
                  <a:lnTo>
                    <a:pt x="176" y="535"/>
                  </a:lnTo>
                  <a:lnTo>
                    <a:pt x="178" y="535"/>
                  </a:lnTo>
                  <a:lnTo>
                    <a:pt x="178" y="535"/>
                  </a:lnTo>
                  <a:lnTo>
                    <a:pt x="179" y="535"/>
                  </a:lnTo>
                  <a:lnTo>
                    <a:pt x="181" y="531"/>
                  </a:lnTo>
                  <a:lnTo>
                    <a:pt x="183" y="531"/>
                  </a:lnTo>
                  <a:lnTo>
                    <a:pt x="183" y="531"/>
                  </a:lnTo>
                  <a:lnTo>
                    <a:pt x="183" y="531"/>
                  </a:lnTo>
                  <a:lnTo>
                    <a:pt x="185" y="531"/>
                  </a:lnTo>
                  <a:lnTo>
                    <a:pt x="187" y="529"/>
                  </a:lnTo>
                  <a:lnTo>
                    <a:pt x="187" y="529"/>
                  </a:lnTo>
                  <a:lnTo>
                    <a:pt x="187" y="527"/>
                  </a:lnTo>
                  <a:lnTo>
                    <a:pt x="185" y="525"/>
                  </a:lnTo>
                  <a:lnTo>
                    <a:pt x="185" y="524"/>
                  </a:lnTo>
                  <a:lnTo>
                    <a:pt x="187" y="524"/>
                  </a:lnTo>
                  <a:lnTo>
                    <a:pt x="187" y="524"/>
                  </a:lnTo>
                  <a:lnTo>
                    <a:pt x="187" y="524"/>
                  </a:lnTo>
                  <a:lnTo>
                    <a:pt x="189" y="520"/>
                  </a:lnTo>
                  <a:lnTo>
                    <a:pt x="189" y="520"/>
                  </a:lnTo>
                  <a:lnTo>
                    <a:pt x="189" y="520"/>
                  </a:lnTo>
                  <a:lnTo>
                    <a:pt x="191" y="520"/>
                  </a:lnTo>
                  <a:lnTo>
                    <a:pt x="191" y="520"/>
                  </a:lnTo>
                  <a:lnTo>
                    <a:pt x="191" y="520"/>
                  </a:lnTo>
                  <a:lnTo>
                    <a:pt x="193" y="518"/>
                  </a:lnTo>
                  <a:lnTo>
                    <a:pt x="193" y="518"/>
                  </a:lnTo>
                  <a:lnTo>
                    <a:pt x="193" y="518"/>
                  </a:lnTo>
                  <a:lnTo>
                    <a:pt x="193" y="516"/>
                  </a:lnTo>
                  <a:lnTo>
                    <a:pt x="195" y="516"/>
                  </a:lnTo>
                  <a:lnTo>
                    <a:pt x="197" y="516"/>
                  </a:lnTo>
                  <a:lnTo>
                    <a:pt x="198" y="514"/>
                  </a:lnTo>
                  <a:lnTo>
                    <a:pt x="198" y="514"/>
                  </a:lnTo>
                  <a:lnTo>
                    <a:pt x="198" y="514"/>
                  </a:lnTo>
                  <a:lnTo>
                    <a:pt x="200" y="514"/>
                  </a:lnTo>
                  <a:lnTo>
                    <a:pt x="202" y="516"/>
                  </a:lnTo>
                  <a:lnTo>
                    <a:pt x="204" y="516"/>
                  </a:lnTo>
                  <a:lnTo>
                    <a:pt x="204" y="516"/>
                  </a:lnTo>
                  <a:lnTo>
                    <a:pt x="204" y="514"/>
                  </a:lnTo>
                  <a:lnTo>
                    <a:pt x="204" y="514"/>
                  </a:lnTo>
                  <a:lnTo>
                    <a:pt x="204" y="514"/>
                  </a:lnTo>
                  <a:lnTo>
                    <a:pt x="204" y="514"/>
                  </a:lnTo>
                  <a:lnTo>
                    <a:pt x="204" y="510"/>
                  </a:lnTo>
                  <a:lnTo>
                    <a:pt x="204" y="508"/>
                  </a:lnTo>
                  <a:lnTo>
                    <a:pt x="204" y="508"/>
                  </a:lnTo>
                  <a:lnTo>
                    <a:pt x="202" y="506"/>
                  </a:lnTo>
                  <a:lnTo>
                    <a:pt x="202" y="506"/>
                  </a:lnTo>
                  <a:lnTo>
                    <a:pt x="202" y="506"/>
                  </a:lnTo>
                  <a:lnTo>
                    <a:pt x="202" y="504"/>
                  </a:lnTo>
                  <a:lnTo>
                    <a:pt x="204" y="504"/>
                  </a:lnTo>
                  <a:lnTo>
                    <a:pt x="208" y="504"/>
                  </a:lnTo>
                  <a:lnTo>
                    <a:pt x="210" y="503"/>
                  </a:lnTo>
                  <a:lnTo>
                    <a:pt x="210" y="503"/>
                  </a:lnTo>
                  <a:lnTo>
                    <a:pt x="210" y="503"/>
                  </a:lnTo>
                  <a:lnTo>
                    <a:pt x="212" y="501"/>
                  </a:lnTo>
                  <a:lnTo>
                    <a:pt x="212" y="501"/>
                  </a:lnTo>
                  <a:lnTo>
                    <a:pt x="212" y="499"/>
                  </a:lnTo>
                  <a:lnTo>
                    <a:pt x="214" y="497"/>
                  </a:lnTo>
                  <a:lnTo>
                    <a:pt x="214" y="497"/>
                  </a:lnTo>
                  <a:lnTo>
                    <a:pt x="214" y="497"/>
                  </a:lnTo>
                  <a:lnTo>
                    <a:pt x="218" y="497"/>
                  </a:lnTo>
                  <a:lnTo>
                    <a:pt x="221" y="497"/>
                  </a:lnTo>
                  <a:lnTo>
                    <a:pt x="221" y="497"/>
                  </a:lnTo>
                  <a:lnTo>
                    <a:pt x="221" y="497"/>
                  </a:lnTo>
                  <a:lnTo>
                    <a:pt x="223" y="497"/>
                  </a:lnTo>
                  <a:lnTo>
                    <a:pt x="223" y="499"/>
                  </a:lnTo>
                  <a:lnTo>
                    <a:pt x="223" y="499"/>
                  </a:lnTo>
                  <a:lnTo>
                    <a:pt x="223" y="501"/>
                  </a:lnTo>
                  <a:lnTo>
                    <a:pt x="225" y="501"/>
                  </a:lnTo>
                  <a:lnTo>
                    <a:pt x="227" y="501"/>
                  </a:lnTo>
                  <a:lnTo>
                    <a:pt x="227" y="503"/>
                  </a:lnTo>
                  <a:lnTo>
                    <a:pt x="227" y="503"/>
                  </a:lnTo>
                  <a:lnTo>
                    <a:pt x="229" y="503"/>
                  </a:lnTo>
                  <a:lnTo>
                    <a:pt x="229" y="504"/>
                  </a:lnTo>
                  <a:lnTo>
                    <a:pt x="231" y="504"/>
                  </a:lnTo>
                  <a:lnTo>
                    <a:pt x="231" y="504"/>
                  </a:lnTo>
                  <a:lnTo>
                    <a:pt x="233" y="504"/>
                  </a:lnTo>
                  <a:lnTo>
                    <a:pt x="235" y="504"/>
                  </a:lnTo>
                  <a:lnTo>
                    <a:pt x="240" y="501"/>
                  </a:lnTo>
                  <a:lnTo>
                    <a:pt x="240" y="501"/>
                  </a:lnTo>
                  <a:lnTo>
                    <a:pt x="240" y="499"/>
                  </a:lnTo>
                  <a:lnTo>
                    <a:pt x="240" y="497"/>
                  </a:lnTo>
                  <a:lnTo>
                    <a:pt x="240" y="497"/>
                  </a:lnTo>
                  <a:lnTo>
                    <a:pt x="240" y="497"/>
                  </a:lnTo>
                  <a:lnTo>
                    <a:pt x="246" y="495"/>
                  </a:lnTo>
                  <a:lnTo>
                    <a:pt x="248" y="495"/>
                  </a:lnTo>
                  <a:lnTo>
                    <a:pt x="248" y="495"/>
                  </a:lnTo>
                  <a:lnTo>
                    <a:pt x="250" y="493"/>
                  </a:lnTo>
                  <a:lnTo>
                    <a:pt x="252" y="493"/>
                  </a:lnTo>
                  <a:lnTo>
                    <a:pt x="256" y="493"/>
                  </a:lnTo>
                  <a:lnTo>
                    <a:pt x="258" y="493"/>
                  </a:lnTo>
                  <a:lnTo>
                    <a:pt x="258" y="495"/>
                  </a:lnTo>
                  <a:lnTo>
                    <a:pt x="258" y="495"/>
                  </a:lnTo>
                  <a:lnTo>
                    <a:pt x="259" y="495"/>
                  </a:lnTo>
                  <a:lnTo>
                    <a:pt x="259" y="495"/>
                  </a:lnTo>
                  <a:lnTo>
                    <a:pt x="261" y="495"/>
                  </a:lnTo>
                  <a:lnTo>
                    <a:pt x="263" y="495"/>
                  </a:lnTo>
                  <a:lnTo>
                    <a:pt x="265" y="493"/>
                  </a:lnTo>
                  <a:lnTo>
                    <a:pt x="265" y="493"/>
                  </a:lnTo>
                  <a:lnTo>
                    <a:pt x="267" y="493"/>
                  </a:lnTo>
                  <a:lnTo>
                    <a:pt x="267" y="491"/>
                  </a:lnTo>
                  <a:lnTo>
                    <a:pt x="267" y="491"/>
                  </a:lnTo>
                  <a:lnTo>
                    <a:pt x="269" y="491"/>
                  </a:lnTo>
                  <a:lnTo>
                    <a:pt x="269" y="491"/>
                  </a:lnTo>
                  <a:lnTo>
                    <a:pt x="271" y="493"/>
                  </a:lnTo>
                  <a:lnTo>
                    <a:pt x="273" y="495"/>
                  </a:lnTo>
                  <a:lnTo>
                    <a:pt x="275" y="495"/>
                  </a:lnTo>
                  <a:lnTo>
                    <a:pt x="275" y="495"/>
                  </a:lnTo>
                  <a:lnTo>
                    <a:pt x="277" y="493"/>
                  </a:lnTo>
                  <a:lnTo>
                    <a:pt x="277" y="493"/>
                  </a:lnTo>
                  <a:lnTo>
                    <a:pt x="277" y="493"/>
                  </a:lnTo>
                  <a:lnTo>
                    <a:pt x="277" y="491"/>
                  </a:lnTo>
                  <a:lnTo>
                    <a:pt x="277" y="491"/>
                  </a:lnTo>
                  <a:lnTo>
                    <a:pt x="277" y="489"/>
                  </a:lnTo>
                  <a:lnTo>
                    <a:pt x="275" y="487"/>
                  </a:lnTo>
                  <a:lnTo>
                    <a:pt x="275" y="487"/>
                  </a:lnTo>
                  <a:lnTo>
                    <a:pt x="275" y="485"/>
                  </a:lnTo>
                  <a:lnTo>
                    <a:pt x="275" y="485"/>
                  </a:lnTo>
                  <a:lnTo>
                    <a:pt x="277" y="485"/>
                  </a:lnTo>
                  <a:lnTo>
                    <a:pt x="277" y="484"/>
                  </a:lnTo>
                  <a:lnTo>
                    <a:pt x="277" y="484"/>
                  </a:lnTo>
                  <a:lnTo>
                    <a:pt x="277" y="482"/>
                  </a:lnTo>
                  <a:lnTo>
                    <a:pt x="277" y="480"/>
                  </a:lnTo>
                  <a:lnTo>
                    <a:pt x="275" y="480"/>
                  </a:lnTo>
                  <a:lnTo>
                    <a:pt x="275" y="478"/>
                  </a:lnTo>
                  <a:lnTo>
                    <a:pt x="273" y="478"/>
                  </a:lnTo>
                  <a:lnTo>
                    <a:pt x="273" y="476"/>
                  </a:lnTo>
                  <a:lnTo>
                    <a:pt x="273" y="474"/>
                  </a:lnTo>
                  <a:lnTo>
                    <a:pt x="273" y="474"/>
                  </a:lnTo>
                  <a:lnTo>
                    <a:pt x="275" y="472"/>
                  </a:lnTo>
                  <a:lnTo>
                    <a:pt x="275" y="472"/>
                  </a:lnTo>
                  <a:lnTo>
                    <a:pt x="275" y="470"/>
                  </a:lnTo>
                  <a:lnTo>
                    <a:pt x="275" y="470"/>
                  </a:lnTo>
                  <a:lnTo>
                    <a:pt x="275" y="468"/>
                  </a:lnTo>
                  <a:lnTo>
                    <a:pt x="275" y="466"/>
                  </a:lnTo>
                  <a:lnTo>
                    <a:pt x="273" y="466"/>
                  </a:lnTo>
                  <a:lnTo>
                    <a:pt x="273" y="465"/>
                  </a:lnTo>
                  <a:lnTo>
                    <a:pt x="271" y="465"/>
                  </a:lnTo>
                  <a:lnTo>
                    <a:pt x="271" y="465"/>
                  </a:lnTo>
                  <a:lnTo>
                    <a:pt x="271" y="463"/>
                  </a:lnTo>
                  <a:lnTo>
                    <a:pt x="271" y="461"/>
                  </a:lnTo>
                  <a:lnTo>
                    <a:pt x="269" y="461"/>
                  </a:lnTo>
                  <a:lnTo>
                    <a:pt x="269" y="457"/>
                  </a:lnTo>
                  <a:lnTo>
                    <a:pt x="269" y="455"/>
                  </a:lnTo>
                  <a:lnTo>
                    <a:pt x="269" y="453"/>
                  </a:lnTo>
                  <a:lnTo>
                    <a:pt x="271" y="453"/>
                  </a:lnTo>
                  <a:lnTo>
                    <a:pt x="271" y="451"/>
                  </a:lnTo>
                  <a:lnTo>
                    <a:pt x="271" y="451"/>
                  </a:lnTo>
                  <a:lnTo>
                    <a:pt x="273" y="447"/>
                  </a:lnTo>
                  <a:lnTo>
                    <a:pt x="273" y="447"/>
                  </a:lnTo>
                  <a:lnTo>
                    <a:pt x="275" y="447"/>
                  </a:lnTo>
                  <a:lnTo>
                    <a:pt x="275" y="446"/>
                  </a:lnTo>
                  <a:lnTo>
                    <a:pt x="277" y="446"/>
                  </a:lnTo>
                  <a:lnTo>
                    <a:pt x="277" y="446"/>
                  </a:lnTo>
                  <a:lnTo>
                    <a:pt x="279" y="447"/>
                  </a:lnTo>
                  <a:lnTo>
                    <a:pt x="279" y="449"/>
                  </a:lnTo>
                  <a:lnTo>
                    <a:pt x="280" y="451"/>
                  </a:lnTo>
                  <a:lnTo>
                    <a:pt x="282" y="451"/>
                  </a:lnTo>
                  <a:lnTo>
                    <a:pt x="284" y="451"/>
                  </a:lnTo>
                  <a:lnTo>
                    <a:pt x="286" y="451"/>
                  </a:lnTo>
                  <a:lnTo>
                    <a:pt x="286" y="453"/>
                  </a:lnTo>
                  <a:lnTo>
                    <a:pt x="288" y="453"/>
                  </a:lnTo>
                  <a:lnTo>
                    <a:pt x="288" y="455"/>
                  </a:lnTo>
                  <a:lnTo>
                    <a:pt x="288" y="455"/>
                  </a:lnTo>
                  <a:lnTo>
                    <a:pt x="290" y="455"/>
                  </a:lnTo>
                  <a:lnTo>
                    <a:pt x="292" y="455"/>
                  </a:lnTo>
                  <a:lnTo>
                    <a:pt x="292" y="453"/>
                  </a:lnTo>
                  <a:lnTo>
                    <a:pt x="294" y="451"/>
                  </a:lnTo>
                  <a:lnTo>
                    <a:pt x="296" y="453"/>
                  </a:lnTo>
                  <a:lnTo>
                    <a:pt x="298" y="451"/>
                  </a:lnTo>
                  <a:lnTo>
                    <a:pt x="298" y="453"/>
                  </a:lnTo>
                  <a:lnTo>
                    <a:pt x="299" y="453"/>
                  </a:lnTo>
                  <a:lnTo>
                    <a:pt x="299" y="455"/>
                  </a:lnTo>
                  <a:lnTo>
                    <a:pt x="299" y="457"/>
                  </a:lnTo>
                  <a:lnTo>
                    <a:pt x="299" y="459"/>
                  </a:lnTo>
                  <a:lnTo>
                    <a:pt x="301" y="459"/>
                  </a:lnTo>
                  <a:lnTo>
                    <a:pt x="301" y="459"/>
                  </a:lnTo>
                  <a:lnTo>
                    <a:pt x="303" y="461"/>
                  </a:lnTo>
                  <a:lnTo>
                    <a:pt x="303" y="461"/>
                  </a:lnTo>
                  <a:lnTo>
                    <a:pt x="305" y="459"/>
                  </a:lnTo>
                  <a:lnTo>
                    <a:pt x="305" y="459"/>
                  </a:lnTo>
                  <a:lnTo>
                    <a:pt x="309" y="459"/>
                  </a:lnTo>
                  <a:lnTo>
                    <a:pt x="311" y="459"/>
                  </a:lnTo>
                  <a:lnTo>
                    <a:pt x="311" y="459"/>
                  </a:lnTo>
                  <a:lnTo>
                    <a:pt x="313" y="459"/>
                  </a:lnTo>
                  <a:lnTo>
                    <a:pt x="313" y="459"/>
                  </a:lnTo>
                  <a:lnTo>
                    <a:pt x="315" y="457"/>
                  </a:lnTo>
                  <a:lnTo>
                    <a:pt x="319" y="455"/>
                  </a:lnTo>
                  <a:lnTo>
                    <a:pt x="320" y="455"/>
                  </a:lnTo>
                  <a:lnTo>
                    <a:pt x="320" y="455"/>
                  </a:lnTo>
                  <a:lnTo>
                    <a:pt x="322" y="457"/>
                  </a:lnTo>
                  <a:lnTo>
                    <a:pt x="324" y="457"/>
                  </a:lnTo>
                  <a:lnTo>
                    <a:pt x="324" y="455"/>
                  </a:lnTo>
                  <a:lnTo>
                    <a:pt x="326" y="455"/>
                  </a:lnTo>
                  <a:lnTo>
                    <a:pt x="328" y="455"/>
                  </a:lnTo>
                  <a:lnTo>
                    <a:pt x="328" y="455"/>
                  </a:lnTo>
                  <a:lnTo>
                    <a:pt x="330" y="455"/>
                  </a:lnTo>
                  <a:lnTo>
                    <a:pt x="330" y="455"/>
                  </a:lnTo>
                  <a:lnTo>
                    <a:pt x="332" y="457"/>
                  </a:lnTo>
                  <a:lnTo>
                    <a:pt x="334" y="457"/>
                  </a:lnTo>
                  <a:lnTo>
                    <a:pt x="334" y="457"/>
                  </a:lnTo>
                  <a:lnTo>
                    <a:pt x="336" y="457"/>
                  </a:lnTo>
                  <a:lnTo>
                    <a:pt x="338" y="457"/>
                  </a:lnTo>
                  <a:lnTo>
                    <a:pt x="340" y="459"/>
                  </a:lnTo>
                  <a:lnTo>
                    <a:pt x="341" y="459"/>
                  </a:lnTo>
                  <a:lnTo>
                    <a:pt x="341" y="457"/>
                  </a:lnTo>
                  <a:lnTo>
                    <a:pt x="343" y="457"/>
                  </a:lnTo>
                  <a:lnTo>
                    <a:pt x="345" y="455"/>
                  </a:lnTo>
                  <a:lnTo>
                    <a:pt x="345" y="455"/>
                  </a:lnTo>
                  <a:lnTo>
                    <a:pt x="343" y="453"/>
                  </a:lnTo>
                  <a:lnTo>
                    <a:pt x="341" y="451"/>
                  </a:lnTo>
                  <a:lnTo>
                    <a:pt x="341" y="451"/>
                  </a:lnTo>
                  <a:lnTo>
                    <a:pt x="341" y="449"/>
                  </a:lnTo>
                  <a:lnTo>
                    <a:pt x="340" y="447"/>
                  </a:lnTo>
                  <a:lnTo>
                    <a:pt x="340" y="447"/>
                  </a:lnTo>
                  <a:lnTo>
                    <a:pt x="340" y="446"/>
                  </a:lnTo>
                  <a:lnTo>
                    <a:pt x="340" y="446"/>
                  </a:lnTo>
                  <a:lnTo>
                    <a:pt x="340" y="444"/>
                  </a:lnTo>
                  <a:lnTo>
                    <a:pt x="341" y="444"/>
                  </a:lnTo>
                  <a:lnTo>
                    <a:pt x="341" y="442"/>
                  </a:lnTo>
                  <a:lnTo>
                    <a:pt x="341" y="442"/>
                  </a:lnTo>
                  <a:lnTo>
                    <a:pt x="340" y="440"/>
                  </a:lnTo>
                  <a:lnTo>
                    <a:pt x="340" y="440"/>
                  </a:lnTo>
                  <a:lnTo>
                    <a:pt x="341" y="438"/>
                  </a:lnTo>
                  <a:lnTo>
                    <a:pt x="341" y="438"/>
                  </a:lnTo>
                  <a:lnTo>
                    <a:pt x="341" y="438"/>
                  </a:lnTo>
                  <a:lnTo>
                    <a:pt x="340" y="436"/>
                  </a:lnTo>
                  <a:lnTo>
                    <a:pt x="340" y="434"/>
                  </a:lnTo>
                  <a:lnTo>
                    <a:pt x="338" y="434"/>
                  </a:lnTo>
                  <a:lnTo>
                    <a:pt x="338" y="434"/>
                  </a:lnTo>
                  <a:lnTo>
                    <a:pt x="340" y="432"/>
                  </a:lnTo>
                  <a:lnTo>
                    <a:pt x="345" y="430"/>
                  </a:lnTo>
                  <a:lnTo>
                    <a:pt x="347" y="428"/>
                  </a:lnTo>
                  <a:lnTo>
                    <a:pt x="347" y="428"/>
                  </a:lnTo>
                  <a:lnTo>
                    <a:pt x="347" y="427"/>
                  </a:lnTo>
                  <a:lnTo>
                    <a:pt x="349" y="427"/>
                  </a:lnTo>
                  <a:lnTo>
                    <a:pt x="349" y="427"/>
                  </a:lnTo>
                  <a:lnTo>
                    <a:pt x="351" y="425"/>
                  </a:lnTo>
                  <a:lnTo>
                    <a:pt x="353" y="425"/>
                  </a:lnTo>
                  <a:lnTo>
                    <a:pt x="353" y="425"/>
                  </a:lnTo>
                  <a:lnTo>
                    <a:pt x="353" y="423"/>
                  </a:lnTo>
                  <a:lnTo>
                    <a:pt x="353" y="423"/>
                  </a:lnTo>
                  <a:lnTo>
                    <a:pt x="353" y="423"/>
                  </a:lnTo>
                  <a:lnTo>
                    <a:pt x="353" y="421"/>
                  </a:lnTo>
                  <a:lnTo>
                    <a:pt x="353" y="421"/>
                  </a:lnTo>
                  <a:lnTo>
                    <a:pt x="355" y="421"/>
                  </a:lnTo>
                  <a:lnTo>
                    <a:pt x="355" y="421"/>
                  </a:lnTo>
                  <a:lnTo>
                    <a:pt x="357" y="419"/>
                  </a:lnTo>
                  <a:lnTo>
                    <a:pt x="357" y="419"/>
                  </a:lnTo>
                  <a:lnTo>
                    <a:pt x="357" y="417"/>
                  </a:lnTo>
                  <a:lnTo>
                    <a:pt x="359" y="417"/>
                  </a:lnTo>
                  <a:lnTo>
                    <a:pt x="359" y="417"/>
                  </a:lnTo>
                  <a:lnTo>
                    <a:pt x="360" y="419"/>
                  </a:lnTo>
                  <a:lnTo>
                    <a:pt x="362" y="419"/>
                  </a:lnTo>
                  <a:lnTo>
                    <a:pt x="364" y="417"/>
                  </a:lnTo>
                  <a:lnTo>
                    <a:pt x="364" y="417"/>
                  </a:lnTo>
                  <a:lnTo>
                    <a:pt x="364" y="419"/>
                  </a:lnTo>
                  <a:lnTo>
                    <a:pt x="366" y="421"/>
                  </a:lnTo>
                  <a:lnTo>
                    <a:pt x="368" y="421"/>
                  </a:lnTo>
                  <a:lnTo>
                    <a:pt x="368" y="421"/>
                  </a:lnTo>
                  <a:lnTo>
                    <a:pt x="370" y="423"/>
                  </a:lnTo>
                  <a:lnTo>
                    <a:pt x="372" y="425"/>
                  </a:lnTo>
                  <a:lnTo>
                    <a:pt x="374" y="419"/>
                  </a:lnTo>
                  <a:lnTo>
                    <a:pt x="374" y="417"/>
                  </a:lnTo>
                  <a:lnTo>
                    <a:pt x="374" y="415"/>
                  </a:lnTo>
                  <a:lnTo>
                    <a:pt x="376" y="415"/>
                  </a:lnTo>
                  <a:lnTo>
                    <a:pt x="378" y="413"/>
                  </a:lnTo>
                  <a:lnTo>
                    <a:pt x="378" y="413"/>
                  </a:lnTo>
                  <a:lnTo>
                    <a:pt x="380" y="413"/>
                  </a:lnTo>
                  <a:lnTo>
                    <a:pt x="380" y="413"/>
                  </a:lnTo>
                  <a:lnTo>
                    <a:pt x="380" y="411"/>
                  </a:lnTo>
                  <a:lnTo>
                    <a:pt x="380" y="409"/>
                  </a:lnTo>
                  <a:lnTo>
                    <a:pt x="378" y="407"/>
                  </a:lnTo>
                  <a:lnTo>
                    <a:pt x="378" y="406"/>
                  </a:lnTo>
                  <a:lnTo>
                    <a:pt x="380" y="406"/>
                  </a:lnTo>
                  <a:lnTo>
                    <a:pt x="380" y="406"/>
                  </a:lnTo>
                  <a:lnTo>
                    <a:pt x="381" y="406"/>
                  </a:lnTo>
                  <a:lnTo>
                    <a:pt x="385" y="407"/>
                  </a:lnTo>
                  <a:lnTo>
                    <a:pt x="387" y="407"/>
                  </a:lnTo>
                  <a:lnTo>
                    <a:pt x="389" y="406"/>
                  </a:lnTo>
                  <a:lnTo>
                    <a:pt x="389" y="406"/>
                  </a:lnTo>
                  <a:lnTo>
                    <a:pt x="391" y="402"/>
                  </a:lnTo>
                  <a:lnTo>
                    <a:pt x="391" y="400"/>
                  </a:lnTo>
                  <a:lnTo>
                    <a:pt x="391" y="398"/>
                  </a:lnTo>
                  <a:lnTo>
                    <a:pt x="391" y="396"/>
                  </a:lnTo>
                  <a:lnTo>
                    <a:pt x="391" y="394"/>
                  </a:lnTo>
                  <a:lnTo>
                    <a:pt x="391" y="392"/>
                  </a:lnTo>
                  <a:lnTo>
                    <a:pt x="393" y="388"/>
                  </a:lnTo>
                  <a:lnTo>
                    <a:pt x="393" y="387"/>
                  </a:lnTo>
                  <a:lnTo>
                    <a:pt x="393" y="385"/>
                  </a:lnTo>
                  <a:lnTo>
                    <a:pt x="393" y="381"/>
                  </a:lnTo>
                  <a:lnTo>
                    <a:pt x="393" y="381"/>
                  </a:lnTo>
                  <a:lnTo>
                    <a:pt x="395" y="379"/>
                  </a:lnTo>
                  <a:lnTo>
                    <a:pt x="397" y="377"/>
                  </a:lnTo>
                  <a:lnTo>
                    <a:pt x="399" y="377"/>
                  </a:lnTo>
                  <a:lnTo>
                    <a:pt x="402" y="379"/>
                  </a:lnTo>
                  <a:lnTo>
                    <a:pt x="402" y="379"/>
                  </a:lnTo>
                  <a:lnTo>
                    <a:pt x="402" y="377"/>
                  </a:lnTo>
                  <a:lnTo>
                    <a:pt x="404" y="377"/>
                  </a:lnTo>
                  <a:lnTo>
                    <a:pt x="406" y="377"/>
                  </a:lnTo>
                  <a:lnTo>
                    <a:pt x="406" y="377"/>
                  </a:lnTo>
                  <a:lnTo>
                    <a:pt x="408" y="377"/>
                  </a:lnTo>
                  <a:lnTo>
                    <a:pt x="410" y="377"/>
                  </a:lnTo>
                  <a:lnTo>
                    <a:pt x="410" y="377"/>
                  </a:lnTo>
                  <a:lnTo>
                    <a:pt x="410" y="375"/>
                  </a:lnTo>
                  <a:lnTo>
                    <a:pt x="410" y="373"/>
                  </a:lnTo>
                  <a:lnTo>
                    <a:pt x="410" y="373"/>
                  </a:lnTo>
                  <a:lnTo>
                    <a:pt x="412" y="371"/>
                  </a:lnTo>
                  <a:lnTo>
                    <a:pt x="412" y="371"/>
                  </a:lnTo>
                  <a:lnTo>
                    <a:pt x="418" y="368"/>
                  </a:lnTo>
                  <a:lnTo>
                    <a:pt x="421" y="366"/>
                  </a:lnTo>
                  <a:lnTo>
                    <a:pt x="421" y="366"/>
                  </a:lnTo>
                  <a:lnTo>
                    <a:pt x="421" y="366"/>
                  </a:lnTo>
                  <a:lnTo>
                    <a:pt x="423" y="364"/>
                  </a:lnTo>
                  <a:lnTo>
                    <a:pt x="423" y="364"/>
                  </a:lnTo>
                  <a:lnTo>
                    <a:pt x="423" y="362"/>
                  </a:lnTo>
                  <a:lnTo>
                    <a:pt x="423" y="358"/>
                  </a:lnTo>
                  <a:lnTo>
                    <a:pt x="423" y="356"/>
                  </a:lnTo>
                  <a:lnTo>
                    <a:pt x="423" y="356"/>
                  </a:lnTo>
                  <a:lnTo>
                    <a:pt x="427" y="352"/>
                  </a:lnTo>
                  <a:lnTo>
                    <a:pt x="427" y="350"/>
                  </a:lnTo>
                  <a:lnTo>
                    <a:pt x="429" y="350"/>
                  </a:lnTo>
                  <a:lnTo>
                    <a:pt x="429" y="350"/>
                  </a:lnTo>
                  <a:lnTo>
                    <a:pt x="431" y="350"/>
                  </a:lnTo>
                  <a:lnTo>
                    <a:pt x="431" y="352"/>
                  </a:lnTo>
                  <a:lnTo>
                    <a:pt x="433" y="352"/>
                  </a:lnTo>
                  <a:lnTo>
                    <a:pt x="433" y="354"/>
                  </a:lnTo>
                  <a:lnTo>
                    <a:pt x="433" y="354"/>
                  </a:lnTo>
                  <a:lnTo>
                    <a:pt x="433" y="360"/>
                  </a:lnTo>
                  <a:lnTo>
                    <a:pt x="433" y="360"/>
                  </a:lnTo>
                  <a:lnTo>
                    <a:pt x="435" y="362"/>
                  </a:lnTo>
                  <a:lnTo>
                    <a:pt x="435" y="362"/>
                  </a:lnTo>
                  <a:lnTo>
                    <a:pt x="437" y="362"/>
                  </a:lnTo>
                  <a:lnTo>
                    <a:pt x="439" y="364"/>
                  </a:lnTo>
                  <a:lnTo>
                    <a:pt x="441" y="364"/>
                  </a:lnTo>
                  <a:lnTo>
                    <a:pt x="441" y="366"/>
                  </a:lnTo>
                  <a:lnTo>
                    <a:pt x="442" y="368"/>
                  </a:lnTo>
                  <a:lnTo>
                    <a:pt x="442" y="368"/>
                  </a:lnTo>
                  <a:lnTo>
                    <a:pt x="442" y="368"/>
                  </a:lnTo>
                  <a:lnTo>
                    <a:pt x="442" y="368"/>
                  </a:lnTo>
                  <a:lnTo>
                    <a:pt x="444" y="368"/>
                  </a:lnTo>
                  <a:lnTo>
                    <a:pt x="446" y="368"/>
                  </a:lnTo>
                  <a:lnTo>
                    <a:pt x="448" y="366"/>
                  </a:lnTo>
                  <a:lnTo>
                    <a:pt x="448" y="366"/>
                  </a:lnTo>
                  <a:lnTo>
                    <a:pt x="448" y="366"/>
                  </a:lnTo>
                  <a:lnTo>
                    <a:pt x="452" y="366"/>
                  </a:lnTo>
                  <a:lnTo>
                    <a:pt x="454" y="364"/>
                  </a:lnTo>
                  <a:lnTo>
                    <a:pt x="454" y="362"/>
                  </a:lnTo>
                  <a:lnTo>
                    <a:pt x="454" y="362"/>
                  </a:lnTo>
                  <a:lnTo>
                    <a:pt x="452" y="362"/>
                  </a:lnTo>
                  <a:lnTo>
                    <a:pt x="448" y="358"/>
                  </a:lnTo>
                  <a:lnTo>
                    <a:pt x="448" y="358"/>
                  </a:lnTo>
                  <a:lnTo>
                    <a:pt x="448" y="358"/>
                  </a:lnTo>
                  <a:lnTo>
                    <a:pt x="450" y="356"/>
                  </a:lnTo>
                  <a:lnTo>
                    <a:pt x="450" y="356"/>
                  </a:lnTo>
                  <a:lnTo>
                    <a:pt x="452" y="354"/>
                  </a:lnTo>
                  <a:lnTo>
                    <a:pt x="452" y="354"/>
                  </a:lnTo>
                  <a:lnTo>
                    <a:pt x="452" y="352"/>
                  </a:lnTo>
                  <a:lnTo>
                    <a:pt x="452" y="350"/>
                  </a:lnTo>
                  <a:lnTo>
                    <a:pt x="452" y="350"/>
                  </a:lnTo>
                  <a:lnTo>
                    <a:pt x="454" y="349"/>
                  </a:lnTo>
                  <a:lnTo>
                    <a:pt x="454" y="349"/>
                  </a:lnTo>
                  <a:lnTo>
                    <a:pt x="454" y="349"/>
                  </a:lnTo>
                  <a:lnTo>
                    <a:pt x="454" y="347"/>
                  </a:lnTo>
                  <a:lnTo>
                    <a:pt x="454" y="347"/>
                  </a:lnTo>
                  <a:lnTo>
                    <a:pt x="456" y="345"/>
                  </a:lnTo>
                  <a:lnTo>
                    <a:pt x="456" y="345"/>
                  </a:lnTo>
                  <a:lnTo>
                    <a:pt x="456" y="343"/>
                  </a:lnTo>
                  <a:lnTo>
                    <a:pt x="456" y="343"/>
                  </a:lnTo>
                  <a:lnTo>
                    <a:pt x="458" y="341"/>
                  </a:lnTo>
                  <a:lnTo>
                    <a:pt x="458" y="341"/>
                  </a:lnTo>
                  <a:lnTo>
                    <a:pt x="460" y="341"/>
                  </a:lnTo>
                  <a:lnTo>
                    <a:pt x="463" y="341"/>
                  </a:lnTo>
                  <a:lnTo>
                    <a:pt x="463" y="341"/>
                  </a:lnTo>
                  <a:lnTo>
                    <a:pt x="465" y="341"/>
                  </a:lnTo>
                  <a:lnTo>
                    <a:pt x="465" y="339"/>
                  </a:lnTo>
                  <a:lnTo>
                    <a:pt x="465" y="339"/>
                  </a:lnTo>
                  <a:lnTo>
                    <a:pt x="467" y="337"/>
                  </a:lnTo>
                  <a:lnTo>
                    <a:pt x="467" y="335"/>
                  </a:lnTo>
                  <a:lnTo>
                    <a:pt x="467" y="333"/>
                  </a:lnTo>
                  <a:lnTo>
                    <a:pt x="467" y="331"/>
                  </a:lnTo>
                  <a:lnTo>
                    <a:pt x="467" y="331"/>
                  </a:lnTo>
                  <a:lnTo>
                    <a:pt x="467" y="331"/>
                  </a:lnTo>
                  <a:lnTo>
                    <a:pt x="467" y="330"/>
                  </a:lnTo>
                  <a:lnTo>
                    <a:pt x="467" y="328"/>
                  </a:lnTo>
                  <a:lnTo>
                    <a:pt x="469" y="328"/>
                  </a:lnTo>
                  <a:lnTo>
                    <a:pt x="469" y="328"/>
                  </a:lnTo>
                  <a:lnTo>
                    <a:pt x="471" y="328"/>
                  </a:lnTo>
                  <a:lnTo>
                    <a:pt x="473" y="328"/>
                  </a:lnTo>
                  <a:lnTo>
                    <a:pt x="473" y="328"/>
                  </a:lnTo>
                  <a:lnTo>
                    <a:pt x="475" y="328"/>
                  </a:lnTo>
                  <a:lnTo>
                    <a:pt x="475" y="326"/>
                  </a:lnTo>
                  <a:lnTo>
                    <a:pt x="477" y="320"/>
                  </a:lnTo>
                  <a:lnTo>
                    <a:pt x="479" y="318"/>
                  </a:lnTo>
                  <a:lnTo>
                    <a:pt x="479" y="316"/>
                  </a:lnTo>
                  <a:lnTo>
                    <a:pt x="481" y="316"/>
                  </a:lnTo>
                  <a:lnTo>
                    <a:pt x="482" y="316"/>
                  </a:lnTo>
                  <a:lnTo>
                    <a:pt x="482" y="314"/>
                  </a:lnTo>
                  <a:lnTo>
                    <a:pt x="484" y="314"/>
                  </a:lnTo>
                  <a:lnTo>
                    <a:pt x="486" y="314"/>
                  </a:lnTo>
                  <a:lnTo>
                    <a:pt x="486" y="314"/>
                  </a:lnTo>
                  <a:lnTo>
                    <a:pt x="486" y="312"/>
                  </a:lnTo>
                  <a:lnTo>
                    <a:pt x="486" y="312"/>
                  </a:lnTo>
                  <a:lnTo>
                    <a:pt x="486" y="312"/>
                  </a:lnTo>
                  <a:lnTo>
                    <a:pt x="484" y="310"/>
                  </a:lnTo>
                  <a:lnTo>
                    <a:pt x="481" y="309"/>
                  </a:lnTo>
                  <a:lnTo>
                    <a:pt x="481" y="307"/>
                  </a:lnTo>
                  <a:lnTo>
                    <a:pt x="479" y="307"/>
                  </a:lnTo>
                  <a:lnTo>
                    <a:pt x="479" y="305"/>
                  </a:lnTo>
                  <a:lnTo>
                    <a:pt x="479" y="305"/>
                  </a:lnTo>
                  <a:lnTo>
                    <a:pt x="479" y="303"/>
                  </a:lnTo>
                  <a:lnTo>
                    <a:pt x="479" y="303"/>
                  </a:lnTo>
                  <a:lnTo>
                    <a:pt x="479" y="303"/>
                  </a:lnTo>
                  <a:lnTo>
                    <a:pt x="477" y="303"/>
                  </a:lnTo>
                  <a:lnTo>
                    <a:pt x="477" y="303"/>
                  </a:lnTo>
                  <a:lnTo>
                    <a:pt x="477" y="303"/>
                  </a:lnTo>
                  <a:lnTo>
                    <a:pt x="477" y="303"/>
                  </a:lnTo>
                  <a:lnTo>
                    <a:pt x="477" y="301"/>
                  </a:lnTo>
                  <a:lnTo>
                    <a:pt x="477" y="301"/>
                  </a:lnTo>
                  <a:lnTo>
                    <a:pt x="477" y="301"/>
                  </a:lnTo>
                  <a:lnTo>
                    <a:pt x="477" y="299"/>
                  </a:lnTo>
                  <a:lnTo>
                    <a:pt x="475" y="299"/>
                  </a:lnTo>
                  <a:lnTo>
                    <a:pt x="475" y="299"/>
                  </a:lnTo>
                  <a:lnTo>
                    <a:pt x="473" y="299"/>
                  </a:lnTo>
                  <a:lnTo>
                    <a:pt x="473" y="299"/>
                  </a:lnTo>
                  <a:lnTo>
                    <a:pt x="473" y="299"/>
                  </a:lnTo>
                  <a:lnTo>
                    <a:pt x="473" y="299"/>
                  </a:lnTo>
                  <a:lnTo>
                    <a:pt x="473" y="299"/>
                  </a:lnTo>
                  <a:lnTo>
                    <a:pt x="473" y="297"/>
                  </a:lnTo>
                  <a:lnTo>
                    <a:pt x="473" y="297"/>
                  </a:lnTo>
                  <a:lnTo>
                    <a:pt x="471" y="295"/>
                  </a:lnTo>
                  <a:lnTo>
                    <a:pt x="471" y="293"/>
                  </a:lnTo>
                  <a:lnTo>
                    <a:pt x="471" y="293"/>
                  </a:lnTo>
                  <a:lnTo>
                    <a:pt x="471" y="293"/>
                  </a:lnTo>
                  <a:lnTo>
                    <a:pt x="473" y="291"/>
                  </a:lnTo>
                  <a:lnTo>
                    <a:pt x="473" y="291"/>
                  </a:lnTo>
                  <a:lnTo>
                    <a:pt x="475" y="290"/>
                  </a:lnTo>
                  <a:lnTo>
                    <a:pt x="477" y="288"/>
                  </a:lnTo>
                  <a:lnTo>
                    <a:pt x="477" y="288"/>
                  </a:lnTo>
                  <a:lnTo>
                    <a:pt x="477" y="288"/>
                  </a:lnTo>
                  <a:lnTo>
                    <a:pt x="479" y="288"/>
                  </a:lnTo>
                  <a:lnTo>
                    <a:pt x="479" y="286"/>
                  </a:lnTo>
                  <a:lnTo>
                    <a:pt x="479" y="286"/>
                  </a:lnTo>
                  <a:lnTo>
                    <a:pt x="479" y="286"/>
                  </a:lnTo>
                  <a:lnTo>
                    <a:pt x="479" y="284"/>
                  </a:lnTo>
                  <a:lnTo>
                    <a:pt x="479" y="284"/>
                  </a:lnTo>
                  <a:lnTo>
                    <a:pt x="479" y="282"/>
                  </a:lnTo>
                  <a:lnTo>
                    <a:pt x="479" y="282"/>
                  </a:lnTo>
                  <a:lnTo>
                    <a:pt x="481" y="280"/>
                  </a:lnTo>
                  <a:lnTo>
                    <a:pt x="481" y="276"/>
                  </a:lnTo>
                  <a:lnTo>
                    <a:pt x="481" y="274"/>
                  </a:lnTo>
                  <a:lnTo>
                    <a:pt x="482" y="274"/>
                  </a:lnTo>
                  <a:lnTo>
                    <a:pt x="484" y="272"/>
                  </a:lnTo>
                  <a:lnTo>
                    <a:pt x="484" y="271"/>
                  </a:lnTo>
                  <a:lnTo>
                    <a:pt x="484" y="271"/>
                  </a:lnTo>
                  <a:lnTo>
                    <a:pt x="482" y="271"/>
                  </a:lnTo>
                  <a:lnTo>
                    <a:pt x="482" y="271"/>
                  </a:lnTo>
                  <a:lnTo>
                    <a:pt x="482" y="269"/>
                  </a:lnTo>
                  <a:lnTo>
                    <a:pt x="482" y="269"/>
                  </a:lnTo>
                  <a:lnTo>
                    <a:pt x="484" y="267"/>
                  </a:lnTo>
                  <a:lnTo>
                    <a:pt x="484" y="267"/>
                  </a:lnTo>
                  <a:lnTo>
                    <a:pt x="484" y="267"/>
                  </a:lnTo>
                  <a:lnTo>
                    <a:pt x="486" y="267"/>
                  </a:lnTo>
                  <a:lnTo>
                    <a:pt x="486" y="267"/>
                  </a:lnTo>
                  <a:lnTo>
                    <a:pt x="488" y="267"/>
                  </a:lnTo>
                  <a:lnTo>
                    <a:pt x="488" y="267"/>
                  </a:lnTo>
                  <a:lnTo>
                    <a:pt x="490" y="267"/>
                  </a:lnTo>
                  <a:lnTo>
                    <a:pt x="490" y="267"/>
                  </a:lnTo>
                  <a:lnTo>
                    <a:pt x="492" y="267"/>
                  </a:lnTo>
                  <a:lnTo>
                    <a:pt x="494" y="267"/>
                  </a:lnTo>
                  <a:lnTo>
                    <a:pt x="494" y="267"/>
                  </a:lnTo>
                  <a:lnTo>
                    <a:pt x="496" y="271"/>
                  </a:lnTo>
                  <a:lnTo>
                    <a:pt x="496" y="271"/>
                  </a:lnTo>
                  <a:lnTo>
                    <a:pt x="498" y="272"/>
                  </a:lnTo>
                  <a:lnTo>
                    <a:pt x="500" y="272"/>
                  </a:lnTo>
                  <a:lnTo>
                    <a:pt x="500" y="272"/>
                  </a:lnTo>
                  <a:lnTo>
                    <a:pt x="501" y="272"/>
                  </a:lnTo>
                  <a:lnTo>
                    <a:pt x="503" y="272"/>
                  </a:lnTo>
                  <a:lnTo>
                    <a:pt x="503" y="272"/>
                  </a:lnTo>
                  <a:lnTo>
                    <a:pt x="503" y="272"/>
                  </a:lnTo>
                  <a:lnTo>
                    <a:pt x="505" y="272"/>
                  </a:lnTo>
                  <a:lnTo>
                    <a:pt x="505" y="272"/>
                  </a:lnTo>
                  <a:lnTo>
                    <a:pt x="509" y="272"/>
                  </a:lnTo>
                  <a:lnTo>
                    <a:pt x="509" y="272"/>
                  </a:lnTo>
                  <a:lnTo>
                    <a:pt x="511" y="272"/>
                  </a:lnTo>
                  <a:lnTo>
                    <a:pt x="511" y="271"/>
                  </a:lnTo>
                  <a:lnTo>
                    <a:pt x="511" y="269"/>
                  </a:lnTo>
                  <a:lnTo>
                    <a:pt x="511" y="269"/>
                  </a:lnTo>
                  <a:lnTo>
                    <a:pt x="511" y="263"/>
                  </a:lnTo>
                  <a:lnTo>
                    <a:pt x="511" y="263"/>
                  </a:lnTo>
                  <a:lnTo>
                    <a:pt x="511" y="261"/>
                  </a:lnTo>
                  <a:lnTo>
                    <a:pt x="511" y="261"/>
                  </a:lnTo>
                  <a:lnTo>
                    <a:pt x="511" y="261"/>
                  </a:lnTo>
                  <a:lnTo>
                    <a:pt x="511" y="259"/>
                  </a:lnTo>
                  <a:lnTo>
                    <a:pt x="513" y="257"/>
                  </a:lnTo>
                  <a:lnTo>
                    <a:pt x="513" y="255"/>
                  </a:lnTo>
                  <a:lnTo>
                    <a:pt x="515" y="253"/>
                  </a:lnTo>
                  <a:lnTo>
                    <a:pt x="515" y="253"/>
                  </a:lnTo>
                  <a:lnTo>
                    <a:pt x="517" y="253"/>
                  </a:lnTo>
                  <a:lnTo>
                    <a:pt x="521" y="253"/>
                  </a:lnTo>
                  <a:lnTo>
                    <a:pt x="521" y="252"/>
                  </a:lnTo>
                  <a:lnTo>
                    <a:pt x="522" y="252"/>
                  </a:lnTo>
                  <a:lnTo>
                    <a:pt x="522" y="252"/>
                  </a:lnTo>
                  <a:lnTo>
                    <a:pt x="522" y="250"/>
                  </a:lnTo>
                  <a:lnTo>
                    <a:pt x="522" y="250"/>
                  </a:lnTo>
                  <a:lnTo>
                    <a:pt x="522" y="244"/>
                  </a:lnTo>
                  <a:lnTo>
                    <a:pt x="522" y="242"/>
                  </a:lnTo>
                  <a:lnTo>
                    <a:pt x="522" y="240"/>
                  </a:lnTo>
                  <a:lnTo>
                    <a:pt x="524" y="238"/>
                  </a:lnTo>
                  <a:lnTo>
                    <a:pt x="524" y="236"/>
                  </a:lnTo>
                  <a:lnTo>
                    <a:pt x="526" y="234"/>
                  </a:lnTo>
                  <a:lnTo>
                    <a:pt x="526" y="233"/>
                  </a:lnTo>
                  <a:lnTo>
                    <a:pt x="530" y="231"/>
                  </a:lnTo>
                  <a:lnTo>
                    <a:pt x="530" y="231"/>
                  </a:lnTo>
                  <a:lnTo>
                    <a:pt x="530" y="231"/>
                  </a:lnTo>
                  <a:lnTo>
                    <a:pt x="532" y="229"/>
                  </a:lnTo>
                  <a:lnTo>
                    <a:pt x="532" y="229"/>
                  </a:lnTo>
                  <a:lnTo>
                    <a:pt x="532" y="227"/>
                  </a:lnTo>
                  <a:lnTo>
                    <a:pt x="532" y="227"/>
                  </a:lnTo>
                  <a:lnTo>
                    <a:pt x="530" y="225"/>
                  </a:lnTo>
                  <a:lnTo>
                    <a:pt x="530" y="225"/>
                  </a:lnTo>
                  <a:lnTo>
                    <a:pt x="528" y="225"/>
                  </a:lnTo>
                  <a:lnTo>
                    <a:pt x="528" y="225"/>
                  </a:lnTo>
                  <a:lnTo>
                    <a:pt x="524" y="215"/>
                  </a:lnTo>
                  <a:lnTo>
                    <a:pt x="524" y="213"/>
                  </a:lnTo>
                  <a:lnTo>
                    <a:pt x="524" y="212"/>
                  </a:lnTo>
                  <a:lnTo>
                    <a:pt x="528" y="213"/>
                  </a:lnTo>
                  <a:lnTo>
                    <a:pt x="530" y="213"/>
                  </a:lnTo>
                  <a:lnTo>
                    <a:pt x="530" y="213"/>
                  </a:lnTo>
                  <a:lnTo>
                    <a:pt x="530" y="215"/>
                  </a:lnTo>
                  <a:lnTo>
                    <a:pt x="532" y="217"/>
                  </a:lnTo>
                  <a:lnTo>
                    <a:pt x="532" y="217"/>
                  </a:lnTo>
                  <a:lnTo>
                    <a:pt x="532" y="217"/>
                  </a:lnTo>
                  <a:lnTo>
                    <a:pt x="532" y="217"/>
                  </a:lnTo>
                  <a:lnTo>
                    <a:pt x="538" y="221"/>
                  </a:lnTo>
                  <a:lnTo>
                    <a:pt x="540" y="221"/>
                  </a:lnTo>
                  <a:lnTo>
                    <a:pt x="540" y="219"/>
                  </a:lnTo>
                  <a:lnTo>
                    <a:pt x="540" y="219"/>
                  </a:lnTo>
                  <a:lnTo>
                    <a:pt x="540" y="219"/>
                  </a:lnTo>
                  <a:lnTo>
                    <a:pt x="540" y="219"/>
                  </a:lnTo>
                  <a:lnTo>
                    <a:pt x="541" y="219"/>
                  </a:lnTo>
                  <a:lnTo>
                    <a:pt x="541" y="219"/>
                  </a:lnTo>
                  <a:lnTo>
                    <a:pt x="541" y="217"/>
                  </a:lnTo>
                  <a:lnTo>
                    <a:pt x="541" y="217"/>
                  </a:lnTo>
                  <a:lnTo>
                    <a:pt x="543" y="217"/>
                  </a:lnTo>
                  <a:lnTo>
                    <a:pt x="543" y="217"/>
                  </a:lnTo>
                  <a:lnTo>
                    <a:pt x="543" y="217"/>
                  </a:lnTo>
                  <a:lnTo>
                    <a:pt x="545" y="219"/>
                  </a:lnTo>
                  <a:lnTo>
                    <a:pt x="545" y="219"/>
                  </a:lnTo>
                  <a:lnTo>
                    <a:pt x="547" y="219"/>
                  </a:lnTo>
                  <a:lnTo>
                    <a:pt x="547" y="219"/>
                  </a:lnTo>
                  <a:lnTo>
                    <a:pt x="549" y="219"/>
                  </a:lnTo>
                  <a:lnTo>
                    <a:pt x="551" y="219"/>
                  </a:lnTo>
                  <a:lnTo>
                    <a:pt x="557" y="221"/>
                  </a:lnTo>
                  <a:lnTo>
                    <a:pt x="561" y="223"/>
                  </a:lnTo>
                  <a:lnTo>
                    <a:pt x="561" y="223"/>
                  </a:lnTo>
                  <a:lnTo>
                    <a:pt x="562" y="223"/>
                  </a:lnTo>
                  <a:lnTo>
                    <a:pt x="566" y="223"/>
                  </a:lnTo>
                  <a:lnTo>
                    <a:pt x="568" y="223"/>
                  </a:lnTo>
                  <a:lnTo>
                    <a:pt x="570" y="225"/>
                  </a:lnTo>
                  <a:lnTo>
                    <a:pt x="570" y="225"/>
                  </a:lnTo>
                  <a:lnTo>
                    <a:pt x="570" y="225"/>
                  </a:lnTo>
                  <a:lnTo>
                    <a:pt x="572" y="227"/>
                  </a:lnTo>
                  <a:lnTo>
                    <a:pt x="572" y="227"/>
                  </a:lnTo>
                  <a:lnTo>
                    <a:pt x="572" y="227"/>
                  </a:lnTo>
                  <a:lnTo>
                    <a:pt x="572" y="227"/>
                  </a:lnTo>
                  <a:lnTo>
                    <a:pt x="574" y="234"/>
                  </a:lnTo>
                  <a:lnTo>
                    <a:pt x="576" y="234"/>
                  </a:lnTo>
                  <a:lnTo>
                    <a:pt x="576" y="236"/>
                  </a:lnTo>
                  <a:lnTo>
                    <a:pt x="576" y="236"/>
                  </a:lnTo>
                  <a:lnTo>
                    <a:pt x="578" y="236"/>
                  </a:lnTo>
                  <a:lnTo>
                    <a:pt x="580" y="238"/>
                  </a:lnTo>
                  <a:lnTo>
                    <a:pt x="580" y="238"/>
                  </a:lnTo>
                  <a:lnTo>
                    <a:pt x="580" y="238"/>
                  </a:lnTo>
                  <a:lnTo>
                    <a:pt x="580" y="240"/>
                  </a:lnTo>
                  <a:lnTo>
                    <a:pt x="580" y="240"/>
                  </a:lnTo>
                  <a:lnTo>
                    <a:pt x="582" y="240"/>
                  </a:lnTo>
                  <a:lnTo>
                    <a:pt x="583" y="240"/>
                  </a:lnTo>
                  <a:lnTo>
                    <a:pt x="583" y="242"/>
                  </a:lnTo>
                  <a:lnTo>
                    <a:pt x="585" y="242"/>
                  </a:lnTo>
                  <a:lnTo>
                    <a:pt x="585" y="242"/>
                  </a:lnTo>
                  <a:lnTo>
                    <a:pt x="585" y="242"/>
                  </a:lnTo>
                  <a:lnTo>
                    <a:pt x="585" y="242"/>
                  </a:lnTo>
                  <a:lnTo>
                    <a:pt x="587" y="242"/>
                  </a:lnTo>
                  <a:lnTo>
                    <a:pt x="589" y="242"/>
                  </a:lnTo>
                  <a:lnTo>
                    <a:pt x="589" y="242"/>
                  </a:lnTo>
                  <a:lnTo>
                    <a:pt x="591" y="240"/>
                  </a:lnTo>
                  <a:lnTo>
                    <a:pt x="591" y="238"/>
                  </a:lnTo>
                  <a:lnTo>
                    <a:pt x="593" y="238"/>
                  </a:lnTo>
                  <a:lnTo>
                    <a:pt x="593" y="238"/>
                  </a:lnTo>
                  <a:lnTo>
                    <a:pt x="597" y="236"/>
                  </a:lnTo>
                  <a:lnTo>
                    <a:pt x="602" y="234"/>
                  </a:lnTo>
                  <a:lnTo>
                    <a:pt x="602" y="234"/>
                  </a:lnTo>
                  <a:lnTo>
                    <a:pt x="604" y="234"/>
                  </a:lnTo>
                  <a:lnTo>
                    <a:pt x="606" y="236"/>
                  </a:lnTo>
                  <a:lnTo>
                    <a:pt x="606" y="236"/>
                  </a:lnTo>
                  <a:lnTo>
                    <a:pt x="608" y="236"/>
                  </a:lnTo>
                  <a:lnTo>
                    <a:pt x="608" y="240"/>
                  </a:lnTo>
                  <a:lnTo>
                    <a:pt x="610" y="240"/>
                  </a:lnTo>
                  <a:lnTo>
                    <a:pt x="610" y="240"/>
                  </a:lnTo>
                  <a:lnTo>
                    <a:pt x="610" y="240"/>
                  </a:lnTo>
                  <a:lnTo>
                    <a:pt x="620" y="242"/>
                  </a:lnTo>
                  <a:lnTo>
                    <a:pt x="620" y="242"/>
                  </a:lnTo>
                  <a:lnTo>
                    <a:pt x="622" y="242"/>
                  </a:lnTo>
                  <a:lnTo>
                    <a:pt x="622" y="244"/>
                  </a:lnTo>
                  <a:lnTo>
                    <a:pt x="622" y="246"/>
                  </a:lnTo>
                  <a:lnTo>
                    <a:pt x="623" y="246"/>
                  </a:lnTo>
                  <a:lnTo>
                    <a:pt x="623" y="246"/>
                  </a:lnTo>
                  <a:lnTo>
                    <a:pt x="625" y="246"/>
                  </a:lnTo>
                  <a:lnTo>
                    <a:pt x="633" y="246"/>
                  </a:lnTo>
                  <a:lnTo>
                    <a:pt x="633" y="246"/>
                  </a:lnTo>
                  <a:lnTo>
                    <a:pt x="633" y="246"/>
                  </a:lnTo>
                  <a:lnTo>
                    <a:pt x="637" y="246"/>
                  </a:lnTo>
                  <a:lnTo>
                    <a:pt x="637" y="246"/>
                  </a:lnTo>
                  <a:lnTo>
                    <a:pt x="637" y="248"/>
                  </a:lnTo>
                  <a:lnTo>
                    <a:pt x="639" y="248"/>
                  </a:lnTo>
                  <a:lnTo>
                    <a:pt x="639" y="248"/>
                  </a:lnTo>
                  <a:lnTo>
                    <a:pt x="639" y="248"/>
                  </a:lnTo>
                  <a:lnTo>
                    <a:pt x="639" y="248"/>
                  </a:lnTo>
                  <a:lnTo>
                    <a:pt x="641" y="248"/>
                  </a:lnTo>
                  <a:lnTo>
                    <a:pt x="641" y="248"/>
                  </a:lnTo>
                  <a:lnTo>
                    <a:pt x="641" y="248"/>
                  </a:lnTo>
                  <a:lnTo>
                    <a:pt x="642" y="248"/>
                  </a:lnTo>
                  <a:lnTo>
                    <a:pt x="642" y="248"/>
                  </a:lnTo>
                  <a:lnTo>
                    <a:pt x="642" y="246"/>
                  </a:lnTo>
                  <a:lnTo>
                    <a:pt x="642" y="246"/>
                  </a:lnTo>
                  <a:lnTo>
                    <a:pt x="642" y="244"/>
                  </a:lnTo>
                  <a:lnTo>
                    <a:pt x="642" y="244"/>
                  </a:lnTo>
                  <a:lnTo>
                    <a:pt x="644" y="244"/>
                  </a:lnTo>
                  <a:lnTo>
                    <a:pt x="644" y="242"/>
                  </a:lnTo>
                  <a:lnTo>
                    <a:pt x="652" y="240"/>
                  </a:lnTo>
                  <a:lnTo>
                    <a:pt x="652" y="240"/>
                  </a:lnTo>
                  <a:lnTo>
                    <a:pt x="652" y="240"/>
                  </a:lnTo>
                  <a:lnTo>
                    <a:pt x="654" y="240"/>
                  </a:lnTo>
                  <a:lnTo>
                    <a:pt x="660" y="240"/>
                  </a:lnTo>
                  <a:lnTo>
                    <a:pt x="662" y="242"/>
                  </a:lnTo>
                  <a:lnTo>
                    <a:pt x="662" y="242"/>
                  </a:lnTo>
                  <a:lnTo>
                    <a:pt x="663" y="244"/>
                  </a:lnTo>
                  <a:lnTo>
                    <a:pt x="663" y="246"/>
                  </a:lnTo>
                  <a:lnTo>
                    <a:pt x="665" y="248"/>
                  </a:lnTo>
                  <a:lnTo>
                    <a:pt x="665" y="248"/>
                  </a:lnTo>
                  <a:lnTo>
                    <a:pt x="667" y="248"/>
                  </a:lnTo>
                  <a:lnTo>
                    <a:pt x="667" y="250"/>
                  </a:lnTo>
                  <a:lnTo>
                    <a:pt x="667" y="250"/>
                  </a:lnTo>
                  <a:lnTo>
                    <a:pt x="669" y="250"/>
                  </a:lnTo>
                  <a:lnTo>
                    <a:pt x="671" y="250"/>
                  </a:lnTo>
                  <a:lnTo>
                    <a:pt x="671" y="250"/>
                  </a:lnTo>
                  <a:lnTo>
                    <a:pt x="671" y="250"/>
                  </a:lnTo>
                  <a:lnTo>
                    <a:pt x="673" y="252"/>
                  </a:lnTo>
                  <a:lnTo>
                    <a:pt x="673" y="252"/>
                  </a:lnTo>
                  <a:lnTo>
                    <a:pt x="673" y="253"/>
                  </a:lnTo>
                  <a:lnTo>
                    <a:pt x="675" y="253"/>
                  </a:lnTo>
                  <a:lnTo>
                    <a:pt x="675" y="253"/>
                  </a:lnTo>
                  <a:lnTo>
                    <a:pt x="675" y="255"/>
                  </a:lnTo>
                  <a:lnTo>
                    <a:pt x="675" y="257"/>
                  </a:lnTo>
                  <a:lnTo>
                    <a:pt x="675" y="257"/>
                  </a:lnTo>
                  <a:lnTo>
                    <a:pt x="675" y="259"/>
                  </a:lnTo>
                  <a:lnTo>
                    <a:pt x="675" y="263"/>
                  </a:lnTo>
                  <a:lnTo>
                    <a:pt x="675" y="265"/>
                  </a:lnTo>
                  <a:lnTo>
                    <a:pt x="675" y="265"/>
                  </a:lnTo>
                  <a:lnTo>
                    <a:pt x="675" y="267"/>
                  </a:lnTo>
                  <a:lnTo>
                    <a:pt x="675" y="269"/>
                  </a:lnTo>
                  <a:lnTo>
                    <a:pt x="675" y="271"/>
                  </a:lnTo>
                  <a:lnTo>
                    <a:pt x="673" y="271"/>
                  </a:lnTo>
                  <a:lnTo>
                    <a:pt x="673" y="272"/>
                  </a:lnTo>
                  <a:lnTo>
                    <a:pt x="673" y="272"/>
                  </a:lnTo>
                  <a:lnTo>
                    <a:pt x="673" y="272"/>
                  </a:lnTo>
                  <a:lnTo>
                    <a:pt x="673" y="272"/>
                  </a:lnTo>
                  <a:lnTo>
                    <a:pt x="673" y="274"/>
                  </a:lnTo>
                  <a:lnTo>
                    <a:pt x="673" y="276"/>
                  </a:lnTo>
                  <a:lnTo>
                    <a:pt x="673" y="278"/>
                  </a:lnTo>
                  <a:lnTo>
                    <a:pt x="673" y="280"/>
                  </a:lnTo>
                  <a:lnTo>
                    <a:pt x="673" y="282"/>
                  </a:lnTo>
                  <a:lnTo>
                    <a:pt x="671" y="282"/>
                  </a:lnTo>
                  <a:lnTo>
                    <a:pt x="669" y="286"/>
                  </a:lnTo>
                  <a:lnTo>
                    <a:pt x="667" y="288"/>
                  </a:lnTo>
                  <a:lnTo>
                    <a:pt x="665" y="290"/>
                  </a:lnTo>
                  <a:lnTo>
                    <a:pt x="667" y="293"/>
                  </a:lnTo>
                  <a:lnTo>
                    <a:pt x="667" y="293"/>
                  </a:lnTo>
                  <a:lnTo>
                    <a:pt x="673" y="293"/>
                  </a:lnTo>
                  <a:lnTo>
                    <a:pt x="673" y="295"/>
                  </a:lnTo>
                  <a:lnTo>
                    <a:pt x="675" y="301"/>
                  </a:lnTo>
                  <a:lnTo>
                    <a:pt x="675" y="305"/>
                  </a:lnTo>
                  <a:lnTo>
                    <a:pt x="675" y="309"/>
                  </a:lnTo>
                  <a:lnTo>
                    <a:pt x="675" y="310"/>
                  </a:lnTo>
                  <a:lnTo>
                    <a:pt x="675" y="312"/>
                  </a:lnTo>
                  <a:lnTo>
                    <a:pt x="671" y="314"/>
                  </a:lnTo>
                  <a:lnTo>
                    <a:pt x="671" y="316"/>
                  </a:lnTo>
                  <a:lnTo>
                    <a:pt x="677" y="318"/>
                  </a:lnTo>
                  <a:lnTo>
                    <a:pt x="679" y="320"/>
                  </a:lnTo>
                  <a:lnTo>
                    <a:pt x="683" y="322"/>
                  </a:lnTo>
                  <a:lnTo>
                    <a:pt x="684" y="324"/>
                  </a:lnTo>
                  <a:lnTo>
                    <a:pt x="684" y="324"/>
                  </a:lnTo>
                  <a:lnTo>
                    <a:pt x="686" y="328"/>
                  </a:lnTo>
                  <a:lnTo>
                    <a:pt x="686" y="328"/>
                  </a:lnTo>
                  <a:lnTo>
                    <a:pt x="694" y="328"/>
                  </a:lnTo>
                  <a:lnTo>
                    <a:pt x="702" y="328"/>
                  </a:lnTo>
                  <a:lnTo>
                    <a:pt x="702" y="328"/>
                  </a:lnTo>
                  <a:lnTo>
                    <a:pt x="703" y="326"/>
                  </a:lnTo>
                  <a:lnTo>
                    <a:pt x="703" y="324"/>
                  </a:lnTo>
                  <a:lnTo>
                    <a:pt x="703" y="324"/>
                  </a:lnTo>
                  <a:lnTo>
                    <a:pt x="703" y="322"/>
                  </a:lnTo>
                  <a:lnTo>
                    <a:pt x="703" y="320"/>
                  </a:lnTo>
                  <a:lnTo>
                    <a:pt x="703" y="320"/>
                  </a:lnTo>
                  <a:lnTo>
                    <a:pt x="709" y="316"/>
                  </a:lnTo>
                  <a:lnTo>
                    <a:pt x="711" y="314"/>
                  </a:lnTo>
                  <a:lnTo>
                    <a:pt x="711" y="312"/>
                  </a:lnTo>
                  <a:lnTo>
                    <a:pt x="705" y="307"/>
                  </a:lnTo>
                  <a:lnTo>
                    <a:pt x="703" y="303"/>
                  </a:lnTo>
                  <a:lnTo>
                    <a:pt x="703" y="301"/>
                  </a:lnTo>
                  <a:lnTo>
                    <a:pt x="705" y="297"/>
                  </a:lnTo>
                  <a:lnTo>
                    <a:pt x="711" y="290"/>
                  </a:lnTo>
                  <a:lnTo>
                    <a:pt x="713" y="288"/>
                  </a:lnTo>
                  <a:lnTo>
                    <a:pt x="713" y="286"/>
                  </a:lnTo>
                  <a:lnTo>
                    <a:pt x="713" y="284"/>
                  </a:lnTo>
                  <a:lnTo>
                    <a:pt x="715" y="276"/>
                  </a:lnTo>
                  <a:lnTo>
                    <a:pt x="717" y="274"/>
                  </a:lnTo>
                  <a:lnTo>
                    <a:pt x="717" y="272"/>
                  </a:lnTo>
                  <a:lnTo>
                    <a:pt x="719" y="272"/>
                  </a:lnTo>
                  <a:lnTo>
                    <a:pt x="721" y="272"/>
                  </a:lnTo>
                  <a:lnTo>
                    <a:pt x="721" y="271"/>
                  </a:lnTo>
                  <a:lnTo>
                    <a:pt x="723" y="267"/>
                  </a:lnTo>
                  <a:lnTo>
                    <a:pt x="723" y="267"/>
                  </a:lnTo>
                  <a:lnTo>
                    <a:pt x="724" y="265"/>
                  </a:lnTo>
                  <a:lnTo>
                    <a:pt x="726" y="265"/>
                  </a:lnTo>
                  <a:lnTo>
                    <a:pt x="726" y="265"/>
                  </a:lnTo>
                  <a:lnTo>
                    <a:pt x="728" y="263"/>
                  </a:lnTo>
                  <a:lnTo>
                    <a:pt x="728" y="261"/>
                  </a:lnTo>
                  <a:lnTo>
                    <a:pt x="730" y="261"/>
                  </a:lnTo>
                  <a:lnTo>
                    <a:pt x="732" y="259"/>
                  </a:lnTo>
                  <a:lnTo>
                    <a:pt x="734" y="261"/>
                  </a:lnTo>
                  <a:lnTo>
                    <a:pt x="734" y="265"/>
                  </a:lnTo>
                  <a:lnTo>
                    <a:pt x="736" y="267"/>
                  </a:lnTo>
                  <a:lnTo>
                    <a:pt x="738" y="267"/>
                  </a:lnTo>
                  <a:lnTo>
                    <a:pt x="740" y="267"/>
                  </a:lnTo>
                  <a:lnTo>
                    <a:pt x="742" y="267"/>
                  </a:lnTo>
                  <a:lnTo>
                    <a:pt x="743" y="269"/>
                  </a:lnTo>
                  <a:lnTo>
                    <a:pt x="743" y="271"/>
                  </a:lnTo>
                  <a:lnTo>
                    <a:pt x="745" y="272"/>
                  </a:lnTo>
                  <a:lnTo>
                    <a:pt x="745" y="272"/>
                  </a:lnTo>
                  <a:lnTo>
                    <a:pt x="745" y="272"/>
                  </a:lnTo>
                  <a:lnTo>
                    <a:pt x="747" y="271"/>
                  </a:lnTo>
                  <a:lnTo>
                    <a:pt x="747" y="271"/>
                  </a:lnTo>
                  <a:lnTo>
                    <a:pt x="749" y="269"/>
                  </a:lnTo>
                  <a:lnTo>
                    <a:pt x="751" y="269"/>
                  </a:lnTo>
                  <a:lnTo>
                    <a:pt x="755" y="267"/>
                  </a:lnTo>
                  <a:lnTo>
                    <a:pt x="755" y="265"/>
                  </a:lnTo>
                  <a:lnTo>
                    <a:pt x="755" y="265"/>
                  </a:lnTo>
                  <a:lnTo>
                    <a:pt x="755" y="263"/>
                  </a:lnTo>
                  <a:lnTo>
                    <a:pt x="753" y="261"/>
                  </a:lnTo>
                  <a:lnTo>
                    <a:pt x="753" y="259"/>
                  </a:lnTo>
                  <a:lnTo>
                    <a:pt x="753" y="259"/>
                  </a:lnTo>
                  <a:lnTo>
                    <a:pt x="755" y="259"/>
                  </a:lnTo>
                  <a:lnTo>
                    <a:pt x="755" y="257"/>
                  </a:lnTo>
                  <a:lnTo>
                    <a:pt x="757" y="257"/>
                  </a:lnTo>
                  <a:lnTo>
                    <a:pt x="759" y="257"/>
                  </a:lnTo>
                  <a:lnTo>
                    <a:pt x="761" y="257"/>
                  </a:lnTo>
                  <a:lnTo>
                    <a:pt x="761" y="255"/>
                  </a:lnTo>
                  <a:lnTo>
                    <a:pt x="761" y="253"/>
                  </a:lnTo>
                  <a:lnTo>
                    <a:pt x="763" y="253"/>
                  </a:lnTo>
                  <a:lnTo>
                    <a:pt x="761" y="252"/>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6" name="Freeform 38">
              <a:extLst>
                <a:ext uri="{FF2B5EF4-FFF2-40B4-BE49-F238E27FC236}">
                  <a16:creationId xmlns:a16="http://schemas.microsoft.com/office/drawing/2014/main" id="{1FF3D1F6-1C1A-C1B1-ED12-351E3C379393}"/>
                </a:ext>
              </a:extLst>
            </p:cNvPr>
            <p:cNvSpPr>
              <a:spLocks/>
            </p:cNvSpPr>
            <p:nvPr/>
          </p:nvSpPr>
          <p:spPr bwMode="auto">
            <a:xfrm>
              <a:off x="4640263" y="3161513"/>
              <a:ext cx="1289050" cy="927100"/>
            </a:xfrm>
            <a:custGeom>
              <a:avLst/>
              <a:gdLst>
                <a:gd name="T0" fmla="*/ 764 w 812"/>
                <a:gd name="T1" fmla="*/ 220 h 584"/>
                <a:gd name="T2" fmla="*/ 745 w 812"/>
                <a:gd name="T3" fmla="*/ 209 h 584"/>
                <a:gd name="T4" fmla="*/ 697 w 812"/>
                <a:gd name="T5" fmla="*/ 180 h 584"/>
                <a:gd name="T6" fmla="*/ 667 w 812"/>
                <a:gd name="T7" fmla="*/ 173 h 584"/>
                <a:gd name="T8" fmla="*/ 635 w 812"/>
                <a:gd name="T9" fmla="*/ 192 h 584"/>
                <a:gd name="T10" fmla="*/ 625 w 812"/>
                <a:gd name="T11" fmla="*/ 169 h 584"/>
                <a:gd name="T12" fmla="*/ 600 w 812"/>
                <a:gd name="T13" fmla="*/ 178 h 584"/>
                <a:gd name="T14" fmla="*/ 577 w 812"/>
                <a:gd name="T15" fmla="*/ 188 h 584"/>
                <a:gd name="T16" fmla="*/ 585 w 812"/>
                <a:gd name="T17" fmla="*/ 165 h 584"/>
                <a:gd name="T18" fmla="*/ 535 w 812"/>
                <a:gd name="T19" fmla="*/ 165 h 584"/>
                <a:gd name="T20" fmla="*/ 499 w 812"/>
                <a:gd name="T21" fmla="*/ 178 h 584"/>
                <a:gd name="T22" fmla="*/ 490 w 812"/>
                <a:gd name="T23" fmla="*/ 163 h 584"/>
                <a:gd name="T24" fmla="*/ 473 w 812"/>
                <a:gd name="T25" fmla="*/ 173 h 584"/>
                <a:gd name="T26" fmla="*/ 452 w 812"/>
                <a:gd name="T27" fmla="*/ 169 h 584"/>
                <a:gd name="T28" fmla="*/ 448 w 812"/>
                <a:gd name="T29" fmla="*/ 135 h 584"/>
                <a:gd name="T30" fmla="*/ 433 w 812"/>
                <a:gd name="T31" fmla="*/ 154 h 584"/>
                <a:gd name="T32" fmla="*/ 427 w 812"/>
                <a:gd name="T33" fmla="*/ 198 h 584"/>
                <a:gd name="T34" fmla="*/ 452 w 812"/>
                <a:gd name="T35" fmla="*/ 243 h 584"/>
                <a:gd name="T36" fmla="*/ 408 w 812"/>
                <a:gd name="T37" fmla="*/ 253 h 584"/>
                <a:gd name="T38" fmla="*/ 391 w 812"/>
                <a:gd name="T39" fmla="*/ 226 h 584"/>
                <a:gd name="T40" fmla="*/ 391 w 812"/>
                <a:gd name="T41" fmla="*/ 148 h 584"/>
                <a:gd name="T42" fmla="*/ 448 w 812"/>
                <a:gd name="T43" fmla="*/ 89 h 584"/>
                <a:gd name="T44" fmla="*/ 461 w 812"/>
                <a:gd name="T45" fmla="*/ 36 h 584"/>
                <a:gd name="T46" fmla="*/ 406 w 812"/>
                <a:gd name="T47" fmla="*/ 4 h 584"/>
                <a:gd name="T48" fmla="*/ 364 w 812"/>
                <a:gd name="T49" fmla="*/ 17 h 584"/>
                <a:gd name="T50" fmla="*/ 301 w 812"/>
                <a:gd name="T51" fmla="*/ 57 h 584"/>
                <a:gd name="T52" fmla="*/ 253 w 812"/>
                <a:gd name="T53" fmla="*/ 91 h 584"/>
                <a:gd name="T54" fmla="*/ 240 w 812"/>
                <a:gd name="T55" fmla="*/ 150 h 584"/>
                <a:gd name="T56" fmla="*/ 301 w 812"/>
                <a:gd name="T57" fmla="*/ 144 h 584"/>
                <a:gd name="T58" fmla="*/ 307 w 812"/>
                <a:gd name="T59" fmla="*/ 177 h 584"/>
                <a:gd name="T60" fmla="*/ 255 w 812"/>
                <a:gd name="T61" fmla="*/ 205 h 584"/>
                <a:gd name="T62" fmla="*/ 261 w 812"/>
                <a:gd name="T63" fmla="*/ 234 h 584"/>
                <a:gd name="T64" fmla="*/ 242 w 812"/>
                <a:gd name="T65" fmla="*/ 268 h 584"/>
                <a:gd name="T66" fmla="*/ 200 w 812"/>
                <a:gd name="T67" fmla="*/ 256 h 584"/>
                <a:gd name="T68" fmla="*/ 158 w 812"/>
                <a:gd name="T69" fmla="*/ 300 h 584"/>
                <a:gd name="T70" fmla="*/ 147 w 812"/>
                <a:gd name="T71" fmla="*/ 291 h 584"/>
                <a:gd name="T72" fmla="*/ 160 w 812"/>
                <a:gd name="T73" fmla="*/ 241 h 584"/>
                <a:gd name="T74" fmla="*/ 105 w 812"/>
                <a:gd name="T75" fmla="*/ 215 h 584"/>
                <a:gd name="T76" fmla="*/ 112 w 812"/>
                <a:gd name="T77" fmla="*/ 196 h 584"/>
                <a:gd name="T78" fmla="*/ 99 w 812"/>
                <a:gd name="T79" fmla="*/ 199 h 584"/>
                <a:gd name="T80" fmla="*/ 86 w 812"/>
                <a:gd name="T81" fmla="*/ 211 h 584"/>
                <a:gd name="T82" fmla="*/ 63 w 812"/>
                <a:gd name="T83" fmla="*/ 241 h 584"/>
                <a:gd name="T84" fmla="*/ 80 w 812"/>
                <a:gd name="T85" fmla="*/ 308 h 584"/>
                <a:gd name="T86" fmla="*/ 59 w 812"/>
                <a:gd name="T87" fmla="*/ 369 h 584"/>
                <a:gd name="T88" fmla="*/ 27 w 812"/>
                <a:gd name="T89" fmla="*/ 430 h 584"/>
                <a:gd name="T90" fmla="*/ 8 w 812"/>
                <a:gd name="T91" fmla="*/ 458 h 584"/>
                <a:gd name="T92" fmla="*/ 27 w 812"/>
                <a:gd name="T93" fmla="*/ 494 h 584"/>
                <a:gd name="T94" fmla="*/ 95 w 812"/>
                <a:gd name="T95" fmla="*/ 538 h 584"/>
                <a:gd name="T96" fmla="*/ 192 w 812"/>
                <a:gd name="T97" fmla="*/ 572 h 584"/>
                <a:gd name="T98" fmla="*/ 253 w 812"/>
                <a:gd name="T99" fmla="*/ 544 h 584"/>
                <a:gd name="T100" fmla="*/ 320 w 812"/>
                <a:gd name="T101" fmla="*/ 515 h 584"/>
                <a:gd name="T102" fmla="*/ 324 w 812"/>
                <a:gd name="T103" fmla="*/ 549 h 584"/>
                <a:gd name="T104" fmla="*/ 400 w 812"/>
                <a:gd name="T105" fmla="*/ 528 h 584"/>
                <a:gd name="T106" fmla="*/ 452 w 812"/>
                <a:gd name="T107" fmla="*/ 534 h 584"/>
                <a:gd name="T108" fmla="*/ 518 w 812"/>
                <a:gd name="T109" fmla="*/ 532 h 584"/>
                <a:gd name="T110" fmla="*/ 581 w 812"/>
                <a:gd name="T111" fmla="*/ 534 h 584"/>
                <a:gd name="T112" fmla="*/ 619 w 812"/>
                <a:gd name="T113" fmla="*/ 517 h 584"/>
                <a:gd name="T114" fmla="*/ 661 w 812"/>
                <a:gd name="T115" fmla="*/ 443 h 584"/>
                <a:gd name="T116" fmla="*/ 715 w 812"/>
                <a:gd name="T117" fmla="*/ 411 h 584"/>
                <a:gd name="T118" fmla="*/ 722 w 812"/>
                <a:gd name="T119" fmla="*/ 340 h 584"/>
                <a:gd name="T120" fmla="*/ 715 w 812"/>
                <a:gd name="T121" fmla="*/ 312 h 584"/>
                <a:gd name="T122" fmla="*/ 802 w 812"/>
                <a:gd name="T123" fmla="*/ 283 h 584"/>
                <a:gd name="T124" fmla="*/ 812 w 812"/>
                <a:gd name="T125" fmla="*/ 23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2" h="584">
                  <a:moveTo>
                    <a:pt x="810" y="230"/>
                  </a:moveTo>
                  <a:lnTo>
                    <a:pt x="810" y="230"/>
                  </a:lnTo>
                  <a:lnTo>
                    <a:pt x="808" y="228"/>
                  </a:lnTo>
                  <a:lnTo>
                    <a:pt x="808" y="228"/>
                  </a:lnTo>
                  <a:lnTo>
                    <a:pt x="808" y="224"/>
                  </a:lnTo>
                  <a:lnTo>
                    <a:pt x="808" y="224"/>
                  </a:lnTo>
                  <a:lnTo>
                    <a:pt x="806" y="224"/>
                  </a:lnTo>
                  <a:lnTo>
                    <a:pt x="806" y="222"/>
                  </a:lnTo>
                  <a:lnTo>
                    <a:pt x="802" y="222"/>
                  </a:lnTo>
                  <a:lnTo>
                    <a:pt x="802" y="222"/>
                  </a:lnTo>
                  <a:lnTo>
                    <a:pt x="802" y="222"/>
                  </a:lnTo>
                  <a:lnTo>
                    <a:pt x="802" y="222"/>
                  </a:lnTo>
                  <a:lnTo>
                    <a:pt x="802" y="218"/>
                  </a:lnTo>
                  <a:lnTo>
                    <a:pt x="802" y="218"/>
                  </a:lnTo>
                  <a:lnTo>
                    <a:pt x="800" y="218"/>
                  </a:lnTo>
                  <a:lnTo>
                    <a:pt x="800" y="218"/>
                  </a:lnTo>
                  <a:lnTo>
                    <a:pt x="800" y="218"/>
                  </a:lnTo>
                  <a:lnTo>
                    <a:pt x="793" y="220"/>
                  </a:lnTo>
                  <a:lnTo>
                    <a:pt x="793" y="220"/>
                  </a:lnTo>
                  <a:lnTo>
                    <a:pt x="791" y="222"/>
                  </a:lnTo>
                  <a:lnTo>
                    <a:pt x="787" y="220"/>
                  </a:lnTo>
                  <a:lnTo>
                    <a:pt x="777" y="218"/>
                  </a:lnTo>
                  <a:lnTo>
                    <a:pt x="776" y="218"/>
                  </a:lnTo>
                  <a:lnTo>
                    <a:pt x="776" y="218"/>
                  </a:lnTo>
                  <a:lnTo>
                    <a:pt x="776" y="218"/>
                  </a:lnTo>
                  <a:lnTo>
                    <a:pt x="774" y="220"/>
                  </a:lnTo>
                  <a:lnTo>
                    <a:pt x="774" y="220"/>
                  </a:lnTo>
                  <a:lnTo>
                    <a:pt x="776" y="222"/>
                  </a:lnTo>
                  <a:lnTo>
                    <a:pt x="776" y="224"/>
                  </a:lnTo>
                  <a:lnTo>
                    <a:pt x="776" y="224"/>
                  </a:lnTo>
                  <a:lnTo>
                    <a:pt x="774" y="226"/>
                  </a:lnTo>
                  <a:lnTo>
                    <a:pt x="774" y="226"/>
                  </a:lnTo>
                  <a:lnTo>
                    <a:pt x="772" y="226"/>
                  </a:lnTo>
                  <a:lnTo>
                    <a:pt x="768" y="226"/>
                  </a:lnTo>
                  <a:lnTo>
                    <a:pt x="764" y="226"/>
                  </a:lnTo>
                  <a:lnTo>
                    <a:pt x="764" y="226"/>
                  </a:lnTo>
                  <a:lnTo>
                    <a:pt x="764" y="226"/>
                  </a:lnTo>
                  <a:lnTo>
                    <a:pt x="766" y="222"/>
                  </a:lnTo>
                  <a:lnTo>
                    <a:pt x="766" y="220"/>
                  </a:lnTo>
                  <a:lnTo>
                    <a:pt x="764" y="220"/>
                  </a:lnTo>
                  <a:lnTo>
                    <a:pt x="764" y="220"/>
                  </a:lnTo>
                  <a:lnTo>
                    <a:pt x="764" y="218"/>
                  </a:lnTo>
                  <a:lnTo>
                    <a:pt x="762" y="218"/>
                  </a:lnTo>
                  <a:lnTo>
                    <a:pt x="762" y="218"/>
                  </a:lnTo>
                  <a:lnTo>
                    <a:pt x="762" y="220"/>
                  </a:lnTo>
                  <a:lnTo>
                    <a:pt x="762" y="220"/>
                  </a:lnTo>
                  <a:lnTo>
                    <a:pt x="760" y="220"/>
                  </a:lnTo>
                  <a:lnTo>
                    <a:pt x="760" y="218"/>
                  </a:lnTo>
                  <a:lnTo>
                    <a:pt x="760" y="218"/>
                  </a:lnTo>
                  <a:lnTo>
                    <a:pt x="760" y="218"/>
                  </a:lnTo>
                  <a:lnTo>
                    <a:pt x="760" y="213"/>
                  </a:lnTo>
                  <a:lnTo>
                    <a:pt x="760" y="211"/>
                  </a:lnTo>
                  <a:lnTo>
                    <a:pt x="760" y="211"/>
                  </a:lnTo>
                  <a:lnTo>
                    <a:pt x="758" y="211"/>
                  </a:lnTo>
                  <a:lnTo>
                    <a:pt x="758" y="211"/>
                  </a:lnTo>
                  <a:lnTo>
                    <a:pt x="758" y="211"/>
                  </a:lnTo>
                  <a:lnTo>
                    <a:pt x="758" y="213"/>
                  </a:lnTo>
                  <a:lnTo>
                    <a:pt x="758" y="213"/>
                  </a:lnTo>
                  <a:lnTo>
                    <a:pt x="756" y="215"/>
                  </a:lnTo>
                  <a:lnTo>
                    <a:pt x="756" y="215"/>
                  </a:lnTo>
                  <a:lnTo>
                    <a:pt x="756" y="215"/>
                  </a:lnTo>
                  <a:lnTo>
                    <a:pt x="755" y="213"/>
                  </a:lnTo>
                  <a:lnTo>
                    <a:pt x="755" y="213"/>
                  </a:lnTo>
                  <a:lnTo>
                    <a:pt x="755" y="213"/>
                  </a:lnTo>
                  <a:lnTo>
                    <a:pt x="755" y="211"/>
                  </a:lnTo>
                  <a:lnTo>
                    <a:pt x="755" y="211"/>
                  </a:lnTo>
                  <a:lnTo>
                    <a:pt x="755" y="209"/>
                  </a:lnTo>
                  <a:lnTo>
                    <a:pt x="755" y="207"/>
                  </a:lnTo>
                  <a:lnTo>
                    <a:pt x="755" y="207"/>
                  </a:lnTo>
                  <a:lnTo>
                    <a:pt x="755" y="205"/>
                  </a:lnTo>
                  <a:lnTo>
                    <a:pt x="755" y="205"/>
                  </a:lnTo>
                  <a:lnTo>
                    <a:pt x="755" y="205"/>
                  </a:lnTo>
                  <a:lnTo>
                    <a:pt x="753" y="205"/>
                  </a:lnTo>
                  <a:lnTo>
                    <a:pt x="749" y="209"/>
                  </a:lnTo>
                  <a:lnTo>
                    <a:pt x="749" y="209"/>
                  </a:lnTo>
                  <a:lnTo>
                    <a:pt x="749" y="209"/>
                  </a:lnTo>
                  <a:lnTo>
                    <a:pt x="747" y="209"/>
                  </a:lnTo>
                  <a:lnTo>
                    <a:pt x="747" y="209"/>
                  </a:lnTo>
                  <a:lnTo>
                    <a:pt x="747" y="209"/>
                  </a:lnTo>
                  <a:lnTo>
                    <a:pt x="745" y="209"/>
                  </a:lnTo>
                  <a:lnTo>
                    <a:pt x="741" y="205"/>
                  </a:lnTo>
                  <a:lnTo>
                    <a:pt x="739" y="203"/>
                  </a:lnTo>
                  <a:lnTo>
                    <a:pt x="737" y="203"/>
                  </a:lnTo>
                  <a:lnTo>
                    <a:pt x="736" y="203"/>
                  </a:lnTo>
                  <a:lnTo>
                    <a:pt x="734" y="203"/>
                  </a:lnTo>
                  <a:lnTo>
                    <a:pt x="732" y="203"/>
                  </a:lnTo>
                  <a:lnTo>
                    <a:pt x="732" y="203"/>
                  </a:lnTo>
                  <a:lnTo>
                    <a:pt x="724" y="198"/>
                  </a:lnTo>
                  <a:lnTo>
                    <a:pt x="724" y="198"/>
                  </a:lnTo>
                  <a:lnTo>
                    <a:pt x="724" y="196"/>
                  </a:lnTo>
                  <a:lnTo>
                    <a:pt x="724" y="196"/>
                  </a:lnTo>
                  <a:lnTo>
                    <a:pt x="724" y="196"/>
                  </a:lnTo>
                  <a:lnTo>
                    <a:pt x="724" y="194"/>
                  </a:lnTo>
                  <a:lnTo>
                    <a:pt x="724" y="194"/>
                  </a:lnTo>
                  <a:lnTo>
                    <a:pt x="724" y="192"/>
                  </a:lnTo>
                  <a:lnTo>
                    <a:pt x="724" y="192"/>
                  </a:lnTo>
                  <a:lnTo>
                    <a:pt x="722" y="190"/>
                  </a:lnTo>
                  <a:lnTo>
                    <a:pt x="722" y="190"/>
                  </a:lnTo>
                  <a:lnTo>
                    <a:pt x="722" y="190"/>
                  </a:lnTo>
                  <a:lnTo>
                    <a:pt x="722" y="188"/>
                  </a:lnTo>
                  <a:lnTo>
                    <a:pt x="720" y="186"/>
                  </a:lnTo>
                  <a:lnTo>
                    <a:pt x="720" y="186"/>
                  </a:lnTo>
                  <a:lnTo>
                    <a:pt x="718" y="186"/>
                  </a:lnTo>
                  <a:lnTo>
                    <a:pt x="718" y="186"/>
                  </a:lnTo>
                  <a:lnTo>
                    <a:pt x="716" y="186"/>
                  </a:lnTo>
                  <a:lnTo>
                    <a:pt x="716" y="186"/>
                  </a:lnTo>
                  <a:lnTo>
                    <a:pt x="715" y="188"/>
                  </a:lnTo>
                  <a:lnTo>
                    <a:pt x="715" y="188"/>
                  </a:lnTo>
                  <a:lnTo>
                    <a:pt x="713" y="188"/>
                  </a:lnTo>
                  <a:lnTo>
                    <a:pt x="711" y="188"/>
                  </a:lnTo>
                  <a:lnTo>
                    <a:pt x="711" y="186"/>
                  </a:lnTo>
                  <a:lnTo>
                    <a:pt x="709" y="186"/>
                  </a:lnTo>
                  <a:lnTo>
                    <a:pt x="709" y="184"/>
                  </a:lnTo>
                  <a:lnTo>
                    <a:pt x="709" y="184"/>
                  </a:lnTo>
                  <a:lnTo>
                    <a:pt x="709" y="182"/>
                  </a:lnTo>
                  <a:lnTo>
                    <a:pt x="705" y="182"/>
                  </a:lnTo>
                  <a:lnTo>
                    <a:pt x="701" y="182"/>
                  </a:lnTo>
                  <a:lnTo>
                    <a:pt x="699" y="182"/>
                  </a:lnTo>
                  <a:lnTo>
                    <a:pt x="697" y="182"/>
                  </a:lnTo>
                  <a:lnTo>
                    <a:pt x="697" y="180"/>
                  </a:lnTo>
                  <a:lnTo>
                    <a:pt x="696" y="180"/>
                  </a:lnTo>
                  <a:lnTo>
                    <a:pt x="696" y="180"/>
                  </a:lnTo>
                  <a:lnTo>
                    <a:pt x="696" y="178"/>
                  </a:lnTo>
                  <a:lnTo>
                    <a:pt x="697" y="178"/>
                  </a:lnTo>
                  <a:lnTo>
                    <a:pt x="697" y="178"/>
                  </a:lnTo>
                  <a:lnTo>
                    <a:pt x="697" y="178"/>
                  </a:lnTo>
                  <a:lnTo>
                    <a:pt x="696" y="177"/>
                  </a:lnTo>
                  <a:lnTo>
                    <a:pt x="696" y="177"/>
                  </a:lnTo>
                  <a:lnTo>
                    <a:pt x="696" y="175"/>
                  </a:lnTo>
                  <a:lnTo>
                    <a:pt x="696" y="173"/>
                  </a:lnTo>
                  <a:lnTo>
                    <a:pt x="694" y="169"/>
                  </a:lnTo>
                  <a:lnTo>
                    <a:pt x="684" y="173"/>
                  </a:lnTo>
                  <a:lnTo>
                    <a:pt x="682" y="173"/>
                  </a:lnTo>
                  <a:lnTo>
                    <a:pt x="682" y="173"/>
                  </a:lnTo>
                  <a:lnTo>
                    <a:pt x="684" y="173"/>
                  </a:lnTo>
                  <a:lnTo>
                    <a:pt x="686" y="175"/>
                  </a:lnTo>
                  <a:lnTo>
                    <a:pt x="686" y="177"/>
                  </a:lnTo>
                  <a:lnTo>
                    <a:pt x="686" y="177"/>
                  </a:lnTo>
                  <a:lnTo>
                    <a:pt x="686" y="178"/>
                  </a:lnTo>
                  <a:lnTo>
                    <a:pt x="686" y="178"/>
                  </a:lnTo>
                  <a:lnTo>
                    <a:pt x="684" y="178"/>
                  </a:lnTo>
                  <a:lnTo>
                    <a:pt x="682" y="178"/>
                  </a:lnTo>
                  <a:lnTo>
                    <a:pt x="678" y="178"/>
                  </a:lnTo>
                  <a:lnTo>
                    <a:pt x="678" y="178"/>
                  </a:lnTo>
                  <a:lnTo>
                    <a:pt x="676" y="178"/>
                  </a:lnTo>
                  <a:lnTo>
                    <a:pt x="676" y="178"/>
                  </a:lnTo>
                  <a:lnTo>
                    <a:pt x="676" y="177"/>
                  </a:lnTo>
                  <a:lnTo>
                    <a:pt x="676" y="177"/>
                  </a:lnTo>
                  <a:lnTo>
                    <a:pt x="676" y="175"/>
                  </a:lnTo>
                  <a:lnTo>
                    <a:pt x="678" y="175"/>
                  </a:lnTo>
                  <a:lnTo>
                    <a:pt x="676" y="175"/>
                  </a:lnTo>
                  <a:lnTo>
                    <a:pt x="676" y="175"/>
                  </a:lnTo>
                  <a:lnTo>
                    <a:pt x="676" y="173"/>
                  </a:lnTo>
                  <a:lnTo>
                    <a:pt x="675" y="173"/>
                  </a:lnTo>
                  <a:lnTo>
                    <a:pt x="673" y="173"/>
                  </a:lnTo>
                  <a:lnTo>
                    <a:pt x="673" y="173"/>
                  </a:lnTo>
                  <a:lnTo>
                    <a:pt x="671" y="173"/>
                  </a:lnTo>
                  <a:lnTo>
                    <a:pt x="669" y="173"/>
                  </a:lnTo>
                  <a:lnTo>
                    <a:pt x="669" y="173"/>
                  </a:lnTo>
                  <a:lnTo>
                    <a:pt x="667" y="173"/>
                  </a:lnTo>
                  <a:lnTo>
                    <a:pt x="665" y="173"/>
                  </a:lnTo>
                  <a:lnTo>
                    <a:pt x="665" y="173"/>
                  </a:lnTo>
                  <a:lnTo>
                    <a:pt x="665" y="173"/>
                  </a:lnTo>
                  <a:lnTo>
                    <a:pt x="665" y="177"/>
                  </a:lnTo>
                  <a:lnTo>
                    <a:pt x="665" y="178"/>
                  </a:lnTo>
                  <a:lnTo>
                    <a:pt x="665" y="178"/>
                  </a:lnTo>
                  <a:lnTo>
                    <a:pt x="665" y="180"/>
                  </a:lnTo>
                  <a:lnTo>
                    <a:pt x="665" y="180"/>
                  </a:lnTo>
                  <a:lnTo>
                    <a:pt x="663" y="182"/>
                  </a:lnTo>
                  <a:lnTo>
                    <a:pt x="663" y="184"/>
                  </a:lnTo>
                  <a:lnTo>
                    <a:pt x="659" y="188"/>
                  </a:lnTo>
                  <a:lnTo>
                    <a:pt x="659" y="188"/>
                  </a:lnTo>
                  <a:lnTo>
                    <a:pt x="659" y="188"/>
                  </a:lnTo>
                  <a:lnTo>
                    <a:pt x="659" y="190"/>
                  </a:lnTo>
                  <a:lnTo>
                    <a:pt x="659" y="190"/>
                  </a:lnTo>
                  <a:lnTo>
                    <a:pt x="659" y="190"/>
                  </a:lnTo>
                  <a:lnTo>
                    <a:pt x="659" y="190"/>
                  </a:lnTo>
                  <a:lnTo>
                    <a:pt x="659" y="192"/>
                  </a:lnTo>
                  <a:lnTo>
                    <a:pt x="659" y="192"/>
                  </a:lnTo>
                  <a:lnTo>
                    <a:pt x="659" y="192"/>
                  </a:lnTo>
                  <a:lnTo>
                    <a:pt x="659" y="194"/>
                  </a:lnTo>
                  <a:lnTo>
                    <a:pt x="659" y="194"/>
                  </a:lnTo>
                  <a:lnTo>
                    <a:pt x="659" y="194"/>
                  </a:lnTo>
                  <a:lnTo>
                    <a:pt x="659" y="194"/>
                  </a:lnTo>
                  <a:lnTo>
                    <a:pt x="657" y="194"/>
                  </a:lnTo>
                  <a:lnTo>
                    <a:pt x="656" y="196"/>
                  </a:lnTo>
                  <a:lnTo>
                    <a:pt x="656" y="196"/>
                  </a:lnTo>
                  <a:lnTo>
                    <a:pt x="656" y="196"/>
                  </a:lnTo>
                  <a:lnTo>
                    <a:pt x="652" y="199"/>
                  </a:lnTo>
                  <a:lnTo>
                    <a:pt x="650" y="198"/>
                  </a:lnTo>
                  <a:lnTo>
                    <a:pt x="646" y="194"/>
                  </a:lnTo>
                  <a:lnTo>
                    <a:pt x="644" y="194"/>
                  </a:lnTo>
                  <a:lnTo>
                    <a:pt x="644" y="194"/>
                  </a:lnTo>
                  <a:lnTo>
                    <a:pt x="642" y="194"/>
                  </a:lnTo>
                  <a:lnTo>
                    <a:pt x="640" y="194"/>
                  </a:lnTo>
                  <a:lnTo>
                    <a:pt x="640" y="194"/>
                  </a:lnTo>
                  <a:lnTo>
                    <a:pt x="638" y="194"/>
                  </a:lnTo>
                  <a:lnTo>
                    <a:pt x="636" y="194"/>
                  </a:lnTo>
                  <a:lnTo>
                    <a:pt x="636" y="194"/>
                  </a:lnTo>
                  <a:lnTo>
                    <a:pt x="635" y="192"/>
                  </a:lnTo>
                  <a:lnTo>
                    <a:pt x="635" y="192"/>
                  </a:lnTo>
                  <a:lnTo>
                    <a:pt x="635" y="192"/>
                  </a:lnTo>
                  <a:lnTo>
                    <a:pt x="633" y="192"/>
                  </a:lnTo>
                  <a:lnTo>
                    <a:pt x="629" y="192"/>
                  </a:lnTo>
                  <a:lnTo>
                    <a:pt x="627" y="192"/>
                  </a:lnTo>
                  <a:lnTo>
                    <a:pt x="625" y="194"/>
                  </a:lnTo>
                  <a:lnTo>
                    <a:pt x="623" y="192"/>
                  </a:lnTo>
                  <a:lnTo>
                    <a:pt x="621" y="192"/>
                  </a:lnTo>
                  <a:lnTo>
                    <a:pt x="621" y="192"/>
                  </a:lnTo>
                  <a:lnTo>
                    <a:pt x="621" y="190"/>
                  </a:lnTo>
                  <a:lnTo>
                    <a:pt x="621" y="190"/>
                  </a:lnTo>
                  <a:lnTo>
                    <a:pt x="621" y="190"/>
                  </a:lnTo>
                  <a:lnTo>
                    <a:pt x="623" y="188"/>
                  </a:lnTo>
                  <a:lnTo>
                    <a:pt x="623" y="188"/>
                  </a:lnTo>
                  <a:lnTo>
                    <a:pt x="623" y="188"/>
                  </a:lnTo>
                  <a:lnTo>
                    <a:pt x="623" y="186"/>
                  </a:lnTo>
                  <a:lnTo>
                    <a:pt x="623" y="186"/>
                  </a:lnTo>
                  <a:lnTo>
                    <a:pt x="623" y="184"/>
                  </a:lnTo>
                  <a:lnTo>
                    <a:pt x="625" y="184"/>
                  </a:lnTo>
                  <a:lnTo>
                    <a:pt x="625" y="184"/>
                  </a:lnTo>
                  <a:lnTo>
                    <a:pt x="625" y="182"/>
                  </a:lnTo>
                  <a:lnTo>
                    <a:pt x="625" y="182"/>
                  </a:lnTo>
                  <a:lnTo>
                    <a:pt x="627" y="180"/>
                  </a:lnTo>
                  <a:lnTo>
                    <a:pt x="627" y="180"/>
                  </a:lnTo>
                  <a:lnTo>
                    <a:pt x="627" y="178"/>
                  </a:lnTo>
                  <a:lnTo>
                    <a:pt x="627" y="177"/>
                  </a:lnTo>
                  <a:lnTo>
                    <a:pt x="631" y="171"/>
                  </a:lnTo>
                  <a:lnTo>
                    <a:pt x="631" y="169"/>
                  </a:lnTo>
                  <a:lnTo>
                    <a:pt x="631" y="169"/>
                  </a:lnTo>
                  <a:lnTo>
                    <a:pt x="629" y="167"/>
                  </a:lnTo>
                  <a:lnTo>
                    <a:pt x="629" y="167"/>
                  </a:lnTo>
                  <a:lnTo>
                    <a:pt x="629" y="167"/>
                  </a:lnTo>
                  <a:lnTo>
                    <a:pt x="627" y="167"/>
                  </a:lnTo>
                  <a:lnTo>
                    <a:pt x="627" y="167"/>
                  </a:lnTo>
                  <a:lnTo>
                    <a:pt x="625" y="167"/>
                  </a:lnTo>
                  <a:lnTo>
                    <a:pt x="625" y="169"/>
                  </a:lnTo>
                  <a:lnTo>
                    <a:pt x="625" y="169"/>
                  </a:lnTo>
                  <a:lnTo>
                    <a:pt x="625" y="169"/>
                  </a:lnTo>
                  <a:lnTo>
                    <a:pt x="625" y="169"/>
                  </a:lnTo>
                  <a:lnTo>
                    <a:pt x="625" y="169"/>
                  </a:lnTo>
                  <a:lnTo>
                    <a:pt x="623" y="173"/>
                  </a:lnTo>
                  <a:lnTo>
                    <a:pt x="623" y="173"/>
                  </a:lnTo>
                  <a:lnTo>
                    <a:pt x="623" y="173"/>
                  </a:lnTo>
                  <a:lnTo>
                    <a:pt x="621" y="173"/>
                  </a:lnTo>
                  <a:lnTo>
                    <a:pt x="621" y="173"/>
                  </a:lnTo>
                  <a:lnTo>
                    <a:pt x="614" y="175"/>
                  </a:lnTo>
                  <a:lnTo>
                    <a:pt x="614" y="175"/>
                  </a:lnTo>
                  <a:lnTo>
                    <a:pt x="614" y="175"/>
                  </a:lnTo>
                  <a:lnTo>
                    <a:pt x="612" y="175"/>
                  </a:lnTo>
                  <a:lnTo>
                    <a:pt x="612" y="175"/>
                  </a:lnTo>
                  <a:lnTo>
                    <a:pt x="612" y="175"/>
                  </a:lnTo>
                  <a:lnTo>
                    <a:pt x="614" y="175"/>
                  </a:lnTo>
                  <a:lnTo>
                    <a:pt x="617" y="178"/>
                  </a:lnTo>
                  <a:lnTo>
                    <a:pt x="617" y="178"/>
                  </a:lnTo>
                  <a:lnTo>
                    <a:pt x="617" y="180"/>
                  </a:lnTo>
                  <a:lnTo>
                    <a:pt x="617" y="180"/>
                  </a:lnTo>
                  <a:lnTo>
                    <a:pt x="617" y="180"/>
                  </a:lnTo>
                  <a:lnTo>
                    <a:pt x="615" y="182"/>
                  </a:lnTo>
                  <a:lnTo>
                    <a:pt x="614" y="182"/>
                  </a:lnTo>
                  <a:lnTo>
                    <a:pt x="614" y="182"/>
                  </a:lnTo>
                  <a:lnTo>
                    <a:pt x="612" y="182"/>
                  </a:lnTo>
                  <a:lnTo>
                    <a:pt x="610" y="182"/>
                  </a:lnTo>
                  <a:lnTo>
                    <a:pt x="610" y="182"/>
                  </a:lnTo>
                  <a:lnTo>
                    <a:pt x="610" y="182"/>
                  </a:lnTo>
                  <a:lnTo>
                    <a:pt x="606" y="178"/>
                  </a:lnTo>
                  <a:lnTo>
                    <a:pt x="606" y="178"/>
                  </a:lnTo>
                  <a:lnTo>
                    <a:pt x="606" y="177"/>
                  </a:lnTo>
                  <a:lnTo>
                    <a:pt x="604" y="175"/>
                  </a:lnTo>
                  <a:lnTo>
                    <a:pt x="604" y="175"/>
                  </a:lnTo>
                  <a:lnTo>
                    <a:pt x="604" y="175"/>
                  </a:lnTo>
                  <a:lnTo>
                    <a:pt x="602" y="175"/>
                  </a:lnTo>
                  <a:lnTo>
                    <a:pt x="602" y="175"/>
                  </a:lnTo>
                  <a:lnTo>
                    <a:pt x="602" y="175"/>
                  </a:lnTo>
                  <a:lnTo>
                    <a:pt x="602" y="175"/>
                  </a:lnTo>
                  <a:lnTo>
                    <a:pt x="602" y="177"/>
                  </a:lnTo>
                  <a:lnTo>
                    <a:pt x="602" y="177"/>
                  </a:lnTo>
                  <a:lnTo>
                    <a:pt x="602" y="178"/>
                  </a:lnTo>
                  <a:lnTo>
                    <a:pt x="602" y="178"/>
                  </a:lnTo>
                  <a:lnTo>
                    <a:pt x="602" y="178"/>
                  </a:lnTo>
                  <a:lnTo>
                    <a:pt x="600" y="178"/>
                  </a:lnTo>
                  <a:lnTo>
                    <a:pt x="600" y="178"/>
                  </a:lnTo>
                  <a:lnTo>
                    <a:pt x="598" y="178"/>
                  </a:lnTo>
                  <a:lnTo>
                    <a:pt x="596" y="178"/>
                  </a:lnTo>
                  <a:lnTo>
                    <a:pt x="595" y="178"/>
                  </a:lnTo>
                  <a:lnTo>
                    <a:pt x="593" y="178"/>
                  </a:lnTo>
                  <a:lnTo>
                    <a:pt x="593" y="178"/>
                  </a:lnTo>
                  <a:lnTo>
                    <a:pt x="593" y="178"/>
                  </a:lnTo>
                  <a:lnTo>
                    <a:pt x="593" y="178"/>
                  </a:lnTo>
                  <a:lnTo>
                    <a:pt x="593" y="180"/>
                  </a:lnTo>
                  <a:lnTo>
                    <a:pt x="593" y="180"/>
                  </a:lnTo>
                  <a:lnTo>
                    <a:pt x="595" y="182"/>
                  </a:lnTo>
                  <a:lnTo>
                    <a:pt x="595" y="182"/>
                  </a:lnTo>
                  <a:lnTo>
                    <a:pt x="595" y="182"/>
                  </a:lnTo>
                  <a:lnTo>
                    <a:pt x="598" y="184"/>
                  </a:lnTo>
                  <a:lnTo>
                    <a:pt x="598" y="184"/>
                  </a:lnTo>
                  <a:lnTo>
                    <a:pt x="598" y="184"/>
                  </a:lnTo>
                  <a:lnTo>
                    <a:pt x="598" y="186"/>
                  </a:lnTo>
                  <a:lnTo>
                    <a:pt x="595" y="188"/>
                  </a:lnTo>
                  <a:lnTo>
                    <a:pt x="595" y="188"/>
                  </a:lnTo>
                  <a:lnTo>
                    <a:pt x="593" y="188"/>
                  </a:lnTo>
                  <a:lnTo>
                    <a:pt x="593" y="188"/>
                  </a:lnTo>
                  <a:lnTo>
                    <a:pt x="593" y="188"/>
                  </a:lnTo>
                  <a:lnTo>
                    <a:pt x="591" y="184"/>
                  </a:lnTo>
                  <a:lnTo>
                    <a:pt x="589" y="184"/>
                  </a:lnTo>
                  <a:lnTo>
                    <a:pt x="589" y="182"/>
                  </a:lnTo>
                  <a:lnTo>
                    <a:pt x="589" y="184"/>
                  </a:lnTo>
                  <a:lnTo>
                    <a:pt x="589" y="184"/>
                  </a:lnTo>
                  <a:lnTo>
                    <a:pt x="589" y="184"/>
                  </a:lnTo>
                  <a:lnTo>
                    <a:pt x="589" y="186"/>
                  </a:lnTo>
                  <a:lnTo>
                    <a:pt x="589" y="188"/>
                  </a:lnTo>
                  <a:lnTo>
                    <a:pt x="589" y="188"/>
                  </a:lnTo>
                  <a:lnTo>
                    <a:pt x="587" y="188"/>
                  </a:lnTo>
                  <a:lnTo>
                    <a:pt x="587" y="188"/>
                  </a:lnTo>
                  <a:lnTo>
                    <a:pt x="587" y="188"/>
                  </a:lnTo>
                  <a:lnTo>
                    <a:pt x="585" y="188"/>
                  </a:lnTo>
                  <a:lnTo>
                    <a:pt x="585" y="188"/>
                  </a:lnTo>
                  <a:lnTo>
                    <a:pt x="583" y="188"/>
                  </a:lnTo>
                  <a:lnTo>
                    <a:pt x="581" y="188"/>
                  </a:lnTo>
                  <a:lnTo>
                    <a:pt x="579" y="188"/>
                  </a:lnTo>
                  <a:lnTo>
                    <a:pt x="577" y="188"/>
                  </a:lnTo>
                  <a:lnTo>
                    <a:pt x="577" y="188"/>
                  </a:lnTo>
                  <a:lnTo>
                    <a:pt x="577" y="186"/>
                  </a:lnTo>
                  <a:lnTo>
                    <a:pt x="575" y="186"/>
                  </a:lnTo>
                  <a:lnTo>
                    <a:pt x="575" y="182"/>
                  </a:lnTo>
                  <a:lnTo>
                    <a:pt x="575" y="182"/>
                  </a:lnTo>
                  <a:lnTo>
                    <a:pt x="575" y="180"/>
                  </a:lnTo>
                  <a:lnTo>
                    <a:pt x="575" y="180"/>
                  </a:lnTo>
                  <a:lnTo>
                    <a:pt x="575" y="180"/>
                  </a:lnTo>
                  <a:lnTo>
                    <a:pt x="575" y="180"/>
                  </a:lnTo>
                  <a:lnTo>
                    <a:pt x="577" y="180"/>
                  </a:lnTo>
                  <a:lnTo>
                    <a:pt x="577" y="180"/>
                  </a:lnTo>
                  <a:lnTo>
                    <a:pt x="579" y="180"/>
                  </a:lnTo>
                  <a:lnTo>
                    <a:pt x="579" y="180"/>
                  </a:lnTo>
                  <a:lnTo>
                    <a:pt x="581" y="178"/>
                  </a:lnTo>
                  <a:lnTo>
                    <a:pt x="583" y="177"/>
                  </a:lnTo>
                  <a:lnTo>
                    <a:pt x="583" y="177"/>
                  </a:lnTo>
                  <a:lnTo>
                    <a:pt x="583" y="175"/>
                  </a:lnTo>
                  <a:lnTo>
                    <a:pt x="583" y="175"/>
                  </a:lnTo>
                  <a:lnTo>
                    <a:pt x="585" y="175"/>
                  </a:lnTo>
                  <a:lnTo>
                    <a:pt x="585" y="175"/>
                  </a:lnTo>
                  <a:lnTo>
                    <a:pt x="585" y="175"/>
                  </a:lnTo>
                  <a:lnTo>
                    <a:pt x="587" y="173"/>
                  </a:lnTo>
                  <a:lnTo>
                    <a:pt x="589" y="173"/>
                  </a:lnTo>
                  <a:lnTo>
                    <a:pt x="589" y="173"/>
                  </a:lnTo>
                  <a:lnTo>
                    <a:pt x="589" y="171"/>
                  </a:lnTo>
                  <a:lnTo>
                    <a:pt x="591" y="171"/>
                  </a:lnTo>
                  <a:lnTo>
                    <a:pt x="591" y="171"/>
                  </a:lnTo>
                  <a:lnTo>
                    <a:pt x="589" y="171"/>
                  </a:lnTo>
                  <a:lnTo>
                    <a:pt x="589" y="169"/>
                  </a:lnTo>
                  <a:lnTo>
                    <a:pt x="589" y="169"/>
                  </a:lnTo>
                  <a:lnTo>
                    <a:pt x="589" y="167"/>
                  </a:lnTo>
                  <a:lnTo>
                    <a:pt x="589" y="165"/>
                  </a:lnTo>
                  <a:lnTo>
                    <a:pt x="589" y="165"/>
                  </a:lnTo>
                  <a:lnTo>
                    <a:pt x="587" y="165"/>
                  </a:lnTo>
                  <a:lnTo>
                    <a:pt x="587" y="165"/>
                  </a:lnTo>
                  <a:lnTo>
                    <a:pt x="587" y="165"/>
                  </a:lnTo>
                  <a:lnTo>
                    <a:pt x="587" y="165"/>
                  </a:lnTo>
                  <a:lnTo>
                    <a:pt x="585" y="165"/>
                  </a:lnTo>
                  <a:lnTo>
                    <a:pt x="585" y="165"/>
                  </a:lnTo>
                  <a:lnTo>
                    <a:pt x="585" y="165"/>
                  </a:lnTo>
                  <a:lnTo>
                    <a:pt x="585" y="163"/>
                  </a:lnTo>
                  <a:lnTo>
                    <a:pt x="585" y="163"/>
                  </a:lnTo>
                  <a:lnTo>
                    <a:pt x="583" y="161"/>
                  </a:lnTo>
                  <a:lnTo>
                    <a:pt x="583" y="161"/>
                  </a:lnTo>
                  <a:lnTo>
                    <a:pt x="581" y="161"/>
                  </a:lnTo>
                  <a:lnTo>
                    <a:pt x="581" y="159"/>
                  </a:lnTo>
                  <a:lnTo>
                    <a:pt x="581" y="159"/>
                  </a:lnTo>
                  <a:lnTo>
                    <a:pt x="579" y="156"/>
                  </a:lnTo>
                  <a:lnTo>
                    <a:pt x="579" y="152"/>
                  </a:lnTo>
                  <a:lnTo>
                    <a:pt x="579" y="152"/>
                  </a:lnTo>
                  <a:lnTo>
                    <a:pt x="579" y="150"/>
                  </a:lnTo>
                  <a:lnTo>
                    <a:pt x="577" y="148"/>
                  </a:lnTo>
                  <a:lnTo>
                    <a:pt x="577" y="148"/>
                  </a:lnTo>
                  <a:lnTo>
                    <a:pt x="575" y="148"/>
                  </a:lnTo>
                  <a:lnTo>
                    <a:pt x="575" y="148"/>
                  </a:lnTo>
                  <a:lnTo>
                    <a:pt x="574" y="148"/>
                  </a:lnTo>
                  <a:lnTo>
                    <a:pt x="572" y="148"/>
                  </a:lnTo>
                  <a:lnTo>
                    <a:pt x="572" y="148"/>
                  </a:lnTo>
                  <a:lnTo>
                    <a:pt x="572" y="148"/>
                  </a:lnTo>
                  <a:lnTo>
                    <a:pt x="570" y="148"/>
                  </a:lnTo>
                  <a:lnTo>
                    <a:pt x="570" y="148"/>
                  </a:lnTo>
                  <a:lnTo>
                    <a:pt x="568" y="148"/>
                  </a:lnTo>
                  <a:lnTo>
                    <a:pt x="568" y="148"/>
                  </a:lnTo>
                  <a:lnTo>
                    <a:pt x="568" y="150"/>
                  </a:lnTo>
                  <a:lnTo>
                    <a:pt x="568" y="150"/>
                  </a:lnTo>
                  <a:lnTo>
                    <a:pt x="566" y="150"/>
                  </a:lnTo>
                  <a:lnTo>
                    <a:pt x="562" y="154"/>
                  </a:lnTo>
                  <a:lnTo>
                    <a:pt x="562" y="154"/>
                  </a:lnTo>
                  <a:lnTo>
                    <a:pt x="562" y="154"/>
                  </a:lnTo>
                  <a:lnTo>
                    <a:pt x="560" y="154"/>
                  </a:lnTo>
                  <a:lnTo>
                    <a:pt x="558" y="152"/>
                  </a:lnTo>
                  <a:lnTo>
                    <a:pt x="553" y="156"/>
                  </a:lnTo>
                  <a:lnTo>
                    <a:pt x="551" y="158"/>
                  </a:lnTo>
                  <a:lnTo>
                    <a:pt x="549" y="159"/>
                  </a:lnTo>
                  <a:lnTo>
                    <a:pt x="545" y="161"/>
                  </a:lnTo>
                  <a:lnTo>
                    <a:pt x="543" y="163"/>
                  </a:lnTo>
                  <a:lnTo>
                    <a:pt x="541" y="163"/>
                  </a:lnTo>
                  <a:lnTo>
                    <a:pt x="539" y="163"/>
                  </a:lnTo>
                  <a:lnTo>
                    <a:pt x="537" y="165"/>
                  </a:lnTo>
                  <a:lnTo>
                    <a:pt x="535" y="165"/>
                  </a:lnTo>
                  <a:lnTo>
                    <a:pt x="535" y="165"/>
                  </a:lnTo>
                  <a:lnTo>
                    <a:pt x="535" y="167"/>
                  </a:lnTo>
                  <a:lnTo>
                    <a:pt x="535" y="167"/>
                  </a:lnTo>
                  <a:lnTo>
                    <a:pt x="535" y="167"/>
                  </a:lnTo>
                  <a:lnTo>
                    <a:pt x="535" y="169"/>
                  </a:lnTo>
                  <a:lnTo>
                    <a:pt x="535" y="169"/>
                  </a:lnTo>
                  <a:lnTo>
                    <a:pt x="537" y="169"/>
                  </a:lnTo>
                  <a:lnTo>
                    <a:pt x="537" y="171"/>
                  </a:lnTo>
                  <a:lnTo>
                    <a:pt x="539" y="173"/>
                  </a:lnTo>
                  <a:lnTo>
                    <a:pt x="539" y="173"/>
                  </a:lnTo>
                  <a:lnTo>
                    <a:pt x="539" y="175"/>
                  </a:lnTo>
                  <a:lnTo>
                    <a:pt x="537" y="175"/>
                  </a:lnTo>
                  <a:lnTo>
                    <a:pt x="537" y="175"/>
                  </a:lnTo>
                  <a:lnTo>
                    <a:pt x="535" y="175"/>
                  </a:lnTo>
                  <a:lnTo>
                    <a:pt x="534" y="177"/>
                  </a:lnTo>
                  <a:lnTo>
                    <a:pt x="532" y="177"/>
                  </a:lnTo>
                  <a:lnTo>
                    <a:pt x="532" y="177"/>
                  </a:lnTo>
                  <a:lnTo>
                    <a:pt x="530" y="175"/>
                  </a:lnTo>
                  <a:lnTo>
                    <a:pt x="530" y="175"/>
                  </a:lnTo>
                  <a:lnTo>
                    <a:pt x="530" y="175"/>
                  </a:lnTo>
                  <a:lnTo>
                    <a:pt x="530" y="173"/>
                  </a:lnTo>
                  <a:lnTo>
                    <a:pt x="526" y="175"/>
                  </a:lnTo>
                  <a:lnTo>
                    <a:pt x="520" y="175"/>
                  </a:lnTo>
                  <a:lnTo>
                    <a:pt x="518" y="175"/>
                  </a:lnTo>
                  <a:lnTo>
                    <a:pt x="516" y="173"/>
                  </a:lnTo>
                  <a:lnTo>
                    <a:pt x="513" y="173"/>
                  </a:lnTo>
                  <a:lnTo>
                    <a:pt x="511" y="171"/>
                  </a:lnTo>
                  <a:lnTo>
                    <a:pt x="511" y="171"/>
                  </a:lnTo>
                  <a:lnTo>
                    <a:pt x="509" y="171"/>
                  </a:lnTo>
                  <a:lnTo>
                    <a:pt x="509" y="171"/>
                  </a:lnTo>
                  <a:lnTo>
                    <a:pt x="507" y="173"/>
                  </a:lnTo>
                  <a:lnTo>
                    <a:pt x="507" y="173"/>
                  </a:lnTo>
                  <a:lnTo>
                    <a:pt x="505" y="177"/>
                  </a:lnTo>
                  <a:lnTo>
                    <a:pt x="505" y="177"/>
                  </a:lnTo>
                  <a:lnTo>
                    <a:pt x="505" y="178"/>
                  </a:lnTo>
                  <a:lnTo>
                    <a:pt x="503" y="178"/>
                  </a:lnTo>
                  <a:lnTo>
                    <a:pt x="501" y="178"/>
                  </a:lnTo>
                  <a:lnTo>
                    <a:pt x="501" y="178"/>
                  </a:lnTo>
                  <a:lnTo>
                    <a:pt x="501" y="178"/>
                  </a:lnTo>
                  <a:lnTo>
                    <a:pt x="499" y="178"/>
                  </a:lnTo>
                  <a:lnTo>
                    <a:pt x="499" y="177"/>
                  </a:lnTo>
                  <a:lnTo>
                    <a:pt x="499" y="177"/>
                  </a:lnTo>
                  <a:lnTo>
                    <a:pt x="499" y="177"/>
                  </a:lnTo>
                  <a:lnTo>
                    <a:pt x="499" y="175"/>
                  </a:lnTo>
                  <a:lnTo>
                    <a:pt x="497" y="175"/>
                  </a:lnTo>
                  <a:lnTo>
                    <a:pt x="495" y="175"/>
                  </a:lnTo>
                  <a:lnTo>
                    <a:pt x="495" y="175"/>
                  </a:lnTo>
                  <a:lnTo>
                    <a:pt x="495" y="177"/>
                  </a:lnTo>
                  <a:lnTo>
                    <a:pt x="495" y="177"/>
                  </a:lnTo>
                  <a:lnTo>
                    <a:pt x="495" y="178"/>
                  </a:lnTo>
                  <a:lnTo>
                    <a:pt x="495" y="180"/>
                  </a:lnTo>
                  <a:lnTo>
                    <a:pt x="495" y="180"/>
                  </a:lnTo>
                  <a:lnTo>
                    <a:pt x="495" y="182"/>
                  </a:lnTo>
                  <a:lnTo>
                    <a:pt x="492" y="182"/>
                  </a:lnTo>
                  <a:lnTo>
                    <a:pt x="490" y="182"/>
                  </a:lnTo>
                  <a:lnTo>
                    <a:pt x="490" y="182"/>
                  </a:lnTo>
                  <a:lnTo>
                    <a:pt x="490" y="180"/>
                  </a:lnTo>
                  <a:lnTo>
                    <a:pt x="490" y="180"/>
                  </a:lnTo>
                  <a:lnTo>
                    <a:pt x="490" y="178"/>
                  </a:lnTo>
                  <a:lnTo>
                    <a:pt x="490" y="177"/>
                  </a:lnTo>
                  <a:lnTo>
                    <a:pt x="490" y="175"/>
                  </a:lnTo>
                  <a:lnTo>
                    <a:pt x="490" y="175"/>
                  </a:lnTo>
                  <a:lnTo>
                    <a:pt x="490" y="175"/>
                  </a:lnTo>
                  <a:lnTo>
                    <a:pt x="492" y="171"/>
                  </a:lnTo>
                  <a:lnTo>
                    <a:pt x="494" y="171"/>
                  </a:lnTo>
                  <a:lnTo>
                    <a:pt x="495" y="167"/>
                  </a:lnTo>
                  <a:lnTo>
                    <a:pt x="497" y="163"/>
                  </a:lnTo>
                  <a:lnTo>
                    <a:pt x="499" y="161"/>
                  </a:lnTo>
                  <a:lnTo>
                    <a:pt x="499" y="159"/>
                  </a:lnTo>
                  <a:lnTo>
                    <a:pt x="499" y="159"/>
                  </a:lnTo>
                  <a:lnTo>
                    <a:pt x="497" y="159"/>
                  </a:lnTo>
                  <a:lnTo>
                    <a:pt x="497" y="159"/>
                  </a:lnTo>
                  <a:lnTo>
                    <a:pt x="495" y="161"/>
                  </a:lnTo>
                  <a:lnTo>
                    <a:pt x="495" y="161"/>
                  </a:lnTo>
                  <a:lnTo>
                    <a:pt x="494" y="161"/>
                  </a:lnTo>
                  <a:lnTo>
                    <a:pt x="494" y="161"/>
                  </a:lnTo>
                  <a:lnTo>
                    <a:pt x="494" y="161"/>
                  </a:lnTo>
                  <a:lnTo>
                    <a:pt x="492" y="161"/>
                  </a:lnTo>
                  <a:lnTo>
                    <a:pt x="490" y="161"/>
                  </a:lnTo>
                  <a:lnTo>
                    <a:pt x="490" y="163"/>
                  </a:lnTo>
                  <a:lnTo>
                    <a:pt x="490" y="163"/>
                  </a:lnTo>
                  <a:lnTo>
                    <a:pt x="490" y="163"/>
                  </a:lnTo>
                  <a:lnTo>
                    <a:pt x="490" y="165"/>
                  </a:lnTo>
                  <a:lnTo>
                    <a:pt x="488" y="165"/>
                  </a:lnTo>
                  <a:lnTo>
                    <a:pt x="488" y="165"/>
                  </a:lnTo>
                  <a:lnTo>
                    <a:pt x="488" y="165"/>
                  </a:lnTo>
                  <a:lnTo>
                    <a:pt x="486" y="165"/>
                  </a:lnTo>
                  <a:lnTo>
                    <a:pt x="486" y="163"/>
                  </a:lnTo>
                  <a:lnTo>
                    <a:pt x="486" y="161"/>
                  </a:lnTo>
                  <a:lnTo>
                    <a:pt x="486" y="161"/>
                  </a:lnTo>
                  <a:lnTo>
                    <a:pt x="486" y="159"/>
                  </a:lnTo>
                  <a:lnTo>
                    <a:pt x="486" y="159"/>
                  </a:lnTo>
                  <a:lnTo>
                    <a:pt x="486" y="159"/>
                  </a:lnTo>
                  <a:lnTo>
                    <a:pt x="488" y="156"/>
                  </a:lnTo>
                  <a:lnTo>
                    <a:pt x="488" y="154"/>
                  </a:lnTo>
                  <a:lnTo>
                    <a:pt x="488" y="154"/>
                  </a:lnTo>
                  <a:lnTo>
                    <a:pt x="488" y="152"/>
                  </a:lnTo>
                  <a:lnTo>
                    <a:pt x="488" y="152"/>
                  </a:lnTo>
                  <a:lnTo>
                    <a:pt x="486" y="152"/>
                  </a:lnTo>
                  <a:lnTo>
                    <a:pt x="484" y="156"/>
                  </a:lnTo>
                  <a:lnTo>
                    <a:pt x="482" y="158"/>
                  </a:lnTo>
                  <a:lnTo>
                    <a:pt x="482" y="159"/>
                  </a:lnTo>
                  <a:lnTo>
                    <a:pt x="482" y="159"/>
                  </a:lnTo>
                  <a:lnTo>
                    <a:pt x="482" y="161"/>
                  </a:lnTo>
                  <a:lnTo>
                    <a:pt x="486" y="169"/>
                  </a:lnTo>
                  <a:lnTo>
                    <a:pt x="486" y="171"/>
                  </a:lnTo>
                  <a:lnTo>
                    <a:pt x="486" y="171"/>
                  </a:lnTo>
                  <a:lnTo>
                    <a:pt x="486" y="173"/>
                  </a:lnTo>
                  <a:lnTo>
                    <a:pt x="484" y="173"/>
                  </a:lnTo>
                  <a:lnTo>
                    <a:pt x="484" y="173"/>
                  </a:lnTo>
                  <a:lnTo>
                    <a:pt x="482" y="173"/>
                  </a:lnTo>
                  <a:lnTo>
                    <a:pt x="480" y="171"/>
                  </a:lnTo>
                  <a:lnTo>
                    <a:pt x="480" y="171"/>
                  </a:lnTo>
                  <a:lnTo>
                    <a:pt x="478" y="173"/>
                  </a:lnTo>
                  <a:lnTo>
                    <a:pt x="478" y="173"/>
                  </a:lnTo>
                  <a:lnTo>
                    <a:pt x="476" y="171"/>
                  </a:lnTo>
                  <a:lnTo>
                    <a:pt x="474" y="171"/>
                  </a:lnTo>
                  <a:lnTo>
                    <a:pt x="474" y="171"/>
                  </a:lnTo>
                  <a:lnTo>
                    <a:pt x="473" y="173"/>
                  </a:lnTo>
                  <a:lnTo>
                    <a:pt x="473" y="173"/>
                  </a:lnTo>
                  <a:lnTo>
                    <a:pt x="473" y="175"/>
                  </a:lnTo>
                  <a:lnTo>
                    <a:pt x="471" y="175"/>
                  </a:lnTo>
                  <a:lnTo>
                    <a:pt x="471" y="175"/>
                  </a:lnTo>
                  <a:lnTo>
                    <a:pt x="469" y="175"/>
                  </a:lnTo>
                  <a:lnTo>
                    <a:pt x="469" y="175"/>
                  </a:lnTo>
                  <a:lnTo>
                    <a:pt x="469" y="171"/>
                  </a:lnTo>
                  <a:lnTo>
                    <a:pt x="469" y="169"/>
                  </a:lnTo>
                  <a:lnTo>
                    <a:pt x="467" y="169"/>
                  </a:lnTo>
                  <a:lnTo>
                    <a:pt x="467" y="169"/>
                  </a:lnTo>
                  <a:lnTo>
                    <a:pt x="463" y="171"/>
                  </a:lnTo>
                  <a:lnTo>
                    <a:pt x="461" y="171"/>
                  </a:lnTo>
                  <a:lnTo>
                    <a:pt x="461" y="173"/>
                  </a:lnTo>
                  <a:lnTo>
                    <a:pt x="459" y="171"/>
                  </a:lnTo>
                  <a:lnTo>
                    <a:pt x="459" y="171"/>
                  </a:lnTo>
                  <a:lnTo>
                    <a:pt x="459" y="171"/>
                  </a:lnTo>
                  <a:lnTo>
                    <a:pt x="459" y="169"/>
                  </a:lnTo>
                  <a:lnTo>
                    <a:pt x="459" y="167"/>
                  </a:lnTo>
                  <a:lnTo>
                    <a:pt x="459" y="167"/>
                  </a:lnTo>
                  <a:lnTo>
                    <a:pt x="463" y="163"/>
                  </a:lnTo>
                  <a:lnTo>
                    <a:pt x="463" y="163"/>
                  </a:lnTo>
                  <a:lnTo>
                    <a:pt x="463" y="163"/>
                  </a:lnTo>
                  <a:lnTo>
                    <a:pt x="463" y="163"/>
                  </a:lnTo>
                  <a:lnTo>
                    <a:pt x="461" y="163"/>
                  </a:lnTo>
                  <a:lnTo>
                    <a:pt x="461" y="161"/>
                  </a:lnTo>
                  <a:lnTo>
                    <a:pt x="461" y="161"/>
                  </a:lnTo>
                  <a:lnTo>
                    <a:pt x="461" y="161"/>
                  </a:lnTo>
                  <a:lnTo>
                    <a:pt x="459" y="161"/>
                  </a:lnTo>
                  <a:lnTo>
                    <a:pt x="459" y="161"/>
                  </a:lnTo>
                  <a:lnTo>
                    <a:pt x="457" y="161"/>
                  </a:lnTo>
                  <a:lnTo>
                    <a:pt x="457" y="161"/>
                  </a:lnTo>
                  <a:lnTo>
                    <a:pt x="457" y="161"/>
                  </a:lnTo>
                  <a:lnTo>
                    <a:pt x="457" y="163"/>
                  </a:lnTo>
                  <a:lnTo>
                    <a:pt x="457" y="165"/>
                  </a:lnTo>
                  <a:lnTo>
                    <a:pt x="457" y="165"/>
                  </a:lnTo>
                  <a:lnTo>
                    <a:pt x="455" y="167"/>
                  </a:lnTo>
                  <a:lnTo>
                    <a:pt x="455" y="167"/>
                  </a:lnTo>
                  <a:lnTo>
                    <a:pt x="454" y="167"/>
                  </a:lnTo>
                  <a:lnTo>
                    <a:pt x="454" y="167"/>
                  </a:lnTo>
                  <a:lnTo>
                    <a:pt x="452" y="167"/>
                  </a:lnTo>
                  <a:lnTo>
                    <a:pt x="452" y="169"/>
                  </a:lnTo>
                  <a:lnTo>
                    <a:pt x="450" y="171"/>
                  </a:lnTo>
                  <a:lnTo>
                    <a:pt x="448" y="171"/>
                  </a:lnTo>
                  <a:lnTo>
                    <a:pt x="448" y="173"/>
                  </a:lnTo>
                  <a:lnTo>
                    <a:pt x="446" y="171"/>
                  </a:lnTo>
                  <a:lnTo>
                    <a:pt x="446" y="171"/>
                  </a:lnTo>
                  <a:lnTo>
                    <a:pt x="446" y="169"/>
                  </a:lnTo>
                  <a:lnTo>
                    <a:pt x="446" y="167"/>
                  </a:lnTo>
                  <a:lnTo>
                    <a:pt x="446" y="165"/>
                  </a:lnTo>
                  <a:lnTo>
                    <a:pt x="448" y="163"/>
                  </a:lnTo>
                  <a:lnTo>
                    <a:pt x="448" y="163"/>
                  </a:lnTo>
                  <a:lnTo>
                    <a:pt x="450" y="161"/>
                  </a:lnTo>
                  <a:lnTo>
                    <a:pt x="452" y="159"/>
                  </a:lnTo>
                  <a:lnTo>
                    <a:pt x="452" y="159"/>
                  </a:lnTo>
                  <a:lnTo>
                    <a:pt x="452" y="159"/>
                  </a:lnTo>
                  <a:lnTo>
                    <a:pt x="454" y="158"/>
                  </a:lnTo>
                  <a:lnTo>
                    <a:pt x="454" y="158"/>
                  </a:lnTo>
                  <a:lnTo>
                    <a:pt x="452" y="156"/>
                  </a:lnTo>
                  <a:lnTo>
                    <a:pt x="452" y="154"/>
                  </a:lnTo>
                  <a:lnTo>
                    <a:pt x="454" y="154"/>
                  </a:lnTo>
                  <a:lnTo>
                    <a:pt x="454" y="150"/>
                  </a:lnTo>
                  <a:lnTo>
                    <a:pt x="455" y="150"/>
                  </a:lnTo>
                  <a:lnTo>
                    <a:pt x="455" y="146"/>
                  </a:lnTo>
                  <a:lnTo>
                    <a:pt x="455" y="146"/>
                  </a:lnTo>
                  <a:lnTo>
                    <a:pt x="455" y="144"/>
                  </a:lnTo>
                  <a:lnTo>
                    <a:pt x="454" y="144"/>
                  </a:lnTo>
                  <a:lnTo>
                    <a:pt x="454" y="144"/>
                  </a:lnTo>
                  <a:lnTo>
                    <a:pt x="454" y="144"/>
                  </a:lnTo>
                  <a:lnTo>
                    <a:pt x="452" y="144"/>
                  </a:lnTo>
                  <a:lnTo>
                    <a:pt x="452" y="144"/>
                  </a:lnTo>
                  <a:lnTo>
                    <a:pt x="450" y="144"/>
                  </a:lnTo>
                  <a:lnTo>
                    <a:pt x="450" y="144"/>
                  </a:lnTo>
                  <a:lnTo>
                    <a:pt x="450" y="144"/>
                  </a:lnTo>
                  <a:lnTo>
                    <a:pt x="450" y="142"/>
                  </a:lnTo>
                  <a:lnTo>
                    <a:pt x="452" y="140"/>
                  </a:lnTo>
                  <a:lnTo>
                    <a:pt x="452" y="140"/>
                  </a:lnTo>
                  <a:lnTo>
                    <a:pt x="452" y="139"/>
                  </a:lnTo>
                  <a:lnTo>
                    <a:pt x="452" y="137"/>
                  </a:lnTo>
                  <a:lnTo>
                    <a:pt x="450" y="137"/>
                  </a:lnTo>
                  <a:lnTo>
                    <a:pt x="450" y="135"/>
                  </a:lnTo>
                  <a:lnTo>
                    <a:pt x="448" y="135"/>
                  </a:lnTo>
                  <a:lnTo>
                    <a:pt x="448" y="135"/>
                  </a:lnTo>
                  <a:lnTo>
                    <a:pt x="446" y="137"/>
                  </a:lnTo>
                  <a:lnTo>
                    <a:pt x="446" y="137"/>
                  </a:lnTo>
                  <a:lnTo>
                    <a:pt x="446" y="139"/>
                  </a:lnTo>
                  <a:lnTo>
                    <a:pt x="446" y="139"/>
                  </a:lnTo>
                  <a:lnTo>
                    <a:pt x="444" y="140"/>
                  </a:lnTo>
                  <a:lnTo>
                    <a:pt x="444" y="140"/>
                  </a:lnTo>
                  <a:lnTo>
                    <a:pt x="446" y="144"/>
                  </a:lnTo>
                  <a:lnTo>
                    <a:pt x="446" y="146"/>
                  </a:lnTo>
                  <a:lnTo>
                    <a:pt x="444" y="146"/>
                  </a:lnTo>
                  <a:lnTo>
                    <a:pt x="444" y="146"/>
                  </a:lnTo>
                  <a:lnTo>
                    <a:pt x="442" y="148"/>
                  </a:lnTo>
                  <a:lnTo>
                    <a:pt x="440" y="146"/>
                  </a:lnTo>
                  <a:lnTo>
                    <a:pt x="440" y="146"/>
                  </a:lnTo>
                  <a:lnTo>
                    <a:pt x="440" y="144"/>
                  </a:lnTo>
                  <a:lnTo>
                    <a:pt x="440" y="140"/>
                  </a:lnTo>
                  <a:lnTo>
                    <a:pt x="440" y="139"/>
                  </a:lnTo>
                  <a:lnTo>
                    <a:pt x="440" y="139"/>
                  </a:lnTo>
                  <a:lnTo>
                    <a:pt x="440" y="139"/>
                  </a:lnTo>
                  <a:lnTo>
                    <a:pt x="438" y="137"/>
                  </a:lnTo>
                  <a:lnTo>
                    <a:pt x="436" y="137"/>
                  </a:lnTo>
                  <a:lnTo>
                    <a:pt x="436" y="139"/>
                  </a:lnTo>
                  <a:lnTo>
                    <a:pt x="434" y="139"/>
                  </a:lnTo>
                  <a:lnTo>
                    <a:pt x="434" y="139"/>
                  </a:lnTo>
                  <a:lnTo>
                    <a:pt x="433" y="139"/>
                  </a:lnTo>
                  <a:lnTo>
                    <a:pt x="433" y="140"/>
                  </a:lnTo>
                  <a:lnTo>
                    <a:pt x="433" y="142"/>
                  </a:lnTo>
                  <a:lnTo>
                    <a:pt x="433" y="142"/>
                  </a:lnTo>
                  <a:lnTo>
                    <a:pt x="434" y="144"/>
                  </a:lnTo>
                  <a:lnTo>
                    <a:pt x="434" y="146"/>
                  </a:lnTo>
                  <a:lnTo>
                    <a:pt x="434" y="146"/>
                  </a:lnTo>
                  <a:lnTo>
                    <a:pt x="434" y="148"/>
                  </a:lnTo>
                  <a:lnTo>
                    <a:pt x="434" y="148"/>
                  </a:lnTo>
                  <a:lnTo>
                    <a:pt x="434" y="150"/>
                  </a:lnTo>
                  <a:lnTo>
                    <a:pt x="434" y="150"/>
                  </a:lnTo>
                  <a:lnTo>
                    <a:pt x="434" y="150"/>
                  </a:lnTo>
                  <a:lnTo>
                    <a:pt x="434" y="152"/>
                  </a:lnTo>
                  <a:lnTo>
                    <a:pt x="434" y="154"/>
                  </a:lnTo>
                  <a:lnTo>
                    <a:pt x="434" y="154"/>
                  </a:lnTo>
                  <a:lnTo>
                    <a:pt x="433" y="154"/>
                  </a:lnTo>
                  <a:lnTo>
                    <a:pt x="433" y="154"/>
                  </a:lnTo>
                  <a:lnTo>
                    <a:pt x="433" y="154"/>
                  </a:lnTo>
                  <a:lnTo>
                    <a:pt x="431" y="152"/>
                  </a:lnTo>
                  <a:lnTo>
                    <a:pt x="431" y="152"/>
                  </a:lnTo>
                  <a:lnTo>
                    <a:pt x="429" y="150"/>
                  </a:lnTo>
                  <a:lnTo>
                    <a:pt x="429" y="150"/>
                  </a:lnTo>
                  <a:lnTo>
                    <a:pt x="427" y="148"/>
                  </a:lnTo>
                  <a:lnTo>
                    <a:pt x="427" y="148"/>
                  </a:lnTo>
                  <a:lnTo>
                    <a:pt x="427" y="148"/>
                  </a:lnTo>
                  <a:lnTo>
                    <a:pt x="425" y="148"/>
                  </a:lnTo>
                  <a:lnTo>
                    <a:pt x="423" y="148"/>
                  </a:lnTo>
                  <a:lnTo>
                    <a:pt x="421" y="148"/>
                  </a:lnTo>
                  <a:lnTo>
                    <a:pt x="421" y="148"/>
                  </a:lnTo>
                  <a:lnTo>
                    <a:pt x="419" y="148"/>
                  </a:lnTo>
                  <a:lnTo>
                    <a:pt x="419" y="148"/>
                  </a:lnTo>
                  <a:lnTo>
                    <a:pt x="419" y="150"/>
                  </a:lnTo>
                  <a:lnTo>
                    <a:pt x="419" y="150"/>
                  </a:lnTo>
                  <a:lnTo>
                    <a:pt x="419" y="150"/>
                  </a:lnTo>
                  <a:lnTo>
                    <a:pt x="419" y="152"/>
                  </a:lnTo>
                  <a:lnTo>
                    <a:pt x="419" y="152"/>
                  </a:lnTo>
                  <a:lnTo>
                    <a:pt x="419" y="152"/>
                  </a:lnTo>
                  <a:lnTo>
                    <a:pt x="417" y="154"/>
                  </a:lnTo>
                  <a:lnTo>
                    <a:pt x="417" y="154"/>
                  </a:lnTo>
                  <a:lnTo>
                    <a:pt x="415" y="158"/>
                  </a:lnTo>
                  <a:lnTo>
                    <a:pt x="413" y="159"/>
                  </a:lnTo>
                  <a:lnTo>
                    <a:pt x="413" y="159"/>
                  </a:lnTo>
                  <a:lnTo>
                    <a:pt x="413" y="161"/>
                  </a:lnTo>
                  <a:lnTo>
                    <a:pt x="413" y="161"/>
                  </a:lnTo>
                  <a:lnTo>
                    <a:pt x="413" y="163"/>
                  </a:lnTo>
                  <a:lnTo>
                    <a:pt x="413" y="163"/>
                  </a:lnTo>
                  <a:lnTo>
                    <a:pt x="415" y="163"/>
                  </a:lnTo>
                  <a:lnTo>
                    <a:pt x="417" y="165"/>
                  </a:lnTo>
                  <a:lnTo>
                    <a:pt x="417" y="167"/>
                  </a:lnTo>
                  <a:lnTo>
                    <a:pt x="419" y="169"/>
                  </a:lnTo>
                  <a:lnTo>
                    <a:pt x="423" y="177"/>
                  </a:lnTo>
                  <a:lnTo>
                    <a:pt x="423" y="178"/>
                  </a:lnTo>
                  <a:lnTo>
                    <a:pt x="423" y="182"/>
                  </a:lnTo>
                  <a:lnTo>
                    <a:pt x="425" y="194"/>
                  </a:lnTo>
                  <a:lnTo>
                    <a:pt x="427" y="196"/>
                  </a:lnTo>
                  <a:lnTo>
                    <a:pt x="427" y="198"/>
                  </a:lnTo>
                  <a:lnTo>
                    <a:pt x="431" y="201"/>
                  </a:lnTo>
                  <a:lnTo>
                    <a:pt x="433" y="203"/>
                  </a:lnTo>
                  <a:lnTo>
                    <a:pt x="433" y="205"/>
                  </a:lnTo>
                  <a:lnTo>
                    <a:pt x="434" y="207"/>
                  </a:lnTo>
                  <a:lnTo>
                    <a:pt x="434" y="209"/>
                  </a:lnTo>
                  <a:lnTo>
                    <a:pt x="434" y="213"/>
                  </a:lnTo>
                  <a:lnTo>
                    <a:pt x="434" y="217"/>
                  </a:lnTo>
                  <a:lnTo>
                    <a:pt x="434" y="218"/>
                  </a:lnTo>
                  <a:lnTo>
                    <a:pt x="434" y="218"/>
                  </a:lnTo>
                  <a:lnTo>
                    <a:pt x="434" y="218"/>
                  </a:lnTo>
                  <a:lnTo>
                    <a:pt x="433" y="220"/>
                  </a:lnTo>
                  <a:lnTo>
                    <a:pt x="433" y="222"/>
                  </a:lnTo>
                  <a:lnTo>
                    <a:pt x="433" y="224"/>
                  </a:lnTo>
                  <a:lnTo>
                    <a:pt x="433" y="224"/>
                  </a:lnTo>
                  <a:lnTo>
                    <a:pt x="433" y="226"/>
                  </a:lnTo>
                  <a:lnTo>
                    <a:pt x="434" y="226"/>
                  </a:lnTo>
                  <a:lnTo>
                    <a:pt x="434" y="228"/>
                  </a:lnTo>
                  <a:lnTo>
                    <a:pt x="436" y="228"/>
                  </a:lnTo>
                  <a:lnTo>
                    <a:pt x="436" y="226"/>
                  </a:lnTo>
                  <a:lnTo>
                    <a:pt x="440" y="226"/>
                  </a:lnTo>
                  <a:lnTo>
                    <a:pt x="442" y="226"/>
                  </a:lnTo>
                  <a:lnTo>
                    <a:pt x="442" y="226"/>
                  </a:lnTo>
                  <a:lnTo>
                    <a:pt x="444" y="226"/>
                  </a:lnTo>
                  <a:lnTo>
                    <a:pt x="446" y="226"/>
                  </a:lnTo>
                  <a:lnTo>
                    <a:pt x="446" y="228"/>
                  </a:lnTo>
                  <a:lnTo>
                    <a:pt x="448" y="230"/>
                  </a:lnTo>
                  <a:lnTo>
                    <a:pt x="448" y="230"/>
                  </a:lnTo>
                  <a:lnTo>
                    <a:pt x="448" y="232"/>
                  </a:lnTo>
                  <a:lnTo>
                    <a:pt x="448" y="234"/>
                  </a:lnTo>
                  <a:lnTo>
                    <a:pt x="450" y="236"/>
                  </a:lnTo>
                  <a:lnTo>
                    <a:pt x="452" y="237"/>
                  </a:lnTo>
                  <a:lnTo>
                    <a:pt x="452" y="237"/>
                  </a:lnTo>
                  <a:lnTo>
                    <a:pt x="450" y="239"/>
                  </a:lnTo>
                  <a:lnTo>
                    <a:pt x="450" y="239"/>
                  </a:lnTo>
                  <a:lnTo>
                    <a:pt x="450" y="241"/>
                  </a:lnTo>
                  <a:lnTo>
                    <a:pt x="450" y="241"/>
                  </a:lnTo>
                  <a:lnTo>
                    <a:pt x="450" y="241"/>
                  </a:lnTo>
                  <a:lnTo>
                    <a:pt x="452" y="241"/>
                  </a:lnTo>
                  <a:lnTo>
                    <a:pt x="452" y="241"/>
                  </a:lnTo>
                  <a:lnTo>
                    <a:pt x="452" y="243"/>
                  </a:lnTo>
                  <a:lnTo>
                    <a:pt x="454" y="243"/>
                  </a:lnTo>
                  <a:lnTo>
                    <a:pt x="455" y="243"/>
                  </a:lnTo>
                  <a:lnTo>
                    <a:pt x="457" y="243"/>
                  </a:lnTo>
                  <a:lnTo>
                    <a:pt x="457" y="247"/>
                  </a:lnTo>
                  <a:lnTo>
                    <a:pt x="455" y="249"/>
                  </a:lnTo>
                  <a:lnTo>
                    <a:pt x="455" y="251"/>
                  </a:lnTo>
                  <a:lnTo>
                    <a:pt x="454" y="251"/>
                  </a:lnTo>
                  <a:lnTo>
                    <a:pt x="454" y="253"/>
                  </a:lnTo>
                  <a:lnTo>
                    <a:pt x="454" y="253"/>
                  </a:lnTo>
                  <a:lnTo>
                    <a:pt x="450" y="256"/>
                  </a:lnTo>
                  <a:lnTo>
                    <a:pt x="448" y="258"/>
                  </a:lnTo>
                  <a:lnTo>
                    <a:pt x="448" y="260"/>
                  </a:lnTo>
                  <a:lnTo>
                    <a:pt x="446" y="264"/>
                  </a:lnTo>
                  <a:lnTo>
                    <a:pt x="444" y="266"/>
                  </a:lnTo>
                  <a:lnTo>
                    <a:pt x="442" y="268"/>
                  </a:lnTo>
                  <a:lnTo>
                    <a:pt x="440" y="268"/>
                  </a:lnTo>
                  <a:lnTo>
                    <a:pt x="440" y="270"/>
                  </a:lnTo>
                  <a:lnTo>
                    <a:pt x="438" y="268"/>
                  </a:lnTo>
                  <a:lnTo>
                    <a:pt x="436" y="268"/>
                  </a:lnTo>
                  <a:lnTo>
                    <a:pt x="436" y="266"/>
                  </a:lnTo>
                  <a:lnTo>
                    <a:pt x="436" y="264"/>
                  </a:lnTo>
                  <a:lnTo>
                    <a:pt x="436" y="264"/>
                  </a:lnTo>
                  <a:lnTo>
                    <a:pt x="436" y="262"/>
                  </a:lnTo>
                  <a:lnTo>
                    <a:pt x="434" y="262"/>
                  </a:lnTo>
                  <a:lnTo>
                    <a:pt x="434" y="262"/>
                  </a:lnTo>
                  <a:lnTo>
                    <a:pt x="433" y="262"/>
                  </a:lnTo>
                  <a:lnTo>
                    <a:pt x="431" y="262"/>
                  </a:lnTo>
                  <a:lnTo>
                    <a:pt x="429" y="262"/>
                  </a:lnTo>
                  <a:lnTo>
                    <a:pt x="427" y="260"/>
                  </a:lnTo>
                  <a:lnTo>
                    <a:pt x="425" y="260"/>
                  </a:lnTo>
                  <a:lnTo>
                    <a:pt x="423" y="256"/>
                  </a:lnTo>
                  <a:lnTo>
                    <a:pt x="421" y="256"/>
                  </a:lnTo>
                  <a:lnTo>
                    <a:pt x="415" y="251"/>
                  </a:lnTo>
                  <a:lnTo>
                    <a:pt x="413" y="251"/>
                  </a:lnTo>
                  <a:lnTo>
                    <a:pt x="412" y="249"/>
                  </a:lnTo>
                  <a:lnTo>
                    <a:pt x="410" y="249"/>
                  </a:lnTo>
                  <a:lnTo>
                    <a:pt x="410" y="249"/>
                  </a:lnTo>
                  <a:lnTo>
                    <a:pt x="410" y="251"/>
                  </a:lnTo>
                  <a:lnTo>
                    <a:pt x="408" y="251"/>
                  </a:lnTo>
                  <a:lnTo>
                    <a:pt x="408" y="253"/>
                  </a:lnTo>
                  <a:lnTo>
                    <a:pt x="408" y="253"/>
                  </a:lnTo>
                  <a:lnTo>
                    <a:pt x="408" y="255"/>
                  </a:lnTo>
                  <a:lnTo>
                    <a:pt x="408" y="255"/>
                  </a:lnTo>
                  <a:lnTo>
                    <a:pt x="408" y="256"/>
                  </a:lnTo>
                  <a:lnTo>
                    <a:pt x="408" y="256"/>
                  </a:lnTo>
                  <a:lnTo>
                    <a:pt x="406" y="258"/>
                  </a:lnTo>
                  <a:lnTo>
                    <a:pt x="406" y="258"/>
                  </a:lnTo>
                  <a:lnTo>
                    <a:pt x="404" y="260"/>
                  </a:lnTo>
                  <a:lnTo>
                    <a:pt x="402" y="260"/>
                  </a:lnTo>
                  <a:lnTo>
                    <a:pt x="400" y="260"/>
                  </a:lnTo>
                  <a:lnTo>
                    <a:pt x="398" y="260"/>
                  </a:lnTo>
                  <a:lnTo>
                    <a:pt x="398" y="258"/>
                  </a:lnTo>
                  <a:lnTo>
                    <a:pt x="396" y="258"/>
                  </a:lnTo>
                  <a:lnTo>
                    <a:pt x="396" y="256"/>
                  </a:lnTo>
                  <a:lnTo>
                    <a:pt x="396" y="255"/>
                  </a:lnTo>
                  <a:lnTo>
                    <a:pt x="396" y="255"/>
                  </a:lnTo>
                  <a:lnTo>
                    <a:pt x="398" y="251"/>
                  </a:lnTo>
                  <a:lnTo>
                    <a:pt x="398" y="251"/>
                  </a:lnTo>
                  <a:lnTo>
                    <a:pt x="398" y="249"/>
                  </a:lnTo>
                  <a:lnTo>
                    <a:pt x="398" y="249"/>
                  </a:lnTo>
                  <a:lnTo>
                    <a:pt x="396" y="249"/>
                  </a:lnTo>
                  <a:lnTo>
                    <a:pt x="394" y="247"/>
                  </a:lnTo>
                  <a:lnTo>
                    <a:pt x="393" y="247"/>
                  </a:lnTo>
                  <a:lnTo>
                    <a:pt x="393" y="245"/>
                  </a:lnTo>
                  <a:lnTo>
                    <a:pt x="391" y="243"/>
                  </a:lnTo>
                  <a:lnTo>
                    <a:pt x="391" y="243"/>
                  </a:lnTo>
                  <a:lnTo>
                    <a:pt x="391" y="243"/>
                  </a:lnTo>
                  <a:lnTo>
                    <a:pt x="389" y="241"/>
                  </a:lnTo>
                  <a:lnTo>
                    <a:pt x="389" y="241"/>
                  </a:lnTo>
                  <a:lnTo>
                    <a:pt x="389" y="241"/>
                  </a:lnTo>
                  <a:lnTo>
                    <a:pt x="387" y="239"/>
                  </a:lnTo>
                  <a:lnTo>
                    <a:pt x="387" y="239"/>
                  </a:lnTo>
                  <a:lnTo>
                    <a:pt x="387" y="237"/>
                  </a:lnTo>
                  <a:lnTo>
                    <a:pt x="389" y="234"/>
                  </a:lnTo>
                  <a:lnTo>
                    <a:pt x="391" y="232"/>
                  </a:lnTo>
                  <a:lnTo>
                    <a:pt x="391" y="230"/>
                  </a:lnTo>
                  <a:lnTo>
                    <a:pt x="391" y="228"/>
                  </a:lnTo>
                  <a:lnTo>
                    <a:pt x="391" y="228"/>
                  </a:lnTo>
                  <a:lnTo>
                    <a:pt x="391" y="226"/>
                  </a:lnTo>
                  <a:lnTo>
                    <a:pt x="391" y="226"/>
                  </a:lnTo>
                  <a:lnTo>
                    <a:pt x="391" y="224"/>
                  </a:lnTo>
                  <a:lnTo>
                    <a:pt x="391" y="224"/>
                  </a:lnTo>
                  <a:lnTo>
                    <a:pt x="391" y="220"/>
                  </a:lnTo>
                  <a:lnTo>
                    <a:pt x="389" y="218"/>
                  </a:lnTo>
                  <a:lnTo>
                    <a:pt x="389" y="218"/>
                  </a:lnTo>
                  <a:lnTo>
                    <a:pt x="387" y="217"/>
                  </a:lnTo>
                  <a:lnTo>
                    <a:pt x="387" y="215"/>
                  </a:lnTo>
                  <a:lnTo>
                    <a:pt x="387" y="213"/>
                  </a:lnTo>
                  <a:lnTo>
                    <a:pt x="387" y="211"/>
                  </a:lnTo>
                  <a:lnTo>
                    <a:pt x="385" y="205"/>
                  </a:lnTo>
                  <a:lnTo>
                    <a:pt x="385" y="205"/>
                  </a:lnTo>
                  <a:lnTo>
                    <a:pt x="383" y="205"/>
                  </a:lnTo>
                  <a:lnTo>
                    <a:pt x="383" y="205"/>
                  </a:lnTo>
                  <a:lnTo>
                    <a:pt x="381" y="203"/>
                  </a:lnTo>
                  <a:lnTo>
                    <a:pt x="381" y="201"/>
                  </a:lnTo>
                  <a:lnTo>
                    <a:pt x="383" y="201"/>
                  </a:lnTo>
                  <a:lnTo>
                    <a:pt x="387" y="198"/>
                  </a:lnTo>
                  <a:lnTo>
                    <a:pt x="391" y="196"/>
                  </a:lnTo>
                  <a:lnTo>
                    <a:pt x="394" y="192"/>
                  </a:lnTo>
                  <a:lnTo>
                    <a:pt x="396" y="190"/>
                  </a:lnTo>
                  <a:lnTo>
                    <a:pt x="396" y="188"/>
                  </a:lnTo>
                  <a:lnTo>
                    <a:pt x="398" y="184"/>
                  </a:lnTo>
                  <a:lnTo>
                    <a:pt x="396" y="182"/>
                  </a:lnTo>
                  <a:lnTo>
                    <a:pt x="396" y="180"/>
                  </a:lnTo>
                  <a:lnTo>
                    <a:pt x="396" y="180"/>
                  </a:lnTo>
                  <a:lnTo>
                    <a:pt x="398" y="178"/>
                  </a:lnTo>
                  <a:lnTo>
                    <a:pt x="398" y="177"/>
                  </a:lnTo>
                  <a:lnTo>
                    <a:pt x="398" y="175"/>
                  </a:lnTo>
                  <a:lnTo>
                    <a:pt x="400" y="173"/>
                  </a:lnTo>
                  <a:lnTo>
                    <a:pt x="400" y="171"/>
                  </a:lnTo>
                  <a:lnTo>
                    <a:pt x="400" y="169"/>
                  </a:lnTo>
                  <a:lnTo>
                    <a:pt x="400" y="169"/>
                  </a:lnTo>
                  <a:lnTo>
                    <a:pt x="398" y="167"/>
                  </a:lnTo>
                  <a:lnTo>
                    <a:pt x="394" y="156"/>
                  </a:lnTo>
                  <a:lnTo>
                    <a:pt x="393" y="154"/>
                  </a:lnTo>
                  <a:lnTo>
                    <a:pt x="391" y="154"/>
                  </a:lnTo>
                  <a:lnTo>
                    <a:pt x="391" y="152"/>
                  </a:lnTo>
                  <a:lnTo>
                    <a:pt x="389" y="150"/>
                  </a:lnTo>
                  <a:lnTo>
                    <a:pt x="389" y="150"/>
                  </a:lnTo>
                  <a:lnTo>
                    <a:pt x="391" y="148"/>
                  </a:lnTo>
                  <a:lnTo>
                    <a:pt x="391" y="148"/>
                  </a:lnTo>
                  <a:lnTo>
                    <a:pt x="396" y="142"/>
                  </a:lnTo>
                  <a:lnTo>
                    <a:pt x="398" y="140"/>
                  </a:lnTo>
                  <a:lnTo>
                    <a:pt x="398" y="135"/>
                  </a:lnTo>
                  <a:lnTo>
                    <a:pt x="400" y="133"/>
                  </a:lnTo>
                  <a:lnTo>
                    <a:pt x="408" y="131"/>
                  </a:lnTo>
                  <a:lnTo>
                    <a:pt x="412" y="131"/>
                  </a:lnTo>
                  <a:lnTo>
                    <a:pt x="412" y="131"/>
                  </a:lnTo>
                  <a:lnTo>
                    <a:pt x="415" y="131"/>
                  </a:lnTo>
                  <a:lnTo>
                    <a:pt x="417" y="131"/>
                  </a:lnTo>
                  <a:lnTo>
                    <a:pt x="417" y="131"/>
                  </a:lnTo>
                  <a:lnTo>
                    <a:pt x="419" y="131"/>
                  </a:lnTo>
                  <a:lnTo>
                    <a:pt x="419" y="129"/>
                  </a:lnTo>
                  <a:lnTo>
                    <a:pt x="423" y="127"/>
                  </a:lnTo>
                  <a:lnTo>
                    <a:pt x="433" y="125"/>
                  </a:lnTo>
                  <a:lnTo>
                    <a:pt x="434" y="123"/>
                  </a:lnTo>
                  <a:lnTo>
                    <a:pt x="436" y="123"/>
                  </a:lnTo>
                  <a:lnTo>
                    <a:pt x="436" y="123"/>
                  </a:lnTo>
                  <a:lnTo>
                    <a:pt x="436" y="123"/>
                  </a:lnTo>
                  <a:lnTo>
                    <a:pt x="436" y="121"/>
                  </a:lnTo>
                  <a:lnTo>
                    <a:pt x="436" y="121"/>
                  </a:lnTo>
                  <a:lnTo>
                    <a:pt x="436" y="120"/>
                  </a:lnTo>
                  <a:lnTo>
                    <a:pt x="434" y="118"/>
                  </a:lnTo>
                  <a:lnTo>
                    <a:pt x="434" y="116"/>
                  </a:lnTo>
                  <a:lnTo>
                    <a:pt x="433" y="116"/>
                  </a:lnTo>
                  <a:lnTo>
                    <a:pt x="433" y="114"/>
                  </a:lnTo>
                  <a:lnTo>
                    <a:pt x="433" y="114"/>
                  </a:lnTo>
                  <a:lnTo>
                    <a:pt x="434" y="112"/>
                  </a:lnTo>
                  <a:lnTo>
                    <a:pt x="434" y="110"/>
                  </a:lnTo>
                  <a:lnTo>
                    <a:pt x="434" y="108"/>
                  </a:lnTo>
                  <a:lnTo>
                    <a:pt x="434" y="108"/>
                  </a:lnTo>
                  <a:lnTo>
                    <a:pt x="436" y="106"/>
                  </a:lnTo>
                  <a:lnTo>
                    <a:pt x="438" y="106"/>
                  </a:lnTo>
                  <a:lnTo>
                    <a:pt x="438" y="106"/>
                  </a:lnTo>
                  <a:lnTo>
                    <a:pt x="440" y="104"/>
                  </a:lnTo>
                  <a:lnTo>
                    <a:pt x="442" y="101"/>
                  </a:lnTo>
                  <a:lnTo>
                    <a:pt x="444" y="97"/>
                  </a:lnTo>
                  <a:lnTo>
                    <a:pt x="448" y="93"/>
                  </a:lnTo>
                  <a:lnTo>
                    <a:pt x="448" y="91"/>
                  </a:lnTo>
                  <a:lnTo>
                    <a:pt x="448" y="89"/>
                  </a:lnTo>
                  <a:lnTo>
                    <a:pt x="448" y="87"/>
                  </a:lnTo>
                  <a:lnTo>
                    <a:pt x="450" y="83"/>
                  </a:lnTo>
                  <a:lnTo>
                    <a:pt x="454" y="78"/>
                  </a:lnTo>
                  <a:lnTo>
                    <a:pt x="454" y="78"/>
                  </a:lnTo>
                  <a:lnTo>
                    <a:pt x="454" y="76"/>
                  </a:lnTo>
                  <a:lnTo>
                    <a:pt x="454" y="76"/>
                  </a:lnTo>
                  <a:lnTo>
                    <a:pt x="452" y="74"/>
                  </a:lnTo>
                  <a:lnTo>
                    <a:pt x="452" y="74"/>
                  </a:lnTo>
                  <a:lnTo>
                    <a:pt x="452" y="72"/>
                  </a:lnTo>
                  <a:lnTo>
                    <a:pt x="452" y="70"/>
                  </a:lnTo>
                  <a:lnTo>
                    <a:pt x="452" y="70"/>
                  </a:lnTo>
                  <a:lnTo>
                    <a:pt x="452" y="70"/>
                  </a:lnTo>
                  <a:lnTo>
                    <a:pt x="454" y="68"/>
                  </a:lnTo>
                  <a:lnTo>
                    <a:pt x="454" y="68"/>
                  </a:lnTo>
                  <a:lnTo>
                    <a:pt x="455" y="68"/>
                  </a:lnTo>
                  <a:lnTo>
                    <a:pt x="454" y="66"/>
                  </a:lnTo>
                  <a:lnTo>
                    <a:pt x="454" y="64"/>
                  </a:lnTo>
                  <a:lnTo>
                    <a:pt x="454" y="64"/>
                  </a:lnTo>
                  <a:lnTo>
                    <a:pt x="454" y="62"/>
                  </a:lnTo>
                  <a:lnTo>
                    <a:pt x="454" y="61"/>
                  </a:lnTo>
                  <a:lnTo>
                    <a:pt x="454" y="61"/>
                  </a:lnTo>
                  <a:lnTo>
                    <a:pt x="454" y="59"/>
                  </a:lnTo>
                  <a:lnTo>
                    <a:pt x="455" y="59"/>
                  </a:lnTo>
                  <a:lnTo>
                    <a:pt x="455" y="59"/>
                  </a:lnTo>
                  <a:lnTo>
                    <a:pt x="457" y="59"/>
                  </a:lnTo>
                  <a:lnTo>
                    <a:pt x="459" y="59"/>
                  </a:lnTo>
                  <a:lnTo>
                    <a:pt x="461" y="57"/>
                  </a:lnTo>
                  <a:lnTo>
                    <a:pt x="461" y="57"/>
                  </a:lnTo>
                  <a:lnTo>
                    <a:pt x="461" y="55"/>
                  </a:lnTo>
                  <a:lnTo>
                    <a:pt x="463" y="53"/>
                  </a:lnTo>
                  <a:lnTo>
                    <a:pt x="465" y="51"/>
                  </a:lnTo>
                  <a:lnTo>
                    <a:pt x="465" y="51"/>
                  </a:lnTo>
                  <a:lnTo>
                    <a:pt x="463" y="51"/>
                  </a:lnTo>
                  <a:lnTo>
                    <a:pt x="463" y="51"/>
                  </a:lnTo>
                  <a:lnTo>
                    <a:pt x="463" y="49"/>
                  </a:lnTo>
                  <a:lnTo>
                    <a:pt x="463" y="49"/>
                  </a:lnTo>
                  <a:lnTo>
                    <a:pt x="463" y="45"/>
                  </a:lnTo>
                  <a:lnTo>
                    <a:pt x="463" y="42"/>
                  </a:lnTo>
                  <a:lnTo>
                    <a:pt x="463" y="40"/>
                  </a:lnTo>
                  <a:lnTo>
                    <a:pt x="461" y="36"/>
                  </a:lnTo>
                  <a:lnTo>
                    <a:pt x="455" y="28"/>
                  </a:lnTo>
                  <a:lnTo>
                    <a:pt x="455" y="26"/>
                  </a:lnTo>
                  <a:lnTo>
                    <a:pt x="454" y="23"/>
                  </a:lnTo>
                  <a:lnTo>
                    <a:pt x="454" y="19"/>
                  </a:lnTo>
                  <a:lnTo>
                    <a:pt x="454" y="19"/>
                  </a:lnTo>
                  <a:lnTo>
                    <a:pt x="454" y="19"/>
                  </a:lnTo>
                  <a:lnTo>
                    <a:pt x="454" y="17"/>
                  </a:lnTo>
                  <a:lnTo>
                    <a:pt x="454" y="17"/>
                  </a:lnTo>
                  <a:lnTo>
                    <a:pt x="452" y="15"/>
                  </a:lnTo>
                  <a:lnTo>
                    <a:pt x="452" y="15"/>
                  </a:lnTo>
                  <a:lnTo>
                    <a:pt x="450" y="15"/>
                  </a:lnTo>
                  <a:lnTo>
                    <a:pt x="446" y="15"/>
                  </a:lnTo>
                  <a:lnTo>
                    <a:pt x="446" y="15"/>
                  </a:lnTo>
                  <a:lnTo>
                    <a:pt x="444" y="15"/>
                  </a:lnTo>
                  <a:lnTo>
                    <a:pt x="442" y="11"/>
                  </a:lnTo>
                  <a:lnTo>
                    <a:pt x="440" y="9"/>
                  </a:lnTo>
                  <a:lnTo>
                    <a:pt x="438" y="9"/>
                  </a:lnTo>
                  <a:lnTo>
                    <a:pt x="438" y="9"/>
                  </a:lnTo>
                  <a:lnTo>
                    <a:pt x="436" y="9"/>
                  </a:lnTo>
                  <a:lnTo>
                    <a:pt x="436" y="7"/>
                  </a:lnTo>
                  <a:lnTo>
                    <a:pt x="436" y="7"/>
                  </a:lnTo>
                  <a:lnTo>
                    <a:pt x="434" y="5"/>
                  </a:lnTo>
                  <a:lnTo>
                    <a:pt x="434" y="7"/>
                  </a:lnTo>
                  <a:lnTo>
                    <a:pt x="433" y="7"/>
                  </a:lnTo>
                  <a:lnTo>
                    <a:pt x="433" y="5"/>
                  </a:lnTo>
                  <a:lnTo>
                    <a:pt x="431" y="5"/>
                  </a:lnTo>
                  <a:lnTo>
                    <a:pt x="427" y="7"/>
                  </a:lnTo>
                  <a:lnTo>
                    <a:pt x="425" y="7"/>
                  </a:lnTo>
                  <a:lnTo>
                    <a:pt x="423" y="7"/>
                  </a:lnTo>
                  <a:lnTo>
                    <a:pt x="423" y="7"/>
                  </a:lnTo>
                  <a:lnTo>
                    <a:pt x="423" y="7"/>
                  </a:lnTo>
                  <a:lnTo>
                    <a:pt x="421" y="9"/>
                  </a:lnTo>
                  <a:lnTo>
                    <a:pt x="421" y="9"/>
                  </a:lnTo>
                  <a:lnTo>
                    <a:pt x="419" y="9"/>
                  </a:lnTo>
                  <a:lnTo>
                    <a:pt x="417" y="9"/>
                  </a:lnTo>
                  <a:lnTo>
                    <a:pt x="413" y="7"/>
                  </a:lnTo>
                  <a:lnTo>
                    <a:pt x="412" y="7"/>
                  </a:lnTo>
                  <a:lnTo>
                    <a:pt x="410" y="5"/>
                  </a:lnTo>
                  <a:lnTo>
                    <a:pt x="408" y="5"/>
                  </a:lnTo>
                  <a:lnTo>
                    <a:pt x="406" y="4"/>
                  </a:lnTo>
                  <a:lnTo>
                    <a:pt x="406" y="4"/>
                  </a:lnTo>
                  <a:lnTo>
                    <a:pt x="406" y="4"/>
                  </a:lnTo>
                  <a:lnTo>
                    <a:pt x="404" y="4"/>
                  </a:lnTo>
                  <a:lnTo>
                    <a:pt x="402" y="4"/>
                  </a:lnTo>
                  <a:lnTo>
                    <a:pt x="402" y="2"/>
                  </a:lnTo>
                  <a:lnTo>
                    <a:pt x="400" y="0"/>
                  </a:lnTo>
                  <a:lnTo>
                    <a:pt x="398" y="0"/>
                  </a:lnTo>
                  <a:lnTo>
                    <a:pt x="396" y="0"/>
                  </a:lnTo>
                  <a:lnTo>
                    <a:pt x="393" y="0"/>
                  </a:lnTo>
                  <a:lnTo>
                    <a:pt x="393" y="0"/>
                  </a:lnTo>
                  <a:lnTo>
                    <a:pt x="391" y="0"/>
                  </a:lnTo>
                  <a:lnTo>
                    <a:pt x="391" y="4"/>
                  </a:lnTo>
                  <a:lnTo>
                    <a:pt x="391" y="4"/>
                  </a:lnTo>
                  <a:lnTo>
                    <a:pt x="389" y="4"/>
                  </a:lnTo>
                  <a:lnTo>
                    <a:pt x="387" y="4"/>
                  </a:lnTo>
                  <a:lnTo>
                    <a:pt x="385" y="4"/>
                  </a:lnTo>
                  <a:lnTo>
                    <a:pt x="383" y="4"/>
                  </a:lnTo>
                  <a:lnTo>
                    <a:pt x="381" y="4"/>
                  </a:lnTo>
                  <a:lnTo>
                    <a:pt x="381" y="5"/>
                  </a:lnTo>
                  <a:lnTo>
                    <a:pt x="381" y="7"/>
                  </a:lnTo>
                  <a:lnTo>
                    <a:pt x="377" y="5"/>
                  </a:lnTo>
                  <a:lnTo>
                    <a:pt x="375" y="5"/>
                  </a:lnTo>
                  <a:lnTo>
                    <a:pt x="375" y="7"/>
                  </a:lnTo>
                  <a:lnTo>
                    <a:pt x="375" y="9"/>
                  </a:lnTo>
                  <a:lnTo>
                    <a:pt x="375" y="9"/>
                  </a:lnTo>
                  <a:lnTo>
                    <a:pt x="375" y="11"/>
                  </a:lnTo>
                  <a:lnTo>
                    <a:pt x="375" y="11"/>
                  </a:lnTo>
                  <a:lnTo>
                    <a:pt x="375" y="13"/>
                  </a:lnTo>
                  <a:lnTo>
                    <a:pt x="373" y="13"/>
                  </a:lnTo>
                  <a:lnTo>
                    <a:pt x="373" y="15"/>
                  </a:lnTo>
                  <a:lnTo>
                    <a:pt x="373" y="17"/>
                  </a:lnTo>
                  <a:lnTo>
                    <a:pt x="373" y="17"/>
                  </a:lnTo>
                  <a:lnTo>
                    <a:pt x="372" y="17"/>
                  </a:lnTo>
                  <a:lnTo>
                    <a:pt x="372" y="17"/>
                  </a:lnTo>
                  <a:lnTo>
                    <a:pt x="370" y="17"/>
                  </a:lnTo>
                  <a:lnTo>
                    <a:pt x="370" y="17"/>
                  </a:lnTo>
                  <a:lnTo>
                    <a:pt x="368" y="17"/>
                  </a:lnTo>
                  <a:lnTo>
                    <a:pt x="368" y="17"/>
                  </a:lnTo>
                  <a:lnTo>
                    <a:pt x="366" y="17"/>
                  </a:lnTo>
                  <a:lnTo>
                    <a:pt x="364" y="17"/>
                  </a:lnTo>
                  <a:lnTo>
                    <a:pt x="362" y="19"/>
                  </a:lnTo>
                  <a:lnTo>
                    <a:pt x="360" y="19"/>
                  </a:lnTo>
                  <a:lnTo>
                    <a:pt x="358" y="19"/>
                  </a:lnTo>
                  <a:lnTo>
                    <a:pt x="356" y="19"/>
                  </a:lnTo>
                  <a:lnTo>
                    <a:pt x="356" y="21"/>
                  </a:lnTo>
                  <a:lnTo>
                    <a:pt x="356" y="21"/>
                  </a:lnTo>
                  <a:lnTo>
                    <a:pt x="356" y="23"/>
                  </a:lnTo>
                  <a:lnTo>
                    <a:pt x="354" y="23"/>
                  </a:lnTo>
                  <a:lnTo>
                    <a:pt x="354" y="24"/>
                  </a:lnTo>
                  <a:lnTo>
                    <a:pt x="349" y="24"/>
                  </a:lnTo>
                  <a:lnTo>
                    <a:pt x="351" y="28"/>
                  </a:lnTo>
                  <a:lnTo>
                    <a:pt x="349" y="30"/>
                  </a:lnTo>
                  <a:lnTo>
                    <a:pt x="345" y="32"/>
                  </a:lnTo>
                  <a:lnTo>
                    <a:pt x="343" y="32"/>
                  </a:lnTo>
                  <a:lnTo>
                    <a:pt x="341" y="34"/>
                  </a:lnTo>
                  <a:lnTo>
                    <a:pt x="339" y="36"/>
                  </a:lnTo>
                  <a:lnTo>
                    <a:pt x="339" y="36"/>
                  </a:lnTo>
                  <a:lnTo>
                    <a:pt x="337" y="36"/>
                  </a:lnTo>
                  <a:lnTo>
                    <a:pt x="333" y="38"/>
                  </a:lnTo>
                  <a:lnTo>
                    <a:pt x="332" y="38"/>
                  </a:lnTo>
                  <a:lnTo>
                    <a:pt x="332" y="38"/>
                  </a:lnTo>
                  <a:lnTo>
                    <a:pt x="326" y="42"/>
                  </a:lnTo>
                  <a:lnTo>
                    <a:pt x="322" y="43"/>
                  </a:lnTo>
                  <a:lnTo>
                    <a:pt x="322" y="45"/>
                  </a:lnTo>
                  <a:lnTo>
                    <a:pt x="320" y="45"/>
                  </a:lnTo>
                  <a:lnTo>
                    <a:pt x="316" y="45"/>
                  </a:lnTo>
                  <a:lnTo>
                    <a:pt x="314" y="45"/>
                  </a:lnTo>
                  <a:lnTo>
                    <a:pt x="314" y="47"/>
                  </a:lnTo>
                  <a:lnTo>
                    <a:pt x="314" y="47"/>
                  </a:lnTo>
                  <a:lnTo>
                    <a:pt x="314" y="49"/>
                  </a:lnTo>
                  <a:lnTo>
                    <a:pt x="313" y="49"/>
                  </a:lnTo>
                  <a:lnTo>
                    <a:pt x="311" y="49"/>
                  </a:lnTo>
                  <a:lnTo>
                    <a:pt x="311" y="49"/>
                  </a:lnTo>
                  <a:lnTo>
                    <a:pt x="309" y="51"/>
                  </a:lnTo>
                  <a:lnTo>
                    <a:pt x="307" y="49"/>
                  </a:lnTo>
                  <a:lnTo>
                    <a:pt x="305" y="51"/>
                  </a:lnTo>
                  <a:lnTo>
                    <a:pt x="303" y="51"/>
                  </a:lnTo>
                  <a:lnTo>
                    <a:pt x="303" y="53"/>
                  </a:lnTo>
                  <a:lnTo>
                    <a:pt x="301" y="55"/>
                  </a:lnTo>
                  <a:lnTo>
                    <a:pt x="301" y="57"/>
                  </a:lnTo>
                  <a:lnTo>
                    <a:pt x="301" y="57"/>
                  </a:lnTo>
                  <a:lnTo>
                    <a:pt x="299" y="57"/>
                  </a:lnTo>
                  <a:lnTo>
                    <a:pt x="299" y="59"/>
                  </a:lnTo>
                  <a:lnTo>
                    <a:pt x="297" y="59"/>
                  </a:lnTo>
                  <a:lnTo>
                    <a:pt x="295" y="61"/>
                  </a:lnTo>
                  <a:lnTo>
                    <a:pt x="293" y="62"/>
                  </a:lnTo>
                  <a:lnTo>
                    <a:pt x="290" y="62"/>
                  </a:lnTo>
                  <a:lnTo>
                    <a:pt x="288" y="62"/>
                  </a:lnTo>
                  <a:lnTo>
                    <a:pt x="286" y="62"/>
                  </a:lnTo>
                  <a:lnTo>
                    <a:pt x="284" y="64"/>
                  </a:lnTo>
                  <a:lnTo>
                    <a:pt x="282" y="66"/>
                  </a:lnTo>
                  <a:lnTo>
                    <a:pt x="282" y="66"/>
                  </a:lnTo>
                  <a:lnTo>
                    <a:pt x="282" y="68"/>
                  </a:lnTo>
                  <a:lnTo>
                    <a:pt x="282" y="68"/>
                  </a:lnTo>
                  <a:lnTo>
                    <a:pt x="280" y="68"/>
                  </a:lnTo>
                  <a:lnTo>
                    <a:pt x="280" y="68"/>
                  </a:lnTo>
                  <a:lnTo>
                    <a:pt x="278" y="68"/>
                  </a:lnTo>
                  <a:lnTo>
                    <a:pt x="276" y="70"/>
                  </a:lnTo>
                  <a:lnTo>
                    <a:pt x="274" y="70"/>
                  </a:lnTo>
                  <a:lnTo>
                    <a:pt x="274" y="72"/>
                  </a:lnTo>
                  <a:lnTo>
                    <a:pt x="274" y="72"/>
                  </a:lnTo>
                  <a:lnTo>
                    <a:pt x="272" y="74"/>
                  </a:lnTo>
                  <a:lnTo>
                    <a:pt x="271" y="74"/>
                  </a:lnTo>
                  <a:lnTo>
                    <a:pt x="271" y="76"/>
                  </a:lnTo>
                  <a:lnTo>
                    <a:pt x="269" y="76"/>
                  </a:lnTo>
                  <a:lnTo>
                    <a:pt x="269" y="78"/>
                  </a:lnTo>
                  <a:lnTo>
                    <a:pt x="265" y="78"/>
                  </a:lnTo>
                  <a:lnTo>
                    <a:pt x="265" y="78"/>
                  </a:lnTo>
                  <a:lnTo>
                    <a:pt x="265" y="80"/>
                  </a:lnTo>
                  <a:lnTo>
                    <a:pt x="265" y="80"/>
                  </a:lnTo>
                  <a:lnTo>
                    <a:pt x="263" y="81"/>
                  </a:lnTo>
                  <a:lnTo>
                    <a:pt x="263" y="81"/>
                  </a:lnTo>
                  <a:lnTo>
                    <a:pt x="257" y="85"/>
                  </a:lnTo>
                  <a:lnTo>
                    <a:pt x="255" y="87"/>
                  </a:lnTo>
                  <a:lnTo>
                    <a:pt x="255" y="87"/>
                  </a:lnTo>
                  <a:lnTo>
                    <a:pt x="255" y="89"/>
                  </a:lnTo>
                  <a:lnTo>
                    <a:pt x="255" y="91"/>
                  </a:lnTo>
                  <a:lnTo>
                    <a:pt x="255" y="91"/>
                  </a:lnTo>
                  <a:lnTo>
                    <a:pt x="253" y="91"/>
                  </a:lnTo>
                  <a:lnTo>
                    <a:pt x="253" y="91"/>
                  </a:lnTo>
                  <a:lnTo>
                    <a:pt x="253" y="93"/>
                  </a:lnTo>
                  <a:lnTo>
                    <a:pt x="252" y="93"/>
                  </a:lnTo>
                  <a:lnTo>
                    <a:pt x="250" y="95"/>
                  </a:lnTo>
                  <a:lnTo>
                    <a:pt x="250" y="97"/>
                  </a:lnTo>
                  <a:lnTo>
                    <a:pt x="248" y="97"/>
                  </a:lnTo>
                  <a:lnTo>
                    <a:pt x="246" y="97"/>
                  </a:lnTo>
                  <a:lnTo>
                    <a:pt x="242" y="95"/>
                  </a:lnTo>
                  <a:lnTo>
                    <a:pt x="240" y="95"/>
                  </a:lnTo>
                  <a:lnTo>
                    <a:pt x="240" y="97"/>
                  </a:lnTo>
                  <a:lnTo>
                    <a:pt x="240" y="99"/>
                  </a:lnTo>
                  <a:lnTo>
                    <a:pt x="238" y="99"/>
                  </a:lnTo>
                  <a:lnTo>
                    <a:pt x="238" y="101"/>
                  </a:lnTo>
                  <a:lnTo>
                    <a:pt x="236" y="101"/>
                  </a:lnTo>
                  <a:lnTo>
                    <a:pt x="236" y="101"/>
                  </a:lnTo>
                  <a:lnTo>
                    <a:pt x="232" y="102"/>
                  </a:lnTo>
                  <a:lnTo>
                    <a:pt x="232" y="102"/>
                  </a:lnTo>
                  <a:lnTo>
                    <a:pt x="232" y="102"/>
                  </a:lnTo>
                  <a:lnTo>
                    <a:pt x="231" y="106"/>
                  </a:lnTo>
                  <a:lnTo>
                    <a:pt x="229" y="108"/>
                  </a:lnTo>
                  <a:lnTo>
                    <a:pt x="229" y="110"/>
                  </a:lnTo>
                  <a:lnTo>
                    <a:pt x="229" y="112"/>
                  </a:lnTo>
                  <a:lnTo>
                    <a:pt x="229" y="114"/>
                  </a:lnTo>
                  <a:lnTo>
                    <a:pt x="229" y="114"/>
                  </a:lnTo>
                  <a:lnTo>
                    <a:pt x="227" y="114"/>
                  </a:lnTo>
                  <a:lnTo>
                    <a:pt x="227" y="116"/>
                  </a:lnTo>
                  <a:lnTo>
                    <a:pt x="225" y="116"/>
                  </a:lnTo>
                  <a:lnTo>
                    <a:pt x="227" y="118"/>
                  </a:lnTo>
                  <a:lnTo>
                    <a:pt x="227" y="118"/>
                  </a:lnTo>
                  <a:lnTo>
                    <a:pt x="227" y="120"/>
                  </a:lnTo>
                  <a:lnTo>
                    <a:pt x="231" y="133"/>
                  </a:lnTo>
                  <a:lnTo>
                    <a:pt x="232" y="139"/>
                  </a:lnTo>
                  <a:lnTo>
                    <a:pt x="232" y="142"/>
                  </a:lnTo>
                  <a:lnTo>
                    <a:pt x="232" y="142"/>
                  </a:lnTo>
                  <a:lnTo>
                    <a:pt x="232" y="144"/>
                  </a:lnTo>
                  <a:lnTo>
                    <a:pt x="234" y="144"/>
                  </a:lnTo>
                  <a:lnTo>
                    <a:pt x="234" y="144"/>
                  </a:lnTo>
                  <a:lnTo>
                    <a:pt x="236" y="144"/>
                  </a:lnTo>
                  <a:lnTo>
                    <a:pt x="236" y="144"/>
                  </a:lnTo>
                  <a:lnTo>
                    <a:pt x="238" y="146"/>
                  </a:lnTo>
                  <a:lnTo>
                    <a:pt x="240" y="150"/>
                  </a:lnTo>
                  <a:lnTo>
                    <a:pt x="240" y="150"/>
                  </a:lnTo>
                  <a:lnTo>
                    <a:pt x="242" y="152"/>
                  </a:lnTo>
                  <a:lnTo>
                    <a:pt x="242" y="152"/>
                  </a:lnTo>
                  <a:lnTo>
                    <a:pt x="244" y="152"/>
                  </a:lnTo>
                  <a:lnTo>
                    <a:pt x="246" y="152"/>
                  </a:lnTo>
                  <a:lnTo>
                    <a:pt x="246" y="152"/>
                  </a:lnTo>
                  <a:lnTo>
                    <a:pt x="248" y="152"/>
                  </a:lnTo>
                  <a:lnTo>
                    <a:pt x="252" y="156"/>
                  </a:lnTo>
                  <a:lnTo>
                    <a:pt x="252" y="156"/>
                  </a:lnTo>
                  <a:lnTo>
                    <a:pt x="253" y="156"/>
                  </a:lnTo>
                  <a:lnTo>
                    <a:pt x="253" y="156"/>
                  </a:lnTo>
                  <a:lnTo>
                    <a:pt x="257" y="156"/>
                  </a:lnTo>
                  <a:lnTo>
                    <a:pt x="257" y="154"/>
                  </a:lnTo>
                  <a:lnTo>
                    <a:pt x="257" y="154"/>
                  </a:lnTo>
                  <a:lnTo>
                    <a:pt x="261" y="156"/>
                  </a:lnTo>
                  <a:lnTo>
                    <a:pt x="263" y="156"/>
                  </a:lnTo>
                  <a:lnTo>
                    <a:pt x="267" y="158"/>
                  </a:lnTo>
                  <a:lnTo>
                    <a:pt x="267" y="158"/>
                  </a:lnTo>
                  <a:lnTo>
                    <a:pt x="267" y="158"/>
                  </a:lnTo>
                  <a:lnTo>
                    <a:pt x="269" y="158"/>
                  </a:lnTo>
                  <a:lnTo>
                    <a:pt x="274" y="158"/>
                  </a:lnTo>
                  <a:lnTo>
                    <a:pt x="276" y="156"/>
                  </a:lnTo>
                  <a:lnTo>
                    <a:pt x="280" y="154"/>
                  </a:lnTo>
                  <a:lnTo>
                    <a:pt x="282" y="154"/>
                  </a:lnTo>
                  <a:lnTo>
                    <a:pt x="282" y="154"/>
                  </a:lnTo>
                  <a:lnTo>
                    <a:pt x="284" y="154"/>
                  </a:lnTo>
                  <a:lnTo>
                    <a:pt x="286" y="154"/>
                  </a:lnTo>
                  <a:lnTo>
                    <a:pt x="288" y="156"/>
                  </a:lnTo>
                  <a:lnTo>
                    <a:pt x="290" y="156"/>
                  </a:lnTo>
                  <a:lnTo>
                    <a:pt x="290" y="156"/>
                  </a:lnTo>
                  <a:lnTo>
                    <a:pt x="292" y="154"/>
                  </a:lnTo>
                  <a:lnTo>
                    <a:pt x="292" y="154"/>
                  </a:lnTo>
                  <a:lnTo>
                    <a:pt x="293" y="152"/>
                  </a:lnTo>
                  <a:lnTo>
                    <a:pt x="293" y="152"/>
                  </a:lnTo>
                  <a:lnTo>
                    <a:pt x="295" y="148"/>
                  </a:lnTo>
                  <a:lnTo>
                    <a:pt x="295" y="148"/>
                  </a:lnTo>
                  <a:lnTo>
                    <a:pt x="295" y="146"/>
                  </a:lnTo>
                  <a:lnTo>
                    <a:pt x="297" y="146"/>
                  </a:lnTo>
                  <a:lnTo>
                    <a:pt x="299" y="144"/>
                  </a:lnTo>
                  <a:lnTo>
                    <a:pt x="301" y="144"/>
                  </a:lnTo>
                  <a:lnTo>
                    <a:pt x="303" y="144"/>
                  </a:lnTo>
                  <a:lnTo>
                    <a:pt x="305" y="144"/>
                  </a:lnTo>
                  <a:lnTo>
                    <a:pt x="305" y="144"/>
                  </a:lnTo>
                  <a:lnTo>
                    <a:pt x="305" y="144"/>
                  </a:lnTo>
                  <a:lnTo>
                    <a:pt x="307" y="146"/>
                  </a:lnTo>
                  <a:lnTo>
                    <a:pt x="307" y="146"/>
                  </a:lnTo>
                  <a:lnTo>
                    <a:pt x="307" y="146"/>
                  </a:lnTo>
                  <a:lnTo>
                    <a:pt x="307" y="148"/>
                  </a:lnTo>
                  <a:lnTo>
                    <a:pt x="307" y="148"/>
                  </a:lnTo>
                  <a:lnTo>
                    <a:pt x="307" y="148"/>
                  </a:lnTo>
                  <a:lnTo>
                    <a:pt x="307" y="150"/>
                  </a:lnTo>
                  <a:lnTo>
                    <a:pt x="307" y="150"/>
                  </a:lnTo>
                  <a:lnTo>
                    <a:pt x="305" y="152"/>
                  </a:lnTo>
                  <a:lnTo>
                    <a:pt x="305" y="152"/>
                  </a:lnTo>
                  <a:lnTo>
                    <a:pt x="305" y="154"/>
                  </a:lnTo>
                  <a:lnTo>
                    <a:pt x="307" y="154"/>
                  </a:lnTo>
                  <a:lnTo>
                    <a:pt x="307" y="156"/>
                  </a:lnTo>
                  <a:lnTo>
                    <a:pt x="307" y="156"/>
                  </a:lnTo>
                  <a:lnTo>
                    <a:pt x="307" y="158"/>
                  </a:lnTo>
                  <a:lnTo>
                    <a:pt x="307" y="158"/>
                  </a:lnTo>
                  <a:lnTo>
                    <a:pt x="307" y="159"/>
                  </a:lnTo>
                  <a:lnTo>
                    <a:pt x="307" y="159"/>
                  </a:lnTo>
                  <a:lnTo>
                    <a:pt x="307" y="159"/>
                  </a:lnTo>
                  <a:lnTo>
                    <a:pt x="307" y="161"/>
                  </a:lnTo>
                  <a:lnTo>
                    <a:pt x="307" y="161"/>
                  </a:lnTo>
                  <a:lnTo>
                    <a:pt x="307" y="163"/>
                  </a:lnTo>
                  <a:lnTo>
                    <a:pt x="309" y="163"/>
                  </a:lnTo>
                  <a:lnTo>
                    <a:pt x="311" y="167"/>
                  </a:lnTo>
                  <a:lnTo>
                    <a:pt x="311" y="167"/>
                  </a:lnTo>
                  <a:lnTo>
                    <a:pt x="311" y="169"/>
                  </a:lnTo>
                  <a:lnTo>
                    <a:pt x="311" y="169"/>
                  </a:lnTo>
                  <a:lnTo>
                    <a:pt x="311" y="169"/>
                  </a:lnTo>
                  <a:lnTo>
                    <a:pt x="311" y="171"/>
                  </a:lnTo>
                  <a:lnTo>
                    <a:pt x="309" y="171"/>
                  </a:lnTo>
                  <a:lnTo>
                    <a:pt x="311" y="173"/>
                  </a:lnTo>
                  <a:lnTo>
                    <a:pt x="311" y="175"/>
                  </a:lnTo>
                  <a:lnTo>
                    <a:pt x="309" y="175"/>
                  </a:lnTo>
                  <a:lnTo>
                    <a:pt x="309" y="175"/>
                  </a:lnTo>
                  <a:lnTo>
                    <a:pt x="307" y="177"/>
                  </a:lnTo>
                  <a:lnTo>
                    <a:pt x="307" y="177"/>
                  </a:lnTo>
                  <a:lnTo>
                    <a:pt x="307" y="177"/>
                  </a:lnTo>
                  <a:lnTo>
                    <a:pt x="307" y="177"/>
                  </a:lnTo>
                  <a:lnTo>
                    <a:pt x="305" y="178"/>
                  </a:lnTo>
                  <a:lnTo>
                    <a:pt x="305" y="178"/>
                  </a:lnTo>
                  <a:lnTo>
                    <a:pt x="303" y="178"/>
                  </a:lnTo>
                  <a:lnTo>
                    <a:pt x="301" y="178"/>
                  </a:lnTo>
                  <a:lnTo>
                    <a:pt x="299" y="177"/>
                  </a:lnTo>
                  <a:lnTo>
                    <a:pt x="299" y="177"/>
                  </a:lnTo>
                  <a:lnTo>
                    <a:pt x="297" y="177"/>
                  </a:lnTo>
                  <a:lnTo>
                    <a:pt x="295" y="177"/>
                  </a:lnTo>
                  <a:lnTo>
                    <a:pt x="293" y="177"/>
                  </a:lnTo>
                  <a:lnTo>
                    <a:pt x="292" y="177"/>
                  </a:lnTo>
                  <a:lnTo>
                    <a:pt x="292" y="177"/>
                  </a:lnTo>
                  <a:lnTo>
                    <a:pt x="282" y="180"/>
                  </a:lnTo>
                  <a:lnTo>
                    <a:pt x="278" y="180"/>
                  </a:lnTo>
                  <a:lnTo>
                    <a:pt x="276" y="180"/>
                  </a:lnTo>
                  <a:lnTo>
                    <a:pt x="274" y="180"/>
                  </a:lnTo>
                  <a:lnTo>
                    <a:pt x="274" y="180"/>
                  </a:lnTo>
                  <a:lnTo>
                    <a:pt x="267" y="184"/>
                  </a:lnTo>
                  <a:lnTo>
                    <a:pt x="263" y="184"/>
                  </a:lnTo>
                  <a:lnTo>
                    <a:pt x="261" y="186"/>
                  </a:lnTo>
                  <a:lnTo>
                    <a:pt x="261" y="186"/>
                  </a:lnTo>
                  <a:lnTo>
                    <a:pt x="261" y="188"/>
                  </a:lnTo>
                  <a:lnTo>
                    <a:pt x="259" y="188"/>
                  </a:lnTo>
                  <a:lnTo>
                    <a:pt x="259" y="190"/>
                  </a:lnTo>
                  <a:lnTo>
                    <a:pt x="259" y="190"/>
                  </a:lnTo>
                  <a:lnTo>
                    <a:pt x="259" y="190"/>
                  </a:lnTo>
                  <a:lnTo>
                    <a:pt x="259" y="190"/>
                  </a:lnTo>
                  <a:lnTo>
                    <a:pt x="261" y="194"/>
                  </a:lnTo>
                  <a:lnTo>
                    <a:pt x="263" y="196"/>
                  </a:lnTo>
                  <a:lnTo>
                    <a:pt x="263" y="198"/>
                  </a:lnTo>
                  <a:lnTo>
                    <a:pt x="263" y="199"/>
                  </a:lnTo>
                  <a:lnTo>
                    <a:pt x="263" y="201"/>
                  </a:lnTo>
                  <a:lnTo>
                    <a:pt x="263" y="201"/>
                  </a:lnTo>
                  <a:lnTo>
                    <a:pt x="261" y="203"/>
                  </a:lnTo>
                  <a:lnTo>
                    <a:pt x="261" y="203"/>
                  </a:lnTo>
                  <a:lnTo>
                    <a:pt x="259" y="203"/>
                  </a:lnTo>
                  <a:lnTo>
                    <a:pt x="257" y="203"/>
                  </a:lnTo>
                  <a:lnTo>
                    <a:pt x="255" y="205"/>
                  </a:lnTo>
                  <a:lnTo>
                    <a:pt x="255" y="205"/>
                  </a:lnTo>
                  <a:lnTo>
                    <a:pt x="255" y="205"/>
                  </a:lnTo>
                  <a:lnTo>
                    <a:pt x="253" y="205"/>
                  </a:lnTo>
                  <a:lnTo>
                    <a:pt x="253" y="207"/>
                  </a:lnTo>
                  <a:lnTo>
                    <a:pt x="253" y="207"/>
                  </a:lnTo>
                  <a:lnTo>
                    <a:pt x="255" y="209"/>
                  </a:lnTo>
                  <a:lnTo>
                    <a:pt x="259" y="215"/>
                  </a:lnTo>
                  <a:lnTo>
                    <a:pt x="263" y="217"/>
                  </a:lnTo>
                  <a:lnTo>
                    <a:pt x="267" y="217"/>
                  </a:lnTo>
                  <a:lnTo>
                    <a:pt x="267" y="217"/>
                  </a:lnTo>
                  <a:lnTo>
                    <a:pt x="269" y="217"/>
                  </a:lnTo>
                  <a:lnTo>
                    <a:pt x="269" y="217"/>
                  </a:lnTo>
                  <a:lnTo>
                    <a:pt x="271" y="217"/>
                  </a:lnTo>
                  <a:lnTo>
                    <a:pt x="271" y="217"/>
                  </a:lnTo>
                  <a:lnTo>
                    <a:pt x="274" y="220"/>
                  </a:lnTo>
                  <a:lnTo>
                    <a:pt x="276" y="222"/>
                  </a:lnTo>
                  <a:lnTo>
                    <a:pt x="278" y="222"/>
                  </a:lnTo>
                  <a:lnTo>
                    <a:pt x="278" y="226"/>
                  </a:lnTo>
                  <a:lnTo>
                    <a:pt x="280" y="230"/>
                  </a:lnTo>
                  <a:lnTo>
                    <a:pt x="280" y="232"/>
                  </a:lnTo>
                  <a:lnTo>
                    <a:pt x="280" y="234"/>
                  </a:lnTo>
                  <a:lnTo>
                    <a:pt x="278" y="236"/>
                  </a:lnTo>
                  <a:lnTo>
                    <a:pt x="278" y="236"/>
                  </a:lnTo>
                  <a:lnTo>
                    <a:pt x="276" y="236"/>
                  </a:lnTo>
                  <a:lnTo>
                    <a:pt x="269" y="241"/>
                  </a:lnTo>
                  <a:lnTo>
                    <a:pt x="269" y="241"/>
                  </a:lnTo>
                  <a:lnTo>
                    <a:pt x="267" y="241"/>
                  </a:lnTo>
                  <a:lnTo>
                    <a:pt x="265" y="241"/>
                  </a:lnTo>
                  <a:lnTo>
                    <a:pt x="265" y="241"/>
                  </a:lnTo>
                  <a:lnTo>
                    <a:pt x="265" y="241"/>
                  </a:lnTo>
                  <a:lnTo>
                    <a:pt x="265" y="241"/>
                  </a:lnTo>
                  <a:lnTo>
                    <a:pt x="265" y="239"/>
                  </a:lnTo>
                  <a:lnTo>
                    <a:pt x="265" y="237"/>
                  </a:lnTo>
                  <a:lnTo>
                    <a:pt x="265" y="237"/>
                  </a:lnTo>
                  <a:lnTo>
                    <a:pt x="265" y="237"/>
                  </a:lnTo>
                  <a:lnTo>
                    <a:pt x="263" y="236"/>
                  </a:lnTo>
                  <a:lnTo>
                    <a:pt x="263" y="236"/>
                  </a:lnTo>
                  <a:lnTo>
                    <a:pt x="263" y="234"/>
                  </a:lnTo>
                  <a:lnTo>
                    <a:pt x="263" y="234"/>
                  </a:lnTo>
                  <a:lnTo>
                    <a:pt x="261" y="234"/>
                  </a:lnTo>
                  <a:lnTo>
                    <a:pt x="261" y="234"/>
                  </a:lnTo>
                  <a:lnTo>
                    <a:pt x="259" y="234"/>
                  </a:lnTo>
                  <a:lnTo>
                    <a:pt x="259" y="234"/>
                  </a:lnTo>
                  <a:lnTo>
                    <a:pt x="259" y="234"/>
                  </a:lnTo>
                  <a:lnTo>
                    <a:pt x="257" y="232"/>
                  </a:lnTo>
                  <a:lnTo>
                    <a:pt x="257" y="232"/>
                  </a:lnTo>
                  <a:lnTo>
                    <a:pt x="257" y="234"/>
                  </a:lnTo>
                  <a:lnTo>
                    <a:pt x="255" y="234"/>
                  </a:lnTo>
                  <a:lnTo>
                    <a:pt x="255" y="236"/>
                  </a:lnTo>
                  <a:lnTo>
                    <a:pt x="257" y="237"/>
                  </a:lnTo>
                  <a:lnTo>
                    <a:pt x="257" y="239"/>
                  </a:lnTo>
                  <a:lnTo>
                    <a:pt x="257" y="239"/>
                  </a:lnTo>
                  <a:lnTo>
                    <a:pt x="257" y="239"/>
                  </a:lnTo>
                  <a:lnTo>
                    <a:pt x="255" y="243"/>
                  </a:lnTo>
                  <a:lnTo>
                    <a:pt x="255" y="243"/>
                  </a:lnTo>
                  <a:lnTo>
                    <a:pt x="255" y="245"/>
                  </a:lnTo>
                  <a:lnTo>
                    <a:pt x="255" y="245"/>
                  </a:lnTo>
                  <a:lnTo>
                    <a:pt x="257" y="247"/>
                  </a:lnTo>
                  <a:lnTo>
                    <a:pt x="257" y="255"/>
                  </a:lnTo>
                  <a:lnTo>
                    <a:pt x="257" y="256"/>
                  </a:lnTo>
                  <a:lnTo>
                    <a:pt x="259" y="258"/>
                  </a:lnTo>
                  <a:lnTo>
                    <a:pt x="263" y="264"/>
                  </a:lnTo>
                  <a:lnTo>
                    <a:pt x="263" y="266"/>
                  </a:lnTo>
                  <a:lnTo>
                    <a:pt x="265" y="268"/>
                  </a:lnTo>
                  <a:lnTo>
                    <a:pt x="263" y="268"/>
                  </a:lnTo>
                  <a:lnTo>
                    <a:pt x="263" y="270"/>
                  </a:lnTo>
                  <a:lnTo>
                    <a:pt x="263" y="270"/>
                  </a:lnTo>
                  <a:lnTo>
                    <a:pt x="263" y="272"/>
                  </a:lnTo>
                  <a:lnTo>
                    <a:pt x="261" y="272"/>
                  </a:lnTo>
                  <a:lnTo>
                    <a:pt x="261" y="274"/>
                  </a:lnTo>
                  <a:lnTo>
                    <a:pt x="261" y="274"/>
                  </a:lnTo>
                  <a:lnTo>
                    <a:pt x="259" y="274"/>
                  </a:lnTo>
                  <a:lnTo>
                    <a:pt x="257" y="274"/>
                  </a:lnTo>
                  <a:lnTo>
                    <a:pt x="257" y="274"/>
                  </a:lnTo>
                  <a:lnTo>
                    <a:pt x="257" y="274"/>
                  </a:lnTo>
                  <a:lnTo>
                    <a:pt x="255" y="275"/>
                  </a:lnTo>
                  <a:lnTo>
                    <a:pt x="252" y="275"/>
                  </a:lnTo>
                  <a:lnTo>
                    <a:pt x="250" y="274"/>
                  </a:lnTo>
                  <a:lnTo>
                    <a:pt x="248" y="272"/>
                  </a:lnTo>
                  <a:lnTo>
                    <a:pt x="244" y="268"/>
                  </a:lnTo>
                  <a:lnTo>
                    <a:pt x="242" y="268"/>
                  </a:lnTo>
                  <a:lnTo>
                    <a:pt x="242" y="266"/>
                  </a:lnTo>
                  <a:lnTo>
                    <a:pt x="242" y="266"/>
                  </a:lnTo>
                  <a:lnTo>
                    <a:pt x="242" y="264"/>
                  </a:lnTo>
                  <a:lnTo>
                    <a:pt x="244" y="264"/>
                  </a:lnTo>
                  <a:lnTo>
                    <a:pt x="244" y="262"/>
                  </a:lnTo>
                  <a:lnTo>
                    <a:pt x="244" y="260"/>
                  </a:lnTo>
                  <a:lnTo>
                    <a:pt x="244" y="260"/>
                  </a:lnTo>
                  <a:lnTo>
                    <a:pt x="242" y="260"/>
                  </a:lnTo>
                  <a:lnTo>
                    <a:pt x="242" y="260"/>
                  </a:lnTo>
                  <a:lnTo>
                    <a:pt x="238" y="260"/>
                  </a:lnTo>
                  <a:lnTo>
                    <a:pt x="236" y="262"/>
                  </a:lnTo>
                  <a:lnTo>
                    <a:pt x="234" y="262"/>
                  </a:lnTo>
                  <a:lnTo>
                    <a:pt x="234" y="264"/>
                  </a:lnTo>
                  <a:lnTo>
                    <a:pt x="234" y="264"/>
                  </a:lnTo>
                  <a:lnTo>
                    <a:pt x="232" y="268"/>
                  </a:lnTo>
                  <a:lnTo>
                    <a:pt x="232" y="268"/>
                  </a:lnTo>
                  <a:lnTo>
                    <a:pt x="232" y="270"/>
                  </a:lnTo>
                  <a:lnTo>
                    <a:pt x="231" y="270"/>
                  </a:lnTo>
                  <a:lnTo>
                    <a:pt x="229" y="270"/>
                  </a:lnTo>
                  <a:lnTo>
                    <a:pt x="229" y="270"/>
                  </a:lnTo>
                  <a:lnTo>
                    <a:pt x="227" y="270"/>
                  </a:lnTo>
                  <a:lnTo>
                    <a:pt x="227" y="268"/>
                  </a:lnTo>
                  <a:lnTo>
                    <a:pt x="227" y="266"/>
                  </a:lnTo>
                  <a:lnTo>
                    <a:pt x="225" y="266"/>
                  </a:lnTo>
                  <a:lnTo>
                    <a:pt x="225" y="264"/>
                  </a:lnTo>
                  <a:lnTo>
                    <a:pt x="223" y="264"/>
                  </a:lnTo>
                  <a:lnTo>
                    <a:pt x="219" y="264"/>
                  </a:lnTo>
                  <a:lnTo>
                    <a:pt x="217" y="264"/>
                  </a:lnTo>
                  <a:lnTo>
                    <a:pt x="215" y="264"/>
                  </a:lnTo>
                  <a:lnTo>
                    <a:pt x="210" y="262"/>
                  </a:lnTo>
                  <a:lnTo>
                    <a:pt x="208" y="262"/>
                  </a:lnTo>
                  <a:lnTo>
                    <a:pt x="206" y="262"/>
                  </a:lnTo>
                  <a:lnTo>
                    <a:pt x="202" y="262"/>
                  </a:lnTo>
                  <a:lnTo>
                    <a:pt x="202" y="262"/>
                  </a:lnTo>
                  <a:lnTo>
                    <a:pt x="200" y="262"/>
                  </a:lnTo>
                  <a:lnTo>
                    <a:pt x="200" y="260"/>
                  </a:lnTo>
                  <a:lnTo>
                    <a:pt x="198" y="260"/>
                  </a:lnTo>
                  <a:lnTo>
                    <a:pt x="198" y="258"/>
                  </a:lnTo>
                  <a:lnTo>
                    <a:pt x="198" y="258"/>
                  </a:lnTo>
                  <a:lnTo>
                    <a:pt x="200" y="256"/>
                  </a:lnTo>
                  <a:lnTo>
                    <a:pt x="200" y="256"/>
                  </a:lnTo>
                  <a:lnTo>
                    <a:pt x="198" y="255"/>
                  </a:lnTo>
                  <a:lnTo>
                    <a:pt x="198" y="255"/>
                  </a:lnTo>
                  <a:lnTo>
                    <a:pt x="198" y="255"/>
                  </a:lnTo>
                  <a:lnTo>
                    <a:pt x="196" y="256"/>
                  </a:lnTo>
                  <a:lnTo>
                    <a:pt x="194" y="256"/>
                  </a:lnTo>
                  <a:lnTo>
                    <a:pt x="194" y="258"/>
                  </a:lnTo>
                  <a:lnTo>
                    <a:pt x="192" y="258"/>
                  </a:lnTo>
                  <a:lnTo>
                    <a:pt x="192" y="260"/>
                  </a:lnTo>
                  <a:lnTo>
                    <a:pt x="192" y="262"/>
                  </a:lnTo>
                  <a:lnTo>
                    <a:pt x="192" y="264"/>
                  </a:lnTo>
                  <a:lnTo>
                    <a:pt x="192" y="266"/>
                  </a:lnTo>
                  <a:lnTo>
                    <a:pt x="192" y="268"/>
                  </a:lnTo>
                  <a:lnTo>
                    <a:pt x="192" y="272"/>
                  </a:lnTo>
                  <a:lnTo>
                    <a:pt x="192" y="272"/>
                  </a:lnTo>
                  <a:lnTo>
                    <a:pt x="192" y="275"/>
                  </a:lnTo>
                  <a:lnTo>
                    <a:pt x="192" y="275"/>
                  </a:lnTo>
                  <a:lnTo>
                    <a:pt x="192" y="277"/>
                  </a:lnTo>
                  <a:lnTo>
                    <a:pt x="189" y="281"/>
                  </a:lnTo>
                  <a:lnTo>
                    <a:pt x="181" y="285"/>
                  </a:lnTo>
                  <a:lnTo>
                    <a:pt x="181" y="287"/>
                  </a:lnTo>
                  <a:lnTo>
                    <a:pt x="179" y="289"/>
                  </a:lnTo>
                  <a:lnTo>
                    <a:pt x="181" y="289"/>
                  </a:lnTo>
                  <a:lnTo>
                    <a:pt x="181" y="291"/>
                  </a:lnTo>
                  <a:lnTo>
                    <a:pt x="181" y="291"/>
                  </a:lnTo>
                  <a:lnTo>
                    <a:pt x="181" y="291"/>
                  </a:lnTo>
                  <a:lnTo>
                    <a:pt x="181" y="291"/>
                  </a:lnTo>
                  <a:lnTo>
                    <a:pt x="181" y="293"/>
                  </a:lnTo>
                  <a:lnTo>
                    <a:pt x="181" y="293"/>
                  </a:lnTo>
                  <a:lnTo>
                    <a:pt x="181" y="295"/>
                  </a:lnTo>
                  <a:lnTo>
                    <a:pt x="179" y="295"/>
                  </a:lnTo>
                  <a:lnTo>
                    <a:pt x="171" y="298"/>
                  </a:lnTo>
                  <a:lnTo>
                    <a:pt x="168" y="300"/>
                  </a:lnTo>
                  <a:lnTo>
                    <a:pt x="164" y="302"/>
                  </a:lnTo>
                  <a:lnTo>
                    <a:pt x="162" y="302"/>
                  </a:lnTo>
                  <a:lnTo>
                    <a:pt x="160" y="302"/>
                  </a:lnTo>
                  <a:lnTo>
                    <a:pt x="160" y="302"/>
                  </a:lnTo>
                  <a:lnTo>
                    <a:pt x="160" y="300"/>
                  </a:lnTo>
                  <a:lnTo>
                    <a:pt x="158" y="300"/>
                  </a:lnTo>
                  <a:lnTo>
                    <a:pt x="158" y="300"/>
                  </a:lnTo>
                  <a:lnTo>
                    <a:pt x="156" y="300"/>
                  </a:lnTo>
                  <a:lnTo>
                    <a:pt x="156" y="300"/>
                  </a:lnTo>
                  <a:lnTo>
                    <a:pt x="156" y="300"/>
                  </a:lnTo>
                  <a:lnTo>
                    <a:pt x="156" y="300"/>
                  </a:lnTo>
                  <a:lnTo>
                    <a:pt x="156" y="304"/>
                  </a:lnTo>
                  <a:lnTo>
                    <a:pt x="156" y="304"/>
                  </a:lnTo>
                  <a:lnTo>
                    <a:pt x="156" y="306"/>
                  </a:lnTo>
                  <a:lnTo>
                    <a:pt x="154" y="308"/>
                  </a:lnTo>
                  <a:lnTo>
                    <a:pt x="154" y="310"/>
                  </a:lnTo>
                  <a:lnTo>
                    <a:pt x="154" y="310"/>
                  </a:lnTo>
                  <a:lnTo>
                    <a:pt x="154" y="312"/>
                  </a:lnTo>
                  <a:lnTo>
                    <a:pt x="154" y="312"/>
                  </a:lnTo>
                  <a:lnTo>
                    <a:pt x="152" y="312"/>
                  </a:lnTo>
                  <a:lnTo>
                    <a:pt x="152" y="312"/>
                  </a:lnTo>
                  <a:lnTo>
                    <a:pt x="151" y="310"/>
                  </a:lnTo>
                  <a:lnTo>
                    <a:pt x="149" y="310"/>
                  </a:lnTo>
                  <a:lnTo>
                    <a:pt x="149" y="310"/>
                  </a:lnTo>
                  <a:lnTo>
                    <a:pt x="145" y="310"/>
                  </a:lnTo>
                  <a:lnTo>
                    <a:pt x="143" y="308"/>
                  </a:lnTo>
                  <a:lnTo>
                    <a:pt x="143" y="306"/>
                  </a:lnTo>
                  <a:lnTo>
                    <a:pt x="143" y="304"/>
                  </a:lnTo>
                  <a:lnTo>
                    <a:pt x="143" y="304"/>
                  </a:lnTo>
                  <a:lnTo>
                    <a:pt x="137" y="300"/>
                  </a:lnTo>
                  <a:lnTo>
                    <a:pt x="135" y="300"/>
                  </a:lnTo>
                  <a:lnTo>
                    <a:pt x="135" y="298"/>
                  </a:lnTo>
                  <a:lnTo>
                    <a:pt x="135" y="296"/>
                  </a:lnTo>
                  <a:lnTo>
                    <a:pt x="133" y="293"/>
                  </a:lnTo>
                  <a:lnTo>
                    <a:pt x="133" y="293"/>
                  </a:lnTo>
                  <a:lnTo>
                    <a:pt x="135" y="289"/>
                  </a:lnTo>
                  <a:lnTo>
                    <a:pt x="137" y="287"/>
                  </a:lnTo>
                  <a:lnTo>
                    <a:pt x="137" y="287"/>
                  </a:lnTo>
                  <a:lnTo>
                    <a:pt x="137" y="287"/>
                  </a:lnTo>
                  <a:lnTo>
                    <a:pt x="139" y="287"/>
                  </a:lnTo>
                  <a:lnTo>
                    <a:pt x="139" y="287"/>
                  </a:lnTo>
                  <a:lnTo>
                    <a:pt x="141" y="289"/>
                  </a:lnTo>
                  <a:lnTo>
                    <a:pt x="143" y="289"/>
                  </a:lnTo>
                  <a:lnTo>
                    <a:pt x="143" y="289"/>
                  </a:lnTo>
                  <a:lnTo>
                    <a:pt x="145" y="291"/>
                  </a:lnTo>
                  <a:lnTo>
                    <a:pt x="145" y="291"/>
                  </a:lnTo>
                  <a:lnTo>
                    <a:pt x="147" y="291"/>
                  </a:lnTo>
                  <a:lnTo>
                    <a:pt x="149" y="291"/>
                  </a:lnTo>
                  <a:lnTo>
                    <a:pt x="149" y="291"/>
                  </a:lnTo>
                  <a:lnTo>
                    <a:pt x="151" y="289"/>
                  </a:lnTo>
                  <a:lnTo>
                    <a:pt x="152" y="289"/>
                  </a:lnTo>
                  <a:lnTo>
                    <a:pt x="152" y="289"/>
                  </a:lnTo>
                  <a:lnTo>
                    <a:pt x="154" y="291"/>
                  </a:lnTo>
                  <a:lnTo>
                    <a:pt x="156" y="291"/>
                  </a:lnTo>
                  <a:lnTo>
                    <a:pt x="156" y="291"/>
                  </a:lnTo>
                  <a:lnTo>
                    <a:pt x="156" y="291"/>
                  </a:lnTo>
                  <a:lnTo>
                    <a:pt x="158" y="291"/>
                  </a:lnTo>
                  <a:lnTo>
                    <a:pt x="158" y="289"/>
                  </a:lnTo>
                  <a:lnTo>
                    <a:pt x="158" y="287"/>
                  </a:lnTo>
                  <a:lnTo>
                    <a:pt x="160" y="285"/>
                  </a:lnTo>
                  <a:lnTo>
                    <a:pt x="162" y="283"/>
                  </a:lnTo>
                  <a:lnTo>
                    <a:pt x="164" y="281"/>
                  </a:lnTo>
                  <a:lnTo>
                    <a:pt x="164" y="279"/>
                  </a:lnTo>
                  <a:lnTo>
                    <a:pt x="164" y="279"/>
                  </a:lnTo>
                  <a:lnTo>
                    <a:pt x="160" y="277"/>
                  </a:lnTo>
                  <a:lnTo>
                    <a:pt x="158" y="275"/>
                  </a:lnTo>
                  <a:lnTo>
                    <a:pt x="158" y="274"/>
                  </a:lnTo>
                  <a:lnTo>
                    <a:pt x="158" y="272"/>
                  </a:lnTo>
                  <a:lnTo>
                    <a:pt x="160" y="270"/>
                  </a:lnTo>
                  <a:lnTo>
                    <a:pt x="162" y="266"/>
                  </a:lnTo>
                  <a:lnTo>
                    <a:pt x="164" y="264"/>
                  </a:lnTo>
                  <a:lnTo>
                    <a:pt x="164" y="262"/>
                  </a:lnTo>
                  <a:lnTo>
                    <a:pt x="164" y="260"/>
                  </a:lnTo>
                  <a:lnTo>
                    <a:pt x="162" y="258"/>
                  </a:lnTo>
                  <a:lnTo>
                    <a:pt x="162" y="258"/>
                  </a:lnTo>
                  <a:lnTo>
                    <a:pt x="162" y="258"/>
                  </a:lnTo>
                  <a:lnTo>
                    <a:pt x="160" y="258"/>
                  </a:lnTo>
                  <a:lnTo>
                    <a:pt x="160" y="256"/>
                  </a:lnTo>
                  <a:lnTo>
                    <a:pt x="158" y="256"/>
                  </a:lnTo>
                  <a:lnTo>
                    <a:pt x="158" y="255"/>
                  </a:lnTo>
                  <a:lnTo>
                    <a:pt x="158" y="251"/>
                  </a:lnTo>
                  <a:lnTo>
                    <a:pt x="158" y="249"/>
                  </a:lnTo>
                  <a:lnTo>
                    <a:pt x="156" y="249"/>
                  </a:lnTo>
                  <a:lnTo>
                    <a:pt x="156" y="247"/>
                  </a:lnTo>
                  <a:lnTo>
                    <a:pt x="158" y="243"/>
                  </a:lnTo>
                  <a:lnTo>
                    <a:pt x="158" y="241"/>
                  </a:lnTo>
                  <a:lnTo>
                    <a:pt x="160" y="241"/>
                  </a:lnTo>
                  <a:lnTo>
                    <a:pt x="160" y="241"/>
                  </a:lnTo>
                  <a:lnTo>
                    <a:pt x="162" y="241"/>
                  </a:lnTo>
                  <a:lnTo>
                    <a:pt x="166" y="243"/>
                  </a:lnTo>
                  <a:lnTo>
                    <a:pt x="166" y="243"/>
                  </a:lnTo>
                  <a:lnTo>
                    <a:pt x="168" y="243"/>
                  </a:lnTo>
                  <a:lnTo>
                    <a:pt x="170" y="243"/>
                  </a:lnTo>
                  <a:lnTo>
                    <a:pt x="170" y="241"/>
                  </a:lnTo>
                  <a:lnTo>
                    <a:pt x="170" y="241"/>
                  </a:lnTo>
                  <a:lnTo>
                    <a:pt x="170" y="239"/>
                  </a:lnTo>
                  <a:lnTo>
                    <a:pt x="170" y="239"/>
                  </a:lnTo>
                  <a:lnTo>
                    <a:pt x="170" y="230"/>
                  </a:lnTo>
                  <a:lnTo>
                    <a:pt x="168" y="226"/>
                  </a:lnTo>
                  <a:lnTo>
                    <a:pt x="166" y="224"/>
                  </a:lnTo>
                  <a:lnTo>
                    <a:pt x="164" y="224"/>
                  </a:lnTo>
                  <a:lnTo>
                    <a:pt x="164" y="222"/>
                  </a:lnTo>
                  <a:lnTo>
                    <a:pt x="164" y="222"/>
                  </a:lnTo>
                  <a:lnTo>
                    <a:pt x="164" y="220"/>
                  </a:lnTo>
                  <a:lnTo>
                    <a:pt x="164" y="218"/>
                  </a:lnTo>
                  <a:lnTo>
                    <a:pt x="162" y="215"/>
                  </a:lnTo>
                  <a:lnTo>
                    <a:pt x="160" y="213"/>
                  </a:lnTo>
                  <a:lnTo>
                    <a:pt x="160" y="213"/>
                  </a:lnTo>
                  <a:lnTo>
                    <a:pt x="158" y="213"/>
                  </a:lnTo>
                  <a:lnTo>
                    <a:pt x="156" y="213"/>
                  </a:lnTo>
                  <a:lnTo>
                    <a:pt x="156" y="213"/>
                  </a:lnTo>
                  <a:lnTo>
                    <a:pt x="149" y="217"/>
                  </a:lnTo>
                  <a:lnTo>
                    <a:pt x="145" y="217"/>
                  </a:lnTo>
                  <a:lnTo>
                    <a:pt x="139" y="217"/>
                  </a:lnTo>
                  <a:lnTo>
                    <a:pt x="131" y="220"/>
                  </a:lnTo>
                  <a:lnTo>
                    <a:pt x="128" y="220"/>
                  </a:lnTo>
                  <a:lnTo>
                    <a:pt x="126" y="220"/>
                  </a:lnTo>
                  <a:lnTo>
                    <a:pt x="120" y="218"/>
                  </a:lnTo>
                  <a:lnTo>
                    <a:pt x="118" y="218"/>
                  </a:lnTo>
                  <a:lnTo>
                    <a:pt x="114" y="218"/>
                  </a:lnTo>
                  <a:lnTo>
                    <a:pt x="112" y="218"/>
                  </a:lnTo>
                  <a:lnTo>
                    <a:pt x="111" y="218"/>
                  </a:lnTo>
                  <a:lnTo>
                    <a:pt x="109" y="218"/>
                  </a:lnTo>
                  <a:lnTo>
                    <a:pt x="107" y="217"/>
                  </a:lnTo>
                  <a:lnTo>
                    <a:pt x="107" y="217"/>
                  </a:lnTo>
                  <a:lnTo>
                    <a:pt x="105" y="215"/>
                  </a:lnTo>
                  <a:lnTo>
                    <a:pt x="105" y="215"/>
                  </a:lnTo>
                  <a:lnTo>
                    <a:pt x="105" y="213"/>
                  </a:lnTo>
                  <a:lnTo>
                    <a:pt x="107" y="211"/>
                  </a:lnTo>
                  <a:lnTo>
                    <a:pt x="109" y="209"/>
                  </a:lnTo>
                  <a:lnTo>
                    <a:pt x="109" y="209"/>
                  </a:lnTo>
                  <a:lnTo>
                    <a:pt x="109" y="207"/>
                  </a:lnTo>
                  <a:lnTo>
                    <a:pt x="109" y="207"/>
                  </a:lnTo>
                  <a:lnTo>
                    <a:pt x="109" y="205"/>
                  </a:lnTo>
                  <a:lnTo>
                    <a:pt x="107" y="203"/>
                  </a:lnTo>
                  <a:lnTo>
                    <a:pt x="107" y="201"/>
                  </a:lnTo>
                  <a:lnTo>
                    <a:pt x="107" y="201"/>
                  </a:lnTo>
                  <a:lnTo>
                    <a:pt x="107" y="201"/>
                  </a:lnTo>
                  <a:lnTo>
                    <a:pt x="107" y="199"/>
                  </a:lnTo>
                  <a:lnTo>
                    <a:pt x="109" y="201"/>
                  </a:lnTo>
                  <a:lnTo>
                    <a:pt x="109" y="201"/>
                  </a:lnTo>
                  <a:lnTo>
                    <a:pt x="111" y="203"/>
                  </a:lnTo>
                  <a:lnTo>
                    <a:pt x="112" y="205"/>
                  </a:lnTo>
                  <a:lnTo>
                    <a:pt x="114" y="205"/>
                  </a:lnTo>
                  <a:lnTo>
                    <a:pt x="114" y="205"/>
                  </a:lnTo>
                  <a:lnTo>
                    <a:pt x="116" y="205"/>
                  </a:lnTo>
                  <a:lnTo>
                    <a:pt x="118" y="205"/>
                  </a:lnTo>
                  <a:lnTo>
                    <a:pt x="120" y="205"/>
                  </a:lnTo>
                  <a:lnTo>
                    <a:pt x="122" y="205"/>
                  </a:lnTo>
                  <a:lnTo>
                    <a:pt x="124" y="205"/>
                  </a:lnTo>
                  <a:lnTo>
                    <a:pt x="124" y="203"/>
                  </a:lnTo>
                  <a:lnTo>
                    <a:pt x="126" y="203"/>
                  </a:lnTo>
                  <a:lnTo>
                    <a:pt x="126" y="201"/>
                  </a:lnTo>
                  <a:lnTo>
                    <a:pt x="126" y="201"/>
                  </a:lnTo>
                  <a:lnTo>
                    <a:pt x="128" y="199"/>
                  </a:lnTo>
                  <a:lnTo>
                    <a:pt x="126" y="199"/>
                  </a:lnTo>
                  <a:lnTo>
                    <a:pt x="126" y="199"/>
                  </a:lnTo>
                  <a:lnTo>
                    <a:pt x="126" y="199"/>
                  </a:lnTo>
                  <a:lnTo>
                    <a:pt x="122" y="201"/>
                  </a:lnTo>
                  <a:lnTo>
                    <a:pt x="118" y="201"/>
                  </a:lnTo>
                  <a:lnTo>
                    <a:pt x="116" y="201"/>
                  </a:lnTo>
                  <a:lnTo>
                    <a:pt x="114" y="201"/>
                  </a:lnTo>
                  <a:lnTo>
                    <a:pt x="112" y="199"/>
                  </a:lnTo>
                  <a:lnTo>
                    <a:pt x="112" y="199"/>
                  </a:lnTo>
                  <a:lnTo>
                    <a:pt x="112" y="198"/>
                  </a:lnTo>
                  <a:lnTo>
                    <a:pt x="112" y="198"/>
                  </a:lnTo>
                  <a:lnTo>
                    <a:pt x="112" y="196"/>
                  </a:lnTo>
                  <a:lnTo>
                    <a:pt x="112" y="196"/>
                  </a:lnTo>
                  <a:lnTo>
                    <a:pt x="112" y="196"/>
                  </a:lnTo>
                  <a:lnTo>
                    <a:pt x="114" y="196"/>
                  </a:lnTo>
                  <a:lnTo>
                    <a:pt x="116" y="198"/>
                  </a:lnTo>
                  <a:lnTo>
                    <a:pt x="116" y="198"/>
                  </a:lnTo>
                  <a:lnTo>
                    <a:pt x="118" y="198"/>
                  </a:lnTo>
                  <a:lnTo>
                    <a:pt x="118" y="198"/>
                  </a:lnTo>
                  <a:lnTo>
                    <a:pt x="118" y="196"/>
                  </a:lnTo>
                  <a:lnTo>
                    <a:pt x="118" y="196"/>
                  </a:lnTo>
                  <a:lnTo>
                    <a:pt x="118" y="194"/>
                  </a:lnTo>
                  <a:lnTo>
                    <a:pt x="116" y="192"/>
                  </a:lnTo>
                  <a:lnTo>
                    <a:pt x="116" y="192"/>
                  </a:lnTo>
                  <a:lnTo>
                    <a:pt x="116" y="192"/>
                  </a:lnTo>
                  <a:lnTo>
                    <a:pt x="116" y="190"/>
                  </a:lnTo>
                  <a:lnTo>
                    <a:pt x="118" y="186"/>
                  </a:lnTo>
                  <a:lnTo>
                    <a:pt x="118" y="186"/>
                  </a:lnTo>
                  <a:lnTo>
                    <a:pt x="120" y="184"/>
                  </a:lnTo>
                  <a:lnTo>
                    <a:pt x="120" y="184"/>
                  </a:lnTo>
                  <a:lnTo>
                    <a:pt x="118" y="184"/>
                  </a:lnTo>
                  <a:lnTo>
                    <a:pt x="118" y="184"/>
                  </a:lnTo>
                  <a:lnTo>
                    <a:pt x="118" y="184"/>
                  </a:lnTo>
                  <a:lnTo>
                    <a:pt x="114" y="184"/>
                  </a:lnTo>
                  <a:lnTo>
                    <a:pt x="111" y="186"/>
                  </a:lnTo>
                  <a:lnTo>
                    <a:pt x="109" y="186"/>
                  </a:lnTo>
                  <a:lnTo>
                    <a:pt x="103" y="184"/>
                  </a:lnTo>
                  <a:lnTo>
                    <a:pt x="103" y="186"/>
                  </a:lnTo>
                  <a:lnTo>
                    <a:pt x="101" y="186"/>
                  </a:lnTo>
                  <a:lnTo>
                    <a:pt x="101" y="186"/>
                  </a:lnTo>
                  <a:lnTo>
                    <a:pt x="101" y="186"/>
                  </a:lnTo>
                  <a:lnTo>
                    <a:pt x="101" y="188"/>
                  </a:lnTo>
                  <a:lnTo>
                    <a:pt x="101" y="188"/>
                  </a:lnTo>
                  <a:lnTo>
                    <a:pt x="101" y="188"/>
                  </a:lnTo>
                  <a:lnTo>
                    <a:pt x="99" y="190"/>
                  </a:lnTo>
                  <a:lnTo>
                    <a:pt x="99" y="190"/>
                  </a:lnTo>
                  <a:lnTo>
                    <a:pt x="99" y="192"/>
                  </a:lnTo>
                  <a:lnTo>
                    <a:pt x="97" y="192"/>
                  </a:lnTo>
                  <a:lnTo>
                    <a:pt x="97" y="192"/>
                  </a:lnTo>
                  <a:lnTo>
                    <a:pt x="99" y="196"/>
                  </a:lnTo>
                  <a:lnTo>
                    <a:pt x="99" y="198"/>
                  </a:lnTo>
                  <a:lnTo>
                    <a:pt x="99" y="199"/>
                  </a:lnTo>
                  <a:lnTo>
                    <a:pt x="97" y="199"/>
                  </a:lnTo>
                  <a:lnTo>
                    <a:pt x="97" y="201"/>
                  </a:lnTo>
                  <a:lnTo>
                    <a:pt x="97" y="201"/>
                  </a:lnTo>
                  <a:lnTo>
                    <a:pt x="97" y="201"/>
                  </a:lnTo>
                  <a:lnTo>
                    <a:pt x="95" y="201"/>
                  </a:lnTo>
                  <a:lnTo>
                    <a:pt x="93" y="199"/>
                  </a:lnTo>
                  <a:lnTo>
                    <a:pt x="93" y="199"/>
                  </a:lnTo>
                  <a:lnTo>
                    <a:pt x="93" y="199"/>
                  </a:lnTo>
                  <a:lnTo>
                    <a:pt x="91" y="203"/>
                  </a:lnTo>
                  <a:lnTo>
                    <a:pt x="90" y="203"/>
                  </a:lnTo>
                  <a:lnTo>
                    <a:pt x="90" y="203"/>
                  </a:lnTo>
                  <a:lnTo>
                    <a:pt x="88" y="203"/>
                  </a:lnTo>
                  <a:lnTo>
                    <a:pt x="86" y="203"/>
                  </a:lnTo>
                  <a:lnTo>
                    <a:pt x="86" y="203"/>
                  </a:lnTo>
                  <a:lnTo>
                    <a:pt x="82" y="201"/>
                  </a:lnTo>
                  <a:lnTo>
                    <a:pt x="82" y="201"/>
                  </a:lnTo>
                  <a:lnTo>
                    <a:pt x="80" y="201"/>
                  </a:lnTo>
                  <a:lnTo>
                    <a:pt x="80" y="199"/>
                  </a:lnTo>
                  <a:lnTo>
                    <a:pt x="80" y="199"/>
                  </a:lnTo>
                  <a:lnTo>
                    <a:pt x="78" y="198"/>
                  </a:lnTo>
                  <a:lnTo>
                    <a:pt x="76" y="198"/>
                  </a:lnTo>
                  <a:lnTo>
                    <a:pt x="74" y="196"/>
                  </a:lnTo>
                  <a:lnTo>
                    <a:pt x="72" y="196"/>
                  </a:lnTo>
                  <a:lnTo>
                    <a:pt x="72" y="198"/>
                  </a:lnTo>
                  <a:lnTo>
                    <a:pt x="72" y="198"/>
                  </a:lnTo>
                  <a:lnTo>
                    <a:pt x="74" y="203"/>
                  </a:lnTo>
                  <a:lnTo>
                    <a:pt x="74" y="203"/>
                  </a:lnTo>
                  <a:lnTo>
                    <a:pt x="74" y="205"/>
                  </a:lnTo>
                  <a:lnTo>
                    <a:pt x="74" y="207"/>
                  </a:lnTo>
                  <a:lnTo>
                    <a:pt x="74" y="209"/>
                  </a:lnTo>
                  <a:lnTo>
                    <a:pt x="74" y="211"/>
                  </a:lnTo>
                  <a:lnTo>
                    <a:pt x="74" y="211"/>
                  </a:lnTo>
                  <a:lnTo>
                    <a:pt x="76" y="211"/>
                  </a:lnTo>
                  <a:lnTo>
                    <a:pt x="78" y="211"/>
                  </a:lnTo>
                  <a:lnTo>
                    <a:pt x="80" y="211"/>
                  </a:lnTo>
                  <a:lnTo>
                    <a:pt x="82" y="211"/>
                  </a:lnTo>
                  <a:lnTo>
                    <a:pt x="82" y="211"/>
                  </a:lnTo>
                  <a:lnTo>
                    <a:pt x="84" y="211"/>
                  </a:lnTo>
                  <a:lnTo>
                    <a:pt x="84" y="211"/>
                  </a:lnTo>
                  <a:lnTo>
                    <a:pt x="86" y="211"/>
                  </a:lnTo>
                  <a:lnTo>
                    <a:pt x="86" y="211"/>
                  </a:lnTo>
                  <a:lnTo>
                    <a:pt x="88" y="211"/>
                  </a:lnTo>
                  <a:lnTo>
                    <a:pt x="88" y="213"/>
                  </a:lnTo>
                  <a:lnTo>
                    <a:pt x="88" y="213"/>
                  </a:lnTo>
                  <a:lnTo>
                    <a:pt x="86" y="215"/>
                  </a:lnTo>
                  <a:lnTo>
                    <a:pt x="86" y="217"/>
                  </a:lnTo>
                  <a:lnTo>
                    <a:pt x="86" y="218"/>
                  </a:lnTo>
                  <a:lnTo>
                    <a:pt x="86" y="218"/>
                  </a:lnTo>
                  <a:lnTo>
                    <a:pt x="86" y="220"/>
                  </a:lnTo>
                  <a:lnTo>
                    <a:pt x="86" y="222"/>
                  </a:lnTo>
                  <a:lnTo>
                    <a:pt x="84" y="222"/>
                  </a:lnTo>
                  <a:lnTo>
                    <a:pt x="84" y="224"/>
                  </a:lnTo>
                  <a:lnTo>
                    <a:pt x="82" y="224"/>
                  </a:lnTo>
                  <a:lnTo>
                    <a:pt x="78" y="224"/>
                  </a:lnTo>
                  <a:lnTo>
                    <a:pt x="78" y="224"/>
                  </a:lnTo>
                  <a:lnTo>
                    <a:pt x="76" y="222"/>
                  </a:lnTo>
                  <a:lnTo>
                    <a:pt x="76" y="222"/>
                  </a:lnTo>
                  <a:lnTo>
                    <a:pt x="74" y="220"/>
                  </a:lnTo>
                  <a:lnTo>
                    <a:pt x="74" y="218"/>
                  </a:lnTo>
                  <a:lnTo>
                    <a:pt x="72" y="218"/>
                  </a:lnTo>
                  <a:lnTo>
                    <a:pt x="72" y="217"/>
                  </a:lnTo>
                  <a:lnTo>
                    <a:pt x="70" y="217"/>
                  </a:lnTo>
                  <a:lnTo>
                    <a:pt x="70" y="215"/>
                  </a:lnTo>
                  <a:lnTo>
                    <a:pt x="70" y="213"/>
                  </a:lnTo>
                  <a:lnTo>
                    <a:pt x="70" y="213"/>
                  </a:lnTo>
                  <a:lnTo>
                    <a:pt x="69" y="213"/>
                  </a:lnTo>
                  <a:lnTo>
                    <a:pt x="69" y="213"/>
                  </a:lnTo>
                  <a:lnTo>
                    <a:pt x="69" y="213"/>
                  </a:lnTo>
                  <a:lnTo>
                    <a:pt x="69" y="217"/>
                  </a:lnTo>
                  <a:lnTo>
                    <a:pt x="69" y="220"/>
                  </a:lnTo>
                  <a:lnTo>
                    <a:pt x="69" y="220"/>
                  </a:lnTo>
                  <a:lnTo>
                    <a:pt x="69" y="222"/>
                  </a:lnTo>
                  <a:lnTo>
                    <a:pt x="69" y="224"/>
                  </a:lnTo>
                  <a:lnTo>
                    <a:pt x="67" y="232"/>
                  </a:lnTo>
                  <a:lnTo>
                    <a:pt x="63" y="236"/>
                  </a:lnTo>
                  <a:lnTo>
                    <a:pt x="63" y="237"/>
                  </a:lnTo>
                  <a:lnTo>
                    <a:pt x="63" y="237"/>
                  </a:lnTo>
                  <a:lnTo>
                    <a:pt x="63" y="239"/>
                  </a:lnTo>
                  <a:lnTo>
                    <a:pt x="63" y="239"/>
                  </a:lnTo>
                  <a:lnTo>
                    <a:pt x="63" y="241"/>
                  </a:lnTo>
                  <a:lnTo>
                    <a:pt x="72" y="243"/>
                  </a:lnTo>
                  <a:lnTo>
                    <a:pt x="74" y="243"/>
                  </a:lnTo>
                  <a:lnTo>
                    <a:pt x="74" y="245"/>
                  </a:lnTo>
                  <a:lnTo>
                    <a:pt x="74" y="247"/>
                  </a:lnTo>
                  <a:lnTo>
                    <a:pt x="74" y="249"/>
                  </a:lnTo>
                  <a:lnTo>
                    <a:pt x="72" y="251"/>
                  </a:lnTo>
                  <a:lnTo>
                    <a:pt x="69" y="255"/>
                  </a:lnTo>
                  <a:lnTo>
                    <a:pt x="67" y="256"/>
                  </a:lnTo>
                  <a:lnTo>
                    <a:pt x="67" y="256"/>
                  </a:lnTo>
                  <a:lnTo>
                    <a:pt x="67" y="258"/>
                  </a:lnTo>
                  <a:lnTo>
                    <a:pt x="67" y="260"/>
                  </a:lnTo>
                  <a:lnTo>
                    <a:pt x="67" y="262"/>
                  </a:lnTo>
                  <a:lnTo>
                    <a:pt x="65" y="262"/>
                  </a:lnTo>
                  <a:lnTo>
                    <a:pt x="65" y="264"/>
                  </a:lnTo>
                  <a:lnTo>
                    <a:pt x="65" y="264"/>
                  </a:lnTo>
                  <a:lnTo>
                    <a:pt x="67" y="264"/>
                  </a:lnTo>
                  <a:lnTo>
                    <a:pt x="67" y="264"/>
                  </a:lnTo>
                  <a:lnTo>
                    <a:pt x="70" y="264"/>
                  </a:lnTo>
                  <a:lnTo>
                    <a:pt x="72" y="264"/>
                  </a:lnTo>
                  <a:lnTo>
                    <a:pt x="74" y="266"/>
                  </a:lnTo>
                  <a:lnTo>
                    <a:pt x="76" y="266"/>
                  </a:lnTo>
                  <a:lnTo>
                    <a:pt x="78" y="268"/>
                  </a:lnTo>
                  <a:lnTo>
                    <a:pt x="78" y="268"/>
                  </a:lnTo>
                  <a:lnTo>
                    <a:pt x="78" y="270"/>
                  </a:lnTo>
                  <a:lnTo>
                    <a:pt x="78" y="275"/>
                  </a:lnTo>
                  <a:lnTo>
                    <a:pt x="80" y="277"/>
                  </a:lnTo>
                  <a:lnTo>
                    <a:pt x="80" y="279"/>
                  </a:lnTo>
                  <a:lnTo>
                    <a:pt x="80" y="281"/>
                  </a:lnTo>
                  <a:lnTo>
                    <a:pt x="82" y="281"/>
                  </a:lnTo>
                  <a:lnTo>
                    <a:pt x="82" y="283"/>
                  </a:lnTo>
                  <a:lnTo>
                    <a:pt x="84" y="285"/>
                  </a:lnTo>
                  <a:lnTo>
                    <a:pt x="86" y="285"/>
                  </a:lnTo>
                  <a:lnTo>
                    <a:pt x="86" y="287"/>
                  </a:lnTo>
                  <a:lnTo>
                    <a:pt x="86" y="287"/>
                  </a:lnTo>
                  <a:lnTo>
                    <a:pt x="86" y="289"/>
                  </a:lnTo>
                  <a:lnTo>
                    <a:pt x="86" y="289"/>
                  </a:lnTo>
                  <a:lnTo>
                    <a:pt x="84" y="291"/>
                  </a:lnTo>
                  <a:lnTo>
                    <a:pt x="80" y="302"/>
                  </a:lnTo>
                  <a:lnTo>
                    <a:pt x="80" y="306"/>
                  </a:lnTo>
                  <a:lnTo>
                    <a:pt x="80" y="308"/>
                  </a:lnTo>
                  <a:lnTo>
                    <a:pt x="80" y="310"/>
                  </a:lnTo>
                  <a:lnTo>
                    <a:pt x="80" y="312"/>
                  </a:lnTo>
                  <a:lnTo>
                    <a:pt x="82" y="314"/>
                  </a:lnTo>
                  <a:lnTo>
                    <a:pt x="84" y="315"/>
                  </a:lnTo>
                  <a:lnTo>
                    <a:pt x="84" y="319"/>
                  </a:lnTo>
                  <a:lnTo>
                    <a:pt x="84" y="321"/>
                  </a:lnTo>
                  <a:lnTo>
                    <a:pt x="84" y="323"/>
                  </a:lnTo>
                  <a:lnTo>
                    <a:pt x="84" y="325"/>
                  </a:lnTo>
                  <a:lnTo>
                    <a:pt x="82" y="327"/>
                  </a:lnTo>
                  <a:lnTo>
                    <a:pt x="82" y="327"/>
                  </a:lnTo>
                  <a:lnTo>
                    <a:pt x="80" y="329"/>
                  </a:lnTo>
                  <a:lnTo>
                    <a:pt x="80" y="329"/>
                  </a:lnTo>
                  <a:lnTo>
                    <a:pt x="80" y="331"/>
                  </a:lnTo>
                  <a:lnTo>
                    <a:pt x="78" y="334"/>
                  </a:lnTo>
                  <a:lnTo>
                    <a:pt x="78" y="336"/>
                  </a:lnTo>
                  <a:lnTo>
                    <a:pt x="76" y="338"/>
                  </a:lnTo>
                  <a:lnTo>
                    <a:pt x="76" y="338"/>
                  </a:lnTo>
                  <a:lnTo>
                    <a:pt x="72" y="342"/>
                  </a:lnTo>
                  <a:lnTo>
                    <a:pt x="72" y="342"/>
                  </a:lnTo>
                  <a:lnTo>
                    <a:pt x="70" y="342"/>
                  </a:lnTo>
                  <a:lnTo>
                    <a:pt x="69" y="342"/>
                  </a:lnTo>
                  <a:lnTo>
                    <a:pt x="63" y="346"/>
                  </a:lnTo>
                  <a:lnTo>
                    <a:pt x="61" y="346"/>
                  </a:lnTo>
                  <a:lnTo>
                    <a:pt x="57" y="348"/>
                  </a:lnTo>
                  <a:lnTo>
                    <a:pt x="55" y="350"/>
                  </a:lnTo>
                  <a:lnTo>
                    <a:pt x="50" y="355"/>
                  </a:lnTo>
                  <a:lnTo>
                    <a:pt x="48" y="355"/>
                  </a:lnTo>
                  <a:lnTo>
                    <a:pt x="46" y="363"/>
                  </a:lnTo>
                  <a:lnTo>
                    <a:pt x="46" y="363"/>
                  </a:lnTo>
                  <a:lnTo>
                    <a:pt x="46" y="365"/>
                  </a:lnTo>
                  <a:lnTo>
                    <a:pt x="46" y="365"/>
                  </a:lnTo>
                  <a:lnTo>
                    <a:pt x="46" y="367"/>
                  </a:lnTo>
                  <a:lnTo>
                    <a:pt x="48" y="367"/>
                  </a:lnTo>
                  <a:lnTo>
                    <a:pt x="48" y="367"/>
                  </a:lnTo>
                  <a:lnTo>
                    <a:pt x="51" y="367"/>
                  </a:lnTo>
                  <a:lnTo>
                    <a:pt x="53" y="369"/>
                  </a:lnTo>
                  <a:lnTo>
                    <a:pt x="55" y="369"/>
                  </a:lnTo>
                  <a:lnTo>
                    <a:pt x="57" y="369"/>
                  </a:lnTo>
                  <a:lnTo>
                    <a:pt x="57" y="369"/>
                  </a:lnTo>
                  <a:lnTo>
                    <a:pt x="59" y="369"/>
                  </a:lnTo>
                  <a:lnTo>
                    <a:pt x="59" y="371"/>
                  </a:lnTo>
                  <a:lnTo>
                    <a:pt x="61" y="371"/>
                  </a:lnTo>
                  <a:lnTo>
                    <a:pt x="61" y="372"/>
                  </a:lnTo>
                  <a:lnTo>
                    <a:pt x="63" y="372"/>
                  </a:lnTo>
                  <a:lnTo>
                    <a:pt x="63" y="374"/>
                  </a:lnTo>
                  <a:lnTo>
                    <a:pt x="63" y="374"/>
                  </a:lnTo>
                  <a:lnTo>
                    <a:pt x="59" y="376"/>
                  </a:lnTo>
                  <a:lnTo>
                    <a:pt x="53" y="380"/>
                  </a:lnTo>
                  <a:lnTo>
                    <a:pt x="48" y="382"/>
                  </a:lnTo>
                  <a:lnTo>
                    <a:pt x="40" y="386"/>
                  </a:lnTo>
                  <a:lnTo>
                    <a:pt x="38" y="386"/>
                  </a:lnTo>
                  <a:lnTo>
                    <a:pt x="38" y="386"/>
                  </a:lnTo>
                  <a:lnTo>
                    <a:pt x="36" y="384"/>
                  </a:lnTo>
                  <a:lnTo>
                    <a:pt x="34" y="384"/>
                  </a:lnTo>
                  <a:lnTo>
                    <a:pt x="32" y="384"/>
                  </a:lnTo>
                  <a:lnTo>
                    <a:pt x="32" y="384"/>
                  </a:lnTo>
                  <a:lnTo>
                    <a:pt x="30" y="386"/>
                  </a:lnTo>
                  <a:lnTo>
                    <a:pt x="30" y="386"/>
                  </a:lnTo>
                  <a:lnTo>
                    <a:pt x="29" y="386"/>
                  </a:lnTo>
                  <a:lnTo>
                    <a:pt x="27" y="388"/>
                  </a:lnTo>
                  <a:lnTo>
                    <a:pt x="29" y="393"/>
                  </a:lnTo>
                  <a:lnTo>
                    <a:pt x="30" y="401"/>
                  </a:lnTo>
                  <a:lnTo>
                    <a:pt x="30" y="403"/>
                  </a:lnTo>
                  <a:lnTo>
                    <a:pt x="30" y="405"/>
                  </a:lnTo>
                  <a:lnTo>
                    <a:pt x="30" y="405"/>
                  </a:lnTo>
                  <a:lnTo>
                    <a:pt x="32" y="405"/>
                  </a:lnTo>
                  <a:lnTo>
                    <a:pt x="32" y="405"/>
                  </a:lnTo>
                  <a:lnTo>
                    <a:pt x="32" y="403"/>
                  </a:lnTo>
                  <a:lnTo>
                    <a:pt x="34" y="403"/>
                  </a:lnTo>
                  <a:lnTo>
                    <a:pt x="34" y="403"/>
                  </a:lnTo>
                  <a:lnTo>
                    <a:pt x="36" y="405"/>
                  </a:lnTo>
                  <a:lnTo>
                    <a:pt x="38" y="407"/>
                  </a:lnTo>
                  <a:lnTo>
                    <a:pt x="40" y="409"/>
                  </a:lnTo>
                  <a:lnTo>
                    <a:pt x="40" y="411"/>
                  </a:lnTo>
                  <a:lnTo>
                    <a:pt x="32" y="426"/>
                  </a:lnTo>
                  <a:lnTo>
                    <a:pt x="30" y="428"/>
                  </a:lnTo>
                  <a:lnTo>
                    <a:pt x="30" y="428"/>
                  </a:lnTo>
                  <a:lnTo>
                    <a:pt x="29" y="430"/>
                  </a:lnTo>
                  <a:lnTo>
                    <a:pt x="29" y="430"/>
                  </a:lnTo>
                  <a:lnTo>
                    <a:pt x="27" y="430"/>
                  </a:lnTo>
                  <a:lnTo>
                    <a:pt x="27" y="430"/>
                  </a:lnTo>
                  <a:lnTo>
                    <a:pt x="25" y="430"/>
                  </a:lnTo>
                  <a:lnTo>
                    <a:pt x="23" y="430"/>
                  </a:lnTo>
                  <a:lnTo>
                    <a:pt x="23" y="430"/>
                  </a:lnTo>
                  <a:lnTo>
                    <a:pt x="15" y="435"/>
                  </a:lnTo>
                  <a:lnTo>
                    <a:pt x="11" y="439"/>
                  </a:lnTo>
                  <a:lnTo>
                    <a:pt x="11" y="441"/>
                  </a:lnTo>
                  <a:lnTo>
                    <a:pt x="10" y="441"/>
                  </a:lnTo>
                  <a:lnTo>
                    <a:pt x="10" y="441"/>
                  </a:lnTo>
                  <a:lnTo>
                    <a:pt x="8" y="441"/>
                  </a:lnTo>
                  <a:lnTo>
                    <a:pt x="2" y="439"/>
                  </a:lnTo>
                  <a:lnTo>
                    <a:pt x="2" y="439"/>
                  </a:lnTo>
                  <a:lnTo>
                    <a:pt x="2" y="439"/>
                  </a:lnTo>
                  <a:lnTo>
                    <a:pt x="0" y="439"/>
                  </a:lnTo>
                  <a:lnTo>
                    <a:pt x="0" y="441"/>
                  </a:lnTo>
                  <a:lnTo>
                    <a:pt x="0" y="443"/>
                  </a:lnTo>
                  <a:lnTo>
                    <a:pt x="0" y="443"/>
                  </a:lnTo>
                  <a:lnTo>
                    <a:pt x="0" y="445"/>
                  </a:lnTo>
                  <a:lnTo>
                    <a:pt x="4" y="449"/>
                  </a:lnTo>
                  <a:lnTo>
                    <a:pt x="6" y="450"/>
                  </a:lnTo>
                  <a:lnTo>
                    <a:pt x="8" y="450"/>
                  </a:lnTo>
                  <a:lnTo>
                    <a:pt x="8" y="450"/>
                  </a:lnTo>
                  <a:lnTo>
                    <a:pt x="11" y="450"/>
                  </a:lnTo>
                  <a:lnTo>
                    <a:pt x="15" y="450"/>
                  </a:lnTo>
                  <a:lnTo>
                    <a:pt x="17" y="450"/>
                  </a:lnTo>
                  <a:lnTo>
                    <a:pt x="19" y="450"/>
                  </a:lnTo>
                  <a:lnTo>
                    <a:pt x="19" y="452"/>
                  </a:lnTo>
                  <a:lnTo>
                    <a:pt x="19" y="452"/>
                  </a:lnTo>
                  <a:lnTo>
                    <a:pt x="19" y="454"/>
                  </a:lnTo>
                  <a:lnTo>
                    <a:pt x="19" y="454"/>
                  </a:lnTo>
                  <a:lnTo>
                    <a:pt x="19" y="456"/>
                  </a:lnTo>
                  <a:lnTo>
                    <a:pt x="17" y="456"/>
                  </a:lnTo>
                  <a:lnTo>
                    <a:pt x="17" y="458"/>
                  </a:lnTo>
                  <a:lnTo>
                    <a:pt x="15" y="458"/>
                  </a:lnTo>
                  <a:lnTo>
                    <a:pt x="13" y="458"/>
                  </a:lnTo>
                  <a:lnTo>
                    <a:pt x="11" y="460"/>
                  </a:lnTo>
                  <a:lnTo>
                    <a:pt x="10" y="460"/>
                  </a:lnTo>
                  <a:lnTo>
                    <a:pt x="10" y="458"/>
                  </a:lnTo>
                  <a:lnTo>
                    <a:pt x="8" y="458"/>
                  </a:lnTo>
                  <a:lnTo>
                    <a:pt x="8" y="458"/>
                  </a:lnTo>
                  <a:lnTo>
                    <a:pt x="6" y="456"/>
                  </a:lnTo>
                  <a:lnTo>
                    <a:pt x="6" y="456"/>
                  </a:lnTo>
                  <a:lnTo>
                    <a:pt x="4" y="456"/>
                  </a:lnTo>
                  <a:lnTo>
                    <a:pt x="4" y="456"/>
                  </a:lnTo>
                  <a:lnTo>
                    <a:pt x="4" y="456"/>
                  </a:lnTo>
                  <a:lnTo>
                    <a:pt x="4" y="458"/>
                  </a:lnTo>
                  <a:lnTo>
                    <a:pt x="2" y="460"/>
                  </a:lnTo>
                  <a:lnTo>
                    <a:pt x="2" y="462"/>
                  </a:lnTo>
                  <a:lnTo>
                    <a:pt x="2" y="464"/>
                  </a:lnTo>
                  <a:lnTo>
                    <a:pt x="2" y="466"/>
                  </a:lnTo>
                  <a:lnTo>
                    <a:pt x="4" y="468"/>
                  </a:lnTo>
                  <a:lnTo>
                    <a:pt x="2" y="469"/>
                  </a:lnTo>
                  <a:lnTo>
                    <a:pt x="4" y="471"/>
                  </a:lnTo>
                  <a:lnTo>
                    <a:pt x="4" y="471"/>
                  </a:lnTo>
                  <a:lnTo>
                    <a:pt x="6" y="473"/>
                  </a:lnTo>
                  <a:lnTo>
                    <a:pt x="6" y="473"/>
                  </a:lnTo>
                  <a:lnTo>
                    <a:pt x="8" y="475"/>
                  </a:lnTo>
                  <a:lnTo>
                    <a:pt x="8" y="477"/>
                  </a:lnTo>
                  <a:lnTo>
                    <a:pt x="8" y="479"/>
                  </a:lnTo>
                  <a:lnTo>
                    <a:pt x="8" y="481"/>
                  </a:lnTo>
                  <a:lnTo>
                    <a:pt x="8" y="481"/>
                  </a:lnTo>
                  <a:lnTo>
                    <a:pt x="10" y="483"/>
                  </a:lnTo>
                  <a:lnTo>
                    <a:pt x="10" y="485"/>
                  </a:lnTo>
                  <a:lnTo>
                    <a:pt x="10" y="485"/>
                  </a:lnTo>
                  <a:lnTo>
                    <a:pt x="10" y="488"/>
                  </a:lnTo>
                  <a:lnTo>
                    <a:pt x="10" y="496"/>
                  </a:lnTo>
                  <a:lnTo>
                    <a:pt x="11" y="496"/>
                  </a:lnTo>
                  <a:lnTo>
                    <a:pt x="13" y="498"/>
                  </a:lnTo>
                  <a:lnTo>
                    <a:pt x="15" y="498"/>
                  </a:lnTo>
                  <a:lnTo>
                    <a:pt x="17" y="498"/>
                  </a:lnTo>
                  <a:lnTo>
                    <a:pt x="19" y="498"/>
                  </a:lnTo>
                  <a:lnTo>
                    <a:pt x="21" y="498"/>
                  </a:lnTo>
                  <a:lnTo>
                    <a:pt x="23" y="496"/>
                  </a:lnTo>
                  <a:lnTo>
                    <a:pt x="23" y="496"/>
                  </a:lnTo>
                  <a:lnTo>
                    <a:pt x="23" y="496"/>
                  </a:lnTo>
                  <a:lnTo>
                    <a:pt x="23" y="494"/>
                  </a:lnTo>
                  <a:lnTo>
                    <a:pt x="23" y="494"/>
                  </a:lnTo>
                  <a:lnTo>
                    <a:pt x="25" y="494"/>
                  </a:lnTo>
                  <a:lnTo>
                    <a:pt x="25" y="494"/>
                  </a:lnTo>
                  <a:lnTo>
                    <a:pt x="27" y="494"/>
                  </a:lnTo>
                  <a:lnTo>
                    <a:pt x="29" y="492"/>
                  </a:lnTo>
                  <a:lnTo>
                    <a:pt x="29" y="492"/>
                  </a:lnTo>
                  <a:lnTo>
                    <a:pt x="32" y="488"/>
                  </a:lnTo>
                  <a:lnTo>
                    <a:pt x="34" y="488"/>
                  </a:lnTo>
                  <a:lnTo>
                    <a:pt x="36" y="490"/>
                  </a:lnTo>
                  <a:lnTo>
                    <a:pt x="42" y="496"/>
                  </a:lnTo>
                  <a:lnTo>
                    <a:pt x="42" y="500"/>
                  </a:lnTo>
                  <a:lnTo>
                    <a:pt x="42" y="500"/>
                  </a:lnTo>
                  <a:lnTo>
                    <a:pt x="42" y="509"/>
                  </a:lnTo>
                  <a:lnTo>
                    <a:pt x="42" y="511"/>
                  </a:lnTo>
                  <a:lnTo>
                    <a:pt x="42" y="511"/>
                  </a:lnTo>
                  <a:lnTo>
                    <a:pt x="44" y="513"/>
                  </a:lnTo>
                  <a:lnTo>
                    <a:pt x="44" y="515"/>
                  </a:lnTo>
                  <a:lnTo>
                    <a:pt x="44" y="517"/>
                  </a:lnTo>
                  <a:lnTo>
                    <a:pt x="44" y="519"/>
                  </a:lnTo>
                  <a:lnTo>
                    <a:pt x="46" y="519"/>
                  </a:lnTo>
                  <a:lnTo>
                    <a:pt x="46" y="521"/>
                  </a:lnTo>
                  <a:lnTo>
                    <a:pt x="48" y="521"/>
                  </a:lnTo>
                  <a:lnTo>
                    <a:pt x="51" y="525"/>
                  </a:lnTo>
                  <a:lnTo>
                    <a:pt x="53" y="525"/>
                  </a:lnTo>
                  <a:lnTo>
                    <a:pt x="57" y="527"/>
                  </a:lnTo>
                  <a:lnTo>
                    <a:pt x="59" y="527"/>
                  </a:lnTo>
                  <a:lnTo>
                    <a:pt x="59" y="528"/>
                  </a:lnTo>
                  <a:lnTo>
                    <a:pt x="61" y="528"/>
                  </a:lnTo>
                  <a:lnTo>
                    <a:pt x="63" y="530"/>
                  </a:lnTo>
                  <a:lnTo>
                    <a:pt x="65" y="530"/>
                  </a:lnTo>
                  <a:lnTo>
                    <a:pt x="67" y="530"/>
                  </a:lnTo>
                  <a:lnTo>
                    <a:pt x="76" y="528"/>
                  </a:lnTo>
                  <a:lnTo>
                    <a:pt x="76" y="528"/>
                  </a:lnTo>
                  <a:lnTo>
                    <a:pt x="80" y="530"/>
                  </a:lnTo>
                  <a:lnTo>
                    <a:pt x="80" y="530"/>
                  </a:lnTo>
                  <a:lnTo>
                    <a:pt x="82" y="530"/>
                  </a:lnTo>
                  <a:lnTo>
                    <a:pt x="82" y="532"/>
                  </a:lnTo>
                  <a:lnTo>
                    <a:pt x="84" y="532"/>
                  </a:lnTo>
                  <a:lnTo>
                    <a:pt x="86" y="532"/>
                  </a:lnTo>
                  <a:lnTo>
                    <a:pt x="90" y="534"/>
                  </a:lnTo>
                  <a:lnTo>
                    <a:pt x="90" y="534"/>
                  </a:lnTo>
                  <a:lnTo>
                    <a:pt x="93" y="534"/>
                  </a:lnTo>
                  <a:lnTo>
                    <a:pt x="93" y="536"/>
                  </a:lnTo>
                  <a:lnTo>
                    <a:pt x="95" y="538"/>
                  </a:lnTo>
                  <a:lnTo>
                    <a:pt x="99" y="542"/>
                  </a:lnTo>
                  <a:lnTo>
                    <a:pt x="99" y="546"/>
                  </a:lnTo>
                  <a:lnTo>
                    <a:pt x="101" y="546"/>
                  </a:lnTo>
                  <a:lnTo>
                    <a:pt x="101" y="547"/>
                  </a:lnTo>
                  <a:lnTo>
                    <a:pt x="103" y="547"/>
                  </a:lnTo>
                  <a:lnTo>
                    <a:pt x="103" y="547"/>
                  </a:lnTo>
                  <a:lnTo>
                    <a:pt x="109" y="551"/>
                  </a:lnTo>
                  <a:lnTo>
                    <a:pt x="118" y="553"/>
                  </a:lnTo>
                  <a:lnTo>
                    <a:pt x="122" y="551"/>
                  </a:lnTo>
                  <a:lnTo>
                    <a:pt x="122" y="553"/>
                  </a:lnTo>
                  <a:lnTo>
                    <a:pt x="124" y="553"/>
                  </a:lnTo>
                  <a:lnTo>
                    <a:pt x="124" y="553"/>
                  </a:lnTo>
                  <a:lnTo>
                    <a:pt x="133" y="553"/>
                  </a:lnTo>
                  <a:lnTo>
                    <a:pt x="137" y="553"/>
                  </a:lnTo>
                  <a:lnTo>
                    <a:pt x="139" y="553"/>
                  </a:lnTo>
                  <a:lnTo>
                    <a:pt x="141" y="553"/>
                  </a:lnTo>
                  <a:lnTo>
                    <a:pt x="145" y="553"/>
                  </a:lnTo>
                  <a:lnTo>
                    <a:pt x="145" y="551"/>
                  </a:lnTo>
                  <a:lnTo>
                    <a:pt x="147" y="551"/>
                  </a:lnTo>
                  <a:lnTo>
                    <a:pt x="151" y="553"/>
                  </a:lnTo>
                  <a:lnTo>
                    <a:pt x="154" y="553"/>
                  </a:lnTo>
                  <a:lnTo>
                    <a:pt x="164" y="553"/>
                  </a:lnTo>
                  <a:lnTo>
                    <a:pt x="170" y="551"/>
                  </a:lnTo>
                  <a:lnTo>
                    <a:pt x="173" y="551"/>
                  </a:lnTo>
                  <a:lnTo>
                    <a:pt x="175" y="551"/>
                  </a:lnTo>
                  <a:lnTo>
                    <a:pt x="177" y="551"/>
                  </a:lnTo>
                  <a:lnTo>
                    <a:pt x="181" y="553"/>
                  </a:lnTo>
                  <a:lnTo>
                    <a:pt x="185" y="553"/>
                  </a:lnTo>
                  <a:lnTo>
                    <a:pt x="187" y="553"/>
                  </a:lnTo>
                  <a:lnTo>
                    <a:pt x="187" y="553"/>
                  </a:lnTo>
                  <a:lnTo>
                    <a:pt x="189" y="553"/>
                  </a:lnTo>
                  <a:lnTo>
                    <a:pt x="189" y="553"/>
                  </a:lnTo>
                  <a:lnTo>
                    <a:pt x="191" y="555"/>
                  </a:lnTo>
                  <a:lnTo>
                    <a:pt x="192" y="557"/>
                  </a:lnTo>
                  <a:lnTo>
                    <a:pt x="194" y="563"/>
                  </a:lnTo>
                  <a:lnTo>
                    <a:pt x="194" y="566"/>
                  </a:lnTo>
                  <a:lnTo>
                    <a:pt x="194" y="570"/>
                  </a:lnTo>
                  <a:lnTo>
                    <a:pt x="194" y="572"/>
                  </a:lnTo>
                  <a:lnTo>
                    <a:pt x="194" y="572"/>
                  </a:lnTo>
                  <a:lnTo>
                    <a:pt x="192" y="572"/>
                  </a:lnTo>
                  <a:lnTo>
                    <a:pt x="192" y="572"/>
                  </a:lnTo>
                  <a:lnTo>
                    <a:pt x="192" y="572"/>
                  </a:lnTo>
                  <a:lnTo>
                    <a:pt x="191" y="574"/>
                  </a:lnTo>
                  <a:lnTo>
                    <a:pt x="191" y="574"/>
                  </a:lnTo>
                  <a:lnTo>
                    <a:pt x="191" y="574"/>
                  </a:lnTo>
                  <a:lnTo>
                    <a:pt x="191" y="574"/>
                  </a:lnTo>
                  <a:lnTo>
                    <a:pt x="191" y="574"/>
                  </a:lnTo>
                  <a:lnTo>
                    <a:pt x="192" y="574"/>
                  </a:lnTo>
                  <a:lnTo>
                    <a:pt x="194" y="580"/>
                  </a:lnTo>
                  <a:lnTo>
                    <a:pt x="196" y="582"/>
                  </a:lnTo>
                  <a:lnTo>
                    <a:pt x="198" y="582"/>
                  </a:lnTo>
                  <a:lnTo>
                    <a:pt x="208" y="584"/>
                  </a:lnTo>
                  <a:lnTo>
                    <a:pt x="212" y="582"/>
                  </a:lnTo>
                  <a:lnTo>
                    <a:pt x="217" y="582"/>
                  </a:lnTo>
                  <a:lnTo>
                    <a:pt x="219" y="580"/>
                  </a:lnTo>
                  <a:lnTo>
                    <a:pt x="221" y="580"/>
                  </a:lnTo>
                  <a:lnTo>
                    <a:pt x="223" y="578"/>
                  </a:lnTo>
                  <a:lnTo>
                    <a:pt x="225" y="576"/>
                  </a:lnTo>
                  <a:lnTo>
                    <a:pt x="227" y="574"/>
                  </a:lnTo>
                  <a:lnTo>
                    <a:pt x="227" y="572"/>
                  </a:lnTo>
                  <a:lnTo>
                    <a:pt x="231" y="570"/>
                  </a:lnTo>
                  <a:lnTo>
                    <a:pt x="232" y="570"/>
                  </a:lnTo>
                  <a:lnTo>
                    <a:pt x="238" y="570"/>
                  </a:lnTo>
                  <a:lnTo>
                    <a:pt x="240" y="570"/>
                  </a:lnTo>
                  <a:lnTo>
                    <a:pt x="240" y="568"/>
                  </a:lnTo>
                  <a:lnTo>
                    <a:pt x="242" y="566"/>
                  </a:lnTo>
                  <a:lnTo>
                    <a:pt x="242" y="565"/>
                  </a:lnTo>
                  <a:lnTo>
                    <a:pt x="242" y="561"/>
                  </a:lnTo>
                  <a:lnTo>
                    <a:pt x="240" y="559"/>
                  </a:lnTo>
                  <a:lnTo>
                    <a:pt x="240" y="557"/>
                  </a:lnTo>
                  <a:lnTo>
                    <a:pt x="240" y="557"/>
                  </a:lnTo>
                  <a:lnTo>
                    <a:pt x="240" y="555"/>
                  </a:lnTo>
                  <a:lnTo>
                    <a:pt x="242" y="555"/>
                  </a:lnTo>
                  <a:lnTo>
                    <a:pt x="244" y="553"/>
                  </a:lnTo>
                  <a:lnTo>
                    <a:pt x="248" y="551"/>
                  </a:lnTo>
                  <a:lnTo>
                    <a:pt x="248" y="549"/>
                  </a:lnTo>
                  <a:lnTo>
                    <a:pt x="250" y="549"/>
                  </a:lnTo>
                  <a:lnTo>
                    <a:pt x="252" y="546"/>
                  </a:lnTo>
                  <a:lnTo>
                    <a:pt x="252" y="544"/>
                  </a:lnTo>
                  <a:lnTo>
                    <a:pt x="253" y="544"/>
                  </a:lnTo>
                  <a:lnTo>
                    <a:pt x="253" y="542"/>
                  </a:lnTo>
                  <a:lnTo>
                    <a:pt x="253" y="542"/>
                  </a:lnTo>
                  <a:lnTo>
                    <a:pt x="253" y="542"/>
                  </a:lnTo>
                  <a:lnTo>
                    <a:pt x="253" y="540"/>
                  </a:lnTo>
                  <a:lnTo>
                    <a:pt x="253" y="540"/>
                  </a:lnTo>
                  <a:lnTo>
                    <a:pt x="253" y="540"/>
                  </a:lnTo>
                  <a:lnTo>
                    <a:pt x="253" y="538"/>
                  </a:lnTo>
                  <a:lnTo>
                    <a:pt x="253" y="538"/>
                  </a:lnTo>
                  <a:lnTo>
                    <a:pt x="255" y="536"/>
                  </a:lnTo>
                  <a:lnTo>
                    <a:pt x="255" y="532"/>
                  </a:lnTo>
                  <a:lnTo>
                    <a:pt x="257" y="530"/>
                  </a:lnTo>
                  <a:lnTo>
                    <a:pt x="259" y="530"/>
                  </a:lnTo>
                  <a:lnTo>
                    <a:pt x="265" y="530"/>
                  </a:lnTo>
                  <a:lnTo>
                    <a:pt x="267" y="528"/>
                  </a:lnTo>
                  <a:lnTo>
                    <a:pt x="276" y="521"/>
                  </a:lnTo>
                  <a:lnTo>
                    <a:pt x="280" y="519"/>
                  </a:lnTo>
                  <a:lnTo>
                    <a:pt x="284" y="519"/>
                  </a:lnTo>
                  <a:lnTo>
                    <a:pt x="290" y="519"/>
                  </a:lnTo>
                  <a:lnTo>
                    <a:pt x="290" y="519"/>
                  </a:lnTo>
                  <a:lnTo>
                    <a:pt x="292" y="519"/>
                  </a:lnTo>
                  <a:lnTo>
                    <a:pt x="292" y="519"/>
                  </a:lnTo>
                  <a:lnTo>
                    <a:pt x="292" y="519"/>
                  </a:lnTo>
                  <a:lnTo>
                    <a:pt x="292" y="521"/>
                  </a:lnTo>
                  <a:lnTo>
                    <a:pt x="293" y="521"/>
                  </a:lnTo>
                  <a:lnTo>
                    <a:pt x="293" y="521"/>
                  </a:lnTo>
                  <a:lnTo>
                    <a:pt x="293" y="521"/>
                  </a:lnTo>
                  <a:lnTo>
                    <a:pt x="295" y="521"/>
                  </a:lnTo>
                  <a:lnTo>
                    <a:pt x="295" y="521"/>
                  </a:lnTo>
                  <a:lnTo>
                    <a:pt x="295" y="519"/>
                  </a:lnTo>
                  <a:lnTo>
                    <a:pt x="297" y="517"/>
                  </a:lnTo>
                  <a:lnTo>
                    <a:pt x="297" y="517"/>
                  </a:lnTo>
                  <a:lnTo>
                    <a:pt x="301" y="517"/>
                  </a:lnTo>
                  <a:lnTo>
                    <a:pt x="301" y="517"/>
                  </a:lnTo>
                  <a:lnTo>
                    <a:pt x="303" y="515"/>
                  </a:lnTo>
                  <a:lnTo>
                    <a:pt x="303" y="513"/>
                  </a:lnTo>
                  <a:lnTo>
                    <a:pt x="305" y="513"/>
                  </a:lnTo>
                  <a:lnTo>
                    <a:pt x="316" y="513"/>
                  </a:lnTo>
                  <a:lnTo>
                    <a:pt x="318" y="515"/>
                  </a:lnTo>
                  <a:lnTo>
                    <a:pt x="318" y="515"/>
                  </a:lnTo>
                  <a:lnTo>
                    <a:pt x="320" y="515"/>
                  </a:lnTo>
                  <a:lnTo>
                    <a:pt x="320" y="517"/>
                  </a:lnTo>
                  <a:lnTo>
                    <a:pt x="320" y="517"/>
                  </a:lnTo>
                  <a:lnTo>
                    <a:pt x="320" y="517"/>
                  </a:lnTo>
                  <a:lnTo>
                    <a:pt x="320" y="517"/>
                  </a:lnTo>
                  <a:lnTo>
                    <a:pt x="320" y="517"/>
                  </a:lnTo>
                  <a:lnTo>
                    <a:pt x="322" y="519"/>
                  </a:lnTo>
                  <a:lnTo>
                    <a:pt x="324" y="519"/>
                  </a:lnTo>
                  <a:lnTo>
                    <a:pt x="324" y="521"/>
                  </a:lnTo>
                  <a:lnTo>
                    <a:pt x="324" y="521"/>
                  </a:lnTo>
                  <a:lnTo>
                    <a:pt x="326" y="528"/>
                  </a:lnTo>
                  <a:lnTo>
                    <a:pt x="326" y="530"/>
                  </a:lnTo>
                  <a:lnTo>
                    <a:pt x="326" y="530"/>
                  </a:lnTo>
                  <a:lnTo>
                    <a:pt x="326" y="532"/>
                  </a:lnTo>
                  <a:lnTo>
                    <a:pt x="326" y="534"/>
                  </a:lnTo>
                  <a:lnTo>
                    <a:pt x="328" y="534"/>
                  </a:lnTo>
                  <a:lnTo>
                    <a:pt x="328" y="536"/>
                  </a:lnTo>
                  <a:lnTo>
                    <a:pt x="328" y="536"/>
                  </a:lnTo>
                  <a:lnTo>
                    <a:pt x="326" y="536"/>
                  </a:lnTo>
                  <a:lnTo>
                    <a:pt x="326" y="536"/>
                  </a:lnTo>
                  <a:lnTo>
                    <a:pt x="316" y="536"/>
                  </a:lnTo>
                  <a:lnTo>
                    <a:pt x="314" y="536"/>
                  </a:lnTo>
                  <a:lnTo>
                    <a:pt x="314" y="536"/>
                  </a:lnTo>
                  <a:lnTo>
                    <a:pt x="314" y="538"/>
                  </a:lnTo>
                  <a:lnTo>
                    <a:pt x="314" y="538"/>
                  </a:lnTo>
                  <a:lnTo>
                    <a:pt x="314" y="540"/>
                  </a:lnTo>
                  <a:lnTo>
                    <a:pt x="314" y="540"/>
                  </a:lnTo>
                  <a:lnTo>
                    <a:pt x="314" y="542"/>
                  </a:lnTo>
                  <a:lnTo>
                    <a:pt x="316" y="544"/>
                  </a:lnTo>
                  <a:lnTo>
                    <a:pt x="318" y="547"/>
                  </a:lnTo>
                  <a:lnTo>
                    <a:pt x="318" y="549"/>
                  </a:lnTo>
                  <a:lnTo>
                    <a:pt x="318" y="551"/>
                  </a:lnTo>
                  <a:lnTo>
                    <a:pt x="318" y="551"/>
                  </a:lnTo>
                  <a:lnTo>
                    <a:pt x="320" y="551"/>
                  </a:lnTo>
                  <a:lnTo>
                    <a:pt x="320" y="551"/>
                  </a:lnTo>
                  <a:lnTo>
                    <a:pt x="320" y="549"/>
                  </a:lnTo>
                  <a:lnTo>
                    <a:pt x="322" y="549"/>
                  </a:lnTo>
                  <a:lnTo>
                    <a:pt x="322" y="549"/>
                  </a:lnTo>
                  <a:lnTo>
                    <a:pt x="322" y="549"/>
                  </a:lnTo>
                  <a:lnTo>
                    <a:pt x="324" y="549"/>
                  </a:lnTo>
                  <a:lnTo>
                    <a:pt x="324" y="549"/>
                  </a:lnTo>
                  <a:lnTo>
                    <a:pt x="326" y="551"/>
                  </a:lnTo>
                  <a:lnTo>
                    <a:pt x="326" y="551"/>
                  </a:lnTo>
                  <a:lnTo>
                    <a:pt x="326" y="551"/>
                  </a:lnTo>
                  <a:lnTo>
                    <a:pt x="328" y="551"/>
                  </a:lnTo>
                  <a:lnTo>
                    <a:pt x="328" y="551"/>
                  </a:lnTo>
                  <a:lnTo>
                    <a:pt x="330" y="551"/>
                  </a:lnTo>
                  <a:lnTo>
                    <a:pt x="332" y="551"/>
                  </a:lnTo>
                  <a:lnTo>
                    <a:pt x="332" y="551"/>
                  </a:lnTo>
                  <a:lnTo>
                    <a:pt x="333" y="551"/>
                  </a:lnTo>
                  <a:lnTo>
                    <a:pt x="333" y="551"/>
                  </a:lnTo>
                  <a:lnTo>
                    <a:pt x="335" y="551"/>
                  </a:lnTo>
                  <a:lnTo>
                    <a:pt x="337" y="551"/>
                  </a:lnTo>
                  <a:lnTo>
                    <a:pt x="337" y="551"/>
                  </a:lnTo>
                  <a:lnTo>
                    <a:pt x="337" y="553"/>
                  </a:lnTo>
                  <a:lnTo>
                    <a:pt x="339" y="553"/>
                  </a:lnTo>
                  <a:lnTo>
                    <a:pt x="339" y="553"/>
                  </a:lnTo>
                  <a:lnTo>
                    <a:pt x="343" y="551"/>
                  </a:lnTo>
                  <a:lnTo>
                    <a:pt x="345" y="549"/>
                  </a:lnTo>
                  <a:lnTo>
                    <a:pt x="347" y="547"/>
                  </a:lnTo>
                  <a:lnTo>
                    <a:pt x="347" y="547"/>
                  </a:lnTo>
                  <a:lnTo>
                    <a:pt x="349" y="547"/>
                  </a:lnTo>
                  <a:lnTo>
                    <a:pt x="353" y="549"/>
                  </a:lnTo>
                  <a:lnTo>
                    <a:pt x="354" y="551"/>
                  </a:lnTo>
                  <a:lnTo>
                    <a:pt x="356" y="551"/>
                  </a:lnTo>
                  <a:lnTo>
                    <a:pt x="358" y="551"/>
                  </a:lnTo>
                  <a:lnTo>
                    <a:pt x="370" y="547"/>
                  </a:lnTo>
                  <a:lnTo>
                    <a:pt x="373" y="544"/>
                  </a:lnTo>
                  <a:lnTo>
                    <a:pt x="377" y="542"/>
                  </a:lnTo>
                  <a:lnTo>
                    <a:pt x="379" y="542"/>
                  </a:lnTo>
                  <a:lnTo>
                    <a:pt x="381" y="538"/>
                  </a:lnTo>
                  <a:lnTo>
                    <a:pt x="383" y="536"/>
                  </a:lnTo>
                  <a:lnTo>
                    <a:pt x="385" y="536"/>
                  </a:lnTo>
                  <a:lnTo>
                    <a:pt x="385" y="534"/>
                  </a:lnTo>
                  <a:lnTo>
                    <a:pt x="391" y="534"/>
                  </a:lnTo>
                  <a:lnTo>
                    <a:pt x="394" y="532"/>
                  </a:lnTo>
                  <a:lnTo>
                    <a:pt x="396" y="528"/>
                  </a:lnTo>
                  <a:lnTo>
                    <a:pt x="398" y="528"/>
                  </a:lnTo>
                  <a:lnTo>
                    <a:pt x="398" y="528"/>
                  </a:lnTo>
                  <a:lnTo>
                    <a:pt x="400" y="528"/>
                  </a:lnTo>
                  <a:lnTo>
                    <a:pt x="400" y="528"/>
                  </a:lnTo>
                  <a:lnTo>
                    <a:pt x="402" y="528"/>
                  </a:lnTo>
                  <a:lnTo>
                    <a:pt x="402" y="528"/>
                  </a:lnTo>
                  <a:lnTo>
                    <a:pt x="404" y="528"/>
                  </a:lnTo>
                  <a:lnTo>
                    <a:pt x="404" y="530"/>
                  </a:lnTo>
                  <a:lnTo>
                    <a:pt x="404" y="532"/>
                  </a:lnTo>
                  <a:lnTo>
                    <a:pt x="406" y="534"/>
                  </a:lnTo>
                  <a:lnTo>
                    <a:pt x="406" y="536"/>
                  </a:lnTo>
                  <a:lnTo>
                    <a:pt x="406" y="538"/>
                  </a:lnTo>
                  <a:lnTo>
                    <a:pt x="406" y="540"/>
                  </a:lnTo>
                  <a:lnTo>
                    <a:pt x="406" y="540"/>
                  </a:lnTo>
                  <a:lnTo>
                    <a:pt x="406" y="540"/>
                  </a:lnTo>
                  <a:lnTo>
                    <a:pt x="406" y="540"/>
                  </a:lnTo>
                  <a:lnTo>
                    <a:pt x="406" y="540"/>
                  </a:lnTo>
                  <a:lnTo>
                    <a:pt x="406" y="540"/>
                  </a:lnTo>
                  <a:lnTo>
                    <a:pt x="408" y="540"/>
                  </a:lnTo>
                  <a:lnTo>
                    <a:pt x="408" y="540"/>
                  </a:lnTo>
                  <a:lnTo>
                    <a:pt x="410" y="540"/>
                  </a:lnTo>
                  <a:lnTo>
                    <a:pt x="410" y="538"/>
                  </a:lnTo>
                  <a:lnTo>
                    <a:pt x="412" y="538"/>
                  </a:lnTo>
                  <a:lnTo>
                    <a:pt x="412" y="538"/>
                  </a:lnTo>
                  <a:lnTo>
                    <a:pt x="413" y="538"/>
                  </a:lnTo>
                  <a:lnTo>
                    <a:pt x="415" y="538"/>
                  </a:lnTo>
                  <a:lnTo>
                    <a:pt x="415" y="540"/>
                  </a:lnTo>
                  <a:lnTo>
                    <a:pt x="417" y="540"/>
                  </a:lnTo>
                  <a:lnTo>
                    <a:pt x="417" y="542"/>
                  </a:lnTo>
                  <a:lnTo>
                    <a:pt x="425" y="544"/>
                  </a:lnTo>
                  <a:lnTo>
                    <a:pt x="431" y="544"/>
                  </a:lnTo>
                  <a:lnTo>
                    <a:pt x="433" y="544"/>
                  </a:lnTo>
                  <a:lnTo>
                    <a:pt x="434" y="542"/>
                  </a:lnTo>
                  <a:lnTo>
                    <a:pt x="440" y="542"/>
                  </a:lnTo>
                  <a:lnTo>
                    <a:pt x="444" y="540"/>
                  </a:lnTo>
                  <a:lnTo>
                    <a:pt x="446" y="540"/>
                  </a:lnTo>
                  <a:lnTo>
                    <a:pt x="450" y="540"/>
                  </a:lnTo>
                  <a:lnTo>
                    <a:pt x="452" y="540"/>
                  </a:lnTo>
                  <a:lnTo>
                    <a:pt x="452" y="538"/>
                  </a:lnTo>
                  <a:lnTo>
                    <a:pt x="452" y="538"/>
                  </a:lnTo>
                  <a:lnTo>
                    <a:pt x="452" y="536"/>
                  </a:lnTo>
                  <a:lnTo>
                    <a:pt x="452" y="536"/>
                  </a:lnTo>
                  <a:lnTo>
                    <a:pt x="452" y="534"/>
                  </a:lnTo>
                  <a:lnTo>
                    <a:pt x="452" y="534"/>
                  </a:lnTo>
                  <a:lnTo>
                    <a:pt x="452" y="532"/>
                  </a:lnTo>
                  <a:lnTo>
                    <a:pt x="454" y="532"/>
                  </a:lnTo>
                  <a:lnTo>
                    <a:pt x="457" y="530"/>
                  </a:lnTo>
                  <a:lnTo>
                    <a:pt x="467" y="530"/>
                  </a:lnTo>
                  <a:lnTo>
                    <a:pt x="469" y="528"/>
                  </a:lnTo>
                  <a:lnTo>
                    <a:pt x="474" y="527"/>
                  </a:lnTo>
                  <a:lnTo>
                    <a:pt x="476" y="527"/>
                  </a:lnTo>
                  <a:lnTo>
                    <a:pt x="478" y="525"/>
                  </a:lnTo>
                  <a:lnTo>
                    <a:pt x="480" y="525"/>
                  </a:lnTo>
                  <a:lnTo>
                    <a:pt x="480" y="523"/>
                  </a:lnTo>
                  <a:lnTo>
                    <a:pt x="480" y="521"/>
                  </a:lnTo>
                  <a:lnTo>
                    <a:pt x="480" y="521"/>
                  </a:lnTo>
                  <a:lnTo>
                    <a:pt x="480" y="521"/>
                  </a:lnTo>
                  <a:lnTo>
                    <a:pt x="480" y="519"/>
                  </a:lnTo>
                  <a:lnTo>
                    <a:pt x="482" y="519"/>
                  </a:lnTo>
                  <a:lnTo>
                    <a:pt x="486" y="521"/>
                  </a:lnTo>
                  <a:lnTo>
                    <a:pt x="488" y="521"/>
                  </a:lnTo>
                  <a:lnTo>
                    <a:pt x="490" y="523"/>
                  </a:lnTo>
                  <a:lnTo>
                    <a:pt x="494" y="521"/>
                  </a:lnTo>
                  <a:lnTo>
                    <a:pt x="494" y="523"/>
                  </a:lnTo>
                  <a:lnTo>
                    <a:pt x="495" y="523"/>
                  </a:lnTo>
                  <a:lnTo>
                    <a:pt x="497" y="523"/>
                  </a:lnTo>
                  <a:lnTo>
                    <a:pt x="497" y="523"/>
                  </a:lnTo>
                  <a:lnTo>
                    <a:pt x="501" y="523"/>
                  </a:lnTo>
                  <a:lnTo>
                    <a:pt x="503" y="525"/>
                  </a:lnTo>
                  <a:lnTo>
                    <a:pt x="505" y="527"/>
                  </a:lnTo>
                  <a:lnTo>
                    <a:pt x="507" y="528"/>
                  </a:lnTo>
                  <a:lnTo>
                    <a:pt x="509" y="530"/>
                  </a:lnTo>
                  <a:lnTo>
                    <a:pt x="509" y="532"/>
                  </a:lnTo>
                  <a:lnTo>
                    <a:pt x="509" y="532"/>
                  </a:lnTo>
                  <a:lnTo>
                    <a:pt x="509" y="532"/>
                  </a:lnTo>
                  <a:lnTo>
                    <a:pt x="509" y="534"/>
                  </a:lnTo>
                  <a:lnTo>
                    <a:pt x="509" y="536"/>
                  </a:lnTo>
                  <a:lnTo>
                    <a:pt x="511" y="536"/>
                  </a:lnTo>
                  <a:lnTo>
                    <a:pt x="511" y="536"/>
                  </a:lnTo>
                  <a:lnTo>
                    <a:pt x="513" y="536"/>
                  </a:lnTo>
                  <a:lnTo>
                    <a:pt x="514" y="536"/>
                  </a:lnTo>
                  <a:lnTo>
                    <a:pt x="514" y="536"/>
                  </a:lnTo>
                  <a:lnTo>
                    <a:pt x="516" y="534"/>
                  </a:lnTo>
                  <a:lnTo>
                    <a:pt x="518" y="532"/>
                  </a:lnTo>
                  <a:lnTo>
                    <a:pt x="520" y="532"/>
                  </a:lnTo>
                  <a:lnTo>
                    <a:pt x="520" y="532"/>
                  </a:lnTo>
                  <a:lnTo>
                    <a:pt x="524" y="532"/>
                  </a:lnTo>
                  <a:lnTo>
                    <a:pt x="528" y="532"/>
                  </a:lnTo>
                  <a:lnTo>
                    <a:pt x="530" y="532"/>
                  </a:lnTo>
                  <a:lnTo>
                    <a:pt x="532" y="532"/>
                  </a:lnTo>
                  <a:lnTo>
                    <a:pt x="534" y="532"/>
                  </a:lnTo>
                  <a:lnTo>
                    <a:pt x="534" y="534"/>
                  </a:lnTo>
                  <a:lnTo>
                    <a:pt x="535" y="534"/>
                  </a:lnTo>
                  <a:lnTo>
                    <a:pt x="535" y="536"/>
                  </a:lnTo>
                  <a:lnTo>
                    <a:pt x="535" y="538"/>
                  </a:lnTo>
                  <a:lnTo>
                    <a:pt x="537" y="538"/>
                  </a:lnTo>
                  <a:lnTo>
                    <a:pt x="537" y="538"/>
                  </a:lnTo>
                  <a:lnTo>
                    <a:pt x="539" y="538"/>
                  </a:lnTo>
                  <a:lnTo>
                    <a:pt x="541" y="538"/>
                  </a:lnTo>
                  <a:lnTo>
                    <a:pt x="543" y="536"/>
                  </a:lnTo>
                  <a:lnTo>
                    <a:pt x="543" y="536"/>
                  </a:lnTo>
                  <a:lnTo>
                    <a:pt x="545" y="536"/>
                  </a:lnTo>
                  <a:lnTo>
                    <a:pt x="545" y="536"/>
                  </a:lnTo>
                  <a:lnTo>
                    <a:pt x="547" y="534"/>
                  </a:lnTo>
                  <a:lnTo>
                    <a:pt x="549" y="534"/>
                  </a:lnTo>
                  <a:lnTo>
                    <a:pt x="549" y="534"/>
                  </a:lnTo>
                  <a:lnTo>
                    <a:pt x="549" y="536"/>
                  </a:lnTo>
                  <a:lnTo>
                    <a:pt x="549" y="536"/>
                  </a:lnTo>
                  <a:lnTo>
                    <a:pt x="549" y="536"/>
                  </a:lnTo>
                  <a:lnTo>
                    <a:pt x="551" y="536"/>
                  </a:lnTo>
                  <a:lnTo>
                    <a:pt x="551" y="536"/>
                  </a:lnTo>
                  <a:lnTo>
                    <a:pt x="558" y="534"/>
                  </a:lnTo>
                  <a:lnTo>
                    <a:pt x="558" y="532"/>
                  </a:lnTo>
                  <a:lnTo>
                    <a:pt x="560" y="530"/>
                  </a:lnTo>
                  <a:lnTo>
                    <a:pt x="566" y="528"/>
                  </a:lnTo>
                  <a:lnTo>
                    <a:pt x="568" y="528"/>
                  </a:lnTo>
                  <a:lnTo>
                    <a:pt x="568" y="528"/>
                  </a:lnTo>
                  <a:lnTo>
                    <a:pt x="568" y="527"/>
                  </a:lnTo>
                  <a:lnTo>
                    <a:pt x="570" y="528"/>
                  </a:lnTo>
                  <a:lnTo>
                    <a:pt x="574" y="530"/>
                  </a:lnTo>
                  <a:lnTo>
                    <a:pt x="575" y="532"/>
                  </a:lnTo>
                  <a:lnTo>
                    <a:pt x="579" y="532"/>
                  </a:lnTo>
                  <a:lnTo>
                    <a:pt x="579" y="534"/>
                  </a:lnTo>
                  <a:lnTo>
                    <a:pt x="581" y="534"/>
                  </a:lnTo>
                  <a:lnTo>
                    <a:pt x="581" y="534"/>
                  </a:lnTo>
                  <a:lnTo>
                    <a:pt x="581" y="536"/>
                  </a:lnTo>
                  <a:lnTo>
                    <a:pt x="581" y="536"/>
                  </a:lnTo>
                  <a:lnTo>
                    <a:pt x="581" y="538"/>
                  </a:lnTo>
                  <a:lnTo>
                    <a:pt x="587" y="542"/>
                  </a:lnTo>
                  <a:lnTo>
                    <a:pt x="589" y="542"/>
                  </a:lnTo>
                  <a:lnTo>
                    <a:pt x="589" y="544"/>
                  </a:lnTo>
                  <a:lnTo>
                    <a:pt x="589" y="546"/>
                  </a:lnTo>
                  <a:lnTo>
                    <a:pt x="589" y="546"/>
                  </a:lnTo>
                  <a:lnTo>
                    <a:pt x="589" y="547"/>
                  </a:lnTo>
                  <a:lnTo>
                    <a:pt x="589" y="547"/>
                  </a:lnTo>
                  <a:lnTo>
                    <a:pt x="589" y="547"/>
                  </a:lnTo>
                  <a:lnTo>
                    <a:pt x="587" y="549"/>
                  </a:lnTo>
                  <a:lnTo>
                    <a:pt x="587" y="549"/>
                  </a:lnTo>
                  <a:lnTo>
                    <a:pt x="587" y="551"/>
                  </a:lnTo>
                  <a:lnTo>
                    <a:pt x="589" y="551"/>
                  </a:lnTo>
                  <a:lnTo>
                    <a:pt x="589" y="551"/>
                  </a:lnTo>
                  <a:lnTo>
                    <a:pt x="589" y="551"/>
                  </a:lnTo>
                  <a:lnTo>
                    <a:pt x="591" y="551"/>
                  </a:lnTo>
                  <a:lnTo>
                    <a:pt x="593" y="551"/>
                  </a:lnTo>
                  <a:lnTo>
                    <a:pt x="595" y="549"/>
                  </a:lnTo>
                  <a:lnTo>
                    <a:pt x="595" y="549"/>
                  </a:lnTo>
                  <a:lnTo>
                    <a:pt x="596" y="551"/>
                  </a:lnTo>
                  <a:lnTo>
                    <a:pt x="596" y="551"/>
                  </a:lnTo>
                  <a:lnTo>
                    <a:pt x="608" y="557"/>
                  </a:lnTo>
                  <a:lnTo>
                    <a:pt x="608" y="557"/>
                  </a:lnTo>
                  <a:lnTo>
                    <a:pt x="610" y="557"/>
                  </a:lnTo>
                  <a:lnTo>
                    <a:pt x="610" y="557"/>
                  </a:lnTo>
                  <a:lnTo>
                    <a:pt x="610" y="557"/>
                  </a:lnTo>
                  <a:lnTo>
                    <a:pt x="612" y="555"/>
                  </a:lnTo>
                  <a:lnTo>
                    <a:pt x="614" y="555"/>
                  </a:lnTo>
                  <a:lnTo>
                    <a:pt x="615" y="551"/>
                  </a:lnTo>
                  <a:lnTo>
                    <a:pt x="615" y="547"/>
                  </a:lnTo>
                  <a:lnTo>
                    <a:pt x="617" y="544"/>
                  </a:lnTo>
                  <a:lnTo>
                    <a:pt x="617" y="542"/>
                  </a:lnTo>
                  <a:lnTo>
                    <a:pt x="617" y="532"/>
                  </a:lnTo>
                  <a:lnTo>
                    <a:pt x="617" y="530"/>
                  </a:lnTo>
                  <a:lnTo>
                    <a:pt x="617" y="528"/>
                  </a:lnTo>
                  <a:lnTo>
                    <a:pt x="617" y="519"/>
                  </a:lnTo>
                  <a:lnTo>
                    <a:pt x="619" y="517"/>
                  </a:lnTo>
                  <a:lnTo>
                    <a:pt x="621" y="515"/>
                  </a:lnTo>
                  <a:lnTo>
                    <a:pt x="623" y="515"/>
                  </a:lnTo>
                  <a:lnTo>
                    <a:pt x="625" y="513"/>
                  </a:lnTo>
                  <a:lnTo>
                    <a:pt x="627" y="511"/>
                  </a:lnTo>
                  <a:lnTo>
                    <a:pt x="629" y="506"/>
                  </a:lnTo>
                  <a:lnTo>
                    <a:pt x="627" y="500"/>
                  </a:lnTo>
                  <a:lnTo>
                    <a:pt x="629" y="496"/>
                  </a:lnTo>
                  <a:lnTo>
                    <a:pt x="629" y="494"/>
                  </a:lnTo>
                  <a:lnTo>
                    <a:pt x="633" y="485"/>
                  </a:lnTo>
                  <a:lnTo>
                    <a:pt x="635" y="483"/>
                  </a:lnTo>
                  <a:lnTo>
                    <a:pt x="636" y="481"/>
                  </a:lnTo>
                  <a:lnTo>
                    <a:pt x="636" y="481"/>
                  </a:lnTo>
                  <a:lnTo>
                    <a:pt x="638" y="483"/>
                  </a:lnTo>
                  <a:lnTo>
                    <a:pt x="640" y="487"/>
                  </a:lnTo>
                  <a:lnTo>
                    <a:pt x="642" y="487"/>
                  </a:lnTo>
                  <a:lnTo>
                    <a:pt x="642" y="487"/>
                  </a:lnTo>
                  <a:lnTo>
                    <a:pt x="644" y="485"/>
                  </a:lnTo>
                  <a:lnTo>
                    <a:pt x="644" y="483"/>
                  </a:lnTo>
                  <a:lnTo>
                    <a:pt x="642" y="483"/>
                  </a:lnTo>
                  <a:lnTo>
                    <a:pt x="642" y="481"/>
                  </a:lnTo>
                  <a:lnTo>
                    <a:pt x="642" y="479"/>
                  </a:lnTo>
                  <a:lnTo>
                    <a:pt x="642" y="479"/>
                  </a:lnTo>
                  <a:lnTo>
                    <a:pt x="644" y="479"/>
                  </a:lnTo>
                  <a:lnTo>
                    <a:pt x="644" y="479"/>
                  </a:lnTo>
                  <a:lnTo>
                    <a:pt x="646" y="477"/>
                  </a:lnTo>
                  <a:lnTo>
                    <a:pt x="646" y="471"/>
                  </a:lnTo>
                  <a:lnTo>
                    <a:pt x="646" y="469"/>
                  </a:lnTo>
                  <a:lnTo>
                    <a:pt x="648" y="469"/>
                  </a:lnTo>
                  <a:lnTo>
                    <a:pt x="648" y="468"/>
                  </a:lnTo>
                  <a:lnTo>
                    <a:pt x="652" y="466"/>
                  </a:lnTo>
                  <a:lnTo>
                    <a:pt x="654" y="462"/>
                  </a:lnTo>
                  <a:lnTo>
                    <a:pt x="654" y="460"/>
                  </a:lnTo>
                  <a:lnTo>
                    <a:pt x="656" y="458"/>
                  </a:lnTo>
                  <a:lnTo>
                    <a:pt x="654" y="454"/>
                  </a:lnTo>
                  <a:lnTo>
                    <a:pt x="654" y="450"/>
                  </a:lnTo>
                  <a:lnTo>
                    <a:pt x="656" y="449"/>
                  </a:lnTo>
                  <a:lnTo>
                    <a:pt x="659" y="445"/>
                  </a:lnTo>
                  <a:lnTo>
                    <a:pt x="659" y="443"/>
                  </a:lnTo>
                  <a:lnTo>
                    <a:pt x="661" y="443"/>
                  </a:lnTo>
                  <a:lnTo>
                    <a:pt x="661" y="443"/>
                  </a:lnTo>
                  <a:lnTo>
                    <a:pt x="661" y="445"/>
                  </a:lnTo>
                  <a:lnTo>
                    <a:pt x="663" y="447"/>
                  </a:lnTo>
                  <a:lnTo>
                    <a:pt x="663" y="447"/>
                  </a:lnTo>
                  <a:lnTo>
                    <a:pt x="665" y="447"/>
                  </a:lnTo>
                  <a:lnTo>
                    <a:pt x="667" y="447"/>
                  </a:lnTo>
                  <a:lnTo>
                    <a:pt x="669" y="445"/>
                  </a:lnTo>
                  <a:lnTo>
                    <a:pt x="671" y="445"/>
                  </a:lnTo>
                  <a:lnTo>
                    <a:pt x="673" y="443"/>
                  </a:lnTo>
                  <a:lnTo>
                    <a:pt x="675" y="441"/>
                  </a:lnTo>
                  <a:lnTo>
                    <a:pt x="676" y="441"/>
                  </a:lnTo>
                  <a:lnTo>
                    <a:pt x="678" y="443"/>
                  </a:lnTo>
                  <a:lnTo>
                    <a:pt x="678" y="443"/>
                  </a:lnTo>
                  <a:lnTo>
                    <a:pt x="680" y="447"/>
                  </a:lnTo>
                  <a:lnTo>
                    <a:pt x="682" y="447"/>
                  </a:lnTo>
                  <a:lnTo>
                    <a:pt x="682" y="447"/>
                  </a:lnTo>
                  <a:lnTo>
                    <a:pt x="684" y="447"/>
                  </a:lnTo>
                  <a:lnTo>
                    <a:pt x="686" y="445"/>
                  </a:lnTo>
                  <a:lnTo>
                    <a:pt x="688" y="445"/>
                  </a:lnTo>
                  <a:lnTo>
                    <a:pt x="688" y="443"/>
                  </a:lnTo>
                  <a:lnTo>
                    <a:pt x="690" y="441"/>
                  </a:lnTo>
                  <a:lnTo>
                    <a:pt x="694" y="439"/>
                  </a:lnTo>
                  <a:lnTo>
                    <a:pt x="696" y="439"/>
                  </a:lnTo>
                  <a:lnTo>
                    <a:pt x="697" y="439"/>
                  </a:lnTo>
                  <a:lnTo>
                    <a:pt x="699" y="437"/>
                  </a:lnTo>
                  <a:lnTo>
                    <a:pt x="701" y="437"/>
                  </a:lnTo>
                  <a:lnTo>
                    <a:pt x="703" y="437"/>
                  </a:lnTo>
                  <a:lnTo>
                    <a:pt x="703" y="435"/>
                  </a:lnTo>
                  <a:lnTo>
                    <a:pt x="703" y="433"/>
                  </a:lnTo>
                  <a:lnTo>
                    <a:pt x="703" y="431"/>
                  </a:lnTo>
                  <a:lnTo>
                    <a:pt x="705" y="430"/>
                  </a:lnTo>
                  <a:lnTo>
                    <a:pt x="711" y="426"/>
                  </a:lnTo>
                  <a:lnTo>
                    <a:pt x="713" y="426"/>
                  </a:lnTo>
                  <a:lnTo>
                    <a:pt x="715" y="426"/>
                  </a:lnTo>
                  <a:lnTo>
                    <a:pt x="715" y="424"/>
                  </a:lnTo>
                  <a:lnTo>
                    <a:pt x="713" y="422"/>
                  </a:lnTo>
                  <a:lnTo>
                    <a:pt x="713" y="420"/>
                  </a:lnTo>
                  <a:lnTo>
                    <a:pt x="715" y="418"/>
                  </a:lnTo>
                  <a:lnTo>
                    <a:pt x="716" y="416"/>
                  </a:lnTo>
                  <a:lnTo>
                    <a:pt x="715" y="412"/>
                  </a:lnTo>
                  <a:lnTo>
                    <a:pt x="715" y="411"/>
                  </a:lnTo>
                  <a:lnTo>
                    <a:pt x="715" y="409"/>
                  </a:lnTo>
                  <a:lnTo>
                    <a:pt x="716" y="407"/>
                  </a:lnTo>
                  <a:lnTo>
                    <a:pt x="718" y="405"/>
                  </a:lnTo>
                  <a:lnTo>
                    <a:pt x="722" y="405"/>
                  </a:lnTo>
                  <a:lnTo>
                    <a:pt x="722" y="403"/>
                  </a:lnTo>
                  <a:lnTo>
                    <a:pt x="726" y="401"/>
                  </a:lnTo>
                  <a:lnTo>
                    <a:pt x="730" y="397"/>
                  </a:lnTo>
                  <a:lnTo>
                    <a:pt x="730" y="395"/>
                  </a:lnTo>
                  <a:lnTo>
                    <a:pt x="730" y="391"/>
                  </a:lnTo>
                  <a:lnTo>
                    <a:pt x="730" y="390"/>
                  </a:lnTo>
                  <a:lnTo>
                    <a:pt x="730" y="388"/>
                  </a:lnTo>
                  <a:lnTo>
                    <a:pt x="732" y="386"/>
                  </a:lnTo>
                  <a:lnTo>
                    <a:pt x="737" y="384"/>
                  </a:lnTo>
                  <a:lnTo>
                    <a:pt x="741" y="382"/>
                  </a:lnTo>
                  <a:lnTo>
                    <a:pt x="743" y="380"/>
                  </a:lnTo>
                  <a:lnTo>
                    <a:pt x="745" y="382"/>
                  </a:lnTo>
                  <a:lnTo>
                    <a:pt x="747" y="382"/>
                  </a:lnTo>
                  <a:lnTo>
                    <a:pt x="749" y="380"/>
                  </a:lnTo>
                  <a:lnTo>
                    <a:pt x="751" y="376"/>
                  </a:lnTo>
                  <a:lnTo>
                    <a:pt x="751" y="374"/>
                  </a:lnTo>
                  <a:lnTo>
                    <a:pt x="751" y="371"/>
                  </a:lnTo>
                  <a:lnTo>
                    <a:pt x="753" y="363"/>
                  </a:lnTo>
                  <a:lnTo>
                    <a:pt x="753" y="361"/>
                  </a:lnTo>
                  <a:lnTo>
                    <a:pt x="751" y="359"/>
                  </a:lnTo>
                  <a:lnTo>
                    <a:pt x="749" y="355"/>
                  </a:lnTo>
                  <a:lnTo>
                    <a:pt x="747" y="355"/>
                  </a:lnTo>
                  <a:lnTo>
                    <a:pt x="745" y="353"/>
                  </a:lnTo>
                  <a:lnTo>
                    <a:pt x="745" y="353"/>
                  </a:lnTo>
                  <a:lnTo>
                    <a:pt x="739" y="355"/>
                  </a:lnTo>
                  <a:lnTo>
                    <a:pt x="739" y="355"/>
                  </a:lnTo>
                  <a:lnTo>
                    <a:pt x="737" y="353"/>
                  </a:lnTo>
                  <a:lnTo>
                    <a:pt x="737" y="352"/>
                  </a:lnTo>
                  <a:lnTo>
                    <a:pt x="737" y="352"/>
                  </a:lnTo>
                  <a:lnTo>
                    <a:pt x="736" y="352"/>
                  </a:lnTo>
                  <a:lnTo>
                    <a:pt x="736" y="352"/>
                  </a:lnTo>
                  <a:lnTo>
                    <a:pt x="734" y="350"/>
                  </a:lnTo>
                  <a:lnTo>
                    <a:pt x="732" y="344"/>
                  </a:lnTo>
                  <a:lnTo>
                    <a:pt x="728" y="342"/>
                  </a:lnTo>
                  <a:lnTo>
                    <a:pt x="726" y="340"/>
                  </a:lnTo>
                  <a:lnTo>
                    <a:pt x="722" y="340"/>
                  </a:lnTo>
                  <a:lnTo>
                    <a:pt x="716" y="338"/>
                  </a:lnTo>
                  <a:lnTo>
                    <a:pt x="715" y="338"/>
                  </a:lnTo>
                  <a:lnTo>
                    <a:pt x="713" y="336"/>
                  </a:lnTo>
                  <a:lnTo>
                    <a:pt x="713" y="336"/>
                  </a:lnTo>
                  <a:lnTo>
                    <a:pt x="711" y="338"/>
                  </a:lnTo>
                  <a:lnTo>
                    <a:pt x="709" y="340"/>
                  </a:lnTo>
                  <a:lnTo>
                    <a:pt x="707" y="340"/>
                  </a:lnTo>
                  <a:lnTo>
                    <a:pt x="703" y="342"/>
                  </a:lnTo>
                  <a:lnTo>
                    <a:pt x="703" y="344"/>
                  </a:lnTo>
                  <a:lnTo>
                    <a:pt x="701" y="342"/>
                  </a:lnTo>
                  <a:lnTo>
                    <a:pt x="701" y="342"/>
                  </a:lnTo>
                  <a:lnTo>
                    <a:pt x="699" y="340"/>
                  </a:lnTo>
                  <a:lnTo>
                    <a:pt x="699" y="338"/>
                  </a:lnTo>
                  <a:lnTo>
                    <a:pt x="697" y="336"/>
                  </a:lnTo>
                  <a:lnTo>
                    <a:pt x="697" y="334"/>
                  </a:lnTo>
                  <a:lnTo>
                    <a:pt x="697" y="334"/>
                  </a:lnTo>
                  <a:lnTo>
                    <a:pt x="699" y="334"/>
                  </a:lnTo>
                  <a:lnTo>
                    <a:pt x="699" y="333"/>
                  </a:lnTo>
                  <a:lnTo>
                    <a:pt x="699" y="333"/>
                  </a:lnTo>
                  <a:lnTo>
                    <a:pt x="701" y="329"/>
                  </a:lnTo>
                  <a:lnTo>
                    <a:pt x="701" y="327"/>
                  </a:lnTo>
                  <a:lnTo>
                    <a:pt x="703" y="327"/>
                  </a:lnTo>
                  <a:lnTo>
                    <a:pt x="703" y="327"/>
                  </a:lnTo>
                  <a:lnTo>
                    <a:pt x="705" y="325"/>
                  </a:lnTo>
                  <a:lnTo>
                    <a:pt x="705" y="323"/>
                  </a:lnTo>
                  <a:lnTo>
                    <a:pt x="707" y="323"/>
                  </a:lnTo>
                  <a:lnTo>
                    <a:pt x="707" y="321"/>
                  </a:lnTo>
                  <a:lnTo>
                    <a:pt x="707" y="319"/>
                  </a:lnTo>
                  <a:lnTo>
                    <a:pt x="705" y="315"/>
                  </a:lnTo>
                  <a:lnTo>
                    <a:pt x="703" y="310"/>
                  </a:lnTo>
                  <a:lnTo>
                    <a:pt x="701" y="308"/>
                  </a:lnTo>
                  <a:lnTo>
                    <a:pt x="701" y="308"/>
                  </a:lnTo>
                  <a:lnTo>
                    <a:pt x="701" y="306"/>
                  </a:lnTo>
                  <a:lnTo>
                    <a:pt x="701" y="306"/>
                  </a:lnTo>
                  <a:lnTo>
                    <a:pt x="701" y="304"/>
                  </a:lnTo>
                  <a:lnTo>
                    <a:pt x="703" y="302"/>
                  </a:lnTo>
                  <a:lnTo>
                    <a:pt x="707" y="302"/>
                  </a:lnTo>
                  <a:lnTo>
                    <a:pt x="709" y="304"/>
                  </a:lnTo>
                  <a:lnTo>
                    <a:pt x="713" y="308"/>
                  </a:lnTo>
                  <a:lnTo>
                    <a:pt x="715" y="312"/>
                  </a:lnTo>
                  <a:lnTo>
                    <a:pt x="718" y="312"/>
                  </a:lnTo>
                  <a:lnTo>
                    <a:pt x="720" y="312"/>
                  </a:lnTo>
                  <a:lnTo>
                    <a:pt x="722" y="310"/>
                  </a:lnTo>
                  <a:lnTo>
                    <a:pt x="728" y="308"/>
                  </a:lnTo>
                  <a:lnTo>
                    <a:pt x="730" y="308"/>
                  </a:lnTo>
                  <a:lnTo>
                    <a:pt x="736" y="308"/>
                  </a:lnTo>
                  <a:lnTo>
                    <a:pt x="737" y="308"/>
                  </a:lnTo>
                  <a:lnTo>
                    <a:pt x="743" y="312"/>
                  </a:lnTo>
                  <a:lnTo>
                    <a:pt x="745" y="312"/>
                  </a:lnTo>
                  <a:lnTo>
                    <a:pt x="755" y="312"/>
                  </a:lnTo>
                  <a:lnTo>
                    <a:pt x="758" y="312"/>
                  </a:lnTo>
                  <a:lnTo>
                    <a:pt x="760" y="312"/>
                  </a:lnTo>
                  <a:lnTo>
                    <a:pt x="774" y="314"/>
                  </a:lnTo>
                  <a:lnTo>
                    <a:pt x="781" y="314"/>
                  </a:lnTo>
                  <a:lnTo>
                    <a:pt x="785" y="314"/>
                  </a:lnTo>
                  <a:lnTo>
                    <a:pt x="785" y="314"/>
                  </a:lnTo>
                  <a:lnTo>
                    <a:pt x="787" y="312"/>
                  </a:lnTo>
                  <a:lnTo>
                    <a:pt x="787" y="310"/>
                  </a:lnTo>
                  <a:lnTo>
                    <a:pt x="793" y="310"/>
                  </a:lnTo>
                  <a:lnTo>
                    <a:pt x="795" y="308"/>
                  </a:lnTo>
                  <a:lnTo>
                    <a:pt x="797" y="306"/>
                  </a:lnTo>
                  <a:lnTo>
                    <a:pt x="797" y="306"/>
                  </a:lnTo>
                  <a:lnTo>
                    <a:pt x="797" y="304"/>
                  </a:lnTo>
                  <a:lnTo>
                    <a:pt x="797" y="302"/>
                  </a:lnTo>
                  <a:lnTo>
                    <a:pt x="797" y="302"/>
                  </a:lnTo>
                  <a:lnTo>
                    <a:pt x="798" y="300"/>
                  </a:lnTo>
                  <a:lnTo>
                    <a:pt x="802" y="300"/>
                  </a:lnTo>
                  <a:lnTo>
                    <a:pt x="804" y="300"/>
                  </a:lnTo>
                  <a:lnTo>
                    <a:pt x="806" y="298"/>
                  </a:lnTo>
                  <a:lnTo>
                    <a:pt x="808" y="296"/>
                  </a:lnTo>
                  <a:lnTo>
                    <a:pt x="808" y="296"/>
                  </a:lnTo>
                  <a:lnTo>
                    <a:pt x="808" y="295"/>
                  </a:lnTo>
                  <a:lnTo>
                    <a:pt x="808" y="293"/>
                  </a:lnTo>
                  <a:lnTo>
                    <a:pt x="808" y="293"/>
                  </a:lnTo>
                  <a:lnTo>
                    <a:pt x="810" y="291"/>
                  </a:lnTo>
                  <a:lnTo>
                    <a:pt x="806" y="287"/>
                  </a:lnTo>
                  <a:lnTo>
                    <a:pt x="804" y="285"/>
                  </a:lnTo>
                  <a:lnTo>
                    <a:pt x="804" y="285"/>
                  </a:lnTo>
                  <a:lnTo>
                    <a:pt x="804" y="285"/>
                  </a:lnTo>
                  <a:lnTo>
                    <a:pt x="802" y="283"/>
                  </a:lnTo>
                  <a:lnTo>
                    <a:pt x="804" y="283"/>
                  </a:lnTo>
                  <a:lnTo>
                    <a:pt x="804" y="281"/>
                  </a:lnTo>
                  <a:lnTo>
                    <a:pt x="804" y="279"/>
                  </a:lnTo>
                  <a:lnTo>
                    <a:pt x="804" y="279"/>
                  </a:lnTo>
                  <a:lnTo>
                    <a:pt x="802" y="279"/>
                  </a:lnTo>
                  <a:lnTo>
                    <a:pt x="802" y="277"/>
                  </a:lnTo>
                  <a:lnTo>
                    <a:pt x="800" y="277"/>
                  </a:lnTo>
                  <a:lnTo>
                    <a:pt x="798" y="275"/>
                  </a:lnTo>
                  <a:lnTo>
                    <a:pt x="798" y="274"/>
                  </a:lnTo>
                  <a:lnTo>
                    <a:pt x="798" y="274"/>
                  </a:lnTo>
                  <a:lnTo>
                    <a:pt x="798" y="272"/>
                  </a:lnTo>
                  <a:lnTo>
                    <a:pt x="798" y="272"/>
                  </a:lnTo>
                  <a:lnTo>
                    <a:pt x="798" y="272"/>
                  </a:lnTo>
                  <a:lnTo>
                    <a:pt x="800" y="272"/>
                  </a:lnTo>
                  <a:lnTo>
                    <a:pt x="802" y="270"/>
                  </a:lnTo>
                  <a:lnTo>
                    <a:pt x="802" y="270"/>
                  </a:lnTo>
                  <a:lnTo>
                    <a:pt x="804" y="262"/>
                  </a:lnTo>
                  <a:lnTo>
                    <a:pt x="806" y="260"/>
                  </a:lnTo>
                  <a:lnTo>
                    <a:pt x="806" y="258"/>
                  </a:lnTo>
                  <a:lnTo>
                    <a:pt x="806" y="258"/>
                  </a:lnTo>
                  <a:lnTo>
                    <a:pt x="806" y="253"/>
                  </a:lnTo>
                  <a:lnTo>
                    <a:pt x="806" y="251"/>
                  </a:lnTo>
                  <a:lnTo>
                    <a:pt x="806" y="249"/>
                  </a:lnTo>
                  <a:lnTo>
                    <a:pt x="804" y="249"/>
                  </a:lnTo>
                  <a:lnTo>
                    <a:pt x="804" y="249"/>
                  </a:lnTo>
                  <a:lnTo>
                    <a:pt x="802" y="247"/>
                  </a:lnTo>
                  <a:lnTo>
                    <a:pt x="802" y="247"/>
                  </a:lnTo>
                  <a:lnTo>
                    <a:pt x="804" y="241"/>
                  </a:lnTo>
                  <a:lnTo>
                    <a:pt x="804" y="239"/>
                  </a:lnTo>
                  <a:lnTo>
                    <a:pt x="804" y="237"/>
                  </a:lnTo>
                  <a:lnTo>
                    <a:pt x="804" y="236"/>
                  </a:lnTo>
                  <a:lnTo>
                    <a:pt x="804" y="236"/>
                  </a:lnTo>
                  <a:lnTo>
                    <a:pt x="804" y="234"/>
                  </a:lnTo>
                  <a:lnTo>
                    <a:pt x="804" y="234"/>
                  </a:lnTo>
                  <a:lnTo>
                    <a:pt x="804" y="234"/>
                  </a:lnTo>
                  <a:lnTo>
                    <a:pt x="806" y="234"/>
                  </a:lnTo>
                  <a:lnTo>
                    <a:pt x="808" y="234"/>
                  </a:lnTo>
                  <a:lnTo>
                    <a:pt x="810" y="234"/>
                  </a:lnTo>
                  <a:lnTo>
                    <a:pt x="810" y="234"/>
                  </a:lnTo>
                  <a:lnTo>
                    <a:pt x="812" y="232"/>
                  </a:lnTo>
                  <a:lnTo>
                    <a:pt x="812" y="232"/>
                  </a:lnTo>
                  <a:lnTo>
                    <a:pt x="810" y="23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7" name="Freeform 39">
              <a:extLst>
                <a:ext uri="{FF2B5EF4-FFF2-40B4-BE49-F238E27FC236}">
                  <a16:creationId xmlns:a16="http://schemas.microsoft.com/office/drawing/2014/main" id="{5E6E36E5-60BA-B66D-46ED-0A9974AF9D9F}"/>
                </a:ext>
              </a:extLst>
            </p:cNvPr>
            <p:cNvSpPr>
              <a:spLocks/>
            </p:cNvSpPr>
            <p:nvPr/>
          </p:nvSpPr>
          <p:spPr bwMode="auto">
            <a:xfrm>
              <a:off x="4640263" y="3161513"/>
              <a:ext cx="1289050" cy="927100"/>
            </a:xfrm>
            <a:custGeom>
              <a:avLst/>
              <a:gdLst>
                <a:gd name="T0" fmla="*/ 764 w 812"/>
                <a:gd name="T1" fmla="*/ 220 h 584"/>
                <a:gd name="T2" fmla="*/ 745 w 812"/>
                <a:gd name="T3" fmla="*/ 209 h 584"/>
                <a:gd name="T4" fmla="*/ 697 w 812"/>
                <a:gd name="T5" fmla="*/ 180 h 584"/>
                <a:gd name="T6" fmla="*/ 667 w 812"/>
                <a:gd name="T7" fmla="*/ 173 h 584"/>
                <a:gd name="T8" fmla="*/ 635 w 812"/>
                <a:gd name="T9" fmla="*/ 192 h 584"/>
                <a:gd name="T10" fmla="*/ 625 w 812"/>
                <a:gd name="T11" fmla="*/ 169 h 584"/>
                <a:gd name="T12" fmla="*/ 600 w 812"/>
                <a:gd name="T13" fmla="*/ 178 h 584"/>
                <a:gd name="T14" fmla="*/ 577 w 812"/>
                <a:gd name="T15" fmla="*/ 188 h 584"/>
                <a:gd name="T16" fmla="*/ 585 w 812"/>
                <a:gd name="T17" fmla="*/ 165 h 584"/>
                <a:gd name="T18" fmla="*/ 535 w 812"/>
                <a:gd name="T19" fmla="*/ 165 h 584"/>
                <a:gd name="T20" fmla="*/ 499 w 812"/>
                <a:gd name="T21" fmla="*/ 178 h 584"/>
                <a:gd name="T22" fmla="*/ 490 w 812"/>
                <a:gd name="T23" fmla="*/ 163 h 584"/>
                <a:gd name="T24" fmla="*/ 473 w 812"/>
                <a:gd name="T25" fmla="*/ 173 h 584"/>
                <a:gd name="T26" fmla="*/ 452 w 812"/>
                <a:gd name="T27" fmla="*/ 169 h 584"/>
                <a:gd name="T28" fmla="*/ 448 w 812"/>
                <a:gd name="T29" fmla="*/ 135 h 584"/>
                <a:gd name="T30" fmla="*/ 433 w 812"/>
                <a:gd name="T31" fmla="*/ 154 h 584"/>
                <a:gd name="T32" fmla="*/ 427 w 812"/>
                <a:gd name="T33" fmla="*/ 198 h 584"/>
                <a:gd name="T34" fmla="*/ 452 w 812"/>
                <a:gd name="T35" fmla="*/ 243 h 584"/>
                <a:gd name="T36" fmla="*/ 408 w 812"/>
                <a:gd name="T37" fmla="*/ 253 h 584"/>
                <a:gd name="T38" fmla="*/ 391 w 812"/>
                <a:gd name="T39" fmla="*/ 226 h 584"/>
                <a:gd name="T40" fmla="*/ 391 w 812"/>
                <a:gd name="T41" fmla="*/ 148 h 584"/>
                <a:gd name="T42" fmla="*/ 448 w 812"/>
                <a:gd name="T43" fmla="*/ 89 h 584"/>
                <a:gd name="T44" fmla="*/ 461 w 812"/>
                <a:gd name="T45" fmla="*/ 36 h 584"/>
                <a:gd name="T46" fmla="*/ 406 w 812"/>
                <a:gd name="T47" fmla="*/ 4 h 584"/>
                <a:gd name="T48" fmla="*/ 364 w 812"/>
                <a:gd name="T49" fmla="*/ 17 h 584"/>
                <a:gd name="T50" fmla="*/ 301 w 812"/>
                <a:gd name="T51" fmla="*/ 57 h 584"/>
                <a:gd name="T52" fmla="*/ 253 w 812"/>
                <a:gd name="T53" fmla="*/ 91 h 584"/>
                <a:gd name="T54" fmla="*/ 240 w 812"/>
                <a:gd name="T55" fmla="*/ 150 h 584"/>
                <a:gd name="T56" fmla="*/ 301 w 812"/>
                <a:gd name="T57" fmla="*/ 144 h 584"/>
                <a:gd name="T58" fmla="*/ 307 w 812"/>
                <a:gd name="T59" fmla="*/ 177 h 584"/>
                <a:gd name="T60" fmla="*/ 255 w 812"/>
                <a:gd name="T61" fmla="*/ 205 h 584"/>
                <a:gd name="T62" fmla="*/ 261 w 812"/>
                <a:gd name="T63" fmla="*/ 234 h 584"/>
                <a:gd name="T64" fmla="*/ 242 w 812"/>
                <a:gd name="T65" fmla="*/ 268 h 584"/>
                <a:gd name="T66" fmla="*/ 200 w 812"/>
                <a:gd name="T67" fmla="*/ 256 h 584"/>
                <a:gd name="T68" fmla="*/ 158 w 812"/>
                <a:gd name="T69" fmla="*/ 300 h 584"/>
                <a:gd name="T70" fmla="*/ 147 w 812"/>
                <a:gd name="T71" fmla="*/ 291 h 584"/>
                <a:gd name="T72" fmla="*/ 160 w 812"/>
                <a:gd name="T73" fmla="*/ 241 h 584"/>
                <a:gd name="T74" fmla="*/ 105 w 812"/>
                <a:gd name="T75" fmla="*/ 215 h 584"/>
                <a:gd name="T76" fmla="*/ 112 w 812"/>
                <a:gd name="T77" fmla="*/ 196 h 584"/>
                <a:gd name="T78" fmla="*/ 99 w 812"/>
                <a:gd name="T79" fmla="*/ 199 h 584"/>
                <a:gd name="T80" fmla="*/ 86 w 812"/>
                <a:gd name="T81" fmla="*/ 211 h 584"/>
                <a:gd name="T82" fmla="*/ 63 w 812"/>
                <a:gd name="T83" fmla="*/ 241 h 584"/>
                <a:gd name="T84" fmla="*/ 80 w 812"/>
                <a:gd name="T85" fmla="*/ 308 h 584"/>
                <a:gd name="T86" fmla="*/ 59 w 812"/>
                <a:gd name="T87" fmla="*/ 369 h 584"/>
                <a:gd name="T88" fmla="*/ 27 w 812"/>
                <a:gd name="T89" fmla="*/ 430 h 584"/>
                <a:gd name="T90" fmla="*/ 8 w 812"/>
                <a:gd name="T91" fmla="*/ 458 h 584"/>
                <a:gd name="T92" fmla="*/ 27 w 812"/>
                <a:gd name="T93" fmla="*/ 494 h 584"/>
                <a:gd name="T94" fmla="*/ 95 w 812"/>
                <a:gd name="T95" fmla="*/ 538 h 584"/>
                <a:gd name="T96" fmla="*/ 192 w 812"/>
                <a:gd name="T97" fmla="*/ 572 h 584"/>
                <a:gd name="T98" fmla="*/ 253 w 812"/>
                <a:gd name="T99" fmla="*/ 544 h 584"/>
                <a:gd name="T100" fmla="*/ 320 w 812"/>
                <a:gd name="T101" fmla="*/ 515 h 584"/>
                <a:gd name="T102" fmla="*/ 324 w 812"/>
                <a:gd name="T103" fmla="*/ 549 h 584"/>
                <a:gd name="T104" fmla="*/ 400 w 812"/>
                <a:gd name="T105" fmla="*/ 528 h 584"/>
                <a:gd name="T106" fmla="*/ 452 w 812"/>
                <a:gd name="T107" fmla="*/ 534 h 584"/>
                <a:gd name="T108" fmla="*/ 518 w 812"/>
                <a:gd name="T109" fmla="*/ 532 h 584"/>
                <a:gd name="T110" fmla="*/ 581 w 812"/>
                <a:gd name="T111" fmla="*/ 534 h 584"/>
                <a:gd name="T112" fmla="*/ 619 w 812"/>
                <a:gd name="T113" fmla="*/ 517 h 584"/>
                <a:gd name="T114" fmla="*/ 661 w 812"/>
                <a:gd name="T115" fmla="*/ 443 h 584"/>
                <a:gd name="T116" fmla="*/ 715 w 812"/>
                <a:gd name="T117" fmla="*/ 411 h 584"/>
                <a:gd name="T118" fmla="*/ 722 w 812"/>
                <a:gd name="T119" fmla="*/ 340 h 584"/>
                <a:gd name="T120" fmla="*/ 715 w 812"/>
                <a:gd name="T121" fmla="*/ 312 h 584"/>
                <a:gd name="T122" fmla="*/ 802 w 812"/>
                <a:gd name="T123" fmla="*/ 283 h 584"/>
                <a:gd name="T124" fmla="*/ 812 w 812"/>
                <a:gd name="T125" fmla="*/ 23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2" h="584">
                  <a:moveTo>
                    <a:pt x="810" y="230"/>
                  </a:moveTo>
                  <a:lnTo>
                    <a:pt x="810" y="230"/>
                  </a:lnTo>
                  <a:lnTo>
                    <a:pt x="808" y="228"/>
                  </a:lnTo>
                  <a:lnTo>
                    <a:pt x="808" y="228"/>
                  </a:lnTo>
                  <a:lnTo>
                    <a:pt x="808" y="224"/>
                  </a:lnTo>
                  <a:lnTo>
                    <a:pt x="808" y="224"/>
                  </a:lnTo>
                  <a:lnTo>
                    <a:pt x="806" y="224"/>
                  </a:lnTo>
                  <a:lnTo>
                    <a:pt x="806" y="222"/>
                  </a:lnTo>
                  <a:lnTo>
                    <a:pt x="802" y="222"/>
                  </a:lnTo>
                  <a:lnTo>
                    <a:pt x="802" y="222"/>
                  </a:lnTo>
                  <a:lnTo>
                    <a:pt x="802" y="222"/>
                  </a:lnTo>
                  <a:lnTo>
                    <a:pt x="802" y="222"/>
                  </a:lnTo>
                  <a:lnTo>
                    <a:pt x="802" y="218"/>
                  </a:lnTo>
                  <a:lnTo>
                    <a:pt x="802" y="218"/>
                  </a:lnTo>
                  <a:lnTo>
                    <a:pt x="800" y="218"/>
                  </a:lnTo>
                  <a:lnTo>
                    <a:pt x="800" y="218"/>
                  </a:lnTo>
                  <a:lnTo>
                    <a:pt x="800" y="218"/>
                  </a:lnTo>
                  <a:lnTo>
                    <a:pt x="793" y="220"/>
                  </a:lnTo>
                  <a:lnTo>
                    <a:pt x="793" y="220"/>
                  </a:lnTo>
                  <a:lnTo>
                    <a:pt x="791" y="222"/>
                  </a:lnTo>
                  <a:lnTo>
                    <a:pt x="787" y="220"/>
                  </a:lnTo>
                  <a:lnTo>
                    <a:pt x="777" y="218"/>
                  </a:lnTo>
                  <a:lnTo>
                    <a:pt x="776" y="218"/>
                  </a:lnTo>
                  <a:lnTo>
                    <a:pt x="776" y="218"/>
                  </a:lnTo>
                  <a:lnTo>
                    <a:pt x="776" y="218"/>
                  </a:lnTo>
                  <a:lnTo>
                    <a:pt x="774" y="220"/>
                  </a:lnTo>
                  <a:lnTo>
                    <a:pt x="774" y="220"/>
                  </a:lnTo>
                  <a:lnTo>
                    <a:pt x="776" y="222"/>
                  </a:lnTo>
                  <a:lnTo>
                    <a:pt x="776" y="224"/>
                  </a:lnTo>
                  <a:lnTo>
                    <a:pt x="776" y="224"/>
                  </a:lnTo>
                  <a:lnTo>
                    <a:pt x="774" y="226"/>
                  </a:lnTo>
                  <a:lnTo>
                    <a:pt x="774" y="226"/>
                  </a:lnTo>
                  <a:lnTo>
                    <a:pt x="772" y="226"/>
                  </a:lnTo>
                  <a:lnTo>
                    <a:pt x="768" y="226"/>
                  </a:lnTo>
                  <a:lnTo>
                    <a:pt x="764" y="226"/>
                  </a:lnTo>
                  <a:lnTo>
                    <a:pt x="764" y="226"/>
                  </a:lnTo>
                  <a:lnTo>
                    <a:pt x="764" y="226"/>
                  </a:lnTo>
                  <a:lnTo>
                    <a:pt x="766" y="222"/>
                  </a:lnTo>
                  <a:lnTo>
                    <a:pt x="766" y="220"/>
                  </a:lnTo>
                  <a:lnTo>
                    <a:pt x="764" y="220"/>
                  </a:lnTo>
                  <a:lnTo>
                    <a:pt x="764" y="220"/>
                  </a:lnTo>
                  <a:lnTo>
                    <a:pt x="764" y="218"/>
                  </a:lnTo>
                  <a:lnTo>
                    <a:pt x="762" y="218"/>
                  </a:lnTo>
                  <a:lnTo>
                    <a:pt x="762" y="218"/>
                  </a:lnTo>
                  <a:lnTo>
                    <a:pt x="762" y="220"/>
                  </a:lnTo>
                  <a:lnTo>
                    <a:pt x="762" y="220"/>
                  </a:lnTo>
                  <a:lnTo>
                    <a:pt x="760" y="220"/>
                  </a:lnTo>
                  <a:lnTo>
                    <a:pt x="760" y="218"/>
                  </a:lnTo>
                  <a:lnTo>
                    <a:pt x="760" y="218"/>
                  </a:lnTo>
                  <a:lnTo>
                    <a:pt x="760" y="218"/>
                  </a:lnTo>
                  <a:lnTo>
                    <a:pt x="760" y="213"/>
                  </a:lnTo>
                  <a:lnTo>
                    <a:pt x="760" y="211"/>
                  </a:lnTo>
                  <a:lnTo>
                    <a:pt x="760" y="211"/>
                  </a:lnTo>
                  <a:lnTo>
                    <a:pt x="758" y="211"/>
                  </a:lnTo>
                  <a:lnTo>
                    <a:pt x="758" y="211"/>
                  </a:lnTo>
                  <a:lnTo>
                    <a:pt x="758" y="211"/>
                  </a:lnTo>
                  <a:lnTo>
                    <a:pt x="758" y="213"/>
                  </a:lnTo>
                  <a:lnTo>
                    <a:pt x="758" y="213"/>
                  </a:lnTo>
                  <a:lnTo>
                    <a:pt x="756" y="215"/>
                  </a:lnTo>
                  <a:lnTo>
                    <a:pt x="756" y="215"/>
                  </a:lnTo>
                  <a:lnTo>
                    <a:pt x="756" y="215"/>
                  </a:lnTo>
                  <a:lnTo>
                    <a:pt x="755" y="213"/>
                  </a:lnTo>
                  <a:lnTo>
                    <a:pt x="755" y="213"/>
                  </a:lnTo>
                  <a:lnTo>
                    <a:pt x="755" y="213"/>
                  </a:lnTo>
                  <a:lnTo>
                    <a:pt x="755" y="211"/>
                  </a:lnTo>
                  <a:lnTo>
                    <a:pt x="755" y="211"/>
                  </a:lnTo>
                  <a:lnTo>
                    <a:pt x="755" y="209"/>
                  </a:lnTo>
                  <a:lnTo>
                    <a:pt x="755" y="207"/>
                  </a:lnTo>
                  <a:lnTo>
                    <a:pt x="755" y="207"/>
                  </a:lnTo>
                  <a:lnTo>
                    <a:pt x="755" y="205"/>
                  </a:lnTo>
                  <a:lnTo>
                    <a:pt x="755" y="205"/>
                  </a:lnTo>
                  <a:lnTo>
                    <a:pt x="755" y="205"/>
                  </a:lnTo>
                  <a:lnTo>
                    <a:pt x="753" y="205"/>
                  </a:lnTo>
                  <a:lnTo>
                    <a:pt x="749" y="209"/>
                  </a:lnTo>
                  <a:lnTo>
                    <a:pt x="749" y="209"/>
                  </a:lnTo>
                  <a:lnTo>
                    <a:pt x="749" y="209"/>
                  </a:lnTo>
                  <a:lnTo>
                    <a:pt x="747" y="209"/>
                  </a:lnTo>
                  <a:lnTo>
                    <a:pt x="747" y="209"/>
                  </a:lnTo>
                  <a:lnTo>
                    <a:pt x="747" y="209"/>
                  </a:lnTo>
                  <a:lnTo>
                    <a:pt x="745" y="209"/>
                  </a:lnTo>
                  <a:lnTo>
                    <a:pt x="741" y="205"/>
                  </a:lnTo>
                  <a:lnTo>
                    <a:pt x="739" y="203"/>
                  </a:lnTo>
                  <a:lnTo>
                    <a:pt x="737" y="203"/>
                  </a:lnTo>
                  <a:lnTo>
                    <a:pt x="736" y="203"/>
                  </a:lnTo>
                  <a:lnTo>
                    <a:pt x="734" y="203"/>
                  </a:lnTo>
                  <a:lnTo>
                    <a:pt x="732" y="203"/>
                  </a:lnTo>
                  <a:lnTo>
                    <a:pt x="732" y="203"/>
                  </a:lnTo>
                  <a:lnTo>
                    <a:pt x="724" y="198"/>
                  </a:lnTo>
                  <a:lnTo>
                    <a:pt x="724" y="198"/>
                  </a:lnTo>
                  <a:lnTo>
                    <a:pt x="724" y="196"/>
                  </a:lnTo>
                  <a:lnTo>
                    <a:pt x="724" y="196"/>
                  </a:lnTo>
                  <a:lnTo>
                    <a:pt x="724" y="196"/>
                  </a:lnTo>
                  <a:lnTo>
                    <a:pt x="724" y="194"/>
                  </a:lnTo>
                  <a:lnTo>
                    <a:pt x="724" y="194"/>
                  </a:lnTo>
                  <a:lnTo>
                    <a:pt x="724" y="192"/>
                  </a:lnTo>
                  <a:lnTo>
                    <a:pt x="724" y="192"/>
                  </a:lnTo>
                  <a:lnTo>
                    <a:pt x="722" y="190"/>
                  </a:lnTo>
                  <a:lnTo>
                    <a:pt x="722" y="190"/>
                  </a:lnTo>
                  <a:lnTo>
                    <a:pt x="722" y="190"/>
                  </a:lnTo>
                  <a:lnTo>
                    <a:pt x="722" y="188"/>
                  </a:lnTo>
                  <a:lnTo>
                    <a:pt x="720" y="186"/>
                  </a:lnTo>
                  <a:lnTo>
                    <a:pt x="720" y="186"/>
                  </a:lnTo>
                  <a:lnTo>
                    <a:pt x="718" y="186"/>
                  </a:lnTo>
                  <a:lnTo>
                    <a:pt x="718" y="186"/>
                  </a:lnTo>
                  <a:lnTo>
                    <a:pt x="716" y="186"/>
                  </a:lnTo>
                  <a:lnTo>
                    <a:pt x="716" y="186"/>
                  </a:lnTo>
                  <a:lnTo>
                    <a:pt x="715" y="188"/>
                  </a:lnTo>
                  <a:lnTo>
                    <a:pt x="715" y="188"/>
                  </a:lnTo>
                  <a:lnTo>
                    <a:pt x="713" y="188"/>
                  </a:lnTo>
                  <a:lnTo>
                    <a:pt x="711" y="188"/>
                  </a:lnTo>
                  <a:lnTo>
                    <a:pt x="711" y="186"/>
                  </a:lnTo>
                  <a:lnTo>
                    <a:pt x="709" y="186"/>
                  </a:lnTo>
                  <a:lnTo>
                    <a:pt x="709" y="184"/>
                  </a:lnTo>
                  <a:lnTo>
                    <a:pt x="709" y="184"/>
                  </a:lnTo>
                  <a:lnTo>
                    <a:pt x="709" y="182"/>
                  </a:lnTo>
                  <a:lnTo>
                    <a:pt x="705" y="182"/>
                  </a:lnTo>
                  <a:lnTo>
                    <a:pt x="701" y="182"/>
                  </a:lnTo>
                  <a:lnTo>
                    <a:pt x="699" y="182"/>
                  </a:lnTo>
                  <a:lnTo>
                    <a:pt x="697" y="182"/>
                  </a:lnTo>
                  <a:lnTo>
                    <a:pt x="697" y="180"/>
                  </a:lnTo>
                  <a:lnTo>
                    <a:pt x="696" y="180"/>
                  </a:lnTo>
                  <a:lnTo>
                    <a:pt x="696" y="180"/>
                  </a:lnTo>
                  <a:lnTo>
                    <a:pt x="696" y="178"/>
                  </a:lnTo>
                  <a:lnTo>
                    <a:pt x="697" y="178"/>
                  </a:lnTo>
                  <a:lnTo>
                    <a:pt x="697" y="178"/>
                  </a:lnTo>
                  <a:lnTo>
                    <a:pt x="697" y="178"/>
                  </a:lnTo>
                  <a:lnTo>
                    <a:pt x="696" y="177"/>
                  </a:lnTo>
                  <a:lnTo>
                    <a:pt x="696" y="177"/>
                  </a:lnTo>
                  <a:lnTo>
                    <a:pt x="696" y="175"/>
                  </a:lnTo>
                  <a:lnTo>
                    <a:pt x="696" y="173"/>
                  </a:lnTo>
                  <a:lnTo>
                    <a:pt x="694" y="169"/>
                  </a:lnTo>
                  <a:lnTo>
                    <a:pt x="684" y="173"/>
                  </a:lnTo>
                  <a:lnTo>
                    <a:pt x="682" y="173"/>
                  </a:lnTo>
                  <a:lnTo>
                    <a:pt x="682" y="173"/>
                  </a:lnTo>
                  <a:lnTo>
                    <a:pt x="684" y="173"/>
                  </a:lnTo>
                  <a:lnTo>
                    <a:pt x="686" y="175"/>
                  </a:lnTo>
                  <a:lnTo>
                    <a:pt x="686" y="177"/>
                  </a:lnTo>
                  <a:lnTo>
                    <a:pt x="686" y="177"/>
                  </a:lnTo>
                  <a:lnTo>
                    <a:pt x="686" y="178"/>
                  </a:lnTo>
                  <a:lnTo>
                    <a:pt x="686" y="178"/>
                  </a:lnTo>
                  <a:lnTo>
                    <a:pt x="684" y="178"/>
                  </a:lnTo>
                  <a:lnTo>
                    <a:pt x="682" y="178"/>
                  </a:lnTo>
                  <a:lnTo>
                    <a:pt x="678" y="178"/>
                  </a:lnTo>
                  <a:lnTo>
                    <a:pt x="678" y="178"/>
                  </a:lnTo>
                  <a:lnTo>
                    <a:pt x="676" y="178"/>
                  </a:lnTo>
                  <a:lnTo>
                    <a:pt x="676" y="178"/>
                  </a:lnTo>
                  <a:lnTo>
                    <a:pt x="676" y="177"/>
                  </a:lnTo>
                  <a:lnTo>
                    <a:pt x="676" y="177"/>
                  </a:lnTo>
                  <a:lnTo>
                    <a:pt x="676" y="175"/>
                  </a:lnTo>
                  <a:lnTo>
                    <a:pt x="678" y="175"/>
                  </a:lnTo>
                  <a:lnTo>
                    <a:pt x="676" y="175"/>
                  </a:lnTo>
                  <a:lnTo>
                    <a:pt x="676" y="175"/>
                  </a:lnTo>
                  <a:lnTo>
                    <a:pt x="676" y="173"/>
                  </a:lnTo>
                  <a:lnTo>
                    <a:pt x="675" y="173"/>
                  </a:lnTo>
                  <a:lnTo>
                    <a:pt x="673" y="173"/>
                  </a:lnTo>
                  <a:lnTo>
                    <a:pt x="673" y="173"/>
                  </a:lnTo>
                  <a:lnTo>
                    <a:pt x="671" y="173"/>
                  </a:lnTo>
                  <a:lnTo>
                    <a:pt x="669" y="173"/>
                  </a:lnTo>
                  <a:lnTo>
                    <a:pt x="669" y="173"/>
                  </a:lnTo>
                  <a:lnTo>
                    <a:pt x="667" y="173"/>
                  </a:lnTo>
                  <a:lnTo>
                    <a:pt x="665" y="173"/>
                  </a:lnTo>
                  <a:lnTo>
                    <a:pt x="665" y="173"/>
                  </a:lnTo>
                  <a:lnTo>
                    <a:pt x="665" y="173"/>
                  </a:lnTo>
                  <a:lnTo>
                    <a:pt x="665" y="177"/>
                  </a:lnTo>
                  <a:lnTo>
                    <a:pt x="665" y="178"/>
                  </a:lnTo>
                  <a:lnTo>
                    <a:pt x="665" y="178"/>
                  </a:lnTo>
                  <a:lnTo>
                    <a:pt x="665" y="180"/>
                  </a:lnTo>
                  <a:lnTo>
                    <a:pt x="665" y="180"/>
                  </a:lnTo>
                  <a:lnTo>
                    <a:pt x="663" y="182"/>
                  </a:lnTo>
                  <a:lnTo>
                    <a:pt x="663" y="184"/>
                  </a:lnTo>
                  <a:lnTo>
                    <a:pt x="659" y="188"/>
                  </a:lnTo>
                  <a:lnTo>
                    <a:pt x="659" y="188"/>
                  </a:lnTo>
                  <a:lnTo>
                    <a:pt x="659" y="188"/>
                  </a:lnTo>
                  <a:lnTo>
                    <a:pt x="659" y="190"/>
                  </a:lnTo>
                  <a:lnTo>
                    <a:pt x="659" y="190"/>
                  </a:lnTo>
                  <a:lnTo>
                    <a:pt x="659" y="190"/>
                  </a:lnTo>
                  <a:lnTo>
                    <a:pt x="659" y="190"/>
                  </a:lnTo>
                  <a:lnTo>
                    <a:pt x="659" y="192"/>
                  </a:lnTo>
                  <a:lnTo>
                    <a:pt x="659" y="192"/>
                  </a:lnTo>
                  <a:lnTo>
                    <a:pt x="659" y="192"/>
                  </a:lnTo>
                  <a:lnTo>
                    <a:pt x="659" y="194"/>
                  </a:lnTo>
                  <a:lnTo>
                    <a:pt x="659" y="194"/>
                  </a:lnTo>
                  <a:lnTo>
                    <a:pt x="659" y="194"/>
                  </a:lnTo>
                  <a:lnTo>
                    <a:pt x="659" y="194"/>
                  </a:lnTo>
                  <a:lnTo>
                    <a:pt x="657" y="194"/>
                  </a:lnTo>
                  <a:lnTo>
                    <a:pt x="656" y="196"/>
                  </a:lnTo>
                  <a:lnTo>
                    <a:pt x="656" y="196"/>
                  </a:lnTo>
                  <a:lnTo>
                    <a:pt x="656" y="196"/>
                  </a:lnTo>
                  <a:lnTo>
                    <a:pt x="652" y="199"/>
                  </a:lnTo>
                  <a:lnTo>
                    <a:pt x="650" y="198"/>
                  </a:lnTo>
                  <a:lnTo>
                    <a:pt x="646" y="194"/>
                  </a:lnTo>
                  <a:lnTo>
                    <a:pt x="644" y="194"/>
                  </a:lnTo>
                  <a:lnTo>
                    <a:pt x="644" y="194"/>
                  </a:lnTo>
                  <a:lnTo>
                    <a:pt x="642" y="194"/>
                  </a:lnTo>
                  <a:lnTo>
                    <a:pt x="640" y="194"/>
                  </a:lnTo>
                  <a:lnTo>
                    <a:pt x="640" y="194"/>
                  </a:lnTo>
                  <a:lnTo>
                    <a:pt x="638" y="194"/>
                  </a:lnTo>
                  <a:lnTo>
                    <a:pt x="636" y="194"/>
                  </a:lnTo>
                  <a:lnTo>
                    <a:pt x="636" y="194"/>
                  </a:lnTo>
                  <a:lnTo>
                    <a:pt x="635" y="192"/>
                  </a:lnTo>
                  <a:lnTo>
                    <a:pt x="635" y="192"/>
                  </a:lnTo>
                  <a:lnTo>
                    <a:pt x="635" y="192"/>
                  </a:lnTo>
                  <a:lnTo>
                    <a:pt x="633" y="192"/>
                  </a:lnTo>
                  <a:lnTo>
                    <a:pt x="629" y="192"/>
                  </a:lnTo>
                  <a:lnTo>
                    <a:pt x="627" y="192"/>
                  </a:lnTo>
                  <a:lnTo>
                    <a:pt x="625" y="194"/>
                  </a:lnTo>
                  <a:lnTo>
                    <a:pt x="623" y="192"/>
                  </a:lnTo>
                  <a:lnTo>
                    <a:pt x="621" y="192"/>
                  </a:lnTo>
                  <a:lnTo>
                    <a:pt x="621" y="192"/>
                  </a:lnTo>
                  <a:lnTo>
                    <a:pt x="621" y="190"/>
                  </a:lnTo>
                  <a:lnTo>
                    <a:pt x="621" y="190"/>
                  </a:lnTo>
                  <a:lnTo>
                    <a:pt x="621" y="190"/>
                  </a:lnTo>
                  <a:lnTo>
                    <a:pt x="623" y="188"/>
                  </a:lnTo>
                  <a:lnTo>
                    <a:pt x="623" y="188"/>
                  </a:lnTo>
                  <a:lnTo>
                    <a:pt x="623" y="188"/>
                  </a:lnTo>
                  <a:lnTo>
                    <a:pt x="623" y="186"/>
                  </a:lnTo>
                  <a:lnTo>
                    <a:pt x="623" y="186"/>
                  </a:lnTo>
                  <a:lnTo>
                    <a:pt x="623" y="184"/>
                  </a:lnTo>
                  <a:lnTo>
                    <a:pt x="625" y="184"/>
                  </a:lnTo>
                  <a:lnTo>
                    <a:pt x="625" y="184"/>
                  </a:lnTo>
                  <a:lnTo>
                    <a:pt x="625" y="182"/>
                  </a:lnTo>
                  <a:lnTo>
                    <a:pt x="625" y="182"/>
                  </a:lnTo>
                  <a:lnTo>
                    <a:pt x="627" y="180"/>
                  </a:lnTo>
                  <a:lnTo>
                    <a:pt x="627" y="180"/>
                  </a:lnTo>
                  <a:lnTo>
                    <a:pt x="627" y="178"/>
                  </a:lnTo>
                  <a:lnTo>
                    <a:pt x="627" y="177"/>
                  </a:lnTo>
                  <a:lnTo>
                    <a:pt x="631" y="171"/>
                  </a:lnTo>
                  <a:lnTo>
                    <a:pt x="631" y="169"/>
                  </a:lnTo>
                  <a:lnTo>
                    <a:pt x="631" y="169"/>
                  </a:lnTo>
                  <a:lnTo>
                    <a:pt x="629" y="167"/>
                  </a:lnTo>
                  <a:lnTo>
                    <a:pt x="629" y="167"/>
                  </a:lnTo>
                  <a:lnTo>
                    <a:pt x="629" y="167"/>
                  </a:lnTo>
                  <a:lnTo>
                    <a:pt x="627" y="167"/>
                  </a:lnTo>
                  <a:lnTo>
                    <a:pt x="627" y="167"/>
                  </a:lnTo>
                  <a:lnTo>
                    <a:pt x="625" y="167"/>
                  </a:lnTo>
                  <a:lnTo>
                    <a:pt x="625" y="169"/>
                  </a:lnTo>
                  <a:lnTo>
                    <a:pt x="625" y="169"/>
                  </a:lnTo>
                  <a:lnTo>
                    <a:pt x="625" y="169"/>
                  </a:lnTo>
                  <a:lnTo>
                    <a:pt x="625" y="169"/>
                  </a:lnTo>
                  <a:lnTo>
                    <a:pt x="625" y="169"/>
                  </a:lnTo>
                  <a:lnTo>
                    <a:pt x="623" y="173"/>
                  </a:lnTo>
                  <a:lnTo>
                    <a:pt x="623" y="173"/>
                  </a:lnTo>
                  <a:lnTo>
                    <a:pt x="623" y="173"/>
                  </a:lnTo>
                  <a:lnTo>
                    <a:pt x="621" y="173"/>
                  </a:lnTo>
                  <a:lnTo>
                    <a:pt x="621" y="173"/>
                  </a:lnTo>
                  <a:lnTo>
                    <a:pt x="614" y="175"/>
                  </a:lnTo>
                  <a:lnTo>
                    <a:pt x="614" y="175"/>
                  </a:lnTo>
                  <a:lnTo>
                    <a:pt x="614" y="175"/>
                  </a:lnTo>
                  <a:lnTo>
                    <a:pt x="612" y="175"/>
                  </a:lnTo>
                  <a:lnTo>
                    <a:pt x="612" y="175"/>
                  </a:lnTo>
                  <a:lnTo>
                    <a:pt x="612" y="175"/>
                  </a:lnTo>
                  <a:lnTo>
                    <a:pt x="614" y="175"/>
                  </a:lnTo>
                  <a:lnTo>
                    <a:pt x="617" y="178"/>
                  </a:lnTo>
                  <a:lnTo>
                    <a:pt x="617" y="178"/>
                  </a:lnTo>
                  <a:lnTo>
                    <a:pt x="617" y="180"/>
                  </a:lnTo>
                  <a:lnTo>
                    <a:pt x="617" y="180"/>
                  </a:lnTo>
                  <a:lnTo>
                    <a:pt x="617" y="180"/>
                  </a:lnTo>
                  <a:lnTo>
                    <a:pt x="615" y="182"/>
                  </a:lnTo>
                  <a:lnTo>
                    <a:pt x="614" y="182"/>
                  </a:lnTo>
                  <a:lnTo>
                    <a:pt x="614" y="182"/>
                  </a:lnTo>
                  <a:lnTo>
                    <a:pt x="612" y="182"/>
                  </a:lnTo>
                  <a:lnTo>
                    <a:pt x="610" y="182"/>
                  </a:lnTo>
                  <a:lnTo>
                    <a:pt x="610" y="182"/>
                  </a:lnTo>
                  <a:lnTo>
                    <a:pt x="610" y="182"/>
                  </a:lnTo>
                  <a:lnTo>
                    <a:pt x="606" y="178"/>
                  </a:lnTo>
                  <a:lnTo>
                    <a:pt x="606" y="178"/>
                  </a:lnTo>
                  <a:lnTo>
                    <a:pt x="606" y="177"/>
                  </a:lnTo>
                  <a:lnTo>
                    <a:pt x="604" y="175"/>
                  </a:lnTo>
                  <a:lnTo>
                    <a:pt x="604" y="175"/>
                  </a:lnTo>
                  <a:lnTo>
                    <a:pt x="604" y="175"/>
                  </a:lnTo>
                  <a:lnTo>
                    <a:pt x="602" y="175"/>
                  </a:lnTo>
                  <a:lnTo>
                    <a:pt x="602" y="175"/>
                  </a:lnTo>
                  <a:lnTo>
                    <a:pt x="602" y="175"/>
                  </a:lnTo>
                  <a:lnTo>
                    <a:pt x="602" y="175"/>
                  </a:lnTo>
                  <a:lnTo>
                    <a:pt x="602" y="177"/>
                  </a:lnTo>
                  <a:lnTo>
                    <a:pt x="602" y="177"/>
                  </a:lnTo>
                  <a:lnTo>
                    <a:pt x="602" y="178"/>
                  </a:lnTo>
                  <a:lnTo>
                    <a:pt x="602" y="178"/>
                  </a:lnTo>
                  <a:lnTo>
                    <a:pt x="602" y="178"/>
                  </a:lnTo>
                  <a:lnTo>
                    <a:pt x="600" y="178"/>
                  </a:lnTo>
                  <a:lnTo>
                    <a:pt x="600" y="178"/>
                  </a:lnTo>
                  <a:lnTo>
                    <a:pt x="598" y="178"/>
                  </a:lnTo>
                  <a:lnTo>
                    <a:pt x="596" y="178"/>
                  </a:lnTo>
                  <a:lnTo>
                    <a:pt x="595" y="178"/>
                  </a:lnTo>
                  <a:lnTo>
                    <a:pt x="593" y="178"/>
                  </a:lnTo>
                  <a:lnTo>
                    <a:pt x="593" y="178"/>
                  </a:lnTo>
                  <a:lnTo>
                    <a:pt x="593" y="178"/>
                  </a:lnTo>
                  <a:lnTo>
                    <a:pt x="593" y="178"/>
                  </a:lnTo>
                  <a:lnTo>
                    <a:pt x="593" y="180"/>
                  </a:lnTo>
                  <a:lnTo>
                    <a:pt x="593" y="180"/>
                  </a:lnTo>
                  <a:lnTo>
                    <a:pt x="595" y="182"/>
                  </a:lnTo>
                  <a:lnTo>
                    <a:pt x="595" y="182"/>
                  </a:lnTo>
                  <a:lnTo>
                    <a:pt x="595" y="182"/>
                  </a:lnTo>
                  <a:lnTo>
                    <a:pt x="598" y="184"/>
                  </a:lnTo>
                  <a:lnTo>
                    <a:pt x="598" y="184"/>
                  </a:lnTo>
                  <a:lnTo>
                    <a:pt x="598" y="184"/>
                  </a:lnTo>
                  <a:lnTo>
                    <a:pt x="598" y="186"/>
                  </a:lnTo>
                  <a:lnTo>
                    <a:pt x="595" y="188"/>
                  </a:lnTo>
                  <a:lnTo>
                    <a:pt x="595" y="188"/>
                  </a:lnTo>
                  <a:lnTo>
                    <a:pt x="593" y="188"/>
                  </a:lnTo>
                  <a:lnTo>
                    <a:pt x="593" y="188"/>
                  </a:lnTo>
                  <a:lnTo>
                    <a:pt x="593" y="188"/>
                  </a:lnTo>
                  <a:lnTo>
                    <a:pt x="591" y="184"/>
                  </a:lnTo>
                  <a:lnTo>
                    <a:pt x="589" y="184"/>
                  </a:lnTo>
                  <a:lnTo>
                    <a:pt x="589" y="182"/>
                  </a:lnTo>
                  <a:lnTo>
                    <a:pt x="589" y="184"/>
                  </a:lnTo>
                  <a:lnTo>
                    <a:pt x="589" y="184"/>
                  </a:lnTo>
                  <a:lnTo>
                    <a:pt x="589" y="184"/>
                  </a:lnTo>
                  <a:lnTo>
                    <a:pt x="589" y="186"/>
                  </a:lnTo>
                  <a:lnTo>
                    <a:pt x="589" y="188"/>
                  </a:lnTo>
                  <a:lnTo>
                    <a:pt x="589" y="188"/>
                  </a:lnTo>
                  <a:lnTo>
                    <a:pt x="587" y="188"/>
                  </a:lnTo>
                  <a:lnTo>
                    <a:pt x="587" y="188"/>
                  </a:lnTo>
                  <a:lnTo>
                    <a:pt x="587" y="188"/>
                  </a:lnTo>
                  <a:lnTo>
                    <a:pt x="585" y="188"/>
                  </a:lnTo>
                  <a:lnTo>
                    <a:pt x="585" y="188"/>
                  </a:lnTo>
                  <a:lnTo>
                    <a:pt x="583" y="188"/>
                  </a:lnTo>
                  <a:lnTo>
                    <a:pt x="581" y="188"/>
                  </a:lnTo>
                  <a:lnTo>
                    <a:pt x="579" y="188"/>
                  </a:lnTo>
                  <a:lnTo>
                    <a:pt x="577" y="188"/>
                  </a:lnTo>
                  <a:lnTo>
                    <a:pt x="577" y="188"/>
                  </a:lnTo>
                  <a:lnTo>
                    <a:pt x="577" y="186"/>
                  </a:lnTo>
                  <a:lnTo>
                    <a:pt x="575" y="186"/>
                  </a:lnTo>
                  <a:lnTo>
                    <a:pt x="575" y="182"/>
                  </a:lnTo>
                  <a:lnTo>
                    <a:pt x="575" y="182"/>
                  </a:lnTo>
                  <a:lnTo>
                    <a:pt x="575" y="180"/>
                  </a:lnTo>
                  <a:lnTo>
                    <a:pt x="575" y="180"/>
                  </a:lnTo>
                  <a:lnTo>
                    <a:pt x="575" y="180"/>
                  </a:lnTo>
                  <a:lnTo>
                    <a:pt x="575" y="180"/>
                  </a:lnTo>
                  <a:lnTo>
                    <a:pt x="577" y="180"/>
                  </a:lnTo>
                  <a:lnTo>
                    <a:pt x="577" y="180"/>
                  </a:lnTo>
                  <a:lnTo>
                    <a:pt x="579" y="180"/>
                  </a:lnTo>
                  <a:lnTo>
                    <a:pt x="579" y="180"/>
                  </a:lnTo>
                  <a:lnTo>
                    <a:pt x="581" y="178"/>
                  </a:lnTo>
                  <a:lnTo>
                    <a:pt x="583" y="177"/>
                  </a:lnTo>
                  <a:lnTo>
                    <a:pt x="583" y="177"/>
                  </a:lnTo>
                  <a:lnTo>
                    <a:pt x="583" y="175"/>
                  </a:lnTo>
                  <a:lnTo>
                    <a:pt x="583" y="175"/>
                  </a:lnTo>
                  <a:lnTo>
                    <a:pt x="585" y="175"/>
                  </a:lnTo>
                  <a:lnTo>
                    <a:pt x="585" y="175"/>
                  </a:lnTo>
                  <a:lnTo>
                    <a:pt x="585" y="175"/>
                  </a:lnTo>
                  <a:lnTo>
                    <a:pt x="587" y="173"/>
                  </a:lnTo>
                  <a:lnTo>
                    <a:pt x="589" y="173"/>
                  </a:lnTo>
                  <a:lnTo>
                    <a:pt x="589" y="173"/>
                  </a:lnTo>
                  <a:lnTo>
                    <a:pt x="589" y="171"/>
                  </a:lnTo>
                  <a:lnTo>
                    <a:pt x="591" y="171"/>
                  </a:lnTo>
                  <a:lnTo>
                    <a:pt x="591" y="171"/>
                  </a:lnTo>
                  <a:lnTo>
                    <a:pt x="589" y="171"/>
                  </a:lnTo>
                  <a:lnTo>
                    <a:pt x="589" y="169"/>
                  </a:lnTo>
                  <a:lnTo>
                    <a:pt x="589" y="169"/>
                  </a:lnTo>
                  <a:lnTo>
                    <a:pt x="589" y="167"/>
                  </a:lnTo>
                  <a:lnTo>
                    <a:pt x="589" y="165"/>
                  </a:lnTo>
                  <a:lnTo>
                    <a:pt x="589" y="165"/>
                  </a:lnTo>
                  <a:lnTo>
                    <a:pt x="587" y="165"/>
                  </a:lnTo>
                  <a:lnTo>
                    <a:pt x="587" y="165"/>
                  </a:lnTo>
                  <a:lnTo>
                    <a:pt x="587" y="165"/>
                  </a:lnTo>
                  <a:lnTo>
                    <a:pt x="587" y="165"/>
                  </a:lnTo>
                  <a:lnTo>
                    <a:pt x="585" y="165"/>
                  </a:lnTo>
                  <a:lnTo>
                    <a:pt x="585" y="165"/>
                  </a:lnTo>
                  <a:lnTo>
                    <a:pt x="585" y="165"/>
                  </a:lnTo>
                  <a:lnTo>
                    <a:pt x="585" y="163"/>
                  </a:lnTo>
                  <a:lnTo>
                    <a:pt x="585" y="163"/>
                  </a:lnTo>
                  <a:lnTo>
                    <a:pt x="583" y="161"/>
                  </a:lnTo>
                  <a:lnTo>
                    <a:pt x="583" y="161"/>
                  </a:lnTo>
                  <a:lnTo>
                    <a:pt x="581" y="161"/>
                  </a:lnTo>
                  <a:lnTo>
                    <a:pt x="581" y="159"/>
                  </a:lnTo>
                  <a:lnTo>
                    <a:pt x="581" y="159"/>
                  </a:lnTo>
                  <a:lnTo>
                    <a:pt x="579" y="156"/>
                  </a:lnTo>
                  <a:lnTo>
                    <a:pt x="579" y="152"/>
                  </a:lnTo>
                  <a:lnTo>
                    <a:pt x="579" y="152"/>
                  </a:lnTo>
                  <a:lnTo>
                    <a:pt x="579" y="150"/>
                  </a:lnTo>
                  <a:lnTo>
                    <a:pt x="577" y="148"/>
                  </a:lnTo>
                  <a:lnTo>
                    <a:pt x="577" y="148"/>
                  </a:lnTo>
                  <a:lnTo>
                    <a:pt x="575" y="148"/>
                  </a:lnTo>
                  <a:lnTo>
                    <a:pt x="575" y="148"/>
                  </a:lnTo>
                  <a:lnTo>
                    <a:pt x="574" y="148"/>
                  </a:lnTo>
                  <a:lnTo>
                    <a:pt x="572" y="148"/>
                  </a:lnTo>
                  <a:lnTo>
                    <a:pt x="572" y="148"/>
                  </a:lnTo>
                  <a:lnTo>
                    <a:pt x="572" y="148"/>
                  </a:lnTo>
                  <a:lnTo>
                    <a:pt x="570" y="148"/>
                  </a:lnTo>
                  <a:lnTo>
                    <a:pt x="570" y="148"/>
                  </a:lnTo>
                  <a:lnTo>
                    <a:pt x="568" y="148"/>
                  </a:lnTo>
                  <a:lnTo>
                    <a:pt x="568" y="148"/>
                  </a:lnTo>
                  <a:lnTo>
                    <a:pt x="568" y="150"/>
                  </a:lnTo>
                  <a:lnTo>
                    <a:pt x="568" y="150"/>
                  </a:lnTo>
                  <a:lnTo>
                    <a:pt x="566" y="150"/>
                  </a:lnTo>
                  <a:lnTo>
                    <a:pt x="562" y="154"/>
                  </a:lnTo>
                  <a:lnTo>
                    <a:pt x="562" y="154"/>
                  </a:lnTo>
                  <a:lnTo>
                    <a:pt x="562" y="154"/>
                  </a:lnTo>
                  <a:lnTo>
                    <a:pt x="560" y="154"/>
                  </a:lnTo>
                  <a:lnTo>
                    <a:pt x="558" y="152"/>
                  </a:lnTo>
                  <a:lnTo>
                    <a:pt x="553" y="156"/>
                  </a:lnTo>
                  <a:lnTo>
                    <a:pt x="551" y="158"/>
                  </a:lnTo>
                  <a:lnTo>
                    <a:pt x="549" y="159"/>
                  </a:lnTo>
                  <a:lnTo>
                    <a:pt x="545" y="161"/>
                  </a:lnTo>
                  <a:lnTo>
                    <a:pt x="543" y="163"/>
                  </a:lnTo>
                  <a:lnTo>
                    <a:pt x="541" y="163"/>
                  </a:lnTo>
                  <a:lnTo>
                    <a:pt x="539" y="163"/>
                  </a:lnTo>
                  <a:lnTo>
                    <a:pt x="537" y="165"/>
                  </a:lnTo>
                  <a:lnTo>
                    <a:pt x="535" y="165"/>
                  </a:lnTo>
                  <a:lnTo>
                    <a:pt x="535" y="165"/>
                  </a:lnTo>
                  <a:lnTo>
                    <a:pt x="535" y="167"/>
                  </a:lnTo>
                  <a:lnTo>
                    <a:pt x="535" y="167"/>
                  </a:lnTo>
                  <a:lnTo>
                    <a:pt x="535" y="167"/>
                  </a:lnTo>
                  <a:lnTo>
                    <a:pt x="535" y="169"/>
                  </a:lnTo>
                  <a:lnTo>
                    <a:pt x="535" y="169"/>
                  </a:lnTo>
                  <a:lnTo>
                    <a:pt x="537" y="169"/>
                  </a:lnTo>
                  <a:lnTo>
                    <a:pt x="537" y="171"/>
                  </a:lnTo>
                  <a:lnTo>
                    <a:pt x="539" y="173"/>
                  </a:lnTo>
                  <a:lnTo>
                    <a:pt x="539" y="173"/>
                  </a:lnTo>
                  <a:lnTo>
                    <a:pt x="539" y="175"/>
                  </a:lnTo>
                  <a:lnTo>
                    <a:pt x="537" y="175"/>
                  </a:lnTo>
                  <a:lnTo>
                    <a:pt x="537" y="175"/>
                  </a:lnTo>
                  <a:lnTo>
                    <a:pt x="535" y="175"/>
                  </a:lnTo>
                  <a:lnTo>
                    <a:pt x="534" y="177"/>
                  </a:lnTo>
                  <a:lnTo>
                    <a:pt x="532" y="177"/>
                  </a:lnTo>
                  <a:lnTo>
                    <a:pt x="532" y="177"/>
                  </a:lnTo>
                  <a:lnTo>
                    <a:pt x="530" y="175"/>
                  </a:lnTo>
                  <a:lnTo>
                    <a:pt x="530" y="175"/>
                  </a:lnTo>
                  <a:lnTo>
                    <a:pt x="530" y="175"/>
                  </a:lnTo>
                  <a:lnTo>
                    <a:pt x="530" y="173"/>
                  </a:lnTo>
                  <a:lnTo>
                    <a:pt x="526" y="175"/>
                  </a:lnTo>
                  <a:lnTo>
                    <a:pt x="520" y="175"/>
                  </a:lnTo>
                  <a:lnTo>
                    <a:pt x="518" y="175"/>
                  </a:lnTo>
                  <a:lnTo>
                    <a:pt x="516" y="173"/>
                  </a:lnTo>
                  <a:lnTo>
                    <a:pt x="513" y="173"/>
                  </a:lnTo>
                  <a:lnTo>
                    <a:pt x="511" y="171"/>
                  </a:lnTo>
                  <a:lnTo>
                    <a:pt x="511" y="171"/>
                  </a:lnTo>
                  <a:lnTo>
                    <a:pt x="509" y="171"/>
                  </a:lnTo>
                  <a:lnTo>
                    <a:pt x="509" y="171"/>
                  </a:lnTo>
                  <a:lnTo>
                    <a:pt x="507" y="173"/>
                  </a:lnTo>
                  <a:lnTo>
                    <a:pt x="507" y="173"/>
                  </a:lnTo>
                  <a:lnTo>
                    <a:pt x="505" y="177"/>
                  </a:lnTo>
                  <a:lnTo>
                    <a:pt x="505" y="177"/>
                  </a:lnTo>
                  <a:lnTo>
                    <a:pt x="505" y="178"/>
                  </a:lnTo>
                  <a:lnTo>
                    <a:pt x="503" y="178"/>
                  </a:lnTo>
                  <a:lnTo>
                    <a:pt x="501" y="178"/>
                  </a:lnTo>
                  <a:lnTo>
                    <a:pt x="501" y="178"/>
                  </a:lnTo>
                  <a:lnTo>
                    <a:pt x="501" y="178"/>
                  </a:lnTo>
                  <a:lnTo>
                    <a:pt x="499" y="178"/>
                  </a:lnTo>
                  <a:lnTo>
                    <a:pt x="499" y="177"/>
                  </a:lnTo>
                  <a:lnTo>
                    <a:pt x="499" y="177"/>
                  </a:lnTo>
                  <a:lnTo>
                    <a:pt x="499" y="177"/>
                  </a:lnTo>
                  <a:lnTo>
                    <a:pt x="499" y="175"/>
                  </a:lnTo>
                  <a:lnTo>
                    <a:pt x="497" y="175"/>
                  </a:lnTo>
                  <a:lnTo>
                    <a:pt x="495" y="175"/>
                  </a:lnTo>
                  <a:lnTo>
                    <a:pt x="495" y="175"/>
                  </a:lnTo>
                  <a:lnTo>
                    <a:pt x="495" y="177"/>
                  </a:lnTo>
                  <a:lnTo>
                    <a:pt x="495" y="177"/>
                  </a:lnTo>
                  <a:lnTo>
                    <a:pt x="495" y="178"/>
                  </a:lnTo>
                  <a:lnTo>
                    <a:pt x="495" y="180"/>
                  </a:lnTo>
                  <a:lnTo>
                    <a:pt x="495" y="180"/>
                  </a:lnTo>
                  <a:lnTo>
                    <a:pt x="495" y="182"/>
                  </a:lnTo>
                  <a:lnTo>
                    <a:pt x="492" y="182"/>
                  </a:lnTo>
                  <a:lnTo>
                    <a:pt x="490" y="182"/>
                  </a:lnTo>
                  <a:lnTo>
                    <a:pt x="490" y="182"/>
                  </a:lnTo>
                  <a:lnTo>
                    <a:pt x="490" y="180"/>
                  </a:lnTo>
                  <a:lnTo>
                    <a:pt x="490" y="180"/>
                  </a:lnTo>
                  <a:lnTo>
                    <a:pt x="490" y="178"/>
                  </a:lnTo>
                  <a:lnTo>
                    <a:pt x="490" y="177"/>
                  </a:lnTo>
                  <a:lnTo>
                    <a:pt x="490" y="175"/>
                  </a:lnTo>
                  <a:lnTo>
                    <a:pt x="490" y="175"/>
                  </a:lnTo>
                  <a:lnTo>
                    <a:pt x="490" y="175"/>
                  </a:lnTo>
                  <a:lnTo>
                    <a:pt x="492" y="171"/>
                  </a:lnTo>
                  <a:lnTo>
                    <a:pt x="494" y="171"/>
                  </a:lnTo>
                  <a:lnTo>
                    <a:pt x="495" y="167"/>
                  </a:lnTo>
                  <a:lnTo>
                    <a:pt x="497" y="163"/>
                  </a:lnTo>
                  <a:lnTo>
                    <a:pt x="499" y="161"/>
                  </a:lnTo>
                  <a:lnTo>
                    <a:pt x="499" y="159"/>
                  </a:lnTo>
                  <a:lnTo>
                    <a:pt x="499" y="159"/>
                  </a:lnTo>
                  <a:lnTo>
                    <a:pt x="497" y="159"/>
                  </a:lnTo>
                  <a:lnTo>
                    <a:pt x="497" y="159"/>
                  </a:lnTo>
                  <a:lnTo>
                    <a:pt x="495" y="161"/>
                  </a:lnTo>
                  <a:lnTo>
                    <a:pt x="495" y="161"/>
                  </a:lnTo>
                  <a:lnTo>
                    <a:pt x="494" y="161"/>
                  </a:lnTo>
                  <a:lnTo>
                    <a:pt x="494" y="161"/>
                  </a:lnTo>
                  <a:lnTo>
                    <a:pt x="494" y="161"/>
                  </a:lnTo>
                  <a:lnTo>
                    <a:pt x="492" y="161"/>
                  </a:lnTo>
                  <a:lnTo>
                    <a:pt x="490" y="161"/>
                  </a:lnTo>
                  <a:lnTo>
                    <a:pt x="490" y="163"/>
                  </a:lnTo>
                  <a:lnTo>
                    <a:pt x="490" y="163"/>
                  </a:lnTo>
                  <a:lnTo>
                    <a:pt x="490" y="163"/>
                  </a:lnTo>
                  <a:lnTo>
                    <a:pt x="490" y="165"/>
                  </a:lnTo>
                  <a:lnTo>
                    <a:pt x="488" y="165"/>
                  </a:lnTo>
                  <a:lnTo>
                    <a:pt x="488" y="165"/>
                  </a:lnTo>
                  <a:lnTo>
                    <a:pt x="488" y="165"/>
                  </a:lnTo>
                  <a:lnTo>
                    <a:pt x="486" y="165"/>
                  </a:lnTo>
                  <a:lnTo>
                    <a:pt x="486" y="163"/>
                  </a:lnTo>
                  <a:lnTo>
                    <a:pt x="486" y="161"/>
                  </a:lnTo>
                  <a:lnTo>
                    <a:pt x="486" y="161"/>
                  </a:lnTo>
                  <a:lnTo>
                    <a:pt x="486" y="159"/>
                  </a:lnTo>
                  <a:lnTo>
                    <a:pt x="486" y="159"/>
                  </a:lnTo>
                  <a:lnTo>
                    <a:pt x="486" y="159"/>
                  </a:lnTo>
                  <a:lnTo>
                    <a:pt x="488" y="156"/>
                  </a:lnTo>
                  <a:lnTo>
                    <a:pt x="488" y="154"/>
                  </a:lnTo>
                  <a:lnTo>
                    <a:pt x="488" y="154"/>
                  </a:lnTo>
                  <a:lnTo>
                    <a:pt x="488" y="152"/>
                  </a:lnTo>
                  <a:lnTo>
                    <a:pt x="488" y="152"/>
                  </a:lnTo>
                  <a:lnTo>
                    <a:pt x="486" y="152"/>
                  </a:lnTo>
                  <a:lnTo>
                    <a:pt x="484" y="156"/>
                  </a:lnTo>
                  <a:lnTo>
                    <a:pt x="482" y="158"/>
                  </a:lnTo>
                  <a:lnTo>
                    <a:pt x="482" y="159"/>
                  </a:lnTo>
                  <a:lnTo>
                    <a:pt x="482" y="159"/>
                  </a:lnTo>
                  <a:lnTo>
                    <a:pt x="482" y="161"/>
                  </a:lnTo>
                  <a:lnTo>
                    <a:pt x="486" y="169"/>
                  </a:lnTo>
                  <a:lnTo>
                    <a:pt x="486" y="171"/>
                  </a:lnTo>
                  <a:lnTo>
                    <a:pt x="486" y="171"/>
                  </a:lnTo>
                  <a:lnTo>
                    <a:pt x="486" y="173"/>
                  </a:lnTo>
                  <a:lnTo>
                    <a:pt x="484" y="173"/>
                  </a:lnTo>
                  <a:lnTo>
                    <a:pt x="484" y="173"/>
                  </a:lnTo>
                  <a:lnTo>
                    <a:pt x="482" y="173"/>
                  </a:lnTo>
                  <a:lnTo>
                    <a:pt x="480" y="171"/>
                  </a:lnTo>
                  <a:lnTo>
                    <a:pt x="480" y="171"/>
                  </a:lnTo>
                  <a:lnTo>
                    <a:pt x="478" y="173"/>
                  </a:lnTo>
                  <a:lnTo>
                    <a:pt x="478" y="173"/>
                  </a:lnTo>
                  <a:lnTo>
                    <a:pt x="476" y="171"/>
                  </a:lnTo>
                  <a:lnTo>
                    <a:pt x="474" y="171"/>
                  </a:lnTo>
                  <a:lnTo>
                    <a:pt x="474" y="171"/>
                  </a:lnTo>
                  <a:lnTo>
                    <a:pt x="473" y="173"/>
                  </a:lnTo>
                  <a:lnTo>
                    <a:pt x="473" y="173"/>
                  </a:lnTo>
                  <a:lnTo>
                    <a:pt x="473" y="175"/>
                  </a:lnTo>
                  <a:lnTo>
                    <a:pt x="471" y="175"/>
                  </a:lnTo>
                  <a:lnTo>
                    <a:pt x="471" y="175"/>
                  </a:lnTo>
                  <a:lnTo>
                    <a:pt x="469" y="175"/>
                  </a:lnTo>
                  <a:lnTo>
                    <a:pt x="469" y="175"/>
                  </a:lnTo>
                  <a:lnTo>
                    <a:pt x="469" y="171"/>
                  </a:lnTo>
                  <a:lnTo>
                    <a:pt x="469" y="169"/>
                  </a:lnTo>
                  <a:lnTo>
                    <a:pt x="467" y="169"/>
                  </a:lnTo>
                  <a:lnTo>
                    <a:pt x="467" y="169"/>
                  </a:lnTo>
                  <a:lnTo>
                    <a:pt x="463" y="171"/>
                  </a:lnTo>
                  <a:lnTo>
                    <a:pt x="461" y="171"/>
                  </a:lnTo>
                  <a:lnTo>
                    <a:pt x="461" y="173"/>
                  </a:lnTo>
                  <a:lnTo>
                    <a:pt x="459" y="171"/>
                  </a:lnTo>
                  <a:lnTo>
                    <a:pt x="459" y="171"/>
                  </a:lnTo>
                  <a:lnTo>
                    <a:pt x="459" y="171"/>
                  </a:lnTo>
                  <a:lnTo>
                    <a:pt x="459" y="169"/>
                  </a:lnTo>
                  <a:lnTo>
                    <a:pt x="459" y="167"/>
                  </a:lnTo>
                  <a:lnTo>
                    <a:pt x="459" y="167"/>
                  </a:lnTo>
                  <a:lnTo>
                    <a:pt x="463" y="163"/>
                  </a:lnTo>
                  <a:lnTo>
                    <a:pt x="463" y="163"/>
                  </a:lnTo>
                  <a:lnTo>
                    <a:pt x="463" y="163"/>
                  </a:lnTo>
                  <a:lnTo>
                    <a:pt x="463" y="163"/>
                  </a:lnTo>
                  <a:lnTo>
                    <a:pt x="461" y="163"/>
                  </a:lnTo>
                  <a:lnTo>
                    <a:pt x="461" y="161"/>
                  </a:lnTo>
                  <a:lnTo>
                    <a:pt x="461" y="161"/>
                  </a:lnTo>
                  <a:lnTo>
                    <a:pt x="461" y="161"/>
                  </a:lnTo>
                  <a:lnTo>
                    <a:pt x="459" y="161"/>
                  </a:lnTo>
                  <a:lnTo>
                    <a:pt x="459" y="161"/>
                  </a:lnTo>
                  <a:lnTo>
                    <a:pt x="457" y="161"/>
                  </a:lnTo>
                  <a:lnTo>
                    <a:pt x="457" y="161"/>
                  </a:lnTo>
                  <a:lnTo>
                    <a:pt x="457" y="161"/>
                  </a:lnTo>
                  <a:lnTo>
                    <a:pt x="457" y="163"/>
                  </a:lnTo>
                  <a:lnTo>
                    <a:pt x="457" y="165"/>
                  </a:lnTo>
                  <a:lnTo>
                    <a:pt x="457" y="165"/>
                  </a:lnTo>
                  <a:lnTo>
                    <a:pt x="455" y="167"/>
                  </a:lnTo>
                  <a:lnTo>
                    <a:pt x="455" y="167"/>
                  </a:lnTo>
                  <a:lnTo>
                    <a:pt x="454" y="167"/>
                  </a:lnTo>
                  <a:lnTo>
                    <a:pt x="454" y="167"/>
                  </a:lnTo>
                  <a:lnTo>
                    <a:pt x="452" y="167"/>
                  </a:lnTo>
                  <a:lnTo>
                    <a:pt x="452" y="169"/>
                  </a:lnTo>
                  <a:lnTo>
                    <a:pt x="450" y="171"/>
                  </a:lnTo>
                  <a:lnTo>
                    <a:pt x="448" y="171"/>
                  </a:lnTo>
                  <a:lnTo>
                    <a:pt x="448" y="173"/>
                  </a:lnTo>
                  <a:lnTo>
                    <a:pt x="446" y="171"/>
                  </a:lnTo>
                  <a:lnTo>
                    <a:pt x="446" y="171"/>
                  </a:lnTo>
                  <a:lnTo>
                    <a:pt x="446" y="169"/>
                  </a:lnTo>
                  <a:lnTo>
                    <a:pt x="446" y="167"/>
                  </a:lnTo>
                  <a:lnTo>
                    <a:pt x="446" y="165"/>
                  </a:lnTo>
                  <a:lnTo>
                    <a:pt x="448" y="163"/>
                  </a:lnTo>
                  <a:lnTo>
                    <a:pt x="448" y="163"/>
                  </a:lnTo>
                  <a:lnTo>
                    <a:pt x="450" y="161"/>
                  </a:lnTo>
                  <a:lnTo>
                    <a:pt x="452" y="159"/>
                  </a:lnTo>
                  <a:lnTo>
                    <a:pt x="452" y="159"/>
                  </a:lnTo>
                  <a:lnTo>
                    <a:pt x="452" y="159"/>
                  </a:lnTo>
                  <a:lnTo>
                    <a:pt x="454" y="158"/>
                  </a:lnTo>
                  <a:lnTo>
                    <a:pt x="454" y="158"/>
                  </a:lnTo>
                  <a:lnTo>
                    <a:pt x="452" y="156"/>
                  </a:lnTo>
                  <a:lnTo>
                    <a:pt x="452" y="154"/>
                  </a:lnTo>
                  <a:lnTo>
                    <a:pt x="454" y="154"/>
                  </a:lnTo>
                  <a:lnTo>
                    <a:pt x="454" y="150"/>
                  </a:lnTo>
                  <a:lnTo>
                    <a:pt x="455" y="150"/>
                  </a:lnTo>
                  <a:lnTo>
                    <a:pt x="455" y="146"/>
                  </a:lnTo>
                  <a:lnTo>
                    <a:pt x="455" y="146"/>
                  </a:lnTo>
                  <a:lnTo>
                    <a:pt x="455" y="144"/>
                  </a:lnTo>
                  <a:lnTo>
                    <a:pt x="454" y="144"/>
                  </a:lnTo>
                  <a:lnTo>
                    <a:pt x="454" y="144"/>
                  </a:lnTo>
                  <a:lnTo>
                    <a:pt x="454" y="144"/>
                  </a:lnTo>
                  <a:lnTo>
                    <a:pt x="452" y="144"/>
                  </a:lnTo>
                  <a:lnTo>
                    <a:pt x="452" y="144"/>
                  </a:lnTo>
                  <a:lnTo>
                    <a:pt x="450" y="144"/>
                  </a:lnTo>
                  <a:lnTo>
                    <a:pt x="450" y="144"/>
                  </a:lnTo>
                  <a:lnTo>
                    <a:pt x="450" y="144"/>
                  </a:lnTo>
                  <a:lnTo>
                    <a:pt x="450" y="142"/>
                  </a:lnTo>
                  <a:lnTo>
                    <a:pt x="452" y="140"/>
                  </a:lnTo>
                  <a:lnTo>
                    <a:pt x="452" y="140"/>
                  </a:lnTo>
                  <a:lnTo>
                    <a:pt x="452" y="139"/>
                  </a:lnTo>
                  <a:lnTo>
                    <a:pt x="452" y="137"/>
                  </a:lnTo>
                  <a:lnTo>
                    <a:pt x="450" y="137"/>
                  </a:lnTo>
                  <a:lnTo>
                    <a:pt x="450" y="135"/>
                  </a:lnTo>
                  <a:lnTo>
                    <a:pt x="448" y="135"/>
                  </a:lnTo>
                  <a:lnTo>
                    <a:pt x="448" y="135"/>
                  </a:lnTo>
                  <a:lnTo>
                    <a:pt x="446" y="137"/>
                  </a:lnTo>
                  <a:lnTo>
                    <a:pt x="446" y="137"/>
                  </a:lnTo>
                  <a:lnTo>
                    <a:pt x="446" y="139"/>
                  </a:lnTo>
                  <a:lnTo>
                    <a:pt x="446" y="139"/>
                  </a:lnTo>
                  <a:lnTo>
                    <a:pt x="444" y="140"/>
                  </a:lnTo>
                  <a:lnTo>
                    <a:pt x="444" y="140"/>
                  </a:lnTo>
                  <a:lnTo>
                    <a:pt x="446" y="144"/>
                  </a:lnTo>
                  <a:lnTo>
                    <a:pt x="446" y="146"/>
                  </a:lnTo>
                  <a:lnTo>
                    <a:pt x="444" y="146"/>
                  </a:lnTo>
                  <a:lnTo>
                    <a:pt x="444" y="146"/>
                  </a:lnTo>
                  <a:lnTo>
                    <a:pt x="442" y="148"/>
                  </a:lnTo>
                  <a:lnTo>
                    <a:pt x="440" y="146"/>
                  </a:lnTo>
                  <a:lnTo>
                    <a:pt x="440" y="146"/>
                  </a:lnTo>
                  <a:lnTo>
                    <a:pt x="440" y="144"/>
                  </a:lnTo>
                  <a:lnTo>
                    <a:pt x="440" y="140"/>
                  </a:lnTo>
                  <a:lnTo>
                    <a:pt x="440" y="139"/>
                  </a:lnTo>
                  <a:lnTo>
                    <a:pt x="440" y="139"/>
                  </a:lnTo>
                  <a:lnTo>
                    <a:pt x="440" y="139"/>
                  </a:lnTo>
                  <a:lnTo>
                    <a:pt x="438" y="137"/>
                  </a:lnTo>
                  <a:lnTo>
                    <a:pt x="436" y="137"/>
                  </a:lnTo>
                  <a:lnTo>
                    <a:pt x="436" y="139"/>
                  </a:lnTo>
                  <a:lnTo>
                    <a:pt x="434" y="139"/>
                  </a:lnTo>
                  <a:lnTo>
                    <a:pt x="434" y="139"/>
                  </a:lnTo>
                  <a:lnTo>
                    <a:pt x="433" y="139"/>
                  </a:lnTo>
                  <a:lnTo>
                    <a:pt x="433" y="140"/>
                  </a:lnTo>
                  <a:lnTo>
                    <a:pt x="433" y="142"/>
                  </a:lnTo>
                  <a:lnTo>
                    <a:pt x="433" y="142"/>
                  </a:lnTo>
                  <a:lnTo>
                    <a:pt x="434" y="144"/>
                  </a:lnTo>
                  <a:lnTo>
                    <a:pt x="434" y="146"/>
                  </a:lnTo>
                  <a:lnTo>
                    <a:pt x="434" y="146"/>
                  </a:lnTo>
                  <a:lnTo>
                    <a:pt x="434" y="148"/>
                  </a:lnTo>
                  <a:lnTo>
                    <a:pt x="434" y="148"/>
                  </a:lnTo>
                  <a:lnTo>
                    <a:pt x="434" y="150"/>
                  </a:lnTo>
                  <a:lnTo>
                    <a:pt x="434" y="150"/>
                  </a:lnTo>
                  <a:lnTo>
                    <a:pt x="434" y="150"/>
                  </a:lnTo>
                  <a:lnTo>
                    <a:pt x="434" y="152"/>
                  </a:lnTo>
                  <a:lnTo>
                    <a:pt x="434" y="154"/>
                  </a:lnTo>
                  <a:lnTo>
                    <a:pt x="434" y="154"/>
                  </a:lnTo>
                  <a:lnTo>
                    <a:pt x="433" y="154"/>
                  </a:lnTo>
                  <a:lnTo>
                    <a:pt x="433" y="154"/>
                  </a:lnTo>
                  <a:lnTo>
                    <a:pt x="433" y="154"/>
                  </a:lnTo>
                  <a:lnTo>
                    <a:pt x="431" y="152"/>
                  </a:lnTo>
                  <a:lnTo>
                    <a:pt x="431" y="152"/>
                  </a:lnTo>
                  <a:lnTo>
                    <a:pt x="429" y="150"/>
                  </a:lnTo>
                  <a:lnTo>
                    <a:pt x="429" y="150"/>
                  </a:lnTo>
                  <a:lnTo>
                    <a:pt x="427" y="148"/>
                  </a:lnTo>
                  <a:lnTo>
                    <a:pt x="427" y="148"/>
                  </a:lnTo>
                  <a:lnTo>
                    <a:pt x="427" y="148"/>
                  </a:lnTo>
                  <a:lnTo>
                    <a:pt x="425" y="148"/>
                  </a:lnTo>
                  <a:lnTo>
                    <a:pt x="423" y="148"/>
                  </a:lnTo>
                  <a:lnTo>
                    <a:pt x="421" y="148"/>
                  </a:lnTo>
                  <a:lnTo>
                    <a:pt x="421" y="148"/>
                  </a:lnTo>
                  <a:lnTo>
                    <a:pt x="419" y="148"/>
                  </a:lnTo>
                  <a:lnTo>
                    <a:pt x="419" y="148"/>
                  </a:lnTo>
                  <a:lnTo>
                    <a:pt x="419" y="150"/>
                  </a:lnTo>
                  <a:lnTo>
                    <a:pt x="419" y="150"/>
                  </a:lnTo>
                  <a:lnTo>
                    <a:pt x="419" y="150"/>
                  </a:lnTo>
                  <a:lnTo>
                    <a:pt x="419" y="152"/>
                  </a:lnTo>
                  <a:lnTo>
                    <a:pt x="419" y="152"/>
                  </a:lnTo>
                  <a:lnTo>
                    <a:pt x="419" y="152"/>
                  </a:lnTo>
                  <a:lnTo>
                    <a:pt x="417" y="154"/>
                  </a:lnTo>
                  <a:lnTo>
                    <a:pt x="417" y="154"/>
                  </a:lnTo>
                  <a:lnTo>
                    <a:pt x="415" y="158"/>
                  </a:lnTo>
                  <a:lnTo>
                    <a:pt x="413" y="159"/>
                  </a:lnTo>
                  <a:lnTo>
                    <a:pt x="413" y="159"/>
                  </a:lnTo>
                  <a:lnTo>
                    <a:pt x="413" y="161"/>
                  </a:lnTo>
                  <a:lnTo>
                    <a:pt x="413" y="161"/>
                  </a:lnTo>
                  <a:lnTo>
                    <a:pt x="413" y="163"/>
                  </a:lnTo>
                  <a:lnTo>
                    <a:pt x="413" y="163"/>
                  </a:lnTo>
                  <a:lnTo>
                    <a:pt x="415" y="163"/>
                  </a:lnTo>
                  <a:lnTo>
                    <a:pt x="417" y="165"/>
                  </a:lnTo>
                  <a:lnTo>
                    <a:pt x="417" y="167"/>
                  </a:lnTo>
                  <a:lnTo>
                    <a:pt x="419" y="169"/>
                  </a:lnTo>
                  <a:lnTo>
                    <a:pt x="423" y="177"/>
                  </a:lnTo>
                  <a:lnTo>
                    <a:pt x="423" y="178"/>
                  </a:lnTo>
                  <a:lnTo>
                    <a:pt x="423" y="182"/>
                  </a:lnTo>
                  <a:lnTo>
                    <a:pt x="425" y="194"/>
                  </a:lnTo>
                  <a:lnTo>
                    <a:pt x="427" y="196"/>
                  </a:lnTo>
                  <a:lnTo>
                    <a:pt x="427" y="198"/>
                  </a:lnTo>
                  <a:lnTo>
                    <a:pt x="431" y="201"/>
                  </a:lnTo>
                  <a:lnTo>
                    <a:pt x="433" y="203"/>
                  </a:lnTo>
                  <a:lnTo>
                    <a:pt x="433" y="205"/>
                  </a:lnTo>
                  <a:lnTo>
                    <a:pt x="434" y="207"/>
                  </a:lnTo>
                  <a:lnTo>
                    <a:pt x="434" y="209"/>
                  </a:lnTo>
                  <a:lnTo>
                    <a:pt x="434" y="213"/>
                  </a:lnTo>
                  <a:lnTo>
                    <a:pt x="434" y="217"/>
                  </a:lnTo>
                  <a:lnTo>
                    <a:pt x="434" y="218"/>
                  </a:lnTo>
                  <a:lnTo>
                    <a:pt x="434" y="218"/>
                  </a:lnTo>
                  <a:lnTo>
                    <a:pt x="434" y="218"/>
                  </a:lnTo>
                  <a:lnTo>
                    <a:pt x="433" y="220"/>
                  </a:lnTo>
                  <a:lnTo>
                    <a:pt x="433" y="222"/>
                  </a:lnTo>
                  <a:lnTo>
                    <a:pt x="433" y="224"/>
                  </a:lnTo>
                  <a:lnTo>
                    <a:pt x="433" y="224"/>
                  </a:lnTo>
                  <a:lnTo>
                    <a:pt x="433" y="226"/>
                  </a:lnTo>
                  <a:lnTo>
                    <a:pt x="434" y="226"/>
                  </a:lnTo>
                  <a:lnTo>
                    <a:pt x="434" y="228"/>
                  </a:lnTo>
                  <a:lnTo>
                    <a:pt x="436" y="228"/>
                  </a:lnTo>
                  <a:lnTo>
                    <a:pt x="436" y="226"/>
                  </a:lnTo>
                  <a:lnTo>
                    <a:pt x="440" y="226"/>
                  </a:lnTo>
                  <a:lnTo>
                    <a:pt x="442" y="226"/>
                  </a:lnTo>
                  <a:lnTo>
                    <a:pt x="442" y="226"/>
                  </a:lnTo>
                  <a:lnTo>
                    <a:pt x="444" y="226"/>
                  </a:lnTo>
                  <a:lnTo>
                    <a:pt x="446" y="226"/>
                  </a:lnTo>
                  <a:lnTo>
                    <a:pt x="446" y="228"/>
                  </a:lnTo>
                  <a:lnTo>
                    <a:pt x="448" y="230"/>
                  </a:lnTo>
                  <a:lnTo>
                    <a:pt x="448" y="230"/>
                  </a:lnTo>
                  <a:lnTo>
                    <a:pt x="448" y="232"/>
                  </a:lnTo>
                  <a:lnTo>
                    <a:pt x="448" y="234"/>
                  </a:lnTo>
                  <a:lnTo>
                    <a:pt x="450" y="236"/>
                  </a:lnTo>
                  <a:lnTo>
                    <a:pt x="452" y="237"/>
                  </a:lnTo>
                  <a:lnTo>
                    <a:pt x="452" y="237"/>
                  </a:lnTo>
                  <a:lnTo>
                    <a:pt x="450" y="239"/>
                  </a:lnTo>
                  <a:lnTo>
                    <a:pt x="450" y="239"/>
                  </a:lnTo>
                  <a:lnTo>
                    <a:pt x="450" y="241"/>
                  </a:lnTo>
                  <a:lnTo>
                    <a:pt x="450" y="241"/>
                  </a:lnTo>
                  <a:lnTo>
                    <a:pt x="450" y="241"/>
                  </a:lnTo>
                  <a:lnTo>
                    <a:pt x="452" y="241"/>
                  </a:lnTo>
                  <a:lnTo>
                    <a:pt x="452" y="241"/>
                  </a:lnTo>
                  <a:lnTo>
                    <a:pt x="452" y="243"/>
                  </a:lnTo>
                  <a:lnTo>
                    <a:pt x="454" y="243"/>
                  </a:lnTo>
                  <a:lnTo>
                    <a:pt x="455" y="243"/>
                  </a:lnTo>
                  <a:lnTo>
                    <a:pt x="457" y="243"/>
                  </a:lnTo>
                  <a:lnTo>
                    <a:pt x="457" y="247"/>
                  </a:lnTo>
                  <a:lnTo>
                    <a:pt x="455" y="249"/>
                  </a:lnTo>
                  <a:lnTo>
                    <a:pt x="455" y="251"/>
                  </a:lnTo>
                  <a:lnTo>
                    <a:pt x="454" y="251"/>
                  </a:lnTo>
                  <a:lnTo>
                    <a:pt x="454" y="253"/>
                  </a:lnTo>
                  <a:lnTo>
                    <a:pt x="454" y="253"/>
                  </a:lnTo>
                  <a:lnTo>
                    <a:pt x="450" y="256"/>
                  </a:lnTo>
                  <a:lnTo>
                    <a:pt x="448" y="258"/>
                  </a:lnTo>
                  <a:lnTo>
                    <a:pt x="448" y="260"/>
                  </a:lnTo>
                  <a:lnTo>
                    <a:pt x="446" y="264"/>
                  </a:lnTo>
                  <a:lnTo>
                    <a:pt x="444" y="266"/>
                  </a:lnTo>
                  <a:lnTo>
                    <a:pt x="442" y="268"/>
                  </a:lnTo>
                  <a:lnTo>
                    <a:pt x="440" y="268"/>
                  </a:lnTo>
                  <a:lnTo>
                    <a:pt x="440" y="270"/>
                  </a:lnTo>
                  <a:lnTo>
                    <a:pt x="438" y="268"/>
                  </a:lnTo>
                  <a:lnTo>
                    <a:pt x="436" y="268"/>
                  </a:lnTo>
                  <a:lnTo>
                    <a:pt x="436" y="266"/>
                  </a:lnTo>
                  <a:lnTo>
                    <a:pt x="436" y="264"/>
                  </a:lnTo>
                  <a:lnTo>
                    <a:pt x="436" y="264"/>
                  </a:lnTo>
                  <a:lnTo>
                    <a:pt x="436" y="262"/>
                  </a:lnTo>
                  <a:lnTo>
                    <a:pt x="434" y="262"/>
                  </a:lnTo>
                  <a:lnTo>
                    <a:pt x="434" y="262"/>
                  </a:lnTo>
                  <a:lnTo>
                    <a:pt x="433" y="262"/>
                  </a:lnTo>
                  <a:lnTo>
                    <a:pt x="431" y="262"/>
                  </a:lnTo>
                  <a:lnTo>
                    <a:pt x="429" y="262"/>
                  </a:lnTo>
                  <a:lnTo>
                    <a:pt x="427" y="260"/>
                  </a:lnTo>
                  <a:lnTo>
                    <a:pt x="425" y="260"/>
                  </a:lnTo>
                  <a:lnTo>
                    <a:pt x="423" y="256"/>
                  </a:lnTo>
                  <a:lnTo>
                    <a:pt x="421" y="256"/>
                  </a:lnTo>
                  <a:lnTo>
                    <a:pt x="415" y="251"/>
                  </a:lnTo>
                  <a:lnTo>
                    <a:pt x="413" y="251"/>
                  </a:lnTo>
                  <a:lnTo>
                    <a:pt x="412" y="249"/>
                  </a:lnTo>
                  <a:lnTo>
                    <a:pt x="410" y="249"/>
                  </a:lnTo>
                  <a:lnTo>
                    <a:pt x="410" y="249"/>
                  </a:lnTo>
                  <a:lnTo>
                    <a:pt x="410" y="251"/>
                  </a:lnTo>
                  <a:lnTo>
                    <a:pt x="408" y="251"/>
                  </a:lnTo>
                  <a:lnTo>
                    <a:pt x="408" y="253"/>
                  </a:lnTo>
                  <a:lnTo>
                    <a:pt x="408" y="253"/>
                  </a:lnTo>
                  <a:lnTo>
                    <a:pt x="408" y="255"/>
                  </a:lnTo>
                  <a:lnTo>
                    <a:pt x="408" y="255"/>
                  </a:lnTo>
                  <a:lnTo>
                    <a:pt x="408" y="256"/>
                  </a:lnTo>
                  <a:lnTo>
                    <a:pt x="408" y="256"/>
                  </a:lnTo>
                  <a:lnTo>
                    <a:pt x="406" y="258"/>
                  </a:lnTo>
                  <a:lnTo>
                    <a:pt x="406" y="258"/>
                  </a:lnTo>
                  <a:lnTo>
                    <a:pt x="404" y="260"/>
                  </a:lnTo>
                  <a:lnTo>
                    <a:pt x="402" y="260"/>
                  </a:lnTo>
                  <a:lnTo>
                    <a:pt x="400" y="260"/>
                  </a:lnTo>
                  <a:lnTo>
                    <a:pt x="398" y="260"/>
                  </a:lnTo>
                  <a:lnTo>
                    <a:pt x="398" y="258"/>
                  </a:lnTo>
                  <a:lnTo>
                    <a:pt x="396" y="258"/>
                  </a:lnTo>
                  <a:lnTo>
                    <a:pt x="396" y="256"/>
                  </a:lnTo>
                  <a:lnTo>
                    <a:pt x="396" y="255"/>
                  </a:lnTo>
                  <a:lnTo>
                    <a:pt x="396" y="255"/>
                  </a:lnTo>
                  <a:lnTo>
                    <a:pt x="398" y="251"/>
                  </a:lnTo>
                  <a:lnTo>
                    <a:pt x="398" y="251"/>
                  </a:lnTo>
                  <a:lnTo>
                    <a:pt x="398" y="249"/>
                  </a:lnTo>
                  <a:lnTo>
                    <a:pt x="398" y="249"/>
                  </a:lnTo>
                  <a:lnTo>
                    <a:pt x="396" y="249"/>
                  </a:lnTo>
                  <a:lnTo>
                    <a:pt x="394" y="247"/>
                  </a:lnTo>
                  <a:lnTo>
                    <a:pt x="393" y="247"/>
                  </a:lnTo>
                  <a:lnTo>
                    <a:pt x="393" y="245"/>
                  </a:lnTo>
                  <a:lnTo>
                    <a:pt x="391" y="243"/>
                  </a:lnTo>
                  <a:lnTo>
                    <a:pt x="391" y="243"/>
                  </a:lnTo>
                  <a:lnTo>
                    <a:pt x="391" y="243"/>
                  </a:lnTo>
                  <a:lnTo>
                    <a:pt x="389" y="241"/>
                  </a:lnTo>
                  <a:lnTo>
                    <a:pt x="389" y="241"/>
                  </a:lnTo>
                  <a:lnTo>
                    <a:pt x="389" y="241"/>
                  </a:lnTo>
                  <a:lnTo>
                    <a:pt x="387" y="239"/>
                  </a:lnTo>
                  <a:lnTo>
                    <a:pt x="387" y="239"/>
                  </a:lnTo>
                  <a:lnTo>
                    <a:pt x="387" y="237"/>
                  </a:lnTo>
                  <a:lnTo>
                    <a:pt x="389" y="234"/>
                  </a:lnTo>
                  <a:lnTo>
                    <a:pt x="391" y="232"/>
                  </a:lnTo>
                  <a:lnTo>
                    <a:pt x="391" y="230"/>
                  </a:lnTo>
                  <a:lnTo>
                    <a:pt x="391" y="228"/>
                  </a:lnTo>
                  <a:lnTo>
                    <a:pt x="391" y="228"/>
                  </a:lnTo>
                  <a:lnTo>
                    <a:pt x="391" y="226"/>
                  </a:lnTo>
                  <a:lnTo>
                    <a:pt x="391" y="226"/>
                  </a:lnTo>
                  <a:lnTo>
                    <a:pt x="391" y="224"/>
                  </a:lnTo>
                  <a:lnTo>
                    <a:pt x="391" y="224"/>
                  </a:lnTo>
                  <a:lnTo>
                    <a:pt x="391" y="220"/>
                  </a:lnTo>
                  <a:lnTo>
                    <a:pt x="389" y="218"/>
                  </a:lnTo>
                  <a:lnTo>
                    <a:pt x="389" y="218"/>
                  </a:lnTo>
                  <a:lnTo>
                    <a:pt x="387" y="217"/>
                  </a:lnTo>
                  <a:lnTo>
                    <a:pt x="387" y="215"/>
                  </a:lnTo>
                  <a:lnTo>
                    <a:pt x="387" y="213"/>
                  </a:lnTo>
                  <a:lnTo>
                    <a:pt x="387" y="211"/>
                  </a:lnTo>
                  <a:lnTo>
                    <a:pt x="385" y="205"/>
                  </a:lnTo>
                  <a:lnTo>
                    <a:pt x="385" y="205"/>
                  </a:lnTo>
                  <a:lnTo>
                    <a:pt x="383" y="205"/>
                  </a:lnTo>
                  <a:lnTo>
                    <a:pt x="383" y="205"/>
                  </a:lnTo>
                  <a:lnTo>
                    <a:pt x="381" y="203"/>
                  </a:lnTo>
                  <a:lnTo>
                    <a:pt x="381" y="201"/>
                  </a:lnTo>
                  <a:lnTo>
                    <a:pt x="383" y="201"/>
                  </a:lnTo>
                  <a:lnTo>
                    <a:pt x="387" y="198"/>
                  </a:lnTo>
                  <a:lnTo>
                    <a:pt x="391" y="196"/>
                  </a:lnTo>
                  <a:lnTo>
                    <a:pt x="394" y="192"/>
                  </a:lnTo>
                  <a:lnTo>
                    <a:pt x="396" y="190"/>
                  </a:lnTo>
                  <a:lnTo>
                    <a:pt x="396" y="188"/>
                  </a:lnTo>
                  <a:lnTo>
                    <a:pt x="398" y="184"/>
                  </a:lnTo>
                  <a:lnTo>
                    <a:pt x="396" y="182"/>
                  </a:lnTo>
                  <a:lnTo>
                    <a:pt x="396" y="180"/>
                  </a:lnTo>
                  <a:lnTo>
                    <a:pt x="396" y="180"/>
                  </a:lnTo>
                  <a:lnTo>
                    <a:pt x="398" y="178"/>
                  </a:lnTo>
                  <a:lnTo>
                    <a:pt x="398" y="177"/>
                  </a:lnTo>
                  <a:lnTo>
                    <a:pt x="398" y="175"/>
                  </a:lnTo>
                  <a:lnTo>
                    <a:pt x="400" y="173"/>
                  </a:lnTo>
                  <a:lnTo>
                    <a:pt x="400" y="171"/>
                  </a:lnTo>
                  <a:lnTo>
                    <a:pt x="400" y="169"/>
                  </a:lnTo>
                  <a:lnTo>
                    <a:pt x="400" y="169"/>
                  </a:lnTo>
                  <a:lnTo>
                    <a:pt x="398" y="167"/>
                  </a:lnTo>
                  <a:lnTo>
                    <a:pt x="394" y="156"/>
                  </a:lnTo>
                  <a:lnTo>
                    <a:pt x="393" y="154"/>
                  </a:lnTo>
                  <a:lnTo>
                    <a:pt x="391" y="154"/>
                  </a:lnTo>
                  <a:lnTo>
                    <a:pt x="391" y="152"/>
                  </a:lnTo>
                  <a:lnTo>
                    <a:pt x="389" y="150"/>
                  </a:lnTo>
                  <a:lnTo>
                    <a:pt x="389" y="150"/>
                  </a:lnTo>
                  <a:lnTo>
                    <a:pt x="391" y="148"/>
                  </a:lnTo>
                  <a:lnTo>
                    <a:pt x="391" y="148"/>
                  </a:lnTo>
                  <a:lnTo>
                    <a:pt x="396" y="142"/>
                  </a:lnTo>
                  <a:lnTo>
                    <a:pt x="398" y="140"/>
                  </a:lnTo>
                  <a:lnTo>
                    <a:pt x="398" y="135"/>
                  </a:lnTo>
                  <a:lnTo>
                    <a:pt x="400" y="133"/>
                  </a:lnTo>
                  <a:lnTo>
                    <a:pt x="408" y="131"/>
                  </a:lnTo>
                  <a:lnTo>
                    <a:pt x="412" y="131"/>
                  </a:lnTo>
                  <a:lnTo>
                    <a:pt x="412" y="131"/>
                  </a:lnTo>
                  <a:lnTo>
                    <a:pt x="415" y="131"/>
                  </a:lnTo>
                  <a:lnTo>
                    <a:pt x="417" y="131"/>
                  </a:lnTo>
                  <a:lnTo>
                    <a:pt x="417" y="131"/>
                  </a:lnTo>
                  <a:lnTo>
                    <a:pt x="419" y="131"/>
                  </a:lnTo>
                  <a:lnTo>
                    <a:pt x="419" y="129"/>
                  </a:lnTo>
                  <a:lnTo>
                    <a:pt x="423" y="127"/>
                  </a:lnTo>
                  <a:lnTo>
                    <a:pt x="433" y="125"/>
                  </a:lnTo>
                  <a:lnTo>
                    <a:pt x="434" y="123"/>
                  </a:lnTo>
                  <a:lnTo>
                    <a:pt x="436" y="123"/>
                  </a:lnTo>
                  <a:lnTo>
                    <a:pt x="436" y="123"/>
                  </a:lnTo>
                  <a:lnTo>
                    <a:pt x="436" y="123"/>
                  </a:lnTo>
                  <a:lnTo>
                    <a:pt x="436" y="121"/>
                  </a:lnTo>
                  <a:lnTo>
                    <a:pt x="436" y="121"/>
                  </a:lnTo>
                  <a:lnTo>
                    <a:pt x="436" y="120"/>
                  </a:lnTo>
                  <a:lnTo>
                    <a:pt x="434" y="118"/>
                  </a:lnTo>
                  <a:lnTo>
                    <a:pt x="434" y="116"/>
                  </a:lnTo>
                  <a:lnTo>
                    <a:pt x="433" y="116"/>
                  </a:lnTo>
                  <a:lnTo>
                    <a:pt x="433" y="114"/>
                  </a:lnTo>
                  <a:lnTo>
                    <a:pt x="433" y="114"/>
                  </a:lnTo>
                  <a:lnTo>
                    <a:pt x="434" y="112"/>
                  </a:lnTo>
                  <a:lnTo>
                    <a:pt x="434" y="110"/>
                  </a:lnTo>
                  <a:lnTo>
                    <a:pt x="434" y="108"/>
                  </a:lnTo>
                  <a:lnTo>
                    <a:pt x="434" y="108"/>
                  </a:lnTo>
                  <a:lnTo>
                    <a:pt x="436" y="106"/>
                  </a:lnTo>
                  <a:lnTo>
                    <a:pt x="438" y="106"/>
                  </a:lnTo>
                  <a:lnTo>
                    <a:pt x="438" y="106"/>
                  </a:lnTo>
                  <a:lnTo>
                    <a:pt x="440" y="104"/>
                  </a:lnTo>
                  <a:lnTo>
                    <a:pt x="442" y="101"/>
                  </a:lnTo>
                  <a:lnTo>
                    <a:pt x="444" y="97"/>
                  </a:lnTo>
                  <a:lnTo>
                    <a:pt x="448" y="93"/>
                  </a:lnTo>
                  <a:lnTo>
                    <a:pt x="448" y="91"/>
                  </a:lnTo>
                  <a:lnTo>
                    <a:pt x="448" y="89"/>
                  </a:lnTo>
                  <a:lnTo>
                    <a:pt x="448" y="87"/>
                  </a:lnTo>
                  <a:lnTo>
                    <a:pt x="450" y="83"/>
                  </a:lnTo>
                  <a:lnTo>
                    <a:pt x="454" y="78"/>
                  </a:lnTo>
                  <a:lnTo>
                    <a:pt x="454" y="78"/>
                  </a:lnTo>
                  <a:lnTo>
                    <a:pt x="454" y="76"/>
                  </a:lnTo>
                  <a:lnTo>
                    <a:pt x="454" y="76"/>
                  </a:lnTo>
                  <a:lnTo>
                    <a:pt x="452" y="74"/>
                  </a:lnTo>
                  <a:lnTo>
                    <a:pt x="452" y="74"/>
                  </a:lnTo>
                  <a:lnTo>
                    <a:pt x="452" y="72"/>
                  </a:lnTo>
                  <a:lnTo>
                    <a:pt x="452" y="70"/>
                  </a:lnTo>
                  <a:lnTo>
                    <a:pt x="452" y="70"/>
                  </a:lnTo>
                  <a:lnTo>
                    <a:pt x="452" y="70"/>
                  </a:lnTo>
                  <a:lnTo>
                    <a:pt x="454" y="68"/>
                  </a:lnTo>
                  <a:lnTo>
                    <a:pt x="454" y="68"/>
                  </a:lnTo>
                  <a:lnTo>
                    <a:pt x="455" y="68"/>
                  </a:lnTo>
                  <a:lnTo>
                    <a:pt x="454" y="66"/>
                  </a:lnTo>
                  <a:lnTo>
                    <a:pt x="454" y="64"/>
                  </a:lnTo>
                  <a:lnTo>
                    <a:pt x="454" y="64"/>
                  </a:lnTo>
                  <a:lnTo>
                    <a:pt x="454" y="62"/>
                  </a:lnTo>
                  <a:lnTo>
                    <a:pt x="454" y="61"/>
                  </a:lnTo>
                  <a:lnTo>
                    <a:pt x="454" y="61"/>
                  </a:lnTo>
                  <a:lnTo>
                    <a:pt x="454" y="59"/>
                  </a:lnTo>
                  <a:lnTo>
                    <a:pt x="455" y="59"/>
                  </a:lnTo>
                  <a:lnTo>
                    <a:pt x="455" y="59"/>
                  </a:lnTo>
                  <a:lnTo>
                    <a:pt x="457" y="59"/>
                  </a:lnTo>
                  <a:lnTo>
                    <a:pt x="459" y="59"/>
                  </a:lnTo>
                  <a:lnTo>
                    <a:pt x="461" y="57"/>
                  </a:lnTo>
                  <a:lnTo>
                    <a:pt x="461" y="57"/>
                  </a:lnTo>
                  <a:lnTo>
                    <a:pt x="461" y="55"/>
                  </a:lnTo>
                  <a:lnTo>
                    <a:pt x="463" y="53"/>
                  </a:lnTo>
                  <a:lnTo>
                    <a:pt x="465" y="51"/>
                  </a:lnTo>
                  <a:lnTo>
                    <a:pt x="465" y="51"/>
                  </a:lnTo>
                  <a:lnTo>
                    <a:pt x="463" y="51"/>
                  </a:lnTo>
                  <a:lnTo>
                    <a:pt x="463" y="51"/>
                  </a:lnTo>
                  <a:lnTo>
                    <a:pt x="463" y="49"/>
                  </a:lnTo>
                  <a:lnTo>
                    <a:pt x="463" y="49"/>
                  </a:lnTo>
                  <a:lnTo>
                    <a:pt x="463" y="45"/>
                  </a:lnTo>
                  <a:lnTo>
                    <a:pt x="463" y="42"/>
                  </a:lnTo>
                  <a:lnTo>
                    <a:pt x="463" y="40"/>
                  </a:lnTo>
                  <a:lnTo>
                    <a:pt x="461" y="36"/>
                  </a:lnTo>
                  <a:lnTo>
                    <a:pt x="455" y="28"/>
                  </a:lnTo>
                  <a:lnTo>
                    <a:pt x="455" y="26"/>
                  </a:lnTo>
                  <a:lnTo>
                    <a:pt x="454" y="23"/>
                  </a:lnTo>
                  <a:lnTo>
                    <a:pt x="454" y="19"/>
                  </a:lnTo>
                  <a:lnTo>
                    <a:pt x="454" y="19"/>
                  </a:lnTo>
                  <a:lnTo>
                    <a:pt x="454" y="19"/>
                  </a:lnTo>
                  <a:lnTo>
                    <a:pt x="454" y="17"/>
                  </a:lnTo>
                  <a:lnTo>
                    <a:pt x="454" y="17"/>
                  </a:lnTo>
                  <a:lnTo>
                    <a:pt x="452" y="15"/>
                  </a:lnTo>
                  <a:lnTo>
                    <a:pt x="452" y="15"/>
                  </a:lnTo>
                  <a:lnTo>
                    <a:pt x="450" y="15"/>
                  </a:lnTo>
                  <a:lnTo>
                    <a:pt x="446" y="15"/>
                  </a:lnTo>
                  <a:lnTo>
                    <a:pt x="446" y="15"/>
                  </a:lnTo>
                  <a:lnTo>
                    <a:pt x="444" y="15"/>
                  </a:lnTo>
                  <a:lnTo>
                    <a:pt x="442" y="11"/>
                  </a:lnTo>
                  <a:lnTo>
                    <a:pt x="440" y="9"/>
                  </a:lnTo>
                  <a:lnTo>
                    <a:pt x="438" y="9"/>
                  </a:lnTo>
                  <a:lnTo>
                    <a:pt x="438" y="9"/>
                  </a:lnTo>
                  <a:lnTo>
                    <a:pt x="436" y="9"/>
                  </a:lnTo>
                  <a:lnTo>
                    <a:pt x="436" y="7"/>
                  </a:lnTo>
                  <a:lnTo>
                    <a:pt x="436" y="7"/>
                  </a:lnTo>
                  <a:lnTo>
                    <a:pt x="434" y="5"/>
                  </a:lnTo>
                  <a:lnTo>
                    <a:pt x="434" y="7"/>
                  </a:lnTo>
                  <a:lnTo>
                    <a:pt x="433" y="7"/>
                  </a:lnTo>
                  <a:lnTo>
                    <a:pt x="433" y="5"/>
                  </a:lnTo>
                  <a:lnTo>
                    <a:pt x="431" y="5"/>
                  </a:lnTo>
                  <a:lnTo>
                    <a:pt x="427" y="7"/>
                  </a:lnTo>
                  <a:lnTo>
                    <a:pt x="425" y="7"/>
                  </a:lnTo>
                  <a:lnTo>
                    <a:pt x="423" y="7"/>
                  </a:lnTo>
                  <a:lnTo>
                    <a:pt x="423" y="7"/>
                  </a:lnTo>
                  <a:lnTo>
                    <a:pt x="423" y="7"/>
                  </a:lnTo>
                  <a:lnTo>
                    <a:pt x="421" y="9"/>
                  </a:lnTo>
                  <a:lnTo>
                    <a:pt x="421" y="9"/>
                  </a:lnTo>
                  <a:lnTo>
                    <a:pt x="419" y="9"/>
                  </a:lnTo>
                  <a:lnTo>
                    <a:pt x="417" y="9"/>
                  </a:lnTo>
                  <a:lnTo>
                    <a:pt x="413" y="7"/>
                  </a:lnTo>
                  <a:lnTo>
                    <a:pt x="412" y="7"/>
                  </a:lnTo>
                  <a:lnTo>
                    <a:pt x="410" y="5"/>
                  </a:lnTo>
                  <a:lnTo>
                    <a:pt x="408" y="5"/>
                  </a:lnTo>
                  <a:lnTo>
                    <a:pt x="406" y="4"/>
                  </a:lnTo>
                  <a:lnTo>
                    <a:pt x="406" y="4"/>
                  </a:lnTo>
                  <a:lnTo>
                    <a:pt x="406" y="4"/>
                  </a:lnTo>
                  <a:lnTo>
                    <a:pt x="404" y="4"/>
                  </a:lnTo>
                  <a:lnTo>
                    <a:pt x="402" y="4"/>
                  </a:lnTo>
                  <a:lnTo>
                    <a:pt x="402" y="2"/>
                  </a:lnTo>
                  <a:lnTo>
                    <a:pt x="400" y="0"/>
                  </a:lnTo>
                  <a:lnTo>
                    <a:pt x="398" y="0"/>
                  </a:lnTo>
                  <a:lnTo>
                    <a:pt x="396" y="0"/>
                  </a:lnTo>
                  <a:lnTo>
                    <a:pt x="393" y="0"/>
                  </a:lnTo>
                  <a:lnTo>
                    <a:pt x="393" y="0"/>
                  </a:lnTo>
                  <a:lnTo>
                    <a:pt x="391" y="0"/>
                  </a:lnTo>
                  <a:lnTo>
                    <a:pt x="391" y="4"/>
                  </a:lnTo>
                  <a:lnTo>
                    <a:pt x="391" y="4"/>
                  </a:lnTo>
                  <a:lnTo>
                    <a:pt x="389" y="4"/>
                  </a:lnTo>
                  <a:lnTo>
                    <a:pt x="387" y="4"/>
                  </a:lnTo>
                  <a:lnTo>
                    <a:pt x="385" y="4"/>
                  </a:lnTo>
                  <a:lnTo>
                    <a:pt x="383" y="4"/>
                  </a:lnTo>
                  <a:lnTo>
                    <a:pt x="381" y="4"/>
                  </a:lnTo>
                  <a:lnTo>
                    <a:pt x="381" y="5"/>
                  </a:lnTo>
                  <a:lnTo>
                    <a:pt x="381" y="7"/>
                  </a:lnTo>
                  <a:lnTo>
                    <a:pt x="377" y="5"/>
                  </a:lnTo>
                  <a:lnTo>
                    <a:pt x="375" y="5"/>
                  </a:lnTo>
                  <a:lnTo>
                    <a:pt x="375" y="7"/>
                  </a:lnTo>
                  <a:lnTo>
                    <a:pt x="375" y="9"/>
                  </a:lnTo>
                  <a:lnTo>
                    <a:pt x="375" y="9"/>
                  </a:lnTo>
                  <a:lnTo>
                    <a:pt x="375" y="11"/>
                  </a:lnTo>
                  <a:lnTo>
                    <a:pt x="375" y="11"/>
                  </a:lnTo>
                  <a:lnTo>
                    <a:pt x="375" y="13"/>
                  </a:lnTo>
                  <a:lnTo>
                    <a:pt x="373" y="13"/>
                  </a:lnTo>
                  <a:lnTo>
                    <a:pt x="373" y="15"/>
                  </a:lnTo>
                  <a:lnTo>
                    <a:pt x="373" y="17"/>
                  </a:lnTo>
                  <a:lnTo>
                    <a:pt x="373" y="17"/>
                  </a:lnTo>
                  <a:lnTo>
                    <a:pt x="372" y="17"/>
                  </a:lnTo>
                  <a:lnTo>
                    <a:pt x="372" y="17"/>
                  </a:lnTo>
                  <a:lnTo>
                    <a:pt x="370" y="17"/>
                  </a:lnTo>
                  <a:lnTo>
                    <a:pt x="370" y="17"/>
                  </a:lnTo>
                  <a:lnTo>
                    <a:pt x="368" y="17"/>
                  </a:lnTo>
                  <a:lnTo>
                    <a:pt x="368" y="17"/>
                  </a:lnTo>
                  <a:lnTo>
                    <a:pt x="366" y="17"/>
                  </a:lnTo>
                  <a:lnTo>
                    <a:pt x="364" y="17"/>
                  </a:lnTo>
                  <a:lnTo>
                    <a:pt x="362" y="19"/>
                  </a:lnTo>
                  <a:lnTo>
                    <a:pt x="360" y="19"/>
                  </a:lnTo>
                  <a:lnTo>
                    <a:pt x="358" y="19"/>
                  </a:lnTo>
                  <a:lnTo>
                    <a:pt x="356" y="19"/>
                  </a:lnTo>
                  <a:lnTo>
                    <a:pt x="356" y="21"/>
                  </a:lnTo>
                  <a:lnTo>
                    <a:pt x="356" y="21"/>
                  </a:lnTo>
                  <a:lnTo>
                    <a:pt x="356" y="23"/>
                  </a:lnTo>
                  <a:lnTo>
                    <a:pt x="354" y="23"/>
                  </a:lnTo>
                  <a:lnTo>
                    <a:pt x="354" y="24"/>
                  </a:lnTo>
                  <a:lnTo>
                    <a:pt x="349" y="24"/>
                  </a:lnTo>
                  <a:lnTo>
                    <a:pt x="351" y="28"/>
                  </a:lnTo>
                  <a:lnTo>
                    <a:pt x="349" y="30"/>
                  </a:lnTo>
                  <a:lnTo>
                    <a:pt x="345" y="32"/>
                  </a:lnTo>
                  <a:lnTo>
                    <a:pt x="343" y="32"/>
                  </a:lnTo>
                  <a:lnTo>
                    <a:pt x="341" y="34"/>
                  </a:lnTo>
                  <a:lnTo>
                    <a:pt x="339" y="36"/>
                  </a:lnTo>
                  <a:lnTo>
                    <a:pt x="339" y="36"/>
                  </a:lnTo>
                  <a:lnTo>
                    <a:pt x="337" y="36"/>
                  </a:lnTo>
                  <a:lnTo>
                    <a:pt x="333" y="38"/>
                  </a:lnTo>
                  <a:lnTo>
                    <a:pt x="332" y="38"/>
                  </a:lnTo>
                  <a:lnTo>
                    <a:pt x="332" y="38"/>
                  </a:lnTo>
                  <a:lnTo>
                    <a:pt x="326" y="42"/>
                  </a:lnTo>
                  <a:lnTo>
                    <a:pt x="322" y="43"/>
                  </a:lnTo>
                  <a:lnTo>
                    <a:pt x="322" y="45"/>
                  </a:lnTo>
                  <a:lnTo>
                    <a:pt x="320" y="45"/>
                  </a:lnTo>
                  <a:lnTo>
                    <a:pt x="316" y="45"/>
                  </a:lnTo>
                  <a:lnTo>
                    <a:pt x="314" y="45"/>
                  </a:lnTo>
                  <a:lnTo>
                    <a:pt x="314" y="47"/>
                  </a:lnTo>
                  <a:lnTo>
                    <a:pt x="314" y="47"/>
                  </a:lnTo>
                  <a:lnTo>
                    <a:pt x="314" y="49"/>
                  </a:lnTo>
                  <a:lnTo>
                    <a:pt x="313" y="49"/>
                  </a:lnTo>
                  <a:lnTo>
                    <a:pt x="311" y="49"/>
                  </a:lnTo>
                  <a:lnTo>
                    <a:pt x="311" y="49"/>
                  </a:lnTo>
                  <a:lnTo>
                    <a:pt x="309" y="51"/>
                  </a:lnTo>
                  <a:lnTo>
                    <a:pt x="307" y="49"/>
                  </a:lnTo>
                  <a:lnTo>
                    <a:pt x="305" y="51"/>
                  </a:lnTo>
                  <a:lnTo>
                    <a:pt x="303" y="51"/>
                  </a:lnTo>
                  <a:lnTo>
                    <a:pt x="303" y="53"/>
                  </a:lnTo>
                  <a:lnTo>
                    <a:pt x="301" y="55"/>
                  </a:lnTo>
                  <a:lnTo>
                    <a:pt x="301" y="57"/>
                  </a:lnTo>
                  <a:lnTo>
                    <a:pt x="301" y="57"/>
                  </a:lnTo>
                  <a:lnTo>
                    <a:pt x="299" y="57"/>
                  </a:lnTo>
                  <a:lnTo>
                    <a:pt x="299" y="59"/>
                  </a:lnTo>
                  <a:lnTo>
                    <a:pt x="297" y="59"/>
                  </a:lnTo>
                  <a:lnTo>
                    <a:pt x="295" y="61"/>
                  </a:lnTo>
                  <a:lnTo>
                    <a:pt x="293" y="62"/>
                  </a:lnTo>
                  <a:lnTo>
                    <a:pt x="290" y="62"/>
                  </a:lnTo>
                  <a:lnTo>
                    <a:pt x="288" y="62"/>
                  </a:lnTo>
                  <a:lnTo>
                    <a:pt x="286" y="62"/>
                  </a:lnTo>
                  <a:lnTo>
                    <a:pt x="284" y="64"/>
                  </a:lnTo>
                  <a:lnTo>
                    <a:pt x="282" y="66"/>
                  </a:lnTo>
                  <a:lnTo>
                    <a:pt x="282" y="66"/>
                  </a:lnTo>
                  <a:lnTo>
                    <a:pt x="282" y="68"/>
                  </a:lnTo>
                  <a:lnTo>
                    <a:pt x="282" y="68"/>
                  </a:lnTo>
                  <a:lnTo>
                    <a:pt x="280" y="68"/>
                  </a:lnTo>
                  <a:lnTo>
                    <a:pt x="280" y="68"/>
                  </a:lnTo>
                  <a:lnTo>
                    <a:pt x="278" y="68"/>
                  </a:lnTo>
                  <a:lnTo>
                    <a:pt x="276" y="70"/>
                  </a:lnTo>
                  <a:lnTo>
                    <a:pt x="274" y="70"/>
                  </a:lnTo>
                  <a:lnTo>
                    <a:pt x="274" y="72"/>
                  </a:lnTo>
                  <a:lnTo>
                    <a:pt x="274" y="72"/>
                  </a:lnTo>
                  <a:lnTo>
                    <a:pt x="272" y="74"/>
                  </a:lnTo>
                  <a:lnTo>
                    <a:pt x="271" y="74"/>
                  </a:lnTo>
                  <a:lnTo>
                    <a:pt x="271" y="76"/>
                  </a:lnTo>
                  <a:lnTo>
                    <a:pt x="269" y="76"/>
                  </a:lnTo>
                  <a:lnTo>
                    <a:pt x="269" y="78"/>
                  </a:lnTo>
                  <a:lnTo>
                    <a:pt x="265" y="78"/>
                  </a:lnTo>
                  <a:lnTo>
                    <a:pt x="265" y="78"/>
                  </a:lnTo>
                  <a:lnTo>
                    <a:pt x="265" y="80"/>
                  </a:lnTo>
                  <a:lnTo>
                    <a:pt x="265" y="80"/>
                  </a:lnTo>
                  <a:lnTo>
                    <a:pt x="263" y="81"/>
                  </a:lnTo>
                  <a:lnTo>
                    <a:pt x="263" y="81"/>
                  </a:lnTo>
                  <a:lnTo>
                    <a:pt x="257" y="85"/>
                  </a:lnTo>
                  <a:lnTo>
                    <a:pt x="255" y="87"/>
                  </a:lnTo>
                  <a:lnTo>
                    <a:pt x="255" y="87"/>
                  </a:lnTo>
                  <a:lnTo>
                    <a:pt x="255" y="89"/>
                  </a:lnTo>
                  <a:lnTo>
                    <a:pt x="255" y="91"/>
                  </a:lnTo>
                  <a:lnTo>
                    <a:pt x="255" y="91"/>
                  </a:lnTo>
                  <a:lnTo>
                    <a:pt x="253" y="91"/>
                  </a:lnTo>
                  <a:lnTo>
                    <a:pt x="253" y="91"/>
                  </a:lnTo>
                  <a:lnTo>
                    <a:pt x="253" y="93"/>
                  </a:lnTo>
                  <a:lnTo>
                    <a:pt x="252" y="93"/>
                  </a:lnTo>
                  <a:lnTo>
                    <a:pt x="250" y="95"/>
                  </a:lnTo>
                  <a:lnTo>
                    <a:pt x="250" y="97"/>
                  </a:lnTo>
                  <a:lnTo>
                    <a:pt x="248" y="97"/>
                  </a:lnTo>
                  <a:lnTo>
                    <a:pt x="246" y="97"/>
                  </a:lnTo>
                  <a:lnTo>
                    <a:pt x="242" y="95"/>
                  </a:lnTo>
                  <a:lnTo>
                    <a:pt x="240" y="95"/>
                  </a:lnTo>
                  <a:lnTo>
                    <a:pt x="240" y="97"/>
                  </a:lnTo>
                  <a:lnTo>
                    <a:pt x="240" y="99"/>
                  </a:lnTo>
                  <a:lnTo>
                    <a:pt x="238" y="99"/>
                  </a:lnTo>
                  <a:lnTo>
                    <a:pt x="238" y="101"/>
                  </a:lnTo>
                  <a:lnTo>
                    <a:pt x="236" y="101"/>
                  </a:lnTo>
                  <a:lnTo>
                    <a:pt x="236" y="101"/>
                  </a:lnTo>
                  <a:lnTo>
                    <a:pt x="232" y="102"/>
                  </a:lnTo>
                  <a:lnTo>
                    <a:pt x="232" y="102"/>
                  </a:lnTo>
                  <a:lnTo>
                    <a:pt x="232" y="102"/>
                  </a:lnTo>
                  <a:lnTo>
                    <a:pt x="231" y="106"/>
                  </a:lnTo>
                  <a:lnTo>
                    <a:pt x="229" y="108"/>
                  </a:lnTo>
                  <a:lnTo>
                    <a:pt x="229" y="110"/>
                  </a:lnTo>
                  <a:lnTo>
                    <a:pt x="229" y="112"/>
                  </a:lnTo>
                  <a:lnTo>
                    <a:pt x="229" y="114"/>
                  </a:lnTo>
                  <a:lnTo>
                    <a:pt x="229" y="114"/>
                  </a:lnTo>
                  <a:lnTo>
                    <a:pt x="227" y="114"/>
                  </a:lnTo>
                  <a:lnTo>
                    <a:pt x="227" y="116"/>
                  </a:lnTo>
                  <a:lnTo>
                    <a:pt x="225" y="116"/>
                  </a:lnTo>
                  <a:lnTo>
                    <a:pt x="227" y="118"/>
                  </a:lnTo>
                  <a:lnTo>
                    <a:pt x="227" y="118"/>
                  </a:lnTo>
                  <a:lnTo>
                    <a:pt x="227" y="120"/>
                  </a:lnTo>
                  <a:lnTo>
                    <a:pt x="231" y="133"/>
                  </a:lnTo>
                  <a:lnTo>
                    <a:pt x="232" y="139"/>
                  </a:lnTo>
                  <a:lnTo>
                    <a:pt x="232" y="142"/>
                  </a:lnTo>
                  <a:lnTo>
                    <a:pt x="232" y="142"/>
                  </a:lnTo>
                  <a:lnTo>
                    <a:pt x="232" y="144"/>
                  </a:lnTo>
                  <a:lnTo>
                    <a:pt x="234" y="144"/>
                  </a:lnTo>
                  <a:lnTo>
                    <a:pt x="234" y="144"/>
                  </a:lnTo>
                  <a:lnTo>
                    <a:pt x="236" y="144"/>
                  </a:lnTo>
                  <a:lnTo>
                    <a:pt x="236" y="144"/>
                  </a:lnTo>
                  <a:lnTo>
                    <a:pt x="238" y="146"/>
                  </a:lnTo>
                  <a:lnTo>
                    <a:pt x="240" y="150"/>
                  </a:lnTo>
                  <a:lnTo>
                    <a:pt x="240" y="150"/>
                  </a:lnTo>
                  <a:lnTo>
                    <a:pt x="242" y="152"/>
                  </a:lnTo>
                  <a:lnTo>
                    <a:pt x="242" y="152"/>
                  </a:lnTo>
                  <a:lnTo>
                    <a:pt x="244" y="152"/>
                  </a:lnTo>
                  <a:lnTo>
                    <a:pt x="246" y="152"/>
                  </a:lnTo>
                  <a:lnTo>
                    <a:pt x="246" y="152"/>
                  </a:lnTo>
                  <a:lnTo>
                    <a:pt x="248" y="152"/>
                  </a:lnTo>
                  <a:lnTo>
                    <a:pt x="252" y="156"/>
                  </a:lnTo>
                  <a:lnTo>
                    <a:pt x="252" y="156"/>
                  </a:lnTo>
                  <a:lnTo>
                    <a:pt x="253" y="156"/>
                  </a:lnTo>
                  <a:lnTo>
                    <a:pt x="253" y="156"/>
                  </a:lnTo>
                  <a:lnTo>
                    <a:pt x="257" y="156"/>
                  </a:lnTo>
                  <a:lnTo>
                    <a:pt x="257" y="154"/>
                  </a:lnTo>
                  <a:lnTo>
                    <a:pt x="257" y="154"/>
                  </a:lnTo>
                  <a:lnTo>
                    <a:pt x="261" y="156"/>
                  </a:lnTo>
                  <a:lnTo>
                    <a:pt x="263" y="156"/>
                  </a:lnTo>
                  <a:lnTo>
                    <a:pt x="267" y="158"/>
                  </a:lnTo>
                  <a:lnTo>
                    <a:pt x="267" y="158"/>
                  </a:lnTo>
                  <a:lnTo>
                    <a:pt x="267" y="158"/>
                  </a:lnTo>
                  <a:lnTo>
                    <a:pt x="269" y="158"/>
                  </a:lnTo>
                  <a:lnTo>
                    <a:pt x="274" y="158"/>
                  </a:lnTo>
                  <a:lnTo>
                    <a:pt x="276" y="156"/>
                  </a:lnTo>
                  <a:lnTo>
                    <a:pt x="280" y="154"/>
                  </a:lnTo>
                  <a:lnTo>
                    <a:pt x="282" y="154"/>
                  </a:lnTo>
                  <a:lnTo>
                    <a:pt x="282" y="154"/>
                  </a:lnTo>
                  <a:lnTo>
                    <a:pt x="284" y="154"/>
                  </a:lnTo>
                  <a:lnTo>
                    <a:pt x="286" y="154"/>
                  </a:lnTo>
                  <a:lnTo>
                    <a:pt x="288" y="156"/>
                  </a:lnTo>
                  <a:lnTo>
                    <a:pt x="290" y="156"/>
                  </a:lnTo>
                  <a:lnTo>
                    <a:pt x="290" y="156"/>
                  </a:lnTo>
                  <a:lnTo>
                    <a:pt x="292" y="154"/>
                  </a:lnTo>
                  <a:lnTo>
                    <a:pt x="292" y="154"/>
                  </a:lnTo>
                  <a:lnTo>
                    <a:pt x="293" y="152"/>
                  </a:lnTo>
                  <a:lnTo>
                    <a:pt x="293" y="152"/>
                  </a:lnTo>
                  <a:lnTo>
                    <a:pt x="295" y="148"/>
                  </a:lnTo>
                  <a:lnTo>
                    <a:pt x="295" y="148"/>
                  </a:lnTo>
                  <a:lnTo>
                    <a:pt x="295" y="146"/>
                  </a:lnTo>
                  <a:lnTo>
                    <a:pt x="297" y="146"/>
                  </a:lnTo>
                  <a:lnTo>
                    <a:pt x="299" y="144"/>
                  </a:lnTo>
                  <a:lnTo>
                    <a:pt x="301" y="144"/>
                  </a:lnTo>
                  <a:lnTo>
                    <a:pt x="303" y="144"/>
                  </a:lnTo>
                  <a:lnTo>
                    <a:pt x="305" y="144"/>
                  </a:lnTo>
                  <a:lnTo>
                    <a:pt x="305" y="144"/>
                  </a:lnTo>
                  <a:lnTo>
                    <a:pt x="305" y="144"/>
                  </a:lnTo>
                  <a:lnTo>
                    <a:pt x="307" y="146"/>
                  </a:lnTo>
                  <a:lnTo>
                    <a:pt x="307" y="146"/>
                  </a:lnTo>
                  <a:lnTo>
                    <a:pt x="307" y="146"/>
                  </a:lnTo>
                  <a:lnTo>
                    <a:pt x="307" y="148"/>
                  </a:lnTo>
                  <a:lnTo>
                    <a:pt x="307" y="148"/>
                  </a:lnTo>
                  <a:lnTo>
                    <a:pt x="307" y="148"/>
                  </a:lnTo>
                  <a:lnTo>
                    <a:pt x="307" y="150"/>
                  </a:lnTo>
                  <a:lnTo>
                    <a:pt x="307" y="150"/>
                  </a:lnTo>
                  <a:lnTo>
                    <a:pt x="305" y="152"/>
                  </a:lnTo>
                  <a:lnTo>
                    <a:pt x="305" y="152"/>
                  </a:lnTo>
                  <a:lnTo>
                    <a:pt x="305" y="154"/>
                  </a:lnTo>
                  <a:lnTo>
                    <a:pt x="307" y="154"/>
                  </a:lnTo>
                  <a:lnTo>
                    <a:pt x="307" y="156"/>
                  </a:lnTo>
                  <a:lnTo>
                    <a:pt x="307" y="156"/>
                  </a:lnTo>
                  <a:lnTo>
                    <a:pt x="307" y="158"/>
                  </a:lnTo>
                  <a:lnTo>
                    <a:pt x="307" y="158"/>
                  </a:lnTo>
                  <a:lnTo>
                    <a:pt x="307" y="159"/>
                  </a:lnTo>
                  <a:lnTo>
                    <a:pt x="307" y="159"/>
                  </a:lnTo>
                  <a:lnTo>
                    <a:pt x="307" y="159"/>
                  </a:lnTo>
                  <a:lnTo>
                    <a:pt x="307" y="161"/>
                  </a:lnTo>
                  <a:lnTo>
                    <a:pt x="307" y="161"/>
                  </a:lnTo>
                  <a:lnTo>
                    <a:pt x="307" y="163"/>
                  </a:lnTo>
                  <a:lnTo>
                    <a:pt x="309" y="163"/>
                  </a:lnTo>
                  <a:lnTo>
                    <a:pt x="311" y="167"/>
                  </a:lnTo>
                  <a:lnTo>
                    <a:pt x="311" y="167"/>
                  </a:lnTo>
                  <a:lnTo>
                    <a:pt x="311" y="169"/>
                  </a:lnTo>
                  <a:lnTo>
                    <a:pt x="311" y="169"/>
                  </a:lnTo>
                  <a:lnTo>
                    <a:pt x="311" y="169"/>
                  </a:lnTo>
                  <a:lnTo>
                    <a:pt x="311" y="171"/>
                  </a:lnTo>
                  <a:lnTo>
                    <a:pt x="309" y="171"/>
                  </a:lnTo>
                  <a:lnTo>
                    <a:pt x="311" y="173"/>
                  </a:lnTo>
                  <a:lnTo>
                    <a:pt x="311" y="175"/>
                  </a:lnTo>
                  <a:lnTo>
                    <a:pt x="309" y="175"/>
                  </a:lnTo>
                  <a:lnTo>
                    <a:pt x="309" y="175"/>
                  </a:lnTo>
                  <a:lnTo>
                    <a:pt x="307" y="177"/>
                  </a:lnTo>
                  <a:lnTo>
                    <a:pt x="307" y="177"/>
                  </a:lnTo>
                  <a:lnTo>
                    <a:pt x="307" y="177"/>
                  </a:lnTo>
                  <a:lnTo>
                    <a:pt x="307" y="177"/>
                  </a:lnTo>
                  <a:lnTo>
                    <a:pt x="305" y="178"/>
                  </a:lnTo>
                  <a:lnTo>
                    <a:pt x="305" y="178"/>
                  </a:lnTo>
                  <a:lnTo>
                    <a:pt x="303" y="178"/>
                  </a:lnTo>
                  <a:lnTo>
                    <a:pt x="301" y="178"/>
                  </a:lnTo>
                  <a:lnTo>
                    <a:pt x="299" y="177"/>
                  </a:lnTo>
                  <a:lnTo>
                    <a:pt x="299" y="177"/>
                  </a:lnTo>
                  <a:lnTo>
                    <a:pt x="297" y="177"/>
                  </a:lnTo>
                  <a:lnTo>
                    <a:pt x="295" y="177"/>
                  </a:lnTo>
                  <a:lnTo>
                    <a:pt x="293" y="177"/>
                  </a:lnTo>
                  <a:lnTo>
                    <a:pt x="292" y="177"/>
                  </a:lnTo>
                  <a:lnTo>
                    <a:pt x="292" y="177"/>
                  </a:lnTo>
                  <a:lnTo>
                    <a:pt x="282" y="180"/>
                  </a:lnTo>
                  <a:lnTo>
                    <a:pt x="278" y="180"/>
                  </a:lnTo>
                  <a:lnTo>
                    <a:pt x="276" y="180"/>
                  </a:lnTo>
                  <a:lnTo>
                    <a:pt x="274" y="180"/>
                  </a:lnTo>
                  <a:lnTo>
                    <a:pt x="274" y="180"/>
                  </a:lnTo>
                  <a:lnTo>
                    <a:pt x="267" y="184"/>
                  </a:lnTo>
                  <a:lnTo>
                    <a:pt x="263" y="184"/>
                  </a:lnTo>
                  <a:lnTo>
                    <a:pt x="261" y="186"/>
                  </a:lnTo>
                  <a:lnTo>
                    <a:pt x="261" y="186"/>
                  </a:lnTo>
                  <a:lnTo>
                    <a:pt x="261" y="188"/>
                  </a:lnTo>
                  <a:lnTo>
                    <a:pt x="259" y="188"/>
                  </a:lnTo>
                  <a:lnTo>
                    <a:pt x="259" y="190"/>
                  </a:lnTo>
                  <a:lnTo>
                    <a:pt x="259" y="190"/>
                  </a:lnTo>
                  <a:lnTo>
                    <a:pt x="259" y="190"/>
                  </a:lnTo>
                  <a:lnTo>
                    <a:pt x="259" y="190"/>
                  </a:lnTo>
                  <a:lnTo>
                    <a:pt x="261" y="194"/>
                  </a:lnTo>
                  <a:lnTo>
                    <a:pt x="263" y="196"/>
                  </a:lnTo>
                  <a:lnTo>
                    <a:pt x="263" y="198"/>
                  </a:lnTo>
                  <a:lnTo>
                    <a:pt x="263" y="199"/>
                  </a:lnTo>
                  <a:lnTo>
                    <a:pt x="263" y="201"/>
                  </a:lnTo>
                  <a:lnTo>
                    <a:pt x="263" y="201"/>
                  </a:lnTo>
                  <a:lnTo>
                    <a:pt x="261" y="203"/>
                  </a:lnTo>
                  <a:lnTo>
                    <a:pt x="261" y="203"/>
                  </a:lnTo>
                  <a:lnTo>
                    <a:pt x="259" y="203"/>
                  </a:lnTo>
                  <a:lnTo>
                    <a:pt x="257" y="203"/>
                  </a:lnTo>
                  <a:lnTo>
                    <a:pt x="255" y="205"/>
                  </a:lnTo>
                  <a:lnTo>
                    <a:pt x="255" y="205"/>
                  </a:lnTo>
                  <a:lnTo>
                    <a:pt x="255" y="205"/>
                  </a:lnTo>
                  <a:lnTo>
                    <a:pt x="253" y="205"/>
                  </a:lnTo>
                  <a:lnTo>
                    <a:pt x="253" y="207"/>
                  </a:lnTo>
                  <a:lnTo>
                    <a:pt x="253" y="207"/>
                  </a:lnTo>
                  <a:lnTo>
                    <a:pt x="255" y="209"/>
                  </a:lnTo>
                  <a:lnTo>
                    <a:pt x="259" y="215"/>
                  </a:lnTo>
                  <a:lnTo>
                    <a:pt x="263" y="217"/>
                  </a:lnTo>
                  <a:lnTo>
                    <a:pt x="267" y="217"/>
                  </a:lnTo>
                  <a:lnTo>
                    <a:pt x="267" y="217"/>
                  </a:lnTo>
                  <a:lnTo>
                    <a:pt x="269" y="217"/>
                  </a:lnTo>
                  <a:lnTo>
                    <a:pt x="269" y="217"/>
                  </a:lnTo>
                  <a:lnTo>
                    <a:pt x="271" y="217"/>
                  </a:lnTo>
                  <a:lnTo>
                    <a:pt x="271" y="217"/>
                  </a:lnTo>
                  <a:lnTo>
                    <a:pt x="274" y="220"/>
                  </a:lnTo>
                  <a:lnTo>
                    <a:pt x="276" y="222"/>
                  </a:lnTo>
                  <a:lnTo>
                    <a:pt x="278" y="222"/>
                  </a:lnTo>
                  <a:lnTo>
                    <a:pt x="278" y="226"/>
                  </a:lnTo>
                  <a:lnTo>
                    <a:pt x="280" y="230"/>
                  </a:lnTo>
                  <a:lnTo>
                    <a:pt x="280" y="232"/>
                  </a:lnTo>
                  <a:lnTo>
                    <a:pt x="280" y="234"/>
                  </a:lnTo>
                  <a:lnTo>
                    <a:pt x="278" y="236"/>
                  </a:lnTo>
                  <a:lnTo>
                    <a:pt x="278" y="236"/>
                  </a:lnTo>
                  <a:lnTo>
                    <a:pt x="276" y="236"/>
                  </a:lnTo>
                  <a:lnTo>
                    <a:pt x="269" y="241"/>
                  </a:lnTo>
                  <a:lnTo>
                    <a:pt x="269" y="241"/>
                  </a:lnTo>
                  <a:lnTo>
                    <a:pt x="267" y="241"/>
                  </a:lnTo>
                  <a:lnTo>
                    <a:pt x="265" y="241"/>
                  </a:lnTo>
                  <a:lnTo>
                    <a:pt x="265" y="241"/>
                  </a:lnTo>
                  <a:lnTo>
                    <a:pt x="265" y="241"/>
                  </a:lnTo>
                  <a:lnTo>
                    <a:pt x="265" y="241"/>
                  </a:lnTo>
                  <a:lnTo>
                    <a:pt x="265" y="239"/>
                  </a:lnTo>
                  <a:lnTo>
                    <a:pt x="265" y="237"/>
                  </a:lnTo>
                  <a:lnTo>
                    <a:pt x="265" y="237"/>
                  </a:lnTo>
                  <a:lnTo>
                    <a:pt x="265" y="237"/>
                  </a:lnTo>
                  <a:lnTo>
                    <a:pt x="263" y="236"/>
                  </a:lnTo>
                  <a:lnTo>
                    <a:pt x="263" y="236"/>
                  </a:lnTo>
                  <a:lnTo>
                    <a:pt x="263" y="234"/>
                  </a:lnTo>
                  <a:lnTo>
                    <a:pt x="263" y="234"/>
                  </a:lnTo>
                  <a:lnTo>
                    <a:pt x="261" y="234"/>
                  </a:lnTo>
                  <a:lnTo>
                    <a:pt x="261" y="234"/>
                  </a:lnTo>
                  <a:lnTo>
                    <a:pt x="259" y="234"/>
                  </a:lnTo>
                  <a:lnTo>
                    <a:pt x="259" y="234"/>
                  </a:lnTo>
                  <a:lnTo>
                    <a:pt x="259" y="234"/>
                  </a:lnTo>
                  <a:lnTo>
                    <a:pt x="257" y="232"/>
                  </a:lnTo>
                  <a:lnTo>
                    <a:pt x="257" y="232"/>
                  </a:lnTo>
                  <a:lnTo>
                    <a:pt x="257" y="234"/>
                  </a:lnTo>
                  <a:lnTo>
                    <a:pt x="255" y="234"/>
                  </a:lnTo>
                  <a:lnTo>
                    <a:pt x="255" y="236"/>
                  </a:lnTo>
                  <a:lnTo>
                    <a:pt x="257" y="237"/>
                  </a:lnTo>
                  <a:lnTo>
                    <a:pt x="257" y="239"/>
                  </a:lnTo>
                  <a:lnTo>
                    <a:pt x="257" y="239"/>
                  </a:lnTo>
                  <a:lnTo>
                    <a:pt x="257" y="239"/>
                  </a:lnTo>
                  <a:lnTo>
                    <a:pt x="255" y="243"/>
                  </a:lnTo>
                  <a:lnTo>
                    <a:pt x="255" y="243"/>
                  </a:lnTo>
                  <a:lnTo>
                    <a:pt x="255" y="245"/>
                  </a:lnTo>
                  <a:lnTo>
                    <a:pt x="255" y="245"/>
                  </a:lnTo>
                  <a:lnTo>
                    <a:pt x="257" y="247"/>
                  </a:lnTo>
                  <a:lnTo>
                    <a:pt x="257" y="255"/>
                  </a:lnTo>
                  <a:lnTo>
                    <a:pt x="257" y="256"/>
                  </a:lnTo>
                  <a:lnTo>
                    <a:pt x="259" y="258"/>
                  </a:lnTo>
                  <a:lnTo>
                    <a:pt x="263" y="264"/>
                  </a:lnTo>
                  <a:lnTo>
                    <a:pt x="263" y="266"/>
                  </a:lnTo>
                  <a:lnTo>
                    <a:pt x="265" y="268"/>
                  </a:lnTo>
                  <a:lnTo>
                    <a:pt x="263" y="268"/>
                  </a:lnTo>
                  <a:lnTo>
                    <a:pt x="263" y="270"/>
                  </a:lnTo>
                  <a:lnTo>
                    <a:pt x="263" y="270"/>
                  </a:lnTo>
                  <a:lnTo>
                    <a:pt x="263" y="272"/>
                  </a:lnTo>
                  <a:lnTo>
                    <a:pt x="261" y="272"/>
                  </a:lnTo>
                  <a:lnTo>
                    <a:pt x="261" y="274"/>
                  </a:lnTo>
                  <a:lnTo>
                    <a:pt x="261" y="274"/>
                  </a:lnTo>
                  <a:lnTo>
                    <a:pt x="259" y="274"/>
                  </a:lnTo>
                  <a:lnTo>
                    <a:pt x="257" y="274"/>
                  </a:lnTo>
                  <a:lnTo>
                    <a:pt x="257" y="274"/>
                  </a:lnTo>
                  <a:lnTo>
                    <a:pt x="257" y="274"/>
                  </a:lnTo>
                  <a:lnTo>
                    <a:pt x="255" y="275"/>
                  </a:lnTo>
                  <a:lnTo>
                    <a:pt x="252" y="275"/>
                  </a:lnTo>
                  <a:lnTo>
                    <a:pt x="250" y="274"/>
                  </a:lnTo>
                  <a:lnTo>
                    <a:pt x="248" y="272"/>
                  </a:lnTo>
                  <a:lnTo>
                    <a:pt x="244" y="268"/>
                  </a:lnTo>
                  <a:lnTo>
                    <a:pt x="242" y="268"/>
                  </a:lnTo>
                  <a:lnTo>
                    <a:pt x="242" y="266"/>
                  </a:lnTo>
                  <a:lnTo>
                    <a:pt x="242" y="266"/>
                  </a:lnTo>
                  <a:lnTo>
                    <a:pt x="242" y="264"/>
                  </a:lnTo>
                  <a:lnTo>
                    <a:pt x="244" y="264"/>
                  </a:lnTo>
                  <a:lnTo>
                    <a:pt x="244" y="262"/>
                  </a:lnTo>
                  <a:lnTo>
                    <a:pt x="244" y="260"/>
                  </a:lnTo>
                  <a:lnTo>
                    <a:pt x="244" y="260"/>
                  </a:lnTo>
                  <a:lnTo>
                    <a:pt x="242" y="260"/>
                  </a:lnTo>
                  <a:lnTo>
                    <a:pt x="242" y="260"/>
                  </a:lnTo>
                  <a:lnTo>
                    <a:pt x="238" y="260"/>
                  </a:lnTo>
                  <a:lnTo>
                    <a:pt x="236" y="262"/>
                  </a:lnTo>
                  <a:lnTo>
                    <a:pt x="234" y="262"/>
                  </a:lnTo>
                  <a:lnTo>
                    <a:pt x="234" y="264"/>
                  </a:lnTo>
                  <a:lnTo>
                    <a:pt x="234" y="264"/>
                  </a:lnTo>
                  <a:lnTo>
                    <a:pt x="232" y="268"/>
                  </a:lnTo>
                  <a:lnTo>
                    <a:pt x="232" y="268"/>
                  </a:lnTo>
                  <a:lnTo>
                    <a:pt x="232" y="270"/>
                  </a:lnTo>
                  <a:lnTo>
                    <a:pt x="231" y="270"/>
                  </a:lnTo>
                  <a:lnTo>
                    <a:pt x="229" y="270"/>
                  </a:lnTo>
                  <a:lnTo>
                    <a:pt x="229" y="270"/>
                  </a:lnTo>
                  <a:lnTo>
                    <a:pt x="227" y="270"/>
                  </a:lnTo>
                  <a:lnTo>
                    <a:pt x="227" y="268"/>
                  </a:lnTo>
                  <a:lnTo>
                    <a:pt x="227" y="266"/>
                  </a:lnTo>
                  <a:lnTo>
                    <a:pt x="225" y="266"/>
                  </a:lnTo>
                  <a:lnTo>
                    <a:pt x="225" y="264"/>
                  </a:lnTo>
                  <a:lnTo>
                    <a:pt x="223" y="264"/>
                  </a:lnTo>
                  <a:lnTo>
                    <a:pt x="219" y="264"/>
                  </a:lnTo>
                  <a:lnTo>
                    <a:pt x="217" y="264"/>
                  </a:lnTo>
                  <a:lnTo>
                    <a:pt x="215" y="264"/>
                  </a:lnTo>
                  <a:lnTo>
                    <a:pt x="210" y="262"/>
                  </a:lnTo>
                  <a:lnTo>
                    <a:pt x="208" y="262"/>
                  </a:lnTo>
                  <a:lnTo>
                    <a:pt x="206" y="262"/>
                  </a:lnTo>
                  <a:lnTo>
                    <a:pt x="202" y="262"/>
                  </a:lnTo>
                  <a:lnTo>
                    <a:pt x="202" y="262"/>
                  </a:lnTo>
                  <a:lnTo>
                    <a:pt x="200" y="262"/>
                  </a:lnTo>
                  <a:lnTo>
                    <a:pt x="200" y="260"/>
                  </a:lnTo>
                  <a:lnTo>
                    <a:pt x="198" y="260"/>
                  </a:lnTo>
                  <a:lnTo>
                    <a:pt x="198" y="258"/>
                  </a:lnTo>
                  <a:lnTo>
                    <a:pt x="198" y="258"/>
                  </a:lnTo>
                  <a:lnTo>
                    <a:pt x="200" y="256"/>
                  </a:lnTo>
                  <a:lnTo>
                    <a:pt x="200" y="256"/>
                  </a:lnTo>
                  <a:lnTo>
                    <a:pt x="198" y="255"/>
                  </a:lnTo>
                  <a:lnTo>
                    <a:pt x="198" y="255"/>
                  </a:lnTo>
                  <a:lnTo>
                    <a:pt x="198" y="255"/>
                  </a:lnTo>
                  <a:lnTo>
                    <a:pt x="196" y="256"/>
                  </a:lnTo>
                  <a:lnTo>
                    <a:pt x="194" y="256"/>
                  </a:lnTo>
                  <a:lnTo>
                    <a:pt x="194" y="258"/>
                  </a:lnTo>
                  <a:lnTo>
                    <a:pt x="192" y="258"/>
                  </a:lnTo>
                  <a:lnTo>
                    <a:pt x="192" y="260"/>
                  </a:lnTo>
                  <a:lnTo>
                    <a:pt x="192" y="262"/>
                  </a:lnTo>
                  <a:lnTo>
                    <a:pt x="192" y="264"/>
                  </a:lnTo>
                  <a:lnTo>
                    <a:pt x="192" y="266"/>
                  </a:lnTo>
                  <a:lnTo>
                    <a:pt x="192" y="268"/>
                  </a:lnTo>
                  <a:lnTo>
                    <a:pt x="192" y="272"/>
                  </a:lnTo>
                  <a:lnTo>
                    <a:pt x="192" y="272"/>
                  </a:lnTo>
                  <a:lnTo>
                    <a:pt x="192" y="275"/>
                  </a:lnTo>
                  <a:lnTo>
                    <a:pt x="192" y="275"/>
                  </a:lnTo>
                  <a:lnTo>
                    <a:pt x="192" y="277"/>
                  </a:lnTo>
                  <a:lnTo>
                    <a:pt x="189" y="281"/>
                  </a:lnTo>
                  <a:lnTo>
                    <a:pt x="181" y="285"/>
                  </a:lnTo>
                  <a:lnTo>
                    <a:pt x="181" y="287"/>
                  </a:lnTo>
                  <a:lnTo>
                    <a:pt x="179" y="289"/>
                  </a:lnTo>
                  <a:lnTo>
                    <a:pt x="181" y="289"/>
                  </a:lnTo>
                  <a:lnTo>
                    <a:pt x="181" y="291"/>
                  </a:lnTo>
                  <a:lnTo>
                    <a:pt x="181" y="291"/>
                  </a:lnTo>
                  <a:lnTo>
                    <a:pt x="181" y="291"/>
                  </a:lnTo>
                  <a:lnTo>
                    <a:pt x="181" y="291"/>
                  </a:lnTo>
                  <a:lnTo>
                    <a:pt x="181" y="293"/>
                  </a:lnTo>
                  <a:lnTo>
                    <a:pt x="181" y="293"/>
                  </a:lnTo>
                  <a:lnTo>
                    <a:pt x="181" y="295"/>
                  </a:lnTo>
                  <a:lnTo>
                    <a:pt x="179" y="295"/>
                  </a:lnTo>
                  <a:lnTo>
                    <a:pt x="171" y="298"/>
                  </a:lnTo>
                  <a:lnTo>
                    <a:pt x="168" y="300"/>
                  </a:lnTo>
                  <a:lnTo>
                    <a:pt x="164" y="302"/>
                  </a:lnTo>
                  <a:lnTo>
                    <a:pt x="162" y="302"/>
                  </a:lnTo>
                  <a:lnTo>
                    <a:pt x="160" y="302"/>
                  </a:lnTo>
                  <a:lnTo>
                    <a:pt x="160" y="302"/>
                  </a:lnTo>
                  <a:lnTo>
                    <a:pt x="160" y="300"/>
                  </a:lnTo>
                  <a:lnTo>
                    <a:pt x="158" y="300"/>
                  </a:lnTo>
                  <a:lnTo>
                    <a:pt x="158" y="300"/>
                  </a:lnTo>
                  <a:lnTo>
                    <a:pt x="156" y="300"/>
                  </a:lnTo>
                  <a:lnTo>
                    <a:pt x="156" y="300"/>
                  </a:lnTo>
                  <a:lnTo>
                    <a:pt x="156" y="300"/>
                  </a:lnTo>
                  <a:lnTo>
                    <a:pt x="156" y="300"/>
                  </a:lnTo>
                  <a:lnTo>
                    <a:pt x="156" y="304"/>
                  </a:lnTo>
                  <a:lnTo>
                    <a:pt x="156" y="304"/>
                  </a:lnTo>
                  <a:lnTo>
                    <a:pt x="156" y="306"/>
                  </a:lnTo>
                  <a:lnTo>
                    <a:pt x="154" y="308"/>
                  </a:lnTo>
                  <a:lnTo>
                    <a:pt x="154" y="310"/>
                  </a:lnTo>
                  <a:lnTo>
                    <a:pt x="154" y="310"/>
                  </a:lnTo>
                  <a:lnTo>
                    <a:pt x="154" y="312"/>
                  </a:lnTo>
                  <a:lnTo>
                    <a:pt x="154" y="312"/>
                  </a:lnTo>
                  <a:lnTo>
                    <a:pt x="152" y="312"/>
                  </a:lnTo>
                  <a:lnTo>
                    <a:pt x="152" y="312"/>
                  </a:lnTo>
                  <a:lnTo>
                    <a:pt x="151" y="310"/>
                  </a:lnTo>
                  <a:lnTo>
                    <a:pt x="149" y="310"/>
                  </a:lnTo>
                  <a:lnTo>
                    <a:pt x="149" y="310"/>
                  </a:lnTo>
                  <a:lnTo>
                    <a:pt x="145" y="310"/>
                  </a:lnTo>
                  <a:lnTo>
                    <a:pt x="143" y="308"/>
                  </a:lnTo>
                  <a:lnTo>
                    <a:pt x="143" y="306"/>
                  </a:lnTo>
                  <a:lnTo>
                    <a:pt x="143" y="304"/>
                  </a:lnTo>
                  <a:lnTo>
                    <a:pt x="143" y="304"/>
                  </a:lnTo>
                  <a:lnTo>
                    <a:pt x="137" y="300"/>
                  </a:lnTo>
                  <a:lnTo>
                    <a:pt x="135" y="300"/>
                  </a:lnTo>
                  <a:lnTo>
                    <a:pt x="135" y="298"/>
                  </a:lnTo>
                  <a:lnTo>
                    <a:pt x="135" y="296"/>
                  </a:lnTo>
                  <a:lnTo>
                    <a:pt x="133" y="293"/>
                  </a:lnTo>
                  <a:lnTo>
                    <a:pt x="133" y="293"/>
                  </a:lnTo>
                  <a:lnTo>
                    <a:pt x="135" y="289"/>
                  </a:lnTo>
                  <a:lnTo>
                    <a:pt x="137" y="287"/>
                  </a:lnTo>
                  <a:lnTo>
                    <a:pt x="137" y="287"/>
                  </a:lnTo>
                  <a:lnTo>
                    <a:pt x="137" y="287"/>
                  </a:lnTo>
                  <a:lnTo>
                    <a:pt x="139" y="287"/>
                  </a:lnTo>
                  <a:lnTo>
                    <a:pt x="139" y="287"/>
                  </a:lnTo>
                  <a:lnTo>
                    <a:pt x="141" y="289"/>
                  </a:lnTo>
                  <a:lnTo>
                    <a:pt x="143" y="289"/>
                  </a:lnTo>
                  <a:lnTo>
                    <a:pt x="143" y="289"/>
                  </a:lnTo>
                  <a:lnTo>
                    <a:pt x="145" y="291"/>
                  </a:lnTo>
                  <a:lnTo>
                    <a:pt x="145" y="291"/>
                  </a:lnTo>
                  <a:lnTo>
                    <a:pt x="147" y="291"/>
                  </a:lnTo>
                  <a:lnTo>
                    <a:pt x="149" y="291"/>
                  </a:lnTo>
                  <a:lnTo>
                    <a:pt x="149" y="291"/>
                  </a:lnTo>
                  <a:lnTo>
                    <a:pt x="151" y="289"/>
                  </a:lnTo>
                  <a:lnTo>
                    <a:pt x="152" y="289"/>
                  </a:lnTo>
                  <a:lnTo>
                    <a:pt x="152" y="289"/>
                  </a:lnTo>
                  <a:lnTo>
                    <a:pt x="154" y="291"/>
                  </a:lnTo>
                  <a:lnTo>
                    <a:pt x="156" y="291"/>
                  </a:lnTo>
                  <a:lnTo>
                    <a:pt x="156" y="291"/>
                  </a:lnTo>
                  <a:lnTo>
                    <a:pt x="156" y="291"/>
                  </a:lnTo>
                  <a:lnTo>
                    <a:pt x="158" y="291"/>
                  </a:lnTo>
                  <a:lnTo>
                    <a:pt x="158" y="289"/>
                  </a:lnTo>
                  <a:lnTo>
                    <a:pt x="158" y="287"/>
                  </a:lnTo>
                  <a:lnTo>
                    <a:pt x="160" y="285"/>
                  </a:lnTo>
                  <a:lnTo>
                    <a:pt x="162" y="283"/>
                  </a:lnTo>
                  <a:lnTo>
                    <a:pt x="164" y="281"/>
                  </a:lnTo>
                  <a:lnTo>
                    <a:pt x="164" y="279"/>
                  </a:lnTo>
                  <a:lnTo>
                    <a:pt x="164" y="279"/>
                  </a:lnTo>
                  <a:lnTo>
                    <a:pt x="160" y="277"/>
                  </a:lnTo>
                  <a:lnTo>
                    <a:pt x="158" y="275"/>
                  </a:lnTo>
                  <a:lnTo>
                    <a:pt x="158" y="274"/>
                  </a:lnTo>
                  <a:lnTo>
                    <a:pt x="158" y="272"/>
                  </a:lnTo>
                  <a:lnTo>
                    <a:pt x="160" y="270"/>
                  </a:lnTo>
                  <a:lnTo>
                    <a:pt x="162" y="266"/>
                  </a:lnTo>
                  <a:lnTo>
                    <a:pt x="164" y="264"/>
                  </a:lnTo>
                  <a:lnTo>
                    <a:pt x="164" y="262"/>
                  </a:lnTo>
                  <a:lnTo>
                    <a:pt x="164" y="260"/>
                  </a:lnTo>
                  <a:lnTo>
                    <a:pt x="162" y="258"/>
                  </a:lnTo>
                  <a:lnTo>
                    <a:pt x="162" y="258"/>
                  </a:lnTo>
                  <a:lnTo>
                    <a:pt x="162" y="258"/>
                  </a:lnTo>
                  <a:lnTo>
                    <a:pt x="160" y="258"/>
                  </a:lnTo>
                  <a:lnTo>
                    <a:pt x="160" y="256"/>
                  </a:lnTo>
                  <a:lnTo>
                    <a:pt x="158" y="256"/>
                  </a:lnTo>
                  <a:lnTo>
                    <a:pt x="158" y="255"/>
                  </a:lnTo>
                  <a:lnTo>
                    <a:pt x="158" y="251"/>
                  </a:lnTo>
                  <a:lnTo>
                    <a:pt x="158" y="249"/>
                  </a:lnTo>
                  <a:lnTo>
                    <a:pt x="156" y="249"/>
                  </a:lnTo>
                  <a:lnTo>
                    <a:pt x="156" y="247"/>
                  </a:lnTo>
                  <a:lnTo>
                    <a:pt x="158" y="243"/>
                  </a:lnTo>
                  <a:lnTo>
                    <a:pt x="158" y="241"/>
                  </a:lnTo>
                  <a:lnTo>
                    <a:pt x="160" y="241"/>
                  </a:lnTo>
                  <a:lnTo>
                    <a:pt x="160" y="241"/>
                  </a:lnTo>
                  <a:lnTo>
                    <a:pt x="162" y="241"/>
                  </a:lnTo>
                  <a:lnTo>
                    <a:pt x="166" y="243"/>
                  </a:lnTo>
                  <a:lnTo>
                    <a:pt x="166" y="243"/>
                  </a:lnTo>
                  <a:lnTo>
                    <a:pt x="168" y="243"/>
                  </a:lnTo>
                  <a:lnTo>
                    <a:pt x="170" y="243"/>
                  </a:lnTo>
                  <a:lnTo>
                    <a:pt x="170" y="241"/>
                  </a:lnTo>
                  <a:lnTo>
                    <a:pt x="170" y="241"/>
                  </a:lnTo>
                  <a:lnTo>
                    <a:pt x="170" y="239"/>
                  </a:lnTo>
                  <a:lnTo>
                    <a:pt x="170" y="239"/>
                  </a:lnTo>
                  <a:lnTo>
                    <a:pt x="170" y="230"/>
                  </a:lnTo>
                  <a:lnTo>
                    <a:pt x="168" y="226"/>
                  </a:lnTo>
                  <a:lnTo>
                    <a:pt x="166" y="224"/>
                  </a:lnTo>
                  <a:lnTo>
                    <a:pt x="164" y="224"/>
                  </a:lnTo>
                  <a:lnTo>
                    <a:pt x="164" y="222"/>
                  </a:lnTo>
                  <a:lnTo>
                    <a:pt x="164" y="222"/>
                  </a:lnTo>
                  <a:lnTo>
                    <a:pt x="164" y="220"/>
                  </a:lnTo>
                  <a:lnTo>
                    <a:pt x="164" y="218"/>
                  </a:lnTo>
                  <a:lnTo>
                    <a:pt x="162" y="215"/>
                  </a:lnTo>
                  <a:lnTo>
                    <a:pt x="160" y="213"/>
                  </a:lnTo>
                  <a:lnTo>
                    <a:pt x="160" y="213"/>
                  </a:lnTo>
                  <a:lnTo>
                    <a:pt x="158" y="213"/>
                  </a:lnTo>
                  <a:lnTo>
                    <a:pt x="156" y="213"/>
                  </a:lnTo>
                  <a:lnTo>
                    <a:pt x="156" y="213"/>
                  </a:lnTo>
                  <a:lnTo>
                    <a:pt x="149" y="217"/>
                  </a:lnTo>
                  <a:lnTo>
                    <a:pt x="145" y="217"/>
                  </a:lnTo>
                  <a:lnTo>
                    <a:pt x="139" y="217"/>
                  </a:lnTo>
                  <a:lnTo>
                    <a:pt x="131" y="220"/>
                  </a:lnTo>
                  <a:lnTo>
                    <a:pt x="128" y="220"/>
                  </a:lnTo>
                  <a:lnTo>
                    <a:pt x="126" y="220"/>
                  </a:lnTo>
                  <a:lnTo>
                    <a:pt x="120" y="218"/>
                  </a:lnTo>
                  <a:lnTo>
                    <a:pt x="118" y="218"/>
                  </a:lnTo>
                  <a:lnTo>
                    <a:pt x="114" y="218"/>
                  </a:lnTo>
                  <a:lnTo>
                    <a:pt x="112" y="218"/>
                  </a:lnTo>
                  <a:lnTo>
                    <a:pt x="111" y="218"/>
                  </a:lnTo>
                  <a:lnTo>
                    <a:pt x="109" y="218"/>
                  </a:lnTo>
                  <a:lnTo>
                    <a:pt x="107" y="217"/>
                  </a:lnTo>
                  <a:lnTo>
                    <a:pt x="107" y="217"/>
                  </a:lnTo>
                  <a:lnTo>
                    <a:pt x="105" y="215"/>
                  </a:lnTo>
                  <a:lnTo>
                    <a:pt x="105" y="215"/>
                  </a:lnTo>
                  <a:lnTo>
                    <a:pt x="105" y="213"/>
                  </a:lnTo>
                  <a:lnTo>
                    <a:pt x="107" y="211"/>
                  </a:lnTo>
                  <a:lnTo>
                    <a:pt x="109" y="209"/>
                  </a:lnTo>
                  <a:lnTo>
                    <a:pt x="109" y="209"/>
                  </a:lnTo>
                  <a:lnTo>
                    <a:pt x="109" y="207"/>
                  </a:lnTo>
                  <a:lnTo>
                    <a:pt x="109" y="207"/>
                  </a:lnTo>
                  <a:lnTo>
                    <a:pt x="109" y="205"/>
                  </a:lnTo>
                  <a:lnTo>
                    <a:pt x="107" y="203"/>
                  </a:lnTo>
                  <a:lnTo>
                    <a:pt x="107" y="201"/>
                  </a:lnTo>
                  <a:lnTo>
                    <a:pt x="107" y="201"/>
                  </a:lnTo>
                  <a:lnTo>
                    <a:pt x="107" y="201"/>
                  </a:lnTo>
                  <a:lnTo>
                    <a:pt x="107" y="199"/>
                  </a:lnTo>
                  <a:lnTo>
                    <a:pt x="109" y="201"/>
                  </a:lnTo>
                  <a:lnTo>
                    <a:pt x="109" y="201"/>
                  </a:lnTo>
                  <a:lnTo>
                    <a:pt x="111" y="203"/>
                  </a:lnTo>
                  <a:lnTo>
                    <a:pt x="112" y="205"/>
                  </a:lnTo>
                  <a:lnTo>
                    <a:pt x="114" y="205"/>
                  </a:lnTo>
                  <a:lnTo>
                    <a:pt x="114" y="205"/>
                  </a:lnTo>
                  <a:lnTo>
                    <a:pt x="116" y="205"/>
                  </a:lnTo>
                  <a:lnTo>
                    <a:pt x="118" y="205"/>
                  </a:lnTo>
                  <a:lnTo>
                    <a:pt x="120" y="205"/>
                  </a:lnTo>
                  <a:lnTo>
                    <a:pt x="122" y="205"/>
                  </a:lnTo>
                  <a:lnTo>
                    <a:pt x="124" y="205"/>
                  </a:lnTo>
                  <a:lnTo>
                    <a:pt x="124" y="203"/>
                  </a:lnTo>
                  <a:lnTo>
                    <a:pt x="126" y="203"/>
                  </a:lnTo>
                  <a:lnTo>
                    <a:pt x="126" y="201"/>
                  </a:lnTo>
                  <a:lnTo>
                    <a:pt x="126" y="201"/>
                  </a:lnTo>
                  <a:lnTo>
                    <a:pt x="128" y="199"/>
                  </a:lnTo>
                  <a:lnTo>
                    <a:pt x="126" y="199"/>
                  </a:lnTo>
                  <a:lnTo>
                    <a:pt x="126" y="199"/>
                  </a:lnTo>
                  <a:lnTo>
                    <a:pt x="126" y="199"/>
                  </a:lnTo>
                  <a:lnTo>
                    <a:pt x="122" y="201"/>
                  </a:lnTo>
                  <a:lnTo>
                    <a:pt x="118" y="201"/>
                  </a:lnTo>
                  <a:lnTo>
                    <a:pt x="116" y="201"/>
                  </a:lnTo>
                  <a:lnTo>
                    <a:pt x="114" y="201"/>
                  </a:lnTo>
                  <a:lnTo>
                    <a:pt x="112" y="199"/>
                  </a:lnTo>
                  <a:lnTo>
                    <a:pt x="112" y="199"/>
                  </a:lnTo>
                  <a:lnTo>
                    <a:pt x="112" y="198"/>
                  </a:lnTo>
                  <a:lnTo>
                    <a:pt x="112" y="198"/>
                  </a:lnTo>
                  <a:lnTo>
                    <a:pt x="112" y="196"/>
                  </a:lnTo>
                  <a:lnTo>
                    <a:pt x="112" y="196"/>
                  </a:lnTo>
                  <a:lnTo>
                    <a:pt x="112" y="196"/>
                  </a:lnTo>
                  <a:lnTo>
                    <a:pt x="114" y="196"/>
                  </a:lnTo>
                  <a:lnTo>
                    <a:pt x="116" y="198"/>
                  </a:lnTo>
                  <a:lnTo>
                    <a:pt x="116" y="198"/>
                  </a:lnTo>
                  <a:lnTo>
                    <a:pt x="118" y="198"/>
                  </a:lnTo>
                  <a:lnTo>
                    <a:pt x="118" y="198"/>
                  </a:lnTo>
                  <a:lnTo>
                    <a:pt x="118" y="196"/>
                  </a:lnTo>
                  <a:lnTo>
                    <a:pt x="118" y="196"/>
                  </a:lnTo>
                  <a:lnTo>
                    <a:pt x="118" y="194"/>
                  </a:lnTo>
                  <a:lnTo>
                    <a:pt x="116" y="192"/>
                  </a:lnTo>
                  <a:lnTo>
                    <a:pt x="116" y="192"/>
                  </a:lnTo>
                  <a:lnTo>
                    <a:pt x="116" y="192"/>
                  </a:lnTo>
                  <a:lnTo>
                    <a:pt x="116" y="190"/>
                  </a:lnTo>
                  <a:lnTo>
                    <a:pt x="118" y="186"/>
                  </a:lnTo>
                  <a:lnTo>
                    <a:pt x="118" y="186"/>
                  </a:lnTo>
                  <a:lnTo>
                    <a:pt x="120" y="184"/>
                  </a:lnTo>
                  <a:lnTo>
                    <a:pt x="120" y="184"/>
                  </a:lnTo>
                  <a:lnTo>
                    <a:pt x="118" y="184"/>
                  </a:lnTo>
                  <a:lnTo>
                    <a:pt x="118" y="184"/>
                  </a:lnTo>
                  <a:lnTo>
                    <a:pt x="118" y="184"/>
                  </a:lnTo>
                  <a:lnTo>
                    <a:pt x="114" y="184"/>
                  </a:lnTo>
                  <a:lnTo>
                    <a:pt x="111" y="186"/>
                  </a:lnTo>
                  <a:lnTo>
                    <a:pt x="109" y="186"/>
                  </a:lnTo>
                  <a:lnTo>
                    <a:pt x="103" y="184"/>
                  </a:lnTo>
                  <a:lnTo>
                    <a:pt x="103" y="186"/>
                  </a:lnTo>
                  <a:lnTo>
                    <a:pt x="101" y="186"/>
                  </a:lnTo>
                  <a:lnTo>
                    <a:pt x="101" y="186"/>
                  </a:lnTo>
                  <a:lnTo>
                    <a:pt x="101" y="186"/>
                  </a:lnTo>
                  <a:lnTo>
                    <a:pt x="101" y="188"/>
                  </a:lnTo>
                  <a:lnTo>
                    <a:pt x="101" y="188"/>
                  </a:lnTo>
                  <a:lnTo>
                    <a:pt x="101" y="188"/>
                  </a:lnTo>
                  <a:lnTo>
                    <a:pt x="99" y="190"/>
                  </a:lnTo>
                  <a:lnTo>
                    <a:pt x="99" y="190"/>
                  </a:lnTo>
                  <a:lnTo>
                    <a:pt x="99" y="192"/>
                  </a:lnTo>
                  <a:lnTo>
                    <a:pt x="97" y="192"/>
                  </a:lnTo>
                  <a:lnTo>
                    <a:pt x="97" y="192"/>
                  </a:lnTo>
                  <a:lnTo>
                    <a:pt x="99" y="196"/>
                  </a:lnTo>
                  <a:lnTo>
                    <a:pt x="99" y="198"/>
                  </a:lnTo>
                  <a:lnTo>
                    <a:pt x="99" y="199"/>
                  </a:lnTo>
                  <a:lnTo>
                    <a:pt x="97" y="199"/>
                  </a:lnTo>
                  <a:lnTo>
                    <a:pt x="97" y="201"/>
                  </a:lnTo>
                  <a:lnTo>
                    <a:pt x="97" y="201"/>
                  </a:lnTo>
                  <a:lnTo>
                    <a:pt x="97" y="201"/>
                  </a:lnTo>
                  <a:lnTo>
                    <a:pt x="95" y="201"/>
                  </a:lnTo>
                  <a:lnTo>
                    <a:pt x="93" y="199"/>
                  </a:lnTo>
                  <a:lnTo>
                    <a:pt x="93" y="199"/>
                  </a:lnTo>
                  <a:lnTo>
                    <a:pt x="93" y="199"/>
                  </a:lnTo>
                  <a:lnTo>
                    <a:pt x="91" y="203"/>
                  </a:lnTo>
                  <a:lnTo>
                    <a:pt x="90" y="203"/>
                  </a:lnTo>
                  <a:lnTo>
                    <a:pt x="90" y="203"/>
                  </a:lnTo>
                  <a:lnTo>
                    <a:pt x="88" y="203"/>
                  </a:lnTo>
                  <a:lnTo>
                    <a:pt x="86" y="203"/>
                  </a:lnTo>
                  <a:lnTo>
                    <a:pt x="86" y="203"/>
                  </a:lnTo>
                  <a:lnTo>
                    <a:pt x="82" y="201"/>
                  </a:lnTo>
                  <a:lnTo>
                    <a:pt x="82" y="201"/>
                  </a:lnTo>
                  <a:lnTo>
                    <a:pt x="80" y="201"/>
                  </a:lnTo>
                  <a:lnTo>
                    <a:pt x="80" y="199"/>
                  </a:lnTo>
                  <a:lnTo>
                    <a:pt x="80" y="199"/>
                  </a:lnTo>
                  <a:lnTo>
                    <a:pt x="78" y="198"/>
                  </a:lnTo>
                  <a:lnTo>
                    <a:pt x="76" y="198"/>
                  </a:lnTo>
                  <a:lnTo>
                    <a:pt x="74" y="196"/>
                  </a:lnTo>
                  <a:lnTo>
                    <a:pt x="72" y="196"/>
                  </a:lnTo>
                  <a:lnTo>
                    <a:pt x="72" y="198"/>
                  </a:lnTo>
                  <a:lnTo>
                    <a:pt x="72" y="198"/>
                  </a:lnTo>
                  <a:lnTo>
                    <a:pt x="74" y="203"/>
                  </a:lnTo>
                  <a:lnTo>
                    <a:pt x="74" y="203"/>
                  </a:lnTo>
                  <a:lnTo>
                    <a:pt x="74" y="205"/>
                  </a:lnTo>
                  <a:lnTo>
                    <a:pt x="74" y="207"/>
                  </a:lnTo>
                  <a:lnTo>
                    <a:pt x="74" y="209"/>
                  </a:lnTo>
                  <a:lnTo>
                    <a:pt x="74" y="211"/>
                  </a:lnTo>
                  <a:lnTo>
                    <a:pt x="74" y="211"/>
                  </a:lnTo>
                  <a:lnTo>
                    <a:pt x="76" y="211"/>
                  </a:lnTo>
                  <a:lnTo>
                    <a:pt x="78" y="211"/>
                  </a:lnTo>
                  <a:lnTo>
                    <a:pt x="80" y="211"/>
                  </a:lnTo>
                  <a:lnTo>
                    <a:pt x="82" y="211"/>
                  </a:lnTo>
                  <a:lnTo>
                    <a:pt x="82" y="211"/>
                  </a:lnTo>
                  <a:lnTo>
                    <a:pt x="84" y="211"/>
                  </a:lnTo>
                  <a:lnTo>
                    <a:pt x="84" y="211"/>
                  </a:lnTo>
                  <a:lnTo>
                    <a:pt x="86" y="211"/>
                  </a:lnTo>
                  <a:lnTo>
                    <a:pt x="86" y="211"/>
                  </a:lnTo>
                  <a:lnTo>
                    <a:pt x="88" y="211"/>
                  </a:lnTo>
                  <a:lnTo>
                    <a:pt x="88" y="213"/>
                  </a:lnTo>
                  <a:lnTo>
                    <a:pt x="88" y="213"/>
                  </a:lnTo>
                  <a:lnTo>
                    <a:pt x="86" y="215"/>
                  </a:lnTo>
                  <a:lnTo>
                    <a:pt x="86" y="217"/>
                  </a:lnTo>
                  <a:lnTo>
                    <a:pt x="86" y="218"/>
                  </a:lnTo>
                  <a:lnTo>
                    <a:pt x="86" y="218"/>
                  </a:lnTo>
                  <a:lnTo>
                    <a:pt x="86" y="220"/>
                  </a:lnTo>
                  <a:lnTo>
                    <a:pt x="86" y="222"/>
                  </a:lnTo>
                  <a:lnTo>
                    <a:pt x="84" y="222"/>
                  </a:lnTo>
                  <a:lnTo>
                    <a:pt x="84" y="224"/>
                  </a:lnTo>
                  <a:lnTo>
                    <a:pt x="82" y="224"/>
                  </a:lnTo>
                  <a:lnTo>
                    <a:pt x="78" y="224"/>
                  </a:lnTo>
                  <a:lnTo>
                    <a:pt x="78" y="224"/>
                  </a:lnTo>
                  <a:lnTo>
                    <a:pt x="76" y="222"/>
                  </a:lnTo>
                  <a:lnTo>
                    <a:pt x="76" y="222"/>
                  </a:lnTo>
                  <a:lnTo>
                    <a:pt x="74" y="220"/>
                  </a:lnTo>
                  <a:lnTo>
                    <a:pt x="74" y="218"/>
                  </a:lnTo>
                  <a:lnTo>
                    <a:pt x="72" y="218"/>
                  </a:lnTo>
                  <a:lnTo>
                    <a:pt x="72" y="217"/>
                  </a:lnTo>
                  <a:lnTo>
                    <a:pt x="70" y="217"/>
                  </a:lnTo>
                  <a:lnTo>
                    <a:pt x="70" y="215"/>
                  </a:lnTo>
                  <a:lnTo>
                    <a:pt x="70" y="213"/>
                  </a:lnTo>
                  <a:lnTo>
                    <a:pt x="70" y="213"/>
                  </a:lnTo>
                  <a:lnTo>
                    <a:pt x="69" y="213"/>
                  </a:lnTo>
                  <a:lnTo>
                    <a:pt x="69" y="213"/>
                  </a:lnTo>
                  <a:lnTo>
                    <a:pt x="69" y="213"/>
                  </a:lnTo>
                  <a:lnTo>
                    <a:pt x="69" y="217"/>
                  </a:lnTo>
                  <a:lnTo>
                    <a:pt x="69" y="220"/>
                  </a:lnTo>
                  <a:lnTo>
                    <a:pt x="69" y="220"/>
                  </a:lnTo>
                  <a:lnTo>
                    <a:pt x="69" y="222"/>
                  </a:lnTo>
                  <a:lnTo>
                    <a:pt x="69" y="224"/>
                  </a:lnTo>
                  <a:lnTo>
                    <a:pt x="67" y="232"/>
                  </a:lnTo>
                  <a:lnTo>
                    <a:pt x="63" y="236"/>
                  </a:lnTo>
                  <a:lnTo>
                    <a:pt x="63" y="237"/>
                  </a:lnTo>
                  <a:lnTo>
                    <a:pt x="63" y="237"/>
                  </a:lnTo>
                  <a:lnTo>
                    <a:pt x="63" y="239"/>
                  </a:lnTo>
                  <a:lnTo>
                    <a:pt x="63" y="239"/>
                  </a:lnTo>
                  <a:lnTo>
                    <a:pt x="63" y="241"/>
                  </a:lnTo>
                  <a:lnTo>
                    <a:pt x="72" y="243"/>
                  </a:lnTo>
                  <a:lnTo>
                    <a:pt x="74" y="243"/>
                  </a:lnTo>
                  <a:lnTo>
                    <a:pt x="74" y="245"/>
                  </a:lnTo>
                  <a:lnTo>
                    <a:pt x="74" y="247"/>
                  </a:lnTo>
                  <a:lnTo>
                    <a:pt x="74" y="249"/>
                  </a:lnTo>
                  <a:lnTo>
                    <a:pt x="72" y="251"/>
                  </a:lnTo>
                  <a:lnTo>
                    <a:pt x="69" y="255"/>
                  </a:lnTo>
                  <a:lnTo>
                    <a:pt x="67" y="256"/>
                  </a:lnTo>
                  <a:lnTo>
                    <a:pt x="67" y="256"/>
                  </a:lnTo>
                  <a:lnTo>
                    <a:pt x="67" y="258"/>
                  </a:lnTo>
                  <a:lnTo>
                    <a:pt x="67" y="260"/>
                  </a:lnTo>
                  <a:lnTo>
                    <a:pt x="67" y="262"/>
                  </a:lnTo>
                  <a:lnTo>
                    <a:pt x="65" y="262"/>
                  </a:lnTo>
                  <a:lnTo>
                    <a:pt x="65" y="264"/>
                  </a:lnTo>
                  <a:lnTo>
                    <a:pt x="65" y="264"/>
                  </a:lnTo>
                  <a:lnTo>
                    <a:pt x="67" y="264"/>
                  </a:lnTo>
                  <a:lnTo>
                    <a:pt x="67" y="264"/>
                  </a:lnTo>
                  <a:lnTo>
                    <a:pt x="70" y="264"/>
                  </a:lnTo>
                  <a:lnTo>
                    <a:pt x="72" y="264"/>
                  </a:lnTo>
                  <a:lnTo>
                    <a:pt x="74" y="266"/>
                  </a:lnTo>
                  <a:lnTo>
                    <a:pt x="76" y="266"/>
                  </a:lnTo>
                  <a:lnTo>
                    <a:pt x="78" y="268"/>
                  </a:lnTo>
                  <a:lnTo>
                    <a:pt x="78" y="268"/>
                  </a:lnTo>
                  <a:lnTo>
                    <a:pt x="78" y="270"/>
                  </a:lnTo>
                  <a:lnTo>
                    <a:pt x="78" y="275"/>
                  </a:lnTo>
                  <a:lnTo>
                    <a:pt x="80" y="277"/>
                  </a:lnTo>
                  <a:lnTo>
                    <a:pt x="80" y="279"/>
                  </a:lnTo>
                  <a:lnTo>
                    <a:pt x="80" y="281"/>
                  </a:lnTo>
                  <a:lnTo>
                    <a:pt x="82" y="281"/>
                  </a:lnTo>
                  <a:lnTo>
                    <a:pt x="82" y="283"/>
                  </a:lnTo>
                  <a:lnTo>
                    <a:pt x="84" y="285"/>
                  </a:lnTo>
                  <a:lnTo>
                    <a:pt x="86" y="285"/>
                  </a:lnTo>
                  <a:lnTo>
                    <a:pt x="86" y="287"/>
                  </a:lnTo>
                  <a:lnTo>
                    <a:pt x="86" y="287"/>
                  </a:lnTo>
                  <a:lnTo>
                    <a:pt x="86" y="289"/>
                  </a:lnTo>
                  <a:lnTo>
                    <a:pt x="86" y="289"/>
                  </a:lnTo>
                  <a:lnTo>
                    <a:pt x="84" y="291"/>
                  </a:lnTo>
                  <a:lnTo>
                    <a:pt x="80" y="302"/>
                  </a:lnTo>
                  <a:lnTo>
                    <a:pt x="80" y="306"/>
                  </a:lnTo>
                  <a:lnTo>
                    <a:pt x="80" y="308"/>
                  </a:lnTo>
                  <a:lnTo>
                    <a:pt x="80" y="310"/>
                  </a:lnTo>
                  <a:lnTo>
                    <a:pt x="80" y="312"/>
                  </a:lnTo>
                  <a:lnTo>
                    <a:pt x="82" y="314"/>
                  </a:lnTo>
                  <a:lnTo>
                    <a:pt x="84" y="315"/>
                  </a:lnTo>
                  <a:lnTo>
                    <a:pt x="84" y="319"/>
                  </a:lnTo>
                  <a:lnTo>
                    <a:pt x="84" y="321"/>
                  </a:lnTo>
                  <a:lnTo>
                    <a:pt x="84" y="323"/>
                  </a:lnTo>
                  <a:lnTo>
                    <a:pt x="84" y="325"/>
                  </a:lnTo>
                  <a:lnTo>
                    <a:pt x="82" y="327"/>
                  </a:lnTo>
                  <a:lnTo>
                    <a:pt x="82" y="327"/>
                  </a:lnTo>
                  <a:lnTo>
                    <a:pt x="80" y="329"/>
                  </a:lnTo>
                  <a:lnTo>
                    <a:pt x="80" y="329"/>
                  </a:lnTo>
                  <a:lnTo>
                    <a:pt x="80" y="331"/>
                  </a:lnTo>
                  <a:lnTo>
                    <a:pt x="78" y="334"/>
                  </a:lnTo>
                  <a:lnTo>
                    <a:pt x="78" y="336"/>
                  </a:lnTo>
                  <a:lnTo>
                    <a:pt x="76" y="338"/>
                  </a:lnTo>
                  <a:lnTo>
                    <a:pt x="76" y="338"/>
                  </a:lnTo>
                  <a:lnTo>
                    <a:pt x="72" y="342"/>
                  </a:lnTo>
                  <a:lnTo>
                    <a:pt x="72" y="342"/>
                  </a:lnTo>
                  <a:lnTo>
                    <a:pt x="70" y="342"/>
                  </a:lnTo>
                  <a:lnTo>
                    <a:pt x="69" y="342"/>
                  </a:lnTo>
                  <a:lnTo>
                    <a:pt x="63" y="346"/>
                  </a:lnTo>
                  <a:lnTo>
                    <a:pt x="61" y="346"/>
                  </a:lnTo>
                  <a:lnTo>
                    <a:pt x="57" y="348"/>
                  </a:lnTo>
                  <a:lnTo>
                    <a:pt x="55" y="350"/>
                  </a:lnTo>
                  <a:lnTo>
                    <a:pt x="50" y="355"/>
                  </a:lnTo>
                  <a:lnTo>
                    <a:pt x="48" y="355"/>
                  </a:lnTo>
                  <a:lnTo>
                    <a:pt x="46" y="363"/>
                  </a:lnTo>
                  <a:lnTo>
                    <a:pt x="46" y="363"/>
                  </a:lnTo>
                  <a:lnTo>
                    <a:pt x="46" y="365"/>
                  </a:lnTo>
                  <a:lnTo>
                    <a:pt x="46" y="365"/>
                  </a:lnTo>
                  <a:lnTo>
                    <a:pt x="46" y="367"/>
                  </a:lnTo>
                  <a:lnTo>
                    <a:pt x="48" y="367"/>
                  </a:lnTo>
                  <a:lnTo>
                    <a:pt x="48" y="367"/>
                  </a:lnTo>
                  <a:lnTo>
                    <a:pt x="51" y="367"/>
                  </a:lnTo>
                  <a:lnTo>
                    <a:pt x="53" y="369"/>
                  </a:lnTo>
                  <a:lnTo>
                    <a:pt x="55" y="369"/>
                  </a:lnTo>
                  <a:lnTo>
                    <a:pt x="57" y="369"/>
                  </a:lnTo>
                  <a:lnTo>
                    <a:pt x="57" y="369"/>
                  </a:lnTo>
                  <a:lnTo>
                    <a:pt x="59" y="369"/>
                  </a:lnTo>
                  <a:lnTo>
                    <a:pt x="59" y="371"/>
                  </a:lnTo>
                  <a:lnTo>
                    <a:pt x="61" y="371"/>
                  </a:lnTo>
                  <a:lnTo>
                    <a:pt x="61" y="372"/>
                  </a:lnTo>
                  <a:lnTo>
                    <a:pt x="63" y="372"/>
                  </a:lnTo>
                  <a:lnTo>
                    <a:pt x="63" y="374"/>
                  </a:lnTo>
                  <a:lnTo>
                    <a:pt x="63" y="374"/>
                  </a:lnTo>
                  <a:lnTo>
                    <a:pt x="59" y="376"/>
                  </a:lnTo>
                  <a:lnTo>
                    <a:pt x="53" y="380"/>
                  </a:lnTo>
                  <a:lnTo>
                    <a:pt x="48" y="382"/>
                  </a:lnTo>
                  <a:lnTo>
                    <a:pt x="40" y="386"/>
                  </a:lnTo>
                  <a:lnTo>
                    <a:pt x="38" y="386"/>
                  </a:lnTo>
                  <a:lnTo>
                    <a:pt x="38" y="386"/>
                  </a:lnTo>
                  <a:lnTo>
                    <a:pt x="36" y="384"/>
                  </a:lnTo>
                  <a:lnTo>
                    <a:pt x="34" y="384"/>
                  </a:lnTo>
                  <a:lnTo>
                    <a:pt x="32" y="384"/>
                  </a:lnTo>
                  <a:lnTo>
                    <a:pt x="32" y="384"/>
                  </a:lnTo>
                  <a:lnTo>
                    <a:pt x="30" y="386"/>
                  </a:lnTo>
                  <a:lnTo>
                    <a:pt x="30" y="386"/>
                  </a:lnTo>
                  <a:lnTo>
                    <a:pt x="29" y="386"/>
                  </a:lnTo>
                  <a:lnTo>
                    <a:pt x="27" y="388"/>
                  </a:lnTo>
                  <a:lnTo>
                    <a:pt x="29" y="393"/>
                  </a:lnTo>
                  <a:lnTo>
                    <a:pt x="30" y="401"/>
                  </a:lnTo>
                  <a:lnTo>
                    <a:pt x="30" y="403"/>
                  </a:lnTo>
                  <a:lnTo>
                    <a:pt x="30" y="405"/>
                  </a:lnTo>
                  <a:lnTo>
                    <a:pt x="30" y="405"/>
                  </a:lnTo>
                  <a:lnTo>
                    <a:pt x="32" y="405"/>
                  </a:lnTo>
                  <a:lnTo>
                    <a:pt x="32" y="405"/>
                  </a:lnTo>
                  <a:lnTo>
                    <a:pt x="32" y="403"/>
                  </a:lnTo>
                  <a:lnTo>
                    <a:pt x="34" y="403"/>
                  </a:lnTo>
                  <a:lnTo>
                    <a:pt x="34" y="403"/>
                  </a:lnTo>
                  <a:lnTo>
                    <a:pt x="36" y="405"/>
                  </a:lnTo>
                  <a:lnTo>
                    <a:pt x="38" y="407"/>
                  </a:lnTo>
                  <a:lnTo>
                    <a:pt x="40" y="409"/>
                  </a:lnTo>
                  <a:lnTo>
                    <a:pt x="40" y="411"/>
                  </a:lnTo>
                  <a:lnTo>
                    <a:pt x="32" y="426"/>
                  </a:lnTo>
                  <a:lnTo>
                    <a:pt x="30" y="428"/>
                  </a:lnTo>
                  <a:lnTo>
                    <a:pt x="30" y="428"/>
                  </a:lnTo>
                  <a:lnTo>
                    <a:pt x="29" y="430"/>
                  </a:lnTo>
                  <a:lnTo>
                    <a:pt x="29" y="430"/>
                  </a:lnTo>
                  <a:lnTo>
                    <a:pt x="27" y="430"/>
                  </a:lnTo>
                  <a:lnTo>
                    <a:pt x="27" y="430"/>
                  </a:lnTo>
                  <a:lnTo>
                    <a:pt x="25" y="430"/>
                  </a:lnTo>
                  <a:lnTo>
                    <a:pt x="23" y="430"/>
                  </a:lnTo>
                  <a:lnTo>
                    <a:pt x="23" y="430"/>
                  </a:lnTo>
                  <a:lnTo>
                    <a:pt x="15" y="435"/>
                  </a:lnTo>
                  <a:lnTo>
                    <a:pt x="11" y="439"/>
                  </a:lnTo>
                  <a:lnTo>
                    <a:pt x="11" y="441"/>
                  </a:lnTo>
                  <a:lnTo>
                    <a:pt x="10" y="441"/>
                  </a:lnTo>
                  <a:lnTo>
                    <a:pt x="10" y="441"/>
                  </a:lnTo>
                  <a:lnTo>
                    <a:pt x="8" y="441"/>
                  </a:lnTo>
                  <a:lnTo>
                    <a:pt x="2" y="439"/>
                  </a:lnTo>
                  <a:lnTo>
                    <a:pt x="2" y="439"/>
                  </a:lnTo>
                  <a:lnTo>
                    <a:pt x="2" y="439"/>
                  </a:lnTo>
                  <a:lnTo>
                    <a:pt x="0" y="439"/>
                  </a:lnTo>
                  <a:lnTo>
                    <a:pt x="0" y="441"/>
                  </a:lnTo>
                  <a:lnTo>
                    <a:pt x="0" y="443"/>
                  </a:lnTo>
                  <a:lnTo>
                    <a:pt x="0" y="443"/>
                  </a:lnTo>
                  <a:lnTo>
                    <a:pt x="0" y="445"/>
                  </a:lnTo>
                  <a:lnTo>
                    <a:pt x="4" y="449"/>
                  </a:lnTo>
                  <a:lnTo>
                    <a:pt x="6" y="450"/>
                  </a:lnTo>
                  <a:lnTo>
                    <a:pt x="8" y="450"/>
                  </a:lnTo>
                  <a:lnTo>
                    <a:pt x="8" y="450"/>
                  </a:lnTo>
                  <a:lnTo>
                    <a:pt x="11" y="450"/>
                  </a:lnTo>
                  <a:lnTo>
                    <a:pt x="15" y="450"/>
                  </a:lnTo>
                  <a:lnTo>
                    <a:pt x="17" y="450"/>
                  </a:lnTo>
                  <a:lnTo>
                    <a:pt x="19" y="450"/>
                  </a:lnTo>
                  <a:lnTo>
                    <a:pt x="19" y="452"/>
                  </a:lnTo>
                  <a:lnTo>
                    <a:pt x="19" y="452"/>
                  </a:lnTo>
                  <a:lnTo>
                    <a:pt x="19" y="454"/>
                  </a:lnTo>
                  <a:lnTo>
                    <a:pt x="19" y="454"/>
                  </a:lnTo>
                  <a:lnTo>
                    <a:pt x="19" y="456"/>
                  </a:lnTo>
                  <a:lnTo>
                    <a:pt x="17" y="456"/>
                  </a:lnTo>
                  <a:lnTo>
                    <a:pt x="17" y="458"/>
                  </a:lnTo>
                  <a:lnTo>
                    <a:pt x="15" y="458"/>
                  </a:lnTo>
                  <a:lnTo>
                    <a:pt x="13" y="458"/>
                  </a:lnTo>
                  <a:lnTo>
                    <a:pt x="11" y="460"/>
                  </a:lnTo>
                  <a:lnTo>
                    <a:pt x="10" y="460"/>
                  </a:lnTo>
                  <a:lnTo>
                    <a:pt x="10" y="458"/>
                  </a:lnTo>
                  <a:lnTo>
                    <a:pt x="8" y="458"/>
                  </a:lnTo>
                  <a:lnTo>
                    <a:pt x="8" y="458"/>
                  </a:lnTo>
                  <a:lnTo>
                    <a:pt x="6" y="456"/>
                  </a:lnTo>
                  <a:lnTo>
                    <a:pt x="6" y="456"/>
                  </a:lnTo>
                  <a:lnTo>
                    <a:pt x="4" y="456"/>
                  </a:lnTo>
                  <a:lnTo>
                    <a:pt x="4" y="456"/>
                  </a:lnTo>
                  <a:lnTo>
                    <a:pt x="4" y="456"/>
                  </a:lnTo>
                  <a:lnTo>
                    <a:pt x="4" y="458"/>
                  </a:lnTo>
                  <a:lnTo>
                    <a:pt x="2" y="460"/>
                  </a:lnTo>
                  <a:lnTo>
                    <a:pt x="2" y="462"/>
                  </a:lnTo>
                  <a:lnTo>
                    <a:pt x="2" y="464"/>
                  </a:lnTo>
                  <a:lnTo>
                    <a:pt x="2" y="466"/>
                  </a:lnTo>
                  <a:lnTo>
                    <a:pt x="4" y="468"/>
                  </a:lnTo>
                  <a:lnTo>
                    <a:pt x="2" y="469"/>
                  </a:lnTo>
                  <a:lnTo>
                    <a:pt x="4" y="471"/>
                  </a:lnTo>
                  <a:lnTo>
                    <a:pt x="4" y="471"/>
                  </a:lnTo>
                  <a:lnTo>
                    <a:pt x="6" y="473"/>
                  </a:lnTo>
                  <a:lnTo>
                    <a:pt x="6" y="473"/>
                  </a:lnTo>
                  <a:lnTo>
                    <a:pt x="8" y="475"/>
                  </a:lnTo>
                  <a:lnTo>
                    <a:pt x="8" y="477"/>
                  </a:lnTo>
                  <a:lnTo>
                    <a:pt x="8" y="479"/>
                  </a:lnTo>
                  <a:lnTo>
                    <a:pt x="8" y="481"/>
                  </a:lnTo>
                  <a:lnTo>
                    <a:pt x="8" y="481"/>
                  </a:lnTo>
                  <a:lnTo>
                    <a:pt x="10" y="483"/>
                  </a:lnTo>
                  <a:lnTo>
                    <a:pt x="10" y="485"/>
                  </a:lnTo>
                  <a:lnTo>
                    <a:pt x="10" y="485"/>
                  </a:lnTo>
                  <a:lnTo>
                    <a:pt x="10" y="488"/>
                  </a:lnTo>
                  <a:lnTo>
                    <a:pt x="10" y="496"/>
                  </a:lnTo>
                  <a:lnTo>
                    <a:pt x="11" y="496"/>
                  </a:lnTo>
                  <a:lnTo>
                    <a:pt x="13" y="498"/>
                  </a:lnTo>
                  <a:lnTo>
                    <a:pt x="15" y="498"/>
                  </a:lnTo>
                  <a:lnTo>
                    <a:pt x="17" y="498"/>
                  </a:lnTo>
                  <a:lnTo>
                    <a:pt x="19" y="498"/>
                  </a:lnTo>
                  <a:lnTo>
                    <a:pt x="21" y="498"/>
                  </a:lnTo>
                  <a:lnTo>
                    <a:pt x="23" y="496"/>
                  </a:lnTo>
                  <a:lnTo>
                    <a:pt x="23" y="496"/>
                  </a:lnTo>
                  <a:lnTo>
                    <a:pt x="23" y="496"/>
                  </a:lnTo>
                  <a:lnTo>
                    <a:pt x="23" y="494"/>
                  </a:lnTo>
                  <a:lnTo>
                    <a:pt x="23" y="494"/>
                  </a:lnTo>
                  <a:lnTo>
                    <a:pt x="25" y="494"/>
                  </a:lnTo>
                  <a:lnTo>
                    <a:pt x="25" y="494"/>
                  </a:lnTo>
                  <a:lnTo>
                    <a:pt x="27" y="494"/>
                  </a:lnTo>
                  <a:lnTo>
                    <a:pt x="29" y="492"/>
                  </a:lnTo>
                  <a:lnTo>
                    <a:pt x="29" y="492"/>
                  </a:lnTo>
                  <a:lnTo>
                    <a:pt x="32" y="488"/>
                  </a:lnTo>
                  <a:lnTo>
                    <a:pt x="34" y="488"/>
                  </a:lnTo>
                  <a:lnTo>
                    <a:pt x="36" y="490"/>
                  </a:lnTo>
                  <a:lnTo>
                    <a:pt x="42" y="496"/>
                  </a:lnTo>
                  <a:lnTo>
                    <a:pt x="42" y="500"/>
                  </a:lnTo>
                  <a:lnTo>
                    <a:pt x="42" y="500"/>
                  </a:lnTo>
                  <a:lnTo>
                    <a:pt x="42" y="509"/>
                  </a:lnTo>
                  <a:lnTo>
                    <a:pt x="42" y="511"/>
                  </a:lnTo>
                  <a:lnTo>
                    <a:pt x="42" y="511"/>
                  </a:lnTo>
                  <a:lnTo>
                    <a:pt x="44" y="513"/>
                  </a:lnTo>
                  <a:lnTo>
                    <a:pt x="44" y="515"/>
                  </a:lnTo>
                  <a:lnTo>
                    <a:pt x="44" y="517"/>
                  </a:lnTo>
                  <a:lnTo>
                    <a:pt x="44" y="519"/>
                  </a:lnTo>
                  <a:lnTo>
                    <a:pt x="46" y="519"/>
                  </a:lnTo>
                  <a:lnTo>
                    <a:pt x="46" y="521"/>
                  </a:lnTo>
                  <a:lnTo>
                    <a:pt x="48" y="521"/>
                  </a:lnTo>
                  <a:lnTo>
                    <a:pt x="51" y="525"/>
                  </a:lnTo>
                  <a:lnTo>
                    <a:pt x="53" y="525"/>
                  </a:lnTo>
                  <a:lnTo>
                    <a:pt x="57" y="527"/>
                  </a:lnTo>
                  <a:lnTo>
                    <a:pt x="59" y="527"/>
                  </a:lnTo>
                  <a:lnTo>
                    <a:pt x="59" y="528"/>
                  </a:lnTo>
                  <a:lnTo>
                    <a:pt x="61" y="528"/>
                  </a:lnTo>
                  <a:lnTo>
                    <a:pt x="63" y="530"/>
                  </a:lnTo>
                  <a:lnTo>
                    <a:pt x="65" y="530"/>
                  </a:lnTo>
                  <a:lnTo>
                    <a:pt x="67" y="530"/>
                  </a:lnTo>
                  <a:lnTo>
                    <a:pt x="76" y="528"/>
                  </a:lnTo>
                  <a:lnTo>
                    <a:pt x="76" y="528"/>
                  </a:lnTo>
                  <a:lnTo>
                    <a:pt x="80" y="530"/>
                  </a:lnTo>
                  <a:lnTo>
                    <a:pt x="80" y="530"/>
                  </a:lnTo>
                  <a:lnTo>
                    <a:pt x="82" y="530"/>
                  </a:lnTo>
                  <a:lnTo>
                    <a:pt x="82" y="532"/>
                  </a:lnTo>
                  <a:lnTo>
                    <a:pt x="84" y="532"/>
                  </a:lnTo>
                  <a:lnTo>
                    <a:pt x="86" y="532"/>
                  </a:lnTo>
                  <a:lnTo>
                    <a:pt x="90" y="534"/>
                  </a:lnTo>
                  <a:lnTo>
                    <a:pt x="90" y="534"/>
                  </a:lnTo>
                  <a:lnTo>
                    <a:pt x="93" y="534"/>
                  </a:lnTo>
                  <a:lnTo>
                    <a:pt x="93" y="536"/>
                  </a:lnTo>
                  <a:lnTo>
                    <a:pt x="95" y="538"/>
                  </a:lnTo>
                  <a:lnTo>
                    <a:pt x="99" y="542"/>
                  </a:lnTo>
                  <a:lnTo>
                    <a:pt x="99" y="546"/>
                  </a:lnTo>
                  <a:lnTo>
                    <a:pt x="101" y="546"/>
                  </a:lnTo>
                  <a:lnTo>
                    <a:pt x="101" y="547"/>
                  </a:lnTo>
                  <a:lnTo>
                    <a:pt x="103" y="547"/>
                  </a:lnTo>
                  <a:lnTo>
                    <a:pt x="103" y="547"/>
                  </a:lnTo>
                  <a:lnTo>
                    <a:pt x="109" y="551"/>
                  </a:lnTo>
                  <a:lnTo>
                    <a:pt x="118" y="553"/>
                  </a:lnTo>
                  <a:lnTo>
                    <a:pt x="122" y="551"/>
                  </a:lnTo>
                  <a:lnTo>
                    <a:pt x="122" y="553"/>
                  </a:lnTo>
                  <a:lnTo>
                    <a:pt x="124" y="553"/>
                  </a:lnTo>
                  <a:lnTo>
                    <a:pt x="124" y="553"/>
                  </a:lnTo>
                  <a:lnTo>
                    <a:pt x="133" y="553"/>
                  </a:lnTo>
                  <a:lnTo>
                    <a:pt x="137" y="553"/>
                  </a:lnTo>
                  <a:lnTo>
                    <a:pt x="139" y="553"/>
                  </a:lnTo>
                  <a:lnTo>
                    <a:pt x="141" y="553"/>
                  </a:lnTo>
                  <a:lnTo>
                    <a:pt x="145" y="553"/>
                  </a:lnTo>
                  <a:lnTo>
                    <a:pt x="145" y="551"/>
                  </a:lnTo>
                  <a:lnTo>
                    <a:pt x="147" y="551"/>
                  </a:lnTo>
                  <a:lnTo>
                    <a:pt x="151" y="553"/>
                  </a:lnTo>
                  <a:lnTo>
                    <a:pt x="154" y="553"/>
                  </a:lnTo>
                  <a:lnTo>
                    <a:pt x="164" y="553"/>
                  </a:lnTo>
                  <a:lnTo>
                    <a:pt x="170" y="551"/>
                  </a:lnTo>
                  <a:lnTo>
                    <a:pt x="173" y="551"/>
                  </a:lnTo>
                  <a:lnTo>
                    <a:pt x="175" y="551"/>
                  </a:lnTo>
                  <a:lnTo>
                    <a:pt x="177" y="551"/>
                  </a:lnTo>
                  <a:lnTo>
                    <a:pt x="181" y="553"/>
                  </a:lnTo>
                  <a:lnTo>
                    <a:pt x="185" y="553"/>
                  </a:lnTo>
                  <a:lnTo>
                    <a:pt x="187" y="553"/>
                  </a:lnTo>
                  <a:lnTo>
                    <a:pt x="187" y="553"/>
                  </a:lnTo>
                  <a:lnTo>
                    <a:pt x="189" y="553"/>
                  </a:lnTo>
                  <a:lnTo>
                    <a:pt x="189" y="553"/>
                  </a:lnTo>
                  <a:lnTo>
                    <a:pt x="191" y="555"/>
                  </a:lnTo>
                  <a:lnTo>
                    <a:pt x="192" y="557"/>
                  </a:lnTo>
                  <a:lnTo>
                    <a:pt x="194" y="563"/>
                  </a:lnTo>
                  <a:lnTo>
                    <a:pt x="194" y="566"/>
                  </a:lnTo>
                  <a:lnTo>
                    <a:pt x="194" y="570"/>
                  </a:lnTo>
                  <a:lnTo>
                    <a:pt x="194" y="572"/>
                  </a:lnTo>
                  <a:lnTo>
                    <a:pt x="194" y="572"/>
                  </a:lnTo>
                  <a:lnTo>
                    <a:pt x="192" y="572"/>
                  </a:lnTo>
                  <a:lnTo>
                    <a:pt x="192" y="572"/>
                  </a:lnTo>
                  <a:lnTo>
                    <a:pt x="192" y="572"/>
                  </a:lnTo>
                  <a:lnTo>
                    <a:pt x="191" y="574"/>
                  </a:lnTo>
                  <a:lnTo>
                    <a:pt x="191" y="574"/>
                  </a:lnTo>
                  <a:lnTo>
                    <a:pt x="191" y="574"/>
                  </a:lnTo>
                  <a:lnTo>
                    <a:pt x="191" y="574"/>
                  </a:lnTo>
                  <a:lnTo>
                    <a:pt x="191" y="574"/>
                  </a:lnTo>
                  <a:lnTo>
                    <a:pt x="192" y="574"/>
                  </a:lnTo>
                  <a:lnTo>
                    <a:pt x="194" y="580"/>
                  </a:lnTo>
                  <a:lnTo>
                    <a:pt x="196" y="582"/>
                  </a:lnTo>
                  <a:lnTo>
                    <a:pt x="198" y="582"/>
                  </a:lnTo>
                  <a:lnTo>
                    <a:pt x="208" y="584"/>
                  </a:lnTo>
                  <a:lnTo>
                    <a:pt x="212" y="582"/>
                  </a:lnTo>
                  <a:lnTo>
                    <a:pt x="217" y="582"/>
                  </a:lnTo>
                  <a:lnTo>
                    <a:pt x="219" y="580"/>
                  </a:lnTo>
                  <a:lnTo>
                    <a:pt x="221" y="580"/>
                  </a:lnTo>
                  <a:lnTo>
                    <a:pt x="223" y="578"/>
                  </a:lnTo>
                  <a:lnTo>
                    <a:pt x="225" y="576"/>
                  </a:lnTo>
                  <a:lnTo>
                    <a:pt x="227" y="574"/>
                  </a:lnTo>
                  <a:lnTo>
                    <a:pt x="227" y="572"/>
                  </a:lnTo>
                  <a:lnTo>
                    <a:pt x="231" y="570"/>
                  </a:lnTo>
                  <a:lnTo>
                    <a:pt x="232" y="570"/>
                  </a:lnTo>
                  <a:lnTo>
                    <a:pt x="238" y="570"/>
                  </a:lnTo>
                  <a:lnTo>
                    <a:pt x="240" y="570"/>
                  </a:lnTo>
                  <a:lnTo>
                    <a:pt x="240" y="568"/>
                  </a:lnTo>
                  <a:lnTo>
                    <a:pt x="242" y="566"/>
                  </a:lnTo>
                  <a:lnTo>
                    <a:pt x="242" y="565"/>
                  </a:lnTo>
                  <a:lnTo>
                    <a:pt x="242" y="561"/>
                  </a:lnTo>
                  <a:lnTo>
                    <a:pt x="240" y="559"/>
                  </a:lnTo>
                  <a:lnTo>
                    <a:pt x="240" y="557"/>
                  </a:lnTo>
                  <a:lnTo>
                    <a:pt x="240" y="557"/>
                  </a:lnTo>
                  <a:lnTo>
                    <a:pt x="240" y="555"/>
                  </a:lnTo>
                  <a:lnTo>
                    <a:pt x="242" y="555"/>
                  </a:lnTo>
                  <a:lnTo>
                    <a:pt x="244" y="553"/>
                  </a:lnTo>
                  <a:lnTo>
                    <a:pt x="248" y="551"/>
                  </a:lnTo>
                  <a:lnTo>
                    <a:pt x="248" y="549"/>
                  </a:lnTo>
                  <a:lnTo>
                    <a:pt x="250" y="549"/>
                  </a:lnTo>
                  <a:lnTo>
                    <a:pt x="252" y="546"/>
                  </a:lnTo>
                  <a:lnTo>
                    <a:pt x="252" y="544"/>
                  </a:lnTo>
                  <a:lnTo>
                    <a:pt x="253" y="544"/>
                  </a:lnTo>
                  <a:lnTo>
                    <a:pt x="253" y="542"/>
                  </a:lnTo>
                  <a:lnTo>
                    <a:pt x="253" y="542"/>
                  </a:lnTo>
                  <a:lnTo>
                    <a:pt x="253" y="542"/>
                  </a:lnTo>
                  <a:lnTo>
                    <a:pt x="253" y="540"/>
                  </a:lnTo>
                  <a:lnTo>
                    <a:pt x="253" y="540"/>
                  </a:lnTo>
                  <a:lnTo>
                    <a:pt x="253" y="540"/>
                  </a:lnTo>
                  <a:lnTo>
                    <a:pt x="253" y="538"/>
                  </a:lnTo>
                  <a:lnTo>
                    <a:pt x="253" y="538"/>
                  </a:lnTo>
                  <a:lnTo>
                    <a:pt x="255" y="536"/>
                  </a:lnTo>
                  <a:lnTo>
                    <a:pt x="255" y="532"/>
                  </a:lnTo>
                  <a:lnTo>
                    <a:pt x="257" y="530"/>
                  </a:lnTo>
                  <a:lnTo>
                    <a:pt x="259" y="530"/>
                  </a:lnTo>
                  <a:lnTo>
                    <a:pt x="265" y="530"/>
                  </a:lnTo>
                  <a:lnTo>
                    <a:pt x="267" y="528"/>
                  </a:lnTo>
                  <a:lnTo>
                    <a:pt x="276" y="521"/>
                  </a:lnTo>
                  <a:lnTo>
                    <a:pt x="280" y="519"/>
                  </a:lnTo>
                  <a:lnTo>
                    <a:pt x="284" y="519"/>
                  </a:lnTo>
                  <a:lnTo>
                    <a:pt x="290" y="519"/>
                  </a:lnTo>
                  <a:lnTo>
                    <a:pt x="290" y="519"/>
                  </a:lnTo>
                  <a:lnTo>
                    <a:pt x="292" y="519"/>
                  </a:lnTo>
                  <a:lnTo>
                    <a:pt x="292" y="519"/>
                  </a:lnTo>
                  <a:lnTo>
                    <a:pt x="292" y="519"/>
                  </a:lnTo>
                  <a:lnTo>
                    <a:pt x="292" y="521"/>
                  </a:lnTo>
                  <a:lnTo>
                    <a:pt x="293" y="521"/>
                  </a:lnTo>
                  <a:lnTo>
                    <a:pt x="293" y="521"/>
                  </a:lnTo>
                  <a:lnTo>
                    <a:pt x="293" y="521"/>
                  </a:lnTo>
                  <a:lnTo>
                    <a:pt x="295" y="521"/>
                  </a:lnTo>
                  <a:lnTo>
                    <a:pt x="295" y="521"/>
                  </a:lnTo>
                  <a:lnTo>
                    <a:pt x="295" y="519"/>
                  </a:lnTo>
                  <a:lnTo>
                    <a:pt x="297" y="517"/>
                  </a:lnTo>
                  <a:lnTo>
                    <a:pt x="297" y="517"/>
                  </a:lnTo>
                  <a:lnTo>
                    <a:pt x="301" y="517"/>
                  </a:lnTo>
                  <a:lnTo>
                    <a:pt x="301" y="517"/>
                  </a:lnTo>
                  <a:lnTo>
                    <a:pt x="303" y="515"/>
                  </a:lnTo>
                  <a:lnTo>
                    <a:pt x="303" y="513"/>
                  </a:lnTo>
                  <a:lnTo>
                    <a:pt x="305" y="513"/>
                  </a:lnTo>
                  <a:lnTo>
                    <a:pt x="316" y="513"/>
                  </a:lnTo>
                  <a:lnTo>
                    <a:pt x="318" y="515"/>
                  </a:lnTo>
                  <a:lnTo>
                    <a:pt x="318" y="515"/>
                  </a:lnTo>
                  <a:lnTo>
                    <a:pt x="320" y="515"/>
                  </a:lnTo>
                  <a:lnTo>
                    <a:pt x="320" y="517"/>
                  </a:lnTo>
                  <a:lnTo>
                    <a:pt x="320" y="517"/>
                  </a:lnTo>
                  <a:lnTo>
                    <a:pt x="320" y="517"/>
                  </a:lnTo>
                  <a:lnTo>
                    <a:pt x="320" y="517"/>
                  </a:lnTo>
                  <a:lnTo>
                    <a:pt x="320" y="517"/>
                  </a:lnTo>
                  <a:lnTo>
                    <a:pt x="322" y="519"/>
                  </a:lnTo>
                  <a:lnTo>
                    <a:pt x="324" y="519"/>
                  </a:lnTo>
                  <a:lnTo>
                    <a:pt x="324" y="521"/>
                  </a:lnTo>
                  <a:lnTo>
                    <a:pt x="324" y="521"/>
                  </a:lnTo>
                  <a:lnTo>
                    <a:pt x="326" y="528"/>
                  </a:lnTo>
                  <a:lnTo>
                    <a:pt x="326" y="530"/>
                  </a:lnTo>
                  <a:lnTo>
                    <a:pt x="326" y="530"/>
                  </a:lnTo>
                  <a:lnTo>
                    <a:pt x="326" y="532"/>
                  </a:lnTo>
                  <a:lnTo>
                    <a:pt x="326" y="534"/>
                  </a:lnTo>
                  <a:lnTo>
                    <a:pt x="328" y="534"/>
                  </a:lnTo>
                  <a:lnTo>
                    <a:pt x="328" y="536"/>
                  </a:lnTo>
                  <a:lnTo>
                    <a:pt x="328" y="536"/>
                  </a:lnTo>
                  <a:lnTo>
                    <a:pt x="326" y="536"/>
                  </a:lnTo>
                  <a:lnTo>
                    <a:pt x="326" y="536"/>
                  </a:lnTo>
                  <a:lnTo>
                    <a:pt x="316" y="536"/>
                  </a:lnTo>
                  <a:lnTo>
                    <a:pt x="314" y="536"/>
                  </a:lnTo>
                  <a:lnTo>
                    <a:pt x="314" y="536"/>
                  </a:lnTo>
                  <a:lnTo>
                    <a:pt x="314" y="538"/>
                  </a:lnTo>
                  <a:lnTo>
                    <a:pt x="314" y="538"/>
                  </a:lnTo>
                  <a:lnTo>
                    <a:pt x="314" y="540"/>
                  </a:lnTo>
                  <a:lnTo>
                    <a:pt x="314" y="540"/>
                  </a:lnTo>
                  <a:lnTo>
                    <a:pt x="314" y="542"/>
                  </a:lnTo>
                  <a:lnTo>
                    <a:pt x="316" y="544"/>
                  </a:lnTo>
                  <a:lnTo>
                    <a:pt x="318" y="547"/>
                  </a:lnTo>
                  <a:lnTo>
                    <a:pt x="318" y="549"/>
                  </a:lnTo>
                  <a:lnTo>
                    <a:pt x="318" y="551"/>
                  </a:lnTo>
                  <a:lnTo>
                    <a:pt x="318" y="551"/>
                  </a:lnTo>
                  <a:lnTo>
                    <a:pt x="320" y="551"/>
                  </a:lnTo>
                  <a:lnTo>
                    <a:pt x="320" y="551"/>
                  </a:lnTo>
                  <a:lnTo>
                    <a:pt x="320" y="549"/>
                  </a:lnTo>
                  <a:lnTo>
                    <a:pt x="322" y="549"/>
                  </a:lnTo>
                  <a:lnTo>
                    <a:pt x="322" y="549"/>
                  </a:lnTo>
                  <a:lnTo>
                    <a:pt x="322" y="549"/>
                  </a:lnTo>
                  <a:lnTo>
                    <a:pt x="324" y="549"/>
                  </a:lnTo>
                  <a:lnTo>
                    <a:pt x="324" y="549"/>
                  </a:lnTo>
                  <a:lnTo>
                    <a:pt x="326" y="551"/>
                  </a:lnTo>
                  <a:lnTo>
                    <a:pt x="326" y="551"/>
                  </a:lnTo>
                  <a:lnTo>
                    <a:pt x="326" y="551"/>
                  </a:lnTo>
                  <a:lnTo>
                    <a:pt x="328" y="551"/>
                  </a:lnTo>
                  <a:lnTo>
                    <a:pt x="328" y="551"/>
                  </a:lnTo>
                  <a:lnTo>
                    <a:pt x="330" y="551"/>
                  </a:lnTo>
                  <a:lnTo>
                    <a:pt x="332" y="551"/>
                  </a:lnTo>
                  <a:lnTo>
                    <a:pt x="332" y="551"/>
                  </a:lnTo>
                  <a:lnTo>
                    <a:pt x="333" y="551"/>
                  </a:lnTo>
                  <a:lnTo>
                    <a:pt x="333" y="551"/>
                  </a:lnTo>
                  <a:lnTo>
                    <a:pt x="335" y="551"/>
                  </a:lnTo>
                  <a:lnTo>
                    <a:pt x="337" y="551"/>
                  </a:lnTo>
                  <a:lnTo>
                    <a:pt x="337" y="551"/>
                  </a:lnTo>
                  <a:lnTo>
                    <a:pt x="337" y="553"/>
                  </a:lnTo>
                  <a:lnTo>
                    <a:pt x="339" y="553"/>
                  </a:lnTo>
                  <a:lnTo>
                    <a:pt x="339" y="553"/>
                  </a:lnTo>
                  <a:lnTo>
                    <a:pt x="343" y="551"/>
                  </a:lnTo>
                  <a:lnTo>
                    <a:pt x="345" y="549"/>
                  </a:lnTo>
                  <a:lnTo>
                    <a:pt x="347" y="547"/>
                  </a:lnTo>
                  <a:lnTo>
                    <a:pt x="347" y="547"/>
                  </a:lnTo>
                  <a:lnTo>
                    <a:pt x="349" y="547"/>
                  </a:lnTo>
                  <a:lnTo>
                    <a:pt x="353" y="549"/>
                  </a:lnTo>
                  <a:lnTo>
                    <a:pt x="354" y="551"/>
                  </a:lnTo>
                  <a:lnTo>
                    <a:pt x="356" y="551"/>
                  </a:lnTo>
                  <a:lnTo>
                    <a:pt x="358" y="551"/>
                  </a:lnTo>
                  <a:lnTo>
                    <a:pt x="370" y="547"/>
                  </a:lnTo>
                  <a:lnTo>
                    <a:pt x="373" y="544"/>
                  </a:lnTo>
                  <a:lnTo>
                    <a:pt x="377" y="542"/>
                  </a:lnTo>
                  <a:lnTo>
                    <a:pt x="379" y="542"/>
                  </a:lnTo>
                  <a:lnTo>
                    <a:pt x="381" y="538"/>
                  </a:lnTo>
                  <a:lnTo>
                    <a:pt x="383" y="536"/>
                  </a:lnTo>
                  <a:lnTo>
                    <a:pt x="385" y="536"/>
                  </a:lnTo>
                  <a:lnTo>
                    <a:pt x="385" y="534"/>
                  </a:lnTo>
                  <a:lnTo>
                    <a:pt x="391" y="534"/>
                  </a:lnTo>
                  <a:lnTo>
                    <a:pt x="394" y="532"/>
                  </a:lnTo>
                  <a:lnTo>
                    <a:pt x="396" y="528"/>
                  </a:lnTo>
                  <a:lnTo>
                    <a:pt x="398" y="528"/>
                  </a:lnTo>
                  <a:lnTo>
                    <a:pt x="398" y="528"/>
                  </a:lnTo>
                  <a:lnTo>
                    <a:pt x="400" y="528"/>
                  </a:lnTo>
                  <a:lnTo>
                    <a:pt x="400" y="528"/>
                  </a:lnTo>
                  <a:lnTo>
                    <a:pt x="402" y="528"/>
                  </a:lnTo>
                  <a:lnTo>
                    <a:pt x="402" y="528"/>
                  </a:lnTo>
                  <a:lnTo>
                    <a:pt x="404" y="528"/>
                  </a:lnTo>
                  <a:lnTo>
                    <a:pt x="404" y="530"/>
                  </a:lnTo>
                  <a:lnTo>
                    <a:pt x="404" y="532"/>
                  </a:lnTo>
                  <a:lnTo>
                    <a:pt x="406" y="534"/>
                  </a:lnTo>
                  <a:lnTo>
                    <a:pt x="406" y="536"/>
                  </a:lnTo>
                  <a:lnTo>
                    <a:pt x="406" y="538"/>
                  </a:lnTo>
                  <a:lnTo>
                    <a:pt x="406" y="540"/>
                  </a:lnTo>
                  <a:lnTo>
                    <a:pt x="406" y="540"/>
                  </a:lnTo>
                  <a:lnTo>
                    <a:pt x="406" y="540"/>
                  </a:lnTo>
                  <a:lnTo>
                    <a:pt x="406" y="540"/>
                  </a:lnTo>
                  <a:lnTo>
                    <a:pt x="406" y="540"/>
                  </a:lnTo>
                  <a:lnTo>
                    <a:pt x="406" y="540"/>
                  </a:lnTo>
                  <a:lnTo>
                    <a:pt x="408" y="540"/>
                  </a:lnTo>
                  <a:lnTo>
                    <a:pt x="408" y="540"/>
                  </a:lnTo>
                  <a:lnTo>
                    <a:pt x="410" y="540"/>
                  </a:lnTo>
                  <a:lnTo>
                    <a:pt x="410" y="538"/>
                  </a:lnTo>
                  <a:lnTo>
                    <a:pt x="412" y="538"/>
                  </a:lnTo>
                  <a:lnTo>
                    <a:pt x="412" y="538"/>
                  </a:lnTo>
                  <a:lnTo>
                    <a:pt x="413" y="538"/>
                  </a:lnTo>
                  <a:lnTo>
                    <a:pt x="415" y="538"/>
                  </a:lnTo>
                  <a:lnTo>
                    <a:pt x="415" y="540"/>
                  </a:lnTo>
                  <a:lnTo>
                    <a:pt x="417" y="540"/>
                  </a:lnTo>
                  <a:lnTo>
                    <a:pt x="417" y="542"/>
                  </a:lnTo>
                  <a:lnTo>
                    <a:pt x="425" y="544"/>
                  </a:lnTo>
                  <a:lnTo>
                    <a:pt x="431" y="544"/>
                  </a:lnTo>
                  <a:lnTo>
                    <a:pt x="433" y="544"/>
                  </a:lnTo>
                  <a:lnTo>
                    <a:pt x="434" y="542"/>
                  </a:lnTo>
                  <a:lnTo>
                    <a:pt x="440" y="542"/>
                  </a:lnTo>
                  <a:lnTo>
                    <a:pt x="444" y="540"/>
                  </a:lnTo>
                  <a:lnTo>
                    <a:pt x="446" y="540"/>
                  </a:lnTo>
                  <a:lnTo>
                    <a:pt x="450" y="540"/>
                  </a:lnTo>
                  <a:lnTo>
                    <a:pt x="452" y="540"/>
                  </a:lnTo>
                  <a:lnTo>
                    <a:pt x="452" y="538"/>
                  </a:lnTo>
                  <a:lnTo>
                    <a:pt x="452" y="538"/>
                  </a:lnTo>
                  <a:lnTo>
                    <a:pt x="452" y="536"/>
                  </a:lnTo>
                  <a:lnTo>
                    <a:pt x="452" y="536"/>
                  </a:lnTo>
                  <a:lnTo>
                    <a:pt x="452" y="534"/>
                  </a:lnTo>
                  <a:lnTo>
                    <a:pt x="452" y="534"/>
                  </a:lnTo>
                  <a:lnTo>
                    <a:pt x="452" y="532"/>
                  </a:lnTo>
                  <a:lnTo>
                    <a:pt x="454" y="532"/>
                  </a:lnTo>
                  <a:lnTo>
                    <a:pt x="457" y="530"/>
                  </a:lnTo>
                  <a:lnTo>
                    <a:pt x="467" y="530"/>
                  </a:lnTo>
                  <a:lnTo>
                    <a:pt x="469" y="528"/>
                  </a:lnTo>
                  <a:lnTo>
                    <a:pt x="474" y="527"/>
                  </a:lnTo>
                  <a:lnTo>
                    <a:pt x="476" y="527"/>
                  </a:lnTo>
                  <a:lnTo>
                    <a:pt x="478" y="525"/>
                  </a:lnTo>
                  <a:lnTo>
                    <a:pt x="480" y="525"/>
                  </a:lnTo>
                  <a:lnTo>
                    <a:pt x="480" y="523"/>
                  </a:lnTo>
                  <a:lnTo>
                    <a:pt x="480" y="521"/>
                  </a:lnTo>
                  <a:lnTo>
                    <a:pt x="480" y="521"/>
                  </a:lnTo>
                  <a:lnTo>
                    <a:pt x="480" y="521"/>
                  </a:lnTo>
                  <a:lnTo>
                    <a:pt x="480" y="519"/>
                  </a:lnTo>
                  <a:lnTo>
                    <a:pt x="482" y="519"/>
                  </a:lnTo>
                  <a:lnTo>
                    <a:pt x="486" y="521"/>
                  </a:lnTo>
                  <a:lnTo>
                    <a:pt x="488" y="521"/>
                  </a:lnTo>
                  <a:lnTo>
                    <a:pt x="490" y="523"/>
                  </a:lnTo>
                  <a:lnTo>
                    <a:pt x="494" y="521"/>
                  </a:lnTo>
                  <a:lnTo>
                    <a:pt x="494" y="523"/>
                  </a:lnTo>
                  <a:lnTo>
                    <a:pt x="495" y="523"/>
                  </a:lnTo>
                  <a:lnTo>
                    <a:pt x="497" y="523"/>
                  </a:lnTo>
                  <a:lnTo>
                    <a:pt x="497" y="523"/>
                  </a:lnTo>
                  <a:lnTo>
                    <a:pt x="501" y="523"/>
                  </a:lnTo>
                  <a:lnTo>
                    <a:pt x="503" y="525"/>
                  </a:lnTo>
                  <a:lnTo>
                    <a:pt x="505" y="527"/>
                  </a:lnTo>
                  <a:lnTo>
                    <a:pt x="507" y="528"/>
                  </a:lnTo>
                  <a:lnTo>
                    <a:pt x="509" y="530"/>
                  </a:lnTo>
                  <a:lnTo>
                    <a:pt x="509" y="532"/>
                  </a:lnTo>
                  <a:lnTo>
                    <a:pt x="509" y="532"/>
                  </a:lnTo>
                  <a:lnTo>
                    <a:pt x="509" y="532"/>
                  </a:lnTo>
                  <a:lnTo>
                    <a:pt x="509" y="534"/>
                  </a:lnTo>
                  <a:lnTo>
                    <a:pt x="509" y="536"/>
                  </a:lnTo>
                  <a:lnTo>
                    <a:pt x="511" y="536"/>
                  </a:lnTo>
                  <a:lnTo>
                    <a:pt x="511" y="536"/>
                  </a:lnTo>
                  <a:lnTo>
                    <a:pt x="513" y="536"/>
                  </a:lnTo>
                  <a:lnTo>
                    <a:pt x="514" y="536"/>
                  </a:lnTo>
                  <a:lnTo>
                    <a:pt x="514" y="536"/>
                  </a:lnTo>
                  <a:lnTo>
                    <a:pt x="516" y="534"/>
                  </a:lnTo>
                  <a:lnTo>
                    <a:pt x="518" y="532"/>
                  </a:lnTo>
                  <a:lnTo>
                    <a:pt x="520" y="532"/>
                  </a:lnTo>
                  <a:lnTo>
                    <a:pt x="520" y="532"/>
                  </a:lnTo>
                  <a:lnTo>
                    <a:pt x="524" y="532"/>
                  </a:lnTo>
                  <a:lnTo>
                    <a:pt x="528" y="532"/>
                  </a:lnTo>
                  <a:lnTo>
                    <a:pt x="530" y="532"/>
                  </a:lnTo>
                  <a:lnTo>
                    <a:pt x="532" y="532"/>
                  </a:lnTo>
                  <a:lnTo>
                    <a:pt x="534" y="532"/>
                  </a:lnTo>
                  <a:lnTo>
                    <a:pt x="534" y="534"/>
                  </a:lnTo>
                  <a:lnTo>
                    <a:pt x="535" y="534"/>
                  </a:lnTo>
                  <a:lnTo>
                    <a:pt x="535" y="536"/>
                  </a:lnTo>
                  <a:lnTo>
                    <a:pt x="535" y="538"/>
                  </a:lnTo>
                  <a:lnTo>
                    <a:pt x="537" y="538"/>
                  </a:lnTo>
                  <a:lnTo>
                    <a:pt x="537" y="538"/>
                  </a:lnTo>
                  <a:lnTo>
                    <a:pt x="539" y="538"/>
                  </a:lnTo>
                  <a:lnTo>
                    <a:pt x="541" y="538"/>
                  </a:lnTo>
                  <a:lnTo>
                    <a:pt x="543" y="536"/>
                  </a:lnTo>
                  <a:lnTo>
                    <a:pt x="543" y="536"/>
                  </a:lnTo>
                  <a:lnTo>
                    <a:pt x="545" y="536"/>
                  </a:lnTo>
                  <a:lnTo>
                    <a:pt x="545" y="536"/>
                  </a:lnTo>
                  <a:lnTo>
                    <a:pt x="547" y="534"/>
                  </a:lnTo>
                  <a:lnTo>
                    <a:pt x="549" y="534"/>
                  </a:lnTo>
                  <a:lnTo>
                    <a:pt x="549" y="534"/>
                  </a:lnTo>
                  <a:lnTo>
                    <a:pt x="549" y="536"/>
                  </a:lnTo>
                  <a:lnTo>
                    <a:pt x="549" y="536"/>
                  </a:lnTo>
                  <a:lnTo>
                    <a:pt x="549" y="536"/>
                  </a:lnTo>
                  <a:lnTo>
                    <a:pt x="551" y="536"/>
                  </a:lnTo>
                  <a:lnTo>
                    <a:pt x="551" y="536"/>
                  </a:lnTo>
                  <a:lnTo>
                    <a:pt x="558" y="534"/>
                  </a:lnTo>
                  <a:lnTo>
                    <a:pt x="558" y="532"/>
                  </a:lnTo>
                  <a:lnTo>
                    <a:pt x="560" y="530"/>
                  </a:lnTo>
                  <a:lnTo>
                    <a:pt x="566" y="528"/>
                  </a:lnTo>
                  <a:lnTo>
                    <a:pt x="568" y="528"/>
                  </a:lnTo>
                  <a:lnTo>
                    <a:pt x="568" y="528"/>
                  </a:lnTo>
                  <a:lnTo>
                    <a:pt x="568" y="527"/>
                  </a:lnTo>
                  <a:lnTo>
                    <a:pt x="570" y="528"/>
                  </a:lnTo>
                  <a:lnTo>
                    <a:pt x="574" y="530"/>
                  </a:lnTo>
                  <a:lnTo>
                    <a:pt x="575" y="532"/>
                  </a:lnTo>
                  <a:lnTo>
                    <a:pt x="579" y="532"/>
                  </a:lnTo>
                  <a:lnTo>
                    <a:pt x="579" y="534"/>
                  </a:lnTo>
                  <a:lnTo>
                    <a:pt x="581" y="534"/>
                  </a:lnTo>
                  <a:lnTo>
                    <a:pt x="581" y="534"/>
                  </a:lnTo>
                  <a:lnTo>
                    <a:pt x="581" y="536"/>
                  </a:lnTo>
                  <a:lnTo>
                    <a:pt x="581" y="536"/>
                  </a:lnTo>
                  <a:lnTo>
                    <a:pt x="581" y="538"/>
                  </a:lnTo>
                  <a:lnTo>
                    <a:pt x="587" y="542"/>
                  </a:lnTo>
                  <a:lnTo>
                    <a:pt x="589" y="542"/>
                  </a:lnTo>
                  <a:lnTo>
                    <a:pt x="589" y="544"/>
                  </a:lnTo>
                  <a:lnTo>
                    <a:pt x="589" y="546"/>
                  </a:lnTo>
                  <a:lnTo>
                    <a:pt x="589" y="546"/>
                  </a:lnTo>
                  <a:lnTo>
                    <a:pt x="589" y="547"/>
                  </a:lnTo>
                  <a:lnTo>
                    <a:pt x="589" y="547"/>
                  </a:lnTo>
                  <a:lnTo>
                    <a:pt x="589" y="547"/>
                  </a:lnTo>
                  <a:lnTo>
                    <a:pt x="587" y="549"/>
                  </a:lnTo>
                  <a:lnTo>
                    <a:pt x="587" y="549"/>
                  </a:lnTo>
                  <a:lnTo>
                    <a:pt x="587" y="551"/>
                  </a:lnTo>
                  <a:lnTo>
                    <a:pt x="589" y="551"/>
                  </a:lnTo>
                  <a:lnTo>
                    <a:pt x="589" y="551"/>
                  </a:lnTo>
                  <a:lnTo>
                    <a:pt x="589" y="551"/>
                  </a:lnTo>
                  <a:lnTo>
                    <a:pt x="591" y="551"/>
                  </a:lnTo>
                  <a:lnTo>
                    <a:pt x="593" y="551"/>
                  </a:lnTo>
                  <a:lnTo>
                    <a:pt x="595" y="549"/>
                  </a:lnTo>
                  <a:lnTo>
                    <a:pt x="595" y="549"/>
                  </a:lnTo>
                  <a:lnTo>
                    <a:pt x="596" y="551"/>
                  </a:lnTo>
                  <a:lnTo>
                    <a:pt x="596" y="551"/>
                  </a:lnTo>
                  <a:lnTo>
                    <a:pt x="608" y="557"/>
                  </a:lnTo>
                  <a:lnTo>
                    <a:pt x="608" y="557"/>
                  </a:lnTo>
                  <a:lnTo>
                    <a:pt x="610" y="557"/>
                  </a:lnTo>
                  <a:lnTo>
                    <a:pt x="610" y="557"/>
                  </a:lnTo>
                  <a:lnTo>
                    <a:pt x="610" y="557"/>
                  </a:lnTo>
                  <a:lnTo>
                    <a:pt x="612" y="555"/>
                  </a:lnTo>
                  <a:lnTo>
                    <a:pt x="614" y="555"/>
                  </a:lnTo>
                  <a:lnTo>
                    <a:pt x="615" y="551"/>
                  </a:lnTo>
                  <a:lnTo>
                    <a:pt x="615" y="547"/>
                  </a:lnTo>
                  <a:lnTo>
                    <a:pt x="617" y="544"/>
                  </a:lnTo>
                  <a:lnTo>
                    <a:pt x="617" y="542"/>
                  </a:lnTo>
                  <a:lnTo>
                    <a:pt x="617" y="532"/>
                  </a:lnTo>
                  <a:lnTo>
                    <a:pt x="617" y="530"/>
                  </a:lnTo>
                  <a:lnTo>
                    <a:pt x="617" y="528"/>
                  </a:lnTo>
                  <a:lnTo>
                    <a:pt x="617" y="519"/>
                  </a:lnTo>
                  <a:lnTo>
                    <a:pt x="619" y="517"/>
                  </a:lnTo>
                  <a:lnTo>
                    <a:pt x="621" y="515"/>
                  </a:lnTo>
                  <a:lnTo>
                    <a:pt x="623" y="515"/>
                  </a:lnTo>
                  <a:lnTo>
                    <a:pt x="625" y="513"/>
                  </a:lnTo>
                  <a:lnTo>
                    <a:pt x="627" y="511"/>
                  </a:lnTo>
                  <a:lnTo>
                    <a:pt x="629" y="506"/>
                  </a:lnTo>
                  <a:lnTo>
                    <a:pt x="627" y="500"/>
                  </a:lnTo>
                  <a:lnTo>
                    <a:pt x="629" y="496"/>
                  </a:lnTo>
                  <a:lnTo>
                    <a:pt x="629" y="494"/>
                  </a:lnTo>
                  <a:lnTo>
                    <a:pt x="633" y="485"/>
                  </a:lnTo>
                  <a:lnTo>
                    <a:pt x="635" y="483"/>
                  </a:lnTo>
                  <a:lnTo>
                    <a:pt x="636" y="481"/>
                  </a:lnTo>
                  <a:lnTo>
                    <a:pt x="636" y="481"/>
                  </a:lnTo>
                  <a:lnTo>
                    <a:pt x="638" y="483"/>
                  </a:lnTo>
                  <a:lnTo>
                    <a:pt x="640" y="487"/>
                  </a:lnTo>
                  <a:lnTo>
                    <a:pt x="642" y="487"/>
                  </a:lnTo>
                  <a:lnTo>
                    <a:pt x="642" y="487"/>
                  </a:lnTo>
                  <a:lnTo>
                    <a:pt x="644" y="485"/>
                  </a:lnTo>
                  <a:lnTo>
                    <a:pt x="644" y="483"/>
                  </a:lnTo>
                  <a:lnTo>
                    <a:pt x="642" y="483"/>
                  </a:lnTo>
                  <a:lnTo>
                    <a:pt x="642" y="481"/>
                  </a:lnTo>
                  <a:lnTo>
                    <a:pt x="642" y="479"/>
                  </a:lnTo>
                  <a:lnTo>
                    <a:pt x="642" y="479"/>
                  </a:lnTo>
                  <a:lnTo>
                    <a:pt x="644" y="479"/>
                  </a:lnTo>
                  <a:lnTo>
                    <a:pt x="644" y="479"/>
                  </a:lnTo>
                  <a:lnTo>
                    <a:pt x="646" y="477"/>
                  </a:lnTo>
                  <a:lnTo>
                    <a:pt x="646" y="471"/>
                  </a:lnTo>
                  <a:lnTo>
                    <a:pt x="646" y="469"/>
                  </a:lnTo>
                  <a:lnTo>
                    <a:pt x="648" y="469"/>
                  </a:lnTo>
                  <a:lnTo>
                    <a:pt x="648" y="468"/>
                  </a:lnTo>
                  <a:lnTo>
                    <a:pt x="652" y="466"/>
                  </a:lnTo>
                  <a:lnTo>
                    <a:pt x="654" y="462"/>
                  </a:lnTo>
                  <a:lnTo>
                    <a:pt x="654" y="460"/>
                  </a:lnTo>
                  <a:lnTo>
                    <a:pt x="656" y="458"/>
                  </a:lnTo>
                  <a:lnTo>
                    <a:pt x="654" y="454"/>
                  </a:lnTo>
                  <a:lnTo>
                    <a:pt x="654" y="450"/>
                  </a:lnTo>
                  <a:lnTo>
                    <a:pt x="656" y="449"/>
                  </a:lnTo>
                  <a:lnTo>
                    <a:pt x="659" y="445"/>
                  </a:lnTo>
                  <a:lnTo>
                    <a:pt x="659" y="443"/>
                  </a:lnTo>
                  <a:lnTo>
                    <a:pt x="661" y="443"/>
                  </a:lnTo>
                  <a:lnTo>
                    <a:pt x="661" y="443"/>
                  </a:lnTo>
                  <a:lnTo>
                    <a:pt x="661" y="445"/>
                  </a:lnTo>
                  <a:lnTo>
                    <a:pt x="663" y="447"/>
                  </a:lnTo>
                  <a:lnTo>
                    <a:pt x="663" y="447"/>
                  </a:lnTo>
                  <a:lnTo>
                    <a:pt x="665" y="447"/>
                  </a:lnTo>
                  <a:lnTo>
                    <a:pt x="667" y="447"/>
                  </a:lnTo>
                  <a:lnTo>
                    <a:pt x="669" y="445"/>
                  </a:lnTo>
                  <a:lnTo>
                    <a:pt x="671" y="445"/>
                  </a:lnTo>
                  <a:lnTo>
                    <a:pt x="673" y="443"/>
                  </a:lnTo>
                  <a:lnTo>
                    <a:pt x="675" y="441"/>
                  </a:lnTo>
                  <a:lnTo>
                    <a:pt x="676" y="441"/>
                  </a:lnTo>
                  <a:lnTo>
                    <a:pt x="678" y="443"/>
                  </a:lnTo>
                  <a:lnTo>
                    <a:pt x="678" y="443"/>
                  </a:lnTo>
                  <a:lnTo>
                    <a:pt x="680" y="447"/>
                  </a:lnTo>
                  <a:lnTo>
                    <a:pt x="682" y="447"/>
                  </a:lnTo>
                  <a:lnTo>
                    <a:pt x="682" y="447"/>
                  </a:lnTo>
                  <a:lnTo>
                    <a:pt x="684" y="447"/>
                  </a:lnTo>
                  <a:lnTo>
                    <a:pt x="686" y="445"/>
                  </a:lnTo>
                  <a:lnTo>
                    <a:pt x="688" y="445"/>
                  </a:lnTo>
                  <a:lnTo>
                    <a:pt x="688" y="443"/>
                  </a:lnTo>
                  <a:lnTo>
                    <a:pt x="690" y="441"/>
                  </a:lnTo>
                  <a:lnTo>
                    <a:pt x="694" y="439"/>
                  </a:lnTo>
                  <a:lnTo>
                    <a:pt x="696" y="439"/>
                  </a:lnTo>
                  <a:lnTo>
                    <a:pt x="697" y="439"/>
                  </a:lnTo>
                  <a:lnTo>
                    <a:pt x="699" y="437"/>
                  </a:lnTo>
                  <a:lnTo>
                    <a:pt x="701" y="437"/>
                  </a:lnTo>
                  <a:lnTo>
                    <a:pt x="703" y="437"/>
                  </a:lnTo>
                  <a:lnTo>
                    <a:pt x="703" y="435"/>
                  </a:lnTo>
                  <a:lnTo>
                    <a:pt x="703" y="433"/>
                  </a:lnTo>
                  <a:lnTo>
                    <a:pt x="703" y="431"/>
                  </a:lnTo>
                  <a:lnTo>
                    <a:pt x="705" y="430"/>
                  </a:lnTo>
                  <a:lnTo>
                    <a:pt x="711" y="426"/>
                  </a:lnTo>
                  <a:lnTo>
                    <a:pt x="713" y="426"/>
                  </a:lnTo>
                  <a:lnTo>
                    <a:pt x="715" y="426"/>
                  </a:lnTo>
                  <a:lnTo>
                    <a:pt x="715" y="424"/>
                  </a:lnTo>
                  <a:lnTo>
                    <a:pt x="713" y="422"/>
                  </a:lnTo>
                  <a:lnTo>
                    <a:pt x="713" y="420"/>
                  </a:lnTo>
                  <a:lnTo>
                    <a:pt x="715" y="418"/>
                  </a:lnTo>
                  <a:lnTo>
                    <a:pt x="716" y="416"/>
                  </a:lnTo>
                  <a:lnTo>
                    <a:pt x="715" y="412"/>
                  </a:lnTo>
                  <a:lnTo>
                    <a:pt x="715" y="411"/>
                  </a:lnTo>
                  <a:lnTo>
                    <a:pt x="715" y="409"/>
                  </a:lnTo>
                  <a:lnTo>
                    <a:pt x="716" y="407"/>
                  </a:lnTo>
                  <a:lnTo>
                    <a:pt x="718" y="405"/>
                  </a:lnTo>
                  <a:lnTo>
                    <a:pt x="722" y="405"/>
                  </a:lnTo>
                  <a:lnTo>
                    <a:pt x="722" y="403"/>
                  </a:lnTo>
                  <a:lnTo>
                    <a:pt x="726" y="401"/>
                  </a:lnTo>
                  <a:lnTo>
                    <a:pt x="730" y="397"/>
                  </a:lnTo>
                  <a:lnTo>
                    <a:pt x="730" y="395"/>
                  </a:lnTo>
                  <a:lnTo>
                    <a:pt x="730" y="391"/>
                  </a:lnTo>
                  <a:lnTo>
                    <a:pt x="730" y="390"/>
                  </a:lnTo>
                  <a:lnTo>
                    <a:pt x="730" y="388"/>
                  </a:lnTo>
                  <a:lnTo>
                    <a:pt x="732" y="386"/>
                  </a:lnTo>
                  <a:lnTo>
                    <a:pt x="737" y="384"/>
                  </a:lnTo>
                  <a:lnTo>
                    <a:pt x="741" y="382"/>
                  </a:lnTo>
                  <a:lnTo>
                    <a:pt x="743" y="380"/>
                  </a:lnTo>
                  <a:lnTo>
                    <a:pt x="745" y="382"/>
                  </a:lnTo>
                  <a:lnTo>
                    <a:pt x="747" y="382"/>
                  </a:lnTo>
                  <a:lnTo>
                    <a:pt x="749" y="380"/>
                  </a:lnTo>
                  <a:lnTo>
                    <a:pt x="751" y="376"/>
                  </a:lnTo>
                  <a:lnTo>
                    <a:pt x="751" y="374"/>
                  </a:lnTo>
                  <a:lnTo>
                    <a:pt x="751" y="371"/>
                  </a:lnTo>
                  <a:lnTo>
                    <a:pt x="753" y="363"/>
                  </a:lnTo>
                  <a:lnTo>
                    <a:pt x="753" y="361"/>
                  </a:lnTo>
                  <a:lnTo>
                    <a:pt x="751" y="359"/>
                  </a:lnTo>
                  <a:lnTo>
                    <a:pt x="749" y="355"/>
                  </a:lnTo>
                  <a:lnTo>
                    <a:pt x="747" y="355"/>
                  </a:lnTo>
                  <a:lnTo>
                    <a:pt x="745" y="353"/>
                  </a:lnTo>
                  <a:lnTo>
                    <a:pt x="745" y="353"/>
                  </a:lnTo>
                  <a:lnTo>
                    <a:pt x="739" y="355"/>
                  </a:lnTo>
                  <a:lnTo>
                    <a:pt x="739" y="355"/>
                  </a:lnTo>
                  <a:lnTo>
                    <a:pt x="737" y="353"/>
                  </a:lnTo>
                  <a:lnTo>
                    <a:pt x="737" y="352"/>
                  </a:lnTo>
                  <a:lnTo>
                    <a:pt x="737" y="352"/>
                  </a:lnTo>
                  <a:lnTo>
                    <a:pt x="736" y="352"/>
                  </a:lnTo>
                  <a:lnTo>
                    <a:pt x="736" y="352"/>
                  </a:lnTo>
                  <a:lnTo>
                    <a:pt x="734" y="350"/>
                  </a:lnTo>
                  <a:lnTo>
                    <a:pt x="732" y="344"/>
                  </a:lnTo>
                  <a:lnTo>
                    <a:pt x="728" y="342"/>
                  </a:lnTo>
                  <a:lnTo>
                    <a:pt x="726" y="340"/>
                  </a:lnTo>
                  <a:lnTo>
                    <a:pt x="722" y="340"/>
                  </a:lnTo>
                  <a:lnTo>
                    <a:pt x="716" y="338"/>
                  </a:lnTo>
                  <a:lnTo>
                    <a:pt x="715" y="338"/>
                  </a:lnTo>
                  <a:lnTo>
                    <a:pt x="713" y="336"/>
                  </a:lnTo>
                  <a:lnTo>
                    <a:pt x="713" y="336"/>
                  </a:lnTo>
                  <a:lnTo>
                    <a:pt x="711" y="338"/>
                  </a:lnTo>
                  <a:lnTo>
                    <a:pt x="709" y="340"/>
                  </a:lnTo>
                  <a:lnTo>
                    <a:pt x="707" y="340"/>
                  </a:lnTo>
                  <a:lnTo>
                    <a:pt x="703" y="342"/>
                  </a:lnTo>
                  <a:lnTo>
                    <a:pt x="703" y="344"/>
                  </a:lnTo>
                  <a:lnTo>
                    <a:pt x="701" y="342"/>
                  </a:lnTo>
                  <a:lnTo>
                    <a:pt x="701" y="342"/>
                  </a:lnTo>
                  <a:lnTo>
                    <a:pt x="699" y="340"/>
                  </a:lnTo>
                  <a:lnTo>
                    <a:pt x="699" y="338"/>
                  </a:lnTo>
                  <a:lnTo>
                    <a:pt x="697" y="336"/>
                  </a:lnTo>
                  <a:lnTo>
                    <a:pt x="697" y="334"/>
                  </a:lnTo>
                  <a:lnTo>
                    <a:pt x="697" y="334"/>
                  </a:lnTo>
                  <a:lnTo>
                    <a:pt x="699" y="334"/>
                  </a:lnTo>
                  <a:lnTo>
                    <a:pt x="699" y="333"/>
                  </a:lnTo>
                  <a:lnTo>
                    <a:pt x="699" y="333"/>
                  </a:lnTo>
                  <a:lnTo>
                    <a:pt x="701" y="329"/>
                  </a:lnTo>
                  <a:lnTo>
                    <a:pt x="701" y="327"/>
                  </a:lnTo>
                  <a:lnTo>
                    <a:pt x="703" y="327"/>
                  </a:lnTo>
                  <a:lnTo>
                    <a:pt x="703" y="327"/>
                  </a:lnTo>
                  <a:lnTo>
                    <a:pt x="705" y="325"/>
                  </a:lnTo>
                  <a:lnTo>
                    <a:pt x="705" y="323"/>
                  </a:lnTo>
                  <a:lnTo>
                    <a:pt x="707" y="323"/>
                  </a:lnTo>
                  <a:lnTo>
                    <a:pt x="707" y="321"/>
                  </a:lnTo>
                  <a:lnTo>
                    <a:pt x="707" y="319"/>
                  </a:lnTo>
                  <a:lnTo>
                    <a:pt x="705" y="315"/>
                  </a:lnTo>
                  <a:lnTo>
                    <a:pt x="703" y="310"/>
                  </a:lnTo>
                  <a:lnTo>
                    <a:pt x="701" y="308"/>
                  </a:lnTo>
                  <a:lnTo>
                    <a:pt x="701" y="308"/>
                  </a:lnTo>
                  <a:lnTo>
                    <a:pt x="701" y="306"/>
                  </a:lnTo>
                  <a:lnTo>
                    <a:pt x="701" y="306"/>
                  </a:lnTo>
                  <a:lnTo>
                    <a:pt x="701" y="304"/>
                  </a:lnTo>
                  <a:lnTo>
                    <a:pt x="703" y="302"/>
                  </a:lnTo>
                  <a:lnTo>
                    <a:pt x="707" y="302"/>
                  </a:lnTo>
                  <a:lnTo>
                    <a:pt x="709" y="304"/>
                  </a:lnTo>
                  <a:lnTo>
                    <a:pt x="713" y="308"/>
                  </a:lnTo>
                  <a:lnTo>
                    <a:pt x="715" y="312"/>
                  </a:lnTo>
                  <a:lnTo>
                    <a:pt x="718" y="312"/>
                  </a:lnTo>
                  <a:lnTo>
                    <a:pt x="720" y="312"/>
                  </a:lnTo>
                  <a:lnTo>
                    <a:pt x="722" y="310"/>
                  </a:lnTo>
                  <a:lnTo>
                    <a:pt x="728" y="308"/>
                  </a:lnTo>
                  <a:lnTo>
                    <a:pt x="730" y="308"/>
                  </a:lnTo>
                  <a:lnTo>
                    <a:pt x="736" y="308"/>
                  </a:lnTo>
                  <a:lnTo>
                    <a:pt x="737" y="308"/>
                  </a:lnTo>
                  <a:lnTo>
                    <a:pt x="743" y="312"/>
                  </a:lnTo>
                  <a:lnTo>
                    <a:pt x="745" y="312"/>
                  </a:lnTo>
                  <a:lnTo>
                    <a:pt x="755" y="312"/>
                  </a:lnTo>
                  <a:lnTo>
                    <a:pt x="758" y="312"/>
                  </a:lnTo>
                  <a:lnTo>
                    <a:pt x="760" y="312"/>
                  </a:lnTo>
                  <a:lnTo>
                    <a:pt x="774" y="314"/>
                  </a:lnTo>
                  <a:lnTo>
                    <a:pt x="781" y="314"/>
                  </a:lnTo>
                  <a:lnTo>
                    <a:pt x="785" y="314"/>
                  </a:lnTo>
                  <a:lnTo>
                    <a:pt x="785" y="314"/>
                  </a:lnTo>
                  <a:lnTo>
                    <a:pt x="787" y="312"/>
                  </a:lnTo>
                  <a:lnTo>
                    <a:pt x="787" y="310"/>
                  </a:lnTo>
                  <a:lnTo>
                    <a:pt x="793" y="310"/>
                  </a:lnTo>
                  <a:lnTo>
                    <a:pt x="795" y="308"/>
                  </a:lnTo>
                  <a:lnTo>
                    <a:pt x="797" y="306"/>
                  </a:lnTo>
                  <a:lnTo>
                    <a:pt x="797" y="306"/>
                  </a:lnTo>
                  <a:lnTo>
                    <a:pt x="797" y="304"/>
                  </a:lnTo>
                  <a:lnTo>
                    <a:pt x="797" y="302"/>
                  </a:lnTo>
                  <a:lnTo>
                    <a:pt x="797" y="302"/>
                  </a:lnTo>
                  <a:lnTo>
                    <a:pt x="798" y="300"/>
                  </a:lnTo>
                  <a:lnTo>
                    <a:pt x="802" y="300"/>
                  </a:lnTo>
                  <a:lnTo>
                    <a:pt x="804" y="300"/>
                  </a:lnTo>
                  <a:lnTo>
                    <a:pt x="806" y="298"/>
                  </a:lnTo>
                  <a:lnTo>
                    <a:pt x="808" y="296"/>
                  </a:lnTo>
                  <a:lnTo>
                    <a:pt x="808" y="296"/>
                  </a:lnTo>
                  <a:lnTo>
                    <a:pt x="808" y="295"/>
                  </a:lnTo>
                  <a:lnTo>
                    <a:pt x="808" y="293"/>
                  </a:lnTo>
                  <a:lnTo>
                    <a:pt x="808" y="293"/>
                  </a:lnTo>
                  <a:lnTo>
                    <a:pt x="810" y="291"/>
                  </a:lnTo>
                  <a:lnTo>
                    <a:pt x="806" y="287"/>
                  </a:lnTo>
                  <a:lnTo>
                    <a:pt x="804" y="285"/>
                  </a:lnTo>
                  <a:lnTo>
                    <a:pt x="804" y="285"/>
                  </a:lnTo>
                  <a:lnTo>
                    <a:pt x="804" y="285"/>
                  </a:lnTo>
                  <a:lnTo>
                    <a:pt x="802" y="283"/>
                  </a:lnTo>
                  <a:lnTo>
                    <a:pt x="804" y="283"/>
                  </a:lnTo>
                  <a:lnTo>
                    <a:pt x="804" y="281"/>
                  </a:lnTo>
                  <a:lnTo>
                    <a:pt x="804" y="279"/>
                  </a:lnTo>
                  <a:lnTo>
                    <a:pt x="804" y="279"/>
                  </a:lnTo>
                  <a:lnTo>
                    <a:pt x="802" y="279"/>
                  </a:lnTo>
                  <a:lnTo>
                    <a:pt x="802" y="277"/>
                  </a:lnTo>
                  <a:lnTo>
                    <a:pt x="800" y="277"/>
                  </a:lnTo>
                  <a:lnTo>
                    <a:pt x="798" y="275"/>
                  </a:lnTo>
                  <a:lnTo>
                    <a:pt x="798" y="274"/>
                  </a:lnTo>
                  <a:lnTo>
                    <a:pt x="798" y="274"/>
                  </a:lnTo>
                  <a:lnTo>
                    <a:pt x="798" y="272"/>
                  </a:lnTo>
                  <a:lnTo>
                    <a:pt x="798" y="272"/>
                  </a:lnTo>
                  <a:lnTo>
                    <a:pt x="798" y="272"/>
                  </a:lnTo>
                  <a:lnTo>
                    <a:pt x="800" y="272"/>
                  </a:lnTo>
                  <a:lnTo>
                    <a:pt x="802" y="270"/>
                  </a:lnTo>
                  <a:lnTo>
                    <a:pt x="802" y="270"/>
                  </a:lnTo>
                  <a:lnTo>
                    <a:pt x="804" y="262"/>
                  </a:lnTo>
                  <a:lnTo>
                    <a:pt x="806" y="260"/>
                  </a:lnTo>
                  <a:lnTo>
                    <a:pt x="806" y="258"/>
                  </a:lnTo>
                  <a:lnTo>
                    <a:pt x="806" y="258"/>
                  </a:lnTo>
                  <a:lnTo>
                    <a:pt x="806" y="253"/>
                  </a:lnTo>
                  <a:lnTo>
                    <a:pt x="806" y="251"/>
                  </a:lnTo>
                  <a:lnTo>
                    <a:pt x="806" y="249"/>
                  </a:lnTo>
                  <a:lnTo>
                    <a:pt x="804" y="249"/>
                  </a:lnTo>
                  <a:lnTo>
                    <a:pt x="804" y="249"/>
                  </a:lnTo>
                  <a:lnTo>
                    <a:pt x="802" y="247"/>
                  </a:lnTo>
                  <a:lnTo>
                    <a:pt x="802" y="247"/>
                  </a:lnTo>
                  <a:lnTo>
                    <a:pt x="804" y="241"/>
                  </a:lnTo>
                  <a:lnTo>
                    <a:pt x="804" y="239"/>
                  </a:lnTo>
                  <a:lnTo>
                    <a:pt x="804" y="237"/>
                  </a:lnTo>
                  <a:lnTo>
                    <a:pt x="804" y="236"/>
                  </a:lnTo>
                  <a:lnTo>
                    <a:pt x="804" y="236"/>
                  </a:lnTo>
                  <a:lnTo>
                    <a:pt x="804" y="234"/>
                  </a:lnTo>
                  <a:lnTo>
                    <a:pt x="804" y="234"/>
                  </a:lnTo>
                  <a:lnTo>
                    <a:pt x="804" y="234"/>
                  </a:lnTo>
                  <a:lnTo>
                    <a:pt x="806" y="234"/>
                  </a:lnTo>
                  <a:lnTo>
                    <a:pt x="808" y="234"/>
                  </a:lnTo>
                  <a:lnTo>
                    <a:pt x="810" y="234"/>
                  </a:lnTo>
                  <a:lnTo>
                    <a:pt x="810" y="234"/>
                  </a:lnTo>
                  <a:lnTo>
                    <a:pt x="812" y="232"/>
                  </a:lnTo>
                  <a:lnTo>
                    <a:pt x="812" y="232"/>
                  </a:lnTo>
                  <a:lnTo>
                    <a:pt x="810" y="23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8" name="Freeform 40">
              <a:extLst>
                <a:ext uri="{FF2B5EF4-FFF2-40B4-BE49-F238E27FC236}">
                  <a16:creationId xmlns:a16="http://schemas.microsoft.com/office/drawing/2014/main" id="{A8388150-46E5-9412-CCFD-BB1E5BE22304}"/>
                </a:ext>
              </a:extLst>
            </p:cNvPr>
            <p:cNvSpPr>
              <a:spLocks/>
            </p:cNvSpPr>
            <p:nvPr/>
          </p:nvSpPr>
          <p:spPr bwMode="auto">
            <a:xfrm>
              <a:off x="5051425" y="2826551"/>
              <a:ext cx="73025" cy="74613"/>
            </a:xfrm>
            <a:custGeom>
              <a:avLst/>
              <a:gdLst>
                <a:gd name="T0" fmla="*/ 46 w 46"/>
                <a:gd name="T1" fmla="*/ 24 h 47"/>
                <a:gd name="T2" fmla="*/ 44 w 46"/>
                <a:gd name="T3" fmla="*/ 21 h 47"/>
                <a:gd name="T4" fmla="*/ 44 w 46"/>
                <a:gd name="T5" fmla="*/ 17 h 47"/>
                <a:gd name="T6" fmla="*/ 36 w 46"/>
                <a:gd name="T7" fmla="*/ 9 h 47"/>
                <a:gd name="T8" fmla="*/ 34 w 46"/>
                <a:gd name="T9" fmla="*/ 5 h 47"/>
                <a:gd name="T10" fmla="*/ 33 w 46"/>
                <a:gd name="T11" fmla="*/ 0 h 47"/>
                <a:gd name="T12" fmla="*/ 29 w 46"/>
                <a:gd name="T13" fmla="*/ 2 h 47"/>
                <a:gd name="T14" fmla="*/ 27 w 46"/>
                <a:gd name="T15" fmla="*/ 0 h 47"/>
                <a:gd name="T16" fmla="*/ 21 w 46"/>
                <a:gd name="T17" fmla="*/ 0 h 47"/>
                <a:gd name="T18" fmla="*/ 19 w 46"/>
                <a:gd name="T19" fmla="*/ 2 h 47"/>
                <a:gd name="T20" fmla="*/ 15 w 46"/>
                <a:gd name="T21" fmla="*/ 2 h 47"/>
                <a:gd name="T22" fmla="*/ 12 w 46"/>
                <a:gd name="T23" fmla="*/ 3 h 47"/>
                <a:gd name="T24" fmla="*/ 10 w 46"/>
                <a:gd name="T25" fmla="*/ 7 h 47"/>
                <a:gd name="T26" fmla="*/ 10 w 46"/>
                <a:gd name="T27" fmla="*/ 9 h 47"/>
                <a:gd name="T28" fmla="*/ 10 w 46"/>
                <a:gd name="T29" fmla="*/ 15 h 47"/>
                <a:gd name="T30" fmla="*/ 10 w 46"/>
                <a:gd name="T31" fmla="*/ 17 h 47"/>
                <a:gd name="T32" fmla="*/ 10 w 46"/>
                <a:gd name="T33" fmla="*/ 21 h 47"/>
                <a:gd name="T34" fmla="*/ 8 w 46"/>
                <a:gd name="T35" fmla="*/ 22 h 47"/>
                <a:gd name="T36" fmla="*/ 6 w 46"/>
                <a:gd name="T37" fmla="*/ 24 h 47"/>
                <a:gd name="T38" fmla="*/ 4 w 46"/>
                <a:gd name="T39" fmla="*/ 26 h 47"/>
                <a:gd name="T40" fmla="*/ 2 w 46"/>
                <a:gd name="T41" fmla="*/ 26 h 47"/>
                <a:gd name="T42" fmla="*/ 0 w 46"/>
                <a:gd name="T43" fmla="*/ 30 h 47"/>
                <a:gd name="T44" fmla="*/ 0 w 46"/>
                <a:gd name="T45" fmla="*/ 32 h 47"/>
                <a:gd name="T46" fmla="*/ 2 w 46"/>
                <a:gd name="T47" fmla="*/ 34 h 47"/>
                <a:gd name="T48" fmla="*/ 2 w 46"/>
                <a:gd name="T49" fmla="*/ 36 h 47"/>
                <a:gd name="T50" fmla="*/ 2 w 46"/>
                <a:gd name="T51" fmla="*/ 36 h 47"/>
                <a:gd name="T52" fmla="*/ 6 w 46"/>
                <a:gd name="T53" fmla="*/ 36 h 47"/>
                <a:gd name="T54" fmla="*/ 13 w 46"/>
                <a:gd name="T55" fmla="*/ 36 h 47"/>
                <a:gd name="T56" fmla="*/ 13 w 46"/>
                <a:gd name="T57" fmla="*/ 34 h 47"/>
                <a:gd name="T58" fmla="*/ 15 w 46"/>
                <a:gd name="T59" fmla="*/ 34 h 47"/>
                <a:gd name="T60" fmla="*/ 21 w 46"/>
                <a:gd name="T61" fmla="*/ 36 h 47"/>
                <a:gd name="T62" fmla="*/ 23 w 46"/>
                <a:gd name="T63" fmla="*/ 38 h 47"/>
                <a:gd name="T64" fmla="*/ 23 w 46"/>
                <a:gd name="T65" fmla="*/ 41 h 47"/>
                <a:gd name="T66" fmla="*/ 25 w 46"/>
                <a:gd name="T67" fmla="*/ 43 h 47"/>
                <a:gd name="T68" fmla="*/ 29 w 46"/>
                <a:gd name="T69" fmla="*/ 45 h 47"/>
                <a:gd name="T70" fmla="*/ 36 w 46"/>
                <a:gd name="T71" fmla="*/ 45 h 47"/>
                <a:gd name="T72" fmla="*/ 36 w 46"/>
                <a:gd name="T73" fmla="*/ 45 h 47"/>
                <a:gd name="T74" fmla="*/ 36 w 46"/>
                <a:gd name="T75" fmla="*/ 43 h 47"/>
                <a:gd name="T76" fmla="*/ 36 w 46"/>
                <a:gd name="T77" fmla="*/ 43 h 47"/>
                <a:gd name="T78" fmla="*/ 36 w 46"/>
                <a:gd name="T79" fmla="*/ 41 h 47"/>
                <a:gd name="T80" fmla="*/ 38 w 46"/>
                <a:gd name="T81" fmla="*/ 40 h 47"/>
                <a:gd name="T82" fmla="*/ 46 w 46"/>
                <a:gd name="T83" fmla="*/ 38 h 47"/>
                <a:gd name="T84" fmla="*/ 42 w 46"/>
                <a:gd name="T85" fmla="*/ 32 h 47"/>
                <a:gd name="T86" fmla="*/ 44 w 46"/>
                <a:gd name="T87" fmla="*/ 30 h 47"/>
                <a:gd name="T88" fmla="*/ 46 w 46"/>
                <a:gd name="T89" fmla="*/ 28 h 47"/>
                <a:gd name="T90" fmla="*/ 46 w 46"/>
                <a:gd name="T91" fmla="*/ 26 h 47"/>
                <a:gd name="T92" fmla="*/ 46 w 46"/>
                <a:gd name="T9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47">
                  <a:moveTo>
                    <a:pt x="46" y="26"/>
                  </a:moveTo>
                  <a:lnTo>
                    <a:pt x="46" y="24"/>
                  </a:lnTo>
                  <a:lnTo>
                    <a:pt x="44" y="21"/>
                  </a:lnTo>
                  <a:lnTo>
                    <a:pt x="44" y="21"/>
                  </a:lnTo>
                  <a:lnTo>
                    <a:pt x="44" y="19"/>
                  </a:lnTo>
                  <a:lnTo>
                    <a:pt x="44" y="17"/>
                  </a:lnTo>
                  <a:lnTo>
                    <a:pt x="44" y="17"/>
                  </a:lnTo>
                  <a:lnTo>
                    <a:pt x="36" y="9"/>
                  </a:lnTo>
                  <a:lnTo>
                    <a:pt x="34" y="7"/>
                  </a:lnTo>
                  <a:lnTo>
                    <a:pt x="34" y="5"/>
                  </a:lnTo>
                  <a:lnTo>
                    <a:pt x="34" y="3"/>
                  </a:lnTo>
                  <a:lnTo>
                    <a:pt x="33" y="0"/>
                  </a:lnTo>
                  <a:lnTo>
                    <a:pt x="29" y="2"/>
                  </a:lnTo>
                  <a:lnTo>
                    <a:pt x="29" y="2"/>
                  </a:lnTo>
                  <a:lnTo>
                    <a:pt x="27" y="2"/>
                  </a:lnTo>
                  <a:lnTo>
                    <a:pt x="27" y="0"/>
                  </a:lnTo>
                  <a:lnTo>
                    <a:pt x="21" y="0"/>
                  </a:lnTo>
                  <a:lnTo>
                    <a:pt x="21" y="0"/>
                  </a:lnTo>
                  <a:lnTo>
                    <a:pt x="21" y="0"/>
                  </a:lnTo>
                  <a:lnTo>
                    <a:pt x="19" y="2"/>
                  </a:lnTo>
                  <a:lnTo>
                    <a:pt x="17" y="2"/>
                  </a:lnTo>
                  <a:lnTo>
                    <a:pt x="15" y="2"/>
                  </a:lnTo>
                  <a:lnTo>
                    <a:pt x="13" y="3"/>
                  </a:lnTo>
                  <a:lnTo>
                    <a:pt x="12" y="3"/>
                  </a:lnTo>
                  <a:lnTo>
                    <a:pt x="10" y="5"/>
                  </a:lnTo>
                  <a:lnTo>
                    <a:pt x="10" y="7"/>
                  </a:lnTo>
                  <a:lnTo>
                    <a:pt x="10" y="7"/>
                  </a:lnTo>
                  <a:lnTo>
                    <a:pt x="10" y="9"/>
                  </a:lnTo>
                  <a:lnTo>
                    <a:pt x="10" y="15"/>
                  </a:lnTo>
                  <a:lnTo>
                    <a:pt x="10" y="15"/>
                  </a:lnTo>
                  <a:lnTo>
                    <a:pt x="10" y="17"/>
                  </a:lnTo>
                  <a:lnTo>
                    <a:pt x="10" y="17"/>
                  </a:lnTo>
                  <a:lnTo>
                    <a:pt x="10" y="19"/>
                  </a:lnTo>
                  <a:lnTo>
                    <a:pt x="10" y="21"/>
                  </a:lnTo>
                  <a:lnTo>
                    <a:pt x="8" y="21"/>
                  </a:lnTo>
                  <a:lnTo>
                    <a:pt x="8" y="22"/>
                  </a:lnTo>
                  <a:lnTo>
                    <a:pt x="8" y="24"/>
                  </a:lnTo>
                  <a:lnTo>
                    <a:pt x="6" y="24"/>
                  </a:lnTo>
                  <a:lnTo>
                    <a:pt x="6" y="24"/>
                  </a:lnTo>
                  <a:lnTo>
                    <a:pt x="4" y="26"/>
                  </a:lnTo>
                  <a:lnTo>
                    <a:pt x="4" y="26"/>
                  </a:lnTo>
                  <a:lnTo>
                    <a:pt x="2" y="26"/>
                  </a:lnTo>
                  <a:lnTo>
                    <a:pt x="2" y="28"/>
                  </a:lnTo>
                  <a:lnTo>
                    <a:pt x="0" y="30"/>
                  </a:lnTo>
                  <a:lnTo>
                    <a:pt x="0" y="32"/>
                  </a:lnTo>
                  <a:lnTo>
                    <a:pt x="0" y="32"/>
                  </a:lnTo>
                  <a:lnTo>
                    <a:pt x="0" y="32"/>
                  </a:lnTo>
                  <a:lnTo>
                    <a:pt x="2" y="34"/>
                  </a:lnTo>
                  <a:lnTo>
                    <a:pt x="2" y="34"/>
                  </a:lnTo>
                  <a:lnTo>
                    <a:pt x="2" y="36"/>
                  </a:lnTo>
                  <a:lnTo>
                    <a:pt x="2" y="36"/>
                  </a:lnTo>
                  <a:lnTo>
                    <a:pt x="2" y="36"/>
                  </a:lnTo>
                  <a:lnTo>
                    <a:pt x="4" y="38"/>
                  </a:lnTo>
                  <a:lnTo>
                    <a:pt x="6" y="36"/>
                  </a:lnTo>
                  <a:lnTo>
                    <a:pt x="12" y="36"/>
                  </a:lnTo>
                  <a:lnTo>
                    <a:pt x="13" y="36"/>
                  </a:lnTo>
                  <a:lnTo>
                    <a:pt x="13" y="36"/>
                  </a:lnTo>
                  <a:lnTo>
                    <a:pt x="13" y="34"/>
                  </a:lnTo>
                  <a:lnTo>
                    <a:pt x="13" y="34"/>
                  </a:lnTo>
                  <a:lnTo>
                    <a:pt x="15" y="34"/>
                  </a:lnTo>
                  <a:lnTo>
                    <a:pt x="15" y="34"/>
                  </a:lnTo>
                  <a:lnTo>
                    <a:pt x="21" y="36"/>
                  </a:lnTo>
                  <a:lnTo>
                    <a:pt x="21" y="38"/>
                  </a:lnTo>
                  <a:lnTo>
                    <a:pt x="23" y="38"/>
                  </a:lnTo>
                  <a:lnTo>
                    <a:pt x="23" y="40"/>
                  </a:lnTo>
                  <a:lnTo>
                    <a:pt x="23" y="41"/>
                  </a:lnTo>
                  <a:lnTo>
                    <a:pt x="25" y="41"/>
                  </a:lnTo>
                  <a:lnTo>
                    <a:pt x="25" y="43"/>
                  </a:lnTo>
                  <a:lnTo>
                    <a:pt x="27" y="43"/>
                  </a:lnTo>
                  <a:lnTo>
                    <a:pt x="29" y="45"/>
                  </a:lnTo>
                  <a:lnTo>
                    <a:pt x="33" y="47"/>
                  </a:lnTo>
                  <a:lnTo>
                    <a:pt x="36" y="45"/>
                  </a:lnTo>
                  <a:lnTo>
                    <a:pt x="36" y="45"/>
                  </a:lnTo>
                  <a:lnTo>
                    <a:pt x="36" y="45"/>
                  </a:lnTo>
                  <a:lnTo>
                    <a:pt x="36" y="45"/>
                  </a:lnTo>
                  <a:lnTo>
                    <a:pt x="36" y="43"/>
                  </a:lnTo>
                  <a:lnTo>
                    <a:pt x="36" y="43"/>
                  </a:lnTo>
                  <a:lnTo>
                    <a:pt x="36" y="43"/>
                  </a:lnTo>
                  <a:lnTo>
                    <a:pt x="36" y="41"/>
                  </a:lnTo>
                  <a:lnTo>
                    <a:pt x="36" y="41"/>
                  </a:lnTo>
                  <a:lnTo>
                    <a:pt x="36" y="40"/>
                  </a:lnTo>
                  <a:lnTo>
                    <a:pt x="38" y="40"/>
                  </a:lnTo>
                  <a:lnTo>
                    <a:pt x="40" y="38"/>
                  </a:lnTo>
                  <a:lnTo>
                    <a:pt x="46" y="38"/>
                  </a:lnTo>
                  <a:lnTo>
                    <a:pt x="42" y="32"/>
                  </a:lnTo>
                  <a:lnTo>
                    <a:pt x="42" y="32"/>
                  </a:lnTo>
                  <a:lnTo>
                    <a:pt x="42" y="30"/>
                  </a:lnTo>
                  <a:lnTo>
                    <a:pt x="44" y="30"/>
                  </a:lnTo>
                  <a:lnTo>
                    <a:pt x="44" y="30"/>
                  </a:lnTo>
                  <a:lnTo>
                    <a:pt x="46" y="28"/>
                  </a:lnTo>
                  <a:lnTo>
                    <a:pt x="46" y="28"/>
                  </a:lnTo>
                  <a:lnTo>
                    <a:pt x="46" y="26"/>
                  </a:lnTo>
                  <a:lnTo>
                    <a:pt x="46" y="26"/>
                  </a:lnTo>
                  <a:lnTo>
                    <a:pt x="46" y="2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39" name="Freeform 41">
              <a:extLst>
                <a:ext uri="{FF2B5EF4-FFF2-40B4-BE49-F238E27FC236}">
                  <a16:creationId xmlns:a16="http://schemas.microsoft.com/office/drawing/2014/main" id="{367C4B89-C8A2-2AC5-CBDD-79FADEF66D9A}"/>
                </a:ext>
              </a:extLst>
            </p:cNvPr>
            <p:cNvSpPr>
              <a:spLocks/>
            </p:cNvSpPr>
            <p:nvPr/>
          </p:nvSpPr>
          <p:spPr bwMode="auto">
            <a:xfrm>
              <a:off x="5051425" y="2826551"/>
              <a:ext cx="73025" cy="74613"/>
            </a:xfrm>
            <a:custGeom>
              <a:avLst/>
              <a:gdLst>
                <a:gd name="T0" fmla="*/ 46 w 46"/>
                <a:gd name="T1" fmla="*/ 24 h 47"/>
                <a:gd name="T2" fmla="*/ 44 w 46"/>
                <a:gd name="T3" fmla="*/ 21 h 47"/>
                <a:gd name="T4" fmla="*/ 44 w 46"/>
                <a:gd name="T5" fmla="*/ 17 h 47"/>
                <a:gd name="T6" fmla="*/ 36 w 46"/>
                <a:gd name="T7" fmla="*/ 9 h 47"/>
                <a:gd name="T8" fmla="*/ 34 w 46"/>
                <a:gd name="T9" fmla="*/ 5 h 47"/>
                <a:gd name="T10" fmla="*/ 33 w 46"/>
                <a:gd name="T11" fmla="*/ 0 h 47"/>
                <a:gd name="T12" fmla="*/ 29 w 46"/>
                <a:gd name="T13" fmla="*/ 2 h 47"/>
                <a:gd name="T14" fmla="*/ 27 w 46"/>
                <a:gd name="T15" fmla="*/ 0 h 47"/>
                <a:gd name="T16" fmla="*/ 21 w 46"/>
                <a:gd name="T17" fmla="*/ 0 h 47"/>
                <a:gd name="T18" fmla="*/ 19 w 46"/>
                <a:gd name="T19" fmla="*/ 2 h 47"/>
                <a:gd name="T20" fmla="*/ 15 w 46"/>
                <a:gd name="T21" fmla="*/ 2 h 47"/>
                <a:gd name="T22" fmla="*/ 12 w 46"/>
                <a:gd name="T23" fmla="*/ 3 h 47"/>
                <a:gd name="T24" fmla="*/ 10 w 46"/>
                <a:gd name="T25" fmla="*/ 7 h 47"/>
                <a:gd name="T26" fmla="*/ 10 w 46"/>
                <a:gd name="T27" fmla="*/ 9 h 47"/>
                <a:gd name="T28" fmla="*/ 10 w 46"/>
                <a:gd name="T29" fmla="*/ 15 h 47"/>
                <a:gd name="T30" fmla="*/ 10 w 46"/>
                <a:gd name="T31" fmla="*/ 17 h 47"/>
                <a:gd name="T32" fmla="*/ 10 w 46"/>
                <a:gd name="T33" fmla="*/ 21 h 47"/>
                <a:gd name="T34" fmla="*/ 8 w 46"/>
                <a:gd name="T35" fmla="*/ 22 h 47"/>
                <a:gd name="T36" fmla="*/ 6 w 46"/>
                <a:gd name="T37" fmla="*/ 24 h 47"/>
                <a:gd name="T38" fmla="*/ 4 w 46"/>
                <a:gd name="T39" fmla="*/ 26 h 47"/>
                <a:gd name="T40" fmla="*/ 2 w 46"/>
                <a:gd name="T41" fmla="*/ 26 h 47"/>
                <a:gd name="T42" fmla="*/ 0 w 46"/>
                <a:gd name="T43" fmla="*/ 30 h 47"/>
                <a:gd name="T44" fmla="*/ 0 w 46"/>
                <a:gd name="T45" fmla="*/ 32 h 47"/>
                <a:gd name="T46" fmla="*/ 2 w 46"/>
                <a:gd name="T47" fmla="*/ 34 h 47"/>
                <a:gd name="T48" fmla="*/ 2 w 46"/>
                <a:gd name="T49" fmla="*/ 36 h 47"/>
                <a:gd name="T50" fmla="*/ 2 w 46"/>
                <a:gd name="T51" fmla="*/ 36 h 47"/>
                <a:gd name="T52" fmla="*/ 6 w 46"/>
                <a:gd name="T53" fmla="*/ 36 h 47"/>
                <a:gd name="T54" fmla="*/ 13 w 46"/>
                <a:gd name="T55" fmla="*/ 36 h 47"/>
                <a:gd name="T56" fmla="*/ 13 w 46"/>
                <a:gd name="T57" fmla="*/ 34 h 47"/>
                <a:gd name="T58" fmla="*/ 15 w 46"/>
                <a:gd name="T59" fmla="*/ 34 h 47"/>
                <a:gd name="T60" fmla="*/ 21 w 46"/>
                <a:gd name="T61" fmla="*/ 36 h 47"/>
                <a:gd name="T62" fmla="*/ 23 w 46"/>
                <a:gd name="T63" fmla="*/ 38 h 47"/>
                <a:gd name="T64" fmla="*/ 23 w 46"/>
                <a:gd name="T65" fmla="*/ 41 h 47"/>
                <a:gd name="T66" fmla="*/ 25 w 46"/>
                <a:gd name="T67" fmla="*/ 43 h 47"/>
                <a:gd name="T68" fmla="*/ 29 w 46"/>
                <a:gd name="T69" fmla="*/ 45 h 47"/>
                <a:gd name="T70" fmla="*/ 36 w 46"/>
                <a:gd name="T71" fmla="*/ 45 h 47"/>
                <a:gd name="T72" fmla="*/ 36 w 46"/>
                <a:gd name="T73" fmla="*/ 45 h 47"/>
                <a:gd name="T74" fmla="*/ 36 w 46"/>
                <a:gd name="T75" fmla="*/ 43 h 47"/>
                <a:gd name="T76" fmla="*/ 36 w 46"/>
                <a:gd name="T77" fmla="*/ 43 h 47"/>
                <a:gd name="T78" fmla="*/ 36 w 46"/>
                <a:gd name="T79" fmla="*/ 41 h 47"/>
                <a:gd name="T80" fmla="*/ 38 w 46"/>
                <a:gd name="T81" fmla="*/ 40 h 47"/>
                <a:gd name="T82" fmla="*/ 46 w 46"/>
                <a:gd name="T83" fmla="*/ 38 h 47"/>
                <a:gd name="T84" fmla="*/ 42 w 46"/>
                <a:gd name="T85" fmla="*/ 32 h 47"/>
                <a:gd name="T86" fmla="*/ 44 w 46"/>
                <a:gd name="T87" fmla="*/ 30 h 47"/>
                <a:gd name="T88" fmla="*/ 46 w 46"/>
                <a:gd name="T89" fmla="*/ 28 h 47"/>
                <a:gd name="T90" fmla="*/ 46 w 46"/>
                <a:gd name="T91" fmla="*/ 26 h 47"/>
                <a:gd name="T92" fmla="*/ 46 w 46"/>
                <a:gd name="T9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47">
                  <a:moveTo>
                    <a:pt x="46" y="26"/>
                  </a:moveTo>
                  <a:lnTo>
                    <a:pt x="46" y="24"/>
                  </a:lnTo>
                  <a:lnTo>
                    <a:pt x="44" y="21"/>
                  </a:lnTo>
                  <a:lnTo>
                    <a:pt x="44" y="21"/>
                  </a:lnTo>
                  <a:lnTo>
                    <a:pt x="44" y="19"/>
                  </a:lnTo>
                  <a:lnTo>
                    <a:pt x="44" y="17"/>
                  </a:lnTo>
                  <a:lnTo>
                    <a:pt x="44" y="17"/>
                  </a:lnTo>
                  <a:lnTo>
                    <a:pt x="36" y="9"/>
                  </a:lnTo>
                  <a:lnTo>
                    <a:pt x="34" y="7"/>
                  </a:lnTo>
                  <a:lnTo>
                    <a:pt x="34" y="5"/>
                  </a:lnTo>
                  <a:lnTo>
                    <a:pt x="34" y="3"/>
                  </a:lnTo>
                  <a:lnTo>
                    <a:pt x="33" y="0"/>
                  </a:lnTo>
                  <a:lnTo>
                    <a:pt x="29" y="2"/>
                  </a:lnTo>
                  <a:lnTo>
                    <a:pt x="29" y="2"/>
                  </a:lnTo>
                  <a:lnTo>
                    <a:pt x="27" y="2"/>
                  </a:lnTo>
                  <a:lnTo>
                    <a:pt x="27" y="0"/>
                  </a:lnTo>
                  <a:lnTo>
                    <a:pt x="21" y="0"/>
                  </a:lnTo>
                  <a:lnTo>
                    <a:pt x="21" y="0"/>
                  </a:lnTo>
                  <a:lnTo>
                    <a:pt x="21" y="0"/>
                  </a:lnTo>
                  <a:lnTo>
                    <a:pt x="19" y="2"/>
                  </a:lnTo>
                  <a:lnTo>
                    <a:pt x="17" y="2"/>
                  </a:lnTo>
                  <a:lnTo>
                    <a:pt x="15" y="2"/>
                  </a:lnTo>
                  <a:lnTo>
                    <a:pt x="13" y="3"/>
                  </a:lnTo>
                  <a:lnTo>
                    <a:pt x="12" y="3"/>
                  </a:lnTo>
                  <a:lnTo>
                    <a:pt x="10" y="5"/>
                  </a:lnTo>
                  <a:lnTo>
                    <a:pt x="10" y="7"/>
                  </a:lnTo>
                  <a:lnTo>
                    <a:pt x="10" y="7"/>
                  </a:lnTo>
                  <a:lnTo>
                    <a:pt x="10" y="9"/>
                  </a:lnTo>
                  <a:lnTo>
                    <a:pt x="10" y="15"/>
                  </a:lnTo>
                  <a:lnTo>
                    <a:pt x="10" y="15"/>
                  </a:lnTo>
                  <a:lnTo>
                    <a:pt x="10" y="17"/>
                  </a:lnTo>
                  <a:lnTo>
                    <a:pt x="10" y="17"/>
                  </a:lnTo>
                  <a:lnTo>
                    <a:pt x="10" y="19"/>
                  </a:lnTo>
                  <a:lnTo>
                    <a:pt x="10" y="21"/>
                  </a:lnTo>
                  <a:lnTo>
                    <a:pt x="8" y="21"/>
                  </a:lnTo>
                  <a:lnTo>
                    <a:pt x="8" y="22"/>
                  </a:lnTo>
                  <a:lnTo>
                    <a:pt x="8" y="24"/>
                  </a:lnTo>
                  <a:lnTo>
                    <a:pt x="6" y="24"/>
                  </a:lnTo>
                  <a:lnTo>
                    <a:pt x="6" y="24"/>
                  </a:lnTo>
                  <a:lnTo>
                    <a:pt x="4" y="26"/>
                  </a:lnTo>
                  <a:lnTo>
                    <a:pt x="4" y="26"/>
                  </a:lnTo>
                  <a:lnTo>
                    <a:pt x="2" y="26"/>
                  </a:lnTo>
                  <a:lnTo>
                    <a:pt x="2" y="28"/>
                  </a:lnTo>
                  <a:lnTo>
                    <a:pt x="0" y="30"/>
                  </a:lnTo>
                  <a:lnTo>
                    <a:pt x="0" y="32"/>
                  </a:lnTo>
                  <a:lnTo>
                    <a:pt x="0" y="32"/>
                  </a:lnTo>
                  <a:lnTo>
                    <a:pt x="0" y="32"/>
                  </a:lnTo>
                  <a:lnTo>
                    <a:pt x="2" y="34"/>
                  </a:lnTo>
                  <a:lnTo>
                    <a:pt x="2" y="34"/>
                  </a:lnTo>
                  <a:lnTo>
                    <a:pt x="2" y="36"/>
                  </a:lnTo>
                  <a:lnTo>
                    <a:pt x="2" y="36"/>
                  </a:lnTo>
                  <a:lnTo>
                    <a:pt x="2" y="36"/>
                  </a:lnTo>
                  <a:lnTo>
                    <a:pt x="4" y="38"/>
                  </a:lnTo>
                  <a:lnTo>
                    <a:pt x="6" y="36"/>
                  </a:lnTo>
                  <a:lnTo>
                    <a:pt x="12" y="36"/>
                  </a:lnTo>
                  <a:lnTo>
                    <a:pt x="13" y="36"/>
                  </a:lnTo>
                  <a:lnTo>
                    <a:pt x="13" y="36"/>
                  </a:lnTo>
                  <a:lnTo>
                    <a:pt x="13" y="34"/>
                  </a:lnTo>
                  <a:lnTo>
                    <a:pt x="13" y="34"/>
                  </a:lnTo>
                  <a:lnTo>
                    <a:pt x="15" y="34"/>
                  </a:lnTo>
                  <a:lnTo>
                    <a:pt x="15" y="34"/>
                  </a:lnTo>
                  <a:lnTo>
                    <a:pt x="21" y="36"/>
                  </a:lnTo>
                  <a:lnTo>
                    <a:pt x="21" y="38"/>
                  </a:lnTo>
                  <a:lnTo>
                    <a:pt x="23" y="38"/>
                  </a:lnTo>
                  <a:lnTo>
                    <a:pt x="23" y="40"/>
                  </a:lnTo>
                  <a:lnTo>
                    <a:pt x="23" y="41"/>
                  </a:lnTo>
                  <a:lnTo>
                    <a:pt x="25" y="41"/>
                  </a:lnTo>
                  <a:lnTo>
                    <a:pt x="25" y="43"/>
                  </a:lnTo>
                  <a:lnTo>
                    <a:pt x="27" y="43"/>
                  </a:lnTo>
                  <a:lnTo>
                    <a:pt x="29" y="45"/>
                  </a:lnTo>
                  <a:lnTo>
                    <a:pt x="33" y="47"/>
                  </a:lnTo>
                  <a:lnTo>
                    <a:pt x="36" y="45"/>
                  </a:lnTo>
                  <a:lnTo>
                    <a:pt x="36" y="45"/>
                  </a:lnTo>
                  <a:lnTo>
                    <a:pt x="36" y="45"/>
                  </a:lnTo>
                  <a:lnTo>
                    <a:pt x="36" y="45"/>
                  </a:lnTo>
                  <a:lnTo>
                    <a:pt x="36" y="43"/>
                  </a:lnTo>
                  <a:lnTo>
                    <a:pt x="36" y="43"/>
                  </a:lnTo>
                  <a:lnTo>
                    <a:pt x="36" y="43"/>
                  </a:lnTo>
                  <a:lnTo>
                    <a:pt x="36" y="41"/>
                  </a:lnTo>
                  <a:lnTo>
                    <a:pt x="36" y="41"/>
                  </a:lnTo>
                  <a:lnTo>
                    <a:pt x="36" y="40"/>
                  </a:lnTo>
                  <a:lnTo>
                    <a:pt x="38" y="40"/>
                  </a:lnTo>
                  <a:lnTo>
                    <a:pt x="40" y="38"/>
                  </a:lnTo>
                  <a:lnTo>
                    <a:pt x="46" y="38"/>
                  </a:lnTo>
                  <a:lnTo>
                    <a:pt x="42" y="32"/>
                  </a:lnTo>
                  <a:lnTo>
                    <a:pt x="42" y="32"/>
                  </a:lnTo>
                  <a:lnTo>
                    <a:pt x="42" y="30"/>
                  </a:lnTo>
                  <a:lnTo>
                    <a:pt x="44" y="30"/>
                  </a:lnTo>
                  <a:lnTo>
                    <a:pt x="44" y="30"/>
                  </a:lnTo>
                  <a:lnTo>
                    <a:pt x="46" y="28"/>
                  </a:lnTo>
                  <a:lnTo>
                    <a:pt x="46" y="28"/>
                  </a:lnTo>
                  <a:lnTo>
                    <a:pt x="46" y="26"/>
                  </a:lnTo>
                  <a:lnTo>
                    <a:pt x="46" y="26"/>
                  </a:lnTo>
                  <a:lnTo>
                    <a:pt x="46" y="26"/>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0" name="Freeform 42">
              <a:extLst>
                <a:ext uri="{FF2B5EF4-FFF2-40B4-BE49-F238E27FC236}">
                  <a16:creationId xmlns:a16="http://schemas.microsoft.com/office/drawing/2014/main" id="{D9D137AF-B994-7D91-2848-53F836D76E8E}"/>
                </a:ext>
              </a:extLst>
            </p:cNvPr>
            <p:cNvSpPr>
              <a:spLocks noEditPoints="1"/>
            </p:cNvSpPr>
            <p:nvPr/>
          </p:nvSpPr>
          <p:spPr bwMode="auto">
            <a:xfrm>
              <a:off x="4367213" y="5518951"/>
              <a:ext cx="222250" cy="509588"/>
            </a:xfrm>
            <a:custGeom>
              <a:avLst/>
              <a:gdLst>
                <a:gd name="T0" fmla="*/ 84 w 140"/>
                <a:gd name="T1" fmla="*/ 316 h 321"/>
                <a:gd name="T2" fmla="*/ 82 w 140"/>
                <a:gd name="T3" fmla="*/ 318 h 321"/>
                <a:gd name="T4" fmla="*/ 81 w 140"/>
                <a:gd name="T5" fmla="*/ 320 h 321"/>
                <a:gd name="T6" fmla="*/ 79 w 140"/>
                <a:gd name="T7" fmla="*/ 321 h 321"/>
                <a:gd name="T8" fmla="*/ 79 w 140"/>
                <a:gd name="T9" fmla="*/ 320 h 321"/>
                <a:gd name="T10" fmla="*/ 79 w 140"/>
                <a:gd name="T11" fmla="*/ 321 h 321"/>
                <a:gd name="T12" fmla="*/ 81 w 140"/>
                <a:gd name="T13" fmla="*/ 321 h 321"/>
                <a:gd name="T14" fmla="*/ 82 w 140"/>
                <a:gd name="T15" fmla="*/ 320 h 321"/>
                <a:gd name="T16" fmla="*/ 84 w 140"/>
                <a:gd name="T17" fmla="*/ 316 h 321"/>
                <a:gd name="T18" fmla="*/ 84 w 140"/>
                <a:gd name="T19" fmla="*/ 316 h 321"/>
                <a:gd name="T20" fmla="*/ 136 w 140"/>
                <a:gd name="T21" fmla="*/ 150 h 321"/>
                <a:gd name="T22" fmla="*/ 136 w 140"/>
                <a:gd name="T23" fmla="*/ 152 h 321"/>
                <a:gd name="T24" fmla="*/ 136 w 140"/>
                <a:gd name="T25" fmla="*/ 154 h 321"/>
                <a:gd name="T26" fmla="*/ 136 w 140"/>
                <a:gd name="T27" fmla="*/ 152 h 321"/>
                <a:gd name="T28" fmla="*/ 136 w 140"/>
                <a:gd name="T29" fmla="*/ 150 h 321"/>
                <a:gd name="T30" fmla="*/ 136 w 140"/>
                <a:gd name="T31" fmla="*/ 150 h 321"/>
                <a:gd name="T32" fmla="*/ 138 w 140"/>
                <a:gd name="T33" fmla="*/ 145 h 321"/>
                <a:gd name="T34" fmla="*/ 138 w 140"/>
                <a:gd name="T35" fmla="*/ 147 h 321"/>
                <a:gd name="T36" fmla="*/ 138 w 140"/>
                <a:gd name="T37" fmla="*/ 145 h 321"/>
                <a:gd name="T38" fmla="*/ 138 w 140"/>
                <a:gd name="T39" fmla="*/ 145 h 321"/>
                <a:gd name="T40" fmla="*/ 138 w 140"/>
                <a:gd name="T41" fmla="*/ 145 h 321"/>
                <a:gd name="T42" fmla="*/ 42 w 140"/>
                <a:gd name="T43" fmla="*/ 107 h 321"/>
                <a:gd name="T44" fmla="*/ 42 w 140"/>
                <a:gd name="T45" fmla="*/ 107 h 321"/>
                <a:gd name="T46" fmla="*/ 42 w 140"/>
                <a:gd name="T47" fmla="*/ 107 h 321"/>
                <a:gd name="T48" fmla="*/ 44 w 140"/>
                <a:gd name="T49" fmla="*/ 107 h 321"/>
                <a:gd name="T50" fmla="*/ 44 w 140"/>
                <a:gd name="T51" fmla="*/ 105 h 321"/>
                <a:gd name="T52" fmla="*/ 44 w 140"/>
                <a:gd name="T53" fmla="*/ 105 h 321"/>
                <a:gd name="T54" fmla="*/ 35 w 140"/>
                <a:gd name="T55" fmla="*/ 86 h 321"/>
                <a:gd name="T56" fmla="*/ 35 w 140"/>
                <a:gd name="T57" fmla="*/ 86 h 321"/>
                <a:gd name="T58" fmla="*/ 35 w 140"/>
                <a:gd name="T59" fmla="*/ 86 h 321"/>
                <a:gd name="T60" fmla="*/ 35 w 140"/>
                <a:gd name="T61" fmla="*/ 86 h 321"/>
                <a:gd name="T62" fmla="*/ 138 w 140"/>
                <a:gd name="T63" fmla="*/ 82 h 321"/>
                <a:gd name="T64" fmla="*/ 138 w 140"/>
                <a:gd name="T65" fmla="*/ 82 h 321"/>
                <a:gd name="T66" fmla="*/ 140 w 140"/>
                <a:gd name="T67" fmla="*/ 82 h 321"/>
                <a:gd name="T68" fmla="*/ 140 w 140"/>
                <a:gd name="T69" fmla="*/ 82 h 321"/>
                <a:gd name="T70" fmla="*/ 0 w 140"/>
                <a:gd name="T71" fmla="*/ 78 h 321"/>
                <a:gd name="T72" fmla="*/ 0 w 140"/>
                <a:gd name="T73" fmla="*/ 82 h 321"/>
                <a:gd name="T74" fmla="*/ 2 w 140"/>
                <a:gd name="T75" fmla="*/ 80 h 321"/>
                <a:gd name="T76" fmla="*/ 2 w 140"/>
                <a:gd name="T77" fmla="*/ 76 h 321"/>
                <a:gd name="T78" fmla="*/ 2 w 140"/>
                <a:gd name="T79" fmla="*/ 78 h 321"/>
                <a:gd name="T80" fmla="*/ 52 w 140"/>
                <a:gd name="T81" fmla="*/ 55 h 321"/>
                <a:gd name="T82" fmla="*/ 54 w 140"/>
                <a:gd name="T83" fmla="*/ 55 h 321"/>
                <a:gd name="T84" fmla="*/ 54 w 140"/>
                <a:gd name="T85" fmla="*/ 55 h 321"/>
                <a:gd name="T86" fmla="*/ 54 w 140"/>
                <a:gd name="T87" fmla="*/ 53 h 321"/>
                <a:gd name="T88" fmla="*/ 56 w 140"/>
                <a:gd name="T89" fmla="*/ 44 h 321"/>
                <a:gd name="T90" fmla="*/ 56 w 140"/>
                <a:gd name="T91" fmla="*/ 46 h 321"/>
                <a:gd name="T92" fmla="*/ 56 w 140"/>
                <a:gd name="T93" fmla="*/ 48 h 321"/>
                <a:gd name="T94" fmla="*/ 58 w 140"/>
                <a:gd name="T95" fmla="*/ 46 h 321"/>
                <a:gd name="T96" fmla="*/ 58 w 140"/>
                <a:gd name="T97" fmla="*/ 42 h 321"/>
                <a:gd name="T98" fmla="*/ 58 w 140"/>
                <a:gd name="T99" fmla="*/ 42 h 321"/>
                <a:gd name="T100" fmla="*/ 58 w 140"/>
                <a:gd name="T101" fmla="*/ 40 h 321"/>
                <a:gd name="T102" fmla="*/ 56 w 140"/>
                <a:gd name="T103" fmla="*/ 44 h 321"/>
                <a:gd name="T104" fmla="*/ 77 w 140"/>
                <a:gd name="T105" fmla="*/ 19 h 321"/>
                <a:gd name="T106" fmla="*/ 77 w 140"/>
                <a:gd name="T107" fmla="*/ 19 h 321"/>
                <a:gd name="T108" fmla="*/ 79 w 140"/>
                <a:gd name="T109" fmla="*/ 17 h 321"/>
                <a:gd name="T110" fmla="*/ 77 w 140"/>
                <a:gd name="T111" fmla="*/ 19 h 321"/>
                <a:gd name="T112" fmla="*/ 48 w 140"/>
                <a:gd name="T113" fmla="*/ 0 h 321"/>
                <a:gd name="T114" fmla="*/ 50 w 140"/>
                <a:gd name="T115" fmla="*/ 0 h 321"/>
                <a:gd name="T116" fmla="*/ 50 w 140"/>
                <a:gd name="T117" fmla="*/ 0 h 321"/>
                <a:gd name="T118" fmla="*/ 50 w 140"/>
                <a:gd name="T119"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321">
                  <a:moveTo>
                    <a:pt x="84" y="316"/>
                  </a:moveTo>
                  <a:lnTo>
                    <a:pt x="84" y="316"/>
                  </a:lnTo>
                  <a:lnTo>
                    <a:pt x="84" y="316"/>
                  </a:lnTo>
                  <a:lnTo>
                    <a:pt x="82" y="318"/>
                  </a:lnTo>
                  <a:lnTo>
                    <a:pt x="82" y="320"/>
                  </a:lnTo>
                  <a:lnTo>
                    <a:pt x="81" y="320"/>
                  </a:lnTo>
                  <a:lnTo>
                    <a:pt x="79" y="321"/>
                  </a:lnTo>
                  <a:lnTo>
                    <a:pt x="79" y="321"/>
                  </a:lnTo>
                  <a:lnTo>
                    <a:pt x="79" y="320"/>
                  </a:lnTo>
                  <a:lnTo>
                    <a:pt x="79" y="320"/>
                  </a:lnTo>
                  <a:lnTo>
                    <a:pt x="79" y="320"/>
                  </a:lnTo>
                  <a:lnTo>
                    <a:pt x="79" y="321"/>
                  </a:lnTo>
                  <a:lnTo>
                    <a:pt x="81" y="321"/>
                  </a:lnTo>
                  <a:lnTo>
                    <a:pt x="81" y="321"/>
                  </a:lnTo>
                  <a:lnTo>
                    <a:pt x="82" y="321"/>
                  </a:lnTo>
                  <a:lnTo>
                    <a:pt x="82" y="320"/>
                  </a:lnTo>
                  <a:lnTo>
                    <a:pt x="84" y="316"/>
                  </a:lnTo>
                  <a:lnTo>
                    <a:pt x="84" y="316"/>
                  </a:lnTo>
                  <a:lnTo>
                    <a:pt x="84" y="316"/>
                  </a:lnTo>
                  <a:lnTo>
                    <a:pt x="84" y="316"/>
                  </a:lnTo>
                  <a:close/>
                  <a:moveTo>
                    <a:pt x="136" y="150"/>
                  </a:moveTo>
                  <a:lnTo>
                    <a:pt x="136" y="150"/>
                  </a:lnTo>
                  <a:lnTo>
                    <a:pt x="136" y="150"/>
                  </a:lnTo>
                  <a:lnTo>
                    <a:pt x="136" y="152"/>
                  </a:lnTo>
                  <a:lnTo>
                    <a:pt x="136" y="152"/>
                  </a:lnTo>
                  <a:lnTo>
                    <a:pt x="136" y="154"/>
                  </a:lnTo>
                  <a:lnTo>
                    <a:pt x="136" y="152"/>
                  </a:lnTo>
                  <a:lnTo>
                    <a:pt x="136" y="152"/>
                  </a:lnTo>
                  <a:lnTo>
                    <a:pt x="136" y="152"/>
                  </a:lnTo>
                  <a:lnTo>
                    <a:pt x="136" y="150"/>
                  </a:lnTo>
                  <a:lnTo>
                    <a:pt x="136" y="150"/>
                  </a:lnTo>
                  <a:lnTo>
                    <a:pt x="136" y="150"/>
                  </a:lnTo>
                  <a:close/>
                  <a:moveTo>
                    <a:pt x="138" y="145"/>
                  </a:moveTo>
                  <a:lnTo>
                    <a:pt x="138" y="145"/>
                  </a:lnTo>
                  <a:lnTo>
                    <a:pt x="138" y="147"/>
                  </a:lnTo>
                  <a:lnTo>
                    <a:pt x="138" y="147"/>
                  </a:lnTo>
                  <a:lnTo>
                    <a:pt x="138" y="147"/>
                  </a:lnTo>
                  <a:lnTo>
                    <a:pt x="138" y="145"/>
                  </a:lnTo>
                  <a:lnTo>
                    <a:pt x="138" y="145"/>
                  </a:lnTo>
                  <a:lnTo>
                    <a:pt x="138" y="145"/>
                  </a:lnTo>
                  <a:lnTo>
                    <a:pt x="138" y="145"/>
                  </a:lnTo>
                  <a:lnTo>
                    <a:pt x="138" y="145"/>
                  </a:lnTo>
                  <a:close/>
                  <a:moveTo>
                    <a:pt x="44" y="105"/>
                  </a:moveTo>
                  <a:lnTo>
                    <a:pt x="42" y="107"/>
                  </a:lnTo>
                  <a:lnTo>
                    <a:pt x="42" y="107"/>
                  </a:lnTo>
                  <a:lnTo>
                    <a:pt x="42" y="107"/>
                  </a:lnTo>
                  <a:lnTo>
                    <a:pt x="42" y="107"/>
                  </a:lnTo>
                  <a:lnTo>
                    <a:pt x="42" y="107"/>
                  </a:lnTo>
                  <a:lnTo>
                    <a:pt x="44" y="107"/>
                  </a:lnTo>
                  <a:lnTo>
                    <a:pt x="44" y="107"/>
                  </a:lnTo>
                  <a:lnTo>
                    <a:pt x="44" y="105"/>
                  </a:lnTo>
                  <a:lnTo>
                    <a:pt x="44" y="105"/>
                  </a:lnTo>
                  <a:lnTo>
                    <a:pt x="44" y="105"/>
                  </a:lnTo>
                  <a:lnTo>
                    <a:pt x="44" y="105"/>
                  </a:lnTo>
                  <a:lnTo>
                    <a:pt x="44" y="105"/>
                  </a:lnTo>
                  <a:close/>
                  <a:moveTo>
                    <a:pt x="35" y="86"/>
                  </a:moveTo>
                  <a:lnTo>
                    <a:pt x="35" y="86"/>
                  </a:lnTo>
                  <a:lnTo>
                    <a:pt x="35" y="86"/>
                  </a:lnTo>
                  <a:lnTo>
                    <a:pt x="35" y="86"/>
                  </a:lnTo>
                  <a:lnTo>
                    <a:pt x="35" y="86"/>
                  </a:lnTo>
                  <a:lnTo>
                    <a:pt x="35" y="86"/>
                  </a:lnTo>
                  <a:lnTo>
                    <a:pt x="35" y="86"/>
                  </a:lnTo>
                  <a:close/>
                  <a:moveTo>
                    <a:pt x="140" y="82"/>
                  </a:moveTo>
                  <a:lnTo>
                    <a:pt x="138" y="82"/>
                  </a:lnTo>
                  <a:lnTo>
                    <a:pt x="138" y="82"/>
                  </a:lnTo>
                  <a:lnTo>
                    <a:pt x="138" y="82"/>
                  </a:lnTo>
                  <a:lnTo>
                    <a:pt x="140" y="82"/>
                  </a:lnTo>
                  <a:lnTo>
                    <a:pt x="140" y="82"/>
                  </a:lnTo>
                  <a:lnTo>
                    <a:pt x="140" y="82"/>
                  </a:lnTo>
                  <a:lnTo>
                    <a:pt x="140" y="82"/>
                  </a:lnTo>
                  <a:close/>
                  <a:moveTo>
                    <a:pt x="2" y="78"/>
                  </a:moveTo>
                  <a:lnTo>
                    <a:pt x="0" y="78"/>
                  </a:lnTo>
                  <a:lnTo>
                    <a:pt x="0" y="80"/>
                  </a:lnTo>
                  <a:lnTo>
                    <a:pt x="0" y="82"/>
                  </a:lnTo>
                  <a:lnTo>
                    <a:pt x="0" y="84"/>
                  </a:lnTo>
                  <a:lnTo>
                    <a:pt x="2" y="80"/>
                  </a:lnTo>
                  <a:lnTo>
                    <a:pt x="2" y="78"/>
                  </a:lnTo>
                  <a:lnTo>
                    <a:pt x="2" y="76"/>
                  </a:lnTo>
                  <a:lnTo>
                    <a:pt x="2" y="76"/>
                  </a:lnTo>
                  <a:lnTo>
                    <a:pt x="2" y="78"/>
                  </a:lnTo>
                  <a:close/>
                  <a:moveTo>
                    <a:pt x="52" y="53"/>
                  </a:moveTo>
                  <a:lnTo>
                    <a:pt x="52" y="55"/>
                  </a:lnTo>
                  <a:lnTo>
                    <a:pt x="52" y="55"/>
                  </a:lnTo>
                  <a:lnTo>
                    <a:pt x="54" y="55"/>
                  </a:lnTo>
                  <a:lnTo>
                    <a:pt x="54" y="55"/>
                  </a:lnTo>
                  <a:lnTo>
                    <a:pt x="54" y="55"/>
                  </a:lnTo>
                  <a:lnTo>
                    <a:pt x="54" y="53"/>
                  </a:lnTo>
                  <a:lnTo>
                    <a:pt x="54" y="53"/>
                  </a:lnTo>
                  <a:lnTo>
                    <a:pt x="52" y="53"/>
                  </a:lnTo>
                  <a:close/>
                  <a:moveTo>
                    <a:pt x="56" y="44"/>
                  </a:moveTo>
                  <a:lnTo>
                    <a:pt x="56" y="46"/>
                  </a:lnTo>
                  <a:lnTo>
                    <a:pt x="56" y="46"/>
                  </a:lnTo>
                  <a:lnTo>
                    <a:pt x="56" y="46"/>
                  </a:lnTo>
                  <a:lnTo>
                    <a:pt x="56" y="48"/>
                  </a:lnTo>
                  <a:lnTo>
                    <a:pt x="56" y="48"/>
                  </a:lnTo>
                  <a:lnTo>
                    <a:pt x="58" y="46"/>
                  </a:lnTo>
                  <a:lnTo>
                    <a:pt x="58" y="44"/>
                  </a:lnTo>
                  <a:lnTo>
                    <a:pt x="58" y="42"/>
                  </a:lnTo>
                  <a:lnTo>
                    <a:pt x="58" y="42"/>
                  </a:lnTo>
                  <a:lnTo>
                    <a:pt x="58" y="42"/>
                  </a:lnTo>
                  <a:lnTo>
                    <a:pt x="58" y="42"/>
                  </a:lnTo>
                  <a:lnTo>
                    <a:pt x="58" y="40"/>
                  </a:lnTo>
                  <a:lnTo>
                    <a:pt x="58" y="40"/>
                  </a:lnTo>
                  <a:lnTo>
                    <a:pt x="56" y="44"/>
                  </a:lnTo>
                  <a:close/>
                  <a:moveTo>
                    <a:pt x="77" y="19"/>
                  </a:moveTo>
                  <a:lnTo>
                    <a:pt x="77" y="19"/>
                  </a:lnTo>
                  <a:lnTo>
                    <a:pt x="77" y="21"/>
                  </a:lnTo>
                  <a:lnTo>
                    <a:pt x="77" y="19"/>
                  </a:lnTo>
                  <a:lnTo>
                    <a:pt x="77" y="19"/>
                  </a:lnTo>
                  <a:lnTo>
                    <a:pt x="79" y="17"/>
                  </a:lnTo>
                  <a:lnTo>
                    <a:pt x="77" y="17"/>
                  </a:lnTo>
                  <a:lnTo>
                    <a:pt x="77" y="19"/>
                  </a:lnTo>
                  <a:close/>
                  <a:moveTo>
                    <a:pt x="50" y="0"/>
                  </a:moveTo>
                  <a:lnTo>
                    <a:pt x="48" y="0"/>
                  </a:lnTo>
                  <a:lnTo>
                    <a:pt x="48" y="0"/>
                  </a:lnTo>
                  <a:lnTo>
                    <a:pt x="50" y="0"/>
                  </a:lnTo>
                  <a:lnTo>
                    <a:pt x="50" y="0"/>
                  </a:lnTo>
                  <a:lnTo>
                    <a:pt x="50" y="0"/>
                  </a:lnTo>
                  <a:lnTo>
                    <a:pt x="50" y="0"/>
                  </a:lnTo>
                  <a:lnTo>
                    <a:pt x="50" y="0"/>
                  </a:lnTo>
                  <a:lnTo>
                    <a:pt x="50"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1" name="Freeform 43">
              <a:extLst>
                <a:ext uri="{FF2B5EF4-FFF2-40B4-BE49-F238E27FC236}">
                  <a16:creationId xmlns:a16="http://schemas.microsoft.com/office/drawing/2014/main" id="{6577B50F-453D-845A-7388-83F9638F0FA3}"/>
                </a:ext>
              </a:extLst>
            </p:cNvPr>
            <p:cNvSpPr>
              <a:spLocks noEditPoints="1"/>
            </p:cNvSpPr>
            <p:nvPr/>
          </p:nvSpPr>
          <p:spPr bwMode="auto">
            <a:xfrm>
              <a:off x="4367213" y="5518951"/>
              <a:ext cx="222250" cy="509588"/>
            </a:xfrm>
            <a:custGeom>
              <a:avLst/>
              <a:gdLst>
                <a:gd name="T0" fmla="*/ 84 w 140"/>
                <a:gd name="T1" fmla="*/ 316 h 321"/>
                <a:gd name="T2" fmla="*/ 82 w 140"/>
                <a:gd name="T3" fmla="*/ 318 h 321"/>
                <a:gd name="T4" fmla="*/ 81 w 140"/>
                <a:gd name="T5" fmla="*/ 320 h 321"/>
                <a:gd name="T6" fmla="*/ 79 w 140"/>
                <a:gd name="T7" fmla="*/ 321 h 321"/>
                <a:gd name="T8" fmla="*/ 79 w 140"/>
                <a:gd name="T9" fmla="*/ 320 h 321"/>
                <a:gd name="T10" fmla="*/ 79 w 140"/>
                <a:gd name="T11" fmla="*/ 321 h 321"/>
                <a:gd name="T12" fmla="*/ 81 w 140"/>
                <a:gd name="T13" fmla="*/ 321 h 321"/>
                <a:gd name="T14" fmla="*/ 82 w 140"/>
                <a:gd name="T15" fmla="*/ 320 h 321"/>
                <a:gd name="T16" fmla="*/ 84 w 140"/>
                <a:gd name="T17" fmla="*/ 316 h 321"/>
                <a:gd name="T18" fmla="*/ 84 w 140"/>
                <a:gd name="T19" fmla="*/ 316 h 321"/>
                <a:gd name="T20" fmla="*/ 136 w 140"/>
                <a:gd name="T21" fmla="*/ 150 h 321"/>
                <a:gd name="T22" fmla="*/ 136 w 140"/>
                <a:gd name="T23" fmla="*/ 152 h 321"/>
                <a:gd name="T24" fmla="*/ 136 w 140"/>
                <a:gd name="T25" fmla="*/ 154 h 321"/>
                <a:gd name="T26" fmla="*/ 136 w 140"/>
                <a:gd name="T27" fmla="*/ 152 h 321"/>
                <a:gd name="T28" fmla="*/ 136 w 140"/>
                <a:gd name="T29" fmla="*/ 150 h 321"/>
                <a:gd name="T30" fmla="*/ 136 w 140"/>
                <a:gd name="T31" fmla="*/ 150 h 321"/>
                <a:gd name="T32" fmla="*/ 138 w 140"/>
                <a:gd name="T33" fmla="*/ 145 h 321"/>
                <a:gd name="T34" fmla="*/ 138 w 140"/>
                <a:gd name="T35" fmla="*/ 147 h 321"/>
                <a:gd name="T36" fmla="*/ 138 w 140"/>
                <a:gd name="T37" fmla="*/ 145 h 321"/>
                <a:gd name="T38" fmla="*/ 138 w 140"/>
                <a:gd name="T39" fmla="*/ 145 h 321"/>
                <a:gd name="T40" fmla="*/ 138 w 140"/>
                <a:gd name="T41" fmla="*/ 145 h 321"/>
                <a:gd name="T42" fmla="*/ 42 w 140"/>
                <a:gd name="T43" fmla="*/ 107 h 321"/>
                <a:gd name="T44" fmla="*/ 42 w 140"/>
                <a:gd name="T45" fmla="*/ 107 h 321"/>
                <a:gd name="T46" fmla="*/ 42 w 140"/>
                <a:gd name="T47" fmla="*/ 107 h 321"/>
                <a:gd name="T48" fmla="*/ 44 w 140"/>
                <a:gd name="T49" fmla="*/ 107 h 321"/>
                <a:gd name="T50" fmla="*/ 44 w 140"/>
                <a:gd name="T51" fmla="*/ 105 h 321"/>
                <a:gd name="T52" fmla="*/ 44 w 140"/>
                <a:gd name="T53" fmla="*/ 105 h 321"/>
                <a:gd name="T54" fmla="*/ 35 w 140"/>
                <a:gd name="T55" fmla="*/ 86 h 321"/>
                <a:gd name="T56" fmla="*/ 35 w 140"/>
                <a:gd name="T57" fmla="*/ 86 h 321"/>
                <a:gd name="T58" fmla="*/ 35 w 140"/>
                <a:gd name="T59" fmla="*/ 86 h 321"/>
                <a:gd name="T60" fmla="*/ 35 w 140"/>
                <a:gd name="T61" fmla="*/ 86 h 321"/>
                <a:gd name="T62" fmla="*/ 138 w 140"/>
                <a:gd name="T63" fmla="*/ 82 h 321"/>
                <a:gd name="T64" fmla="*/ 138 w 140"/>
                <a:gd name="T65" fmla="*/ 82 h 321"/>
                <a:gd name="T66" fmla="*/ 140 w 140"/>
                <a:gd name="T67" fmla="*/ 82 h 321"/>
                <a:gd name="T68" fmla="*/ 140 w 140"/>
                <a:gd name="T69" fmla="*/ 82 h 321"/>
                <a:gd name="T70" fmla="*/ 0 w 140"/>
                <a:gd name="T71" fmla="*/ 78 h 321"/>
                <a:gd name="T72" fmla="*/ 0 w 140"/>
                <a:gd name="T73" fmla="*/ 82 h 321"/>
                <a:gd name="T74" fmla="*/ 2 w 140"/>
                <a:gd name="T75" fmla="*/ 80 h 321"/>
                <a:gd name="T76" fmla="*/ 2 w 140"/>
                <a:gd name="T77" fmla="*/ 76 h 321"/>
                <a:gd name="T78" fmla="*/ 2 w 140"/>
                <a:gd name="T79" fmla="*/ 78 h 321"/>
                <a:gd name="T80" fmla="*/ 52 w 140"/>
                <a:gd name="T81" fmla="*/ 55 h 321"/>
                <a:gd name="T82" fmla="*/ 54 w 140"/>
                <a:gd name="T83" fmla="*/ 55 h 321"/>
                <a:gd name="T84" fmla="*/ 54 w 140"/>
                <a:gd name="T85" fmla="*/ 55 h 321"/>
                <a:gd name="T86" fmla="*/ 54 w 140"/>
                <a:gd name="T87" fmla="*/ 53 h 321"/>
                <a:gd name="T88" fmla="*/ 56 w 140"/>
                <a:gd name="T89" fmla="*/ 44 h 321"/>
                <a:gd name="T90" fmla="*/ 56 w 140"/>
                <a:gd name="T91" fmla="*/ 46 h 321"/>
                <a:gd name="T92" fmla="*/ 56 w 140"/>
                <a:gd name="T93" fmla="*/ 48 h 321"/>
                <a:gd name="T94" fmla="*/ 58 w 140"/>
                <a:gd name="T95" fmla="*/ 46 h 321"/>
                <a:gd name="T96" fmla="*/ 58 w 140"/>
                <a:gd name="T97" fmla="*/ 42 h 321"/>
                <a:gd name="T98" fmla="*/ 58 w 140"/>
                <a:gd name="T99" fmla="*/ 42 h 321"/>
                <a:gd name="T100" fmla="*/ 58 w 140"/>
                <a:gd name="T101" fmla="*/ 40 h 321"/>
                <a:gd name="T102" fmla="*/ 56 w 140"/>
                <a:gd name="T103" fmla="*/ 44 h 321"/>
                <a:gd name="T104" fmla="*/ 77 w 140"/>
                <a:gd name="T105" fmla="*/ 19 h 321"/>
                <a:gd name="T106" fmla="*/ 77 w 140"/>
                <a:gd name="T107" fmla="*/ 19 h 321"/>
                <a:gd name="T108" fmla="*/ 79 w 140"/>
                <a:gd name="T109" fmla="*/ 17 h 321"/>
                <a:gd name="T110" fmla="*/ 77 w 140"/>
                <a:gd name="T111" fmla="*/ 19 h 321"/>
                <a:gd name="T112" fmla="*/ 48 w 140"/>
                <a:gd name="T113" fmla="*/ 0 h 321"/>
                <a:gd name="T114" fmla="*/ 50 w 140"/>
                <a:gd name="T115" fmla="*/ 0 h 321"/>
                <a:gd name="T116" fmla="*/ 50 w 140"/>
                <a:gd name="T117" fmla="*/ 0 h 321"/>
                <a:gd name="T118" fmla="*/ 50 w 140"/>
                <a:gd name="T119"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321">
                  <a:moveTo>
                    <a:pt x="84" y="316"/>
                  </a:moveTo>
                  <a:lnTo>
                    <a:pt x="84" y="316"/>
                  </a:lnTo>
                  <a:lnTo>
                    <a:pt x="84" y="316"/>
                  </a:lnTo>
                  <a:lnTo>
                    <a:pt x="82" y="318"/>
                  </a:lnTo>
                  <a:lnTo>
                    <a:pt x="82" y="320"/>
                  </a:lnTo>
                  <a:lnTo>
                    <a:pt x="81" y="320"/>
                  </a:lnTo>
                  <a:lnTo>
                    <a:pt x="79" y="321"/>
                  </a:lnTo>
                  <a:lnTo>
                    <a:pt x="79" y="321"/>
                  </a:lnTo>
                  <a:lnTo>
                    <a:pt x="79" y="320"/>
                  </a:lnTo>
                  <a:lnTo>
                    <a:pt x="79" y="320"/>
                  </a:lnTo>
                  <a:lnTo>
                    <a:pt x="79" y="320"/>
                  </a:lnTo>
                  <a:lnTo>
                    <a:pt x="79" y="321"/>
                  </a:lnTo>
                  <a:lnTo>
                    <a:pt x="81" y="321"/>
                  </a:lnTo>
                  <a:lnTo>
                    <a:pt x="81" y="321"/>
                  </a:lnTo>
                  <a:lnTo>
                    <a:pt x="82" y="321"/>
                  </a:lnTo>
                  <a:lnTo>
                    <a:pt x="82" y="320"/>
                  </a:lnTo>
                  <a:lnTo>
                    <a:pt x="84" y="316"/>
                  </a:lnTo>
                  <a:lnTo>
                    <a:pt x="84" y="316"/>
                  </a:lnTo>
                  <a:lnTo>
                    <a:pt x="84" y="316"/>
                  </a:lnTo>
                  <a:lnTo>
                    <a:pt x="84" y="316"/>
                  </a:lnTo>
                  <a:close/>
                  <a:moveTo>
                    <a:pt x="136" y="150"/>
                  </a:moveTo>
                  <a:lnTo>
                    <a:pt x="136" y="150"/>
                  </a:lnTo>
                  <a:lnTo>
                    <a:pt x="136" y="150"/>
                  </a:lnTo>
                  <a:lnTo>
                    <a:pt x="136" y="152"/>
                  </a:lnTo>
                  <a:lnTo>
                    <a:pt x="136" y="152"/>
                  </a:lnTo>
                  <a:lnTo>
                    <a:pt x="136" y="154"/>
                  </a:lnTo>
                  <a:lnTo>
                    <a:pt x="136" y="152"/>
                  </a:lnTo>
                  <a:lnTo>
                    <a:pt x="136" y="152"/>
                  </a:lnTo>
                  <a:lnTo>
                    <a:pt x="136" y="152"/>
                  </a:lnTo>
                  <a:lnTo>
                    <a:pt x="136" y="150"/>
                  </a:lnTo>
                  <a:lnTo>
                    <a:pt x="136" y="150"/>
                  </a:lnTo>
                  <a:lnTo>
                    <a:pt x="136" y="150"/>
                  </a:lnTo>
                  <a:close/>
                  <a:moveTo>
                    <a:pt x="138" y="145"/>
                  </a:moveTo>
                  <a:lnTo>
                    <a:pt x="138" y="145"/>
                  </a:lnTo>
                  <a:lnTo>
                    <a:pt x="138" y="147"/>
                  </a:lnTo>
                  <a:lnTo>
                    <a:pt x="138" y="147"/>
                  </a:lnTo>
                  <a:lnTo>
                    <a:pt x="138" y="147"/>
                  </a:lnTo>
                  <a:lnTo>
                    <a:pt x="138" y="145"/>
                  </a:lnTo>
                  <a:lnTo>
                    <a:pt x="138" y="145"/>
                  </a:lnTo>
                  <a:lnTo>
                    <a:pt x="138" y="145"/>
                  </a:lnTo>
                  <a:lnTo>
                    <a:pt x="138" y="145"/>
                  </a:lnTo>
                  <a:lnTo>
                    <a:pt x="138" y="145"/>
                  </a:lnTo>
                  <a:close/>
                  <a:moveTo>
                    <a:pt x="44" y="105"/>
                  </a:moveTo>
                  <a:lnTo>
                    <a:pt x="42" y="107"/>
                  </a:lnTo>
                  <a:lnTo>
                    <a:pt x="42" y="107"/>
                  </a:lnTo>
                  <a:lnTo>
                    <a:pt x="42" y="107"/>
                  </a:lnTo>
                  <a:lnTo>
                    <a:pt x="42" y="107"/>
                  </a:lnTo>
                  <a:lnTo>
                    <a:pt x="42" y="107"/>
                  </a:lnTo>
                  <a:lnTo>
                    <a:pt x="44" y="107"/>
                  </a:lnTo>
                  <a:lnTo>
                    <a:pt x="44" y="107"/>
                  </a:lnTo>
                  <a:lnTo>
                    <a:pt x="44" y="105"/>
                  </a:lnTo>
                  <a:lnTo>
                    <a:pt x="44" y="105"/>
                  </a:lnTo>
                  <a:lnTo>
                    <a:pt x="44" y="105"/>
                  </a:lnTo>
                  <a:lnTo>
                    <a:pt x="44" y="105"/>
                  </a:lnTo>
                  <a:lnTo>
                    <a:pt x="44" y="105"/>
                  </a:lnTo>
                  <a:close/>
                  <a:moveTo>
                    <a:pt x="35" y="86"/>
                  </a:moveTo>
                  <a:lnTo>
                    <a:pt x="35" y="86"/>
                  </a:lnTo>
                  <a:lnTo>
                    <a:pt x="35" y="86"/>
                  </a:lnTo>
                  <a:lnTo>
                    <a:pt x="35" y="86"/>
                  </a:lnTo>
                  <a:lnTo>
                    <a:pt x="35" y="86"/>
                  </a:lnTo>
                  <a:lnTo>
                    <a:pt x="35" y="86"/>
                  </a:lnTo>
                  <a:lnTo>
                    <a:pt x="35" y="86"/>
                  </a:lnTo>
                  <a:close/>
                  <a:moveTo>
                    <a:pt x="140" y="82"/>
                  </a:moveTo>
                  <a:lnTo>
                    <a:pt x="138" y="82"/>
                  </a:lnTo>
                  <a:lnTo>
                    <a:pt x="138" y="82"/>
                  </a:lnTo>
                  <a:lnTo>
                    <a:pt x="138" y="82"/>
                  </a:lnTo>
                  <a:lnTo>
                    <a:pt x="140" y="82"/>
                  </a:lnTo>
                  <a:lnTo>
                    <a:pt x="140" y="82"/>
                  </a:lnTo>
                  <a:lnTo>
                    <a:pt x="140" y="82"/>
                  </a:lnTo>
                  <a:lnTo>
                    <a:pt x="140" y="82"/>
                  </a:lnTo>
                  <a:close/>
                  <a:moveTo>
                    <a:pt x="2" y="78"/>
                  </a:moveTo>
                  <a:lnTo>
                    <a:pt x="0" y="78"/>
                  </a:lnTo>
                  <a:lnTo>
                    <a:pt x="0" y="80"/>
                  </a:lnTo>
                  <a:lnTo>
                    <a:pt x="0" y="82"/>
                  </a:lnTo>
                  <a:lnTo>
                    <a:pt x="0" y="84"/>
                  </a:lnTo>
                  <a:lnTo>
                    <a:pt x="2" y="80"/>
                  </a:lnTo>
                  <a:lnTo>
                    <a:pt x="2" y="78"/>
                  </a:lnTo>
                  <a:lnTo>
                    <a:pt x="2" y="76"/>
                  </a:lnTo>
                  <a:lnTo>
                    <a:pt x="2" y="76"/>
                  </a:lnTo>
                  <a:lnTo>
                    <a:pt x="2" y="78"/>
                  </a:lnTo>
                  <a:close/>
                  <a:moveTo>
                    <a:pt x="52" y="53"/>
                  </a:moveTo>
                  <a:lnTo>
                    <a:pt x="52" y="55"/>
                  </a:lnTo>
                  <a:lnTo>
                    <a:pt x="52" y="55"/>
                  </a:lnTo>
                  <a:lnTo>
                    <a:pt x="54" y="55"/>
                  </a:lnTo>
                  <a:lnTo>
                    <a:pt x="54" y="55"/>
                  </a:lnTo>
                  <a:lnTo>
                    <a:pt x="54" y="55"/>
                  </a:lnTo>
                  <a:lnTo>
                    <a:pt x="54" y="53"/>
                  </a:lnTo>
                  <a:lnTo>
                    <a:pt x="54" y="53"/>
                  </a:lnTo>
                  <a:lnTo>
                    <a:pt x="52" y="53"/>
                  </a:lnTo>
                  <a:close/>
                  <a:moveTo>
                    <a:pt x="56" y="44"/>
                  </a:moveTo>
                  <a:lnTo>
                    <a:pt x="56" y="46"/>
                  </a:lnTo>
                  <a:lnTo>
                    <a:pt x="56" y="46"/>
                  </a:lnTo>
                  <a:lnTo>
                    <a:pt x="56" y="46"/>
                  </a:lnTo>
                  <a:lnTo>
                    <a:pt x="56" y="48"/>
                  </a:lnTo>
                  <a:lnTo>
                    <a:pt x="56" y="48"/>
                  </a:lnTo>
                  <a:lnTo>
                    <a:pt x="58" y="46"/>
                  </a:lnTo>
                  <a:lnTo>
                    <a:pt x="58" y="44"/>
                  </a:lnTo>
                  <a:lnTo>
                    <a:pt x="58" y="42"/>
                  </a:lnTo>
                  <a:lnTo>
                    <a:pt x="58" y="42"/>
                  </a:lnTo>
                  <a:lnTo>
                    <a:pt x="58" y="42"/>
                  </a:lnTo>
                  <a:lnTo>
                    <a:pt x="58" y="42"/>
                  </a:lnTo>
                  <a:lnTo>
                    <a:pt x="58" y="40"/>
                  </a:lnTo>
                  <a:lnTo>
                    <a:pt x="58" y="40"/>
                  </a:lnTo>
                  <a:lnTo>
                    <a:pt x="56" y="44"/>
                  </a:lnTo>
                  <a:close/>
                  <a:moveTo>
                    <a:pt x="77" y="19"/>
                  </a:moveTo>
                  <a:lnTo>
                    <a:pt x="77" y="19"/>
                  </a:lnTo>
                  <a:lnTo>
                    <a:pt x="77" y="21"/>
                  </a:lnTo>
                  <a:lnTo>
                    <a:pt x="77" y="19"/>
                  </a:lnTo>
                  <a:lnTo>
                    <a:pt x="77" y="19"/>
                  </a:lnTo>
                  <a:lnTo>
                    <a:pt x="79" y="17"/>
                  </a:lnTo>
                  <a:lnTo>
                    <a:pt x="77" y="17"/>
                  </a:lnTo>
                  <a:lnTo>
                    <a:pt x="77" y="19"/>
                  </a:lnTo>
                  <a:close/>
                  <a:moveTo>
                    <a:pt x="50" y="0"/>
                  </a:moveTo>
                  <a:lnTo>
                    <a:pt x="48" y="0"/>
                  </a:lnTo>
                  <a:lnTo>
                    <a:pt x="48" y="0"/>
                  </a:lnTo>
                  <a:lnTo>
                    <a:pt x="50" y="0"/>
                  </a:lnTo>
                  <a:lnTo>
                    <a:pt x="50" y="0"/>
                  </a:lnTo>
                  <a:lnTo>
                    <a:pt x="50" y="0"/>
                  </a:lnTo>
                  <a:lnTo>
                    <a:pt x="50" y="0"/>
                  </a:lnTo>
                  <a:lnTo>
                    <a:pt x="50" y="0"/>
                  </a:lnTo>
                  <a:lnTo>
                    <a:pt x="50"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2" name="Freeform 44">
              <a:extLst>
                <a:ext uri="{FF2B5EF4-FFF2-40B4-BE49-F238E27FC236}">
                  <a16:creationId xmlns:a16="http://schemas.microsoft.com/office/drawing/2014/main" id="{6ECA7231-738A-5D0D-9B13-552F136A4C4F}"/>
                </a:ext>
              </a:extLst>
            </p:cNvPr>
            <p:cNvSpPr>
              <a:spLocks/>
            </p:cNvSpPr>
            <p:nvPr/>
          </p:nvSpPr>
          <p:spPr bwMode="auto">
            <a:xfrm>
              <a:off x="4760913" y="5355438"/>
              <a:ext cx="373063" cy="671513"/>
            </a:xfrm>
            <a:custGeom>
              <a:avLst/>
              <a:gdLst>
                <a:gd name="T0" fmla="*/ 219 w 235"/>
                <a:gd name="T1" fmla="*/ 303 h 423"/>
                <a:gd name="T2" fmla="*/ 219 w 235"/>
                <a:gd name="T3" fmla="*/ 282 h 423"/>
                <a:gd name="T4" fmla="*/ 223 w 235"/>
                <a:gd name="T5" fmla="*/ 246 h 423"/>
                <a:gd name="T6" fmla="*/ 216 w 235"/>
                <a:gd name="T7" fmla="*/ 229 h 423"/>
                <a:gd name="T8" fmla="*/ 191 w 235"/>
                <a:gd name="T9" fmla="*/ 240 h 423"/>
                <a:gd name="T10" fmla="*/ 181 w 235"/>
                <a:gd name="T11" fmla="*/ 223 h 423"/>
                <a:gd name="T12" fmla="*/ 185 w 235"/>
                <a:gd name="T13" fmla="*/ 200 h 423"/>
                <a:gd name="T14" fmla="*/ 185 w 235"/>
                <a:gd name="T15" fmla="*/ 185 h 423"/>
                <a:gd name="T16" fmla="*/ 168 w 235"/>
                <a:gd name="T17" fmla="*/ 170 h 423"/>
                <a:gd name="T18" fmla="*/ 176 w 235"/>
                <a:gd name="T19" fmla="*/ 164 h 423"/>
                <a:gd name="T20" fmla="*/ 170 w 235"/>
                <a:gd name="T21" fmla="*/ 151 h 423"/>
                <a:gd name="T22" fmla="*/ 155 w 235"/>
                <a:gd name="T23" fmla="*/ 149 h 423"/>
                <a:gd name="T24" fmla="*/ 155 w 235"/>
                <a:gd name="T25" fmla="*/ 139 h 423"/>
                <a:gd name="T26" fmla="*/ 128 w 235"/>
                <a:gd name="T27" fmla="*/ 122 h 423"/>
                <a:gd name="T28" fmla="*/ 128 w 235"/>
                <a:gd name="T29" fmla="*/ 113 h 423"/>
                <a:gd name="T30" fmla="*/ 143 w 235"/>
                <a:gd name="T31" fmla="*/ 107 h 423"/>
                <a:gd name="T32" fmla="*/ 139 w 235"/>
                <a:gd name="T33" fmla="*/ 97 h 423"/>
                <a:gd name="T34" fmla="*/ 128 w 235"/>
                <a:gd name="T35" fmla="*/ 92 h 423"/>
                <a:gd name="T36" fmla="*/ 116 w 235"/>
                <a:gd name="T37" fmla="*/ 88 h 423"/>
                <a:gd name="T38" fmla="*/ 103 w 235"/>
                <a:gd name="T39" fmla="*/ 80 h 423"/>
                <a:gd name="T40" fmla="*/ 84 w 235"/>
                <a:gd name="T41" fmla="*/ 67 h 423"/>
                <a:gd name="T42" fmla="*/ 73 w 235"/>
                <a:gd name="T43" fmla="*/ 65 h 423"/>
                <a:gd name="T44" fmla="*/ 52 w 235"/>
                <a:gd name="T45" fmla="*/ 46 h 423"/>
                <a:gd name="T46" fmla="*/ 44 w 235"/>
                <a:gd name="T47" fmla="*/ 36 h 423"/>
                <a:gd name="T48" fmla="*/ 46 w 235"/>
                <a:gd name="T49" fmla="*/ 29 h 423"/>
                <a:gd name="T50" fmla="*/ 38 w 235"/>
                <a:gd name="T51" fmla="*/ 25 h 423"/>
                <a:gd name="T52" fmla="*/ 31 w 235"/>
                <a:gd name="T53" fmla="*/ 17 h 423"/>
                <a:gd name="T54" fmla="*/ 23 w 235"/>
                <a:gd name="T55" fmla="*/ 12 h 423"/>
                <a:gd name="T56" fmla="*/ 15 w 235"/>
                <a:gd name="T57" fmla="*/ 10 h 423"/>
                <a:gd name="T58" fmla="*/ 10 w 235"/>
                <a:gd name="T59" fmla="*/ 6 h 423"/>
                <a:gd name="T60" fmla="*/ 0 w 235"/>
                <a:gd name="T61" fmla="*/ 2 h 423"/>
                <a:gd name="T62" fmla="*/ 21 w 235"/>
                <a:gd name="T63" fmla="*/ 46 h 423"/>
                <a:gd name="T64" fmla="*/ 31 w 235"/>
                <a:gd name="T65" fmla="*/ 71 h 423"/>
                <a:gd name="T66" fmla="*/ 40 w 235"/>
                <a:gd name="T67" fmla="*/ 63 h 423"/>
                <a:gd name="T68" fmla="*/ 46 w 235"/>
                <a:gd name="T69" fmla="*/ 65 h 423"/>
                <a:gd name="T70" fmla="*/ 38 w 235"/>
                <a:gd name="T71" fmla="*/ 75 h 423"/>
                <a:gd name="T72" fmla="*/ 50 w 235"/>
                <a:gd name="T73" fmla="*/ 82 h 423"/>
                <a:gd name="T74" fmla="*/ 69 w 235"/>
                <a:gd name="T75" fmla="*/ 118 h 423"/>
                <a:gd name="T76" fmla="*/ 82 w 235"/>
                <a:gd name="T77" fmla="*/ 135 h 423"/>
                <a:gd name="T78" fmla="*/ 97 w 235"/>
                <a:gd name="T79" fmla="*/ 189 h 423"/>
                <a:gd name="T80" fmla="*/ 113 w 235"/>
                <a:gd name="T81" fmla="*/ 221 h 423"/>
                <a:gd name="T82" fmla="*/ 126 w 235"/>
                <a:gd name="T83" fmla="*/ 238 h 423"/>
                <a:gd name="T84" fmla="*/ 122 w 235"/>
                <a:gd name="T85" fmla="*/ 250 h 423"/>
                <a:gd name="T86" fmla="*/ 126 w 235"/>
                <a:gd name="T87" fmla="*/ 251 h 423"/>
                <a:gd name="T88" fmla="*/ 141 w 235"/>
                <a:gd name="T89" fmla="*/ 274 h 423"/>
                <a:gd name="T90" fmla="*/ 143 w 235"/>
                <a:gd name="T91" fmla="*/ 289 h 423"/>
                <a:gd name="T92" fmla="*/ 149 w 235"/>
                <a:gd name="T93" fmla="*/ 308 h 423"/>
                <a:gd name="T94" fmla="*/ 139 w 235"/>
                <a:gd name="T95" fmla="*/ 284 h 423"/>
                <a:gd name="T96" fmla="*/ 137 w 235"/>
                <a:gd name="T97" fmla="*/ 289 h 423"/>
                <a:gd name="T98" fmla="*/ 132 w 235"/>
                <a:gd name="T99" fmla="*/ 274 h 423"/>
                <a:gd name="T100" fmla="*/ 128 w 235"/>
                <a:gd name="T101" fmla="*/ 272 h 423"/>
                <a:gd name="T102" fmla="*/ 147 w 235"/>
                <a:gd name="T103" fmla="*/ 335 h 423"/>
                <a:gd name="T104" fmla="*/ 149 w 235"/>
                <a:gd name="T105" fmla="*/ 345 h 423"/>
                <a:gd name="T106" fmla="*/ 156 w 235"/>
                <a:gd name="T107" fmla="*/ 358 h 423"/>
                <a:gd name="T108" fmla="*/ 168 w 235"/>
                <a:gd name="T109" fmla="*/ 354 h 423"/>
                <a:gd name="T110" fmla="*/ 158 w 235"/>
                <a:gd name="T111" fmla="*/ 362 h 423"/>
                <a:gd name="T112" fmla="*/ 166 w 235"/>
                <a:gd name="T113" fmla="*/ 373 h 423"/>
                <a:gd name="T114" fmla="*/ 212 w 235"/>
                <a:gd name="T115" fmla="*/ 421 h 423"/>
                <a:gd name="T116" fmla="*/ 217 w 235"/>
                <a:gd name="T117" fmla="*/ 409 h 423"/>
                <a:gd name="T118" fmla="*/ 223 w 235"/>
                <a:gd name="T119" fmla="*/ 402 h 423"/>
                <a:gd name="T120" fmla="*/ 214 w 235"/>
                <a:gd name="T121" fmla="*/ 385 h 423"/>
                <a:gd name="T122" fmla="*/ 216 w 235"/>
                <a:gd name="T123" fmla="*/ 362 h 423"/>
                <a:gd name="T124" fmla="*/ 235 w 235"/>
                <a:gd name="T125" fmla="*/ 3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5" h="423">
                  <a:moveTo>
                    <a:pt x="235" y="308"/>
                  </a:moveTo>
                  <a:lnTo>
                    <a:pt x="233" y="305"/>
                  </a:lnTo>
                  <a:lnTo>
                    <a:pt x="231" y="305"/>
                  </a:lnTo>
                  <a:lnTo>
                    <a:pt x="231" y="303"/>
                  </a:lnTo>
                  <a:lnTo>
                    <a:pt x="231" y="301"/>
                  </a:lnTo>
                  <a:lnTo>
                    <a:pt x="229" y="301"/>
                  </a:lnTo>
                  <a:lnTo>
                    <a:pt x="229" y="301"/>
                  </a:lnTo>
                  <a:lnTo>
                    <a:pt x="227" y="301"/>
                  </a:lnTo>
                  <a:lnTo>
                    <a:pt x="227" y="301"/>
                  </a:lnTo>
                  <a:lnTo>
                    <a:pt x="221" y="303"/>
                  </a:lnTo>
                  <a:lnTo>
                    <a:pt x="221" y="303"/>
                  </a:lnTo>
                  <a:lnTo>
                    <a:pt x="221" y="303"/>
                  </a:lnTo>
                  <a:lnTo>
                    <a:pt x="219" y="303"/>
                  </a:lnTo>
                  <a:lnTo>
                    <a:pt x="219" y="303"/>
                  </a:lnTo>
                  <a:lnTo>
                    <a:pt x="219" y="301"/>
                  </a:lnTo>
                  <a:lnTo>
                    <a:pt x="217" y="301"/>
                  </a:lnTo>
                  <a:lnTo>
                    <a:pt x="217" y="301"/>
                  </a:lnTo>
                  <a:lnTo>
                    <a:pt x="217" y="301"/>
                  </a:lnTo>
                  <a:lnTo>
                    <a:pt x="216" y="301"/>
                  </a:lnTo>
                  <a:lnTo>
                    <a:pt x="216" y="301"/>
                  </a:lnTo>
                  <a:lnTo>
                    <a:pt x="216" y="301"/>
                  </a:lnTo>
                  <a:lnTo>
                    <a:pt x="216" y="299"/>
                  </a:lnTo>
                  <a:lnTo>
                    <a:pt x="216" y="299"/>
                  </a:lnTo>
                  <a:lnTo>
                    <a:pt x="216" y="299"/>
                  </a:lnTo>
                  <a:lnTo>
                    <a:pt x="219" y="284"/>
                  </a:lnTo>
                  <a:lnTo>
                    <a:pt x="219" y="282"/>
                  </a:lnTo>
                  <a:lnTo>
                    <a:pt x="219" y="280"/>
                  </a:lnTo>
                  <a:lnTo>
                    <a:pt x="219" y="278"/>
                  </a:lnTo>
                  <a:lnTo>
                    <a:pt x="219" y="274"/>
                  </a:lnTo>
                  <a:lnTo>
                    <a:pt x="219" y="274"/>
                  </a:lnTo>
                  <a:lnTo>
                    <a:pt x="219" y="272"/>
                  </a:lnTo>
                  <a:lnTo>
                    <a:pt x="221" y="269"/>
                  </a:lnTo>
                  <a:lnTo>
                    <a:pt x="221" y="267"/>
                  </a:lnTo>
                  <a:lnTo>
                    <a:pt x="221" y="265"/>
                  </a:lnTo>
                  <a:lnTo>
                    <a:pt x="219" y="259"/>
                  </a:lnTo>
                  <a:lnTo>
                    <a:pt x="219" y="257"/>
                  </a:lnTo>
                  <a:lnTo>
                    <a:pt x="219" y="255"/>
                  </a:lnTo>
                  <a:lnTo>
                    <a:pt x="219" y="255"/>
                  </a:lnTo>
                  <a:lnTo>
                    <a:pt x="223" y="246"/>
                  </a:lnTo>
                  <a:lnTo>
                    <a:pt x="223" y="244"/>
                  </a:lnTo>
                  <a:lnTo>
                    <a:pt x="223" y="242"/>
                  </a:lnTo>
                  <a:lnTo>
                    <a:pt x="223" y="242"/>
                  </a:lnTo>
                  <a:lnTo>
                    <a:pt x="223" y="242"/>
                  </a:lnTo>
                  <a:lnTo>
                    <a:pt x="221" y="242"/>
                  </a:lnTo>
                  <a:lnTo>
                    <a:pt x="221" y="240"/>
                  </a:lnTo>
                  <a:lnTo>
                    <a:pt x="221" y="238"/>
                  </a:lnTo>
                  <a:lnTo>
                    <a:pt x="221" y="236"/>
                  </a:lnTo>
                  <a:lnTo>
                    <a:pt x="219" y="234"/>
                  </a:lnTo>
                  <a:lnTo>
                    <a:pt x="219" y="234"/>
                  </a:lnTo>
                  <a:lnTo>
                    <a:pt x="217" y="230"/>
                  </a:lnTo>
                  <a:lnTo>
                    <a:pt x="217" y="230"/>
                  </a:lnTo>
                  <a:lnTo>
                    <a:pt x="216" y="229"/>
                  </a:lnTo>
                  <a:lnTo>
                    <a:pt x="214" y="230"/>
                  </a:lnTo>
                  <a:lnTo>
                    <a:pt x="210" y="230"/>
                  </a:lnTo>
                  <a:lnTo>
                    <a:pt x="206" y="232"/>
                  </a:lnTo>
                  <a:lnTo>
                    <a:pt x="204" y="234"/>
                  </a:lnTo>
                  <a:lnTo>
                    <a:pt x="204" y="234"/>
                  </a:lnTo>
                  <a:lnTo>
                    <a:pt x="200" y="238"/>
                  </a:lnTo>
                  <a:lnTo>
                    <a:pt x="196" y="240"/>
                  </a:lnTo>
                  <a:lnTo>
                    <a:pt x="195" y="240"/>
                  </a:lnTo>
                  <a:lnTo>
                    <a:pt x="195" y="240"/>
                  </a:lnTo>
                  <a:lnTo>
                    <a:pt x="193" y="240"/>
                  </a:lnTo>
                  <a:lnTo>
                    <a:pt x="193" y="240"/>
                  </a:lnTo>
                  <a:lnTo>
                    <a:pt x="191" y="240"/>
                  </a:lnTo>
                  <a:lnTo>
                    <a:pt x="191" y="240"/>
                  </a:lnTo>
                  <a:lnTo>
                    <a:pt x="191" y="238"/>
                  </a:lnTo>
                  <a:lnTo>
                    <a:pt x="189" y="236"/>
                  </a:lnTo>
                  <a:lnTo>
                    <a:pt x="187" y="236"/>
                  </a:lnTo>
                  <a:lnTo>
                    <a:pt x="185" y="234"/>
                  </a:lnTo>
                  <a:lnTo>
                    <a:pt x="183" y="234"/>
                  </a:lnTo>
                  <a:lnTo>
                    <a:pt x="183" y="232"/>
                  </a:lnTo>
                  <a:lnTo>
                    <a:pt x="183" y="232"/>
                  </a:lnTo>
                  <a:lnTo>
                    <a:pt x="183" y="230"/>
                  </a:lnTo>
                  <a:lnTo>
                    <a:pt x="183" y="229"/>
                  </a:lnTo>
                  <a:lnTo>
                    <a:pt x="183" y="227"/>
                  </a:lnTo>
                  <a:lnTo>
                    <a:pt x="183" y="227"/>
                  </a:lnTo>
                  <a:lnTo>
                    <a:pt x="181" y="225"/>
                  </a:lnTo>
                  <a:lnTo>
                    <a:pt x="181" y="223"/>
                  </a:lnTo>
                  <a:lnTo>
                    <a:pt x="181" y="223"/>
                  </a:lnTo>
                  <a:lnTo>
                    <a:pt x="179" y="221"/>
                  </a:lnTo>
                  <a:lnTo>
                    <a:pt x="181" y="217"/>
                  </a:lnTo>
                  <a:lnTo>
                    <a:pt x="181" y="215"/>
                  </a:lnTo>
                  <a:lnTo>
                    <a:pt x="181" y="215"/>
                  </a:lnTo>
                  <a:lnTo>
                    <a:pt x="181" y="215"/>
                  </a:lnTo>
                  <a:lnTo>
                    <a:pt x="181" y="210"/>
                  </a:lnTo>
                  <a:lnTo>
                    <a:pt x="181" y="202"/>
                  </a:lnTo>
                  <a:lnTo>
                    <a:pt x="181" y="202"/>
                  </a:lnTo>
                  <a:lnTo>
                    <a:pt x="181" y="200"/>
                  </a:lnTo>
                  <a:lnTo>
                    <a:pt x="183" y="200"/>
                  </a:lnTo>
                  <a:lnTo>
                    <a:pt x="185" y="200"/>
                  </a:lnTo>
                  <a:lnTo>
                    <a:pt x="185" y="200"/>
                  </a:lnTo>
                  <a:lnTo>
                    <a:pt x="187" y="198"/>
                  </a:lnTo>
                  <a:lnTo>
                    <a:pt x="187" y="196"/>
                  </a:lnTo>
                  <a:lnTo>
                    <a:pt x="187" y="194"/>
                  </a:lnTo>
                  <a:lnTo>
                    <a:pt x="187" y="192"/>
                  </a:lnTo>
                  <a:lnTo>
                    <a:pt x="187" y="191"/>
                  </a:lnTo>
                  <a:lnTo>
                    <a:pt x="187" y="191"/>
                  </a:lnTo>
                  <a:lnTo>
                    <a:pt x="187" y="189"/>
                  </a:lnTo>
                  <a:lnTo>
                    <a:pt x="187" y="187"/>
                  </a:lnTo>
                  <a:lnTo>
                    <a:pt x="187" y="187"/>
                  </a:lnTo>
                  <a:lnTo>
                    <a:pt x="187" y="187"/>
                  </a:lnTo>
                  <a:lnTo>
                    <a:pt x="185" y="187"/>
                  </a:lnTo>
                  <a:lnTo>
                    <a:pt x="185" y="187"/>
                  </a:lnTo>
                  <a:lnTo>
                    <a:pt x="185" y="185"/>
                  </a:lnTo>
                  <a:lnTo>
                    <a:pt x="183" y="185"/>
                  </a:lnTo>
                  <a:lnTo>
                    <a:pt x="183" y="183"/>
                  </a:lnTo>
                  <a:lnTo>
                    <a:pt x="183" y="183"/>
                  </a:lnTo>
                  <a:lnTo>
                    <a:pt x="183" y="181"/>
                  </a:lnTo>
                  <a:lnTo>
                    <a:pt x="181" y="181"/>
                  </a:lnTo>
                  <a:lnTo>
                    <a:pt x="181" y="179"/>
                  </a:lnTo>
                  <a:lnTo>
                    <a:pt x="177" y="177"/>
                  </a:lnTo>
                  <a:lnTo>
                    <a:pt x="172" y="175"/>
                  </a:lnTo>
                  <a:lnTo>
                    <a:pt x="170" y="175"/>
                  </a:lnTo>
                  <a:lnTo>
                    <a:pt x="170" y="173"/>
                  </a:lnTo>
                  <a:lnTo>
                    <a:pt x="168" y="172"/>
                  </a:lnTo>
                  <a:lnTo>
                    <a:pt x="168" y="170"/>
                  </a:lnTo>
                  <a:lnTo>
                    <a:pt x="168" y="170"/>
                  </a:lnTo>
                  <a:lnTo>
                    <a:pt x="168" y="168"/>
                  </a:lnTo>
                  <a:lnTo>
                    <a:pt x="168" y="166"/>
                  </a:lnTo>
                  <a:lnTo>
                    <a:pt x="168" y="166"/>
                  </a:lnTo>
                  <a:lnTo>
                    <a:pt x="170" y="166"/>
                  </a:lnTo>
                  <a:lnTo>
                    <a:pt x="170" y="164"/>
                  </a:lnTo>
                  <a:lnTo>
                    <a:pt x="170" y="164"/>
                  </a:lnTo>
                  <a:lnTo>
                    <a:pt x="172" y="164"/>
                  </a:lnTo>
                  <a:lnTo>
                    <a:pt x="172" y="164"/>
                  </a:lnTo>
                  <a:lnTo>
                    <a:pt x="174" y="166"/>
                  </a:lnTo>
                  <a:lnTo>
                    <a:pt x="174" y="166"/>
                  </a:lnTo>
                  <a:lnTo>
                    <a:pt x="176" y="166"/>
                  </a:lnTo>
                  <a:lnTo>
                    <a:pt x="176" y="164"/>
                  </a:lnTo>
                  <a:lnTo>
                    <a:pt x="176" y="164"/>
                  </a:lnTo>
                  <a:lnTo>
                    <a:pt x="176" y="164"/>
                  </a:lnTo>
                  <a:lnTo>
                    <a:pt x="176" y="162"/>
                  </a:lnTo>
                  <a:lnTo>
                    <a:pt x="176" y="162"/>
                  </a:lnTo>
                  <a:lnTo>
                    <a:pt x="174" y="162"/>
                  </a:lnTo>
                  <a:lnTo>
                    <a:pt x="174" y="160"/>
                  </a:lnTo>
                  <a:lnTo>
                    <a:pt x="172" y="156"/>
                  </a:lnTo>
                  <a:lnTo>
                    <a:pt x="172" y="154"/>
                  </a:lnTo>
                  <a:lnTo>
                    <a:pt x="172" y="154"/>
                  </a:lnTo>
                  <a:lnTo>
                    <a:pt x="170" y="154"/>
                  </a:lnTo>
                  <a:lnTo>
                    <a:pt x="170" y="153"/>
                  </a:lnTo>
                  <a:lnTo>
                    <a:pt x="170" y="153"/>
                  </a:lnTo>
                  <a:lnTo>
                    <a:pt x="170" y="151"/>
                  </a:lnTo>
                  <a:lnTo>
                    <a:pt x="170" y="151"/>
                  </a:lnTo>
                  <a:lnTo>
                    <a:pt x="170" y="149"/>
                  </a:lnTo>
                  <a:lnTo>
                    <a:pt x="170" y="149"/>
                  </a:lnTo>
                  <a:lnTo>
                    <a:pt x="170" y="147"/>
                  </a:lnTo>
                  <a:lnTo>
                    <a:pt x="170" y="145"/>
                  </a:lnTo>
                  <a:lnTo>
                    <a:pt x="170" y="145"/>
                  </a:lnTo>
                  <a:lnTo>
                    <a:pt x="170" y="147"/>
                  </a:lnTo>
                  <a:lnTo>
                    <a:pt x="166" y="149"/>
                  </a:lnTo>
                  <a:lnTo>
                    <a:pt x="166" y="149"/>
                  </a:lnTo>
                  <a:lnTo>
                    <a:pt x="164" y="149"/>
                  </a:lnTo>
                  <a:lnTo>
                    <a:pt x="158" y="149"/>
                  </a:lnTo>
                  <a:lnTo>
                    <a:pt x="156" y="149"/>
                  </a:lnTo>
                  <a:lnTo>
                    <a:pt x="155" y="149"/>
                  </a:lnTo>
                  <a:lnTo>
                    <a:pt x="155" y="149"/>
                  </a:lnTo>
                  <a:lnTo>
                    <a:pt x="153" y="149"/>
                  </a:lnTo>
                  <a:lnTo>
                    <a:pt x="153" y="149"/>
                  </a:lnTo>
                  <a:lnTo>
                    <a:pt x="151" y="149"/>
                  </a:lnTo>
                  <a:lnTo>
                    <a:pt x="151" y="149"/>
                  </a:lnTo>
                  <a:lnTo>
                    <a:pt x="149" y="149"/>
                  </a:lnTo>
                  <a:lnTo>
                    <a:pt x="147" y="149"/>
                  </a:lnTo>
                  <a:lnTo>
                    <a:pt x="147" y="149"/>
                  </a:lnTo>
                  <a:lnTo>
                    <a:pt x="147" y="149"/>
                  </a:lnTo>
                  <a:lnTo>
                    <a:pt x="147" y="147"/>
                  </a:lnTo>
                  <a:lnTo>
                    <a:pt x="147" y="147"/>
                  </a:lnTo>
                  <a:lnTo>
                    <a:pt x="149" y="143"/>
                  </a:lnTo>
                  <a:lnTo>
                    <a:pt x="149" y="143"/>
                  </a:lnTo>
                  <a:lnTo>
                    <a:pt x="155" y="139"/>
                  </a:lnTo>
                  <a:lnTo>
                    <a:pt x="156" y="137"/>
                  </a:lnTo>
                  <a:lnTo>
                    <a:pt x="153" y="135"/>
                  </a:lnTo>
                  <a:lnTo>
                    <a:pt x="151" y="132"/>
                  </a:lnTo>
                  <a:lnTo>
                    <a:pt x="151" y="132"/>
                  </a:lnTo>
                  <a:lnTo>
                    <a:pt x="149" y="132"/>
                  </a:lnTo>
                  <a:lnTo>
                    <a:pt x="149" y="130"/>
                  </a:lnTo>
                  <a:lnTo>
                    <a:pt x="147" y="130"/>
                  </a:lnTo>
                  <a:lnTo>
                    <a:pt x="147" y="130"/>
                  </a:lnTo>
                  <a:lnTo>
                    <a:pt x="145" y="128"/>
                  </a:lnTo>
                  <a:lnTo>
                    <a:pt x="143" y="128"/>
                  </a:lnTo>
                  <a:lnTo>
                    <a:pt x="134" y="124"/>
                  </a:lnTo>
                  <a:lnTo>
                    <a:pt x="130" y="124"/>
                  </a:lnTo>
                  <a:lnTo>
                    <a:pt x="128" y="122"/>
                  </a:lnTo>
                  <a:lnTo>
                    <a:pt x="128" y="122"/>
                  </a:lnTo>
                  <a:lnTo>
                    <a:pt x="128" y="122"/>
                  </a:lnTo>
                  <a:lnTo>
                    <a:pt x="128" y="120"/>
                  </a:lnTo>
                  <a:lnTo>
                    <a:pt x="128" y="120"/>
                  </a:lnTo>
                  <a:lnTo>
                    <a:pt x="128" y="120"/>
                  </a:lnTo>
                  <a:lnTo>
                    <a:pt x="128" y="120"/>
                  </a:lnTo>
                  <a:lnTo>
                    <a:pt x="128" y="118"/>
                  </a:lnTo>
                  <a:lnTo>
                    <a:pt x="126" y="118"/>
                  </a:lnTo>
                  <a:lnTo>
                    <a:pt x="126" y="118"/>
                  </a:lnTo>
                  <a:lnTo>
                    <a:pt x="128" y="116"/>
                  </a:lnTo>
                  <a:lnTo>
                    <a:pt x="128" y="116"/>
                  </a:lnTo>
                  <a:lnTo>
                    <a:pt x="128" y="114"/>
                  </a:lnTo>
                  <a:lnTo>
                    <a:pt x="128" y="113"/>
                  </a:lnTo>
                  <a:lnTo>
                    <a:pt x="128" y="113"/>
                  </a:lnTo>
                  <a:lnTo>
                    <a:pt x="128" y="111"/>
                  </a:lnTo>
                  <a:lnTo>
                    <a:pt x="130" y="113"/>
                  </a:lnTo>
                  <a:lnTo>
                    <a:pt x="132" y="113"/>
                  </a:lnTo>
                  <a:lnTo>
                    <a:pt x="134" y="113"/>
                  </a:lnTo>
                  <a:lnTo>
                    <a:pt x="136" y="113"/>
                  </a:lnTo>
                  <a:lnTo>
                    <a:pt x="137" y="113"/>
                  </a:lnTo>
                  <a:lnTo>
                    <a:pt x="137" y="113"/>
                  </a:lnTo>
                  <a:lnTo>
                    <a:pt x="139" y="111"/>
                  </a:lnTo>
                  <a:lnTo>
                    <a:pt x="139" y="109"/>
                  </a:lnTo>
                  <a:lnTo>
                    <a:pt x="139" y="109"/>
                  </a:lnTo>
                  <a:lnTo>
                    <a:pt x="141" y="109"/>
                  </a:lnTo>
                  <a:lnTo>
                    <a:pt x="143" y="107"/>
                  </a:lnTo>
                  <a:lnTo>
                    <a:pt x="143" y="107"/>
                  </a:lnTo>
                  <a:lnTo>
                    <a:pt x="143" y="107"/>
                  </a:lnTo>
                  <a:lnTo>
                    <a:pt x="145" y="107"/>
                  </a:lnTo>
                  <a:lnTo>
                    <a:pt x="145" y="107"/>
                  </a:lnTo>
                  <a:lnTo>
                    <a:pt x="145" y="107"/>
                  </a:lnTo>
                  <a:lnTo>
                    <a:pt x="143" y="105"/>
                  </a:lnTo>
                  <a:lnTo>
                    <a:pt x="143" y="103"/>
                  </a:lnTo>
                  <a:lnTo>
                    <a:pt x="143" y="101"/>
                  </a:lnTo>
                  <a:lnTo>
                    <a:pt x="141" y="99"/>
                  </a:lnTo>
                  <a:lnTo>
                    <a:pt x="141" y="99"/>
                  </a:lnTo>
                  <a:lnTo>
                    <a:pt x="141" y="97"/>
                  </a:lnTo>
                  <a:lnTo>
                    <a:pt x="141" y="97"/>
                  </a:lnTo>
                  <a:lnTo>
                    <a:pt x="139" y="97"/>
                  </a:lnTo>
                  <a:lnTo>
                    <a:pt x="139" y="97"/>
                  </a:lnTo>
                  <a:lnTo>
                    <a:pt x="137" y="97"/>
                  </a:lnTo>
                  <a:lnTo>
                    <a:pt x="137" y="99"/>
                  </a:lnTo>
                  <a:lnTo>
                    <a:pt x="137" y="97"/>
                  </a:lnTo>
                  <a:lnTo>
                    <a:pt x="136" y="97"/>
                  </a:lnTo>
                  <a:lnTo>
                    <a:pt x="134" y="97"/>
                  </a:lnTo>
                  <a:lnTo>
                    <a:pt x="134" y="97"/>
                  </a:lnTo>
                  <a:lnTo>
                    <a:pt x="132" y="95"/>
                  </a:lnTo>
                  <a:lnTo>
                    <a:pt x="130" y="94"/>
                  </a:lnTo>
                  <a:lnTo>
                    <a:pt x="130" y="92"/>
                  </a:lnTo>
                  <a:lnTo>
                    <a:pt x="128" y="92"/>
                  </a:lnTo>
                  <a:lnTo>
                    <a:pt x="128" y="92"/>
                  </a:lnTo>
                  <a:lnTo>
                    <a:pt x="128" y="92"/>
                  </a:lnTo>
                  <a:lnTo>
                    <a:pt x="126" y="92"/>
                  </a:lnTo>
                  <a:lnTo>
                    <a:pt x="126" y="92"/>
                  </a:lnTo>
                  <a:lnTo>
                    <a:pt x="126" y="92"/>
                  </a:lnTo>
                  <a:lnTo>
                    <a:pt x="124" y="92"/>
                  </a:lnTo>
                  <a:lnTo>
                    <a:pt x="124" y="92"/>
                  </a:lnTo>
                  <a:lnTo>
                    <a:pt x="124" y="90"/>
                  </a:lnTo>
                  <a:lnTo>
                    <a:pt x="122" y="88"/>
                  </a:lnTo>
                  <a:lnTo>
                    <a:pt x="122" y="88"/>
                  </a:lnTo>
                  <a:lnTo>
                    <a:pt x="120" y="88"/>
                  </a:lnTo>
                  <a:lnTo>
                    <a:pt x="120" y="86"/>
                  </a:lnTo>
                  <a:lnTo>
                    <a:pt x="118" y="86"/>
                  </a:lnTo>
                  <a:lnTo>
                    <a:pt x="118" y="86"/>
                  </a:lnTo>
                  <a:lnTo>
                    <a:pt x="116" y="88"/>
                  </a:lnTo>
                  <a:lnTo>
                    <a:pt x="116" y="88"/>
                  </a:lnTo>
                  <a:lnTo>
                    <a:pt x="115" y="88"/>
                  </a:lnTo>
                  <a:lnTo>
                    <a:pt x="115" y="88"/>
                  </a:lnTo>
                  <a:lnTo>
                    <a:pt x="113" y="86"/>
                  </a:lnTo>
                  <a:lnTo>
                    <a:pt x="113" y="86"/>
                  </a:lnTo>
                  <a:lnTo>
                    <a:pt x="113" y="84"/>
                  </a:lnTo>
                  <a:lnTo>
                    <a:pt x="113" y="80"/>
                  </a:lnTo>
                  <a:lnTo>
                    <a:pt x="113" y="78"/>
                  </a:lnTo>
                  <a:lnTo>
                    <a:pt x="113" y="78"/>
                  </a:lnTo>
                  <a:lnTo>
                    <a:pt x="113" y="78"/>
                  </a:lnTo>
                  <a:lnTo>
                    <a:pt x="111" y="78"/>
                  </a:lnTo>
                  <a:lnTo>
                    <a:pt x="107" y="78"/>
                  </a:lnTo>
                  <a:lnTo>
                    <a:pt x="103" y="80"/>
                  </a:lnTo>
                  <a:lnTo>
                    <a:pt x="101" y="80"/>
                  </a:lnTo>
                  <a:lnTo>
                    <a:pt x="97" y="80"/>
                  </a:lnTo>
                  <a:lnTo>
                    <a:pt x="95" y="80"/>
                  </a:lnTo>
                  <a:lnTo>
                    <a:pt x="94" y="78"/>
                  </a:lnTo>
                  <a:lnTo>
                    <a:pt x="92" y="78"/>
                  </a:lnTo>
                  <a:lnTo>
                    <a:pt x="90" y="78"/>
                  </a:lnTo>
                  <a:lnTo>
                    <a:pt x="88" y="76"/>
                  </a:lnTo>
                  <a:lnTo>
                    <a:pt x="86" y="76"/>
                  </a:lnTo>
                  <a:lnTo>
                    <a:pt x="86" y="75"/>
                  </a:lnTo>
                  <a:lnTo>
                    <a:pt x="84" y="73"/>
                  </a:lnTo>
                  <a:lnTo>
                    <a:pt x="84" y="71"/>
                  </a:lnTo>
                  <a:lnTo>
                    <a:pt x="84" y="69"/>
                  </a:lnTo>
                  <a:lnTo>
                    <a:pt x="84" y="67"/>
                  </a:lnTo>
                  <a:lnTo>
                    <a:pt x="82" y="67"/>
                  </a:lnTo>
                  <a:lnTo>
                    <a:pt x="82" y="67"/>
                  </a:lnTo>
                  <a:lnTo>
                    <a:pt x="82" y="67"/>
                  </a:lnTo>
                  <a:lnTo>
                    <a:pt x="80" y="67"/>
                  </a:lnTo>
                  <a:lnTo>
                    <a:pt x="80" y="67"/>
                  </a:lnTo>
                  <a:lnTo>
                    <a:pt x="80" y="67"/>
                  </a:lnTo>
                  <a:lnTo>
                    <a:pt x="78" y="67"/>
                  </a:lnTo>
                  <a:lnTo>
                    <a:pt x="78" y="67"/>
                  </a:lnTo>
                  <a:lnTo>
                    <a:pt x="76" y="67"/>
                  </a:lnTo>
                  <a:lnTo>
                    <a:pt x="75" y="65"/>
                  </a:lnTo>
                  <a:lnTo>
                    <a:pt x="75" y="65"/>
                  </a:lnTo>
                  <a:lnTo>
                    <a:pt x="75" y="65"/>
                  </a:lnTo>
                  <a:lnTo>
                    <a:pt x="73" y="65"/>
                  </a:lnTo>
                  <a:lnTo>
                    <a:pt x="73" y="65"/>
                  </a:lnTo>
                  <a:lnTo>
                    <a:pt x="71" y="65"/>
                  </a:lnTo>
                  <a:lnTo>
                    <a:pt x="71" y="63"/>
                  </a:lnTo>
                  <a:lnTo>
                    <a:pt x="71" y="63"/>
                  </a:lnTo>
                  <a:lnTo>
                    <a:pt x="71" y="61"/>
                  </a:lnTo>
                  <a:lnTo>
                    <a:pt x="69" y="61"/>
                  </a:lnTo>
                  <a:lnTo>
                    <a:pt x="69" y="61"/>
                  </a:lnTo>
                  <a:lnTo>
                    <a:pt x="67" y="59"/>
                  </a:lnTo>
                  <a:lnTo>
                    <a:pt x="65" y="59"/>
                  </a:lnTo>
                  <a:lnTo>
                    <a:pt x="63" y="57"/>
                  </a:lnTo>
                  <a:lnTo>
                    <a:pt x="54" y="48"/>
                  </a:lnTo>
                  <a:lnTo>
                    <a:pt x="52" y="46"/>
                  </a:lnTo>
                  <a:lnTo>
                    <a:pt x="52" y="46"/>
                  </a:lnTo>
                  <a:lnTo>
                    <a:pt x="52" y="46"/>
                  </a:lnTo>
                  <a:lnTo>
                    <a:pt x="50" y="46"/>
                  </a:lnTo>
                  <a:lnTo>
                    <a:pt x="50" y="46"/>
                  </a:lnTo>
                  <a:lnTo>
                    <a:pt x="50" y="46"/>
                  </a:lnTo>
                  <a:lnTo>
                    <a:pt x="50" y="46"/>
                  </a:lnTo>
                  <a:lnTo>
                    <a:pt x="50" y="46"/>
                  </a:lnTo>
                  <a:lnTo>
                    <a:pt x="48" y="44"/>
                  </a:lnTo>
                  <a:lnTo>
                    <a:pt x="48" y="42"/>
                  </a:lnTo>
                  <a:lnTo>
                    <a:pt x="48" y="40"/>
                  </a:lnTo>
                  <a:lnTo>
                    <a:pt x="46" y="38"/>
                  </a:lnTo>
                  <a:lnTo>
                    <a:pt x="46" y="36"/>
                  </a:lnTo>
                  <a:lnTo>
                    <a:pt x="44" y="36"/>
                  </a:lnTo>
                  <a:lnTo>
                    <a:pt x="44" y="36"/>
                  </a:lnTo>
                  <a:lnTo>
                    <a:pt x="44" y="35"/>
                  </a:lnTo>
                  <a:lnTo>
                    <a:pt x="44" y="35"/>
                  </a:lnTo>
                  <a:lnTo>
                    <a:pt x="44" y="33"/>
                  </a:lnTo>
                  <a:lnTo>
                    <a:pt x="46" y="33"/>
                  </a:lnTo>
                  <a:lnTo>
                    <a:pt x="46" y="31"/>
                  </a:lnTo>
                  <a:lnTo>
                    <a:pt x="48" y="31"/>
                  </a:lnTo>
                  <a:lnTo>
                    <a:pt x="48" y="31"/>
                  </a:lnTo>
                  <a:lnTo>
                    <a:pt x="48" y="31"/>
                  </a:lnTo>
                  <a:lnTo>
                    <a:pt x="48" y="29"/>
                  </a:lnTo>
                  <a:lnTo>
                    <a:pt x="48" y="29"/>
                  </a:lnTo>
                  <a:lnTo>
                    <a:pt x="46" y="29"/>
                  </a:lnTo>
                  <a:lnTo>
                    <a:pt x="46" y="29"/>
                  </a:lnTo>
                  <a:lnTo>
                    <a:pt x="46" y="29"/>
                  </a:lnTo>
                  <a:lnTo>
                    <a:pt x="42" y="29"/>
                  </a:lnTo>
                  <a:lnTo>
                    <a:pt x="42" y="29"/>
                  </a:lnTo>
                  <a:lnTo>
                    <a:pt x="42" y="29"/>
                  </a:lnTo>
                  <a:lnTo>
                    <a:pt x="42" y="29"/>
                  </a:lnTo>
                  <a:lnTo>
                    <a:pt x="42" y="29"/>
                  </a:lnTo>
                  <a:lnTo>
                    <a:pt x="42" y="29"/>
                  </a:lnTo>
                  <a:lnTo>
                    <a:pt x="40" y="27"/>
                  </a:lnTo>
                  <a:lnTo>
                    <a:pt x="40" y="27"/>
                  </a:lnTo>
                  <a:lnTo>
                    <a:pt x="40" y="27"/>
                  </a:lnTo>
                  <a:lnTo>
                    <a:pt x="40" y="27"/>
                  </a:lnTo>
                  <a:lnTo>
                    <a:pt x="38" y="27"/>
                  </a:lnTo>
                  <a:lnTo>
                    <a:pt x="38" y="27"/>
                  </a:lnTo>
                  <a:lnTo>
                    <a:pt x="38" y="25"/>
                  </a:lnTo>
                  <a:lnTo>
                    <a:pt x="38" y="25"/>
                  </a:lnTo>
                  <a:lnTo>
                    <a:pt x="36" y="23"/>
                  </a:lnTo>
                  <a:lnTo>
                    <a:pt x="36" y="23"/>
                  </a:lnTo>
                  <a:lnTo>
                    <a:pt x="36" y="21"/>
                  </a:lnTo>
                  <a:lnTo>
                    <a:pt x="36" y="21"/>
                  </a:lnTo>
                  <a:lnTo>
                    <a:pt x="38" y="19"/>
                  </a:lnTo>
                  <a:lnTo>
                    <a:pt x="38" y="17"/>
                  </a:lnTo>
                  <a:lnTo>
                    <a:pt x="35" y="16"/>
                  </a:lnTo>
                  <a:lnTo>
                    <a:pt x="33" y="16"/>
                  </a:lnTo>
                  <a:lnTo>
                    <a:pt x="33" y="17"/>
                  </a:lnTo>
                  <a:lnTo>
                    <a:pt x="33" y="17"/>
                  </a:lnTo>
                  <a:lnTo>
                    <a:pt x="31" y="17"/>
                  </a:lnTo>
                  <a:lnTo>
                    <a:pt x="31" y="17"/>
                  </a:lnTo>
                  <a:lnTo>
                    <a:pt x="31" y="17"/>
                  </a:lnTo>
                  <a:lnTo>
                    <a:pt x="29" y="17"/>
                  </a:lnTo>
                  <a:lnTo>
                    <a:pt x="29" y="17"/>
                  </a:lnTo>
                  <a:lnTo>
                    <a:pt x="27" y="16"/>
                  </a:lnTo>
                  <a:lnTo>
                    <a:pt x="27" y="14"/>
                  </a:lnTo>
                  <a:lnTo>
                    <a:pt x="27" y="14"/>
                  </a:lnTo>
                  <a:lnTo>
                    <a:pt x="25" y="14"/>
                  </a:lnTo>
                  <a:lnTo>
                    <a:pt x="25" y="16"/>
                  </a:lnTo>
                  <a:lnTo>
                    <a:pt x="25" y="16"/>
                  </a:lnTo>
                  <a:lnTo>
                    <a:pt x="23" y="16"/>
                  </a:lnTo>
                  <a:lnTo>
                    <a:pt x="23" y="14"/>
                  </a:lnTo>
                  <a:lnTo>
                    <a:pt x="23" y="14"/>
                  </a:lnTo>
                  <a:lnTo>
                    <a:pt x="23" y="12"/>
                  </a:lnTo>
                  <a:lnTo>
                    <a:pt x="23" y="12"/>
                  </a:lnTo>
                  <a:lnTo>
                    <a:pt x="23" y="12"/>
                  </a:lnTo>
                  <a:lnTo>
                    <a:pt x="23" y="10"/>
                  </a:lnTo>
                  <a:lnTo>
                    <a:pt x="23" y="10"/>
                  </a:lnTo>
                  <a:lnTo>
                    <a:pt x="23" y="10"/>
                  </a:lnTo>
                  <a:lnTo>
                    <a:pt x="21" y="10"/>
                  </a:lnTo>
                  <a:lnTo>
                    <a:pt x="19" y="8"/>
                  </a:lnTo>
                  <a:lnTo>
                    <a:pt x="19" y="8"/>
                  </a:lnTo>
                  <a:lnTo>
                    <a:pt x="17" y="8"/>
                  </a:lnTo>
                  <a:lnTo>
                    <a:pt x="17" y="8"/>
                  </a:lnTo>
                  <a:lnTo>
                    <a:pt x="15" y="10"/>
                  </a:lnTo>
                  <a:lnTo>
                    <a:pt x="15" y="10"/>
                  </a:lnTo>
                  <a:lnTo>
                    <a:pt x="15" y="10"/>
                  </a:lnTo>
                  <a:lnTo>
                    <a:pt x="15" y="10"/>
                  </a:lnTo>
                  <a:lnTo>
                    <a:pt x="14" y="10"/>
                  </a:lnTo>
                  <a:lnTo>
                    <a:pt x="14" y="8"/>
                  </a:lnTo>
                  <a:lnTo>
                    <a:pt x="14" y="8"/>
                  </a:lnTo>
                  <a:lnTo>
                    <a:pt x="14" y="8"/>
                  </a:lnTo>
                  <a:lnTo>
                    <a:pt x="14" y="6"/>
                  </a:lnTo>
                  <a:lnTo>
                    <a:pt x="14" y="6"/>
                  </a:lnTo>
                  <a:lnTo>
                    <a:pt x="14" y="6"/>
                  </a:lnTo>
                  <a:lnTo>
                    <a:pt x="14" y="6"/>
                  </a:lnTo>
                  <a:lnTo>
                    <a:pt x="14" y="6"/>
                  </a:lnTo>
                  <a:lnTo>
                    <a:pt x="12" y="6"/>
                  </a:lnTo>
                  <a:lnTo>
                    <a:pt x="10" y="6"/>
                  </a:lnTo>
                  <a:lnTo>
                    <a:pt x="10" y="6"/>
                  </a:lnTo>
                  <a:lnTo>
                    <a:pt x="10" y="4"/>
                  </a:lnTo>
                  <a:lnTo>
                    <a:pt x="10" y="4"/>
                  </a:lnTo>
                  <a:lnTo>
                    <a:pt x="10" y="4"/>
                  </a:lnTo>
                  <a:lnTo>
                    <a:pt x="8" y="2"/>
                  </a:lnTo>
                  <a:lnTo>
                    <a:pt x="8" y="2"/>
                  </a:lnTo>
                  <a:lnTo>
                    <a:pt x="8" y="2"/>
                  </a:lnTo>
                  <a:lnTo>
                    <a:pt x="8" y="0"/>
                  </a:lnTo>
                  <a:lnTo>
                    <a:pt x="8" y="0"/>
                  </a:lnTo>
                  <a:lnTo>
                    <a:pt x="8" y="0"/>
                  </a:lnTo>
                  <a:lnTo>
                    <a:pt x="6" y="0"/>
                  </a:lnTo>
                  <a:lnTo>
                    <a:pt x="4" y="0"/>
                  </a:lnTo>
                  <a:lnTo>
                    <a:pt x="0" y="2"/>
                  </a:lnTo>
                  <a:lnTo>
                    <a:pt x="0" y="2"/>
                  </a:lnTo>
                  <a:lnTo>
                    <a:pt x="2" y="4"/>
                  </a:lnTo>
                  <a:lnTo>
                    <a:pt x="2" y="6"/>
                  </a:lnTo>
                  <a:lnTo>
                    <a:pt x="10" y="23"/>
                  </a:lnTo>
                  <a:lnTo>
                    <a:pt x="12" y="27"/>
                  </a:lnTo>
                  <a:lnTo>
                    <a:pt x="12" y="27"/>
                  </a:lnTo>
                  <a:lnTo>
                    <a:pt x="12" y="29"/>
                  </a:lnTo>
                  <a:lnTo>
                    <a:pt x="12" y="31"/>
                  </a:lnTo>
                  <a:lnTo>
                    <a:pt x="14" y="31"/>
                  </a:lnTo>
                  <a:lnTo>
                    <a:pt x="14" y="31"/>
                  </a:lnTo>
                  <a:lnTo>
                    <a:pt x="14" y="33"/>
                  </a:lnTo>
                  <a:lnTo>
                    <a:pt x="14" y="33"/>
                  </a:lnTo>
                  <a:lnTo>
                    <a:pt x="15" y="35"/>
                  </a:lnTo>
                  <a:lnTo>
                    <a:pt x="21" y="46"/>
                  </a:lnTo>
                  <a:lnTo>
                    <a:pt x="23" y="48"/>
                  </a:lnTo>
                  <a:lnTo>
                    <a:pt x="23" y="52"/>
                  </a:lnTo>
                  <a:lnTo>
                    <a:pt x="23" y="52"/>
                  </a:lnTo>
                  <a:lnTo>
                    <a:pt x="23" y="54"/>
                  </a:lnTo>
                  <a:lnTo>
                    <a:pt x="23" y="52"/>
                  </a:lnTo>
                  <a:lnTo>
                    <a:pt x="25" y="52"/>
                  </a:lnTo>
                  <a:lnTo>
                    <a:pt x="25" y="52"/>
                  </a:lnTo>
                  <a:lnTo>
                    <a:pt x="27" y="50"/>
                  </a:lnTo>
                  <a:lnTo>
                    <a:pt x="27" y="52"/>
                  </a:lnTo>
                  <a:lnTo>
                    <a:pt x="25" y="54"/>
                  </a:lnTo>
                  <a:lnTo>
                    <a:pt x="27" y="59"/>
                  </a:lnTo>
                  <a:lnTo>
                    <a:pt x="31" y="67"/>
                  </a:lnTo>
                  <a:lnTo>
                    <a:pt x="31" y="71"/>
                  </a:lnTo>
                  <a:lnTo>
                    <a:pt x="31" y="73"/>
                  </a:lnTo>
                  <a:lnTo>
                    <a:pt x="33" y="73"/>
                  </a:lnTo>
                  <a:lnTo>
                    <a:pt x="33" y="73"/>
                  </a:lnTo>
                  <a:lnTo>
                    <a:pt x="33" y="73"/>
                  </a:lnTo>
                  <a:lnTo>
                    <a:pt x="33" y="73"/>
                  </a:lnTo>
                  <a:lnTo>
                    <a:pt x="35" y="73"/>
                  </a:lnTo>
                  <a:lnTo>
                    <a:pt x="35" y="71"/>
                  </a:lnTo>
                  <a:lnTo>
                    <a:pt x="35" y="65"/>
                  </a:lnTo>
                  <a:lnTo>
                    <a:pt x="35" y="63"/>
                  </a:lnTo>
                  <a:lnTo>
                    <a:pt x="36" y="65"/>
                  </a:lnTo>
                  <a:lnTo>
                    <a:pt x="38" y="65"/>
                  </a:lnTo>
                  <a:lnTo>
                    <a:pt x="38" y="63"/>
                  </a:lnTo>
                  <a:lnTo>
                    <a:pt x="40" y="63"/>
                  </a:lnTo>
                  <a:lnTo>
                    <a:pt x="40" y="63"/>
                  </a:lnTo>
                  <a:lnTo>
                    <a:pt x="42" y="61"/>
                  </a:lnTo>
                  <a:lnTo>
                    <a:pt x="42" y="61"/>
                  </a:lnTo>
                  <a:lnTo>
                    <a:pt x="44" y="61"/>
                  </a:lnTo>
                  <a:lnTo>
                    <a:pt x="46" y="61"/>
                  </a:lnTo>
                  <a:lnTo>
                    <a:pt x="48" y="61"/>
                  </a:lnTo>
                  <a:lnTo>
                    <a:pt x="48" y="59"/>
                  </a:lnTo>
                  <a:lnTo>
                    <a:pt x="50" y="61"/>
                  </a:lnTo>
                  <a:lnTo>
                    <a:pt x="50" y="61"/>
                  </a:lnTo>
                  <a:lnTo>
                    <a:pt x="48" y="61"/>
                  </a:lnTo>
                  <a:lnTo>
                    <a:pt x="48" y="63"/>
                  </a:lnTo>
                  <a:lnTo>
                    <a:pt x="46" y="63"/>
                  </a:lnTo>
                  <a:lnTo>
                    <a:pt x="46" y="65"/>
                  </a:lnTo>
                  <a:lnTo>
                    <a:pt x="44" y="65"/>
                  </a:lnTo>
                  <a:lnTo>
                    <a:pt x="44" y="65"/>
                  </a:lnTo>
                  <a:lnTo>
                    <a:pt x="44" y="63"/>
                  </a:lnTo>
                  <a:lnTo>
                    <a:pt x="42" y="65"/>
                  </a:lnTo>
                  <a:lnTo>
                    <a:pt x="40" y="67"/>
                  </a:lnTo>
                  <a:lnTo>
                    <a:pt x="42" y="69"/>
                  </a:lnTo>
                  <a:lnTo>
                    <a:pt x="42" y="71"/>
                  </a:lnTo>
                  <a:lnTo>
                    <a:pt x="42" y="71"/>
                  </a:lnTo>
                  <a:lnTo>
                    <a:pt x="44" y="73"/>
                  </a:lnTo>
                  <a:lnTo>
                    <a:pt x="44" y="73"/>
                  </a:lnTo>
                  <a:lnTo>
                    <a:pt x="42" y="73"/>
                  </a:lnTo>
                  <a:lnTo>
                    <a:pt x="38" y="73"/>
                  </a:lnTo>
                  <a:lnTo>
                    <a:pt x="38" y="75"/>
                  </a:lnTo>
                  <a:lnTo>
                    <a:pt x="40" y="76"/>
                  </a:lnTo>
                  <a:lnTo>
                    <a:pt x="40" y="76"/>
                  </a:lnTo>
                  <a:lnTo>
                    <a:pt x="42" y="78"/>
                  </a:lnTo>
                  <a:lnTo>
                    <a:pt x="44" y="78"/>
                  </a:lnTo>
                  <a:lnTo>
                    <a:pt x="46" y="78"/>
                  </a:lnTo>
                  <a:lnTo>
                    <a:pt x="46" y="78"/>
                  </a:lnTo>
                  <a:lnTo>
                    <a:pt x="48" y="76"/>
                  </a:lnTo>
                  <a:lnTo>
                    <a:pt x="50" y="76"/>
                  </a:lnTo>
                  <a:lnTo>
                    <a:pt x="50" y="78"/>
                  </a:lnTo>
                  <a:lnTo>
                    <a:pt x="48" y="78"/>
                  </a:lnTo>
                  <a:lnTo>
                    <a:pt x="50" y="80"/>
                  </a:lnTo>
                  <a:lnTo>
                    <a:pt x="50" y="80"/>
                  </a:lnTo>
                  <a:lnTo>
                    <a:pt x="50" y="82"/>
                  </a:lnTo>
                  <a:lnTo>
                    <a:pt x="44" y="80"/>
                  </a:lnTo>
                  <a:lnTo>
                    <a:pt x="42" y="80"/>
                  </a:lnTo>
                  <a:lnTo>
                    <a:pt x="44" y="84"/>
                  </a:lnTo>
                  <a:lnTo>
                    <a:pt x="46" y="86"/>
                  </a:lnTo>
                  <a:lnTo>
                    <a:pt x="46" y="88"/>
                  </a:lnTo>
                  <a:lnTo>
                    <a:pt x="46" y="88"/>
                  </a:lnTo>
                  <a:lnTo>
                    <a:pt x="48" y="86"/>
                  </a:lnTo>
                  <a:lnTo>
                    <a:pt x="48" y="86"/>
                  </a:lnTo>
                  <a:lnTo>
                    <a:pt x="59" y="99"/>
                  </a:lnTo>
                  <a:lnTo>
                    <a:pt x="63" y="103"/>
                  </a:lnTo>
                  <a:lnTo>
                    <a:pt x="67" y="114"/>
                  </a:lnTo>
                  <a:lnTo>
                    <a:pt x="67" y="116"/>
                  </a:lnTo>
                  <a:lnTo>
                    <a:pt x="69" y="118"/>
                  </a:lnTo>
                  <a:lnTo>
                    <a:pt x="69" y="120"/>
                  </a:lnTo>
                  <a:lnTo>
                    <a:pt x="69" y="122"/>
                  </a:lnTo>
                  <a:lnTo>
                    <a:pt x="71" y="124"/>
                  </a:lnTo>
                  <a:lnTo>
                    <a:pt x="71" y="124"/>
                  </a:lnTo>
                  <a:lnTo>
                    <a:pt x="73" y="124"/>
                  </a:lnTo>
                  <a:lnTo>
                    <a:pt x="75" y="124"/>
                  </a:lnTo>
                  <a:lnTo>
                    <a:pt x="76" y="126"/>
                  </a:lnTo>
                  <a:lnTo>
                    <a:pt x="78" y="128"/>
                  </a:lnTo>
                  <a:lnTo>
                    <a:pt x="78" y="132"/>
                  </a:lnTo>
                  <a:lnTo>
                    <a:pt x="80" y="133"/>
                  </a:lnTo>
                  <a:lnTo>
                    <a:pt x="80" y="133"/>
                  </a:lnTo>
                  <a:lnTo>
                    <a:pt x="82" y="133"/>
                  </a:lnTo>
                  <a:lnTo>
                    <a:pt x="82" y="135"/>
                  </a:lnTo>
                  <a:lnTo>
                    <a:pt x="80" y="135"/>
                  </a:lnTo>
                  <a:lnTo>
                    <a:pt x="80" y="137"/>
                  </a:lnTo>
                  <a:lnTo>
                    <a:pt x="80" y="137"/>
                  </a:lnTo>
                  <a:lnTo>
                    <a:pt x="82" y="137"/>
                  </a:lnTo>
                  <a:lnTo>
                    <a:pt x="82" y="139"/>
                  </a:lnTo>
                  <a:lnTo>
                    <a:pt x="90" y="158"/>
                  </a:lnTo>
                  <a:lnTo>
                    <a:pt x="94" y="175"/>
                  </a:lnTo>
                  <a:lnTo>
                    <a:pt x="95" y="183"/>
                  </a:lnTo>
                  <a:lnTo>
                    <a:pt x="97" y="187"/>
                  </a:lnTo>
                  <a:lnTo>
                    <a:pt x="99" y="187"/>
                  </a:lnTo>
                  <a:lnTo>
                    <a:pt x="99" y="189"/>
                  </a:lnTo>
                  <a:lnTo>
                    <a:pt x="99" y="189"/>
                  </a:lnTo>
                  <a:lnTo>
                    <a:pt x="97" y="189"/>
                  </a:lnTo>
                  <a:lnTo>
                    <a:pt x="99" y="191"/>
                  </a:lnTo>
                  <a:lnTo>
                    <a:pt x="99" y="191"/>
                  </a:lnTo>
                  <a:lnTo>
                    <a:pt x="99" y="191"/>
                  </a:lnTo>
                  <a:lnTo>
                    <a:pt x="99" y="192"/>
                  </a:lnTo>
                  <a:lnTo>
                    <a:pt x="99" y="194"/>
                  </a:lnTo>
                  <a:lnTo>
                    <a:pt x="105" y="206"/>
                  </a:lnTo>
                  <a:lnTo>
                    <a:pt x="107" y="210"/>
                  </a:lnTo>
                  <a:lnTo>
                    <a:pt x="107" y="210"/>
                  </a:lnTo>
                  <a:lnTo>
                    <a:pt x="109" y="211"/>
                  </a:lnTo>
                  <a:lnTo>
                    <a:pt x="111" y="213"/>
                  </a:lnTo>
                  <a:lnTo>
                    <a:pt x="111" y="217"/>
                  </a:lnTo>
                  <a:lnTo>
                    <a:pt x="111" y="219"/>
                  </a:lnTo>
                  <a:lnTo>
                    <a:pt x="113" y="221"/>
                  </a:lnTo>
                  <a:lnTo>
                    <a:pt x="115" y="227"/>
                  </a:lnTo>
                  <a:lnTo>
                    <a:pt x="116" y="230"/>
                  </a:lnTo>
                  <a:lnTo>
                    <a:pt x="118" y="238"/>
                  </a:lnTo>
                  <a:lnTo>
                    <a:pt x="120" y="242"/>
                  </a:lnTo>
                  <a:lnTo>
                    <a:pt x="120" y="242"/>
                  </a:lnTo>
                  <a:lnTo>
                    <a:pt x="122" y="244"/>
                  </a:lnTo>
                  <a:lnTo>
                    <a:pt x="122" y="244"/>
                  </a:lnTo>
                  <a:lnTo>
                    <a:pt x="124" y="244"/>
                  </a:lnTo>
                  <a:lnTo>
                    <a:pt x="124" y="242"/>
                  </a:lnTo>
                  <a:lnTo>
                    <a:pt x="124" y="240"/>
                  </a:lnTo>
                  <a:lnTo>
                    <a:pt x="124" y="236"/>
                  </a:lnTo>
                  <a:lnTo>
                    <a:pt x="124" y="238"/>
                  </a:lnTo>
                  <a:lnTo>
                    <a:pt x="126" y="238"/>
                  </a:lnTo>
                  <a:lnTo>
                    <a:pt x="126" y="240"/>
                  </a:lnTo>
                  <a:lnTo>
                    <a:pt x="126" y="240"/>
                  </a:lnTo>
                  <a:lnTo>
                    <a:pt x="128" y="240"/>
                  </a:lnTo>
                  <a:lnTo>
                    <a:pt x="128" y="240"/>
                  </a:lnTo>
                  <a:lnTo>
                    <a:pt x="128" y="240"/>
                  </a:lnTo>
                  <a:lnTo>
                    <a:pt x="128" y="240"/>
                  </a:lnTo>
                  <a:lnTo>
                    <a:pt x="128" y="242"/>
                  </a:lnTo>
                  <a:lnTo>
                    <a:pt x="128" y="242"/>
                  </a:lnTo>
                  <a:lnTo>
                    <a:pt x="126" y="244"/>
                  </a:lnTo>
                  <a:lnTo>
                    <a:pt x="122" y="246"/>
                  </a:lnTo>
                  <a:lnTo>
                    <a:pt x="122" y="248"/>
                  </a:lnTo>
                  <a:lnTo>
                    <a:pt x="122" y="248"/>
                  </a:lnTo>
                  <a:lnTo>
                    <a:pt x="122" y="250"/>
                  </a:lnTo>
                  <a:lnTo>
                    <a:pt x="122" y="251"/>
                  </a:lnTo>
                  <a:lnTo>
                    <a:pt x="122" y="251"/>
                  </a:lnTo>
                  <a:lnTo>
                    <a:pt x="126" y="259"/>
                  </a:lnTo>
                  <a:lnTo>
                    <a:pt x="126" y="261"/>
                  </a:lnTo>
                  <a:lnTo>
                    <a:pt x="128" y="263"/>
                  </a:lnTo>
                  <a:lnTo>
                    <a:pt x="128" y="261"/>
                  </a:lnTo>
                  <a:lnTo>
                    <a:pt x="126" y="259"/>
                  </a:lnTo>
                  <a:lnTo>
                    <a:pt x="126" y="255"/>
                  </a:lnTo>
                  <a:lnTo>
                    <a:pt x="126" y="253"/>
                  </a:lnTo>
                  <a:lnTo>
                    <a:pt x="126" y="253"/>
                  </a:lnTo>
                  <a:lnTo>
                    <a:pt x="124" y="251"/>
                  </a:lnTo>
                  <a:lnTo>
                    <a:pt x="126" y="250"/>
                  </a:lnTo>
                  <a:lnTo>
                    <a:pt x="126" y="251"/>
                  </a:lnTo>
                  <a:lnTo>
                    <a:pt x="126" y="251"/>
                  </a:lnTo>
                  <a:lnTo>
                    <a:pt x="128" y="251"/>
                  </a:lnTo>
                  <a:lnTo>
                    <a:pt x="128" y="251"/>
                  </a:lnTo>
                  <a:lnTo>
                    <a:pt x="130" y="257"/>
                  </a:lnTo>
                  <a:lnTo>
                    <a:pt x="132" y="259"/>
                  </a:lnTo>
                  <a:lnTo>
                    <a:pt x="130" y="261"/>
                  </a:lnTo>
                  <a:lnTo>
                    <a:pt x="132" y="265"/>
                  </a:lnTo>
                  <a:lnTo>
                    <a:pt x="134" y="267"/>
                  </a:lnTo>
                  <a:lnTo>
                    <a:pt x="134" y="265"/>
                  </a:lnTo>
                  <a:lnTo>
                    <a:pt x="136" y="267"/>
                  </a:lnTo>
                  <a:lnTo>
                    <a:pt x="139" y="270"/>
                  </a:lnTo>
                  <a:lnTo>
                    <a:pt x="139" y="270"/>
                  </a:lnTo>
                  <a:lnTo>
                    <a:pt x="141" y="274"/>
                  </a:lnTo>
                  <a:lnTo>
                    <a:pt x="141" y="276"/>
                  </a:lnTo>
                  <a:lnTo>
                    <a:pt x="141" y="278"/>
                  </a:lnTo>
                  <a:lnTo>
                    <a:pt x="141" y="280"/>
                  </a:lnTo>
                  <a:lnTo>
                    <a:pt x="141" y="280"/>
                  </a:lnTo>
                  <a:lnTo>
                    <a:pt x="141" y="282"/>
                  </a:lnTo>
                  <a:lnTo>
                    <a:pt x="141" y="284"/>
                  </a:lnTo>
                  <a:lnTo>
                    <a:pt x="141" y="284"/>
                  </a:lnTo>
                  <a:lnTo>
                    <a:pt x="141" y="286"/>
                  </a:lnTo>
                  <a:lnTo>
                    <a:pt x="141" y="288"/>
                  </a:lnTo>
                  <a:lnTo>
                    <a:pt x="141" y="288"/>
                  </a:lnTo>
                  <a:lnTo>
                    <a:pt x="141" y="289"/>
                  </a:lnTo>
                  <a:lnTo>
                    <a:pt x="143" y="289"/>
                  </a:lnTo>
                  <a:lnTo>
                    <a:pt x="143" y="289"/>
                  </a:lnTo>
                  <a:lnTo>
                    <a:pt x="143" y="291"/>
                  </a:lnTo>
                  <a:lnTo>
                    <a:pt x="143" y="295"/>
                  </a:lnTo>
                  <a:lnTo>
                    <a:pt x="145" y="297"/>
                  </a:lnTo>
                  <a:lnTo>
                    <a:pt x="145" y="299"/>
                  </a:lnTo>
                  <a:lnTo>
                    <a:pt x="143" y="303"/>
                  </a:lnTo>
                  <a:lnTo>
                    <a:pt x="143" y="303"/>
                  </a:lnTo>
                  <a:lnTo>
                    <a:pt x="145" y="303"/>
                  </a:lnTo>
                  <a:lnTo>
                    <a:pt x="147" y="303"/>
                  </a:lnTo>
                  <a:lnTo>
                    <a:pt x="149" y="303"/>
                  </a:lnTo>
                  <a:lnTo>
                    <a:pt x="151" y="305"/>
                  </a:lnTo>
                  <a:lnTo>
                    <a:pt x="153" y="305"/>
                  </a:lnTo>
                  <a:lnTo>
                    <a:pt x="149" y="308"/>
                  </a:lnTo>
                  <a:lnTo>
                    <a:pt x="149" y="308"/>
                  </a:lnTo>
                  <a:lnTo>
                    <a:pt x="145" y="308"/>
                  </a:lnTo>
                  <a:lnTo>
                    <a:pt x="145" y="308"/>
                  </a:lnTo>
                  <a:lnTo>
                    <a:pt x="141" y="307"/>
                  </a:lnTo>
                  <a:lnTo>
                    <a:pt x="139" y="307"/>
                  </a:lnTo>
                  <a:lnTo>
                    <a:pt x="137" y="305"/>
                  </a:lnTo>
                  <a:lnTo>
                    <a:pt x="139" y="297"/>
                  </a:lnTo>
                  <a:lnTo>
                    <a:pt x="141" y="295"/>
                  </a:lnTo>
                  <a:lnTo>
                    <a:pt x="141" y="295"/>
                  </a:lnTo>
                  <a:lnTo>
                    <a:pt x="141" y="293"/>
                  </a:lnTo>
                  <a:lnTo>
                    <a:pt x="141" y="291"/>
                  </a:lnTo>
                  <a:lnTo>
                    <a:pt x="141" y="289"/>
                  </a:lnTo>
                  <a:lnTo>
                    <a:pt x="139" y="288"/>
                  </a:lnTo>
                  <a:lnTo>
                    <a:pt x="139" y="284"/>
                  </a:lnTo>
                  <a:lnTo>
                    <a:pt x="139" y="282"/>
                  </a:lnTo>
                  <a:lnTo>
                    <a:pt x="139" y="280"/>
                  </a:lnTo>
                  <a:lnTo>
                    <a:pt x="139" y="280"/>
                  </a:lnTo>
                  <a:lnTo>
                    <a:pt x="137" y="278"/>
                  </a:lnTo>
                  <a:lnTo>
                    <a:pt x="137" y="276"/>
                  </a:lnTo>
                  <a:lnTo>
                    <a:pt x="136" y="274"/>
                  </a:lnTo>
                  <a:lnTo>
                    <a:pt x="136" y="274"/>
                  </a:lnTo>
                  <a:lnTo>
                    <a:pt x="136" y="276"/>
                  </a:lnTo>
                  <a:lnTo>
                    <a:pt x="137" y="280"/>
                  </a:lnTo>
                  <a:lnTo>
                    <a:pt x="137" y="282"/>
                  </a:lnTo>
                  <a:lnTo>
                    <a:pt x="137" y="288"/>
                  </a:lnTo>
                  <a:lnTo>
                    <a:pt x="137" y="289"/>
                  </a:lnTo>
                  <a:lnTo>
                    <a:pt x="137" y="289"/>
                  </a:lnTo>
                  <a:lnTo>
                    <a:pt x="134" y="274"/>
                  </a:lnTo>
                  <a:lnTo>
                    <a:pt x="134" y="272"/>
                  </a:lnTo>
                  <a:lnTo>
                    <a:pt x="134" y="274"/>
                  </a:lnTo>
                  <a:lnTo>
                    <a:pt x="134" y="276"/>
                  </a:lnTo>
                  <a:lnTo>
                    <a:pt x="134" y="276"/>
                  </a:lnTo>
                  <a:lnTo>
                    <a:pt x="132" y="276"/>
                  </a:lnTo>
                  <a:lnTo>
                    <a:pt x="132" y="276"/>
                  </a:lnTo>
                  <a:lnTo>
                    <a:pt x="132" y="276"/>
                  </a:lnTo>
                  <a:lnTo>
                    <a:pt x="132" y="274"/>
                  </a:lnTo>
                  <a:lnTo>
                    <a:pt x="132" y="274"/>
                  </a:lnTo>
                  <a:lnTo>
                    <a:pt x="132" y="272"/>
                  </a:lnTo>
                  <a:lnTo>
                    <a:pt x="132" y="274"/>
                  </a:lnTo>
                  <a:lnTo>
                    <a:pt x="132" y="274"/>
                  </a:lnTo>
                  <a:lnTo>
                    <a:pt x="130" y="274"/>
                  </a:lnTo>
                  <a:lnTo>
                    <a:pt x="130" y="272"/>
                  </a:lnTo>
                  <a:lnTo>
                    <a:pt x="130" y="272"/>
                  </a:lnTo>
                  <a:lnTo>
                    <a:pt x="130" y="270"/>
                  </a:lnTo>
                  <a:lnTo>
                    <a:pt x="130" y="270"/>
                  </a:lnTo>
                  <a:lnTo>
                    <a:pt x="132" y="270"/>
                  </a:lnTo>
                  <a:lnTo>
                    <a:pt x="132" y="270"/>
                  </a:lnTo>
                  <a:lnTo>
                    <a:pt x="132" y="269"/>
                  </a:lnTo>
                  <a:lnTo>
                    <a:pt x="130" y="267"/>
                  </a:lnTo>
                  <a:lnTo>
                    <a:pt x="128" y="265"/>
                  </a:lnTo>
                  <a:lnTo>
                    <a:pt x="128" y="267"/>
                  </a:lnTo>
                  <a:lnTo>
                    <a:pt x="128" y="267"/>
                  </a:lnTo>
                  <a:lnTo>
                    <a:pt x="128" y="272"/>
                  </a:lnTo>
                  <a:lnTo>
                    <a:pt x="130" y="272"/>
                  </a:lnTo>
                  <a:lnTo>
                    <a:pt x="132" y="280"/>
                  </a:lnTo>
                  <a:lnTo>
                    <a:pt x="134" y="293"/>
                  </a:lnTo>
                  <a:lnTo>
                    <a:pt x="132" y="297"/>
                  </a:lnTo>
                  <a:lnTo>
                    <a:pt x="134" y="308"/>
                  </a:lnTo>
                  <a:lnTo>
                    <a:pt x="139" y="326"/>
                  </a:lnTo>
                  <a:lnTo>
                    <a:pt x="147" y="341"/>
                  </a:lnTo>
                  <a:lnTo>
                    <a:pt x="147" y="341"/>
                  </a:lnTo>
                  <a:lnTo>
                    <a:pt x="147" y="341"/>
                  </a:lnTo>
                  <a:lnTo>
                    <a:pt x="143" y="333"/>
                  </a:lnTo>
                  <a:lnTo>
                    <a:pt x="143" y="331"/>
                  </a:lnTo>
                  <a:lnTo>
                    <a:pt x="145" y="333"/>
                  </a:lnTo>
                  <a:lnTo>
                    <a:pt x="147" y="335"/>
                  </a:lnTo>
                  <a:lnTo>
                    <a:pt x="149" y="341"/>
                  </a:lnTo>
                  <a:lnTo>
                    <a:pt x="149" y="341"/>
                  </a:lnTo>
                  <a:lnTo>
                    <a:pt x="149" y="341"/>
                  </a:lnTo>
                  <a:lnTo>
                    <a:pt x="149" y="341"/>
                  </a:lnTo>
                  <a:lnTo>
                    <a:pt x="151" y="339"/>
                  </a:lnTo>
                  <a:lnTo>
                    <a:pt x="149" y="343"/>
                  </a:lnTo>
                  <a:lnTo>
                    <a:pt x="149" y="345"/>
                  </a:lnTo>
                  <a:lnTo>
                    <a:pt x="149" y="345"/>
                  </a:lnTo>
                  <a:lnTo>
                    <a:pt x="149" y="343"/>
                  </a:lnTo>
                  <a:lnTo>
                    <a:pt x="149" y="343"/>
                  </a:lnTo>
                  <a:lnTo>
                    <a:pt x="149" y="343"/>
                  </a:lnTo>
                  <a:lnTo>
                    <a:pt x="149" y="343"/>
                  </a:lnTo>
                  <a:lnTo>
                    <a:pt x="149" y="345"/>
                  </a:lnTo>
                  <a:lnTo>
                    <a:pt x="151" y="350"/>
                  </a:lnTo>
                  <a:lnTo>
                    <a:pt x="153" y="354"/>
                  </a:lnTo>
                  <a:lnTo>
                    <a:pt x="153" y="356"/>
                  </a:lnTo>
                  <a:lnTo>
                    <a:pt x="153" y="356"/>
                  </a:lnTo>
                  <a:lnTo>
                    <a:pt x="153" y="358"/>
                  </a:lnTo>
                  <a:lnTo>
                    <a:pt x="155" y="360"/>
                  </a:lnTo>
                  <a:lnTo>
                    <a:pt x="155" y="360"/>
                  </a:lnTo>
                  <a:lnTo>
                    <a:pt x="155" y="362"/>
                  </a:lnTo>
                  <a:lnTo>
                    <a:pt x="155" y="360"/>
                  </a:lnTo>
                  <a:lnTo>
                    <a:pt x="155" y="358"/>
                  </a:lnTo>
                  <a:lnTo>
                    <a:pt x="156" y="356"/>
                  </a:lnTo>
                  <a:lnTo>
                    <a:pt x="158" y="356"/>
                  </a:lnTo>
                  <a:lnTo>
                    <a:pt x="156" y="358"/>
                  </a:lnTo>
                  <a:lnTo>
                    <a:pt x="156" y="358"/>
                  </a:lnTo>
                  <a:lnTo>
                    <a:pt x="156" y="358"/>
                  </a:lnTo>
                  <a:lnTo>
                    <a:pt x="156" y="360"/>
                  </a:lnTo>
                  <a:lnTo>
                    <a:pt x="158" y="358"/>
                  </a:lnTo>
                  <a:lnTo>
                    <a:pt x="158" y="356"/>
                  </a:lnTo>
                  <a:lnTo>
                    <a:pt x="160" y="356"/>
                  </a:lnTo>
                  <a:lnTo>
                    <a:pt x="162" y="356"/>
                  </a:lnTo>
                  <a:lnTo>
                    <a:pt x="162" y="356"/>
                  </a:lnTo>
                  <a:lnTo>
                    <a:pt x="164" y="356"/>
                  </a:lnTo>
                  <a:lnTo>
                    <a:pt x="164" y="354"/>
                  </a:lnTo>
                  <a:lnTo>
                    <a:pt x="164" y="354"/>
                  </a:lnTo>
                  <a:lnTo>
                    <a:pt x="166" y="354"/>
                  </a:lnTo>
                  <a:lnTo>
                    <a:pt x="168" y="354"/>
                  </a:lnTo>
                  <a:lnTo>
                    <a:pt x="168" y="356"/>
                  </a:lnTo>
                  <a:lnTo>
                    <a:pt x="166" y="356"/>
                  </a:lnTo>
                  <a:lnTo>
                    <a:pt x="164" y="356"/>
                  </a:lnTo>
                  <a:lnTo>
                    <a:pt x="164" y="356"/>
                  </a:lnTo>
                  <a:lnTo>
                    <a:pt x="164" y="356"/>
                  </a:lnTo>
                  <a:lnTo>
                    <a:pt x="166" y="358"/>
                  </a:lnTo>
                  <a:lnTo>
                    <a:pt x="166" y="358"/>
                  </a:lnTo>
                  <a:lnTo>
                    <a:pt x="166" y="358"/>
                  </a:lnTo>
                  <a:lnTo>
                    <a:pt x="162" y="358"/>
                  </a:lnTo>
                  <a:lnTo>
                    <a:pt x="160" y="358"/>
                  </a:lnTo>
                  <a:lnTo>
                    <a:pt x="158" y="360"/>
                  </a:lnTo>
                  <a:lnTo>
                    <a:pt x="158" y="360"/>
                  </a:lnTo>
                  <a:lnTo>
                    <a:pt x="158" y="362"/>
                  </a:lnTo>
                  <a:lnTo>
                    <a:pt x="158" y="364"/>
                  </a:lnTo>
                  <a:lnTo>
                    <a:pt x="160" y="362"/>
                  </a:lnTo>
                  <a:lnTo>
                    <a:pt x="162" y="362"/>
                  </a:lnTo>
                  <a:lnTo>
                    <a:pt x="162" y="362"/>
                  </a:lnTo>
                  <a:lnTo>
                    <a:pt x="162" y="364"/>
                  </a:lnTo>
                  <a:lnTo>
                    <a:pt x="160" y="364"/>
                  </a:lnTo>
                  <a:lnTo>
                    <a:pt x="158" y="364"/>
                  </a:lnTo>
                  <a:lnTo>
                    <a:pt x="156" y="362"/>
                  </a:lnTo>
                  <a:lnTo>
                    <a:pt x="156" y="362"/>
                  </a:lnTo>
                  <a:lnTo>
                    <a:pt x="156" y="364"/>
                  </a:lnTo>
                  <a:lnTo>
                    <a:pt x="156" y="366"/>
                  </a:lnTo>
                  <a:lnTo>
                    <a:pt x="166" y="371"/>
                  </a:lnTo>
                  <a:lnTo>
                    <a:pt x="166" y="373"/>
                  </a:lnTo>
                  <a:lnTo>
                    <a:pt x="170" y="379"/>
                  </a:lnTo>
                  <a:lnTo>
                    <a:pt x="174" y="383"/>
                  </a:lnTo>
                  <a:lnTo>
                    <a:pt x="174" y="385"/>
                  </a:lnTo>
                  <a:lnTo>
                    <a:pt x="181" y="392"/>
                  </a:lnTo>
                  <a:lnTo>
                    <a:pt x="181" y="396"/>
                  </a:lnTo>
                  <a:lnTo>
                    <a:pt x="187" y="400"/>
                  </a:lnTo>
                  <a:lnTo>
                    <a:pt x="195" y="411"/>
                  </a:lnTo>
                  <a:lnTo>
                    <a:pt x="198" y="415"/>
                  </a:lnTo>
                  <a:lnTo>
                    <a:pt x="208" y="423"/>
                  </a:lnTo>
                  <a:lnTo>
                    <a:pt x="208" y="421"/>
                  </a:lnTo>
                  <a:lnTo>
                    <a:pt x="210" y="421"/>
                  </a:lnTo>
                  <a:lnTo>
                    <a:pt x="210" y="421"/>
                  </a:lnTo>
                  <a:lnTo>
                    <a:pt x="212" y="421"/>
                  </a:lnTo>
                  <a:lnTo>
                    <a:pt x="212" y="421"/>
                  </a:lnTo>
                  <a:lnTo>
                    <a:pt x="214" y="421"/>
                  </a:lnTo>
                  <a:lnTo>
                    <a:pt x="214" y="421"/>
                  </a:lnTo>
                  <a:lnTo>
                    <a:pt x="214" y="419"/>
                  </a:lnTo>
                  <a:lnTo>
                    <a:pt x="214" y="419"/>
                  </a:lnTo>
                  <a:lnTo>
                    <a:pt x="214" y="417"/>
                  </a:lnTo>
                  <a:lnTo>
                    <a:pt x="214" y="417"/>
                  </a:lnTo>
                  <a:lnTo>
                    <a:pt x="214" y="417"/>
                  </a:lnTo>
                  <a:lnTo>
                    <a:pt x="216" y="415"/>
                  </a:lnTo>
                  <a:lnTo>
                    <a:pt x="217" y="411"/>
                  </a:lnTo>
                  <a:lnTo>
                    <a:pt x="217" y="411"/>
                  </a:lnTo>
                  <a:lnTo>
                    <a:pt x="217" y="409"/>
                  </a:lnTo>
                  <a:lnTo>
                    <a:pt x="217" y="409"/>
                  </a:lnTo>
                  <a:lnTo>
                    <a:pt x="217" y="405"/>
                  </a:lnTo>
                  <a:lnTo>
                    <a:pt x="217" y="405"/>
                  </a:lnTo>
                  <a:lnTo>
                    <a:pt x="217" y="404"/>
                  </a:lnTo>
                  <a:lnTo>
                    <a:pt x="217" y="404"/>
                  </a:lnTo>
                  <a:lnTo>
                    <a:pt x="217" y="404"/>
                  </a:lnTo>
                  <a:lnTo>
                    <a:pt x="217" y="404"/>
                  </a:lnTo>
                  <a:lnTo>
                    <a:pt x="217" y="404"/>
                  </a:lnTo>
                  <a:lnTo>
                    <a:pt x="217" y="405"/>
                  </a:lnTo>
                  <a:lnTo>
                    <a:pt x="219" y="405"/>
                  </a:lnTo>
                  <a:lnTo>
                    <a:pt x="219" y="405"/>
                  </a:lnTo>
                  <a:lnTo>
                    <a:pt x="221" y="404"/>
                  </a:lnTo>
                  <a:lnTo>
                    <a:pt x="221" y="402"/>
                  </a:lnTo>
                  <a:lnTo>
                    <a:pt x="223" y="402"/>
                  </a:lnTo>
                  <a:lnTo>
                    <a:pt x="223" y="400"/>
                  </a:lnTo>
                  <a:lnTo>
                    <a:pt x="223" y="398"/>
                  </a:lnTo>
                  <a:lnTo>
                    <a:pt x="223" y="398"/>
                  </a:lnTo>
                  <a:lnTo>
                    <a:pt x="223" y="396"/>
                  </a:lnTo>
                  <a:lnTo>
                    <a:pt x="221" y="394"/>
                  </a:lnTo>
                  <a:lnTo>
                    <a:pt x="217" y="392"/>
                  </a:lnTo>
                  <a:lnTo>
                    <a:pt x="216" y="390"/>
                  </a:lnTo>
                  <a:lnTo>
                    <a:pt x="216" y="390"/>
                  </a:lnTo>
                  <a:lnTo>
                    <a:pt x="216" y="388"/>
                  </a:lnTo>
                  <a:lnTo>
                    <a:pt x="216" y="388"/>
                  </a:lnTo>
                  <a:lnTo>
                    <a:pt x="216" y="386"/>
                  </a:lnTo>
                  <a:lnTo>
                    <a:pt x="216" y="386"/>
                  </a:lnTo>
                  <a:lnTo>
                    <a:pt x="214" y="385"/>
                  </a:lnTo>
                  <a:lnTo>
                    <a:pt x="214" y="385"/>
                  </a:lnTo>
                  <a:lnTo>
                    <a:pt x="214" y="383"/>
                  </a:lnTo>
                  <a:lnTo>
                    <a:pt x="216" y="381"/>
                  </a:lnTo>
                  <a:lnTo>
                    <a:pt x="219" y="375"/>
                  </a:lnTo>
                  <a:lnTo>
                    <a:pt x="221" y="369"/>
                  </a:lnTo>
                  <a:lnTo>
                    <a:pt x="221" y="369"/>
                  </a:lnTo>
                  <a:lnTo>
                    <a:pt x="221" y="369"/>
                  </a:lnTo>
                  <a:lnTo>
                    <a:pt x="221" y="369"/>
                  </a:lnTo>
                  <a:lnTo>
                    <a:pt x="221" y="367"/>
                  </a:lnTo>
                  <a:lnTo>
                    <a:pt x="219" y="367"/>
                  </a:lnTo>
                  <a:lnTo>
                    <a:pt x="217" y="366"/>
                  </a:lnTo>
                  <a:lnTo>
                    <a:pt x="217" y="366"/>
                  </a:lnTo>
                  <a:lnTo>
                    <a:pt x="216" y="362"/>
                  </a:lnTo>
                  <a:lnTo>
                    <a:pt x="214" y="356"/>
                  </a:lnTo>
                  <a:lnTo>
                    <a:pt x="214" y="356"/>
                  </a:lnTo>
                  <a:lnTo>
                    <a:pt x="214" y="354"/>
                  </a:lnTo>
                  <a:lnTo>
                    <a:pt x="214" y="354"/>
                  </a:lnTo>
                  <a:lnTo>
                    <a:pt x="217" y="352"/>
                  </a:lnTo>
                  <a:lnTo>
                    <a:pt x="219" y="348"/>
                  </a:lnTo>
                  <a:lnTo>
                    <a:pt x="221" y="345"/>
                  </a:lnTo>
                  <a:lnTo>
                    <a:pt x="227" y="327"/>
                  </a:lnTo>
                  <a:lnTo>
                    <a:pt x="229" y="324"/>
                  </a:lnTo>
                  <a:lnTo>
                    <a:pt x="231" y="316"/>
                  </a:lnTo>
                  <a:lnTo>
                    <a:pt x="233" y="316"/>
                  </a:lnTo>
                  <a:lnTo>
                    <a:pt x="233" y="314"/>
                  </a:lnTo>
                  <a:lnTo>
                    <a:pt x="235" y="312"/>
                  </a:lnTo>
                  <a:lnTo>
                    <a:pt x="235" y="310"/>
                  </a:lnTo>
                  <a:lnTo>
                    <a:pt x="235" y="30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3" name="Freeform 45">
              <a:extLst>
                <a:ext uri="{FF2B5EF4-FFF2-40B4-BE49-F238E27FC236}">
                  <a16:creationId xmlns:a16="http://schemas.microsoft.com/office/drawing/2014/main" id="{2A7DC5CE-C9CA-1E6B-AB29-1B2885D1CD03}"/>
                </a:ext>
              </a:extLst>
            </p:cNvPr>
            <p:cNvSpPr>
              <a:spLocks/>
            </p:cNvSpPr>
            <p:nvPr/>
          </p:nvSpPr>
          <p:spPr bwMode="auto">
            <a:xfrm>
              <a:off x="4760913" y="5355438"/>
              <a:ext cx="373063" cy="671513"/>
            </a:xfrm>
            <a:custGeom>
              <a:avLst/>
              <a:gdLst>
                <a:gd name="T0" fmla="*/ 219 w 235"/>
                <a:gd name="T1" fmla="*/ 303 h 423"/>
                <a:gd name="T2" fmla="*/ 219 w 235"/>
                <a:gd name="T3" fmla="*/ 282 h 423"/>
                <a:gd name="T4" fmla="*/ 223 w 235"/>
                <a:gd name="T5" fmla="*/ 246 h 423"/>
                <a:gd name="T6" fmla="*/ 216 w 235"/>
                <a:gd name="T7" fmla="*/ 229 h 423"/>
                <a:gd name="T8" fmla="*/ 191 w 235"/>
                <a:gd name="T9" fmla="*/ 240 h 423"/>
                <a:gd name="T10" fmla="*/ 181 w 235"/>
                <a:gd name="T11" fmla="*/ 223 h 423"/>
                <a:gd name="T12" fmla="*/ 185 w 235"/>
                <a:gd name="T13" fmla="*/ 200 h 423"/>
                <a:gd name="T14" fmla="*/ 185 w 235"/>
                <a:gd name="T15" fmla="*/ 185 h 423"/>
                <a:gd name="T16" fmla="*/ 168 w 235"/>
                <a:gd name="T17" fmla="*/ 170 h 423"/>
                <a:gd name="T18" fmla="*/ 176 w 235"/>
                <a:gd name="T19" fmla="*/ 164 h 423"/>
                <a:gd name="T20" fmla="*/ 170 w 235"/>
                <a:gd name="T21" fmla="*/ 151 h 423"/>
                <a:gd name="T22" fmla="*/ 155 w 235"/>
                <a:gd name="T23" fmla="*/ 149 h 423"/>
                <a:gd name="T24" fmla="*/ 155 w 235"/>
                <a:gd name="T25" fmla="*/ 139 h 423"/>
                <a:gd name="T26" fmla="*/ 128 w 235"/>
                <a:gd name="T27" fmla="*/ 122 h 423"/>
                <a:gd name="T28" fmla="*/ 128 w 235"/>
                <a:gd name="T29" fmla="*/ 113 h 423"/>
                <a:gd name="T30" fmla="*/ 143 w 235"/>
                <a:gd name="T31" fmla="*/ 107 h 423"/>
                <a:gd name="T32" fmla="*/ 139 w 235"/>
                <a:gd name="T33" fmla="*/ 97 h 423"/>
                <a:gd name="T34" fmla="*/ 128 w 235"/>
                <a:gd name="T35" fmla="*/ 92 h 423"/>
                <a:gd name="T36" fmla="*/ 116 w 235"/>
                <a:gd name="T37" fmla="*/ 88 h 423"/>
                <a:gd name="T38" fmla="*/ 103 w 235"/>
                <a:gd name="T39" fmla="*/ 80 h 423"/>
                <a:gd name="T40" fmla="*/ 84 w 235"/>
                <a:gd name="T41" fmla="*/ 67 h 423"/>
                <a:gd name="T42" fmla="*/ 73 w 235"/>
                <a:gd name="T43" fmla="*/ 65 h 423"/>
                <a:gd name="T44" fmla="*/ 52 w 235"/>
                <a:gd name="T45" fmla="*/ 46 h 423"/>
                <a:gd name="T46" fmla="*/ 44 w 235"/>
                <a:gd name="T47" fmla="*/ 36 h 423"/>
                <a:gd name="T48" fmla="*/ 46 w 235"/>
                <a:gd name="T49" fmla="*/ 29 h 423"/>
                <a:gd name="T50" fmla="*/ 38 w 235"/>
                <a:gd name="T51" fmla="*/ 25 h 423"/>
                <a:gd name="T52" fmla="*/ 31 w 235"/>
                <a:gd name="T53" fmla="*/ 17 h 423"/>
                <a:gd name="T54" fmla="*/ 23 w 235"/>
                <a:gd name="T55" fmla="*/ 12 h 423"/>
                <a:gd name="T56" fmla="*/ 15 w 235"/>
                <a:gd name="T57" fmla="*/ 10 h 423"/>
                <a:gd name="T58" fmla="*/ 10 w 235"/>
                <a:gd name="T59" fmla="*/ 6 h 423"/>
                <a:gd name="T60" fmla="*/ 0 w 235"/>
                <a:gd name="T61" fmla="*/ 2 h 423"/>
                <a:gd name="T62" fmla="*/ 21 w 235"/>
                <a:gd name="T63" fmla="*/ 46 h 423"/>
                <a:gd name="T64" fmla="*/ 31 w 235"/>
                <a:gd name="T65" fmla="*/ 71 h 423"/>
                <a:gd name="T66" fmla="*/ 40 w 235"/>
                <a:gd name="T67" fmla="*/ 63 h 423"/>
                <a:gd name="T68" fmla="*/ 46 w 235"/>
                <a:gd name="T69" fmla="*/ 65 h 423"/>
                <a:gd name="T70" fmla="*/ 38 w 235"/>
                <a:gd name="T71" fmla="*/ 75 h 423"/>
                <a:gd name="T72" fmla="*/ 50 w 235"/>
                <a:gd name="T73" fmla="*/ 82 h 423"/>
                <a:gd name="T74" fmla="*/ 69 w 235"/>
                <a:gd name="T75" fmla="*/ 118 h 423"/>
                <a:gd name="T76" fmla="*/ 82 w 235"/>
                <a:gd name="T77" fmla="*/ 135 h 423"/>
                <a:gd name="T78" fmla="*/ 97 w 235"/>
                <a:gd name="T79" fmla="*/ 189 h 423"/>
                <a:gd name="T80" fmla="*/ 113 w 235"/>
                <a:gd name="T81" fmla="*/ 221 h 423"/>
                <a:gd name="T82" fmla="*/ 126 w 235"/>
                <a:gd name="T83" fmla="*/ 238 h 423"/>
                <a:gd name="T84" fmla="*/ 122 w 235"/>
                <a:gd name="T85" fmla="*/ 250 h 423"/>
                <a:gd name="T86" fmla="*/ 126 w 235"/>
                <a:gd name="T87" fmla="*/ 251 h 423"/>
                <a:gd name="T88" fmla="*/ 141 w 235"/>
                <a:gd name="T89" fmla="*/ 274 h 423"/>
                <a:gd name="T90" fmla="*/ 143 w 235"/>
                <a:gd name="T91" fmla="*/ 289 h 423"/>
                <a:gd name="T92" fmla="*/ 149 w 235"/>
                <a:gd name="T93" fmla="*/ 308 h 423"/>
                <a:gd name="T94" fmla="*/ 139 w 235"/>
                <a:gd name="T95" fmla="*/ 284 h 423"/>
                <a:gd name="T96" fmla="*/ 137 w 235"/>
                <a:gd name="T97" fmla="*/ 289 h 423"/>
                <a:gd name="T98" fmla="*/ 132 w 235"/>
                <a:gd name="T99" fmla="*/ 274 h 423"/>
                <a:gd name="T100" fmla="*/ 128 w 235"/>
                <a:gd name="T101" fmla="*/ 272 h 423"/>
                <a:gd name="T102" fmla="*/ 147 w 235"/>
                <a:gd name="T103" fmla="*/ 335 h 423"/>
                <a:gd name="T104" fmla="*/ 149 w 235"/>
                <a:gd name="T105" fmla="*/ 345 h 423"/>
                <a:gd name="T106" fmla="*/ 156 w 235"/>
                <a:gd name="T107" fmla="*/ 358 h 423"/>
                <a:gd name="T108" fmla="*/ 168 w 235"/>
                <a:gd name="T109" fmla="*/ 354 h 423"/>
                <a:gd name="T110" fmla="*/ 158 w 235"/>
                <a:gd name="T111" fmla="*/ 362 h 423"/>
                <a:gd name="T112" fmla="*/ 166 w 235"/>
                <a:gd name="T113" fmla="*/ 373 h 423"/>
                <a:gd name="T114" fmla="*/ 212 w 235"/>
                <a:gd name="T115" fmla="*/ 421 h 423"/>
                <a:gd name="T116" fmla="*/ 217 w 235"/>
                <a:gd name="T117" fmla="*/ 409 h 423"/>
                <a:gd name="T118" fmla="*/ 223 w 235"/>
                <a:gd name="T119" fmla="*/ 402 h 423"/>
                <a:gd name="T120" fmla="*/ 214 w 235"/>
                <a:gd name="T121" fmla="*/ 385 h 423"/>
                <a:gd name="T122" fmla="*/ 216 w 235"/>
                <a:gd name="T123" fmla="*/ 362 h 423"/>
                <a:gd name="T124" fmla="*/ 235 w 235"/>
                <a:gd name="T125" fmla="*/ 3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5" h="423">
                  <a:moveTo>
                    <a:pt x="235" y="308"/>
                  </a:moveTo>
                  <a:lnTo>
                    <a:pt x="233" y="305"/>
                  </a:lnTo>
                  <a:lnTo>
                    <a:pt x="231" y="305"/>
                  </a:lnTo>
                  <a:lnTo>
                    <a:pt x="231" y="303"/>
                  </a:lnTo>
                  <a:lnTo>
                    <a:pt x="231" y="301"/>
                  </a:lnTo>
                  <a:lnTo>
                    <a:pt x="229" y="301"/>
                  </a:lnTo>
                  <a:lnTo>
                    <a:pt x="229" y="301"/>
                  </a:lnTo>
                  <a:lnTo>
                    <a:pt x="227" y="301"/>
                  </a:lnTo>
                  <a:lnTo>
                    <a:pt x="227" y="301"/>
                  </a:lnTo>
                  <a:lnTo>
                    <a:pt x="221" y="303"/>
                  </a:lnTo>
                  <a:lnTo>
                    <a:pt x="221" y="303"/>
                  </a:lnTo>
                  <a:lnTo>
                    <a:pt x="221" y="303"/>
                  </a:lnTo>
                  <a:lnTo>
                    <a:pt x="219" y="303"/>
                  </a:lnTo>
                  <a:lnTo>
                    <a:pt x="219" y="303"/>
                  </a:lnTo>
                  <a:lnTo>
                    <a:pt x="219" y="301"/>
                  </a:lnTo>
                  <a:lnTo>
                    <a:pt x="217" y="301"/>
                  </a:lnTo>
                  <a:lnTo>
                    <a:pt x="217" y="301"/>
                  </a:lnTo>
                  <a:lnTo>
                    <a:pt x="217" y="301"/>
                  </a:lnTo>
                  <a:lnTo>
                    <a:pt x="216" y="301"/>
                  </a:lnTo>
                  <a:lnTo>
                    <a:pt x="216" y="301"/>
                  </a:lnTo>
                  <a:lnTo>
                    <a:pt x="216" y="301"/>
                  </a:lnTo>
                  <a:lnTo>
                    <a:pt x="216" y="299"/>
                  </a:lnTo>
                  <a:lnTo>
                    <a:pt x="216" y="299"/>
                  </a:lnTo>
                  <a:lnTo>
                    <a:pt x="216" y="299"/>
                  </a:lnTo>
                  <a:lnTo>
                    <a:pt x="219" y="284"/>
                  </a:lnTo>
                  <a:lnTo>
                    <a:pt x="219" y="282"/>
                  </a:lnTo>
                  <a:lnTo>
                    <a:pt x="219" y="280"/>
                  </a:lnTo>
                  <a:lnTo>
                    <a:pt x="219" y="278"/>
                  </a:lnTo>
                  <a:lnTo>
                    <a:pt x="219" y="274"/>
                  </a:lnTo>
                  <a:lnTo>
                    <a:pt x="219" y="274"/>
                  </a:lnTo>
                  <a:lnTo>
                    <a:pt x="219" y="272"/>
                  </a:lnTo>
                  <a:lnTo>
                    <a:pt x="221" y="269"/>
                  </a:lnTo>
                  <a:lnTo>
                    <a:pt x="221" y="267"/>
                  </a:lnTo>
                  <a:lnTo>
                    <a:pt x="221" y="265"/>
                  </a:lnTo>
                  <a:lnTo>
                    <a:pt x="219" y="259"/>
                  </a:lnTo>
                  <a:lnTo>
                    <a:pt x="219" y="257"/>
                  </a:lnTo>
                  <a:lnTo>
                    <a:pt x="219" y="255"/>
                  </a:lnTo>
                  <a:lnTo>
                    <a:pt x="219" y="255"/>
                  </a:lnTo>
                  <a:lnTo>
                    <a:pt x="223" y="246"/>
                  </a:lnTo>
                  <a:lnTo>
                    <a:pt x="223" y="244"/>
                  </a:lnTo>
                  <a:lnTo>
                    <a:pt x="223" y="242"/>
                  </a:lnTo>
                  <a:lnTo>
                    <a:pt x="223" y="242"/>
                  </a:lnTo>
                  <a:lnTo>
                    <a:pt x="223" y="242"/>
                  </a:lnTo>
                  <a:lnTo>
                    <a:pt x="221" y="242"/>
                  </a:lnTo>
                  <a:lnTo>
                    <a:pt x="221" y="240"/>
                  </a:lnTo>
                  <a:lnTo>
                    <a:pt x="221" y="238"/>
                  </a:lnTo>
                  <a:lnTo>
                    <a:pt x="221" y="236"/>
                  </a:lnTo>
                  <a:lnTo>
                    <a:pt x="219" y="234"/>
                  </a:lnTo>
                  <a:lnTo>
                    <a:pt x="219" y="234"/>
                  </a:lnTo>
                  <a:lnTo>
                    <a:pt x="217" y="230"/>
                  </a:lnTo>
                  <a:lnTo>
                    <a:pt x="217" y="230"/>
                  </a:lnTo>
                  <a:lnTo>
                    <a:pt x="216" y="229"/>
                  </a:lnTo>
                  <a:lnTo>
                    <a:pt x="214" y="230"/>
                  </a:lnTo>
                  <a:lnTo>
                    <a:pt x="210" y="230"/>
                  </a:lnTo>
                  <a:lnTo>
                    <a:pt x="206" y="232"/>
                  </a:lnTo>
                  <a:lnTo>
                    <a:pt x="204" y="234"/>
                  </a:lnTo>
                  <a:lnTo>
                    <a:pt x="204" y="234"/>
                  </a:lnTo>
                  <a:lnTo>
                    <a:pt x="200" y="238"/>
                  </a:lnTo>
                  <a:lnTo>
                    <a:pt x="196" y="240"/>
                  </a:lnTo>
                  <a:lnTo>
                    <a:pt x="195" y="240"/>
                  </a:lnTo>
                  <a:lnTo>
                    <a:pt x="195" y="240"/>
                  </a:lnTo>
                  <a:lnTo>
                    <a:pt x="193" y="240"/>
                  </a:lnTo>
                  <a:lnTo>
                    <a:pt x="193" y="240"/>
                  </a:lnTo>
                  <a:lnTo>
                    <a:pt x="191" y="240"/>
                  </a:lnTo>
                  <a:lnTo>
                    <a:pt x="191" y="240"/>
                  </a:lnTo>
                  <a:lnTo>
                    <a:pt x="191" y="238"/>
                  </a:lnTo>
                  <a:lnTo>
                    <a:pt x="189" y="236"/>
                  </a:lnTo>
                  <a:lnTo>
                    <a:pt x="187" y="236"/>
                  </a:lnTo>
                  <a:lnTo>
                    <a:pt x="185" y="234"/>
                  </a:lnTo>
                  <a:lnTo>
                    <a:pt x="183" y="234"/>
                  </a:lnTo>
                  <a:lnTo>
                    <a:pt x="183" y="232"/>
                  </a:lnTo>
                  <a:lnTo>
                    <a:pt x="183" y="232"/>
                  </a:lnTo>
                  <a:lnTo>
                    <a:pt x="183" y="230"/>
                  </a:lnTo>
                  <a:lnTo>
                    <a:pt x="183" y="229"/>
                  </a:lnTo>
                  <a:lnTo>
                    <a:pt x="183" y="227"/>
                  </a:lnTo>
                  <a:lnTo>
                    <a:pt x="183" y="227"/>
                  </a:lnTo>
                  <a:lnTo>
                    <a:pt x="181" y="225"/>
                  </a:lnTo>
                  <a:lnTo>
                    <a:pt x="181" y="223"/>
                  </a:lnTo>
                  <a:lnTo>
                    <a:pt x="181" y="223"/>
                  </a:lnTo>
                  <a:lnTo>
                    <a:pt x="179" y="221"/>
                  </a:lnTo>
                  <a:lnTo>
                    <a:pt x="181" y="217"/>
                  </a:lnTo>
                  <a:lnTo>
                    <a:pt x="181" y="215"/>
                  </a:lnTo>
                  <a:lnTo>
                    <a:pt x="181" y="215"/>
                  </a:lnTo>
                  <a:lnTo>
                    <a:pt x="181" y="215"/>
                  </a:lnTo>
                  <a:lnTo>
                    <a:pt x="181" y="210"/>
                  </a:lnTo>
                  <a:lnTo>
                    <a:pt x="181" y="202"/>
                  </a:lnTo>
                  <a:lnTo>
                    <a:pt x="181" y="202"/>
                  </a:lnTo>
                  <a:lnTo>
                    <a:pt x="181" y="200"/>
                  </a:lnTo>
                  <a:lnTo>
                    <a:pt x="183" y="200"/>
                  </a:lnTo>
                  <a:lnTo>
                    <a:pt x="185" y="200"/>
                  </a:lnTo>
                  <a:lnTo>
                    <a:pt x="185" y="200"/>
                  </a:lnTo>
                  <a:lnTo>
                    <a:pt x="187" y="198"/>
                  </a:lnTo>
                  <a:lnTo>
                    <a:pt x="187" y="196"/>
                  </a:lnTo>
                  <a:lnTo>
                    <a:pt x="187" y="194"/>
                  </a:lnTo>
                  <a:lnTo>
                    <a:pt x="187" y="192"/>
                  </a:lnTo>
                  <a:lnTo>
                    <a:pt x="187" y="191"/>
                  </a:lnTo>
                  <a:lnTo>
                    <a:pt x="187" y="191"/>
                  </a:lnTo>
                  <a:lnTo>
                    <a:pt x="187" y="189"/>
                  </a:lnTo>
                  <a:lnTo>
                    <a:pt x="187" y="187"/>
                  </a:lnTo>
                  <a:lnTo>
                    <a:pt x="187" y="187"/>
                  </a:lnTo>
                  <a:lnTo>
                    <a:pt x="187" y="187"/>
                  </a:lnTo>
                  <a:lnTo>
                    <a:pt x="185" y="187"/>
                  </a:lnTo>
                  <a:lnTo>
                    <a:pt x="185" y="187"/>
                  </a:lnTo>
                  <a:lnTo>
                    <a:pt x="185" y="185"/>
                  </a:lnTo>
                  <a:lnTo>
                    <a:pt x="183" y="185"/>
                  </a:lnTo>
                  <a:lnTo>
                    <a:pt x="183" y="183"/>
                  </a:lnTo>
                  <a:lnTo>
                    <a:pt x="183" y="183"/>
                  </a:lnTo>
                  <a:lnTo>
                    <a:pt x="183" y="181"/>
                  </a:lnTo>
                  <a:lnTo>
                    <a:pt x="181" y="181"/>
                  </a:lnTo>
                  <a:lnTo>
                    <a:pt x="181" y="179"/>
                  </a:lnTo>
                  <a:lnTo>
                    <a:pt x="177" y="177"/>
                  </a:lnTo>
                  <a:lnTo>
                    <a:pt x="172" y="175"/>
                  </a:lnTo>
                  <a:lnTo>
                    <a:pt x="170" y="175"/>
                  </a:lnTo>
                  <a:lnTo>
                    <a:pt x="170" y="173"/>
                  </a:lnTo>
                  <a:lnTo>
                    <a:pt x="168" y="172"/>
                  </a:lnTo>
                  <a:lnTo>
                    <a:pt x="168" y="170"/>
                  </a:lnTo>
                  <a:lnTo>
                    <a:pt x="168" y="170"/>
                  </a:lnTo>
                  <a:lnTo>
                    <a:pt x="168" y="168"/>
                  </a:lnTo>
                  <a:lnTo>
                    <a:pt x="168" y="166"/>
                  </a:lnTo>
                  <a:lnTo>
                    <a:pt x="168" y="166"/>
                  </a:lnTo>
                  <a:lnTo>
                    <a:pt x="170" y="166"/>
                  </a:lnTo>
                  <a:lnTo>
                    <a:pt x="170" y="164"/>
                  </a:lnTo>
                  <a:lnTo>
                    <a:pt x="170" y="164"/>
                  </a:lnTo>
                  <a:lnTo>
                    <a:pt x="172" y="164"/>
                  </a:lnTo>
                  <a:lnTo>
                    <a:pt x="172" y="164"/>
                  </a:lnTo>
                  <a:lnTo>
                    <a:pt x="174" y="166"/>
                  </a:lnTo>
                  <a:lnTo>
                    <a:pt x="174" y="166"/>
                  </a:lnTo>
                  <a:lnTo>
                    <a:pt x="176" y="166"/>
                  </a:lnTo>
                  <a:lnTo>
                    <a:pt x="176" y="164"/>
                  </a:lnTo>
                  <a:lnTo>
                    <a:pt x="176" y="164"/>
                  </a:lnTo>
                  <a:lnTo>
                    <a:pt x="176" y="164"/>
                  </a:lnTo>
                  <a:lnTo>
                    <a:pt x="176" y="162"/>
                  </a:lnTo>
                  <a:lnTo>
                    <a:pt x="176" y="162"/>
                  </a:lnTo>
                  <a:lnTo>
                    <a:pt x="174" y="162"/>
                  </a:lnTo>
                  <a:lnTo>
                    <a:pt x="174" y="160"/>
                  </a:lnTo>
                  <a:lnTo>
                    <a:pt x="172" y="156"/>
                  </a:lnTo>
                  <a:lnTo>
                    <a:pt x="172" y="154"/>
                  </a:lnTo>
                  <a:lnTo>
                    <a:pt x="172" y="154"/>
                  </a:lnTo>
                  <a:lnTo>
                    <a:pt x="170" y="154"/>
                  </a:lnTo>
                  <a:lnTo>
                    <a:pt x="170" y="153"/>
                  </a:lnTo>
                  <a:lnTo>
                    <a:pt x="170" y="153"/>
                  </a:lnTo>
                  <a:lnTo>
                    <a:pt x="170" y="151"/>
                  </a:lnTo>
                  <a:lnTo>
                    <a:pt x="170" y="151"/>
                  </a:lnTo>
                  <a:lnTo>
                    <a:pt x="170" y="149"/>
                  </a:lnTo>
                  <a:lnTo>
                    <a:pt x="170" y="149"/>
                  </a:lnTo>
                  <a:lnTo>
                    <a:pt x="170" y="147"/>
                  </a:lnTo>
                  <a:lnTo>
                    <a:pt x="170" y="145"/>
                  </a:lnTo>
                  <a:lnTo>
                    <a:pt x="170" y="145"/>
                  </a:lnTo>
                  <a:lnTo>
                    <a:pt x="170" y="147"/>
                  </a:lnTo>
                  <a:lnTo>
                    <a:pt x="166" y="149"/>
                  </a:lnTo>
                  <a:lnTo>
                    <a:pt x="166" y="149"/>
                  </a:lnTo>
                  <a:lnTo>
                    <a:pt x="164" y="149"/>
                  </a:lnTo>
                  <a:lnTo>
                    <a:pt x="158" y="149"/>
                  </a:lnTo>
                  <a:lnTo>
                    <a:pt x="156" y="149"/>
                  </a:lnTo>
                  <a:lnTo>
                    <a:pt x="155" y="149"/>
                  </a:lnTo>
                  <a:lnTo>
                    <a:pt x="155" y="149"/>
                  </a:lnTo>
                  <a:lnTo>
                    <a:pt x="153" y="149"/>
                  </a:lnTo>
                  <a:lnTo>
                    <a:pt x="153" y="149"/>
                  </a:lnTo>
                  <a:lnTo>
                    <a:pt x="151" y="149"/>
                  </a:lnTo>
                  <a:lnTo>
                    <a:pt x="151" y="149"/>
                  </a:lnTo>
                  <a:lnTo>
                    <a:pt x="149" y="149"/>
                  </a:lnTo>
                  <a:lnTo>
                    <a:pt x="147" y="149"/>
                  </a:lnTo>
                  <a:lnTo>
                    <a:pt x="147" y="149"/>
                  </a:lnTo>
                  <a:lnTo>
                    <a:pt x="147" y="149"/>
                  </a:lnTo>
                  <a:lnTo>
                    <a:pt x="147" y="147"/>
                  </a:lnTo>
                  <a:lnTo>
                    <a:pt x="147" y="147"/>
                  </a:lnTo>
                  <a:lnTo>
                    <a:pt x="149" y="143"/>
                  </a:lnTo>
                  <a:lnTo>
                    <a:pt x="149" y="143"/>
                  </a:lnTo>
                  <a:lnTo>
                    <a:pt x="155" y="139"/>
                  </a:lnTo>
                  <a:lnTo>
                    <a:pt x="156" y="137"/>
                  </a:lnTo>
                  <a:lnTo>
                    <a:pt x="153" y="135"/>
                  </a:lnTo>
                  <a:lnTo>
                    <a:pt x="151" y="132"/>
                  </a:lnTo>
                  <a:lnTo>
                    <a:pt x="151" y="132"/>
                  </a:lnTo>
                  <a:lnTo>
                    <a:pt x="149" y="132"/>
                  </a:lnTo>
                  <a:lnTo>
                    <a:pt x="149" y="130"/>
                  </a:lnTo>
                  <a:lnTo>
                    <a:pt x="147" y="130"/>
                  </a:lnTo>
                  <a:lnTo>
                    <a:pt x="147" y="130"/>
                  </a:lnTo>
                  <a:lnTo>
                    <a:pt x="145" y="128"/>
                  </a:lnTo>
                  <a:lnTo>
                    <a:pt x="143" y="128"/>
                  </a:lnTo>
                  <a:lnTo>
                    <a:pt x="134" y="124"/>
                  </a:lnTo>
                  <a:lnTo>
                    <a:pt x="130" y="124"/>
                  </a:lnTo>
                  <a:lnTo>
                    <a:pt x="128" y="122"/>
                  </a:lnTo>
                  <a:lnTo>
                    <a:pt x="128" y="122"/>
                  </a:lnTo>
                  <a:lnTo>
                    <a:pt x="128" y="122"/>
                  </a:lnTo>
                  <a:lnTo>
                    <a:pt x="128" y="120"/>
                  </a:lnTo>
                  <a:lnTo>
                    <a:pt x="128" y="120"/>
                  </a:lnTo>
                  <a:lnTo>
                    <a:pt x="128" y="120"/>
                  </a:lnTo>
                  <a:lnTo>
                    <a:pt x="128" y="120"/>
                  </a:lnTo>
                  <a:lnTo>
                    <a:pt x="128" y="118"/>
                  </a:lnTo>
                  <a:lnTo>
                    <a:pt x="126" y="118"/>
                  </a:lnTo>
                  <a:lnTo>
                    <a:pt x="126" y="118"/>
                  </a:lnTo>
                  <a:lnTo>
                    <a:pt x="128" y="116"/>
                  </a:lnTo>
                  <a:lnTo>
                    <a:pt x="128" y="116"/>
                  </a:lnTo>
                  <a:lnTo>
                    <a:pt x="128" y="114"/>
                  </a:lnTo>
                  <a:lnTo>
                    <a:pt x="128" y="113"/>
                  </a:lnTo>
                  <a:lnTo>
                    <a:pt x="128" y="113"/>
                  </a:lnTo>
                  <a:lnTo>
                    <a:pt x="128" y="111"/>
                  </a:lnTo>
                  <a:lnTo>
                    <a:pt x="130" y="113"/>
                  </a:lnTo>
                  <a:lnTo>
                    <a:pt x="132" y="113"/>
                  </a:lnTo>
                  <a:lnTo>
                    <a:pt x="134" y="113"/>
                  </a:lnTo>
                  <a:lnTo>
                    <a:pt x="136" y="113"/>
                  </a:lnTo>
                  <a:lnTo>
                    <a:pt x="137" y="113"/>
                  </a:lnTo>
                  <a:lnTo>
                    <a:pt x="137" y="113"/>
                  </a:lnTo>
                  <a:lnTo>
                    <a:pt x="139" y="111"/>
                  </a:lnTo>
                  <a:lnTo>
                    <a:pt x="139" y="109"/>
                  </a:lnTo>
                  <a:lnTo>
                    <a:pt x="139" y="109"/>
                  </a:lnTo>
                  <a:lnTo>
                    <a:pt x="141" y="109"/>
                  </a:lnTo>
                  <a:lnTo>
                    <a:pt x="143" y="107"/>
                  </a:lnTo>
                  <a:lnTo>
                    <a:pt x="143" y="107"/>
                  </a:lnTo>
                  <a:lnTo>
                    <a:pt x="143" y="107"/>
                  </a:lnTo>
                  <a:lnTo>
                    <a:pt x="145" y="107"/>
                  </a:lnTo>
                  <a:lnTo>
                    <a:pt x="145" y="107"/>
                  </a:lnTo>
                  <a:lnTo>
                    <a:pt x="145" y="107"/>
                  </a:lnTo>
                  <a:lnTo>
                    <a:pt x="143" y="105"/>
                  </a:lnTo>
                  <a:lnTo>
                    <a:pt x="143" y="103"/>
                  </a:lnTo>
                  <a:lnTo>
                    <a:pt x="143" y="101"/>
                  </a:lnTo>
                  <a:lnTo>
                    <a:pt x="141" y="99"/>
                  </a:lnTo>
                  <a:lnTo>
                    <a:pt x="141" y="99"/>
                  </a:lnTo>
                  <a:lnTo>
                    <a:pt x="141" y="97"/>
                  </a:lnTo>
                  <a:lnTo>
                    <a:pt x="141" y="97"/>
                  </a:lnTo>
                  <a:lnTo>
                    <a:pt x="139" y="97"/>
                  </a:lnTo>
                  <a:lnTo>
                    <a:pt x="139" y="97"/>
                  </a:lnTo>
                  <a:lnTo>
                    <a:pt x="137" y="97"/>
                  </a:lnTo>
                  <a:lnTo>
                    <a:pt x="137" y="99"/>
                  </a:lnTo>
                  <a:lnTo>
                    <a:pt x="137" y="97"/>
                  </a:lnTo>
                  <a:lnTo>
                    <a:pt x="136" y="97"/>
                  </a:lnTo>
                  <a:lnTo>
                    <a:pt x="134" y="97"/>
                  </a:lnTo>
                  <a:lnTo>
                    <a:pt x="134" y="97"/>
                  </a:lnTo>
                  <a:lnTo>
                    <a:pt x="132" y="95"/>
                  </a:lnTo>
                  <a:lnTo>
                    <a:pt x="130" y="94"/>
                  </a:lnTo>
                  <a:lnTo>
                    <a:pt x="130" y="92"/>
                  </a:lnTo>
                  <a:lnTo>
                    <a:pt x="128" y="92"/>
                  </a:lnTo>
                  <a:lnTo>
                    <a:pt x="128" y="92"/>
                  </a:lnTo>
                  <a:lnTo>
                    <a:pt x="128" y="92"/>
                  </a:lnTo>
                  <a:lnTo>
                    <a:pt x="126" y="92"/>
                  </a:lnTo>
                  <a:lnTo>
                    <a:pt x="126" y="92"/>
                  </a:lnTo>
                  <a:lnTo>
                    <a:pt x="126" y="92"/>
                  </a:lnTo>
                  <a:lnTo>
                    <a:pt x="124" y="92"/>
                  </a:lnTo>
                  <a:lnTo>
                    <a:pt x="124" y="92"/>
                  </a:lnTo>
                  <a:lnTo>
                    <a:pt x="124" y="90"/>
                  </a:lnTo>
                  <a:lnTo>
                    <a:pt x="122" y="88"/>
                  </a:lnTo>
                  <a:lnTo>
                    <a:pt x="122" y="88"/>
                  </a:lnTo>
                  <a:lnTo>
                    <a:pt x="120" y="88"/>
                  </a:lnTo>
                  <a:lnTo>
                    <a:pt x="120" y="86"/>
                  </a:lnTo>
                  <a:lnTo>
                    <a:pt x="118" y="86"/>
                  </a:lnTo>
                  <a:lnTo>
                    <a:pt x="118" y="86"/>
                  </a:lnTo>
                  <a:lnTo>
                    <a:pt x="116" y="88"/>
                  </a:lnTo>
                  <a:lnTo>
                    <a:pt x="116" y="88"/>
                  </a:lnTo>
                  <a:lnTo>
                    <a:pt x="115" y="88"/>
                  </a:lnTo>
                  <a:lnTo>
                    <a:pt x="115" y="88"/>
                  </a:lnTo>
                  <a:lnTo>
                    <a:pt x="113" y="86"/>
                  </a:lnTo>
                  <a:lnTo>
                    <a:pt x="113" y="86"/>
                  </a:lnTo>
                  <a:lnTo>
                    <a:pt x="113" y="84"/>
                  </a:lnTo>
                  <a:lnTo>
                    <a:pt x="113" y="80"/>
                  </a:lnTo>
                  <a:lnTo>
                    <a:pt x="113" y="78"/>
                  </a:lnTo>
                  <a:lnTo>
                    <a:pt x="113" y="78"/>
                  </a:lnTo>
                  <a:lnTo>
                    <a:pt x="113" y="78"/>
                  </a:lnTo>
                  <a:lnTo>
                    <a:pt x="111" y="78"/>
                  </a:lnTo>
                  <a:lnTo>
                    <a:pt x="107" y="78"/>
                  </a:lnTo>
                  <a:lnTo>
                    <a:pt x="103" y="80"/>
                  </a:lnTo>
                  <a:lnTo>
                    <a:pt x="101" y="80"/>
                  </a:lnTo>
                  <a:lnTo>
                    <a:pt x="97" y="80"/>
                  </a:lnTo>
                  <a:lnTo>
                    <a:pt x="95" y="80"/>
                  </a:lnTo>
                  <a:lnTo>
                    <a:pt x="94" y="78"/>
                  </a:lnTo>
                  <a:lnTo>
                    <a:pt x="92" y="78"/>
                  </a:lnTo>
                  <a:lnTo>
                    <a:pt x="90" y="78"/>
                  </a:lnTo>
                  <a:lnTo>
                    <a:pt x="88" y="76"/>
                  </a:lnTo>
                  <a:lnTo>
                    <a:pt x="86" y="76"/>
                  </a:lnTo>
                  <a:lnTo>
                    <a:pt x="86" y="75"/>
                  </a:lnTo>
                  <a:lnTo>
                    <a:pt x="84" y="73"/>
                  </a:lnTo>
                  <a:lnTo>
                    <a:pt x="84" y="71"/>
                  </a:lnTo>
                  <a:lnTo>
                    <a:pt x="84" y="69"/>
                  </a:lnTo>
                  <a:lnTo>
                    <a:pt x="84" y="67"/>
                  </a:lnTo>
                  <a:lnTo>
                    <a:pt x="82" y="67"/>
                  </a:lnTo>
                  <a:lnTo>
                    <a:pt x="82" y="67"/>
                  </a:lnTo>
                  <a:lnTo>
                    <a:pt x="82" y="67"/>
                  </a:lnTo>
                  <a:lnTo>
                    <a:pt x="80" y="67"/>
                  </a:lnTo>
                  <a:lnTo>
                    <a:pt x="80" y="67"/>
                  </a:lnTo>
                  <a:lnTo>
                    <a:pt x="80" y="67"/>
                  </a:lnTo>
                  <a:lnTo>
                    <a:pt x="78" y="67"/>
                  </a:lnTo>
                  <a:lnTo>
                    <a:pt x="78" y="67"/>
                  </a:lnTo>
                  <a:lnTo>
                    <a:pt x="76" y="67"/>
                  </a:lnTo>
                  <a:lnTo>
                    <a:pt x="75" y="65"/>
                  </a:lnTo>
                  <a:lnTo>
                    <a:pt x="75" y="65"/>
                  </a:lnTo>
                  <a:lnTo>
                    <a:pt x="75" y="65"/>
                  </a:lnTo>
                  <a:lnTo>
                    <a:pt x="73" y="65"/>
                  </a:lnTo>
                  <a:lnTo>
                    <a:pt x="73" y="65"/>
                  </a:lnTo>
                  <a:lnTo>
                    <a:pt x="71" y="65"/>
                  </a:lnTo>
                  <a:lnTo>
                    <a:pt x="71" y="63"/>
                  </a:lnTo>
                  <a:lnTo>
                    <a:pt x="71" y="63"/>
                  </a:lnTo>
                  <a:lnTo>
                    <a:pt x="71" y="61"/>
                  </a:lnTo>
                  <a:lnTo>
                    <a:pt x="69" y="61"/>
                  </a:lnTo>
                  <a:lnTo>
                    <a:pt x="69" y="61"/>
                  </a:lnTo>
                  <a:lnTo>
                    <a:pt x="67" y="59"/>
                  </a:lnTo>
                  <a:lnTo>
                    <a:pt x="65" y="59"/>
                  </a:lnTo>
                  <a:lnTo>
                    <a:pt x="63" y="57"/>
                  </a:lnTo>
                  <a:lnTo>
                    <a:pt x="54" y="48"/>
                  </a:lnTo>
                  <a:lnTo>
                    <a:pt x="52" y="46"/>
                  </a:lnTo>
                  <a:lnTo>
                    <a:pt x="52" y="46"/>
                  </a:lnTo>
                  <a:lnTo>
                    <a:pt x="52" y="46"/>
                  </a:lnTo>
                  <a:lnTo>
                    <a:pt x="50" y="46"/>
                  </a:lnTo>
                  <a:lnTo>
                    <a:pt x="50" y="46"/>
                  </a:lnTo>
                  <a:lnTo>
                    <a:pt x="50" y="46"/>
                  </a:lnTo>
                  <a:lnTo>
                    <a:pt x="50" y="46"/>
                  </a:lnTo>
                  <a:lnTo>
                    <a:pt x="50" y="46"/>
                  </a:lnTo>
                  <a:lnTo>
                    <a:pt x="48" y="44"/>
                  </a:lnTo>
                  <a:lnTo>
                    <a:pt x="48" y="42"/>
                  </a:lnTo>
                  <a:lnTo>
                    <a:pt x="48" y="40"/>
                  </a:lnTo>
                  <a:lnTo>
                    <a:pt x="46" y="38"/>
                  </a:lnTo>
                  <a:lnTo>
                    <a:pt x="46" y="36"/>
                  </a:lnTo>
                  <a:lnTo>
                    <a:pt x="44" y="36"/>
                  </a:lnTo>
                  <a:lnTo>
                    <a:pt x="44" y="36"/>
                  </a:lnTo>
                  <a:lnTo>
                    <a:pt x="44" y="35"/>
                  </a:lnTo>
                  <a:lnTo>
                    <a:pt x="44" y="35"/>
                  </a:lnTo>
                  <a:lnTo>
                    <a:pt x="44" y="33"/>
                  </a:lnTo>
                  <a:lnTo>
                    <a:pt x="46" y="33"/>
                  </a:lnTo>
                  <a:lnTo>
                    <a:pt x="46" y="31"/>
                  </a:lnTo>
                  <a:lnTo>
                    <a:pt x="48" y="31"/>
                  </a:lnTo>
                  <a:lnTo>
                    <a:pt x="48" y="31"/>
                  </a:lnTo>
                  <a:lnTo>
                    <a:pt x="48" y="31"/>
                  </a:lnTo>
                  <a:lnTo>
                    <a:pt x="48" y="29"/>
                  </a:lnTo>
                  <a:lnTo>
                    <a:pt x="48" y="29"/>
                  </a:lnTo>
                  <a:lnTo>
                    <a:pt x="46" y="29"/>
                  </a:lnTo>
                  <a:lnTo>
                    <a:pt x="46" y="29"/>
                  </a:lnTo>
                  <a:lnTo>
                    <a:pt x="46" y="29"/>
                  </a:lnTo>
                  <a:lnTo>
                    <a:pt x="42" y="29"/>
                  </a:lnTo>
                  <a:lnTo>
                    <a:pt x="42" y="29"/>
                  </a:lnTo>
                  <a:lnTo>
                    <a:pt x="42" y="29"/>
                  </a:lnTo>
                  <a:lnTo>
                    <a:pt x="42" y="29"/>
                  </a:lnTo>
                  <a:lnTo>
                    <a:pt x="42" y="29"/>
                  </a:lnTo>
                  <a:lnTo>
                    <a:pt x="42" y="29"/>
                  </a:lnTo>
                  <a:lnTo>
                    <a:pt x="40" y="27"/>
                  </a:lnTo>
                  <a:lnTo>
                    <a:pt x="40" y="27"/>
                  </a:lnTo>
                  <a:lnTo>
                    <a:pt x="40" y="27"/>
                  </a:lnTo>
                  <a:lnTo>
                    <a:pt x="40" y="27"/>
                  </a:lnTo>
                  <a:lnTo>
                    <a:pt x="38" y="27"/>
                  </a:lnTo>
                  <a:lnTo>
                    <a:pt x="38" y="27"/>
                  </a:lnTo>
                  <a:lnTo>
                    <a:pt x="38" y="25"/>
                  </a:lnTo>
                  <a:lnTo>
                    <a:pt x="38" y="25"/>
                  </a:lnTo>
                  <a:lnTo>
                    <a:pt x="36" y="23"/>
                  </a:lnTo>
                  <a:lnTo>
                    <a:pt x="36" y="23"/>
                  </a:lnTo>
                  <a:lnTo>
                    <a:pt x="36" y="21"/>
                  </a:lnTo>
                  <a:lnTo>
                    <a:pt x="36" y="21"/>
                  </a:lnTo>
                  <a:lnTo>
                    <a:pt x="38" y="19"/>
                  </a:lnTo>
                  <a:lnTo>
                    <a:pt x="38" y="17"/>
                  </a:lnTo>
                  <a:lnTo>
                    <a:pt x="35" y="16"/>
                  </a:lnTo>
                  <a:lnTo>
                    <a:pt x="33" y="16"/>
                  </a:lnTo>
                  <a:lnTo>
                    <a:pt x="33" y="17"/>
                  </a:lnTo>
                  <a:lnTo>
                    <a:pt x="33" y="17"/>
                  </a:lnTo>
                  <a:lnTo>
                    <a:pt x="31" y="17"/>
                  </a:lnTo>
                  <a:lnTo>
                    <a:pt x="31" y="17"/>
                  </a:lnTo>
                  <a:lnTo>
                    <a:pt x="31" y="17"/>
                  </a:lnTo>
                  <a:lnTo>
                    <a:pt x="29" y="17"/>
                  </a:lnTo>
                  <a:lnTo>
                    <a:pt x="29" y="17"/>
                  </a:lnTo>
                  <a:lnTo>
                    <a:pt x="27" y="16"/>
                  </a:lnTo>
                  <a:lnTo>
                    <a:pt x="27" y="14"/>
                  </a:lnTo>
                  <a:lnTo>
                    <a:pt x="27" y="14"/>
                  </a:lnTo>
                  <a:lnTo>
                    <a:pt x="25" y="14"/>
                  </a:lnTo>
                  <a:lnTo>
                    <a:pt x="25" y="16"/>
                  </a:lnTo>
                  <a:lnTo>
                    <a:pt x="25" y="16"/>
                  </a:lnTo>
                  <a:lnTo>
                    <a:pt x="23" y="16"/>
                  </a:lnTo>
                  <a:lnTo>
                    <a:pt x="23" y="14"/>
                  </a:lnTo>
                  <a:lnTo>
                    <a:pt x="23" y="14"/>
                  </a:lnTo>
                  <a:lnTo>
                    <a:pt x="23" y="12"/>
                  </a:lnTo>
                  <a:lnTo>
                    <a:pt x="23" y="12"/>
                  </a:lnTo>
                  <a:lnTo>
                    <a:pt x="23" y="12"/>
                  </a:lnTo>
                  <a:lnTo>
                    <a:pt x="23" y="10"/>
                  </a:lnTo>
                  <a:lnTo>
                    <a:pt x="23" y="10"/>
                  </a:lnTo>
                  <a:lnTo>
                    <a:pt x="23" y="10"/>
                  </a:lnTo>
                  <a:lnTo>
                    <a:pt x="21" y="10"/>
                  </a:lnTo>
                  <a:lnTo>
                    <a:pt x="19" y="8"/>
                  </a:lnTo>
                  <a:lnTo>
                    <a:pt x="19" y="8"/>
                  </a:lnTo>
                  <a:lnTo>
                    <a:pt x="17" y="8"/>
                  </a:lnTo>
                  <a:lnTo>
                    <a:pt x="17" y="8"/>
                  </a:lnTo>
                  <a:lnTo>
                    <a:pt x="15" y="10"/>
                  </a:lnTo>
                  <a:lnTo>
                    <a:pt x="15" y="10"/>
                  </a:lnTo>
                  <a:lnTo>
                    <a:pt x="15" y="10"/>
                  </a:lnTo>
                  <a:lnTo>
                    <a:pt x="15" y="10"/>
                  </a:lnTo>
                  <a:lnTo>
                    <a:pt x="14" y="10"/>
                  </a:lnTo>
                  <a:lnTo>
                    <a:pt x="14" y="8"/>
                  </a:lnTo>
                  <a:lnTo>
                    <a:pt x="14" y="8"/>
                  </a:lnTo>
                  <a:lnTo>
                    <a:pt x="14" y="8"/>
                  </a:lnTo>
                  <a:lnTo>
                    <a:pt x="14" y="6"/>
                  </a:lnTo>
                  <a:lnTo>
                    <a:pt x="14" y="6"/>
                  </a:lnTo>
                  <a:lnTo>
                    <a:pt x="14" y="6"/>
                  </a:lnTo>
                  <a:lnTo>
                    <a:pt x="14" y="6"/>
                  </a:lnTo>
                  <a:lnTo>
                    <a:pt x="14" y="6"/>
                  </a:lnTo>
                  <a:lnTo>
                    <a:pt x="12" y="6"/>
                  </a:lnTo>
                  <a:lnTo>
                    <a:pt x="10" y="6"/>
                  </a:lnTo>
                  <a:lnTo>
                    <a:pt x="10" y="6"/>
                  </a:lnTo>
                  <a:lnTo>
                    <a:pt x="10" y="4"/>
                  </a:lnTo>
                  <a:lnTo>
                    <a:pt x="10" y="4"/>
                  </a:lnTo>
                  <a:lnTo>
                    <a:pt x="10" y="4"/>
                  </a:lnTo>
                  <a:lnTo>
                    <a:pt x="8" y="2"/>
                  </a:lnTo>
                  <a:lnTo>
                    <a:pt x="8" y="2"/>
                  </a:lnTo>
                  <a:lnTo>
                    <a:pt x="8" y="2"/>
                  </a:lnTo>
                  <a:lnTo>
                    <a:pt x="8" y="0"/>
                  </a:lnTo>
                  <a:lnTo>
                    <a:pt x="8" y="0"/>
                  </a:lnTo>
                  <a:lnTo>
                    <a:pt x="8" y="0"/>
                  </a:lnTo>
                  <a:lnTo>
                    <a:pt x="6" y="0"/>
                  </a:lnTo>
                  <a:lnTo>
                    <a:pt x="4" y="0"/>
                  </a:lnTo>
                  <a:lnTo>
                    <a:pt x="0" y="2"/>
                  </a:lnTo>
                  <a:lnTo>
                    <a:pt x="0" y="2"/>
                  </a:lnTo>
                  <a:lnTo>
                    <a:pt x="2" y="4"/>
                  </a:lnTo>
                  <a:lnTo>
                    <a:pt x="2" y="6"/>
                  </a:lnTo>
                  <a:lnTo>
                    <a:pt x="10" y="23"/>
                  </a:lnTo>
                  <a:lnTo>
                    <a:pt x="12" y="27"/>
                  </a:lnTo>
                  <a:lnTo>
                    <a:pt x="12" y="27"/>
                  </a:lnTo>
                  <a:lnTo>
                    <a:pt x="12" y="29"/>
                  </a:lnTo>
                  <a:lnTo>
                    <a:pt x="12" y="31"/>
                  </a:lnTo>
                  <a:lnTo>
                    <a:pt x="14" y="31"/>
                  </a:lnTo>
                  <a:lnTo>
                    <a:pt x="14" y="31"/>
                  </a:lnTo>
                  <a:lnTo>
                    <a:pt x="14" y="33"/>
                  </a:lnTo>
                  <a:lnTo>
                    <a:pt x="14" y="33"/>
                  </a:lnTo>
                  <a:lnTo>
                    <a:pt x="15" y="35"/>
                  </a:lnTo>
                  <a:lnTo>
                    <a:pt x="21" y="46"/>
                  </a:lnTo>
                  <a:lnTo>
                    <a:pt x="23" y="48"/>
                  </a:lnTo>
                  <a:lnTo>
                    <a:pt x="23" y="52"/>
                  </a:lnTo>
                  <a:lnTo>
                    <a:pt x="23" y="52"/>
                  </a:lnTo>
                  <a:lnTo>
                    <a:pt x="23" y="54"/>
                  </a:lnTo>
                  <a:lnTo>
                    <a:pt x="23" y="52"/>
                  </a:lnTo>
                  <a:lnTo>
                    <a:pt x="25" y="52"/>
                  </a:lnTo>
                  <a:lnTo>
                    <a:pt x="25" y="52"/>
                  </a:lnTo>
                  <a:lnTo>
                    <a:pt x="27" y="50"/>
                  </a:lnTo>
                  <a:lnTo>
                    <a:pt x="27" y="52"/>
                  </a:lnTo>
                  <a:lnTo>
                    <a:pt x="25" y="54"/>
                  </a:lnTo>
                  <a:lnTo>
                    <a:pt x="27" y="59"/>
                  </a:lnTo>
                  <a:lnTo>
                    <a:pt x="31" y="67"/>
                  </a:lnTo>
                  <a:lnTo>
                    <a:pt x="31" y="71"/>
                  </a:lnTo>
                  <a:lnTo>
                    <a:pt x="31" y="73"/>
                  </a:lnTo>
                  <a:lnTo>
                    <a:pt x="33" y="73"/>
                  </a:lnTo>
                  <a:lnTo>
                    <a:pt x="33" y="73"/>
                  </a:lnTo>
                  <a:lnTo>
                    <a:pt x="33" y="73"/>
                  </a:lnTo>
                  <a:lnTo>
                    <a:pt x="33" y="73"/>
                  </a:lnTo>
                  <a:lnTo>
                    <a:pt x="35" y="73"/>
                  </a:lnTo>
                  <a:lnTo>
                    <a:pt x="35" y="71"/>
                  </a:lnTo>
                  <a:lnTo>
                    <a:pt x="35" y="65"/>
                  </a:lnTo>
                  <a:lnTo>
                    <a:pt x="35" y="63"/>
                  </a:lnTo>
                  <a:lnTo>
                    <a:pt x="36" y="65"/>
                  </a:lnTo>
                  <a:lnTo>
                    <a:pt x="38" y="65"/>
                  </a:lnTo>
                  <a:lnTo>
                    <a:pt x="38" y="63"/>
                  </a:lnTo>
                  <a:lnTo>
                    <a:pt x="40" y="63"/>
                  </a:lnTo>
                  <a:lnTo>
                    <a:pt x="40" y="63"/>
                  </a:lnTo>
                  <a:lnTo>
                    <a:pt x="42" y="61"/>
                  </a:lnTo>
                  <a:lnTo>
                    <a:pt x="42" y="61"/>
                  </a:lnTo>
                  <a:lnTo>
                    <a:pt x="44" y="61"/>
                  </a:lnTo>
                  <a:lnTo>
                    <a:pt x="46" y="61"/>
                  </a:lnTo>
                  <a:lnTo>
                    <a:pt x="48" y="61"/>
                  </a:lnTo>
                  <a:lnTo>
                    <a:pt x="48" y="59"/>
                  </a:lnTo>
                  <a:lnTo>
                    <a:pt x="50" y="61"/>
                  </a:lnTo>
                  <a:lnTo>
                    <a:pt x="50" y="61"/>
                  </a:lnTo>
                  <a:lnTo>
                    <a:pt x="48" y="61"/>
                  </a:lnTo>
                  <a:lnTo>
                    <a:pt x="48" y="63"/>
                  </a:lnTo>
                  <a:lnTo>
                    <a:pt x="46" y="63"/>
                  </a:lnTo>
                  <a:lnTo>
                    <a:pt x="46" y="65"/>
                  </a:lnTo>
                  <a:lnTo>
                    <a:pt x="44" y="65"/>
                  </a:lnTo>
                  <a:lnTo>
                    <a:pt x="44" y="65"/>
                  </a:lnTo>
                  <a:lnTo>
                    <a:pt x="44" y="63"/>
                  </a:lnTo>
                  <a:lnTo>
                    <a:pt x="42" y="65"/>
                  </a:lnTo>
                  <a:lnTo>
                    <a:pt x="40" y="67"/>
                  </a:lnTo>
                  <a:lnTo>
                    <a:pt x="42" y="69"/>
                  </a:lnTo>
                  <a:lnTo>
                    <a:pt x="42" y="71"/>
                  </a:lnTo>
                  <a:lnTo>
                    <a:pt x="42" y="71"/>
                  </a:lnTo>
                  <a:lnTo>
                    <a:pt x="44" y="73"/>
                  </a:lnTo>
                  <a:lnTo>
                    <a:pt x="44" y="73"/>
                  </a:lnTo>
                  <a:lnTo>
                    <a:pt x="42" y="73"/>
                  </a:lnTo>
                  <a:lnTo>
                    <a:pt x="38" y="73"/>
                  </a:lnTo>
                  <a:lnTo>
                    <a:pt x="38" y="75"/>
                  </a:lnTo>
                  <a:lnTo>
                    <a:pt x="40" y="76"/>
                  </a:lnTo>
                  <a:lnTo>
                    <a:pt x="40" y="76"/>
                  </a:lnTo>
                  <a:lnTo>
                    <a:pt x="42" y="78"/>
                  </a:lnTo>
                  <a:lnTo>
                    <a:pt x="44" y="78"/>
                  </a:lnTo>
                  <a:lnTo>
                    <a:pt x="46" y="78"/>
                  </a:lnTo>
                  <a:lnTo>
                    <a:pt x="46" y="78"/>
                  </a:lnTo>
                  <a:lnTo>
                    <a:pt x="48" y="76"/>
                  </a:lnTo>
                  <a:lnTo>
                    <a:pt x="50" y="76"/>
                  </a:lnTo>
                  <a:lnTo>
                    <a:pt x="50" y="78"/>
                  </a:lnTo>
                  <a:lnTo>
                    <a:pt x="48" y="78"/>
                  </a:lnTo>
                  <a:lnTo>
                    <a:pt x="50" y="80"/>
                  </a:lnTo>
                  <a:lnTo>
                    <a:pt x="50" y="80"/>
                  </a:lnTo>
                  <a:lnTo>
                    <a:pt x="50" y="82"/>
                  </a:lnTo>
                  <a:lnTo>
                    <a:pt x="44" y="80"/>
                  </a:lnTo>
                  <a:lnTo>
                    <a:pt x="42" y="80"/>
                  </a:lnTo>
                  <a:lnTo>
                    <a:pt x="44" y="84"/>
                  </a:lnTo>
                  <a:lnTo>
                    <a:pt x="46" y="86"/>
                  </a:lnTo>
                  <a:lnTo>
                    <a:pt x="46" y="88"/>
                  </a:lnTo>
                  <a:lnTo>
                    <a:pt x="46" y="88"/>
                  </a:lnTo>
                  <a:lnTo>
                    <a:pt x="48" y="86"/>
                  </a:lnTo>
                  <a:lnTo>
                    <a:pt x="48" y="86"/>
                  </a:lnTo>
                  <a:lnTo>
                    <a:pt x="59" y="99"/>
                  </a:lnTo>
                  <a:lnTo>
                    <a:pt x="63" y="103"/>
                  </a:lnTo>
                  <a:lnTo>
                    <a:pt x="67" y="114"/>
                  </a:lnTo>
                  <a:lnTo>
                    <a:pt x="67" y="116"/>
                  </a:lnTo>
                  <a:lnTo>
                    <a:pt x="69" y="118"/>
                  </a:lnTo>
                  <a:lnTo>
                    <a:pt x="69" y="120"/>
                  </a:lnTo>
                  <a:lnTo>
                    <a:pt x="69" y="122"/>
                  </a:lnTo>
                  <a:lnTo>
                    <a:pt x="71" y="124"/>
                  </a:lnTo>
                  <a:lnTo>
                    <a:pt x="71" y="124"/>
                  </a:lnTo>
                  <a:lnTo>
                    <a:pt x="73" y="124"/>
                  </a:lnTo>
                  <a:lnTo>
                    <a:pt x="75" y="124"/>
                  </a:lnTo>
                  <a:lnTo>
                    <a:pt x="76" y="126"/>
                  </a:lnTo>
                  <a:lnTo>
                    <a:pt x="78" y="128"/>
                  </a:lnTo>
                  <a:lnTo>
                    <a:pt x="78" y="132"/>
                  </a:lnTo>
                  <a:lnTo>
                    <a:pt x="80" y="133"/>
                  </a:lnTo>
                  <a:lnTo>
                    <a:pt x="80" y="133"/>
                  </a:lnTo>
                  <a:lnTo>
                    <a:pt x="82" y="133"/>
                  </a:lnTo>
                  <a:lnTo>
                    <a:pt x="82" y="135"/>
                  </a:lnTo>
                  <a:lnTo>
                    <a:pt x="80" y="135"/>
                  </a:lnTo>
                  <a:lnTo>
                    <a:pt x="80" y="137"/>
                  </a:lnTo>
                  <a:lnTo>
                    <a:pt x="80" y="137"/>
                  </a:lnTo>
                  <a:lnTo>
                    <a:pt x="82" y="137"/>
                  </a:lnTo>
                  <a:lnTo>
                    <a:pt x="82" y="139"/>
                  </a:lnTo>
                  <a:lnTo>
                    <a:pt x="90" y="158"/>
                  </a:lnTo>
                  <a:lnTo>
                    <a:pt x="94" y="175"/>
                  </a:lnTo>
                  <a:lnTo>
                    <a:pt x="95" y="183"/>
                  </a:lnTo>
                  <a:lnTo>
                    <a:pt x="97" y="187"/>
                  </a:lnTo>
                  <a:lnTo>
                    <a:pt x="99" y="187"/>
                  </a:lnTo>
                  <a:lnTo>
                    <a:pt x="99" y="189"/>
                  </a:lnTo>
                  <a:lnTo>
                    <a:pt x="99" y="189"/>
                  </a:lnTo>
                  <a:lnTo>
                    <a:pt x="97" y="189"/>
                  </a:lnTo>
                  <a:lnTo>
                    <a:pt x="99" y="191"/>
                  </a:lnTo>
                  <a:lnTo>
                    <a:pt x="99" y="191"/>
                  </a:lnTo>
                  <a:lnTo>
                    <a:pt x="99" y="191"/>
                  </a:lnTo>
                  <a:lnTo>
                    <a:pt x="99" y="192"/>
                  </a:lnTo>
                  <a:lnTo>
                    <a:pt x="99" y="194"/>
                  </a:lnTo>
                  <a:lnTo>
                    <a:pt x="105" y="206"/>
                  </a:lnTo>
                  <a:lnTo>
                    <a:pt x="107" y="210"/>
                  </a:lnTo>
                  <a:lnTo>
                    <a:pt x="107" y="210"/>
                  </a:lnTo>
                  <a:lnTo>
                    <a:pt x="109" y="211"/>
                  </a:lnTo>
                  <a:lnTo>
                    <a:pt x="111" y="213"/>
                  </a:lnTo>
                  <a:lnTo>
                    <a:pt x="111" y="217"/>
                  </a:lnTo>
                  <a:lnTo>
                    <a:pt x="111" y="219"/>
                  </a:lnTo>
                  <a:lnTo>
                    <a:pt x="113" y="221"/>
                  </a:lnTo>
                  <a:lnTo>
                    <a:pt x="115" y="227"/>
                  </a:lnTo>
                  <a:lnTo>
                    <a:pt x="116" y="230"/>
                  </a:lnTo>
                  <a:lnTo>
                    <a:pt x="118" y="238"/>
                  </a:lnTo>
                  <a:lnTo>
                    <a:pt x="120" y="242"/>
                  </a:lnTo>
                  <a:lnTo>
                    <a:pt x="120" y="242"/>
                  </a:lnTo>
                  <a:lnTo>
                    <a:pt x="122" y="244"/>
                  </a:lnTo>
                  <a:lnTo>
                    <a:pt x="122" y="244"/>
                  </a:lnTo>
                  <a:lnTo>
                    <a:pt x="124" y="244"/>
                  </a:lnTo>
                  <a:lnTo>
                    <a:pt x="124" y="242"/>
                  </a:lnTo>
                  <a:lnTo>
                    <a:pt x="124" y="240"/>
                  </a:lnTo>
                  <a:lnTo>
                    <a:pt x="124" y="236"/>
                  </a:lnTo>
                  <a:lnTo>
                    <a:pt x="124" y="238"/>
                  </a:lnTo>
                  <a:lnTo>
                    <a:pt x="126" y="238"/>
                  </a:lnTo>
                  <a:lnTo>
                    <a:pt x="126" y="240"/>
                  </a:lnTo>
                  <a:lnTo>
                    <a:pt x="126" y="240"/>
                  </a:lnTo>
                  <a:lnTo>
                    <a:pt x="128" y="240"/>
                  </a:lnTo>
                  <a:lnTo>
                    <a:pt x="128" y="240"/>
                  </a:lnTo>
                  <a:lnTo>
                    <a:pt x="128" y="240"/>
                  </a:lnTo>
                  <a:lnTo>
                    <a:pt x="128" y="240"/>
                  </a:lnTo>
                  <a:lnTo>
                    <a:pt x="128" y="242"/>
                  </a:lnTo>
                  <a:lnTo>
                    <a:pt x="128" y="242"/>
                  </a:lnTo>
                  <a:lnTo>
                    <a:pt x="126" y="244"/>
                  </a:lnTo>
                  <a:lnTo>
                    <a:pt x="122" y="246"/>
                  </a:lnTo>
                  <a:lnTo>
                    <a:pt x="122" y="248"/>
                  </a:lnTo>
                  <a:lnTo>
                    <a:pt x="122" y="248"/>
                  </a:lnTo>
                  <a:lnTo>
                    <a:pt x="122" y="250"/>
                  </a:lnTo>
                  <a:lnTo>
                    <a:pt x="122" y="251"/>
                  </a:lnTo>
                  <a:lnTo>
                    <a:pt x="122" y="251"/>
                  </a:lnTo>
                  <a:lnTo>
                    <a:pt x="126" y="259"/>
                  </a:lnTo>
                  <a:lnTo>
                    <a:pt x="126" y="261"/>
                  </a:lnTo>
                  <a:lnTo>
                    <a:pt x="128" y="263"/>
                  </a:lnTo>
                  <a:lnTo>
                    <a:pt x="128" y="261"/>
                  </a:lnTo>
                  <a:lnTo>
                    <a:pt x="126" y="259"/>
                  </a:lnTo>
                  <a:lnTo>
                    <a:pt x="126" y="255"/>
                  </a:lnTo>
                  <a:lnTo>
                    <a:pt x="126" y="253"/>
                  </a:lnTo>
                  <a:lnTo>
                    <a:pt x="126" y="253"/>
                  </a:lnTo>
                  <a:lnTo>
                    <a:pt x="124" y="251"/>
                  </a:lnTo>
                  <a:lnTo>
                    <a:pt x="126" y="250"/>
                  </a:lnTo>
                  <a:lnTo>
                    <a:pt x="126" y="251"/>
                  </a:lnTo>
                  <a:lnTo>
                    <a:pt x="126" y="251"/>
                  </a:lnTo>
                  <a:lnTo>
                    <a:pt x="128" y="251"/>
                  </a:lnTo>
                  <a:lnTo>
                    <a:pt x="128" y="251"/>
                  </a:lnTo>
                  <a:lnTo>
                    <a:pt x="130" y="257"/>
                  </a:lnTo>
                  <a:lnTo>
                    <a:pt x="132" y="259"/>
                  </a:lnTo>
                  <a:lnTo>
                    <a:pt x="130" y="261"/>
                  </a:lnTo>
                  <a:lnTo>
                    <a:pt x="132" y="265"/>
                  </a:lnTo>
                  <a:lnTo>
                    <a:pt x="134" y="267"/>
                  </a:lnTo>
                  <a:lnTo>
                    <a:pt x="134" y="265"/>
                  </a:lnTo>
                  <a:lnTo>
                    <a:pt x="136" y="267"/>
                  </a:lnTo>
                  <a:lnTo>
                    <a:pt x="139" y="270"/>
                  </a:lnTo>
                  <a:lnTo>
                    <a:pt x="139" y="270"/>
                  </a:lnTo>
                  <a:lnTo>
                    <a:pt x="141" y="274"/>
                  </a:lnTo>
                  <a:lnTo>
                    <a:pt x="141" y="276"/>
                  </a:lnTo>
                  <a:lnTo>
                    <a:pt x="141" y="278"/>
                  </a:lnTo>
                  <a:lnTo>
                    <a:pt x="141" y="280"/>
                  </a:lnTo>
                  <a:lnTo>
                    <a:pt x="141" y="280"/>
                  </a:lnTo>
                  <a:lnTo>
                    <a:pt x="141" y="282"/>
                  </a:lnTo>
                  <a:lnTo>
                    <a:pt x="141" y="284"/>
                  </a:lnTo>
                  <a:lnTo>
                    <a:pt x="141" y="284"/>
                  </a:lnTo>
                  <a:lnTo>
                    <a:pt x="141" y="286"/>
                  </a:lnTo>
                  <a:lnTo>
                    <a:pt x="141" y="288"/>
                  </a:lnTo>
                  <a:lnTo>
                    <a:pt x="141" y="288"/>
                  </a:lnTo>
                  <a:lnTo>
                    <a:pt x="141" y="289"/>
                  </a:lnTo>
                  <a:lnTo>
                    <a:pt x="143" y="289"/>
                  </a:lnTo>
                  <a:lnTo>
                    <a:pt x="143" y="289"/>
                  </a:lnTo>
                  <a:lnTo>
                    <a:pt x="143" y="291"/>
                  </a:lnTo>
                  <a:lnTo>
                    <a:pt x="143" y="295"/>
                  </a:lnTo>
                  <a:lnTo>
                    <a:pt x="145" y="297"/>
                  </a:lnTo>
                  <a:lnTo>
                    <a:pt x="145" y="299"/>
                  </a:lnTo>
                  <a:lnTo>
                    <a:pt x="143" y="303"/>
                  </a:lnTo>
                  <a:lnTo>
                    <a:pt x="143" y="303"/>
                  </a:lnTo>
                  <a:lnTo>
                    <a:pt x="145" y="303"/>
                  </a:lnTo>
                  <a:lnTo>
                    <a:pt x="147" y="303"/>
                  </a:lnTo>
                  <a:lnTo>
                    <a:pt x="149" y="303"/>
                  </a:lnTo>
                  <a:lnTo>
                    <a:pt x="151" y="305"/>
                  </a:lnTo>
                  <a:lnTo>
                    <a:pt x="153" y="305"/>
                  </a:lnTo>
                  <a:lnTo>
                    <a:pt x="149" y="308"/>
                  </a:lnTo>
                  <a:lnTo>
                    <a:pt x="149" y="308"/>
                  </a:lnTo>
                  <a:lnTo>
                    <a:pt x="145" y="308"/>
                  </a:lnTo>
                  <a:lnTo>
                    <a:pt x="145" y="308"/>
                  </a:lnTo>
                  <a:lnTo>
                    <a:pt x="141" y="307"/>
                  </a:lnTo>
                  <a:lnTo>
                    <a:pt x="139" y="307"/>
                  </a:lnTo>
                  <a:lnTo>
                    <a:pt x="137" y="305"/>
                  </a:lnTo>
                  <a:lnTo>
                    <a:pt x="139" y="297"/>
                  </a:lnTo>
                  <a:lnTo>
                    <a:pt x="141" y="295"/>
                  </a:lnTo>
                  <a:lnTo>
                    <a:pt x="141" y="295"/>
                  </a:lnTo>
                  <a:lnTo>
                    <a:pt x="141" y="293"/>
                  </a:lnTo>
                  <a:lnTo>
                    <a:pt x="141" y="291"/>
                  </a:lnTo>
                  <a:lnTo>
                    <a:pt x="141" y="289"/>
                  </a:lnTo>
                  <a:lnTo>
                    <a:pt x="139" y="288"/>
                  </a:lnTo>
                  <a:lnTo>
                    <a:pt x="139" y="284"/>
                  </a:lnTo>
                  <a:lnTo>
                    <a:pt x="139" y="282"/>
                  </a:lnTo>
                  <a:lnTo>
                    <a:pt x="139" y="280"/>
                  </a:lnTo>
                  <a:lnTo>
                    <a:pt x="139" y="280"/>
                  </a:lnTo>
                  <a:lnTo>
                    <a:pt x="137" y="278"/>
                  </a:lnTo>
                  <a:lnTo>
                    <a:pt x="137" y="276"/>
                  </a:lnTo>
                  <a:lnTo>
                    <a:pt x="136" y="274"/>
                  </a:lnTo>
                  <a:lnTo>
                    <a:pt x="136" y="274"/>
                  </a:lnTo>
                  <a:lnTo>
                    <a:pt x="136" y="276"/>
                  </a:lnTo>
                  <a:lnTo>
                    <a:pt x="137" y="280"/>
                  </a:lnTo>
                  <a:lnTo>
                    <a:pt x="137" y="282"/>
                  </a:lnTo>
                  <a:lnTo>
                    <a:pt x="137" y="288"/>
                  </a:lnTo>
                  <a:lnTo>
                    <a:pt x="137" y="289"/>
                  </a:lnTo>
                  <a:lnTo>
                    <a:pt x="137" y="289"/>
                  </a:lnTo>
                  <a:lnTo>
                    <a:pt x="134" y="274"/>
                  </a:lnTo>
                  <a:lnTo>
                    <a:pt x="134" y="272"/>
                  </a:lnTo>
                  <a:lnTo>
                    <a:pt x="134" y="274"/>
                  </a:lnTo>
                  <a:lnTo>
                    <a:pt x="134" y="276"/>
                  </a:lnTo>
                  <a:lnTo>
                    <a:pt x="134" y="276"/>
                  </a:lnTo>
                  <a:lnTo>
                    <a:pt x="132" y="276"/>
                  </a:lnTo>
                  <a:lnTo>
                    <a:pt x="132" y="276"/>
                  </a:lnTo>
                  <a:lnTo>
                    <a:pt x="132" y="276"/>
                  </a:lnTo>
                  <a:lnTo>
                    <a:pt x="132" y="274"/>
                  </a:lnTo>
                  <a:lnTo>
                    <a:pt x="132" y="274"/>
                  </a:lnTo>
                  <a:lnTo>
                    <a:pt x="132" y="272"/>
                  </a:lnTo>
                  <a:lnTo>
                    <a:pt x="132" y="274"/>
                  </a:lnTo>
                  <a:lnTo>
                    <a:pt x="132" y="274"/>
                  </a:lnTo>
                  <a:lnTo>
                    <a:pt x="130" y="274"/>
                  </a:lnTo>
                  <a:lnTo>
                    <a:pt x="130" y="272"/>
                  </a:lnTo>
                  <a:lnTo>
                    <a:pt x="130" y="272"/>
                  </a:lnTo>
                  <a:lnTo>
                    <a:pt x="130" y="270"/>
                  </a:lnTo>
                  <a:lnTo>
                    <a:pt x="130" y="270"/>
                  </a:lnTo>
                  <a:lnTo>
                    <a:pt x="132" y="270"/>
                  </a:lnTo>
                  <a:lnTo>
                    <a:pt x="132" y="270"/>
                  </a:lnTo>
                  <a:lnTo>
                    <a:pt x="132" y="269"/>
                  </a:lnTo>
                  <a:lnTo>
                    <a:pt x="130" y="267"/>
                  </a:lnTo>
                  <a:lnTo>
                    <a:pt x="128" y="265"/>
                  </a:lnTo>
                  <a:lnTo>
                    <a:pt x="128" y="267"/>
                  </a:lnTo>
                  <a:lnTo>
                    <a:pt x="128" y="267"/>
                  </a:lnTo>
                  <a:lnTo>
                    <a:pt x="128" y="272"/>
                  </a:lnTo>
                  <a:lnTo>
                    <a:pt x="130" y="272"/>
                  </a:lnTo>
                  <a:lnTo>
                    <a:pt x="132" y="280"/>
                  </a:lnTo>
                  <a:lnTo>
                    <a:pt x="134" y="293"/>
                  </a:lnTo>
                  <a:lnTo>
                    <a:pt x="132" y="297"/>
                  </a:lnTo>
                  <a:lnTo>
                    <a:pt x="134" y="308"/>
                  </a:lnTo>
                  <a:lnTo>
                    <a:pt x="139" y="326"/>
                  </a:lnTo>
                  <a:lnTo>
                    <a:pt x="147" y="341"/>
                  </a:lnTo>
                  <a:lnTo>
                    <a:pt x="147" y="341"/>
                  </a:lnTo>
                  <a:lnTo>
                    <a:pt x="147" y="341"/>
                  </a:lnTo>
                  <a:lnTo>
                    <a:pt x="143" y="333"/>
                  </a:lnTo>
                  <a:lnTo>
                    <a:pt x="143" y="331"/>
                  </a:lnTo>
                  <a:lnTo>
                    <a:pt x="145" y="333"/>
                  </a:lnTo>
                  <a:lnTo>
                    <a:pt x="147" y="335"/>
                  </a:lnTo>
                  <a:lnTo>
                    <a:pt x="149" y="341"/>
                  </a:lnTo>
                  <a:lnTo>
                    <a:pt x="149" y="341"/>
                  </a:lnTo>
                  <a:lnTo>
                    <a:pt x="149" y="341"/>
                  </a:lnTo>
                  <a:lnTo>
                    <a:pt x="149" y="341"/>
                  </a:lnTo>
                  <a:lnTo>
                    <a:pt x="151" y="339"/>
                  </a:lnTo>
                  <a:lnTo>
                    <a:pt x="149" y="343"/>
                  </a:lnTo>
                  <a:lnTo>
                    <a:pt x="149" y="345"/>
                  </a:lnTo>
                  <a:lnTo>
                    <a:pt x="149" y="345"/>
                  </a:lnTo>
                  <a:lnTo>
                    <a:pt x="149" y="343"/>
                  </a:lnTo>
                  <a:lnTo>
                    <a:pt x="149" y="343"/>
                  </a:lnTo>
                  <a:lnTo>
                    <a:pt x="149" y="343"/>
                  </a:lnTo>
                  <a:lnTo>
                    <a:pt x="149" y="343"/>
                  </a:lnTo>
                  <a:lnTo>
                    <a:pt x="149" y="345"/>
                  </a:lnTo>
                  <a:lnTo>
                    <a:pt x="151" y="350"/>
                  </a:lnTo>
                  <a:lnTo>
                    <a:pt x="153" y="354"/>
                  </a:lnTo>
                  <a:lnTo>
                    <a:pt x="153" y="356"/>
                  </a:lnTo>
                  <a:lnTo>
                    <a:pt x="153" y="356"/>
                  </a:lnTo>
                  <a:lnTo>
                    <a:pt x="153" y="358"/>
                  </a:lnTo>
                  <a:lnTo>
                    <a:pt x="155" y="360"/>
                  </a:lnTo>
                  <a:lnTo>
                    <a:pt x="155" y="360"/>
                  </a:lnTo>
                  <a:lnTo>
                    <a:pt x="155" y="362"/>
                  </a:lnTo>
                  <a:lnTo>
                    <a:pt x="155" y="360"/>
                  </a:lnTo>
                  <a:lnTo>
                    <a:pt x="155" y="358"/>
                  </a:lnTo>
                  <a:lnTo>
                    <a:pt x="156" y="356"/>
                  </a:lnTo>
                  <a:lnTo>
                    <a:pt x="158" y="356"/>
                  </a:lnTo>
                  <a:lnTo>
                    <a:pt x="156" y="358"/>
                  </a:lnTo>
                  <a:lnTo>
                    <a:pt x="156" y="358"/>
                  </a:lnTo>
                  <a:lnTo>
                    <a:pt x="156" y="358"/>
                  </a:lnTo>
                  <a:lnTo>
                    <a:pt x="156" y="360"/>
                  </a:lnTo>
                  <a:lnTo>
                    <a:pt x="158" y="358"/>
                  </a:lnTo>
                  <a:lnTo>
                    <a:pt x="158" y="356"/>
                  </a:lnTo>
                  <a:lnTo>
                    <a:pt x="160" y="356"/>
                  </a:lnTo>
                  <a:lnTo>
                    <a:pt x="162" y="356"/>
                  </a:lnTo>
                  <a:lnTo>
                    <a:pt x="162" y="356"/>
                  </a:lnTo>
                  <a:lnTo>
                    <a:pt x="164" y="356"/>
                  </a:lnTo>
                  <a:lnTo>
                    <a:pt x="164" y="354"/>
                  </a:lnTo>
                  <a:lnTo>
                    <a:pt x="164" y="354"/>
                  </a:lnTo>
                  <a:lnTo>
                    <a:pt x="166" y="354"/>
                  </a:lnTo>
                  <a:lnTo>
                    <a:pt x="168" y="354"/>
                  </a:lnTo>
                  <a:lnTo>
                    <a:pt x="168" y="356"/>
                  </a:lnTo>
                  <a:lnTo>
                    <a:pt x="166" y="356"/>
                  </a:lnTo>
                  <a:lnTo>
                    <a:pt x="164" y="356"/>
                  </a:lnTo>
                  <a:lnTo>
                    <a:pt x="164" y="356"/>
                  </a:lnTo>
                  <a:lnTo>
                    <a:pt x="164" y="356"/>
                  </a:lnTo>
                  <a:lnTo>
                    <a:pt x="166" y="358"/>
                  </a:lnTo>
                  <a:lnTo>
                    <a:pt x="166" y="358"/>
                  </a:lnTo>
                  <a:lnTo>
                    <a:pt x="166" y="358"/>
                  </a:lnTo>
                  <a:lnTo>
                    <a:pt x="162" y="358"/>
                  </a:lnTo>
                  <a:lnTo>
                    <a:pt x="160" y="358"/>
                  </a:lnTo>
                  <a:lnTo>
                    <a:pt x="158" y="360"/>
                  </a:lnTo>
                  <a:lnTo>
                    <a:pt x="158" y="360"/>
                  </a:lnTo>
                  <a:lnTo>
                    <a:pt x="158" y="362"/>
                  </a:lnTo>
                  <a:lnTo>
                    <a:pt x="158" y="364"/>
                  </a:lnTo>
                  <a:lnTo>
                    <a:pt x="160" y="362"/>
                  </a:lnTo>
                  <a:lnTo>
                    <a:pt x="162" y="362"/>
                  </a:lnTo>
                  <a:lnTo>
                    <a:pt x="162" y="362"/>
                  </a:lnTo>
                  <a:lnTo>
                    <a:pt x="162" y="364"/>
                  </a:lnTo>
                  <a:lnTo>
                    <a:pt x="160" y="364"/>
                  </a:lnTo>
                  <a:lnTo>
                    <a:pt x="158" y="364"/>
                  </a:lnTo>
                  <a:lnTo>
                    <a:pt x="156" y="362"/>
                  </a:lnTo>
                  <a:lnTo>
                    <a:pt x="156" y="362"/>
                  </a:lnTo>
                  <a:lnTo>
                    <a:pt x="156" y="364"/>
                  </a:lnTo>
                  <a:lnTo>
                    <a:pt x="156" y="366"/>
                  </a:lnTo>
                  <a:lnTo>
                    <a:pt x="166" y="371"/>
                  </a:lnTo>
                  <a:lnTo>
                    <a:pt x="166" y="373"/>
                  </a:lnTo>
                  <a:lnTo>
                    <a:pt x="170" y="379"/>
                  </a:lnTo>
                  <a:lnTo>
                    <a:pt x="174" y="383"/>
                  </a:lnTo>
                  <a:lnTo>
                    <a:pt x="174" y="385"/>
                  </a:lnTo>
                  <a:lnTo>
                    <a:pt x="181" y="392"/>
                  </a:lnTo>
                  <a:lnTo>
                    <a:pt x="181" y="396"/>
                  </a:lnTo>
                  <a:lnTo>
                    <a:pt x="187" y="400"/>
                  </a:lnTo>
                  <a:lnTo>
                    <a:pt x="195" y="411"/>
                  </a:lnTo>
                  <a:lnTo>
                    <a:pt x="198" y="415"/>
                  </a:lnTo>
                  <a:lnTo>
                    <a:pt x="208" y="423"/>
                  </a:lnTo>
                  <a:lnTo>
                    <a:pt x="208" y="421"/>
                  </a:lnTo>
                  <a:lnTo>
                    <a:pt x="210" y="421"/>
                  </a:lnTo>
                  <a:lnTo>
                    <a:pt x="210" y="421"/>
                  </a:lnTo>
                  <a:lnTo>
                    <a:pt x="212" y="421"/>
                  </a:lnTo>
                  <a:lnTo>
                    <a:pt x="212" y="421"/>
                  </a:lnTo>
                  <a:lnTo>
                    <a:pt x="214" y="421"/>
                  </a:lnTo>
                  <a:lnTo>
                    <a:pt x="214" y="421"/>
                  </a:lnTo>
                  <a:lnTo>
                    <a:pt x="214" y="419"/>
                  </a:lnTo>
                  <a:lnTo>
                    <a:pt x="214" y="419"/>
                  </a:lnTo>
                  <a:lnTo>
                    <a:pt x="214" y="417"/>
                  </a:lnTo>
                  <a:lnTo>
                    <a:pt x="214" y="417"/>
                  </a:lnTo>
                  <a:lnTo>
                    <a:pt x="214" y="417"/>
                  </a:lnTo>
                  <a:lnTo>
                    <a:pt x="216" y="415"/>
                  </a:lnTo>
                  <a:lnTo>
                    <a:pt x="217" y="411"/>
                  </a:lnTo>
                  <a:lnTo>
                    <a:pt x="217" y="411"/>
                  </a:lnTo>
                  <a:lnTo>
                    <a:pt x="217" y="409"/>
                  </a:lnTo>
                  <a:lnTo>
                    <a:pt x="217" y="409"/>
                  </a:lnTo>
                  <a:lnTo>
                    <a:pt x="217" y="405"/>
                  </a:lnTo>
                  <a:lnTo>
                    <a:pt x="217" y="405"/>
                  </a:lnTo>
                  <a:lnTo>
                    <a:pt x="217" y="404"/>
                  </a:lnTo>
                  <a:lnTo>
                    <a:pt x="217" y="404"/>
                  </a:lnTo>
                  <a:lnTo>
                    <a:pt x="217" y="404"/>
                  </a:lnTo>
                  <a:lnTo>
                    <a:pt x="217" y="404"/>
                  </a:lnTo>
                  <a:lnTo>
                    <a:pt x="217" y="404"/>
                  </a:lnTo>
                  <a:lnTo>
                    <a:pt x="217" y="405"/>
                  </a:lnTo>
                  <a:lnTo>
                    <a:pt x="219" y="405"/>
                  </a:lnTo>
                  <a:lnTo>
                    <a:pt x="219" y="405"/>
                  </a:lnTo>
                  <a:lnTo>
                    <a:pt x="221" y="404"/>
                  </a:lnTo>
                  <a:lnTo>
                    <a:pt x="221" y="402"/>
                  </a:lnTo>
                  <a:lnTo>
                    <a:pt x="223" y="402"/>
                  </a:lnTo>
                  <a:lnTo>
                    <a:pt x="223" y="400"/>
                  </a:lnTo>
                  <a:lnTo>
                    <a:pt x="223" y="398"/>
                  </a:lnTo>
                  <a:lnTo>
                    <a:pt x="223" y="398"/>
                  </a:lnTo>
                  <a:lnTo>
                    <a:pt x="223" y="396"/>
                  </a:lnTo>
                  <a:lnTo>
                    <a:pt x="221" y="394"/>
                  </a:lnTo>
                  <a:lnTo>
                    <a:pt x="217" y="392"/>
                  </a:lnTo>
                  <a:lnTo>
                    <a:pt x="216" y="390"/>
                  </a:lnTo>
                  <a:lnTo>
                    <a:pt x="216" y="390"/>
                  </a:lnTo>
                  <a:lnTo>
                    <a:pt x="216" y="388"/>
                  </a:lnTo>
                  <a:lnTo>
                    <a:pt x="216" y="388"/>
                  </a:lnTo>
                  <a:lnTo>
                    <a:pt x="216" y="386"/>
                  </a:lnTo>
                  <a:lnTo>
                    <a:pt x="216" y="386"/>
                  </a:lnTo>
                  <a:lnTo>
                    <a:pt x="214" y="385"/>
                  </a:lnTo>
                  <a:lnTo>
                    <a:pt x="214" y="385"/>
                  </a:lnTo>
                  <a:lnTo>
                    <a:pt x="214" y="383"/>
                  </a:lnTo>
                  <a:lnTo>
                    <a:pt x="216" y="381"/>
                  </a:lnTo>
                  <a:lnTo>
                    <a:pt x="219" y="375"/>
                  </a:lnTo>
                  <a:lnTo>
                    <a:pt x="221" y="369"/>
                  </a:lnTo>
                  <a:lnTo>
                    <a:pt x="221" y="369"/>
                  </a:lnTo>
                  <a:lnTo>
                    <a:pt x="221" y="369"/>
                  </a:lnTo>
                  <a:lnTo>
                    <a:pt x="221" y="369"/>
                  </a:lnTo>
                  <a:lnTo>
                    <a:pt x="221" y="367"/>
                  </a:lnTo>
                  <a:lnTo>
                    <a:pt x="219" y="367"/>
                  </a:lnTo>
                  <a:lnTo>
                    <a:pt x="217" y="366"/>
                  </a:lnTo>
                  <a:lnTo>
                    <a:pt x="217" y="366"/>
                  </a:lnTo>
                  <a:lnTo>
                    <a:pt x="216" y="362"/>
                  </a:lnTo>
                  <a:lnTo>
                    <a:pt x="214" y="356"/>
                  </a:lnTo>
                  <a:lnTo>
                    <a:pt x="214" y="356"/>
                  </a:lnTo>
                  <a:lnTo>
                    <a:pt x="214" y="354"/>
                  </a:lnTo>
                  <a:lnTo>
                    <a:pt x="214" y="354"/>
                  </a:lnTo>
                  <a:lnTo>
                    <a:pt x="217" y="352"/>
                  </a:lnTo>
                  <a:lnTo>
                    <a:pt x="219" y="348"/>
                  </a:lnTo>
                  <a:lnTo>
                    <a:pt x="221" y="345"/>
                  </a:lnTo>
                  <a:lnTo>
                    <a:pt x="227" y="327"/>
                  </a:lnTo>
                  <a:lnTo>
                    <a:pt x="229" y="324"/>
                  </a:lnTo>
                  <a:lnTo>
                    <a:pt x="231" y="316"/>
                  </a:lnTo>
                  <a:lnTo>
                    <a:pt x="233" y="316"/>
                  </a:lnTo>
                  <a:lnTo>
                    <a:pt x="233" y="314"/>
                  </a:lnTo>
                  <a:lnTo>
                    <a:pt x="235" y="312"/>
                  </a:lnTo>
                  <a:lnTo>
                    <a:pt x="235" y="310"/>
                  </a:lnTo>
                  <a:lnTo>
                    <a:pt x="235" y="308"/>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4" name="Freeform 46">
              <a:extLst>
                <a:ext uri="{FF2B5EF4-FFF2-40B4-BE49-F238E27FC236}">
                  <a16:creationId xmlns:a16="http://schemas.microsoft.com/office/drawing/2014/main" id="{9F13D4B5-A5DB-06D3-D6D4-9568CE04FE25}"/>
                </a:ext>
              </a:extLst>
            </p:cNvPr>
            <p:cNvSpPr>
              <a:spLocks/>
            </p:cNvSpPr>
            <p:nvPr/>
          </p:nvSpPr>
          <p:spPr bwMode="auto">
            <a:xfrm>
              <a:off x="4649788" y="4491838"/>
              <a:ext cx="655638" cy="1036638"/>
            </a:xfrm>
            <a:custGeom>
              <a:avLst/>
              <a:gdLst>
                <a:gd name="T0" fmla="*/ 392 w 413"/>
                <a:gd name="T1" fmla="*/ 487 h 653"/>
                <a:gd name="T2" fmla="*/ 379 w 413"/>
                <a:gd name="T3" fmla="*/ 466 h 653"/>
                <a:gd name="T4" fmla="*/ 367 w 413"/>
                <a:gd name="T5" fmla="*/ 442 h 653"/>
                <a:gd name="T6" fmla="*/ 350 w 413"/>
                <a:gd name="T7" fmla="*/ 436 h 653"/>
                <a:gd name="T8" fmla="*/ 331 w 413"/>
                <a:gd name="T9" fmla="*/ 449 h 653"/>
                <a:gd name="T10" fmla="*/ 307 w 413"/>
                <a:gd name="T11" fmla="*/ 449 h 653"/>
                <a:gd name="T12" fmla="*/ 280 w 413"/>
                <a:gd name="T13" fmla="*/ 438 h 653"/>
                <a:gd name="T14" fmla="*/ 272 w 413"/>
                <a:gd name="T15" fmla="*/ 453 h 653"/>
                <a:gd name="T16" fmla="*/ 268 w 413"/>
                <a:gd name="T17" fmla="*/ 438 h 653"/>
                <a:gd name="T18" fmla="*/ 265 w 413"/>
                <a:gd name="T19" fmla="*/ 413 h 653"/>
                <a:gd name="T20" fmla="*/ 297 w 413"/>
                <a:gd name="T21" fmla="*/ 432 h 653"/>
                <a:gd name="T22" fmla="*/ 301 w 413"/>
                <a:gd name="T23" fmla="*/ 421 h 653"/>
                <a:gd name="T24" fmla="*/ 307 w 413"/>
                <a:gd name="T25" fmla="*/ 400 h 653"/>
                <a:gd name="T26" fmla="*/ 287 w 413"/>
                <a:gd name="T27" fmla="*/ 398 h 653"/>
                <a:gd name="T28" fmla="*/ 255 w 413"/>
                <a:gd name="T29" fmla="*/ 394 h 653"/>
                <a:gd name="T30" fmla="*/ 249 w 413"/>
                <a:gd name="T31" fmla="*/ 379 h 653"/>
                <a:gd name="T32" fmla="*/ 247 w 413"/>
                <a:gd name="T33" fmla="*/ 337 h 653"/>
                <a:gd name="T34" fmla="*/ 272 w 413"/>
                <a:gd name="T35" fmla="*/ 333 h 653"/>
                <a:gd name="T36" fmla="*/ 265 w 413"/>
                <a:gd name="T37" fmla="*/ 286 h 653"/>
                <a:gd name="T38" fmla="*/ 270 w 413"/>
                <a:gd name="T39" fmla="*/ 259 h 653"/>
                <a:gd name="T40" fmla="*/ 316 w 413"/>
                <a:gd name="T41" fmla="*/ 210 h 653"/>
                <a:gd name="T42" fmla="*/ 308 w 413"/>
                <a:gd name="T43" fmla="*/ 175 h 653"/>
                <a:gd name="T44" fmla="*/ 305 w 413"/>
                <a:gd name="T45" fmla="*/ 128 h 653"/>
                <a:gd name="T46" fmla="*/ 322 w 413"/>
                <a:gd name="T47" fmla="*/ 86 h 653"/>
                <a:gd name="T48" fmla="*/ 318 w 413"/>
                <a:gd name="T49" fmla="*/ 59 h 653"/>
                <a:gd name="T50" fmla="*/ 312 w 413"/>
                <a:gd name="T51" fmla="*/ 18 h 653"/>
                <a:gd name="T52" fmla="*/ 278 w 413"/>
                <a:gd name="T53" fmla="*/ 21 h 653"/>
                <a:gd name="T54" fmla="*/ 246 w 413"/>
                <a:gd name="T55" fmla="*/ 56 h 653"/>
                <a:gd name="T56" fmla="*/ 219 w 413"/>
                <a:gd name="T57" fmla="*/ 73 h 653"/>
                <a:gd name="T58" fmla="*/ 209 w 413"/>
                <a:gd name="T59" fmla="*/ 103 h 653"/>
                <a:gd name="T60" fmla="*/ 167 w 413"/>
                <a:gd name="T61" fmla="*/ 109 h 653"/>
                <a:gd name="T62" fmla="*/ 135 w 413"/>
                <a:gd name="T63" fmla="*/ 105 h 653"/>
                <a:gd name="T64" fmla="*/ 143 w 413"/>
                <a:gd name="T65" fmla="*/ 143 h 653"/>
                <a:gd name="T66" fmla="*/ 101 w 413"/>
                <a:gd name="T67" fmla="*/ 154 h 653"/>
                <a:gd name="T68" fmla="*/ 70 w 413"/>
                <a:gd name="T69" fmla="*/ 158 h 653"/>
                <a:gd name="T70" fmla="*/ 53 w 413"/>
                <a:gd name="T71" fmla="*/ 179 h 653"/>
                <a:gd name="T72" fmla="*/ 30 w 413"/>
                <a:gd name="T73" fmla="*/ 181 h 653"/>
                <a:gd name="T74" fmla="*/ 13 w 413"/>
                <a:gd name="T75" fmla="*/ 193 h 653"/>
                <a:gd name="T76" fmla="*/ 23 w 413"/>
                <a:gd name="T77" fmla="*/ 200 h 653"/>
                <a:gd name="T78" fmla="*/ 34 w 413"/>
                <a:gd name="T79" fmla="*/ 227 h 653"/>
                <a:gd name="T80" fmla="*/ 19 w 413"/>
                <a:gd name="T81" fmla="*/ 263 h 653"/>
                <a:gd name="T82" fmla="*/ 7 w 413"/>
                <a:gd name="T83" fmla="*/ 272 h 653"/>
                <a:gd name="T84" fmla="*/ 13 w 413"/>
                <a:gd name="T85" fmla="*/ 310 h 653"/>
                <a:gd name="T86" fmla="*/ 2 w 413"/>
                <a:gd name="T87" fmla="*/ 343 h 653"/>
                <a:gd name="T88" fmla="*/ 4 w 413"/>
                <a:gd name="T89" fmla="*/ 356 h 653"/>
                <a:gd name="T90" fmla="*/ 23 w 413"/>
                <a:gd name="T91" fmla="*/ 377 h 653"/>
                <a:gd name="T92" fmla="*/ 32 w 413"/>
                <a:gd name="T93" fmla="*/ 402 h 653"/>
                <a:gd name="T94" fmla="*/ 57 w 413"/>
                <a:gd name="T95" fmla="*/ 461 h 653"/>
                <a:gd name="T96" fmla="*/ 59 w 413"/>
                <a:gd name="T97" fmla="*/ 499 h 653"/>
                <a:gd name="T98" fmla="*/ 78 w 413"/>
                <a:gd name="T99" fmla="*/ 544 h 653"/>
                <a:gd name="T100" fmla="*/ 93 w 413"/>
                <a:gd name="T101" fmla="*/ 556 h 653"/>
                <a:gd name="T102" fmla="*/ 110 w 413"/>
                <a:gd name="T103" fmla="*/ 571 h 653"/>
                <a:gd name="T104" fmla="*/ 122 w 413"/>
                <a:gd name="T105" fmla="*/ 590 h 653"/>
                <a:gd name="T106" fmla="*/ 160 w 413"/>
                <a:gd name="T107" fmla="*/ 622 h 653"/>
                <a:gd name="T108" fmla="*/ 198 w 413"/>
                <a:gd name="T109" fmla="*/ 636 h 653"/>
                <a:gd name="T110" fmla="*/ 226 w 413"/>
                <a:gd name="T111" fmla="*/ 651 h 653"/>
                <a:gd name="T112" fmla="*/ 291 w 413"/>
                <a:gd name="T113" fmla="*/ 636 h 653"/>
                <a:gd name="T114" fmla="*/ 339 w 413"/>
                <a:gd name="T115" fmla="*/ 609 h 653"/>
                <a:gd name="T116" fmla="*/ 322 w 413"/>
                <a:gd name="T117" fmla="*/ 571 h 653"/>
                <a:gd name="T118" fmla="*/ 343 w 413"/>
                <a:gd name="T119" fmla="*/ 537 h 653"/>
                <a:gd name="T120" fmla="*/ 383 w 413"/>
                <a:gd name="T121" fmla="*/ 537 h 653"/>
                <a:gd name="T122" fmla="*/ 398 w 413"/>
                <a:gd name="T123" fmla="*/ 53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 h="653">
                  <a:moveTo>
                    <a:pt x="413" y="497"/>
                  </a:moveTo>
                  <a:lnTo>
                    <a:pt x="413" y="497"/>
                  </a:lnTo>
                  <a:lnTo>
                    <a:pt x="411" y="497"/>
                  </a:lnTo>
                  <a:lnTo>
                    <a:pt x="411" y="495"/>
                  </a:lnTo>
                  <a:lnTo>
                    <a:pt x="411" y="495"/>
                  </a:lnTo>
                  <a:lnTo>
                    <a:pt x="409" y="497"/>
                  </a:lnTo>
                  <a:lnTo>
                    <a:pt x="409" y="497"/>
                  </a:lnTo>
                  <a:lnTo>
                    <a:pt x="409" y="497"/>
                  </a:lnTo>
                  <a:lnTo>
                    <a:pt x="409" y="497"/>
                  </a:lnTo>
                  <a:lnTo>
                    <a:pt x="407" y="497"/>
                  </a:lnTo>
                  <a:lnTo>
                    <a:pt x="407" y="497"/>
                  </a:lnTo>
                  <a:lnTo>
                    <a:pt x="407" y="497"/>
                  </a:lnTo>
                  <a:lnTo>
                    <a:pt x="404" y="495"/>
                  </a:lnTo>
                  <a:lnTo>
                    <a:pt x="402" y="493"/>
                  </a:lnTo>
                  <a:lnTo>
                    <a:pt x="402" y="493"/>
                  </a:lnTo>
                  <a:lnTo>
                    <a:pt x="402" y="493"/>
                  </a:lnTo>
                  <a:lnTo>
                    <a:pt x="402" y="493"/>
                  </a:lnTo>
                  <a:lnTo>
                    <a:pt x="400" y="493"/>
                  </a:lnTo>
                  <a:lnTo>
                    <a:pt x="400" y="493"/>
                  </a:lnTo>
                  <a:lnTo>
                    <a:pt x="400" y="493"/>
                  </a:lnTo>
                  <a:lnTo>
                    <a:pt x="398" y="493"/>
                  </a:lnTo>
                  <a:lnTo>
                    <a:pt x="398" y="493"/>
                  </a:lnTo>
                  <a:lnTo>
                    <a:pt x="396" y="493"/>
                  </a:lnTo>
                  <a:lnTo>
                    <a:pt x="396" y="493"/>
                  </a:lnTo>
                  <a:lnTo>
                    <a:pt x="396" y="493"/>
                  </a:lnTo>
                  <a:lnTo>
                    <a:pt x="394" y="491"/>
                  </a:lnTo>
                  <a:lnTo>
                    <a:pt x="394" y="491"/>
                  </a:lnTo>
                  <a:lnTo>
                    <a:pt x="394" y="489"/>
                  </a:lnTo>
                  <a:lnTo>
                    <a:pt x="394" y="489"/>
                  </a:lnTo>
                  <a:lnTo>
                    <a:pt x="392" y="489"/>
                  </a:lnTo>
                  <a:lnTo>
                    <a:pt x="392" y="487"/>
                  </a:lnTo>
                  <a:lnTo>
                    <a:pt x="392" y="487"/>
                  </a:lnTo>
                  <a:lnTo>
                    <a:pt x="392" y="487"/>
                  </a:lnTo>
                  <a:lnTo>
                    <a:pt x="392" y="485"/>
                  </a:lnTo>
                  <a:lnTo>
                    <a:pt x="394" y="485"/>
                  </a:lnTo>
                  <a:lnTo>
                    <a:pt x="394" y="485"/>
                  </a:lnTo>
                  <a:lnTo>
                    <a:pt x="394" y="485"/>
                  </a:lnTo>
                  <a:lnTo>
                    <a:pt x="394" y="480"/>
                  </a:lnTo>
                  <a:lnTo>
                    <a:pt x="394" y="480"/>
                  </a:lnTo>
                  <a:lnTo>
                    <a:pt x="394" y="478"/>
                  </a:lnTo>
                  <a:lnTo>
                    <a:pt x="394" y="478"/>
                  </a:lnTo>
                  <a:lnTo>
                    <a:pt x="394" y="476"/>
                  </a:lnTo>
                  <a:lnTo>
                    <a:pt x="394" y="476"/>
                  </a:lnTo>
                  <a:lnTo>
                    <a:pt x="394" y="474"/>
                  </a:lnTo>
                  <a:lnTo>
                    <a:pt x="394" y="472"/>
                  </a:lnTo>
                  <a:lnTo>
                    <a:pt x="394" y="472"/>
                  </a:lnTo>
                  <a:lnTo>
                    <a:pt x="394" y="470"/>
                  </a:lnTo>
                  <a:lnTo>
                    <a:pt x="394" y="468"/>
                  </a:lnTo>
                  <a:lnTo>
                    <a:pt x="394" y="468"/>
                  </a:lnTo>
                  <a:lnTo>
                    <a:pt x="394" y="468"/>
                  </a:lnTo>
                  <a:lnTo>
                    <a:pt x="394" y="468"/>
                  </a:lnTo>
                  <a:lnTo>
                    <a:pt x="392" y="468"/>
                  </a:lnTo>
                  <a:lnTo>
                    <a:pt x="392" y="468"/>
                  </a:lnTo>
                  <a:lnTo>
                    <a:pt x="390" y="468"/>
                  </a:lnTo>
                  <a:lnTo>
                    <a:pt x="390" y="468"/>
                  </a:lnTo>
                  <a:lnTo>
                    <a:pt x="390" y="468"/>
                  </a:lnTo>
                  <a:lnTo>
                    <a:pt x="388" y="466"/>
                  </a:lnTo>
                  <a:lnTo>
                    <a:pt x="388" y="466"/>
                  </a:lnTo>
                  <a:lnTo>
                    <a:pt x="388" y="466"/>
                  </a:lnTo>
                  <a:lnTo>
                    <a:pt x="387" y="466"/>
                  </a:lnTo>
                  <a:lnTo>
                    <a:pt x="387" y="468"/>
                  </a:lnTo>
                  <a:lnTo>
                    <a:pt x="385" y="468"/>
                  </a:lnTo>
                  <a:lnTo>
                    <a:pt x="385" y="468"/>
                  </a:lnTo>
                  <a:lnTo>
                    <a:pt x="383" y="468"/>
                  </a:lnTo>
                  <a:lnTo>
                    <a:pt x="381" y="468"/>
                  </a:lnTo>
                  <a:lnTo>
                    <a:pt x="379" y="466"/>
                  </a:lnTo>
                  <a:lnTo>
                    <a:pt x="379" y="466"/>
                  </a:lnTo>
                  <a:lnTo>
                    <a:pt x="377" y="466"/>
                  </a:lnTo>
                  <a:lnTo>
                    <a:pt x="377" y="466"/>
                  </a:lnTo>
                  <a:lnTo>
                    <a:pt x="377" y="466"/>
                  </a:lnTo>
                  <a:lnTo>
                    <a:pt x="375" y="466"/>
                  </a:lnTo>
                  <a:lnTo>
                    <a:pt x="373" y="463"/>
                  </a:lnTo>
                  <a:lnTo>
                    <a:pt x="371" y="461"/>
                  </a:lnTo>
                  <a:lnTo>
                    <a:pt x="371" y="461"/>
                  </a:lnTo>
                  <a:lnTo>
                    <a:pt x="369" y="461"/>
                  </a:lnTo>
                  <a:lnTo>
                    <a:pt x="369" y="461"/>
                  </a:lnTo>
                  <a:lnTo>
                    <a:pt x="367" y="463"/>
                  </a:lnTo>
                  <a:lnTo>
                    <a:pt x="367" y="463"/>
                  </a:lnTo>
                  <a:lnTo>
                    <a:pt x="366" y="461"/>
                  </a:lnTo>
                  <a:lnTo>
                    <a:pt x="366" y="461"/>
                  </a:lnTo>
                  <a:lnTo>
                    <a:pt x="366" y="459"/>
                  </a:lnTo>
                  <a:lnTo>
                    <a:pt x="366" y="459"/>
                  </a:lnTo>
                  <a:lnTo>
                    <a:pt x="366" y="457"/>
                  </a:lnTo>
                  <a:lnTo>
                    <a:pt x="366" y="457"/>
                  </a:lnTo>
                  <a:lnTo>
                    <a:pt x="367" y="459"/>
                  </a:lnTo>
                  <a:lnTo>
                    <a:pt x="369" y="459"/>
                  </a:lnTo>
                  <a:lnTo>
                    <a:pt x="369" y="457"/>
                  </a:lnTo>
                  <a:lnTo>
                    <a:pt x="369" y="457"/>
                  </a:lnTo>
                  <a:lnTo>
                    <a:pt x="369" y="457"/>
                  </a:lnTo>
                  <a:lnTo>
                    <a:pt x="369" y="455"/>
                  </a:lnTo>
                  <a:lnTo>
                    <a:pt x="369" y="455"/>
                  </a:lnTo>
                  <a:lnTo>
                    <a:pt x="367" y="453"/>
                  </a:lnTo>
                  <a:lnTo>
                    <a:pt x="367" y="453"/>
                  </a:lnTo>
                  <a:lnTo>
                    <a:pt x="367" y="451"/>
                  </a:lnTo>
                  <a:lnTo>
                    <a:pt x="369" y="449"/>
                  </a:lnTo>
                  <a:lnTo>
                    <a:pt x="369" y="447"/>
                  </a:lnTo>
                  <a:lnTo>
                    <a:pt x="369" y="447"/>
                  </a:lnTo>
                  <a:lnTo>
                    <a:pt x="369" y="445"/>
                  </a:lnTo>
                  <a:lnTo>
                    <a:pt x="367" y="442"/>
                  </a:lnTo>
                  <a:lnTo>
                    <a:pt x="364" y="440"/>
                  </a:lnTo>
                  <a:lnTo>
                    <a:pt x="360" y="442"/>
                  </a:lnTo>
                  <a:lnTo>
                    <a:pt x="360" y="442"/>
                  </a:lnTo>
                  <a:lnTo>
                    <a:pt x="360" y="442"/>
                  </a:lnTo>
                  <a:lnTo>
                    <a:pt x="358" y="442"/>
                  </a:lnTo>
                  <a:lnTo>
                    <a:pt x="358" y="442"/>
                  </a:lnTo>
                  <a:lnTo>
                    <a:pt x="356" y="442"/>
                  </a:lnTo>
                  <a:lnTo>
                    <a:pt x="356" y="442"/>
                  </a:lnTo>
                  <a:lnTo>
                    <a:pt x="354" y="444"/>
                  </a:lnTo>
                  <a:lnTo>
                    <a:pt x="354" y="445"/>
                  </a:lnTo>
                  <a:lnTo>
                    <a:pt x="352" y="445"/>
                  </a:lnTo>
                  <a:lnTo>
                    <a:pt x="352" y="445"/>
                  </a:lnTo>
                  <a:lnTo>
                    <a:pt x="352" y="444"/>
                  </a:lnTo>
                  <a:lnTo>
                    <a:pt x="352" y="444"/>
                  </a:lnTo>
                  <a:lnTo>
                    <a:pt x="352" y="442"/>
                  </a:lnTo>
                  <a:lnTo>
                    <a:pt x="352" y="440"/>
                  </a:lnTo>
                  <a:lnTo>
                    <a:pt x="352" y="440"/>
                  </a:lnTo>
                  <a:lnTo>
                    <a:pt x="352" y="440"/>
                  </a:lnTo>
                  <a:lnTo>
                    <a:pt x="354" y="438"/>
                  </a:lnTo>
                  <a:lnTo>
                    <a:pt x="354" y="438"/>
                  </a:lnTo>
                  <a:lnTo>
                    <a:pt x="354" y="436"/>
                  </a:lnTo>
                  <a:lnTo>
                    <a:pt x="354" y="436"/>
                  </a:lnTo>
                  <a:lnTo>
                    <a:pt x="354" y="434"/>
                  </a:lnTo>
                  <a:lnTo>
                    <a:pt x="354" y="434"/>
                  </a:lnTo>
                  <a:lnTo>
                    <a:pt x="354" y="432"/>
                  </a:lnTo>
                  <a:lnTo>
                    <a:pt x="354" y="432"/>
                  </a:lnTo>
                  <a:lnTo>
                    <a:pt x="354" y="432"/>
                  </a:lnTo>
                  <a:lnTo>
                    <a:pt x="354" y="432"/>
                  </a:lnTo>
                  <a:lnTo>
                    <a:pt x="352" y="434"/>
                  </a:lnTo>
                  <a:lnTo>
                    <a:pt x="352" y="434"/>
                  </a:lnTo>
                  <a:lnTo>
                    <a:pt x="352" y="434"/>
                  </a:lnTo>
                  <a:lnTo>
                    <a:pt x="350" y="436"/>
                  </a:lnTo>
                  <a:lnTo>
                    <a:pt x="350" y="436"/>
                  </a:lnTo>
                  <a:lnTo>
                    <a:pt x="350" y="436"/>
                  </a:lnTo>
                  <a:lnTo>
                    <a:pt x="348" y="436"/>
                  </a:lnTo>
                  <a:lnTo>
                    <a:pt x="348" y="436"/>
                  </a:lnTo>
                  <a:lnTo>
                    <a:pt x="347" y="436"/>
                  </a:lnTo>
                  <a:lnTo>
                    <a:pt x="347" y="436"/>
                  </a:lnTo>
                  <a:lnTo>
                    <a:pt x="347" y="436"/>
                  </a:lnTo>
                  <a:lnTo>
                    <a:pt x="345" y="436"/>
                  </a:lnTo>
                  <a:lnTo>
                    <a:pt x="343" y="436"/>
                  </a:lnTo>
                  <a:lnTo>
                    <a:pt x="341" y="434"/>
                  </a:lnTo>
                  <a:lnTo>
                    <a:pt x="341" y="434"/>
                  </a:lnTo>
                  <a:lnTo>
                    <a:pt x="341" y="434"/>
                  </a:lnTo>
                  <a:lnTo>
                    <a:pt x="339" y="436"/>
                  </a:lnTo>
                  <a:lnTo>
                    <a:pt x="339" y="436"/>
                  </a:lnTo>
                  <a:lnTo>
                    <a:pt x="339" y="436"/>
                  </a:lnTo>
                  <a:lnTo>
                    <a:pt x="339" y="438"/>
                  </a:lnTo>
                  <a:lnTo>
                    <a:pt x="339" y="438"/>
                  </a:lnTo>
                  <a:lnTo>
                    <a:pt x="341" y="438"/>
                  </a:lnTo>
                  <a:lnTo>
                    <a:pt x="341" y="440"/>
                  </a:lnTo>
                  <a:lnTo>
                    <a:pt x="341" y="440"/>
                  </a:lnTo>
                  <a:lnTo>
                    <a:pt x="341" y="440"/>
                  </a:lnTo>
                  <a:lnTo>
                    <a:pt x="341" y="442"/>
                  </a:lnTo>
                  <a:lnTo>
                    <a:pt x="341" y="442"/>
                  </a:lnTo>
                  <a:lnTo>
                    <a:pt x="339" y="442"/>
                  </a:lnTo>
                  <a:lnTo>
                    <a:pt x="337" y="444"/>
                  </a:lnTo>
                  <a:lnTo>
                    <a:pt x="337" y="444"/>
                  </a:lnTo>
                  <a:lnTo>
                    <a:pt x="335" y="445"/>
                  </a:lnTo>
                  <a:lnTo>
                    <a:pt x="335" y="445"/>
                  </a:lnTo>
                  <a:lnTo>
                    <a:pt x="335" y="445"/>
                  </a:lnTo>
                  <a:lnTo>
                    <a:pt x="333" y="447"/>
                  </a:lnTo>
                  <a:lnTo>
                    <a:pt x="331" y="447"/>
                  </a:lnTo>
                  <a:lnTo>
                    <a:pt x="331" y="447"/>
                  </a:lnTo>
                  <a:lnTo>
                    <a:pt x="331" y="449"/>
                  </a:lnTo>
                  <a:lnTo>
                    <a:pt x="331" y="449"/>
                  </a:lnTo>
                  <a:lnTo>
                    <a:pt x="329" y="451"/>
                  </a:lnTo>
                  <a:lnTo>
                    <a:pt x="329" y="451"/>
                  </a:lnTo>
                  <a:lnTo>
                    <a:pt x="329" y="451"/>
                  </a:lnTo>
                  <a:lnTo>
                    <a:pt x="329" y="451"/>
                  </a:lnTo>
                  <a:lnTo>
                    <a:pt x="327" y="451"/>
                  </a:lnTo>
                  <a:lnTo>
                    <a:pt x="327" y="449"/>
                  </a:lnTo>
                  <a:lnTo>
                    <a:pt x="327" y="449"/>
                  </a:lnTo>
                  <a:lnTo>
                    <a:pt x="326" y="449"/>
                  </a:lnTo>
                  <a:lnTo>
                    <a:pt x="324" y="449"/>
                  </a:lnTo>
                  <a:lnTo>
                    <a:pt x="324" y="449"/>
                  </a:lnTo>
                  <a:lnTo>
                    <a:pt x="324" y="451"/>
                  </a:lnTo>
                  <a:lnTo>
                    <a:pt x="322" y="451"/>
                  </a:lnTo>
                  <a:lnTo>
                    <a:pt x="322" y="451"/>
                  </a:lnTo>
                  <a:lnTo>
                    <a:pt x="322" y="453"/>
                  </a:lnTo>
                  <a:lnTo>
                    <a:pt x="324" y="453"/>
                  </a:lnTo>
                  <a:lnTo>
                    <a:pt x="322" y="453"/>
                  </a:lnTo>
                  <a:lnTo>
                    <a:pt x="322" y="453"/>
                  </a:lnTo>
                  <a:lnTo>
                    <a:pt x="320" y="453"/>
                  </a:lnTo>
                  <a:lnTo>
                    <a:pt x="318" y="453"/>
                  </a:lnTo>
                  <a:lnTo>
                    <a:pt x="316" y="455"/>
                  </a:lnTo>
                  <a:lnTo>
                    <a:pt x="314" y="457"/>
                  </a:lnTo>
                  <a:lnTo>
                    <a:pt x="314" y="457"/>
                  </a:lnTo>
                  <a:lnTo>
                    <a:pt x="312" y="457"/>
                  </a:lnTo>
                  <a:lnTo>
                    <a:pt x="310" y="457"/>
                  </a:lnTo>
                  <a:lnTo>
                    <a:pt x="310" y="457"/>
                  </a:lnTo>
                  <a:lnTo>
                    <a:pt x="310" y="457"/>
                  </a:lnTo>
                  <a:lnTo>
                    <a:pt x="308" y="457"/>
                  </a:lnTo>
                  <a:lnTo>
                    <a:pt x="308" y="457"/>
                  </a:lnTo>
                  <a:lnTo>
                    <a:pt x="308" y="455"/>
                  </a:lnTo>
                  <a:lnTo>
                    <a:pt x="308" y="453"/>
                  </a:lnTo>
                  <a:lnTo>
                    <a:pt x="308" y="453"/>
                  </a:lnTo>
                  <a:lnTo>
                    <a:pt x="308" y="449"/>
                  </a:lnTo>
                  <a:lnTo>
                    <a:pt x="307" y="449"/>
                  </a:lnTo>
                  <a:lnTo>
                    <a:pt x="307" y="447"/>
                  </a:lnTo>
                  <a:lnTo>
                    <a:pt x="307" y="447"/>
                  </a:lnTo>
                  <a:lnTo>
                    <a:pt x="305" y="447"/>
                  </a:lnTo>
                  <a:lnTo>
                    <a:pt x="305" y="445"/>
                  </a:lnTo>
                  <a:lnTo>
                    <a:pt x="305" y="445"/>
                  </a:lnTo>
                  <a:lnTo>
                    <a:pt x="305" y="444"/>
                  </a:lnTo>
                  <a:lnTo>
                    <a:pt x="305" y="444"/>
                  </a:lnTo>
                  <a:lnTo>
                    <a:pt x="303" y="444"/>
                  </a:lnTo>
                  <a:lnTo>
                    <a:pt x="301" y="444"/>
                  </a:lnTo>
                  <a:lnTo>
                    <a:pt x="299" y="444"/>
                  </a:lnTo>
                  <a:lnTo>
                    <a:pt x="297" y="444"/>
                  </a:lnTo>
                  <a:lnTo>
                    <a:pt x="297" y="444"/>
                  </a:lnTo>
                  <a:lnTo>
                    <a:pt x="295" y="444"/>
                  </a:lnTo>
                  <a:lnTo>
                    <a:pt x="295" y="444"/>
                  </a:lnTo>
                  <a:lnTo>
                    <a:pt x="293" y="444"/>
                  </a:lnTo>
                  <a:lnTo>
                    <a:pt x="293" y="442"/>
                  </a:lnTo>
                  <a:lnTo>
                    <a:pt x="291" y="442"/>
                  </a:lnTo>
                  <a:lnTo>
                    <a:pt x="291" y="442"/>
                  </a:lnTo>
                  <a:lnTo>
                    <a:pt x="289" y="442"/>
                  </a:lnTo>
                  <a:lnTo>
                    <a:pt x="287" y="442"/>
                  </a:lnTo>
                  <a:lnTo>
                    <a:pt x="287" y="440"/>
                  </a:lnTo>
                  <a:lnTo>
                    <a:pt x="286" y="440"/>
                  </a:lnTo>
                  <a:lnTo>
                    <a:pt x="286" y="440"/>
                  </a:lnTo>
                  <a:lnTo>
                    <a:pt x="286" y="440"/>
                  </a:lnTo>
                  <a:lnTo>
                    <a:pt x="284" y="442"/>
                  </a:lnTo>
                  <a:lnTo>
                    <a:pt x="282" y="442"/>
                  </a:lnTo>
                  <a:lnTo>
                    <a:pt x="282" y="440"/>
                  </a:lnTo>
                  <a:lnTo>
                    <a:pt x="282" y="440"/>
                  </a:lnTo>
                  <a:lnTo>
                    <a:pt x="282" y="438"/>
                  </a:lnTo>
                  <a:lnTo>
                    <a:pt x="282" y="438"/>
                  </a:lnTo>
                  <a:lnTo>
                    <a:pt x="282" y="438"/>
                  </a:lnTo>
                  <a:lnTo>
                    <a:pt x="282" y="438"/>
                  </a:lnTo>
                  <a:lnTo>
                    <a:pt x="280" y="438"/>
                  </a:lnTo>
                  <a:lnTo>
                    <a:pt x="280" y="438"/>
                  </a:lnTo>
                  <a:lnTo>
                    <a:pt x="280" y="438"/>
                  </a:lnTo>
                  <a:lnTo>
                    <a:pt x="280" y="440"/>
                  </a:lnTo>
                  <a:lnTo>
                    <a:pt x="280" y="440"/>
                  </a:lnTo>
                  <a:lnTo>
                    <a:pt x="280" y="440"/>
                  </a:lnTo>
                  <a:lnTo>
                    <a:pt x="280" y="440"/>
                  </a:lnTo>
                  <a:lnTo>
                    <a:pt x="280" y="440"/>
                  </a:lnTo>
                  <a:lnTo>
                    <a:pt x="280" y="442"/>
                  </a:lnTo>
                  <a:lnTo>
                    <a:pt x="280" y="442"/>
                  </a:lnTo>
                  <a:lnTo>
                    <a:pt x="280" y="442"/>
                  </a:lnTo>
                  <a:lnTo>
                    <a:pt x="278" y="442"/>
                  </a:lnTo>
                  <a:lnTo>
                    <a:pt x="278" y="442"/>
                  </a:lnTo>
                  <a:lnTo>
                    <a:pt x="278" y="444"/>
                  </a:lnTo>
                  <a:lnTo>
                    <a:pt x="278" y="444"/>
                  </a:lnTo>
                  <a:lnTo>
                    <a:pt x="278" y="444"/>
                  </a:lnTo>
                  <a:lnTo>
                    <a:pt x="278" y="444"/>
                  </a:lnTo>
                  <a:lnTo>
                    <a:pt x="280" y="444"/>
                  </a:lnTo>
                  <a:lnTo>
                    <a:pt x="280" y="445"/>
                  </a:lnTo>
                  <a:lnTo>
                    <a:pt x="280" y="445"/>
                  </a:lnTo>
                  <a:lnTo>
                    <a:pt x="280" y="447"/>
                  </a:lnTo>
                  <a:lnTo>
                    <a:pt x="280" y="447"/>
                  </a:lnTo>
                  <a:lnTo>
                    <a:pt x="280" y="449"/>
                  </a:lnTo>
                  <a:lnTo>
                    <a:pt x="280" y="449"/>
                  </a:lnTo>
                  <a:lnTo>
                    <a:pt x="280" y="451"/>
                  </a:lnTo>
                  <a:lnTo>
                    <a:pt x="280" y="451"/>
                  </a:lnTo>
                  <a:lnTo>
                    <a:pt x="278" y="451"/>
                  </a:lnTo>
                  <a:lnTo>
                    <a:pt x="278" y="451"/>
                  </a:lnTo>
                  <a:lnTo>
                    <a:pt x="276" y="451"/>
                  </a:lnTo>
                  <a:lnTo>
                    <a:pt x="274" y="451"/>
                  </a:lnTo>
                  <a:lnTo>
                    <a:pt x="274" y="451"/>
                  </a:lnTo>
                  <a:lnTo>
                    <a:pt x="274" y="451"/>
                  </a:lnTo>
                  <a:lnTo>
                    <a:pt x="272" y="451"/>
                  </a:lnTo>
                  <a:lnTo>
                    <a:pt x="272" y="453"/>
                  </a:lnTo>
                  <a:lnTo>
                    <a:pt x="272" y="453"/>
                  </a:lnTo>
                  <a:lnTo>
                    <a:pt x="272" y="453"/>
                  </a:lnTo>
                  <a:lnTo>
                    <a:pt x="270" y="453"/>
                  </a:lnTo>
                  <a:lnTo>
                    <a:pt x="270" y="453"/>
                  </a:lnTo>
                  <a:lnTo>
                    <a:pt x="268" y="451"/>
                  </a:lnTo>
                  <a:lnTo>
                    <a:pt x="268" y="451"/>
                  </a:lnTo>
                  <a:lnTo>
                    <a:pt x="268" y="449"/>
                  </a:lnTo>
                  <a:lnTo>
                    <a:pt x="268" y="449"/>
                  </a:lnTo>
                  <a:lnTo>
                    <a:pt x="266" y="449"/>
                  </a:lnTo>
                  <a:lnTo>
                    <a:pt x="266" y="449"/>
                  </a:lnTo>
                  <a:lnTo>
                    <a:pt x="266" y="449"/>
                  </a:lnTo>
                  <a:lnTo>
                    <a:pt x="266" y="451"/>
                  </a:lnTo>
                  <a:lnTo>
                    <a:pt x="266" y="451"/>
                  </a:lnTo>
                  <a:lnTo>
                    <a:pt x="266" y="453"/>
                  </a:lnTo>
                  <a:lnTo>
                    <a:pt x="265" y="453"/>
                  </a:lnTo>
                  <a:lnTo>
                    <a:pt x="265" y="453"/>
                  </a:lnTo>
                  <a:lnTo>
                    <a:pt x="265" y="451"/>
                  </a:lnTo>
                  <a:lnTo>
                    <a:pt x="265" y="449"/>
                  </a:lnTo>
                  <a:lnTo>
                    <a:pt x="265" y="447"/>
                  </a:lnTo>
                  <a:lnTo>
                    <a:pt x="265" y="445"/>
                  </a:lnTo>
                  <a:lnTo>
                    <a:pt x="265" y="445"/>
                  </a:lnTo>
                  <a:lnTo>
                    <a:pt x="265" y="444"/>
                  </a:lnTo>
                  <a:lnTo>
                    <a:pt x="266" y="444"/>
                  </a:lnTo>
                  <a:lnTo>
                    <a:pt x="266" y="442"/>
                  </a:lnTo>
                  <a:lnTo>
                    <a:pt x="266" y="442"/>
                  </a:lnTo>
                  <a:lnTo>
                    <a:pt x="266" y="442"/>
                  </a:lnTo>
                  <a:lnTo>
                    <a:pt x="266" y="440"/>
                  </a:lnTo>
                  <a:lnTo>
                    <a:pt x="268" y="440"/>
                  </a:lnTo>
                  <a:lnTo>
                    <a:pt x="268" y="440"/>
                  </a:lnTo>
                  <a:lnTo>
                    <a:pt x="268" y="440"/>
                  </a:lnTo>
                  <a:lnTo>
                    <a:pt x="268" y="438"/>
                  </a:lnTo>
                  <a:lnTo>
                    <a:pt x="268" y="438"/>
                  </a:lnTo>
                  <a:lnTo>
                    <a:pt x="268" y="438"/>
                  </a:lnTo>
                  <a:lnTo>
                    <a:pt x="268" y="436"/>
                  </a:lnTo>
                  <a:lnTo>
                    <a:pt x="268" y="436"/>
                  </a:lnTo>
                  <a:lnTo>
                    <a:pt x="266" y="434"/>
                  </a:lnTo>
                  <a:lnTo>
                    <a:pt x="266" y="432"/>
                  </a:lnTo>
                  <a:lnTo>
                    <a:pt x="265" y="430"/>
                  </a:lnTo>
                  <a:lnTo>
                    <a:pt x="263" y="430"/>
                  </a:lnTo>
                  <a:lnTo>
                    <a:pt x="263" y="428"/>
                  </a:lnTo>
                  <a:lnTo>
                    <a:pt x="263" y="428"/>
                  </a:lnTo>
                  <a:lnTo>
                    <a:pt x="263" y="428"/>
                  </a:lnTo>
                  <a:lnTo>
                    <a:pt x="261" y="426"/>
                  </a:lnTo>
                  <a:lnTo>
                    <a:pt x="263" y="425"/>
                  </a:lnTo>
                  <a:lnTo>
                    <a:pt x="263" y="425"/>
                  </a:lnTo>
                  <a:lnTo>
                    <a:pt x="263" y="423"/>
                  </a:lnTo>
                  <a:lnTo>
                    <a:pt x="263" y="423"/>
                  </a:lnTo>
                  <a:lnTo>
                    <a:pt x="263" y="423"/>
                  </a:lnTo>
                  <a:lnTo>
                    <a:pt x="261" y="421"/>
                  </a:lnTo>
                  <a:lnTo>
                    <a:pt x="257" y="415"/>
                  </a:lnTo>
                  <a:lnTo>
                    <a:pt x="255" y="415"/>
                  </a:lnTo>
                  <a:lnTo>
                    <a:pt x="255" y="415"/>
                  </a:lnTo>
                  <a:lnTo>
                    <a:pt x="257" y="413"/>
                  </a:lnTo>
                  <a:lnTo>
                    <a:pt x="257" y="413"/>
                  </a:lnTo>
                  <a:lnTo>
                    <a:pt x="259" y="413"/>
                  </a:lnTo>
                  <a:lnTo>
                    <a:pt x="259" y="413"/>
                  </a:lnTo>
                  <a:lnTo>
                    <a:pt x="259" y="411"/>
                  </a:lnTo>
                  <a:lnTo>
                    <a:pt x="259" y="411"/>
                  </a:lnTo>
                  <a:lnTo>
                    <a:pt x="261" y="411"/>
                  </a:lnTo>
                  <a:lnTo>
                    <a:pt x="261" y="411"/>
                  </a:lnTo>
                  <a:lnTo>
                    <a:pt x="261" y="411"/>
                  </a:lnTo>
                  <a:lnTo>
                    <a:pt x="261" y="411"/>
                  </a:lnTo>
                  <a:lnTo>
                    <a:pt x="263" y="413"/>
                  </a:lnTo>
                  <a:lnTo>
                    <a:pt x="263" y="413"/>
                  </a:lnTo>
                  <a:lnTo>
                    <a:pt x="265" y="413"/>
                  </a:lnTo>
                  <a:lnTo>
                    <a:pt x="265" y="413"/>
                  </a:lnTo>
                  <a:lnTo>
                    <a:pt x="265" y="413"/>
                  </a:lnTo>
                  <a:lnTo>
                    <a:pt x="265" y="413"/>
                  </a:lnTo>
                  <a:lnTo>
                    <a:pt x="265" y="413"/>
                  </a:lnTo>
                  <a:lnTo>
                    <a:pt x="265" y="415"/>
                  </a:lnTo>
                  <a:lnTo>
                    <a:pt x="266" y="419"/>
                  </a:lnTo>
                  <a:lnTo>
                    <a:pt x="266" y="421"/>
                  </a:lnTo>
                  <a:lnTo>
                    <a:pt x="266" y="423"/>
                  </a:lnTo>
                  <a:lnTo>
                    <a:pt x="268" y="423"/>
                  </a:lnTo>
                  <a:lnTo>
                    <a:pt x="268" y="423"/>
                  </a:lnTo>
                  <a:lnTo>
                    <a:pt x="268" y="423"/>
                  </a:lnTo>
                  <a:lnTo>
                    <a:pt x="270" y="425"/>
                  </a:lnTo>
                  <a:lnTo>
                    <a:pt x="270" y="425"/>
                  </a:lnTo>
                  <a:lnTo>
                    <a:pt x="274" y="425"/>
                  </a:lnTo>
                  <a:lnTo>
                    <a:pt x="274" y="425"/>
                  </a:lnTo>
                  <a:lnTo>
                    <a:pt x="276" y="426"/>
                  </a:lnTo>
                  <a:lnTo>
                    <a:pt x="276" y="426"/>
                  </a:lnTo>
                  <a:lnTo>
                    <a:pt x="276" y="428"/>
                  </a:lnTo>
                  <a:lnTo>
                    <a:pt x="278" y="428"/>
                  </a:lnTo>
                  <a:lnTo>
                    <a:pt x="278" y="428"/>
                  </a:lnTo>
                  <a:lnTo>
                    <a:pt x="280" y="428"/>
                  </a:lnTo>
                  <a:lnTo>
                    <a:pt x="282" y="428"/>
                  </a:lnTo>
                  <a:lnTo>
                    <a:pt x="284" y="428"/>
                  </a:lnTo>
                  <a:lnTo>
                    <a:pt x="284" y="428"/>
                  </a:lnTo>
                  <a:lnTo>
                    <a:pt x="291" y="426"/>
                  </a:lnTo>
                  <a:lnTo>
                    <a:pt x="291" y="426"/>
                  </a:lnTo>
                  <a:lnTo>
                    <a:pt x="291" y="426"/>
                  </a:lnTo>
                  <a:lnTo>
                    <a:pt x="293" y="426"/>
                  </a:lnTo>
                  <a:lnTo>
                    <a:pt x="293" y="428"/>
                  </a:lnTo>
                  <a:lnTo>
                    <a:pt x="295" y="428"/>
                  </a:lnTo>
                  <a:lnTo>
                    <a:pt x="295" y="428"/>
                  </a:lnTo>
                  <a:lnTo>
                    <a:pt x="295" y="428"/>
                  </a:lnTo>
                  <a:lnTo>
                    <a:pt x="295" y="428"/>
                  </a:lnTo>
                  <a:lnTo>
                    <a:pt x="297" y="432"/>
                  </a:lnTo>
                  <a:lnTo>
                    <a:pt x="299" y="434"/>
                  </a:lnTo>
                  <a:lnTo>
                    <a:pt x="299" y="434"/>
                  </a:lnTo>
                  <a:lnTo>
                    <a:pt x="299" y="436"/>
                  </a:lnTo>
                  <a:lnTo>
                    <a:pt x="299" y="436"/>
                  </a:lnTo>
                  <a:lnTo>
                    <a:pt x="299" y="438"/>
                  </a:lnTo>
                  <a:lnTo>
                    <a:pt x="299" y="438"/>
                  </a:lnTo>
                  <a:lnTo>
                    <a:pt x="299" y="438"/>
                  </a:lnTo>
                  <a:lnTo>
                    <a:pt x="301" y="438"/>
                  </a:lnTo>
                  <a:lnTo>
                    <a:pt x="303" y="440"/>
                  </a:lnTo>
                  <a:lnTo>
                    <a:pt x="303" y="440"/>
                  </a:lnTo>
                  <a:lnTo>
                    <a:pt x="305" y="440"/>
                  </a:lnTo>
                  <a:lnTo>
                    <a:pt x="305" y="438"/>
                  </a:lnTo>
                  <a:lnTo>
                    <a:pt x="305" y="438"/>
                  </a:lnTo>
                  <a:lnTo>
                    <a:pt x="305" y="438"/>
                  </a:lnTo>
                  <a:lnTo>
                    <a:pt x="303" y="436"/>
                  </a:lnTo>
                  <a:lnTo>
                    <a:pt x="303" y="434"/>
                  </a:lnTo>
                  <a:lnTo>
                    <a:pt x="303" y="434"/>
                  </a:lnTo>
                  <a:lnTo>
                    <a:pt x="305" y="432"/>
                  </a:lnTo>
                  <a:lnTo>
                    <a:pt x="303" y="432"/>
                  </a:lnTo>
                  <a:lnTo>
                    <a:pt x="303" y="432"/>
                  </a:lnTo>
                  <a:lnTo>
                    <a:pt x="303" y="430"/>
                  </a:lnTo>
                  <a:lnTo>
                    <a:pt x="301" y="430"/>
                  </a:lnTo>
                  <a:lnTo>
                    <a:pt x="301" y="430"/>
                  </a:lnTo>
                  <a:lnTo>
                    <a:pt x="301" y="428"/>
                  </a:lnTo>
                  <a:lnTo>
                    <a:pt x="301" y="428"/>
                  </a:lnTo>
                  <a:lnTo>
                    <a:pt x="301" y="426"/>
                  </a:lnTo>
                  <a:lnTo>
                    <a:pt x="301" y="426"/>
                  </a:lnTo>
                  <a:lnTo>
                    <a:pt x="299" y="425"/>
                  </a:lnTo>
                  <a:lnTo>
                    <a:pt x="299" y="425"/>
                  </a:lnTo>
                  <a:lnTo>
                    <a:pt x="299" y="425"/>
                  </a:lnTo>
                  <a:lnTo>
                    <a:pt x="299" y="423"/>
                  </a:lnTo>
                  <a:lnTo>
                    <a:pt x="299" y="423"/>
                  </a:lnTo>
                  <a:lnTo>
                    <a:pt x="301" y="421"/>
                  </a:lnTo>
                  <a:lnTo>
                    <a:pt x="301" y="419"/>
                  </a:lnTo>
                  <a:lnTo>
                    <a:pt x="301" y="419"/>
                  </a:lnTo>
                  <a:lnTo>
                    <a:pt x="301" y="419"/>
                  </a:lnTo>
                  <a:lnTo>
                    <a:pt x="301" y="419"/>
                  </a:lnTo>
                  <a:lnTo>
                    <a:pt x="299" y="417"/>
                  </a:lnTo>
                  <a:lnTo>
                    <a:pt x="299" y="417"/>
                  </a:lnTo>
                  <a:lnTo>
                    <a:pt x="299" y="417"/>
                  </a:lnTo>
                  <a:lnTo>
                    <a:pt x="299" y="417"/>
                  </a:lnTo>
                  <a:lnTo>
                    <a:pt x="299" y="417"/>
                  </a:lnTo>
                  <a:lnTo>
                    <a:pt x="301" y="415"/>
                  </a:lnTo>
                  <a:lnTo>
                    <a:pt x="303" y="413"/>
                  </a:lnTo>
                  <a:lnTo>
                    <a:pt x="303" y="413"/>
                  </a:lnTo>
                  <a:lnTo>
                    <a:pt x="303" y="413"/>
                  </a:lnTo>
                  <a:lnTo>
                    <a:pt x="305" y="413"/>
                  </a:lnTo>
                  <a:lnTo>
                    <a:pt x="308" y="413"/>
                  </a:lnTo>
                  <a:lnTo>
                    <a:pt x="310" y="411"/>
                  </a:lnTo>
                  <a:lnTo>
                    <a:pt x="310" y="411"/>
                  </a:lnTo>
                  <a:lnTo>
                    <a:pt x="310" y="411"/>
                  </a:lnTo>
                  <a:lnTo>
                    <a:pt x="310" y="411"/>
                  </a:lnTo>
                  <a:lnTo>
                    <a:pt x="310" y="409"/>
                  </a:lnTo>
                  <a:lnTo>
                    <a:pt x="310" y="409"/>
                  </a:lnTo>
                  <a:lnTo>
                    <a:pt x="310" y="407"/>
                  </a:lnTo>
                  <a:lnTo>
                    <a:pt x="310" y="406"/>
                  </a:lnTo>
                  <a:lnTo>
                    <a:pt x="310" y="406"/>
                  </a:lnTo>
                  <a:lnTo>
                    <a:pt x="310" y="404"/>
                  </a:lnTo>
                  <a:lnTo>
                    <a:pt x="310" y="402"/>
                  </a:lnTo>
                  <a:lnTo>
                    <a:pt x="310" y="402"/>
                  </a:lnTo>
                  <a:lnTo>
                    <a:pt x="310" y="402"/>
                  </a:lnTo>
                  <a:lnTo>
                    <a:pt x="310" y="402"/>
                  </a:lnTo>
                  <a:lnTo>
                    <a:pt x="307" y="400"/>
                  </a:lnTo>
                  <a:lnTo>
                    <a:pt x="307" y="400"/>
                  </a:lnTo>
                  <a:lnTo>
                    <a:pt x="307" y="400"/>
                  </a:lnTo>
                  <a:lnTo>
                    <a:pt x="307" y="400"/>
                  </a:lnTo>
                  <a:lnTo>
                    <a:pt x="307" y="400"/>
                  </a:lnTo>
                  <a:lnTo>
                    <a:pt x="307" y="398"/>
                  </a:lnTo>
                  <a:lnTo>
                    <a:pt x="305" y="398"/>
                  </a:lnTo>
                  <a:lnTo>
                    <a:pt x="305" y="398"/>
                  </a:lnTo>
                  <a:lnTo>
                    <a:pt x="305" y="398"/>
                  </a:lnTo>
                  <a:lnTo>
                    <a:pt x="303" y="398"/>
                  </a:lnTo>
                  <a:lnTo>
                    <a:pt x="303" y="398"/>
                  </a:lnTo>
                  <a:lnTo>
                    <a:pt x="301" y="398"/>
                  </a:lnTo>
                  <a:lnTo>
                    <a:pt x="301" y="398"/>
                  </a:lnTo>
                  <a:lnTo>
                    <a:pt x="301" y="400"/>
                  </a:lnTo>
                  <a:lnTo>
                    <a:pt x="301" y="400"/>
                  </a:lnTo>
                  <a:lnTo>
                    <a:pt x="301" y="402"/>
                  </a:lnTo>
                  <a:lnTo>
                    <a:pt x="301" y="402"/>
                  </a:lnTo>
                  <a:lnTo>
                    <a:pt x="303" y="404"/>
                  </a:lnTo>
                  <a:lnTo>
                    <a:pt x="305" y="406"/>
                  </a:lnTo>
                  <a:lnTo>
                    <a:pt x="303" y="406"/>
                  </a:lnTo>
                  <a:lnTo>
                    <a:pt x="303" y="406"/>
                  </a:lnTo>
                  <a:lnTo>
                    <a:pt x="303" y="406"/>
                  </a:lnTo>
                  <a:lnTo>
                    <a:pt x="301" y="406"/>
                  </a:lnTo>
                  <a:lnTo>
                    <a:pt x="299" y="404"/>
                  </a:lnTo>
                  <a:lnTo>
                    <a:pt x="299" y="402"/>
                  </a:lnTo>
                  <a:lnTo>
                    <a:pt x="297" y="402"/>
                  </a:lnTo>
                  <a:lnTo>
                    <a:pt x="297" y="402"/>
                  </a:lnTo>
                  <a:lnTo>
                    <a:pt x="293" y="402"/>
                  </a:lnTo>
                  <a:lnTo>
                    <a:pt x="293" y="400"/>
                  </a:lnTo>
                  <a:lnTo>
                    <a:pt x="291" y="400"/>
                  </a:lnTo>
                  <a:lnTo>
                    <a:pt x="291" y="398"/>
                  </a:lnTo>
                  <a:lnTo>
                    <a:pt x="291" y="398"/>
                  </a:lnTo>
                  <a:lnTo>
                    <a:pt x="291" y="398"/>
                  </a:lnTo>
                  <a:lnTo>
                    <a:pt x="291" y="398"/>
                  </a:lnTo>
                  <a:lnTo>
                    <a:pt x="291" y="398"/>
                  </a:lnTo>
                  <a:lnTo>
                    <a:pt x="289" y="398"/>
                  </a:lnTo>
                  <a:lnTo>
                    <a:pt x="287" y="398"/>
                  </a:lnTo>
                  <a:lnTo>
                    <a:pt x="286" y="398"/>
                  </a:lnTo>
                  <a:lnTo>
                    <a:pt x="284" y="398"/>
                  </a:lnTo>
                  <a:lnTo>
                    <a:pt x="282" y="398"/>
                  </a:lnTo>
                  <a:lnTo>
                    <a:pt x="282" y="396"/>
                  </a:lnTo>
                  <a:lnTo>
                    <a:pt x="280" y="396"/>
                  </a:lnTo>
                  <a:lnTo>
                    <a:pt x="280" y="396"/>
                  </a:lnTo>
                  <a:lnTo>
                    <a:pt x="278" y="398"/>
                  </a:lnTo>
                  <a:lnTo>
                    <a:pt x="278" y="400"/>
                  </a:lnTo>
                  <a:lnTo>
                    <a:pt x="276" y="402"/>
                  </a:lnTo>
                  <a:lnTo>
                    <a:pt x="276" y="402"/>
                  </a:lnTo>
                  <a:lnTo>
                    <a:pt x="276" y="402"/>
                  </a:lnTo>
                  <a:lnTo>
                    <a:pt x="276" y="406"/>
                  </a:lnTo>
                  <a:lnTo>
                    <a:pt x="276" y="406"/>
                  </a:lnTo>
                  <a:lnTo>
                    <a:pt x="276" y="406"/>
                  </a:lnTo>
                  <a:lnTo>
                    <a:pt x="274" y="407"/>
                  </a:lnTo>
                  <a:lnTo>
                    <a:pt x="274" y="407"/>
                  </a:lnTo>
                  <a:lnTo>
                    <a:pt x="272" y="407"/>
                  </a:lnTo>
                  <a:lnTo>
                    <a:pt x="270" y="406"/>
                  </a:lnTo>
                  <a:lnTo>
                    <a:pt x="268" y="406"/>
                  </a:lnTo>
                  <a:lnTo>
                    <a:pt x="265" y="406"/>
                  </a:lnTo>
                  <a:lnTo>
                    <a:pt x="259" y="404"/>
                  </a:lnTo>
                  <a:lnTo>
                    <a:pt x="259" y="404"/>
                  </a:lnTo>
                  <a:lnTo>
                    <a:pt x="259" y="402"/>
                  </a:lnTo>
                  <a:lnTo>
                    <a:pt x="261" y="402"/>
                  </a:lnTo>
                  <a:lnTo>
                    <a:pt x="261" y="402"/>
                  </a:lnTo>
                  <a:lnTo>
                    <a:pt x="261" y="400"/>
                  </a:lnTo>
                  <a:lnTo>
                    <a:pt x="261" y="400"/>
                  </a:lnTo>
                  <a:lnTo>
                    <a:pt x="261" y="400"/>
                  </a:lnTo>
                  <a:lnTo>
                    <a:pt x="257" y="398"/>
                  </a:lnTo>
                  <a:lnTo>
                    <a:pt x="257" y="398"/>
                  </a:lnTo>
                  <a:lnTo>
                    <a:pt x="255" y="396"/>
                  </a:lnTo>
                  <a:lnTo>
                    <a:pt x="255" y="396"/>
                  </a:lnTo>
                  <a:lnTo>
                    <a:pt x="255" y="394"/>
                  </a:lnTo>
                  <a:lnTo>
                    <a:pt x="255" y="394"/>
                  </a:lnTo>
                  <a:lnTo>
                    <a:pt x="255" y="392"/>
                  </a:lnTo>
                  <a:lnTo>
                    <a:pt x="255" y="392"/>
                  </a:lnTo>
                  <a:lnTo>
                    <a:pt x="255" y="390"/>
                  </a:lnTo>
                  <a:lnTo>
                    <a:pt x="255" y="390"/>
                  </a:lnTo>
                  <a:lnTo>
                    <a:pt x="257" y="390"/>
                  </a:lnTo>
                  <a:lnTo>
                    <a:pt x="257" y="390"/>
                  </a:lnTo>
                  <a:lnTo>
                    <a:pt x="257" y="390"/>
                  </a:lnTo>
                  <a:lnTo>
                    <a:pt x="257" y="390"/>
                  </a:lnTo>
                  <a:lnTo>
                    <a:pt x="259" y="390"/>
                  </a:lnTo>
                  <a:lnTo>
                    <a:pt x="259" y="390"/>
                  </a:lnTo>
                  <a:lnTo>
                    <a:pt x="259" y="390"/>
                  </a:lnTo>
                  <a:lnTo>
                    <a:pt x="259" y="390"/>
                  </a:lnTo>
                  <a:lnTo>
                    <a:pt x="261" y="388"/>
                  </a:lnTo>
                  <a:lnTo>
                    <a:pt x="261" y="388"/>
                  </a:lnTo>
                  <a:lnTo>
                    <a:pt x="261" y="387"/>
                  </a:lnTo>
                  <a:lnTo>
                    <a:pt x="261" y="387"/>
                  </a:lnTo>
                  <a:lnTo>
                    <a:pt x="261" y="385"/>
                  </a:lnTo>
                  <a:lnTo>
                    <a:pt x="261" y="385"/>
                  </a:lnTo>
                  <a:lnTo>
                    <a:pt x="261" y="383"/>
                  </a:lnTo>
                  <a:lnTo>
                    <a:pt x="261" y="383"/>
                  </a:lnTo>
                  <a:lnTo>
                    <a:pt x="259" y="383"/>
                  </a:lnTo>
                  <a:lnTo>
                    <a:pt x="257" y="383"/>
                  </a:lnTo>
                  <a:lnTo>
                    <a:pt x="255" y="383"/>
                  </a:lnTo>
                  <a:lnTo>
                    <a:pt x="255" y="383"/>
                  </a:lnTo>
                  <a:lnTo>
                    <a:pt x="255" y="383"/>
                  </a:lnTo>
                  <a:lnTo>
                    <a:pt x="253" y="383"/>
                  </a:lnTo>
                  <a:lnTo>
                    <a:pt x="253" y="383"/>
                  </a:lnTo>
                  <a:lnTo>
                    <a:pt x="251" y="383"/>
                  </a:lnTo>
                  <a:lnTo>
                    <a:pt x="251" y="383"/>
                  </a:lnTo>
                  <a:lnTo>
                    <a:pt x="251" y="383"/>
                  </a:lnTo>
                  <a:lnTo>
                    <a:pt x="251" y="381"/>
                  </a:lnTo>
                  <a:lnTo>
                    <a:pt x="249" y="379"/>
                  </a:lnTo>
                  <a:lnTo>
                    <a:pt x="249" y="379"/>
                  </a:lnTo>
                  <a:lnTo>
                    <a:pt x="249" y="377"/>
                  </a:lnTo>
                  <a:lnTo>
                    <a:pt x="247" y="377"/>
                  </a:lnTo>
                  <a:lnTo>
                    <a:pt x="247" y="377"/>
                  </a:lnTo>
                  <a:lnTo>
                    <a:pt x="246" y="377"/>
                  </a:lnTo>
                  <a:lnTo>
                    <a:pt x="246" y="375"/>
                  </a:lnTo>
                  <a:lnTo>
                    <a:pt x="246" y="375"/>
                  </a:lnTo>
                  <a:lnTo>
                    <a:pt x="244" y="371"/>
                  </a:lnTo>
                  <a:lnTo>
                    <a:pt x="244" y="369"/>
                  </a:lnTo>
                  <a:lnTo>
                    <a:pt x="244" y="367"/>
                  </a:lnTo>
                  <a:lnTo>
                    <a:pt x="244" y="366"/>
                  </a:lnTo>
                  <a:lnTo>
                    <a:pt x="246" y="364"/>
                  </a:lnTo>
                  <a:lnTo>
                    <a:pt x="246" y="362"/>
                  </a:lnTo>
                  <a:lnTo>
                    <a:pt x="246" y="360"/>
                  </a:lnTo>
                  <a:lnTo>
                    <a:pt x="246" y="360"/>
                  </a:lnTo>
                  <a:lnTo>
                    <a:pt x="246" y="356"/>
                  </a:lnTo>
                  <a:lnTo>
                    <a:pt x="246" y="356"/>
                  </a:lnTo>
                  <a:lnTo>
                    <a:pt x="247" y="356"/>
                  </a:lnTo>
                  <a:lnTo>
                    <a:pt x="249" y="354"/>
                  </a:lnTo>
                  <a:lnTo>
                    <a:pt x="249" y="354"/>
                  </a:lnTo>
                  <a:lnTo>
                    <a:pt x="249" y="354"/>
                  </a:lnTo>
                  <a:lnTo>
                    <a:pt x="249" y="354"/>
                  </a:lnTo>
                  <a:lnTo>
                    <a:pt x="251" y="347"/>
                  </a:lnTo>
                  <a:lnTo>
                    <a:pt x="251" y="345"/>
                  </a:lnTo>
                  <a:lnTo>
                    <a:pt x="251" y="343"/>
                  </a:lnTo>
                  <a:lnTo>
                    <a:pt x="251" y="341"/>
                  </a:lnTo>
                  <a:lnTo>
                    <a:pt x="251" y="341"/>
                  </a:lnTo>
                  <a:lnTo>
                    <a:pt x="251" y="339"/>
                  </a:lnTo>
                  <a:lnTo>
                    <a:pt x="251" y="339"/>
                  </a:lnTo>
                  <a:lnTo>
                    <a:pt x="249" y="339"/>
                  </a:lnTo>
                  <a:lnTo>
                    <a:pt x="249" y="339"/>
                  </a:lnTo>
                  <a:lnTo>
                    <a:pt x="249" y="337"/>
                  </a:lnTo>
                  <a:lnTo>
                    <a:pt x="247" y="337"/>
                  </a:lnTo>
                  <a:lnTo>
                    <a:pt x="246" y="337"/>
                  </a:lnTo>
                  <a:lnTo>
                    <a:pt x="246" y="337"/>
                  </a:lnTo>
                  <a:lnTo>
                    <a:pt x="244" y="335"/>
                  </a:lnTo>
                  <a:lnTo>
                    <a:pt x="242" y="335"/>
                  </a:lnTo>
                  <a:lnTo>
                    <a:pt x="242" y="335"/>
                  </a:lnTo>
                  <a:lnTo>
                    <a:pt x="242" y="335"/>
                  </a:lnTo>
                  <a:lnTo>
                    <a:pt x="242" y="333"/>
                  </a:lnTo>
                  <a:lnTo>
                    <a:pt x="244" y="333"/>
                  </a:lnTo>
                  <a:lnTo>
                    <a:pt x="244" y="333"/>
                  </a:lnTo>
                  <a:lnTo>
                    <a:pt x="244" y="331"/>
                  </a:lnTo>
                  <a:lnTo>
                    <a:pt x="244" y="331"/>
                  </a:lnTo>
                  <a:lnTo>
                    <a:pt x="244" y="329"/>
                  </a:lnTo>
                  <a:lnTo>
                    <a:pt x="244" y="328"/>
                  </a:lnTo>
                  <a:lnTo>
                    <a:pt x="246" y="326"/>
                  </a:lnTo>
                  <a:lnTo>
                    <a:pt x="247" y="326"/>
                  </a:lnTo>
                  <a:lnTo>
                    <a:pt x="255" y="329"/>
                  </a:lnTo>
                  <a:lnTo>
                    <a:pt x="257" y="329"/>
                  </a:lnTo>
                  <a:lnTo>
                    <a:pt x="259" y="329"/>
                  </a:lnTo>
                  <a:lnTo>
                    <a:pt x="261" y="331"/>
                  </a:lnTo>
                  <a:lnTo>
                    <a:pt x="263" y="331"/>
                  </a:lnTo>
                  <a:lnTo>
                    <a:pt x="263" y="331"/>
                  </a:lnTo>
                  <a:lnTo>
                    <a:pt x="265" y="331"/>
                  </a:lnTo>
                  <a:lnTo>
                    <a:pt x="265" y="331"/>
                  </a:lnTo>
                  <a:lnTo>
                    <a:pt x="266" y="331"/>
                  </a:lnTo>
                  <a:lnTo>
                    <a:pt x="266" y="331"/>
                  </a:lnTo>
                  <a:lnTo>
                    <a:pt x="268" y="331"/>
                  </a:lnTo>
                  <a:lnTo>
                    <a:pt x="268" y="331"/>
                  </a:lnTo>
                  <a:lnTo>
                    <a:pt x="268" y="331"/>
                  </a:lnTo>
                  <a:lnTo>
                    <a:pt x="270" y="331"/>
                  </a:lnTo>
                  <a:lnTo>
                    <a:pt x="270" y="333"/>
                  </a:lnTo>
                  <a:lnTo>
                    <a:pt x="270" y="333"/>
                  </a:lnTo>
                  <a:lnTo>
                    <a:pt x="270" y="333"/>
                  </a:lnTo>
                  <a:lnTo>
                    <a:pt x="272" y="333"/>
                  </a:lnTo>
                  <a:lnTo>
                    <a:pt x="272" y="333"/>
                  </a:lnTo>
                  <a:lnTo>
                    <a:pt x="272" y="333"/>
                  </a:lnTo>
                  <a:lnTo>
                    <a:pt x="276" y="329"/>
                  </a:lnTo>
                  <a:lnTo>
                    <a:pt x="276" y="329"/>
                  </a:lnTo>
                  <a:lnTo>
                    <a:pt x="276" y="328"/>
                  </a:lnTo>
                  <a:lnTo>
                    <a:pt x="278" y="326"/>
                  </a:lnTo>
                  <a:lnTo>
                    <a:pt x="278" y="324"/>
                  </a:lnTo>
                  <a:lnTo>
                    <a:pt x="278" y="324"/>
                  </a:lnTo>
                  <a:lnTo>
                    <a:pt x="280" y="324"/>
                  </a:lnTo>
                  <a:lnTo>
                    <a:pt x="280" y="322"/>
                  </a:lnTo>
                  <a:lnTo>
                    <a:pt x="280" y="322"/>
                  </a:lnTo>
                  <a:lnTo>
                    <a:pt x="280" y="320"/>
                  </a:lnTo>
                  <a:lnTo>
                    <a:pt x="280" y="320"/>
                  </a:lnTo>
                  <a:lnTo>
                    <a:pt x="280" y="316"/>
                  </a:lnTo>
                  <a:lnTo>
                    <a:pt x="280" y="316"/>
                  </a:lnTo>
                  <a:lnTo>
                    <a:pt x="278" y="310"/>
                  </a:lnTo>
                  <a:lnTo>
                    <a:pt x="278" y="305"/>
                  </a:lnTo>
                  <a:lnTo>
                    <a:pt x="276" y="303"/>
                  </a:lnTo>
                  <a:lnTo>
                    <a:pt x="276" y="303"/>
                  </a:lnTo>
                  <a:lnTo>
                    <a:pt x="274" y="303"/>
                  </a:lnTo>
                  <a:lnTo>
                    <a:pt x="272" y="301"/>
                  </a:lnTo>
                  <a:lnTo>
                    <a:pt x="270" y="301"/>
                  </a:lnTo>
                  <a:lnTo>
                    <a:pt x="270" y="301"/>
                  </a:lnTo>
                  <a:lnTo>
                    <a:pt x="270" y="299"/>
                  </a:lnTo>
                  <a:lnTo>
                    <a:pt x="268" y="293"/>
                  </a:lnTo>
                  <a:lnTo>
                    <a:pt x="268" y="293"/>
                  </a:lnTo>
                  <a:lnTo>
                    <a:pt x="268" y="291"/>
                  </a:lnTo>
                  <a:lnTo>
                    <a:pt x="268" y="291"/>
                  </a:lnTo>
                  <a:lnTo>
                    <a:pt x="266" y="291"/>
                  </a:lnTo>
                  <a:lnTo>
                    <a:pt x="266" y="290"/>
                  </a:lnTo>
                  <a:lnTo>
                    <a:pt x="266" y="288"/>
                  </a:lnTo>
                  <a:lnTo>
                    <a:pt x="265" y="286"/>
                  </a:lnTo>
                  <a:lnTo>
                    <a:pt x="265" y="286"/>
                  </a:lnTo>
                  <a:lnTo>
                    <a:pt x="265" y="286"/>
                  </a:lnTo>
                  <a:lnTo>
                    <a:pt x="265" y="284"/>
                  </a:lnTo>
                  <a:lnTo>
                    <a:pt x="265" y="284"/>
                  </a:lnTo>
                  <a:lnTo>
                    <a:pt x="266" y="284"/>
                  </a:lnTo>
                  <a:lnTo>
                    <a:pt x="268" y="286"/>
                  </a:lnTo>
                  <a:lnTo>
                    <a:pt x="268" y="286"/>
                  </a:lnTo>
                  <a:lnTo>
                    <a:pt x="268" y="286"/>
                  </a:lnTo>
                  <a:lnTo>
                    <a:pt x="268" y="286"/>
                  </a:lnTo>
                  <a:lnTo>
                    <a:pt x="268" y="284"/>
                  </a:lnTo>
                  <a:lnTo>
                    <a:pt x="268" y="280"/>
                  </a:lnTo>
                  <a:lnTo>
                    <a:pt x="268" y="274"/>
                  </a:lnTo>
                  <a:lnTo>
                    <a:pt x="268" y="274"/>
                  </a:lnTo>
                  <a:lnTo>
                    <a:pt x="268" y="274"/>
                  </a:lnTo>
                  <a:lnTo>
                    <a:pt x="268" y="274"/>
                  </a:lnTo>
                  <a:lnTo>
                    <a:pt x="268" y="272"/>
                  </a:lnTo>
                  <a:lnTo>
                    <a:pt x="270" y="270"/>
                  </a:lnTo>
                  <a:lnTo>
                    <a:pt x="270" y="270"/>
                  </a:lnTo>
                  <a:lnTo>
                    <a:pt x="272" y="270"/>
                  </a:lnTo>
                  <a:lnTo>
                    <a:pt x="272" y="270"/>
                  </a:lnTo>
                  <a:lnTo>
                    <a:pt x="272" y="270"/>
                  </a:lnTo>
                  <a:lnTo>
                    <a:pt x="274" y="270"/>
                  </a:lnTo>
                  <a:lnTo>
                    <a:pt x="274" y="270"/>
                  </a:lnTo>
                  <a:lnTo>
                    <a:pt x="276" y="270"/>
                  </a:lnTo>
                  <a:lnTo>
                    <a:pt x="276" y="270"/>
                  </a:lnTo>
                  <a:lnTo>
                    <a:pt x="274" y="269"/>
                  </a:lnTo>
                  <a:lnTo>
                    <a:pt x="274" y="265"/>
                  </a:lnTo>
                  <a:lnTo>
                    <a:pt x="272" y="263"/>
                  </a:lnTo>
                  <a:lnTo>
                    <a:pt x="272" y="263"/>
                  </a:lnTo>
                  <a:lnTo>
                    <a:pt x="272" y="263"/>
                  </a:lnTo>
                  <a:lnTo>
                    <a:pt x="272" y="263"/>
                  </a:lnTo>
                  <a:lnTo>
                    <a:pt x="270" y="263"/>
                  </a:lnTo>
                  <a:lnTo>
                    <a:pt x="270" y="261"/>
                  </a:lnTo>
                  <a:lnTo>
                    <a:pt x="270" y="259"/>
                  </a:lnTo>
                  <a:lnTo>
                    <a:pt x="270" y="255"/>
                  </a:lnTo>
                  <a:lnTo>
                    <a:pt x="270" y="253"/>
                  </a:lnTo>
                  <a:lnTo>
                    <a:pt x="270" y="251"/>
                  </a:lnTo>
                  <a:lnTo>
                    <a:pt x="270" y="250"/>
                  </a:lnTo>
                  <a:lnTo>
                    <a:pt x="274" y="246"/>
                  </a:lnTo>
                  <a:lnTo>
                    <a:pt x="282" y="242"/>
                  </a:lnTo>
                  <a:lnTo>
                    <a:pt x="284" y="242"/>
                  </a:lnTo>
                  <a:lnTo>
                    <a:pt x="289" y="240"/>
                  </a:lnTo>
                  <a:lnTo>
                    <a:pt x="289" y="240"/>
                  </a:lnTo>
                  <a:lnTo>
                    <a:pt x="291" y="242"/>
                  </a:lnTo>
                  <a:lnTo>
                    <a:pt x="293" y="242"/>
                  </a:lnTo>
                  <a:lnTo>
                    <a:pt x="297" y="242"/>
                  </a:lnTo>
                  <a:lnTo>
                    <a:pt x="308" y="242"/>
                  </a:lnTo>
                  <a:lnTo>
                    <a:pt x="308" y="242"/>
                  </a:lnTo>
                  <a:lnTo>
                    <a:pt x="308" y="242"/>
                  </a:lnTo>
                  <a:lnTo>
                    <a:pt x="310" y="242"/>
                  </a:lnTo>
                  <a:lnTo>
                    <a:pt x="312" y="240"/>
                  </a:lnTo>
                  <a:lnTo>
                    <a:pt x="312" y="238"/>
                  </a:lnTo>
                  <a:lnTo>
                    <a:pt x="312" y="238"/>
                  </a:lnTo>
                  <a:lnTo>
                    <a:pt x="312" y="234"/>
                  </a:lnTo>
                  <a:lnTo>
                    <a:pt x="312" y="232"/>
                  </a:lnTo>
                  <a:lnTo>
                    <a:pt x="312" y="229"/>
                  </a:lnTo>
                  <a:lnTo>
                    <a:pt x="312" y="227"/>
                  </a:lnTo>
                  <a:lnTo>
                    <a:pt x="312" y="223"/>
                  </a:lnTo>
                  <a:lnTo>
                    <a:pt x="312" y="221"/>
                  </a:lnTo>
                  <a:lnTo>
                    <a:pt x="312" y="219"/>
                  </a:lnTo>
                  <a:lnTo>
                    <a:pt x="312" y="217"/>
                  </a:lnTo>
                  <a:lnTo>
                    <a:pt x="312" y="217"/>
                  </a:lnTo>
                  <a:lnTo>
                    <a:pt x="312" y="213"/>
                  </a:lnTo>
                  <a:lnTo>
                    <a:pt x="314" y="213"/>
                  </a:lnTo>
                  <a:lnTo>
                    <a:pt x="314" y="212"/>
                  </a:lnTo>
                  <a:lnTo>
                    <a:pt x="314" y="212"/>
                  </a:lnTo>
                  <a:lnTo>
                    <a:pt x="316" y="210"/>
                  </a:lnTo>
                  <a:lnTo>
                    <a:pt x="318" y="210"/>
                  </a:lnTo>
                  <a:lnTo>
                    <a:pt x="318" y="208"/>
                  </a:lnTo>
                  <a:lnTo>
                    <a:pt x="318" y="208"/>
                  </a:lnTo>
                  <a:lnTo>
                    <a:pt x="320" y="206"/>
                  </a:lnTo>
                  <a:lnTo>
                    <a:pt x="318" y="206"/>
                  </a:lnTo>
                  <a:lnTo>
                    <a:pt x="318" y="204"/>
                  </a:lnTo>
                  <a:lnTo>
                    <a:pt x="318" y="204"/>
                  </a:lnTo>
                  <a:lnTo>
                    <a:pt x="314" y="202"/>
                  </a:lnTo>
                  <a:lnTo>
                    <a:pt x="312" y="202"/>
                  </a:lnTo>
                  <a:lnTo>
                    <a:pt x="307" y="202"/>
                  </a:lnTo>
                  <a:lnTo>
                    <a:pt x="305" y="202"/>
                  </a:lnTo>
                  <a:lnTo>
                    <a:pt x="295" y="198"/>
                  </a:lnTo>
                  <a:lnTo>
                    <a:pt x="295" y="198"/>
                  </a:lnTo>
                  <a:lnTo>
                    <a:pt x="291" y="194"/>
                  </a:lnTo>
                  <a:lnTo>
                    <a:pt x="291" y="194"/>
                  </a:lnTo>
                  <a:lnTo>
                    <a:pt x="293" y="194"/>
                  </a:lnTo>
                  <a:lnTo>
                    <a:pt x="297" y="191"/>
                  </a:lnTo>
                  <a:lnTo>
                    <a:pt x="299" y="189"/>
                  </a:lnTo>
                  <a:lnTo>
                    <a:pt x="303" y="189"/>
                  </a:lnTo>
                  <a:lnTo>
                    <a:pt x="303" y="187"/>
                  </a:lnTo>
                  <a:lnTo>
                    <a:pt x="303" y="187"/>
                  </a:lnTo>
                  <a:lnTo>
                    <a:pt x="303" y="185"/>
                  </a:lnTo>
                  <a:lnTo>
                    <a:pt x="305" y="183"/>
                  </a:lnTo>
                  <a:lnTo>
                    <a:pt x="305" y="183"/>
                  </a:lnTo>
                  <a:lnTo>
                    <a:pt x="307" y="183"/>
                  </a:lnTo>
                  <a:lnTo>
                    <a:pt x="307" y="181"/>
                  </a:lnTo>
                  <a:lnTo>
                    <a:pt x="308" y="181"/>
                  </a:lnTo>
                  <a:lnTo>
                    <a:pt x="308" y="179"/>
                  </a:lnTo>
                  <a:lnTo>
                    <a:pt x="308" y="179"/>
                  </a:lnTo>
                  <a:lnTo>
                    <a:pt x="308" y="177"/>
                  </a:lnTo>
                  <a:lnTo>
                    <a:pt x="308" y="177"/>
                  </a:lnTo>
                  <a:lnTo>
                    <a:pt x="308" y="175"/>
                  </a:lnTo>
                  <a:lnTo>
                    <a:pt x="308" y="175"/>
                  </a:lnTo>
                  <a:lnTo>
                    <a:pt x="308" y="175"/>
                  </a:lnTo>
                  <a:lnTo>
                    <a:pt x="307" y="175"/>
                  </a:lnTo>
                  <a:lnTo>
                    <a:pt x="307" y="175"/>
                  </a:lnTo>
                  <a:lnTo>
                    <a:pt x="307" y="175"/>
                  </a:lnTo>
                  <a:lnTo>
                    <a:pt x="307" y="175"/>
                  </a:lnTo>
                  <a:lnTo>
                    <a:pt x="307" y="174"/>
                  </a:lnTo>
                  <a:lnTo>
                    <a:pt x="307" y="174"/>
                  </a:lnTo>
                  <a:lnTo>
                    <a:pt x="308" y="172"/>
                  </a:lnTo>
                  <a:lnTo>
                    <a:pt x="308" y="172"/>
                  </a:lnTo>
                  <a:lnTo>
                    <a:pt x="308" y="172"/>
                  </a:lnTo>
                  <a:lnTo>
                    <a:pt x="308" y="170"/>
                  </a:lnTo>
                  <a:lnTo>
                    <a:pt x="307" y="170"/>
                  </a:lnTo>
                  <a:lnTo>
                    <a:pt x="307" y="170"/>
                  </a:lnTo>
                  <a:lnTo>
                    <a:pt x="307" y="168"/>
                  </a:lnTo>
                  <a:lnTo>
                    <a:pt x="307" y="168"/>
                  </a:lnTo>
                  <a:lnTo>
                    <a:pt x="307" y="164"/>
                  </a:lnTo>
                  <a:lnTo>
                    <a:pt x="307" y="162"/>
                  </a:lnTo>
                  <a:lnTo>
                    <a:pt x="307" y="162"/>
                  </a:lnTo>
                  <a:lnTo>
                    <a:pt x="308" y="162"/>
                  </a:lnTo>
                  <a:lnTo>
                    <a:pt x="308" y="160"/>
                  </a:lnTo>
                  <a:lnTo>
                    <a:pt x="308" y="149"/>
                  </a:lnTo>
                  <a:lnTo>
                    <a:pt x="308" y="147"/>
                  </a:lnTo>
                  <a:lnTo>
                    <a:pt x="308" y="145"/>
                  </a:lnTo>
                  <a:lnTo>
                    <a:pt x="310" y="143"/>
                  </a:lnTo>
                  <a:lnTo>
                    <a:pt x="310" y="141"/>
                  </a:lnTo>
                  <a:lnTo>
                    <a:pt x="310" y="139"/>
                  </a:lnTo>
                  <a:lnTo>
                    <a:pt x="310" y="137"/>
                  </a:lnTo>
                  <a:lnTo>
                    <a:pt x="308" y="134"/>
                  </a:lnTo>
                  <a:lnTo>
                    <a:pt x="308" y="134"/>
                  </a:lnTo>
                  <a:lnTo>
                    <a:pt x="307" y="130"/>
                  </a:lnTo>
                  <a:lnTo>
                    <a:pt x="307" y="128"/>
                  </a:lnTo>
                  <a:lnTo>
                    <a:pt x="307" y="128"/>
                  </a:lnTo>
                  <a:lnTo>
                    <a:pt x="305" y="128"/>
                  </a:lnTo>
                  <a:lnTo>
                    <a:pt x="303" y="126"/>
                  </a:lnTo>
                  <a:lnTo>
                    <a:pt x="303" y="126"/>
                  </a:lnTo>
                  <a:lnTo>
                    <a:pt x="303" y="126"/>
                  </a:lnTo>
                  <a:lnTo>
                    <a:pt x="301" y="124"/>
                  </a:lnTo>
                  <a:lnTo>
                    <a:pt x="301" y="124"/>
                  </a:lnTo>
                  <a:lnTo>
                    <a:pt x="303" y="120"/>
                  </a:lnTo>
                  <a:lnTo>
                    <a:pt x="314" y="105"/>
                  </a:lnTo>
                  <a:lnTo>
                    <a:pt x="314" y="103"/>
                  </a:lnTo>
                  <a:lnTo>
                    <a:pt x="316" y="101"/>
                  </a:lnTo>
                  <a:lnTo>
                    <a:pt x="316" y="101"/>
                  </a:lnTo>
                  <a:lnTo>
                    <a:pt x="318" y="99"/>
                  </a:lnTo>
                  <a:lnTo>
                    <a:pt x="318" y="99"/>
                  </a:lnTo>
                  <a:lnTo>
                    <a:pt x="320" y="99"/>
                  </a:lnTo>
                  <a:lnTo>
                    <a:pt x="320" y="99"/>
                  </a:lnTo>
                  <a:lnTo>
                    <a:pt x="322" y="97"/>
                  </a:lnTo>
                  <a:lnTo>
                    <a:pt x="322" y="97"/>
                  </a:lnTo>
                  <a:lnTo>
                    <a:pt x="322" y="96"/>
                  </a:lnTo>
                  <a:lnTo>
                    <a:pt x="324" y="96"/>
                  </a:lnTo>
                  <a:lnTo>
                    <a:pt x="327" y="94"/>
                  </a:lnTo>
                  <a:lnTo>
                    <a:pt x="327" y="94"/>
                  </a:lnTo>
                  <a:lnTo>
                    <a:pt x="327" y="94"/>
                  </a:lnTo>
                  <a:lnTo>
                    <a:pt x="331" y="88"/>
                  </a:lnTo>
                  <a:lnTo>
                    <a:pt x="331" y="88"/>
                  </a:lnTo>
                  <a:lnTo>
                    <a:pt x="331" y="86"/>
                  </a:lnTo>
                  <a:lnTo>
                    <a:pt x="329" y="86"/>
                  </a:lnTo>
                  <a:lnTo>
                    <a:pt x="327" y="86"/>
                  </a:lnTo>
                  <a:lnTo>
                    <a:pt x="327" y="88"/>
                  </a:lnTo>
                  <a:lnTo>
                    <a:pt x="326" y="88"/>
                  </a:lnTo>
                  <a:lnTo>
                    <a:pt x="324" y="90"/>
                  </a:lnTo>
                  <a:lnTo>
                    <a:pt x="324" y="90"/>
                  </a:lnTo>
                  <a:lnTo>
                    <a:pt x="322" y="90"/>
                  </a:lnTo>
                  <a:lnTo>
                    <a:pt x="322" y="88"/>
                  </a:lnTo>
                  <a:lnTo>
                    <a:pt x="322" y="86"/>
                  </a:lnTo>
                  <a:lnTo>
                    <a:pt x="318" y="86"/>
                  </a:lnTo>
                  <a:lnTo>
                    <a:pt x="318" y="86"/>
                  </a:lnTo>
                  <a:lnTo>
                    <a:pt x="316" y="86"/>
                  </a:lnTo>
                  <a:lnTo>
                    <a:pt x="314" y="86"/>
                  </a:lnTo>
                  <a:lnTo>
                    <a:pt x="314" y="86"/>
                  </a:lnTo>
                  <a:lnTo>
                    <a:pt x="312" y="86"/>
                  </a:lnTo>
                  <a:lnTo>
                    <a:pt x="310" y="84"/>
                  </a:lnTo>
                  <a:lnTo>
                    <a:pt x="310" y="84"/>
                  </a:lnTo>
                  <a:lnTo>
                    <a:pt x="307" y="82"/>
                  </a:lnTo>
                  <a:lnTo>
                    <a:pt x="307" y="80"/>
                  </a:lnTo>
                  <a:lnTo>
                    <a:pt x="307" y="78"/>
                  </a:lnTo>
                  <a:lnTo>
                    <a:pt x="310" y="75"/>
                  </a:lnTo>
                  <a:lnTo>
                    <a:pt x="310" y="73"/>
                  </a:lnTo>
                  <a:lnTo>
                    <a:pt x="312" y="73"/>
                  </a:lnTo>
                  <a:lnTo>
                    <a:pt x="312" y="73"/>
                  </a:lnTo>
                  <a:lnTo>
                    <a:pt x="316" y="71"/>
                  </a:lnTo>
                  <a:lnTo>
                    <a:pt x="316" y="71"/>
                  </a:lnTo>
                  <a:lnTo>
                    <a:pt x="316" y="69"/>
                  </a:lnTo>
                  <a:lnTo>
                    <a:pt x="318" y="69"/>
                  </a:lnTo>
                  <a:lnTo>
                    <a:pt x="316" y="67"/>
                  </a:lnTo>
                  <a:lnTo>
                    <a:pt x="316" y="67"/>
                  </a:lnTo>
                  <a:lnTo>
                    <a:pt x="316" y="65"/>
                  </a:lnTo>
                  <a:lnTo>
                    <a:pt x="314" y="65"/>
                  </a:lnTo>
                  <a:lnTo>
                    <a:pt x="314" y="63"/>
                  </a:lnTo>
                  <a:lnTo>
                    <a:pt x="314" y="63"/>
                  </a:lnTo>
                  <a:lnTo>
                    <a:pt x="314" y="63"/>
                  </a:lnTo>
                  <a:lnTo>
                    <a:pt x="314" y="63"/>
                  </a:lnTo>
                  <a:lnTo>
                    <a:pt x="314" y="61"/>
                  </a:lnTo>
                  <a:lnTo>
                    <a:pt x="316" y="61"/>
                  </a:lnTo>
                  <a:lnTo>
                    <a:pt x="316" y="59"/>
                  </a:lnTo>
                  <a:lnTo>
                    <a:pt x="316" y="59"/>
                  </a:lnTo>
                  <a:lnTo>
                    <a:pt x="318" y="59"/>
                  </a:lnTo>
                  <a:lnTo>
                    <a:pt x="318" y="59"/>
                  </a:lnTo>
                  <a:lnTo>
                    <a:pt x="320" y="57"/>
                  </a:lnTo>
                  <a:lnTo>
                    <a:pt x="326" y="52"/>
                  </a:lnTo>
                  <a:lnTo>
                    <a:pt x="326" y="52"/>
                  </a:lnTo>
                  <a:lnTo>
                    <a:pt x="326" y="52"/>
                  </a:lnTo>
                  <a:lnTo>
                    <a:pt x="326" y="50"/>
                  </a:lnTo>
                  <a:lnTo>
                    <a:pt x="326" y="46"/>
                  </a:lnTo>
                  <a:lnTo>
                    <a:pt x="324" y="44"/>
                  </a:lnTo>
                  <a:lnTo>
                    <a:pt x="324" y="42"/>
                  </a:lnTo>
                  <a:lnTo>
                    <a:pt x="324" y="40"/>
                  </a:lnTo>
                  <a:lnTo>
                    <a:pt x="320" y="38"/>
                  </a:lnTo>
                  <a:lnTo>
                    <a:pt x="320" y="38"/>
                  </a:lnTo>
                  <a:lnTo>
                    <a:pt x="320" y="37"/>
                  </a:lnTo>
                  <a:lnTo>
                    <a:pt x="320" y="37"/>
                  </a:lnTo>
                  <a:lnTo>
                    <a:pt x="320" y="37"/>
                  </a:lnTo>
                  <a:lnTo>
                    <a:pt x="320" y="35"/>
                  </a:lnTo>
                  <a:lnTo>
                    <a:pt x="322" y="35"/>
                  </a:lnTo>
                  <a:lnTo>
                    <a:pt x="322" y="35"/>
                  </a:lnTo>
                  <a:lnTo>
                    <a:pt x="324" y="35"/>
                  </a:lnTo>
                  <a:lnTo>
                    <a:pt x="324" y="35"/>
                  </a:lnTo>
                  <a:lnTo>
                    <a:pt x="324" y="33"/>
                  </a:lnTo>
                  <a:lnTo>
                    <a:pt x="322" y="29"/>
                  </a:lnTo>
                  <a:lnTo>
                    <a:pt x="320" y="23"/>
                  </a:lnTo>
                  <a:lnTo>
                    <a:pt x="320" y="23"/>
                  </a:lnTo>
                  <a:lnTo>
                    <a:pt x="320" y="21"/>
                  </a:lnTo>
                  <a:lnTo>
                    <a:pt x="322" y="19"/>
                  </a:lnTo>
                  <a:lnTo>
                    <a:pt x="322" y="19"/>
                  </a:lnTo>
                  <a:lnTo>
                    <a:pt x="322" y="18"/>
                  </a:lnTo>
                  <a:lnTo>
                    <a:pt x="322" y="18"/>
                  </a:lnTo>
                  <a:lnTo>
                    <a:pt x="318" y="16"/>
                  </a:lnTo>
                  <a:lnTo>
                    <a:pt x="314" y="16"/>
                  </a:lnTo>
                  <a:lnTo>
                    <a:pt x="314" y="16"/>
                  </a:lnTo>
                  <a:lnTo>
                    <a:pt x="314" y="16"/>
                  </a:lnTo>
                  <a:lnTo>
                    <a:pt x="312" y="18"/>
                  </a:lnTo>
                  <a:lnTo>
                    <a:pt x="310" y="18"/>
                  </a:lnTo>
                  <a:lnTo>
                    <a:pt x="308" y="18"/>
                  </a:lnTo>
                  <a:lnTo>
                    <a:pt x="308" y="18"/>
                  </a:lnTo>
                  <a:lnTo>
                    <a:pt x="308" y="18"/>
                  </a:lnTo>
                  <a:lnTo>
                    <a:pt x="308" y="18"/>
                  </a:lnTo>
                  <a:lnTo>
                    <a:pt x="307" y="16"/>
                  </a:lnTo>
                  <a:lnTo>
                    <a:pt x="307" y="14"/>
                  </a:lnTo>
                  <a:lnTo>
                    <a:pt x="305" y="14"/>
                  </a:lnTo>
                  <a:lnTo>
                    <a:pt x="303" y="12"/>
                  </a:lnTo>
                  <a:lnTo>
                    <a:pt x="301" y="12"/>
                  </a:lnTo>
                  <a:lnTo>
                    <a:pt x="301" y="12"/>
                  </a:lnTo>
                  <a:lnTo>
                    <a:pt x="299" y="10"/>
                  </a:lnTo>
                  <a:lnTo>
                    <a:pt x="299" y="10"/>
                  </a:lnTo>
                  <a:lnTo>
                    <a:pt x="299" y="4"/>
                  </a:lnTo>
                  <a:lnTo>
                    <a:pt x="299" y="4"/>
                  </a:lnTo>
                  <a:lnTo>
                    <a:pt x="299" y="2"/>
                  </a:lnTo>
                  <a:lnTo>
                    <a:pt x="297" y="2"/>
                  </a:lnTo>
                  <a:lnTo>
                    <a:pt x="297" y="0"/>
                  </a:lnTo>
                  <a:lnTo>
                    <a:pt x="295" y="0"/>
                  </a:lnTo>
                  <a:lnTo>
                    <a:pt x="295" y="0"/>
                  </a:lnTo>
                  <a:lnTo>
                    <a:pt x="293" y="0"/>
                  </a:lnTo>
                  <a:lnTo>
                    <a:pt x="293" y="2"/>
                  </a:lnTo>
                  <a:lnTo>
                    <a:pt x="289" y="6"/>
                  </a:lnTo>
                  <a:lnTo>
                    <a:pt x="289" y="6"/>
                  </a:lnTo>
                  <a:lnTo>
                    <a:pt x="289" y="8"/>
                  </a:lnTo>
                  <a:lnTo>
                    <a:pt x="289" y="12"/>
                  </a:lnTo>
                  <a:lnTo>
                    <a:pt x="289" y="14"/>
                  </a:lnTo>
                  <a:lnTo>
                    <a:pt x="289" y="14"/>
                  </a:lnTo>
                  <a:lnTo>
                    <a:pt x="287" y="16"/>
                  </a:lnTo>
                  <a:lnTo>
                    <a:pt x="287" y="16"/>
                  </a:lnTo>
                  <a:lnTo>
                    <a:pt x="287" y="16"/>
                  </a:lnTo>
                  <a:lnTo>
                    <a:pt x="284" y="18"/>
                  </a:lnTo>
                  <a:lnTo>
                    <a:pt x="278" y="21"/>
                  </a:lnTo>
                  <a:lnTo>
                    <a:pt x="278" y="21"/>
                  </a:lnTo>
                  <a:lnTo>
                    <a:pt x="276" y="23"/>
                  </a:lnTo>
                  <a:lnTo>
                    <a:pt x="276" y="23"/>
                  </a:lnTo>
                  <a:lnTo>
                    <a:pt x="276" y="25"/>
                  </a:lnTo>
                  <a:lnTo>
                    <a:pt x="276" y="27"/>
                  </a:lnTo>
                  <a:lnTo>
                    <a:pt x="276" y="27"/>
                  </a:lnTo>
                  <a:lnTo>
                    <a:pt x="274" y="27"/>
                  </a:lnTo>
                  <a:lnTo>
                    <a:pt x="272" y="27"/>
                  </a:lnTo>
                  <a:lnTo>
                    <a:pt x="272" y="27"/>
                  </a:lnTo>
                  <a:lnTo>
                    <a:pt x="270" y="27"/>
                  </a:lnTo>
                  <a:lnTo>
                    <a:pt x="268" y="27"/>
                  </a:lnTo>
                  <a:lnTo>
                    <a:pt x="268" y="29"/>
                  </a:lnTo>
                  <a:lnTo>
                    <a:pt x="268" y="29"/>
                  </a:lnTo>
                  <a:lnTo>
                    <a:pt x="265" y="27"/>
                  </a:lnTo>
                  <a:lnTo>
                    <a:pt x="263" y="27"/>
                  </a:lnTo>
                  <a:lnTo>
                    <a:pt x="261" y="29"/>
                  </a:lnTo>
                  <a:lnTo>
                    <a:pt x="259" y="31"/>
                  </a:lnTo>
                  <a:lnTo>
                    <a:pt x="259" y="31"/>
                  </a:lnTo>
                  <a:lnTo>
                    <a:pt x="259" y="35"/>
                  </a:lnTo>
                  <a:lnTo>
                    <a:pt x="259" y="37"/>
                  </a:lnTo>
                  <a:lnTo>
                    <a:pt x="259" y="38"/>
                  </a:lnTo>
                  <a:lnTo>
                    <a:pt x="257" y="42"/>
                  </a:lnTo>
                  <a:lnTo>
                    <a:pt x="257" y="44"/>
                  </a:lnTo>
                  <a:lnTo>
                    <a:pt x="257" y="46"/>
                  </a:lnTo>
                  <a:lnTo>
                    <a:pt x="257" y="48"/>
                  </a:lnTo>
                  <a:lnTo>
                    <a:pt x="257" y="50"/>
                  </a:lnTo>
                  <a:lnTo>
                    <a:pt x="257" y="52"/>
                  </a:lnTo>
                  <a:lnTo>
                    <a:pt x="255" y="56"/>
                  </a:lnTo>
                  <a:lnTo>
                    <a:pt x="255" y="56"/>
                  </a:lnTo>
                  <a:lnTo>
                    <a:pt x="253" y="57"/>
                  </a:lnTo>
                  <a:lnTo>
                    <a:pt x="251" y="57"/>
                  </a:lnTo>
                  <a:lnTo>
                    <a:pt x="247" y="56"/>
                  </a:lnTo>
                  <a:lnTo>
                    <a:pt x="246" y="56"/>
                  </a:lnTo>
                  <a:lnTo>
                    <a:pt x="246" y="56"/>
                  </a:lnTo>
                  <a:lnTo>
                    <a:pt x="244" y="56"/>
                  </a:lnTo>
                  <a:lnTo>
                    <a:pt x="244" y="57"/>
                  </a:lnTo>
                  <a:lnTo>
                    <a:pt x="246" y="59"/>
                  </a:lnTo>
                  <a:lnTo>
                    <a:pt x="246" y="61"/>
                  </a:lnTo>
                  <a:lnTo>
                    <a:pt x="246" y="63"/>
                  </a:lnTo>
                  <a:lnTo>
                    <a:pt x="246" y="63"/>
                  </a:lnTo>
                  <a:lnTo>
                    <a:pt x="244" y="63"/>
                  </a:lnTo>
                  <a:lnTo>
                    <a:pt x="244" y="63"/>
                  </a:lnTo>
                  <a:lnTo>
                    <a:pt x="242" y="65"/>
                  </a:lnTo>
                  <a:lnTo>
                    <a:pt x="240" y="65"/>
                  </a:lnTo>
                  <a:lnTo>
                    <a:pt x="240" y="67"/>
                  </a:lnTo>
                  <a:lnTo>
                    <a:pt x="240" y="69"/>
                  </a:lnTo>
                  <a:lnTo>
                    <a:pt x="238" y="75"/>
                  </a:lnTo>
                  <a:lnTo>
                    <a:pt x="236" y="73"/>
                  </a:lnTo>
                  <a:lnTo>
                    <a:pt x="234" y="71"/>
                  </a:lnTo>
                  <a:lnTo>
                    <a:pt x="234" y="71"/>
                  </a:lnTo>
                  <a:lnTo>
                    <a:pt x="232" y="71"/>
                  </a:lnTo>
                  <a:lnTo>
                    <a:pt x="230" y="69"/>
                  </a:lnTo>
                  <a:lnTo>
                    <a:pt x="230" y="67"/>
                  </a:lnTo>
                  <a:lnTo>
                    <a:pt x="230" y="67"/>
                  </a:lnTo>
                  <a:lnTo>
                    <a:pt x="228" y="69"/>
                  </a:lnTo>
                  <a:lnTo>
                    <a:pt x="226" y="69"/>
                  </a:lnTo>
                  <a:lnTo>
                    <a:pt x="225" y="67"/>
                  </a:lnTo>
                  <a:lnTo>
                    <a:pt x="225" y="67"/>
                  </a:lnTo>
                  <a:lnTo>
                    <a:pt x="223" y="67"/>
                  </a:lnTo>
                  <a:lnTo>
                    <a:pt x="223" y="69"/>
                  </a:lnTo>
                  <a:lnTo>
                    <a:pt x="223" y="69"/>
                  </a:lnTo>
                  <a:lnTo>
                    <a:pt x="221" y="71"/>
                  </a:lnTo>
                  <a:lnTo>
                    <a:pt x="221" y="71"/>
                  </a:lnTo>
                  <a:lnTo>
                    <a:pt x="219" y="71"/>
                  </a:lnTo>
                  <a:lnTo>
                    <a:pt x="219" y="71"/>
                  </a:lnTo>
                  <a:lnTo>
                    <a:pt x="219" y="73"/>
                  </a:lnTo>
                  <a:lnTo>
                    <a:pt x="219" y="73"/>
                  </a:lnTo>
                  <a:lnTo>
                    <a:pt x="219" y="73"/>
                  </a:lnTo>
                  <a:lnTo>
                    <a:pt x="219" y="75"/>
                  </a:lnTo>
                  <a:lnTo>
                    <a:pt x="219" y="75"/>
                  </a:lnTo>
                  <a:lnTo>
                    <a:pt x="217" y="75"/>
                  </a:lnTo>
                  <a:lnTo>
                    <a:pt x="215" y="77"/>
                  </a:lnTo>
                  <a:lnTo>
                    <a:pt x="215" y="77"/>
                  </a:lnTo>
                  <a:lnTo>
                    <a:pt x="213" y="77"/>
                  </a:lnTo>
                  <a:lnTo>
                    <a:pt x="213" y="78"/>
                  </a:lnTo>
                  <a:lnTo>
                    <a:pt x="213" y="78"/>
                  </a:lnTo>
                  <a:lnTo>
                    <a:pt x="211" y="80"/>
                  </a:lnTo>
                  <a:lnTo>
                    <a:pt x="206" y="82"/>
                  </a:lnTo>
                  <a:lnTo>
                    <a:pt x="204" y="84"/>
                  </a:lnTo>
                  <a:lnTo>
                    <a:pt x="204" y="84"/>
                  </a:lnTo>
                  <a:lnTo>
                    <a:pt x="206" y="84"/>
                  </a:lnTo>
                  <a:lnTo>
                    <a:pt x="206" y="86"/>
                  </a:lnTo>
                  <a:lnTo>
                    <a:pt x="207" y="88"/>
                  </a:lnTo>
                  <a:lnTo>
                    <a:pt x="207" y="88"/>
                  </a:lnTo>
                  <a:lnTo>
                    <a:pt x="207" y="88"/>
                  </a:lnTo>
                  <a:lnTo>
                    <a:pt x="206" y="90"/>
                  </a:lnTo>
                  <a:lnTo>
                    <a:pt x="206" y="90"/>
                  </a:lnTo>
                  <a:lnTo>
                    <a:pt x="207" y="92"/>
                  </a:lnTo>
                  <a:lnTo>
                    <a:pt x="207" y="92"/>
                  </a:lnTo>
                  <a:lnTo>
                    <a:pt x="207" y="94"/>
                  </a:lnTo>
                  <a:lnTo>
                    <a:pt x="206" y="94"/>
                  </a:lnTo>
                  <a:lnTo>
                    <a:pt x="206" y="96"/>
                  </a:lnTo>
                  <a:lnTo>
                    <a:pt x="206" y="96"/>
                  </a:lnTo>
                  <a:lnTo>
                    <a:pt x="206" y="97"/>
                  </a:lnTo>
                  <a:lnTo>
                    <a:pt x="206" y="97"/>
                  </a:lnTo>
                  <a:lnTo>
                    <a:pt x="207" y="99"/>
                  </a:lnTo>
                  <a:lnTo>
                    <a:pt x="207" y="101"/>
                  </a:lnTo>
                  <a:lnTo>
                    <a:pt x="207" y="101"/>
                  </a:lnTo>
                  <a:lnTo>
                    <a:pt x="209" y="103"/>
                  </a:lnTo>
                  <a:lnTo>
                    <a:pt x="211" y="105"/>
                  </a:lnTo>
                  <a:lnTo>
                    <a:pt x="211" y="105"/>
                  </a:lnTo>
                  <a:lnTo>
                    <a:pt x="209" y="107"/>
                  </a:lnTo>
                  <a:lnTo>
                    <a:pt x="207" y="107"/>
                  </a:lnTo>
                  <a:lnTo>
                    <a:pt x="207" y="109"/>
                  </a:lnTo>
                  <a:lnTo>
                    <a:pt x="206" y="109"/>
                  </a:lnTo>
                  <a:lnTo>
                    <a:pt x="204" y="107"/>
                  </a:lnTo>
                  <a:lnTo>
                    <a:pt x="202" y="107"/>
                  </a:lnTo>
                  <a:lnTo>
                    <a:pt x="200" y="107"/>
                  </a:lnTo>
                  <a:lnTo>
                    <a:pt x="200" y="107"/>
                  </a:lnTo>
                  <a:lnTo>
                    <a:pt x="198" y="107"/>
                  </a:lnTo>
                  <a:lnTo>
                    <a:pt x="196" y="105"/>
                  </a:lnTo>
                  <a:lnTo>
                    <a:pt x="196" y="105"/>
                  </a:lnTo>
                  <a:lnTo>
                    <a:pt x="194" y="105"/>
                  </a:lnTo>
                  <a:lnTo>
                    <a:pt x="194" y="105"/>
                  </a:lnTo>
                  <a:lnTo>
                    <a:pt x="192" y="105"/>
                  </a:lnTo>
                  <a:lnTo>
                    <a:pt x="190" y="105"/>
                  </a:lnTo>
                  <a:lnTo>
                    <a:pt x="190" y="107"/>
                  </a:lnTo>
                  <a:lnTo>
                    <a:pt x="188" y="107"/>
                  </a:lnTo>
                  <a:lnTo>
                    <a:pt x="186" y="105"/>
                  </a:lnTo>
                  <a:lnTo>
                    <a:pt x="186" y="105"/>
                  </a:lnTo>
                  <a:lnTo>
                    <a:pt x="185" y="105"/>
                  </a:lnTo>
                  <a:lnTo>
                    <a:pt x="181" y="107"/>
                  </a:lnTo>
                  <a:lnTo>
                    <a:pt x="179" y="109"/>
                  </a:lnTo>
                  <a:lnTo>
                    <a:pt x="179" y="109"/>
                  </a:lnTo>
                  <a:lnTo>
                    <a:pt x="177" y="109"/>
                  </a:lnTo>
                  <a:lnTo>
                    <a:pt x="177" y="109"/>
                  </a:lnTo>
                  <a:lnTo>
                    <a:pt x="175" y="109"/>
                  </a:lnTo>
                  <a:lnTo>
                    <a:pt x="171" y="109"/>
                  </a:lnTo>
                  <a:lnTo>
                    <a:pt x="171" y="109"/>
                  </a:lnTo>
                  <a:lnTo>
                    <a:pt x="169" y="111"/>
                  </a:lnTo>
                  <a:lnTo>
                    <a:pt x="169" y="111"/>
                  </a:lnTo>
                  <a:lnTo>
                    <a:pt x="167" y="109"/>
                  </a:lnTo>
                  <a:lnTo>
                    <a:pt x="167" y="109"/>
                  </a:lnTo>
                  <a:lnTo>
                    <a:pt x="165" y="109"/>
                  </a:lnTo>
                  <a:lnTo>
                    <a:pt x="165" y="107"/>
                  </a:lnTo>
                  <a:lnTo>
                    <a:pt x="165" y="105"/>
                  </a:lnTo>
                  <a:lnTo>
                    <a:pt x="165" y="103"/>
                  </a:lnTo>
                  <a:lnTo>
                    <a:pt x="164" y="103"/>
                  </a:lnTo>
                  <a:lnTo>
                    <a:pt x="164" y="101"/>
                  </a:lnTo>
                  <a:lnTo>
                    <a:pt x="162" y="103"/>
                  </a:lnTo>
                  <a:lnTo>
                    <a:pt x="160" y="101"/>
                  </a:lnTo>
                  <a:lnTo>
                    <a:pt x="158" y="103"/>
                  </a:lnTo>
                  <a:lnTo>
                    <a:pt x="158" y="105"/>
                  </a:lnTo>
                  <a:lnTo>
                    <a:pt x="156" y="105"/>
                  </a:lnTo>
                  <a:lnTo>
                    <a:pt x="154" y="105"/>
                  </a:lnTo>
                  <a:lnTo>
                    <a:pt x="154" y="105"/>
                  </a:lnTo>
                  <a:lnTo>
                    <a:pt x="154" y="103"/>
                  </a:lnTo>
                  <a:lnTo>
                    <a:pt x="152" y="103"/>
                  </a:lnTo>
                  <a:lnTo>
                    <a:pt x="152" y="101"/>
                  </a:lnTo>
                  <a:lnTo>
                    <a:pt x="150" y="101"/>
                  </a:lnTo>
                  <a:lnTo>
                    <a:pt x="148" y="101"/>
                  </a:lnTo>
                  <a:lnTo>
                    <a:pt x="146" y="101"/>
                  </a:lnTo>
                  <a:lnTo>
                    <a:pt x="145" y="99"/>
                  </a:lnTo>
                  <a:lnTo>
                    <a:pt x="145" y="97"/>
                  </a:lnTo>
                  <a:lnTo>
                    <a:pt x="143" y="96"/>
                  </a:lnTo>
                  <a:lnTo>
                    <a:pt x="143" y="96"/>
                  </a:lnTo>
                  <a:lnTo>
                    <a:pt x="141" y="96"/>
                  </a:lnTo>
                  <a:lnTo>
                    <a:pt x="141" y="97"/>
                  </a:lnTo>
                  <a:lnTo>
                    <a:pt x="139" y="97"/>
                  </a:lnTo>
                  <a:lnTo>
                    <a:pt x="139" y="97"/>
                  </a:lnTo>
                  <a:lnTo>
                    <a:pt x="137" y="101"/>
                  </a:lnTo>
                  <a:lnTo>
                    <a:pt x="137" y="101"/>
                  </a:lnTo>
                  <a:lnTo>
                    <a:pt x="137" y="103"/>
                  </a:lnTo>
                  <a:lnTo>
                    <a:pt x="135" y="103"/>
                  </a:lnTo>
                  <a:lnTo>
                    <a:pt x="135" y="105"/>
                  </a:lnTo>
                  <a:lnTo>
                    <a:pt x="135" y="107"/>
                  </a:lnTo>
                  <a:lnTo>
                    <a:pt x="135" y="111"/>
                  </a:lnTo>
                  <a:lnTo>
                    <a:pt x="137" y="111"/>
                  </a:lnTo>
                  <a:lnTo>
                    <a:pt x="137" y="113"/>
                  </a:lnTo>
                  <a:lnTo>
                    <a:pt x="137" y="115"/>
                  </a:lnTo>
                  <a:lnTo>
                    <a:pt x="137" y="115"/>
                  </a:lnTo>
                  <a:lnTo>
                    <a:pt x="139" y="115"/>
                  </a:lnTo>
                  <a:lnTo>
                    <a:pt x="139" y="116"/>
                  </a:lnTo>
                  <a:lnTo>
                    <a:pt x="141" y="116"/>
                  </a:lnTo>
                  <a:lnTo>
                    <a:pt x="141" y="118"/>
                  </a:lnTo>
                  <a:lnTo>
                    <a:pt x="141" y="120"/>
                  </a:lnTo>
                  <a:lnTo>
                    <a:pt x="141" y="120"/>
                  </a:lnTo>
                  <a:lnTo>
                    <a:pt x="141" y="122"/>
                  </a:lnTo>
                  <a:lnTo>
                    <a:pt x="141" y="122"/>
                  </a:lnTo>
                  <a:lnTo>
                    <a:pt x="139" y="124"/>
                  </a:lnTo>
                  <a:lnTo>
                    <a:pt x="139" y="124"/>
                  </a:lnTo>
                  <a:lnTo>
                    <a:pt x="139" y="126"/>
                  </a:lnTo>
                  <a:lnTo>
                    <a:pt x="139" y="128"/>
                  </a:lnTo>
                  <a:lnTo>
                    <a:pt x="141" y="128"/>
                  </a:lnTo>
                  <a:lnTo>
                    <a:pt x="141" y="130"/>
                  </a:lnTo>
                  <a:lnTo>
                    <a:pt x="143" y="130"/>
                  </a:lnTo>
                  <a:lnTo>
                    <a:pt x="143" y="132"/>
                  </a:lnTo>
                  <a:lnTo>
                    <a:pt x="143" y="134"/>
                  </a:lnTo>
                  <a:lnTo>
                    <a:pt x="143" y="134"/>
                  </a:lnTo>
                  <a:lnTo>
                    <a:pt x="143" y="135"/>
                  </a:lnTo>
                  <a:lnTo>
                    <a:pt x="141" y="135"/>
                  </a:lnTo>
                  <a:lnTo>
                    <a:pt x="141" y="135"/>
                  </a:lnTo>
                  <a:lnTo>
                    <a:pt x="141" y="137"/>
                  </a:lnTo>
                  <a:lnTo>
                    <a:pt x="141" y="137"/>
                  </a:lnTo>
                  <a:lnTo>
                    <a:pt x="143" y="139"/>
                  </a:lnTo>
                  <a:lnTo>
                    <a:pt x="143" y="141"/>
                  </a:lnTo>
                  <a:lnTo>
                    <a:pt x="143" y="141"/>
                  </a:lnTo>
                  <a:lnTo>
                    <a:pt x="143" y="143"/>
                  </a:lnTo>
                  <a:lnTo>
                    <a:pt x="143" y="143"/>
                  </a:lnTo>
                  <a:lnTo>
                    <a:pt x="143" y="143"/>
                  </a:lnTo>
                  <a:lnTo>
                    <a:pt x="141" y="145"/>
                  </a:lnTo>
                  <a:lnTo>
                    <a:pt x="141" y="145"/>
                  </a:lnTo>
                  <a:lnTo>
                    <a:pt x="139" y="145"/>
                  </a:lnTo>
                  <a:lnTo>
                    <a:pt x="137" y="143"/>
                  </a:lnTo>
                  <a:lnTo>
                    <a:pt x="135" y="141"/>
                  </a:lnTo>
                  <a:lnTo>
                    <a:pt x="135" y="141"/>
                  </a:lnTo>
                  <a:lnTo>
                    <a:pt x="133" y="141"/>
                  </a:lnTo>
                  <a:lnTo>
                    <a:pt x="133" y="141"/>
                  </a:lnTo>
                  <a:lnTo>
                    <a:pt x="133" y="143"/>
                  </a:lnTo>
                  <a:lnTo>
                    <a:pt x="131" y="143"/>
                  </a:lnTo>
                  <a:lnTo>
                    <a:pt x="131" y="143"/>
                  </a:lnTo>
                  <a:lnTo>
                    <a:pt x="129" y="145"/>
                  </a:lnTo>
                  <a:lnTo>
                    <a:pt x="127" y="145"/>
                  </a:lnTo>
                  <a:lnTo>
                    <a:pt x="125" y="145"/>
                  </a:lnTo>
                  <a:lnTo>
                    <a:pt x="125" y="145"/>
                  </a:lnTo>
                  <a:lnTo>
                    <a:pt x="124" y="145"/>
                  </a:lnTo>
                  <a:lnTo>
                    <a:pt x="124" y="145"/>
                  </a:lnTo>
                  <a:lnTo>
                    <a:pt x="124" y="143"/>
                  </a:lnTo>
                  <a:lnTo>
                    <a:pt x="122" y="143"/>
                  </a:lnTo>
                  <a:lnTo>
                    <a:pt x="118" y="143"/>
                  </a:lnTo>
                  <a:lnTo>
                    <a:pt x="116" y="143"/>
                  </a:lnTo>
                  <a:lnTo>
                    <a:pt x="114" y="145"/>
                  </a:lnTo>
                  <a:lnTo>
                    <a:pt x="114" y="145"/>
                  </a:lnTo>
                  <a:lnTo>
                    <a:pt x="112" y="145"/>
                  </a:lnTo>
                  <a:lnTo>
                    <a:pt x="106" y="147"/>
                  </a:lnTo>
                  <a:lnTo>
                    <a:pt x="106" y="147"/>
                  </a:lnTo>
                  <a:lnTo>
                    <a:pt x="106" y="147"/>
                  </a:lnTo>
                  <a:lnTo>
                    <a:pt x="106" y="149"/>
                  </a:lnTo>
                  <a:lnTo>
                    <a:pt x="106" y="151"/>
                  </a:lnTo>
                  <a:lnTo>
                    <a:pt x="106" y="151"/>
                  </a:lnTo>
                  <a:lnTo>
                    <a:pt x="101" y="154"/>
                  </a:lnTo>
                  <a:lnTo>
                    <a:pt x="99" y="154"/>
                  </a:lnTo>
                  <a:lnTo>
                    <a:pt x="97" y="154"/>
                  </a:lnTo>
                  <a:lnTo>
                    <a:pt x="97" y="154"/>
                  </a:lnTo>
                  <a:lnTo>
                    <a:pt x="95" y="154"/>
                  </a:lnTo>
                  <a:lnTo>
                    <a:pt x="95" y="153"/>
                  </a:lnTo>
                  <a:lnTo>
                    <a:pt x="93" y="153"/>
                  </a:lnTo>
                  <a:lnTo>
                    <a:pt x="93" y="153"/>
                  </a:lnTo>
                  <a:lnTo>
                    <a:pt x="93" y="151"/>
                  </a:lnTo>
                  <a:lnTo>
                    <a:pt x="91" y="151"/>
                  </a:lnTo>
                  <a:lnTo>
                    <a:pt x="89" y="151"/>
                  </a:lnTo>
                  <a:lnTo>
                    <a:pt x="89" y="149"/>
                  </a:lnTo>
                  <a:lnTo>
                    <a:pt x="89" y="149"/>
                  </a:lnTo>
                  <a:lnTo>
                    <a:pt x="89" y="147"/>
                  </a:lnTo>
                  <a:lnTo>
                    <a:pt x="87" y="147"/>
                  </a:lnTo>
                  <a:lnTo>
                    <a:pt x="87" y="147"/>
                  </a:lnTo>
                  <a:lnTo>
                    <a:pt x="87" y="147"/>
                  </a:lnTo>
                  <a:lnTo>
                    <a:pt x="84" y="147"/>
                  </a:lnTo>
                  <a:lnTo>
                    <a:pt x="80" y="147"/>
                  </a:lnTo>
                  <a:lnTo>
                    <a:pt x="80" y="147"/>
                  </a:lnTo>
                  <a:lnTo>
                    <a:pt x="80" y="147"/>
                  </a:lnTo>
                  <a:lnTo>
                    <a:pt x="78" y="149"/>
                  </a:lnTo>
                  <a:lnTo>
                    <a:pt x="78" y="151"/>
                  </a:lnTo>
                  <a:lnTo>
                    <a:pt x="78" y="151"/>
                  </a:lnTo>
                  <a:lnTo>
                    <a:pt x="76" y="153"/>
                  </a:lnTo>
                  <a:lnTo>
                    <a:pt x="76" y="153"/>
                  </a:lnTo>
                  <a:lnTo>
                    <a:pt x="76" y="153"/>
                  </a:lnTo>
                  <a:lnTo>
                    <a:pt x="74" y="154"/>
                  </a:lnTo>
                  <a:lnTo>
                    <a:pt x="70" y="154"/>
                  </a:lnTo>
                  <a:lnTo>
                    <a:pt x="68" y="154"/>
                  </a:lnTo>
                  <a:lnTo>
                    <a:pt x="68" y="156"/>
                  </a:lnTo>
                  <a:lnTo>
                    <a:pt x="68" y="156"/>
                  </a:lnTo>
                  <a:lnTo>
                    <a:pt x="68" y="156"/>
                  </a:lnTo>
                  <a:lnTo>
                    <a:pt x="70" y="158"/>
                  </a:lnTo>
                  <a:lnTo>
                    <a:pt x="70" y="158"/>
                  </a:lnTo>
                  <a:lnTo>
                    <a:pt x="70" y="160"/>
                  </a:lnTo>
                  <a:lnTo>
                    <a:pt x="70" y="164"/>
                  </a:lnTo>
                  <a:lnTo>
                    <a:pt x="70" y="164"/>
                  </a:lnTo>
                  <a:lnTo>
                    <a:pt x="70" y="164"/>
                  </a:lnTo>
                  <a:lnTo>
                    <a:pt x="70" y="164"/>
                  </a:lnTo>
                  <a:lnTo>
                    <a:pt x="70" y="166"/>
                  </a:lnTo>
                  <a:lnTo>
                    <a:pt x="70" y="166"/>
                  </a:lnTo>
                  <a:lnTo>
                    <a:pt x="68" y="166"/>
                  </a:lnTo>
                  <a:lnTo>
                    <a:pt x="66" y="164"/>
                  </a:lnTo>
                  <a:lnTo>
                    <a:pt x="64" y="164"/>
                  </a:lnTo>
                  <a:lnTo>
                    <a:pt x="64" y="164"/>
                  </a:lnTo>
                  <a:lnTo>
                    <a:pt x="64" y="164"/>
                  </a:lnTo>
                  <a:lnTo>
                    <a:pt x="63" y="166"/>
                  </a:lnTo>
                  <a:lnTo>
                    <a:pt x="61" y="166"/>
                  </a:lnTo>
                  <a:lnTo>
                    <a:pt x="59" y="166"/>
                  </a:lnTo>
                  <a:lnTo>
                    <a:pt x="59" y="168"/>
                  </a:lnTo>
                  <a:lnTo>
                    <a:pt x="59" y="168"/>
                  </a:lnTo>
                  <a:lnTo>
                    <a:pt x="59" y="168"/>
                  </a:lnTo>
                  <a:lnTo>
                    <a:pt x="57" y="170"/>
                  </a:lnTo>
                  <a:lnTo>
                    <a:pt x="57" y="170"/>
                  </a:lnTo>
                  <a:lnTo>
                    <a:pt x="57" y="170"/>
                  </a:lnTo>
                  <a:lnTo>
                    <a:pt x="55" y="170"/>
                  </a:lnTo>
                  <a:lnTo>
                    <a:pt x="55" y="170"/>
                  </a:lnTo>
                  <a:lnTo>
                    <a:pt x="55" y="170"/>
                  </a:lnTo>
                  <a:lnTo>
                    <a:pt x="53" y="174"/>
                  </a:lnTo>
                  <a:lnTo>
                    <a:pt x="53" y="174"/>
                  </a:lnTo>
                  <a:lnTo>
                    <a:pt x="53" y="174"/>
                  </a:lnTo>
                  <a:lnTo>
                    <a:pt x="51" y="174"/>
                  </a:lnTo>
                  <a:lnTo>
                    <a:pt x="51" y="175"/>
                  </a:lnTo>
                  <a:lnTo>
                    <a:pt x="53" y="177"/>
                  </a:lnTo>
                  <a:lnTo>
                    <a:pt x="53" y="179"/>
                  </a:lnTo>
                  <a:lnTo>
                    <a:pt x="53" y="179"/>
                  </a:lnTo>
                  <a:lnTo>
                    <a:pt x="51" y="181"/>
                  </a:lnTo>
                  <a:lnTo>
                    <a:pt x="49" y="181"/>
                  </a:lnTo>
                  <a:lnTo>
                    <a:pt x="49" y="181"/>
                  </a:lnTo>
                  <a:lnTo>
                    <a:pt x="49" y="181"/>
                  </a:lnTo>
                  <a:lnTo>
                    <a:pt x="47" y="181"/>
                  </a:lnTo>
                  <a:lnTo>
                    <a:pt x="45" y="185"/>
                  </a:lnTo>
                  <a:lnTo>
                    <a:pt x="44" y="185"/>
                  </a:lnTo>
                  <a:lnTo>
                    <a:pt x="44" y="185"/>
                  </a:lnTo>
                  <a:lnTo>
                    <a:pt x="42" y="185"/>
                  </a:lnTo>
                  <a:lnTo>
                    <a:pt x="42" y="185"/>
                  </a:lnTo>
                  <a:lnTo>
                    <a:pt x="42" y="185"/>
                  </a:lnTo>
                  <a:lnTo>
                    <a:pt x="42" y="185"/>
                  </a:lnTo>
                  <a:lnTo>
                    <a:pt x="42" y="185"/>
                  </a:lnTo>
                  <a:lnTo>
                    <a:pt x="42" y="185"/>
                  </a:lnTo>
                  <a:lnTo>
                    <a:pt x="42" y="183"/>
                  </a:lnTo>
                  <a:lnTo>
                    <a:pt x="42" y="183"/>
                  </a:lnTo>
                  <a:lnTo>
                    <a:pt x="42" y="183"/>
                  </a:lnTo>
                  <a:lnTo>
                    <a:pt x="42" y="183"/>
                  </a:lnTo>
                  <a:lnTo>
                    <a:pt x="40" y="181"/>
                  </a:lnTo>
                  <a:lnTo>
                    <a:pt x="40" y="181"/>
                  </a:lnTo>
                  <a:lnTo>
                    <a:pt x="40" y="179"/>
                  </a:lnTo>
                  <a:lnTo>
                    <a:pt x="40" y="177"/>
                  </a:lnTo>
                  <a:lnTo>
                    <a:pt x="40" y="177"/>
                  </a:lnTo>
                  <a:lnTo>
                    <a:pt x="38" y="177"/>
                  </a:lnTo>
                  <a:lnTo>
                    <a:pt x="36" y="177"/>
                  </a:lnTo>
                  <a:lnTo>
                    <a:pt x="34" y="177"/>
                  </a:lnTo>
                  <a:lnTo>
                    <a:pt x="32" y="177"/>
                  </a:lnTo>
                  <a:lnTo>
                    <a:pt x="32" y="175"/>
                  </a:lnTo>
                  <a:lnTo>
                    <a:pt x="30" y="175"/>
                  </a:lnTo>
                  <a:lnTo>
                    <a:pt x="30" y="175"/>
                  </a:lnTo>
                  <a:lnTo>
                    <a:pt x="30" y="177"/>
                  </a:lnTo>
                  <a:lnTo>
                    <a:pt x="30" y="179"/>
                  </a:lnTo>
                  <a:lnTo>
                    <a:pt x="30" y="181"/>
                  </a:lnTo>
                  <a:lnTo>
                    <a:pt x="28" y="181"/>
                  </a:lnTo>
                  <a:lnTo>
                    <a:pt x="28" y="181"/>
                  </a:lnTo>
                  <a:lnTo>
                    <a:pt x="28" y="183"/>
                  </a:lnTo>
                  <a:lnTo>
                    <a:pt x="26" y="183"/>
                  </a:lnTo>
                  <a:lnTo>
                    <a:pt x="26" y="183"/>
                  </a:lnTo>
                  <a:lnTo>
                    <a:pt x="26" y="183"/>
                  </a:lnTo>
                  <a:lnTo>
                    <a:pt x="24" y="185"/>
                  </a:lnTo>
                  <a:lnTo>
                    <a:pt x="23" y="187"/>
                  </a:lnTo>
                  <a:lnTo>
                    <a:pt x="23" y="187"/>
                  </a:lnTo>
                  <a:lnTo>
                    <a:pt x="23" y="187"/>
                  </a:lnTo>
                  <a:lnTo>
                    <a:pt x="23" y="185"/>
                  </a:lnTo>
                  <a:lnTo>
                    <a:pt x="21" y="185"/>
                  </a:lnTo>
                  <a:lnTo>
                    <a:pt x="21" y="185"/>
                  </a:lnTo>
                  <a:lnTo>
                    <a:pt x="21" y="185"/>
                  </a:lnTo>
                  <a:lnTo>
                    <a:pt x="21" y="183"/>
                  </a:lnTo>
                  <a:lnTo>
                    <a:pt x="19" y="185"/>
                  </a:lnTo>
                  <a:lnTo>
                    <a:pt x="19" y="185"/>
                  </a:lnTo>
                  <a:lnTo>
                    <a:pt x="19" y="187"/>
                  </a:lnTo>
                  <a:lnTo>
                    <a:pt x="19" y="187"/>
                  </a:lnTo>
                  <a:lnTo>
                    <a:pt x="19" y="187"/>
                  </a:lnTo>
                  <a:lnTo>
                    <a:pt x="17" y="187"/>
                  </a:lnTo>
                  <a:lnTo>
                    <a:pt x="17" y="187"/>
                  </a:lnTo>
                  <a:lnTo>
                    <a:pt x="17" y="187"/>
                  </a:lnTo>
                  <a:lnTo>
                    <a:pt x="15" y="187"/>
                  </a:lnTo>
                  <a:lnTo>
                    <a:pt x="15" y="187"/>
                  </a:lnTo>
                  <a:lnTo>
                    <a:pt x="13" y="185"/>
                  </a:lnTo>
                  <a:lnTo>
                    <a:pt x="13" y="187"/>
                  </a:lnTo>
                  <a:lnTo>
                    <a:pt x="13" y="189"/>
                  </a:lnTo>
                  <a:lnTo>
                    <a:pt x="11" y="191"/>
                  </a:lnTo>
                  <a:lnTo>
                    <a:pt x="11" y="191"/>
                  </a:lnTo>
                  <a:lnTo>
                    <a:pt x="11" y="191"/>
                  </a:lnTo>
                  <a:lnTo>
                    <a:pt x="11" y="193"/>
                  </a:lnTo>
                  <a:lnTo>
                    <a:pt x="13" y="193"/>
                  </a:lnTo>
                  <a:lnTo>
                    <a:pt x="13" y="193"/>
                  </a:lnTo>
                  <a:lnTo>
                    <a:pt x="13" y="193"/>
                  </a:lnTo>
                  <a:lnTo>
                    <a:pt x="13" y="193"/>
                  </a:lnTo>
                  <a:lnTo>
                    <a:pt x="15" y="191"/>
                  </a:lnTo>
                  <a:lnTo>
                    <a:pt x="15" y="191"/>
                  </a:lnTo>
                  <a:lnTo>
                    <a:pt x="15" y="191"/>
                  </a:lnTo>
                  <a:lnTo>
                    <a:pt x="15" y="191"/>
                  </a:lnTo>
                  <a:lnTo>
                    <a:pt x="15" y="191"/>
                  </a:lnTo>
                  <a:lnTo>
                    <a:pt x="17" y="191"/>
                  </a:lnTo>
                  <a:lnTo>
                    <a:pt x="17" y="193"/>
                  </a:lnTo>
                  <a:lnTo>
                    <a:pt x="17" y="193"/>
                  </a:lnTo>
                  <a:lnTo>
                    <a:pt x="17" y="193"/>
                  </a:lnTo>
                  <a:lnTo>
                    <a:pt x="17" y="193"/>
                  </a:lnTo>
                  <a:lnTo>
                    <a:pt x="17" y="194"/>
                  </a:lnTo>
                  <a:lnTo>
                    <a:pt x="17" y="194"/>
                  </a:lnTo>
                  <a:lnTo>
                    <a:pt x="17" y="194"/>
                  </a:lnTo>
                  <a:lnTo>
                    <a:pt x="19" y="194"/>
                  </a:lnTo>
                  <a:lnTo>
                    <a:pt x="19" y="194"/>
                  </a:lnTo>
                  <a:lnTo>
                    <a:pt x="19" y="194"/>
                  </a:lnTo>
                  <a:lnTo>
                    <a:pt x="21" y="194"/>
                  </a:lnTo>
                  <a:lnTo>
                    <a:pt x="21" y="194"/>
                  </a:lnTo>
                  <a:lnTo>
                    <a:pt x="21" y="196"/>
                  </a:lnTo>
                  <a:lnTo>
                    <a:pt x="21" y="196"/>
                  </a:lnTo>
                  <a:lnTo>
                    <a:pt x="21" y="196"/>
                  </a:lnTo>
                  <a:lnTo>
                    <a:pt x="21" y="198"/>
                  </a:lnTo>
                  <a:lnTo>
                    <a:pt x="21" y="198"/>
                  </a:lnTo>
                  <a:lnTo>
                    <a:pt x="21" y="198"/>
                  </a:lnTo>
                  <a:lnTo>
                    <a:pt x="23" y="198"/>
                  </a:lnTo>
                  <a:lnTo>
                    <a:pt x="23" y="198"/>
                  </a:lnTo>
                  <a:lnTo>
                    <a:pt x="24" y="200"/>
                  </a:lnTo>
                  <a:lnTo>
                    <a:pt x="24" y="200"/>
                  </a:lnTo>
                  <a:lnTo>
                    <a:pt x="24" y="200"/>
                  </a:lnTo>
                  <a:lnTo>
                    <a:pt x="23" y="200"/>
                  </a:lnTo>
                  <a:lnTo>
                    <a:pt x="23" y="200"/>
                  </a:lnTo>
                  <a:lnTo>
                    <a:pt x="23" y="200"/>
                  </a:lnTo>
                  <a:lnTo>
                    <a:pt x="21" y="202"/>
                  </a:lnTo>
                  <a:lnTo>
                    <a:pt x="19" y="202"/>
                  </a:lnTo>
                  <a:lnTo>
                    <a:pt x="19" y="202"/>
                  </a:lnTo>
                  <a:lnTo>
                    <a:pt x="19" y="202"/>
                  </a:lnTo>
                  <a:lnTo>
                    <a:pt x="19" y="204"/>
                  </a:lnTo>
                  <a:lnTo>
                    <a:pt x="19" y="206"/>
                  </a:lnTo>
                  <a:lnTo>
                    <a:pt x="21" y="206"/>
                  </a:lnTo>
                  <a:lnTo>
                    <a:pt x="21" y="208"/>
                  </a:lnTo>
                  <a:lnTo>
                    <a:pt x="21" y="208"/>
                  </a:lnTo>
                  <a:lnTo>
                    <a:pt x="21" y="208"/>
                  </a:lnTo>
                  <a:lnTo>
                    <a:pt x="21" y="210"/>
                  </a:lnTo>
                  <a:lnTo>
                    <a:pt x="21" y="210"/>
                  </a:lnTo>
                  <a:lnTo>
                    <a:pt x="21" y="212"/>
                  </a:lnTo>
                  <a:lnTo>
                    <a:pt x="21" y="212"/>
                  </a:lnTo>
                  <a:lnTo>
                    <a:pt x="21" y="212"/>
                  </a:lnTo>
                  <a:lnTo>
                    <a:pt x="23" y="212"/>
                  </a:lnTo>
                  <a:lnTo>
                    <a:pt x="23" y="212"/>
                  </a:lnTo>
                  <a:lnTo>
                    <a:pt x="23" y="210"/>
                  </a:lnTo>
                  <a:lnTo>
                    <a:pt x="24" y="210"/>
                  </a:lnTo>
                  <a:lnTo>
                    <a:pt x="24" y="210"/>
                  </a:lnTo>
                  <a:lnTo>
                    <a:pt x="24" y="210"/>
                  </a:lnTo>
                  <a:lnTo>
                    <a:pt x="32" y="213"/>
                  </a:lnTo>
                  <a:lnTo>
                    <a:pt x="34" y="213"/>
                  </a:lnTo>
                  <a:lnTo>
                    <a:pt x="34" y="215"/>
                  </a:lnTo>
                  <a:lnTo>
                    <a:pt x="34" y="215"/>
                  </a:lnTo>
                  <a:lnTo>
                    <a:pt x="34" y="215"/>
                  </a:lnTo>
                  <a:lnTo>
                    <a:pt x="34" y="217"/>
                  </a:lnTo>
                  <a:lnTo>
                    <a:pt x="34" y="219"/>
                  </a:lnTo>
                  <a:lnTo>
                    <a:pt x="34" y="223"/>
                  </a:lnTo>
                  <a:lnTo>
                    <a:pt x="34" y="227"/>
                  </a:lnTo>
                  <a:lnTo>
                    <a:pt x="34" y="227"/>
                  </a:lnTo>
                  <a:lnTo>
                    <a:pt x="34" y="229"/>
                  </a:lnTo>
                  <a:lnTo>
                    <a:pt x="34" y="229"/>
                  </a:lnTo>
                  <a:lnTo>
                    <a:pt x="30" y="229"/>
                  </a:lnTo>
                  <a:lnTo>
                    <a:pt x="28" y="229"/>
                  </a:lnTo>
                  <a:lnTo>
                    <a:pt x="28" y="231"/>
                  </a:lnTo>
                  <a:lnTo>
                    <a:pt x="26" y="231"/>
                  </a:lnTo>
                  <a:lnTo>
                    <a:pt x="26" y="231"/>
                  </a:lnTo>
                  <a:lnTo>
                    <a:pt x="26" y="232"/>
                  </a:lnTo>
                  <a:lnTo>
                    <a:pt x="26" y="232"/>
                  </a:lnTo>
                  <a:lnTo>
                    <a:pt x="28" y="232"/>
                  </a:lnTo>
                  <a:lnTo>
                    <a:pt x="30" y="232"/>
                  </a:lnTo>
                  <a:lnTo>
                    <a:pt x="30" y="234"/>
                  </a:lnTo>
                  <a:lnTo>
                    <a:pt x="30" y="234"/>
                  </a:lnTo>
                  <a:lnTo>
                    <a:pt x="30" y="234"/>
                  </a:lnTo>
                  <a:lnTo>
                    <a:pt x="30" y="234"/>
                  </a:lnTo>
                  <a:lnTo>
                    <a:pt x="30" y="236"/>
                  </a:lnTo>
                  <a:lnTo>
                    <a:pt x="30" y="238"/>
                  </a:lnTo>
                  <a:lnTo>
                    <a:pt x="30" y="240"/>
                  </a:lnTo>
                  <a:lnTo>
                    <a:pt x="28" y="242"/>
                  </a:lnTo>
                  <a:lnTo>
                    <a:pt x="28" y="244"/>
                  </a:lnTo>
                  <a:lnTo>
                    <a:pt x="26" y="248"/>
                  </a:lnTo>
                  <a:lnTo>
                    <a:pt x="24" y="250"/>
                  </a:lnTo>
                  <a:lnTo>
                    <a:pt x="23" y="251"/>
                  </a:lnTo>
                  <a:lnTo>
                    <a:pt x="23" y="251"/>
                  </a:lnTo>
                  <a:lnTo>
                    <a:pt x="24" y="251"/>
                  </a:lnTo>
                  <a:lnTo>
                    <a:pt x="24" y="253"/>
                  </a:lnTo>
                  <a:lnTo>
                    <a:pt x="24" y="253"/>
                  </a:lnTo>
                  <a:lnTo>
                    <a:pt x="24" y="255"/>
                  </a:lnTo>
                  <a:lnTo>
                    <a:pt x="23" y="259"/>
                  </a:lnTo>
                  <a:lnTo>
                    <a:pt x="21" y="261"/>
                  </a:lnTo>
                  <a:lnTo>
                    <a:pt x="21" y="261"/>
                  </a:lnTo>
                  <a:lnTo>
                    <a:pt x="19" y="263"/>
                  </a:lnTo>
                  <a:lnTo>
                    <a:pt x="19" y="263"/>
                  </a:lnTo>
                  <a:lnTo>
                    <a:pt x="17" y="265"/>
                  </a:lnTo>
                  <a:lnTo>
                    <a:pt x="15" y="265"/>
                  </a:lnTo>
                  <a:lnTo>
                    <a:pt x="11" y="265"/>
                  </a:lnTo>
                  <a:lnTo>
                    <a:pt x="11" y="265"/>
                  </a:lnTo>
                  <a:lnTo>
                    <a:pt x="11" y="265"/>
                  </a:lnTo>
                  <a:lnTo>
                    <a:pt x="11" y="265"/>
                  </a:lnTo>
                  <a:lnTo>
                    <a:pt x="11" y="263"/>
                  </a:lnTo>
                  <a:lnTo>
                    <a:pt x="11" y="263"/>
                  </a:lnTo>
                  <a:lnTo>
                    <a:pt x="11" y="263"/>
                  </a:lnTo>
                  <a:lnTo>
                    <a:pt x="11" y="261"/>
                  </a:lnTo>
                  <a:lnTo>
                    <a:pt x="11" y="261"/>
                  </a:lnTo>
                  <a:lnTo>
                    <a:pt x="11" y="261"/>
                  </a:lnTo>
                  <a:lnTo>
                    <a:pt x="9" y="261"/>
                  </a:lnTo>
                  <a:lnTo>
                    <a:pt x="9" y="261"/>
                  </a:lnTo>
                  <a:lnTo>
                    <a:pt x="7" y="261"/>
                  </a:lnTo>
                  <a:lnTo>
                    <a:pt x="4" y="265"/>
                  </a:lnTo>
                  <a:lnTo>
                    <a:pt x="2" y="265"/>
                  </a:lnTo>
                  <a:lnTo>
                    <a:pt x="2" y="269"/>
                  </a:lnTo>
                  <a:lnTo>
                    <a:pt x="2" y="269"/>
                  </a:lnTo>
                  <a:lnTo>
                    <a:pt x="2" y="269"/>
                  </a:lnTo>
                  <a:lnTo>
                    <a:pt x="0" y="269"/>
                  </a:lnTo>
                  <a:lnTo>
                    <a:pt x="0" y="270"/>
                  </a:lnTo>
                  <a:lnTo>
                    <a:pt x="0" y="270"/>
                  </a:lnTo>
                  <a:lnTo>
                    <a:pt x="0" y="270"/>
                  </a:lnTo>
                  <a:lnTo>
                    <a:pt x="0" y="272"/>
                  </a:lnTo>
                  <a:lnTo>
                    <a:pt x="2" y="272"/>
                  </a:lnTo>
                  <a:lnTo>
                    <a:pt x="4" y="272"/>
                  </a:lnTo>
                  <a:lnTo>
                    <a:pt x="4" y="272"/>
                  </a:lnTo>
                  <a:lnTo>
                    <a:pt x="5" y="272"/>
                  </a:lnTo>
                  <a:lnTo>
                    <a:pt x="5" y="272"/>
                  </a:lnTo>
                  <a:lnTo>
                    <a:pt x="5" y="270"/>
                  </a:lnTo>
                  <a:lnTo>
                    <a:pt x="7" y="270"/>
                  </a:lnTo>
                  <a:lnTo>
                    <a:pt x="7" y="272"/>
                  </a:lnTo>
                  <a:lnTo>
                    <a:pt x="9" y="272"/>
                  </a:lnTo>
                  <a:lnTo>
                    <a:pt x="11" y="274"/>
                  </a:lnTo>
                  <a:lnTo>
                    <a:pt x="13" y="274"/>
                  </a:lnTo>
                  <a:lnTo>
                    <a:pt x="13" y="274"/>
                  </a:lnTo>
                  <a:lnTo>
                    <a:pt x="13" y="278"/>
                  </a:lnTo>
                  <a:lnTo>
                    <a:pt x="15" y="284"/>
                  </a:lnTo>
                  <a:lnTo>
                    <a:pt x="15" y="284"/>
                  </a:lnTo>
                  <a:lnTo>
                    <a:pt x="15" y="286"/>
                  </a:lnTo>
                  <a:lnTo>
                    <a:pt x="13" y="288"/>
                  </a:lnTo>
                  <a:lnTo>
                    <a:pt x="13" y="290"/>
                  </a:lnTo>
                  <a:lnTo>
                    <a:pt x="13" y="290"/>
                  </a:lnTo>
                  <a:lnTo>
                    <a:pt x="15" y="291"/>
                  </a:lnTo>
                  <a:lnTo>
                    <a:pt x="15" y="291"/>
                  </a:lnTo>
                  <a:lnTo>
                    <a:pt x="15" y="293"/>
                  </a:lnTo>
                  <a:lnTo>
                    <a:pt x="15" y="293"/>
                  </a:lnTo>
                  <a:lnTo>
                    <a:pt x="15" y="293"/>
                  </a:lnTo>
                  <a:lnTo>
                    <a:pt x="15" y="295"/>
                  </a:lnTo>
                  <a:lnTo>
                    <a:pt x="15" y="295"/>
                  </a:lnTo>
                  <a:lnTo>
                    <a:pt x="15" y="297"/>
                  </a:lnTo>
                  <a:lnTo>
                    <a:pt x="15" y="297"/>
                  </a:lnTo>
                  <a:lnTo>
                    <a:pt x="19" y="301"/>
                  </a:lnTo>
                  <a:lnTo>
                    <a:pt x="19" y="301"/>
                  </a:lnTo>
                  <a:lnTo>
                    <a:pt x="19" y="301"/>
                  </a:lnTo>
                  <a:lnTo>
                    <a:pt x="19" y="303"/>
                  </a:lnTo>
                  <a:lnTo>
                    <a:pt x="19" y="307"/>
                  </a:lnTo>
                  <a:lnTo>
                    <a:pt x="19" y="307"/>
                  </a:lnTo>
                  <a:lnTo>
                    <a:pt x="19" y="309"/>
                  </a:lnTo>
                  <a:lnTo>
                    <a:pt x="17" y="309"/>
                  </a:lnTo>
                  <a:lnTo>
                    <a:pt x="17" y="309"/>
                  </a:lnTo>
                  <a:lnTo>
                    <a:pt x="15" y="309"/>
                  </a:lnTo>
                  <a:lnTo>
                    <a:pt x="13" y="309"/>
                  </a:lnTo>
                  <a:lnTo>
                    <a:pt x="13" y="310"/>
                  </a:lnTo>
                  <a:lnTo>
                    <a:pt x="13" y="310"/>
                  </a:lnTo>
                  <a:lnTo>
                    <a:pt x="13" y="310"/>
                  </a:lnTo>
                  <a:lnTo>
                    <a:pt x="13" y="312"/>
                  </a:lnTo>
                  <a:lnTo>
                    <a:pt x="13" y="312"/>
                  </a:lnTo>
                  <a:lnTo>
                    <a:pt x="17" y="314"/>
                  </a:lnTo>
                  <a:lnTo>
                    <a:pt x="17" y="314"/>
                  </a:lnTo>
                  <a:lnTo>
                    <a:pt x="17" y="314"/>
                  </a:lnTo>
                  <a:lnTo>
                    <a:pt x="17" y="314"/>
                  </a:lnTo>
                  <a:lnTo>
                    <a:pt x="19" y="316"/>
                  </a:lnTo>
                  <a:lnTo>
                    <a:pt x="19" y="316"/>
                  </a:lnTo>
                  <a:lnTo>
                    <a:pt x="17" y="318"/>
                  </a:lnTo>
                  <a:lnTo>
                    <a:pt x="15" y="322"/>
                  </a:lnTo>
                  <a:lnTo>
                    <a:pt x="15" y="324"/>
                  </a:lnTo>
                  <a:lnTo>
                    <a:pt x="15" y="324"/>
                  </a:lnTo>
                  <a:lnTo>
                    <a:pt x="15" y="326"/>
                  </a:lnTo>
                  <a:lnTo>
                    <a:pt x="15" y="326"/>
                  </a:lnTo>
                  <a:lnTo>
                    <a:pt x="15" y="329"/>
                  </a:lnTo>
                  <a:lnTo>
                    <a:pt x="15" y="329"/>
                  </a:lnTo>
                  <a:lnTo>
                    <a:pt x="15" y="331"/>
                  </a:lnTo>
                  <a:lnTo>
                    <a:pt x="15" y="331"/>
                  </a:lnTo>
                  <a:lnTo>
                    <a:pt x="15" y="333"/>
                  </a:lnTo>
                  <a:lnTo>
                    <a:pt x="15" y="333"/>
                  </a:lnTo>
                  <a:lnTo>
                    <a:pt x="13" y="335"/>
                  </a:lnTo>
                  <a:lnTo>
                    <a:pt x="13" y="337"/>
                  </a:lnTo>
                  <a:lnTo>
                    <a:pt x="13" y="337"/>
                  </a:lnTo>
                  <a:lnTo>
                    <a:pt x="13" y="337"/>
                  </a:lnTo>
                  <a:lnTo>
                    <a:pt x="11" y="339"/>
                  </a:lnTo>
                  <a:lnTo>
                    <a:pt x="11" y="341"/>
                  </a:lnTo>
                  <a:lnTo>
                    <a:pt x="9" y="341"/>
                  </a:lnTo>
                  <a:lnTo>
                    <a:pt x="7" y="341"/>
                  </a:lnTo>
                  <a:lnTo>
                    <a:pt x="5" y="341"/>
                  </a:lnTo>
                  <a:lnTo>
                    <a:pt x="5" y="341"/>
                  </a:lnTo>
                  <a:lnTo>
                    <a:pt x="5" y="341"/>
                  </a:lnTo>
                  <a:lnTo>
                    <a:pt x="2" y="343"/>
                  </a:lnTo>
                  <a:lnTo>
                    <a:pt x="0" y="345"/>
                  </a:lnTo>
                  <a:lnTo>
                    <a:pt x="0" y="347"/>
                  </a:lnTo>
                  <a:lnTo>
                    <a:pt x="2" y="348"/>
                  </a:lnTo>
                  <a:lnTo>
                    <a:pt x="2" y="348"/>
                  </a:lnTo>
                  <a:lnTo>
                    <a:pt x="4" y="348"/>
                  </a:lnTo>
                  <a:lnTo>
                    <a:pt x="5" y="347"/>
                  </a:lnTo>
                  <a:lnTo>
                    <a:pt x="5" y="347"/>
                  </a:lnTo>
                  <a:lnTo>
                    <a:pt x="5" y="345"/>
                  </a:lnTo>
                  <a:lnTo>
                    <a:pt x="9" y="345"/>
                  </a:lnTo>
                  <a:lnTo>
                    <a:pt x="9" y="343"/>
                  </a:lnTo>
                  <a:lnTo>
                    <a:pt x="11" y="345"/>
                  </a:lnTo>
                  <a:lnTo>
                    <a:pt x="11" y="345"/>
                  </a:lnTo>
                  <a:lnTo>
                    <a:pt x="13" y="345"/>
                  </a:lnTo>
                  <a:lnTo>
                    <a:pt x="13" y="345"/>
                  </a:lnTo>
                  <a:lnTo>
                    <a:pt x="13" y="347"/>
                  </a:lnTo>
                  <a:lnTo>
                    <a:pt x="11" y="347"/>
                  </a:lnTo>
                  <a:lnTo>
                    <a:pt x="11" y="347"/>
                  </a:lnTo>
                  <a:lnTo>
                    <a:pt x="9" y="347"/>
                  </a:lnTo>
                  <a:lnTo>
                    <a:pt x="9" y="347"/>
                  </a:lnTo>
                  <a:lnTo>
                    <a:pt x="7" y="347"/>
                  </a:lnTo>
                  <a:lnTo>
                    <a:pt x="7" y="348"/>
                  </a:lnTo>
                  <a:lnTo>
                    <a:pt x="5" y="350"/>
                  </a:lnTo>
                  <a:lnTo>
                    <a:pt x="5" y="350"/>
                  </a:lnTo>
                  <a:lnTo>
                    <a:pt x="4" y="348"/>
                  </a:lnTo>
                  <a:lnTo>
                    <a:pt x="4" y="348"/>
                  </a:lnTo>
                  <a:lnTo>
                    <a:pt x="2" y="350"/>
                  </a:lnTo>
                  <a:lnTo>
                    <a:pt x="2" y="350"/>
                  </a:lnTo>
                  <a:lnTo>
                    <a:pt x="2" y="352"/>
                  </a:lnTo>
                  <a:lnTo>
                    <a:pt x="2" y="352"/>
                  </a:lnTo>
                  <a:lnTo>
                    <a:pt x="0" y="352"/>
                  </a:lnTo>
                  <a:lnTo>
                    <a:pt x="0" y="354"/>
                  </a:lnTo>
                  <a:lnTo>
                    <a:pt x="2" y="354"/>
                  </a:lnTo>
                  <a:lnTo>
                    <a:pt x="4" y="356"/>
                  </a:lnTo>
                  <a:lnTo>
                    <a:pt x="4" y="356"/>
                  </a:lnTo>
                  <a:lnTo>
                    <a:pt x="5" y="358"/>
                  </a:lnTo>
                  <a:lnTo>
                    <a:pt x="5" y="358"/>
                  </a:lnTo>
                  <a:lnTo>
                    <a:pt x="7" y="358"/>
                  </a:lnTo>
                  <a:lnTo>
                    <a:pt x="7" y="358"/>
                  </a:lnTo>
                  <a:lnTo>
                    <a:pt x="7" y="358"/>
                  </a:lnTo>
                  <a:lnTo>
                    <a:pt x="9" y="362"/>
                  </a:lnTo>
                  <a:lnTo>
                    <a:pt x="9" y="360"/>
                  </a:lnTo>
                  <a:lnTo>
                    <a:pt x="11" y="358"/>
                  </a:lnTo>
                  <a:lnTo>
                    <a:pt x="13" y="360"/>
                  </a:lnTo>
                  <a:lnTo>
                    <a:pt x="15" y="360"/>
                  </a:lnTo>
                  <a:lnTo>
                    <a:pt x="15" y="362"/>
                  </a:lnTo>
                  <a:lnTo>
                    <a:pt x="15" y="366"/>
                  </a:lnTo>
                  <a:lnTo>
                    <a:pt x="17" y="367"/>
                  </a:lnTo>
                  <a:lnTo>
                    <a:pt x="15" y="369"/>
                  </a:lnTo>
                  <a:lnTo>
                    <a:pt x="15" y="369"/>
                  </a:lnTo>
                  <a:lnTo>
                    <a:pt x="17" y="371"/>
                  </a:lnTo>
                  <a:lnTo>
                    <a:pt x="17" y="371"/>
                  </a:lnTo>
                  <a:lnTo>
                    <a:pt x="19" y="371"/>
                  </a:lnTo>
                  <a:lnTo>
                    <a:pt x="21" y="371"/>
                  </a:lnTo>
                  <a:lnTo>
                    <a:pt x="21" y="369"/>
                  </a:lnTo>
                  <a:lnTo>
                    <a:pt x="23" y="371"/>
                  </a:lnTo>
                  <a:lnTo>
                    <a:pt x="23" y="371"/>
                  </a:lnTo>
                  <a:lnTo>
                    <a:pt x="19" y="371"/>
                  </a:lnTo>
                  <a:lnTo>
                    <a:pt x="19" y="373"/>
                  </a:lnTo>
                  <a:lnTo>
                    <a:pt x="19" y="375"/>
                  </a:lnTo>
                  <a:lnTo>
                    <a:pt x="19" y="377"/>
                  </a:lnTo>
                  <a:lnTo>
                    <a:pt x="19" y="379"/>
                  </a:lnTo>
                  <a:lnTo>
                    <a:pt x="19" y="379"/>
                  </a:lnTo>
                  <a:lnTo>
                    <a:pt x="21" y="379"/>
                  </a:lnTo>
                  <a:lnTo>
                    <a:pt x="23" y="379"/>
                  </a:lnTo>
                  <a:lnTo>
                    <a:pt x="23" y="377"/>
                  </a:lnTo>
                  <a:lnTo>
                    <a:pt x="23" y="377"/>
                  </a:lnTo>
                  <a:lnTo>
                    <a:pt x="23" y="375"/>
                  </a:lnTo>
                  <a:lnTo>
                    <a:pt x="24" y="375"/>
                  </a:lnTo>
                  <a:lnTo>
                    <a:pt x="24" y="375"/>
                  </a:lnTo>
                  <a:lnTo>
                    <a:pt x="24" y="375"/>
                  </a:lnTo>
                  <a:lnTo>
                    <a:pt x="24" y="377"/>
                  </a:lnTo>
                  <a:lnTo>
                    <a:pt x="24" y="377"/>
                  </a:lnTo>
                  <a:lnTo>
                    <a:pt x="24" y="377"/>
                  </a:lnTo>
                  <a:lnTo>
                    <a:pt x="26" y="377"/>
                  </a:lnTo>
                  <a:lnTo>
                    <a:pt x="26" y="377"/>
                  </a:lnTo>
                  <a:lnTo>
                    <a:pt x="26" y="379"/>
                  </a:lnTo>
                  <a:lnTo>
                    <a:pt x="24" y="379"/>
                  </a:lnTo>
                  <a:lnTo>
                    <a:pt x="26" y="379"/>
                  </a:lnTo>
                  <a:lnTo>
                    <a:pt x="30" y="385"/>
                  </a:lnTo>
                  <a:lnTo>
                    <a:pt x="28" y="383"/>
                  </a:lnTo>
                  <a:lnTo>
                    <a:pt x="28" y="385"/>
                  </a:lnTo>
                  <a:lnTo>
                    <a:pt x="28" y="385"/>
                  </a:lnTo>
                  <a:lnTo>
                    <a:pt x="26" y="385"/>
                  </a:lnTo>
                  <a:lnTo>
                    <a:pt x="26" y="383"/>
                  </a:lnTo>
                  <a:lnTo>
                    <a:pt x="24" y="381"/>
                  </a:lnTo>
                  <a:lnTo>
                    <a:pt x="23" y="379"/>
                  </a:lnTo>
                  <a:lnTo>
                    <a:pt x="24" y="381"/>
                  </a:lnTo>
                  <a:lnTo>
                    <a:pt x="26" y="385"/>
                  </a:lnTo>
                  <a:lnTo>
                    <a:pt x="26" y="388"/>
                  </a:lnTo>
                  <a:lnTo>
                    <a:pt x="26" y="388"/>
                  </a:lnTo>
                  <a:lnTo>
                    <a:pt x="26" y="388"/>
                  </a:lnTo>
                  <a:lnTo>
                    <a:pt x="26" y="390"/>
                  </a:lnTo>
                  <a:lnTo>
                    <a:pt x="26" y="392"/>
                  </a:lnTo>
                  <a:lnTo>
                    <a:pt x="28" y="394"/>
                  </a:lnTo>
                  <a:lnTo>
                    <a:pt x="28" y="394"/>
                  </a:lnTo>
                  <a:lnTo>
                    <a:pt x="28" y="396"/>
                  </a:lnTo>
                  <a:lnTo>
                    <a:pt x="30" y="400"/>
                  </a:lnTo>
                  <a:lnTo>
                    <a:pt x="30" y="402"/>
                  </a:lnTo>
                  <a:lnTo>
                    <a:pt x="32" y="402"/>
                  </a:lnTo>
                  <a:lnTo>
                    <a:pt x="38" y="404"/>
                  </a:lnTo>
                  <a:lnTo>
                    <a:pt x="38" y="406"/>
                  </a:lnTo>
                  <a:lnTo>
                    <a:pt x="36" y="406"/>
                  </a:lnTo>
                  <a:lnTo>
                    <a:pt x="34" y="406"/>
                  </a:lnTo>
                  <a:lnTo>
                    <a:pt x="32" y="406"/>
                  </a:lnTo>
                  <a:lnTo>
                    <a:pt x="30" y="404"/>
                  </a:lnTo>
                  <a:lnTo>
                    <a:pt x="30" y="406"/>
                  </a:lnTo>
                  <a:lnTo>
                    <a:pt x="32" y="407"/>
                  </a:lnTo>
                  <a:lnTo>
                    <a:pt x="34" y="411"/>
                  </a:lnTo>
                  <a:lnTo>
                    <a:pt x="34" y="413"/>
                  </a:lnTo>
                  <a:lnTo>
                    <a:pt x="34" y="419"/>
                  </a:lnTo>
                  <a:lnTo>
                    <a:pt x="36" y="421"/>
                  </a:lnTo>
                  <a:lnTo>
                    <a:pt x="36" y="421"/>
                  </a:lnTo>
                  <a:lnTo>
                    <a:pt x="36" y="423"/>
                  </a:lnTo>
                  <a:lnTo>
                    <a:pt x="36" y="423"/>
                  </a:lnTo>
                  <a:lnTo>
                    <a:pt x="36" y="425"/>
                  </a:lnTo>
                  <a:lnTo>
                    <a:pt x="36" y="426"/>
                  </a:lnTo>
                  <a:lnTo>
                    <a:pt x="38" y="428"/>
                  </a:lnTo>
                  <a:lnTo>
                    <a:pt x="40" y="432"/>
                  </a:lnTo>
                  <a:lnTo>
                    <a:pt x="42" y="434"/>
                  </a:lnTo>
                  <a:lnTo>
                    <a:pt x="45" y="438"/>
                  </a:lnTo>
                  <a:lnTo>
                    <a:pt x="45" y="442"/>
                  </a:lnTo>
                  <a:lnTo>
                    <a:pt x="47" y="445"/>
                  </a:lnTo>
                  <a:lnTo>
                    <a:pt x="49" y="451"/>
                  </a:lnTo>
                  <a:lnTo>
                    <a:pt x="51" y="459"/>
                  </a:lnTo>
                  <a:lnTo>
                    <a:pt x="51" y="461"/>
                  </a:lnTo>
                  <a:lnTo>
                    <a:pt x="53" y="457"/>
                  </a:lnTo>
                  <a:lnTo>
                    <a:pt x="55" y="457"/>
                  </a:lnTo>
                  <a:lnTo>
                    <a:pt x="55" y="459"/>
                  </a:lnTo>
                  <a:lnTo>
                    <a:pt x="55" y="459"/>
                  </a:lnTo>
                  <a:lnTo>
                    <a:pt x="55" y="459"/>
                  </a:lnTo>
                  <a:lnTo>
                    <a:pt x="55" y="461"/>
                  </a:lnTo>
                  <a:lnTo>
                    <a:pt x="57" y="461"/>
                  </a:lnTo>
                  <a:lnTo>
                    <a:pt x="57" y="463"/>
                  </a:lnTo>
                  <a:lnTo>
                    <a:pt x="59" y="463"/>
                  </a:lnTo>
                  <a:lnTo>
                    <a:pt x="57" y="463"/>
                  </a:lnTo>
                  <a:lnTo>
                    <a:pt x="57" y="463"/>
                  </a:lnTo>
                  <a:lnTo>
                    <a:pt x="55" y="463"/>
                  </a:lnTo>
                  <a:lnTo>
                    <a:pt x="55" y="463"/>
                  </a:lnTo>
                  <a:lnTo>
                    <a:pt x="53" y="463"/>
                  </a:lnTo>
                  <a:lnTo>
                    <a:pt x="53" y="463"/>
                  </a:lnTo>
                  <a:lnTo>
                    <a:pt x="53" y="464"/>
                  </a:lnTo>
                  <a:lnTo>
                    <a:pt x="53" y="464"/>
                  </a:lnTo>
                  <a:lnTo>
                    <a:pt x="53" y="464"/>
                  </a:lnTo>
                  <a:lnTo>
                    <a:pt x="53" y="464"/>
                  </a:lnTo>
                  <a:lnTo>
                    <a:pt x="53" y="464"/>
                  </a:lnTo>
                  <a:lnTo>
                    <a:pt x="53" y="464"/>
                  </a:lnTo>
                  <a:lnTo>
                    <a:pt x="53" y="464"/>
                  </a:lnTo>
                  <a:lnTo>
                    <a:pt x="53" y="466"/>
                  </a:lnTo>
                  <a:lnTo>
                    <a:pt x="53" y="472"/>
                  </a:lnTo>
                  <a:lnTo>
                    <a:pt x="53" y="474"/>
                  </a:lnTo>
                  <a:lnTo>
                    <a:pt x="55" y="480"/>
                  </a:lnTo>
                  <a:lnTo>
                    <a:pt x="55" y="482"/>
                  </a:lnTo>
                  <a:lnTo>
                    <a:pt x="55" y="484"/>
                  </a:lnTo>
                  <a:lnTo>
                    <a:pt x="57" y="485"/>
                  </a:lnTo>
                  <a:lnTo>
                    <a:pt x="55" y="484"/>
                  </a:lnTo>
                  <a:lnTo>
                    <a:pt x="55" y="482"/>
                  </a:lnTo>
                  <a:lnTo>
                    <a:pt x="53" y="480"/>
                  </a:lnTo>
                  <a:lnTo>
                    <a:pt x="53" y="482"/>
                  </a:lnTo>
                  <a:lnTo>
                    <a:pt x="55" y="485"/>
                  </a:lnTo>
                  <a:lnTo>
                    <a:pt x="55" y="487"/>
                  </a:lnTo>
                  <a:lnTo>
                    <a:pt x="55" y="487"/>
                  </a:lnTo>
                  <a:lnTo>
                    <a:pt x="55" y="489"/>
                  </a:lnTo>
                  <a:lnTo>
                    <a:pt x="57" y="491"/>
                  </a:lnTo>
                  <a:lnTo>
                    <a:pt x="57" y="493"/>
                  </a:lnTo>
                  <a:lnTo>
                    <a:pt x="59" y="499"/>
                  </a:lnTo>
                  <a:lnTo>
                    <a:pt x="59" y="503"/>
                  </a:lnTo>
                  <a:lnTo>
                    <a:pt x="61" y="508"/>
                  </a:lnTo>
                  <a:lnTo>
                    <a:pt x="61" y="508"/>
                  </a:lnTo>
                  <a:lnTo>
                    <a:pt x="61" y="508"/>
                  </a:lnTo>
                  <a:lnTo>
                    <a:pt x="61" y="510"/>
                  </a:lnTo>
                  <a:lnTo>
                    <a:pt x="61" y="512"/>
                  </a:lnTo>
                  <a:lnTo>
                    <a:pt x="63" y="514"/>
                  </a:lnTo>
                  <a:lnTo>
                    <a:pt x="63" y="514"/>
                  </a:lnTo>
                  <a:lnTo>
                    <a:pt x="63" y="516"/>
                  </a:lnTo>
                  <a:lnTo>
                    <a:pt x="63" y="520"/>
                  </a:lnTo>
                  <a:lnTo>
                    <a:pt x="66" y="537"/>
                  </a:lnTo>
                  <a:lnTo>
                    <a:pt x="70" y="537"/>
                  </a:lnTo>
                  <a:lnTo>
                    <a:pt x="74" y="537"/>
                  </a:lnTo>
                  <a:lnTo>
                    <a:pt x="78" y="535"/>
                  </a:lnTo>
                  <a:lnTo>
                    <a:pt x="78" y="537"/>
                  </a:lnTo>
                  <a:lnTo>
                    <a:pt x="76" y="537"/>
                  </a:lnTo>
                  <a:lnTo>
                    <a:pt x="74" y="537"/>
                  </a:lnTo>
                  <a:lnTo>
                    <a:pt x="72" y="539"/>
                  </a:lnTo>
                  <a:lnTo>
                    <a:pt x="72" y="539"/>
                  </a:lnTo>
                  <a:lnTo>
                    <a:pt x="70" y="541"/>
                  </a:lnTo>
                  <a:lnTo>
                    <a:pt x="70" y="541"/>
                  </a:lnTo>
                  <a:lnTo>
                    <a:pt x="70" y="541"/>
                  </a:lnTo>
                  <a:lnTo>
                    <a:pt x="66" y="539"/>
                  </a:lnTo>
                  <a:lnTo>
                    <a:pt x="66" y="541"/>
                  </a:lnTo>
                  <a:lnTo>
                    <a:pt x="68" y="541"/>
                  </a:lnTo>
                  <a:lnTo>
                    <a:pt x="68" y="542"/>
                  </a:lnTo>
                  <a:lnTo>
                    <a:pt x="70" y="542"/>
                  </a:lnTo>
                  <a:lnTo>
                    <a:pt x="70" y="544"/>
                  </a:lnTo>
                  <a:lnTo>
                    <a:pt x="70" y="546"/>
                  </a:lnTo>
                  <a:lnTo>
                    <a:pt x="74" y="544"/>
                  </a:lnTo>
                  <a:lnTo>
                    <a:pt x="76" y="544"/>
                  </a:lnTo>
                  <a:lnTo>
                    <a:pt x="78" y="544"/>
                  </a:lnTo>
                  <a:lnTo>
                    <a:pt x="78" y="544"/>
                  </a:lnTo>
                  <a:lnTo>
                    <a:pt x="78" y="544"/>
                  </a:lnTo>
                  <a:lnTo>
                    <a:pt x="78" y="546"/>
                  </a:lnTo>
                  <a:lnTo>
                    <a:pt x="78" y="546"/>
                  </a:lnTo>
                  <a:lnTo>
                    <a:pt x="78" y="546"/>
                  </a:lnTo>
                  <a:lnTo>
                    <a:pt x="80" y="548"/>
                  </a:lnTo>
                  <a:lnTo>
                    <a:pt x="80" y="548"/>
                  </a:lnTo>
                  <a:lnTo>
                    <a:pt x="80" y="548"/>
                  </a:lnTo>
                  <a:lnTo>
                    <a:pt x="80" y="550"/>
                  </a:lnTo>
                  <a:lnTo>
                    <a:pt x="80" y="550"/>
                  </a:lnTo>
                  <a:lnTo>
                    <a:pt x="82" y="550"/>
                  </a:lnTo>
                  <a:lnTo>
                    <a:pt x="84" y="550"/>
                  </a:lnTo>
                  <a:lnTo>
                    <a:pt x="84" y="550"/>
                  </a:lnTo>
                  <a:lnTo>
                    <a:pt x="84" y="550"/>
                  </a:lnTo>
                  <a:lnTo>
                    <a:pt x="84" y="550"/>
                  </a:lnTo>
                  <a:lnTo>
                    <a:pt x="84" y="550"/>
                  </a:lnTo>
                  <a:lnTo>
                    <a:pt x="84" y="552"/>
                  </a:lnTo>
                  <a:lnTo>
                    <a:pt x="84" y="552"/>
                  </a:lnTo>
                  <a:lnTo>
                    <a:pt x="84" y="552"/>
                  </a:lnTo>
                  <a:lnTo>
                    <a:pt x="84" y="554"/>
                  </a:lnTo>
                  <a:lnTo>
                    <a:pt x="85" y="554"/>
                  </a:lnTo>
                  <a:lnTo>
                    <a:pt x="85" y="554"/>
                  </a:lnTo>
                  <a:lnTo>
                    <a:pt x="85" y="554"/>
                  </a:lnTo>
                  <a:lnTo>
                    <a:pt x="85" y="554"/>
                  </a:lnTo>
                  <a:lnTo>
                    <a:pt x="87" y="552"/>
                  </a:lnTo>
                  <a:lnTo>
                    <a:pt x="87" y="552"/>
                  </a:lnTo>
                  <a:lnTo>
                    <a:pt x="89" y="552"/>
                  </a:lnTo>
                  <a:lnTo>
                    <a:pt x="89" y="552"/>
                  </a:lnTo>
                  <a:lnTo>
                    <a:pt x="91" y="554"/>
                  </a:lnTo>
                  <a:lnTo>
                    <a:pt x="93" y="554"/>
                  </a:lnTo>
                  <a:lnTo>
                    <a:pt x="93" y="554"/>
                  </a:lnTo>
                  <a:lnTo>
                    <a:pt x="93" y="554"/>
                  </a:lnTo>
                  <a:lnTo>
                    <a:pt x="93" y="556"/>
                  </a:lnTo>
                  <a:lnTo>
                    <a:pt x="93" y="556"/>
                  </a:lnTo>
                  <a:lnTo>
                    <a:pt x="93" y="556"/>
                  </a:lnTo>
                  <a:lnTo>
                    <a:pt x="93" y="558"/>
                  </a:lnTo>
                  <a:lnTo>
                    <a:pt x="93" y="558"/>
                  </a:lnTo>
                  <a:lnTo>
                    <a:pt x="93" y="560"/>
                  </a:lnTo>
                  <a:lnTo>
                    <a:pt x="95" y="560"/>
                  </a:lnTo>
                  <a:lnTo>
                    <a:pt x="95" y="560"/>
                  </a:lnTo>
                  <a:lnTo>
                    <a:pt x="95" y="558"/>
                  </a:lnTo>
                  <a:lnTo>
                    <a:pt x="97" y="558"/>
                  </a:lnTo>
                  <a:lnTo>
                    <a:pt x="97" y="558"/>
                  </a:lnTo>
                  <a:lnTo>
                    <a:pt x="97" y="560"/>
                  </a:lnTo>
                  <a:lnTo>
                    <a:pt x="99" y="561"/>
                  </a:lnTo>
                  <a:lnTo>
                    <a:pt x="99" y="561"/>
                  </a:lnTo>
                  <a:lnTo>
                    <a:pt x="101" y="561"/>
                  </a:lnTo>
                  <a:lnTo>
                    <a:pt x="101" y="561"/>
                  </a:lnTo>
                  <a:lnTo>
                    <a:pt x="101" y="561"/>
                  </a:lnTo>
                  <a:lnTo>
                    <a:pt x="103" y="561"/>
                  </a:lnTo>
                  <a:lnTo>
                    <a:pt x="103" y="561"/>
                  </a:lnTo>
                  <a:lnTo>
                    <a:pt x="103" y="560"/>
                  </a:lnTo>
                  <a:lnTo>
                    <a:pt x="105" y="560"/>
                  </a:lnTo>
                  <a:lnTo>
                    <a:pt x="108" y="561"/>
                  </a:lnTo>
                  <a:lnTo>
                    <a:pt x="108" y="563"/>
                  </a:lnTo>
                  <a:lnTo>
                    <a:pt x="106" y="565"/>
                  </a:lnTo>
                  <a:lnTo>
                    <a:pt x="106" y="565"/>
                  </a:lnTo>
                  <a:lnTo>
                    <a:pt x="106" y="567"/>
                  </a:lnTo>
                  <a:lnTo>
                    <a:pt x="106" y="567"/>
                  </a:lnTo>
                  <a:lnTo>
                    <a:pt x="108" y="569"/>
                  </a:lnTo>
                  <a:lnTo>
                    <a:pt x="108" y="569"/>
                  </a:lnTo>
                  <a:lnTo>
                    <a:pt x="108" y="571"/>
                  </a:lnTo>
                  <a:lnTo>
                    <a:pt x="108" y="571"/>
                  </a:lnTo>
                  <a:lnTo>
                    <a:pt x="110" y="571"/>
                  </a:lnTo>
                  <a:lnTo>
                    <a:pt x="110" y="571"/>
                  </a:lnTo>
                  <a:lnTo>
                    <a:pt x="110" y="571"/>
                  </a:lnTo>
                  <a:lnTo>
                    <a:pt x="110" y="571"/>
                  </a:lnTo>
                  <a:lnTo>
                    <a:pt x="112" y="573"/>
                  </a:lnTo>
                  <a:lnTo>
                    <a:pt x="112" y="573"/>
                  </a:lnTo>
                  <a:lnTo>
                    <a:pt x="112" y="573"/>
                  </a:lnTo>
                  <a:lnTo>
                    <a:pt x="112" y="573"/>
                  </a:lnTo>
                  <a:lnTo>
                    <a:pt x="112" y="573"/>
                  </a:lnTo>
                  <a:lnTo>
                    <a:pt x="112" y="573"/>
                  </a:lnTo>
                  <a:lnTo>
                    <a:pt x="116" y="573"/>
                  </a:lnTo>
                  <a:lnTo>
                    <a:pt x="116" y="573"/>
                  </a:lnTo>
                  <a:lnTo>
                    <a:pt x="116" y="573"/>
                  </a:lnTo>
                  <a:lnTo>
                    <a:pt x="118" y="573"/>
                  </a:lnTo>
                  <a:lnTo>
                    <a:pt x="118" y="573"/>
                  </a:lnTo>
                  <a:lnTo>
                    <a:pt x="118" y="575"/>
                  </a:lnTo>
                  <a:lnTo>
                    <a:pt x="118" y="575"/>
                  </a:lnTo>
                  <a:lnTo>
                    <a:pt x="118" y="575"/>
                  </a:lnTo>
                  <a:lnTo>
                    <a:pt x="116" y="575"/>
                  </a:lnTo>
                  <a:lnTo>
                    <a:pt x="116" y="577"/>
                  </a:lnTo>
                  <a:lnTo>
                    <a:pt x="114" y="577"/>
                  </a:lnTo>
                  <a:lnTo>
                    <a:pt x="114" y="579"/>
                  </a:lnTo>
                  <a:lnTo>
                    <a:pt x="114" y="579"/>
                  </a:lnTo>
                  <a:lnTo>
                    <a:pt x="114" y="580"/>
                  </a:lnTo>
                  <a:lnTo>
                    <a:pt x="114" y="580"/>
                  </a:lnTo>
                  <a:lnTo>
                    <a:pt x="116" y="580"/>
                  </a:lnTo>
                  <a:lnTo>
                    <a:pt x="116" y="582"/>
                  </a:lnTo>
                  <a:lnTo>
                    <a:pt x="118" y="584"/>
                  </a:lnTo>
                  <a:lnTo>
                    <a:pt x="118" y="586"/>
                  </a:lnTo>
                  <a:lnTo>
                    <a:pt x="118" y="588"/>
                  </a:lnTo>
                  <a:lnTo>
                    <a:pt x="120" y="590"/>
                  </a:lnTo>
                  <a:lnTo>
                    <a:pt x="120" y="590"/>
                  </a:lnTo>
                  <a:lnTo>
                    <a:pt x="120" y="590"/>
                  </a:lnTo>
                  <a:lnTo>
                    <a:pt x="120" y="590"/>
                  </a:lnTo>
                  <a:lnTo>
                    <a:pt x="120" y="590"/>
                  </a:lnTo>
                  <a:lnTo>
                    <a:pt x="122" y="590"/>
                  </a:lnTo>
                  <a:lnTo>
                    <a:pt x="122" y="590"/>
                  </a:lnTo>
                  <a:lnTo>
                    <a:pt x="122" y="590"/>
                  </a:lnTo>
                  <a:lnTo>
                    <a:pt x="124" y="592"/>
                  </a:lnTo>
                  <a:lnTo>
                    <a:pt x="133" y="601"/>
                  </a:lnTo>
                  <a:lnTo>
                    <a:pt x="135" y="603"/>
                  </a:lnTo>
                  <a:lnTo>
                    <a:pt x="137" y="603"/>
                  </a:lnTo>
                  <a:lnTo>
                    <a:pt x="139" y="605"/>
                  </a:lnTo>
                  <a:lnTo>
                    <a:pt x="139" y="605"/>
                  </a:lnTo>
                  <a:lnTo>
                    <a:pt x="141" y="605"/>
                  </a:lnTo>
                  <a:lnTo>
                    <a:pt x="141" y="607"/>
                  </a:lnTo>
                  <a:lnTo>
                    <a:pt x="141" y="607"/>
                  </a:lnTo>
                  <a:lnTo>
                    <a:pt x="141" y="609"/>
                  </a:lnTo>
                  <a:lnTo>
                    <a:pt x="143" y="609"/>
                  </a:lnTo>
                  <a:lnTo>
                    <a:pt x="143" y="609"/>
                  </a:lnTo>
                  <a:lnTo>
                    <a:pt x="145" y="609"/>
                  </a:lnTo>
                  <a:lnTo>
                    <a:pt x="145" y="609"/>
                  </a:lnTo>
                  <a:lnTo>
                    <a:pt x="145" y="609"/>
                  </a:lnTo>
                  <a:lnTo>
                    <a:pt x="146" y="611"/>
                  </a:lnTo>
                  <a:lnTo>
                    <a:pt x="148" y="611"/>
                  </a:lnTo>
                  <a:lnTo>
                    <a:pt x="148" y="611"/>
                  </a:lnTo>
                  <a:lnTo>
                    <a:pt x="150" y="611"/>
                  </a:lnTo>
                  <a:lnTo>
                    <a:pt x="150" y="611"/>
                  </a:lnTo>
                  <a:lnTo>
                    <a:pt x="150" y="611"/>
                  </a:lnTo>
                  <a:lnTo>
                    <a:pt x="152" y="611"/>
                  </a:lnTo>
                  <a:lnTo>
                    <a:pt x="152" y="611"/>
                  </a:lnTo>
                  <a:lnTo>
                    <a:pt x="152" y="611"/>
                  </a:lnTo>
                  <a:lnTo>
                    <a:pt x="154" y="611"/>
                  </a:lnTo>
                  <a:lnTo>
                    <a:pt x="154" y="613"/>
                  </a:lnTo>
                  <a:lnTo>
                    <a:pt x="154" y="615"/>
                  </a:lnTo>
                  <a:lnTo>
                    <a:pt x="154" y="617"/>
                  </a:lnTo>
                  <a:lnTo>
                    <a:pt x="156" y="619"/>
                  </a:lnTo>
                  <a:lnTo>
                    <a:pt x="156" y="620"/>
                  </a:lnTo>
                  <a:lnTo>
                    <a:pt x="158" y="620"/>
                  </a:lnTo>
                  <a:lnTo>
                    <a:pt x="160" y="622"/>
                  </a:lnTo>
                  <a:lnTo>
                    <a:pt x="162" y="622"/>
                  </a:lnTo>
                  <a:lnTo>
                    <a:pt x="164" y="622"/>
                  </a:lnTo>
                  <a:lnTo>
                    <a:pt x="165" y="624"/>
                  </a:lnTo>
                  <a:lnTo>
                    <a:pt x="167" y="624"/>
                  </a:lnTo>
                  <a:lnTo>
                    <a:pt x="171" y="624"/>
                  </a:lnTo>
                  <a:lnTo>
                    <a:pt x="173" y="624"/>
                  </a:lnTo>
                  <a:lnTo>
                    <a:pt x="177" y="622"/>
                  </a:lnTo>
                  <a:lnTo>
                    <a:pt x="181" y="622"/>
                  </a:lnTo>
                  <a:lnTo>
                    <a:pt x="183" y="622"/>
                  </a:lnTo>
                  <a:lnTo>
                    <a:pt x="183" y="622"/>
                  </a:lnTo>
                  <a:lnTo>
                    <a:pt x="183" y="622"/>
                  </a:lnTo>
                  <a:lnTo>
                    <a:pt x="183" y="624"/>
                  </a:lnTo>
                  <a:lnTo>
                    <a:pt x="183" y="628"/>
                  </a:lnTo>
                  <a:lnTo>
                    <a:pt x="183" y="630"/>
                  </a:lnTo>
                  <a:lnTo>
                    <a:pt x="183" y="630"/>
                  </a:lnTo>
                  <a:lnTo>
                    <a:pt x="185" y="632"/>
                  </a:lnTo>
                  <a:lnTo>
                    <a:pt x="185" y="632"/>
                  </a:lnTo>
                  <a:lnTo>
                    <a:pt x="186" y="632"/>
                  </a:lnTo>
                  <a:lnTo>
                    <a:pt x="186" y="632"/>
                  </a:lnTo>
                  <a:lnTo>
                    <a:pt x="188" y="630"/>
                  </a:lnTo>
                  <a:lnTo>
                    <a:pt x="188" y="630"/>
                  </a:lnTo>
                  <a:lnTo>
                    <a:pt x="190" y="630"/>
                  </a:lnTo>
                  <a:lnTo>
                    <a:pt x="190" y="632"/>
                  </a:lnTo>
                  <a:lnTo>
                    <a:pt x="192" y="632"/>
                  </a:lnTo>
                  <a:lnTo>
                    <a:pt x="192" y="632"/>
                  </a:lnTo>
                  <a:lnTo>
                    <a:pt x="192" y="634"/>
                  </a:lnTo>
                  <a:lnTo>
                    <a:pt x="194" y="636"/>
                  </a:lnTo>
                  <a:lnTo>
                    <a:pt x="194" y="636"/>
                  </a:lnTo>
                  <a:lnTo>
                    <a:pt x="196" y="636"/>
                  </a:lnTo>
                  <a:lnTo>
                    <a:pt x="196" y="636"/>
                  </a:lnTo>
                  <a:lnTo>
                    <a:pt x="196" y="636"/>
                  </a:lnTo>
                  <a:lnTo>
                    <a:pt x="198" y="636"/>
                  </a:lnTo>
                  <a:lnTo>
                    <a:pt x="198" y="636"/>
                  </a:lnTo>
                  <a:lnTo>
                    <a:pt x="198" y="636"/>
                  </a:lnTo>
                  <a:lnTo>
                    <a:pt x="200" y="636"/>
                  </a:lnTo>
                  <a:lnTo>
                    <a:pt x="200" y="638"/>
                  </a:lnTo>
                  <a:lnTo>
                    <a:pt x="202" y="639"/>
                  </a:lnTo>
                  <a:lnTo>
                    <a:pt x="204" y="641"/>
                  </a:lnTo>
                  <a:lnTo>
                    <a:pt x="204" y="641"/>
                  </a:lnTo>
                  <a:lnTo>
                    <a:pt x="206" y="641"/>
                  </a:lnTo>
                  <a:lnTo>
                    <a:pt x="207" y="641"/>
                  </a:lnTo>
                  <a:lnTo>
                    <a:pt x="207" y="643"/>
                  </a:lnTo>
                  <a:lnTo>
                    <a:pt x="207" y="641"/>
                  </a:lnTo>
                  <a:lnTo>
                    <a:pt x="209" y="641"/>
                  </a:lnTo>
                  <a:lnTo>
                    <a:pt x="209" y="641"/>
                  </a:lnTo>
                  <a:lnTo>
                    <a:pt x="211" y="641"/>
                  </a:lnTo>
                  <a:lnTo>
                    <a:pt x="211" y="641"/>
                  </a:lnTo>
                  <a:lnTo>
                    <a:pt x="211" y="643"/>
                  </a:lnTo>
                  <a:lnTo>
                    <a:pt x="211" y="643"/>
                  </a:lnTo>
                  <a:lnTo>
                    <a:pt x="213" y="645"/>
                  </a:lnTo>
                  <a:lnTo>
                    <a:pt x="213" y="647"/>
                  </a:lnTo>
                  <a:lnTo>
                    <a:pt x="213" y="649"/>
                  </a:lnTo>
                  <a:lnTo>
                    <a:pt x="215" y="649"/>
                  </a:lnTo>
                  <a:lnTo>
                    <a:pt x="215" y="647"/>
                  </a:lnTo>
                  <a:lnTo>
                    <a:pt x="215" y="647"/>
                  </a:lnTo>
                  <a:lnTo>
                    <a:pt x="217" y="647"/>
                  </a:lnTo>
                  <a:lnTo>
                    <a:pt x="217" y="645"/>
                  </a:lnTo>
                  <a:lnTo>
                    <a:pt x="219" y="645"/>
                  </a:lnTo>
                  <a:lnTo>
                    <a:pt x="221" y="645"/>
                  </a:lnTo>
                  <a:lnTo>
                    <a:pt x="223" y="645"/>
                  </a:lnTo>
                  <a:lnTo>
                    <a:pt x="225" y="645"/>
                  </a:lnTo>
                  <a:lnTo>
                    <a:pt x="226" y="647"/>
                  </a:lnTo>
                  <a:lnTo>
                    <a:pt x="226" y="647"/>
                  </a:lnTo>
                  <a:lnTo>
                    <a:pt x="226" y="649"/>
                  </a:lnTo>
                  <a:lnTo>
                    <a:pt x="226" y="651"/>
                  </a:lnTo>
                  <a:lnTo>
                    <a:pt x="226" y="651"/>
                  </a:lnTo>
                  <a:lnTo>
                    <a:pt x="226" y="653"/>
                  </a:lnTo>
                  <a:lnTo>
                    <a:pt x="228" y="653"/>
                  </a:lnTo>
                  <a:lnTo>
                    <a:pt x="230" y="653"/>
                  </a:lnTo>
                  <a:lnTo>
                    <a:pt x="232" y="653"/>
                  </a:lnTo>
                  <a:lnTo>
                    <a:pt x="246" y="651"/>
                  </a:lnTo>
                  <a:lnTo>
                    <a:pt x="246" y="653"/>
                  </a:lnTo>
                  <a:lnTo>
                    <a:pt x="251" y="653"/>
                  </a:lnTo>
                  <a:lnTo>
                    <a:pt x="251" y="653"/>
                  </a:lnTo>
                  <a:lnTo>
                    <a:pt x="253" y="651"/>
                  </a:lnTo>
                  <a:lnTo>
                    <a:pt x="253" y="645"/>
                  </a:lnTo>
                  <a:lnTo>
                    <a:pt x="255" y="641"/>
                  </a:lnTo>
                  <a:lnTo>
                    <a:pt x="259" y="638"/>
                  </a:lnTo>
                  <a:lnTo>
                    <a:pt x="261" y="636"/>
                  </a:lnTo>
                  <a:lnTo>
                    <a:pt x="261" y="636"/>
                  </a:lnTo>
                  <a:lnTo>
                    <a:pt x="263" y="636"/>
                  </a:lnTo>
                  <a:lnTo>
                    <a:pt x="265" y="636"/>
                  </a:lnTo>
                  <a:lnTo>
                    <a:pt x="266" y="636"/>
                  </a:lnTo>
                  <a:lnTo>
                    <a:pt x="268" y="634"/>
                  </a:lnTo>
                  <a:lnTo>
                    <a:pt x="268" y="636"/>
                  </a:lnTo>
                  <a:lnTo>
                    <a:pt x="270" y="636"/>
                  </a:lnTo>
                  <a:lnTo>
                    <a:pt x="276" y="641"/>
                  </a:lnTo>
                  <a:lnTo>
                    <a:pt x="276" y="641"/>
                  </a:lnTo>
                  <a:lnTo>
                    <a:pt x="278" y="641"/>
                  </a:lnTo>
                  <a:lnTo>
                    <a:pt x="278" y="639"/>
                  </a:lnTo>
                  <a:lnTo>
                    <a:pt x="278" y="638"/>
                  </a:lnTo>
                  <a:lnTo>
                    <a:pt x="280" y="638"/>
                  </a:lnTo>
                  <a:lnTo>
                    <a:pt x="280" y="638"/>
                  </a:lnTo>
                  <a:lnTo>
                    <a:pt x="282" y="638"/>
                  </a:lnTo>
                  <a:lnTo>
                    <a:pt x="284" y="636"/>
                  </a:lnTo>
                  <a:lnTo>
                    <a:pt x="287" y="638"/>
                  </a:lnTo>
                  <a:lnTo>
                    <a:pt x="289" y="636"/>
                  </a:lnTo>
                  <a:lnTo>
                    <a:pt x="291" y="636"/>
                  </a:lnTo>
                  <a:lnTo>
                    <a:pt x="291" y="636"/>
                  </a:lnTo>
                  <a:lnTo>
                    <a:pt x="293" y="636"/>
                  </a:lnTo>
                  <a:lnTo>
                    <a:pt x="293" y="636"/>
                  </a:lnTo>
                  <a:lnTo>
                    <a:pt x="295" y="636"/>
                  </a:lnTo>
                  <a:lnTo>
                    <a:pt x="297" y="638"/>
                  </a:lnTo>
                  <a:lnTo>
                    <a:pt x="297" y="638"/>
                  </a:lnTo>
                  <a:lnTo>
                    <a:pt x="299" y="638"/>
                  </a:lnTo>
                  <a:lnTo>
                    <a:pt x="301" y="638"/>
                  </a:lnTo>
                  <a:lnTo>
                    <a:pt x="303" y="638"/>
                  </a:lnTo>
                  <a:lnTo>
                    <a:pt x="307" y="638"/>
                  </a:lnTo>
                  <a:lnTo>
                    <a:pt x="307" y="638"/>
                  </a:lnTo>
                  <a:lnTo>
                    <a:pt x="308" y="636"/>
                  </a:lnTo>
                  <a:lnTo>
                    <a:pt x="308" y="634"/>
                  </a:lnTo>
                  <a:lnTo>
                    <a:pt x="310" y="630"/>
                  </a:lnTo>
                  <a:lnTo>
                    <a:pt x="310" y="628"/>
                  </a:lnTo>
                  <a:lnTo>
                    <a:pt x="312" y="626"/>
                  </a:lnTo>
                  <a:lnTo>
                    <a:pt x="312" y="624"/>
                  </a:lnTo>
                  <a:lnTo>
                    <a:pt x="314" y="624"/>
                  </a:lnTo>
                  <a:lnTo>
                    <a:pt x="316" y="624"/>
                  </a:lnTo>
                  <a:lnTo>
                    <a:pt x="326" y="622"/>
                  </a:lnTo>
                  <a:lnTo>
                    <a:pt x="327" y="622"/>
                  </a:lnTo>
                  <a:lnTo>
                    <a:pt x="327" y="622"/>
                  </a:lnTo>
                  <a:lnTo>
                    <a:pt x="329" y="622"/>
                  </a:lnTo>
                  <a:lnTo>
                    <a:pt x="329" y="620"/>
                  </a:lnTo>
                  <a:lnTo>
                    <a:pt x="331" y="619"/>
                  </a:lnTo>
                  <a:lnTo>
                    <a:pt x="333" y="615"/>
                  </a:lnTo>
                  <a:lnTo>
                    <a:pt x="335" y="613"/>
                  </a:lnTo>
                  <a:lnTo>
                    <a:pt x="335" y="613"/>
                  </a:lnTo>
                  <a:lnTo>
                    <a:pt x="337" y="611"/>
                  </a:lnTo>
                  <a:lnTo>
                    <a:pt x="337" y="611"/>
                  </a:lnTo>
                  <a:lnTo>
                    <a:pt x="337" y="611"/>
                  </a:lnTo>
                  <a:lnTo>
                    <a:pt x="339" y="609"/>
                  </a:lnTo>
                  <a:lnTo>
                    <a:pt x="339" y="609"/>
                  </a:lnTo>
                  <a:lnTo>
                    <a:pt x="339" y="609"/>
                  </a:lnTo>
                  <a:lnTo>
                    <a:pt x="339" y="609"/>
                  </a:lnTo>
                  <a:lnTo>
                    <a:pt x="339" y="607"/>
                  </a:lnTo>
                  <a:lnTo>
                    <a:pt x="339" y="607"/>
                  </a:lnTo>
                  <a:lnTo>
                    <a:pt x="339" y="607"/>
                  </a:lnTo>
                  <a:lnTo>
                    <a:pt x="339" y="605"/>
                  </a:lnTo>
                  <a:lnTo>
                    <a:pt x="335" y="601"/>
                  </a:lnTo>
                  <a:lnTo>
                    <a:pt x="335" y="601"/>
                  </a:lnTo>
                  <a:lnTo>
                    <a:pt x="335" y="601"/>
                  </a:lnTo>
                  <a:lnTo>
                    <a:pt x="333" y="600"/>
                  </a:lnTo>
                  <a:lnTo>
                    <a:pt x="329" y="600"/>
                  </a:lnTo>
                  <a:lnTo>
                    <a:pt x="314" y="600"/>
                  </a:lnTo>
                  <a:lnTo>
                    <a:pt x="312" y="598"/>
                  </a:lnTo>
                  <a:lnTo>
                    <a:pt x="312" y="598"/>
                  </a:lnTo>
                  <a:lnTo>
                    <a:pt x="312" y="596"/>
                  </a:lnTo>
                  <a:lnTo>
                    <a:pt x="312" y="596"/>
                  </a:lnTo>
                  <a:lnTo>
                    <a:pt x="310" y="594"/>
                  </a:lnTo>
                  <a:lnTo>
                    <a:pt x="310" y="594"/>
                  </a:lnTo>
                  <a:lnTo>
                    <a:pt x="310" y="594"/>
                  </a:lnTo>
                  <a:lnTo>
                    <a:pt x="312" y="592"/>
                  </a:lnTo>
                  <a:lnTo>
                    <a:pt x="312" y="592"/>
                  </a:lnTo>
                  <a:lnTo>
                    <a:pt x="312" y="590"/>
                  </a:lnTo>
                  <a:lnTo>
                    <a:pt x="316" y="588"/>
                  </a:lnTo>
                  <a:lnTo>
                    <a:pt x="320" y="586"/>
                  </a:lnTo>
                  <a:lnTo>
                    <a:pt x="320" y="584"/>
                  </a:lnTo>
                  <a:lnTo>
                    <a:pt x="322" y="582"/>
                  </a:lnTo>
                  <a:lnTo>
                    <a:pt x="324" y="580"/>
                  </a:lnTo>
                  <a:lnTo>
                    <a:pt x="324" y="580"/>
                  </a:lnTo>
                  <a:lnTo>
                    <a:pt x="326" y="575"/>
                  </a:lnTo>
                  <a:lnTo>
                    <a:pt x="326" y="573"/>
                  </a:lnTo>
                  <a:lnTo>
                    <a:pt x="326" y="571"/>
                  </a:lnTo>
                  <a:lnTo>
                    <a:pt x="324" y="571"/>
                  </a:lnTo>
                  <a:lnTo>
                    <a:pt x="324" y="571"/>
                  </a:lnTo>
                  <a:lnTo>
                    <a:pt x="322" y="571"/>
                  </a:lnTo>
                  <a:lnTo>
                    <a:pt x="322" y="571"/>
                  </a:lnTo>
                  <a:lnTo>
                    <a:pt x="322" y="571"/>
                  </a:lnTo>
                  <a:lnTo>
                    <a:pt x="322" y="571"/>
                  </a:lnTo>
                  <a:lnTo>
                    <a:pt x="322" y="571"/>
                  </a:lnTo>
                  <a:lnTo>
                    <a:pt x="322" y="571"/>
                  </a:lnTo>
                  <a:lnTo>
                    <a:pt x="322" y="569"/>
                  </a:lnTo>
                  <a:lnTo>
                    <a:pt x="322" y="569"/>
                  </a:lnTo>
                  <a:lnTo>
                    <a:pt x="322" y="567"/>
                  </a:lnTo>
                  <a:lnTo>
                    <a:pt x="320" y="567"/>
                  </a:lnTo>
                  <a:lnTo>
                    <a:pt x="320" y="565"/>
                  </a:lnTo>
                  <a:lnTo>
                    <a:pt x="320" y="563"/>
                  </a:lnTo>
                  <a:lnTo>
                    <a:pt x="322" y="560"/>
                  </a:lnTo>
                  <a:lnTo>
                    <a:pt x="324" y="554"/>
                  </a:lnTo>
                  <a:lnTo>
                    <a:pt x="326" y="554"/>
                  </a:lnTo>
                  <a:lnTo>
                    <a:pt x="327" y="554"/>
                  </a:lnTo>
                  <a:lnTo>
                    <a:pt x="327" y="554"/>
                  </a:lnTo>
                  <a:lnTo>
                    <a:pt x="329" y="554"/>
                  </a:lnTo>
                  <a:lnTo>
                    <a:pt x="331" y="554"/>
                  </a:lnTo>
                  <a:lnTo>
                    <a:pt x="331" y="554"/>
                  </a:lnTo>
                  <a:lnTo>
                    <a:pt x="333" y="554"/>
                  </a:lnTo>
                  <a:lnTo>
                    <a:pt x="337" y="552"/>
                  </a:lnTo>
                  <a:lnTo>
                    <a:pt x="337" y="552"/>
                  </a:lnTo>
                  <a:lnTo>
                    <a:pt x="339" y="550"/>
                  </a:lnTo>
                  <a:lnTo>
                    <a:pt x="339" y="550"/>
                  </a:lnTo>
                  <a:lnTo>
                    <a:pt x="339" y="550"/>
                  </a:lnTo>
                  <a:lnTo>
                    <a:pt x="339" y="548"/>
                  </a:lnTo>
                  <a:lnTo>
                    <a:pt x="337" y="548"/>
                  </a:lnTo>
                  <a:lnTo>
                    <a:pt x="337" y="548"/>
                  </a:lnTo>
                  <a:lnTo>
                    <a:pt x="337" y="546"/>
                  </a:lnTo>
                  <a:lnTo>
                    <a:pt x="339" y="546"/>
                  </a:lnTo>
                  <a:lnTo>
                    <a:pt x="339" y="544"/>
                  </a:lnTo>
                  <a:lnTo>
                    <a:pt x="341" y="542"/>
                  </a:lnTo>
                  <a:lnTo>
                    <a:pt x="343" y="537"/>
                  </a:lnTo>
                  <a:lnTo>
                    <a:pt x="347" y="537"/>
                  </a:lnTo>
                  <a:lnTo>
                    <a:pt x="350" y="535"/>
                  </a:lnTo>
                  <a:lnTo>
                    <a:pt x="352" y="537"/>
                  </a:lnTo>
                  <a:lnTo>
                    <a:pt x="352" y="537"/>
                  </a:lnTo>
                  <a:lnTo>
                    <a:pt x="354" y="537"/>
                  </a:lnTo>
                  <a:lnTo>
                    <a:pt x="354" y="537"/>
                  </a:lnTo>
                  <a:lnTo>
                    <a:pt x="354" y="539"/>
                  </a:lnTo>
                  <a:lnTo>
                    <a:pt x="356" y="539"/>
                  </a:lnTo>
                  <a:lnTo>
                    <a:pt x="356" y="541"/>
                  </a:lnTo>
                  <a:lnTo>
                    <a:pt x="358" y="542"/>
                  </a:lnTo>
                  <a:lnTo>
                    <a:pt x="360" y="542"/>
                  </a:lnTo>
                  <a:lnTo>
                    <a:pt x="360" y="542"/>
                  </a:lnTo>
                  <a:lnTo>
                    <a:pt x="362" y="542"/>
                  </a:lnTo>
                  <a:lnTo>
                    <a:pt x="362" y="541"/>
                  </a:lnTo>
                  <a:lnTo>
                    <a:pt x="362" y="541"/>
                  </a:lnTo>
                  <a:lnTo>
                    <a:pt x="362" y="541"/>
                  </a:lnTo>
                  <a:lnTo>
                    <a:pt x="364" y="539"/>
                  </a:lnTo>
                  <a:lnTo>
                    <a:pt x="364" y="539"/>
                  </a:lnTo>
                  <a:lnTo>
                    <a:pt x="366" y="539"/>
                  </a:lnTo>
                  <a:lnTo>
                    <a:pt x="367" y="541"/>
                  </a:lnTo>
                  <a:lnTo>
                    <a:pt x="373" y="544"/>
                  </a:lnTo>
                  <a:lnTo>
                    <a:pt x="375" y="544"/>
                  </a:lnTo>
                  <a:lnTo>
                    <a:pt x="381" y="546"/>
                  </a:lnTo>
                  <a:lnTo>
                    <a:pt x="383" y="546"/>
                  </a:lnTo>
                  <a:lnTo>
                    <a:pt x="383" y="544"/>
                  </a:lnTo>
                  <a:lnTo>
                    <a:pt x="383" y="542"/>
                  </a:lnTo>
                  <a:lnTo>
                    <a:pt x="383" y="542"/>
                  </a:lnTo>
                  <a:lnTo>
                    <a:pt x="383" y="541"/>
                  </a:lnTo>
                  <a:lnTo>
                    <a:pt x="383" y="539"/>
                  </a:lnTo>
                  <a:lnTo>
                    <a:pt x="383" y="539"/>
                  </a:lnTo>
                  <a:lnTo>
                    <a:pt x="383" y="537"/>
                  </a:lnTo>
                  <a:lnTo>
                    <a:pt x="383" y="537"/>
                  </a:lnTo>
                  <a:lnTo>
                    <a:pt x="383" y="537"/>
                  </a:lnTo>
                  <a:lnTo>
                    <a:pt x="385" y="537"/>
                  </a:lnTo>
                  <a:lnTo>
                    <a:pt x="385" y="537"/>
                  </a:lnTo>
                  <a:lnTo>
                    <a:pt x="385" y="539"/>
                  </a:lnTo>
                  <a:lnTo>
                    <a:pt x="387" y="539"/>
                  </a:lnTo>
                  <a:lnTo>
                    <a:pt x="387" y="539"/>
                  </a:lnTo>
                  <a:lnTo>
                    <a:pt x="387" y="539"/>
                  </a:lnTo>
                  <a:lnTo>
                    <a:pt x="387" y="539"/>
                  </a:lnTo>
                  <a:lnTo>
                    <a:pt x="388" y="537"/>
                  </a:lnTo>
                  <a:lnTo>
                    <a:pt x="388" y="537"/>
                  </a:lnTo>
                  <a:lnTo>
                    <a:pt x="388" y="537"/>
                  </a:lnTo>
                  <a:lnTo>
                    <a:pt x="390" y="537"/>
                  </a:lnTo>
                  <a:lnTo>
                    <a:pt x="390" y="537"/>
                  </a:lnTo>
                  <a:lnTo>
                    <a:pt x="390" y="537"/>
                  </a:lnTo>
                  <a:lnTo>
                    <a:pt x="392" y="537"/>
                  </a:lnTo>
                  <a:lnTo>
                    <a:pt x="392" y="535"/>
                  </a:lnTo>
                  <a:lnTo>
                    <a:pt x="392" y="533"/>
                  </a:lnTo>
                  <a:lnTo>
                    <a:pt x="392" y="533"/>
                  </a:lnTo>
                  <a:lnTo>
                    <a:pt x="392" y="531"/>
                  </a:lnTo>
                  <a:lnTo>
                    <a:pt x="392" y="531"/>
                  </a:lnTo>
                  <a:lnTo>
                    <a:pt x="394" y="531"/>
                  </a:lnTo>
                  <a:lnTo>
                    <a:pt x="394" y="531"/>
                  </a:lnTo>
                  <a:lnTo>
                    <a:pt x="394" y="531"/>
                  </a:lnTo>
                  <a:lnTo>
                    <a:pt x="394" y="533"/>
                  </a:lnTo>
                  <a:lnTo>
                    <a:pt x="400" y="537"/>
                  </a:lnTo>
                  <a:lnTo>
                    <a:pt x="402" y="537"/>
                  </a:lnTo>
                  <a:lnTo>
                    <a:pt x="404" y="537"/>
                  </a:lnTo>
                  <a:lnTo>
                    <a:pt x="404" y="537"/>
                  </a:lnTo>
                  <a:lnTo>
                    <a:pt x="404" y="535"/>
                  </a:lnTo>
                  <a:lnTo>
                    <a:pt x="404" y="535"/>
                  </a:lnTo>
                  <a:lnTo>
                    <a:pt x="402" y="533"/>
                  </a:lnTo>
                  <a:lnTo>
                    <a:pt x="400" y="531"/>
                  </a:lnTo>
                  <a:lnTo>
                    <a:pt x="400" y="531"/>
                  </a:lnTo>
                  <a:lnTo>
                    <a:pt x="398" y="531"/>
                  </a:lnTo>
                  <a:lnTo>
                    <a:pt x="398" y="531"/>
                  </a:lnTo>
                  <a:lnTo>
                    <a:pt x="398" y="529"/>
                  </a:lnTo>
                  <a:lnTo>
                    <a:pt x="398" y="529"/>
                  </a:lnTo>
                  <a:lnTo>
                    <a:pt x="402" y="525"/>
                  </a:lnTo>
                  <a:lnTo>
                    <a:pt x="402" y="523"/>
                  </a:lnTo>
                  <a:lnTo>
                    <a:pt x="402" y="523"/>
                  </a:lnTo>
                  <a:lnTo>
                    <a:pt x="402" y="523"/>
                  </a:lnTo>
                  <a:lnTo>
                    <a:pt x="404" y="522"/>
                  </a:lnTo>
                  <a:lnTo>
                    <a:pt x="404" y="520"/>
                  </a:lnTo>
                  <a:lnTo>
                    <a:pt x="404" y="520"/>
                  </a:lnTo>
                  <a:lnTo>
                    <a:pt x="404" y="520"/>
                  </a:lnTo>
                  <a:lnTo>
                    <a:pt x="406" y="518"/>
                  </a:lnTo>
                  <a:lnTo>
                    <a:pt x="407" y="518"/>
                  </a:lnTo>
                  <a:lnTo>
                    <a:pt x="407" y="516"/>
                  </a:lnTo>
                  <a:lnTo>
                    <a:pt x="407" y="516"/>
                  </a:lnTo>
                  <a:lnTo>
                    <a:pt x="407" y="514"/>
                  </a:lnTo>
                  <a:lnTo>
                    <a:pt x="407" y="512"/>
                  </a:lnTo>
                  <a:lnTo>
                    <a:pt x="409" y="510"/>
                  </a:lnTo>
                  <a:lnTo>
                    <a:pt x="409" y="510"/>
                  </a:lnTo>
                  <a:lnTo>
                    <a:pt x="411" y="508"/>
                  </a:lnTo>
                  <a:lnTo>
                    <a:pt x="411" y="506"/>
                  </a:lnTo>
                  <a:lnTo>
                    <a:pt x="411" y="506"/>
                  </a:lnTo>
                  <a:lnTo>
                    <a:pt x="411" y="504"/>
                  </a:lnTo>
                  <a:lnTo>
                    <a:pt x="411" y="504"/>
                  </a:lnTo>
                  <a:lnTo>
                    <a:pt x="413" y="503"/>
                  </a:lnTo>
                  <a:lnTo>
                    <a:pt x="413" y="503"/>
                  </a:lnTo>
                  <a:lnTo>
                    <a:pt x="413" y="503"/>
                  </a:lnTo>
                  <a:lnTo>
                    <a:pt x="413" y="501"/>
                  </a:lnTo>
                  <a:lnTo>
                    <a:pt x="413" y="499"/>
                  </a:lnTo>
                  <a:lnTo>
                    <a:pt x="413" y="499"/>
                  </a:lnTo>
                  <a:lnTo>
                    <a:pt x="413" y="49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5" name="Freeform 47">
              <a:extLst>
                <a:ext uri="{FF2B5EF4-FFF2-40B4-BE49-F238E27FC236}">
                  <a16:creationId xmlns:a16="http://schemas.microsoft.com/office/drawing/2014/main" id="{4CE7950D-1B42-4329-235E-A7FE9563EBAA}"/>
                </a:ext>
              </a:extLst>
            </p:cNvPr>
            <p:cNvSpPr>
              <a:spLocks/>
            </p:cNvSpPr>
            <p:nvPr/>
          </p:nvSpPr>
          <p:spPr bwMode="auto">
            <a:xfrm>
              <a:off x="4649788" y="4491838"/>
              <a:ext cx="655638" cy="1036638"/>
            </a:xfrm>
            <a:custGeom>
              <a:avLst/>
              <a:gdLst>
                <a:gd name="T0" fmla="*/ 392 w 413"/>
                <a:gd name="T1" fmla="*/ 487 h 653"/>
                <a:gd name="T2" fmla="*/ 379 w 413"/>
                <a:gd name="T3" fmla="*/ 466 h 653"/>
                <a:gd name="T4" fmla="*/ 367 w 413"/>
                <a:gd name="T5" fmla="*/ 442 h 653"/>
                <a:gd name="T6" fmla="*/ 350 w 413"/>
                <a:gd name="T7" fmla="*/ 436 h 653"/>
                <a:gd name="T8" fmla="*/ 331 w 413"/>
                <a:gd name="T9" fmla="*/ 449 h 653"/>
                <a:gd name="T10" fmla="*/ 307 w 413"/>
                <a:gd name="T11" fmla="*/ 449 h 653"/>
                <a:gd name="T12" fmla="*/ 280 w 413"/>
                <a:gd name="T13" fmla="*/ 438 h 653"/>
                <a:gd name="T14" fmla="*/ 272 w 413"/>
                <a:gd name="T15" fmla="*/ 453 h 653"/>
                <a:gd name="T16" fmla="*/ 268 w 413"/>
                <a:gd name="T17" fmla="*/ 438 h 653"/>
                <a:gd name="T18" fmla="*/ 265 w 413"/>
                <a:gd name="T19" fmla="*/ 413 h 653"/>
                <a:gd name="T20" fmla="*/ 297 w 413"/>
                <a:gd name="T21" fmla="*/ 432 h 653"/>
                <a:gd name="T22" fmla="*/ 301 w 413"/>
                <a:gd name="T23" fmla="*/ 421 h 653"/>
                <a:gd name="T24" fmla="*/ 307 w 413"/>
                <a:gd name="T25" fmla="*/ 400 h 653"/>
                <a:gd name="T26" fmla="*/ 287 w 413"/>
                <a:gd name="T27" fmla="*/ 398 h 653"/>
                <a:gd name="T28" fmla="*/ 255 w 413"/>
                <a:gd name="T29" fmla="*/ 394 h 653"/>
                <a:gd name="T30" fmla="*/ 249 w 413"/>
                <a:gd name="T31" fmla="*/ 379 h 653"/>
                <a:gd name="T32" fmla="*/ 247 w 413"/>
                <a:gd name="T33" fmla="*/ 337 h 653"/>
                <a:gd name="T34" fmla="*/ 272 w 413"/>
                <a:gd name="T35" fmla="*/ 333 h 653"/>
                <a:gd name="T36" fmla="*/ 265 w 413"/>
                <a:gd name="T37" fmla="*/ 286 h 653"/>
                <a:gd name="T38" fmla="*/ 270 w 413"/>
                <a:gd name="T39" fmla="*/ 259 h 653"/>
                <a:gd name="T40" fmla="*/ 316 w 413"/>
                <a:gd name="T41" fmla="*/ 210 h 653"/>
                <a:gd name="T42" fmla="*/ 308 w 413"/>
                <a:gd name="T43" fmla="*/ 175 h 653"/>
                <a:gd name="T44" fmla="*/ 305 w 413"/>
                <a:gd name="T45" fmla="*/ 128 h 653"/>
                <a:gd name="T46" fmla="*/ 322 w 413"/>
                <a:gd name="T47" fmla="*/ 86 h 653"/>
                <a:gd name="T48" fmla="*/ 318 w 413"/>
                <a:gd name="T49" fmla="*/ 59 h 653"/>
                <a:gd name="T50" fmla="*/ 312 w 413"/>
                <a:gd name="T51" fmla="*/ 18 h 653"/>
                <a:gd name="T52" fmla="*/ 278 w 413"/>
                <a:gd name="T53" fmla="*/ 21 h 653"/>
                <a:gd name="T54" fmla="*/ 246 w 413"/>
                <a:gd name="T55" fmla="*/ 56 h 653"/>
                <a:gd name="T56" fmla="*/ 219 w 413"/>
                <a:gd name="T57" fmla="*/ 73 h 653"/>
                <a:gd name="T58" fmla="*/ 209 w 413"/>
                <a:gd name="T59" fmla="*/ 103 h 653"/>
                <a:gd name="T60" fmla="*/ 167 w 413"/>
                <a:gd name="T61" fmla="*/ 109 h 653"/>
                <a:gd name="T62" fmla="*/ 135 w 413"/>
                <a:gd name="T63" fmla="*/ 105 h 653"/>
                <a:gd name="T64" fmla="*/ 143 w 413"/>
                <a:gd name="T65" fmla="*/ 143 h 653"/>
                <a:gd name="T66" fmla="*/ 101 w 413"/>
                <a:gd name="T67" fmla="*/ 154 h 653"/>
                <a:gd name="T68" fmla="*/ 70 w 413"/>
                <a:gd name="T69" fmla="*/ 158 h 653"/>
                <a:gd name="T70" fmla="*/ 53 w 413"/>
                <a:gd name="T71" fmla="*/ 179 h 653"/>
                <a:gd name="T72" fmla="*/ 30 w 413"/>
                <a:gd name="T73" fmla="*/ 181 h 653"/>
                <a:gd name="T74" fmla="*/ 13 w 413"/>
                <a:gd name="T75" fmla="*/ 193 h 653"/>
                <a:gd name="T76" fmla="*/ 23 w 413"/>
                <a:gd name="T77" fmla="*/ 200 h 653"/>
                <a:gd name="T78" fmla="*/ 34 w 413"/>
                <a:gd name="T79" fmla="*/ 227 h 653"/>
                <a:gd name="T80" fmla="*/ 19 w 413"/>
                <a:gd name="T81" fmla="*/ 263 h 653"/>
                <a:gd name="T82" fmla="*/ 7 w 413"/>
                <a:gd name="T83" fmla="*/ 272 h 653"/>
                <a:gd name="T84" fmla="*/ 13 w 413"/>
                <a:gd name="T85" fmla="*/ 310 h 653"/>
                <a:gd name="T86" fmla="*/ 2 w 413"/>
                <a:gd name="T87" fmla="*/ 343 h 653"/>
                <a:gd name="T88" fmla="*/ 4 w 413"/>
                <a:gd name="T89" fmla="*/ 356 h 653"/>
                <a:gd name="T90" fmla="*/ 23 w 413"/>
                <a:gd name="T91" fmla="*/ 377 h 653"/>
                <a:gd name="T92" fmla="*/ 32 w 413"/>
                <a:gd name="T93" fmla="*/ 402 h 653"/>
                <a:gd name="T94" fmla="*/ 57 w 413"/>
                <a:gd name="T95" fmla="*/ 461 h 653"/>
                <a:gd name="T96" fmla="*/ 59 w 413"/>
                <a:gd name="T97" fmla="*/ 499 h 653"/>
                <a:gd name="T98" fmla="*/ 78 w 413"/>
                <a:gd name="T99" fmla="*/ 544 h 653"/>
                <a:gd name="T100" fmla="*/ 93 w 413"/>
                <a:gd name="T101" fmla="*/ 556 h 653"/>
                <a:gd name="T102" fmla="*/ 110 w 413"/>
                <a:gd name="T103" fmla="*/ 571 h 653"/>
                <a:gd name="T104" fmla="*/ 122 w 413"/>
                <a:gd name="T105" fmla="*/ 590 h 653"/>
                <a:gd name="T106" fmla="*/ 160 w 413"/>
                <a:gd name="T107" fmla="*/ 622 h 653"/>
                <a:gd name="T108" fmla="*/ 198 w 413"/>
                <a:gd name="T109" fmla="*/ 636 h 653"/>
                <a:gd name="T110" fmla="*/ 226 w 413"/>
                <a:gd name="T111" fmla="*/ 651 h 653"/>
                <a:gd name="T112" fmla="*/ 291 w 413"/>
                <a:gd name="T113" fmla="*/ 636 h 653"/>
                <a:gd name="T114" fmla="*/ 339 w 413"/>
                <a:gd name="T115" fmla="*/ 609 h 653"/>
                <a:gd name="T116" fmla="*/ 322 w 413"/>
                <a:gd name="T117" fmla="*/ 571 h 653"/>
                <a:gd name="T118" fmla="*/ 343 w 413"/>
                <a:gd name="T119" fmla="*/ 537 h 653"/>
                <a:gd name="T120" fmla="*/ 383 w 413"/>
                <a:gd name="T121" fmla="*/ 537 h 653"/>
                <a:gd name="T122" fmla="*/ 398 w 413"/>
                <a:gd name="T123" fmla="*/ 53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 h="653">
                  <a:moveTo>
                    <a:pt x="413" y="497"/>
                  </a:moveTo>
                  <a:lnTo>
                    <a:pt x="413" y="497"/>
                  </a:lnTo>
                  <a:lnTo>
                    <a:pt x="411" y="497"/>
                  </a:lnTo>
                  <a:lnTo>
                    <a:pt x="411" y="495"/>
                  </a:lnTo>
                  <a:lnTo>
                    <a:pt x="411" y="495"/>
                  </a:lnTo>
                  <a:lnTo>
                    <a:pt x="409" y="497"/>
                  </a:lnTo>
                  <a:lnTo>
                    <a:pt x="409" y="497"/>
                  </a:lnTo>
                  <a:lnTo>
                    <a:pt x="409" y="497"/>
                  </a:lnTo>
                  <a:lnTo>
                    <a:pt x="409" y="497"/>
                  </a:lnTo>
                  <a:lnTo>
                    <a:pt x="407" y="497"/>
                  </a:lnTo>
                  <a:lnTo>
                    <a:pt x="407" y="497"/>
                  </a:lnTo>
                  <a:lnTo>
                    <a:pt x="407" y="497"/>
                  </a:lnTo>
                  <a:lnTo>
                    <a:pt x="404" y="495"/>
                  </a:lnTo>
                  <a:lnTo>
                    <a:pt x="402" y="493"/>
                  </a:lnTo>
                  <a:lnTo>
                    <a:pt x="402" y="493"/>
                  </a:lnTo>
                  <a:lnTo>
                    <a:pt x="402" y="493"/>
                  </a:lnTo>
                  <a:lnTo>
                    <a:pt x="402" y="493"/>
                  </a:lnTo>
                  <a:lnTo>
                    <a:pt x="400" y="493"/>
                  </a:lnTo>
                  <a:lnTo>
                    <a:pt x="400" y="493"/>
                  </a:lnTo>
                  <a:lnTo>
                    <a:pt x="400" y="493"/>
                  </a:lnTo>
                  <a:lnTo>
                    <a:pt x="398" y="493"/>
                  </a:lnTo>
                  <a:lnTo>
                    <a:pt x="398" y="493"/>
                  </a:lnTo>
                  <a:lnTo>
                    <a:pt x="396" y="493"/>
                  </a:lnTo>
                  <a:lnTo>
                    <a:pt x="396" y="493"/>
                  </a:lnTo>
                  <a:lnTo>
                    <a:pt x="396" y="493"/>
                  </a:lnTo>
                  <a:lnTo>
                    <a:pt x="394" y="491"/>
                  </a:lnTo>
                  <a:lnTo>
                    <a:pt x="394" y="491"/>
                  </a:lnTo>
                  <a:lnTo>
                    <a:pt x="394" y="489"/>
                  </a:lnTo>
                  <a:lnTo>
                    <a:pt x="394" y="489"/>
                  </a:lnTo>
                  <a:lnTo>
                    <a:pt x="392" y="489"/>
                  </a:lnTo>
                  <a:lnTo>
                    <a:pt x="392" y="487"/>
                  </a:lnTo>
                  <a:lnTo>
                    <a:pt x="392" y="487"/>
                  </a:lnTo>
                  <a:lnTo>
                    <a:pt x="392" y="487"/>
                  </a:lnTo>
                  <a:lnTo>
                    <a:pt x="392" y="485"/>
                  </a:lnTo>
                  <a:lnTo>
                    <a:pt x="394" y="485"/>
                  </a:lnTo>
                  <a:lnTo>
                    <a:pt x="394" y="485"/>
                  </a:lnTo>
                  <a:lnTo>
                    <a:pt x="394" y="485"/>
                  </a:lnTo>
                  <a:lnTo>
                    <a:pt x="394" y="480"/>
                  </a:lnTo>
                  <a:lnTo>
                    <a:pt x="394" y="480"/>
                  </a:lnTo>
                  <a:lnTo>
                    <a:pt x="394" y="478"/>
                  </a:lnTo>
                  <a:lnTo>
                    <a:pt x="394" y="478"/>
                  </a:lnTo>
                  <a:lnTo>
                    <a:pt x="394" y="476"/>
                  </a:lnTo>
                  <a:lnTo>
                    <a:pt x="394" y="476"/>
                  </a:lnTo>
                  <a:lnTo>
                    <a:pt x="394" y="474"/>
                  </a:lnTo>
                  <a:lnTo>
                    <a:pt x="394" y="472"/>
                  </a:lnTo>
                  <a:lnTo>
                    <a:pt x="394" y="472"/>
                  </a:lnTo>
                  <a:lnTo>
                    <a:pt x="394" y="470"/>
                  </a:lnTo>
                  <a:lnTo>
                    <a:pt x="394" y="468"/>
                  </a:lnTo>
                  <a:lnTo>
                    <a:pt x="394" y="468"/>
                  </a:lnTo>
                  <a:lnTo>
                    <a:pt x="394" y="468"/>
                  </a:lnTo>
                  <a:lnTo>
                    <a:pt x="394" y="468"/>
                  </a:lnTo>
                  <a:lnTo>
                    <a:pt x="392" y="468"/>
                  </a:lnTo>
                  <a:lnTo>
                    <a:pt x="392" y="468"/>
                  </a:lnTo>
                  <a:lnTo>
                    <a:pt x="390" y="468"/>
                  </a:lnTo>
                  <a:lnTo>
                    <a:pt x="390" y="468"/>
                  </a:lnTo>
                  <a:lnTo>
                    <a:pt x="390" y="468"/>
                  </a:lnTo>
                  <a:lnTo>
                    <a:pt x="388" y="466"/>
                  </a:lnTo>
                  <a:lnTo>
                    <a:pt x="388" y="466"/>
                  </a:lnTo>
                  <a:lnTo>
                    <a:pt x="388" y="466"/>
                  </a:lnTo>
                  <a:lnTo>
                    <a:pt x="387" y="466"/>
                  </a:lnTo>
                  <a:lnTo>
                    <a:pt x="387" y="468"/>
                  </a:lnTo>
                  <a:lnTo>
                    <a:pt x="385" y="468"/>
                  </a:lnTo>
                  <a:lnTo>
                    <a:pt x="385" y="468"/>
                  </a:lnTo>
                  <a:lnTo>
                    <a:pt x="383" y="468"/>
                  </a:lnTo>
                  <a:lnTo>
                    <a:pt x="381" y="468"/>
                  </a:lnTo>
                  <a:lnTo>
                    <a:pt x="379" y="466"/>
                  </a:lnTo>
                  <a:lnTo>
                    <a:pt x="379" y="466"/>
                  </a:lnTo>
                  <a:lnTo>
                    <a:pt x="377" y="466"/>
                  </a:lnTo>
                  <a:lnTo>
                    <a:pt x="377" y="466"/>
                  </a:lnTo>
                  <a:lnTo>
                    <a:pt x="377" y="466"/>
                  </a:lnTo>
                  <a:lnTo>
                    <a:pt x="375" y="466"/>
                  </a:lnTo>
                  <a:lnTo>
                    <a:pt x="373" y="463"/>
                  </a:lnTo>
                  <a:lnTo>
                    <a:pt x="371" y="461"/>
                  </a:lnTo>
                  <a:lnTo>
                    <a:pt x="371" y="461"/>
                  </a:lnTo>
                  <a:lnTo>
                    <a:pt x="369" y="461"/>
                  </a:lnTo>
                  <a:lnTo>
                    <a:pt x="369" y="461"/>
                  </a:lnTo>
                  <a:lnTo>
                    <a:pt x="367" y="463"/>
                  </a:lnTo>
                  <a:lnTo>
                    <a:pt x="367" y="463"/>
                  </a:lnTo>
                  <a:lnTo>
                    <a:pt x="366" y="461"/>
                  </a:lnTo>
                  <a:lnTo>
                    <a:pt x="366" y="461"/>
                  </a:lnTo>
                  <a:lnTo>
                    <a:pt x="366" y="459"/>
                  </a:lnTo>
                  <a:lnTo>
                    <a:pt x="366" y="459"/>
                  </a:lnTo>
                  <a:lnTo>
                    <a:pt x="366" y="457"/>
                  </a:lnTo>
                  <a:lnTo>
                    <a:pt x="366" y="457"/>
                  </a:lnTo>
                  <a:lnTo>
                    <a:pt x="367" y="459"/>
                  </a:lnTo>
                  <a:lnTo>
                    <a:pt x="369" y="459"/>
                  </a:lnTo>
                  <a:lnTo>
                    <a:pt x="369" y="457"/>
                  </a:lnTo>
                  <a:lnTo>
                    <a:pt x="369" y="457"/>
                  </a:lnTo>
                  <a:lnTo>
                    <a:pt x="369" y="457"/>
                  </a:lnTo>
                  <a:lnTo>
                    <a:pt x="369" y="455"/>
                  </a:lnTo>
                  <a:lnTo>
                    <a:pt x="369" y="455"/>
                  </a:lnTo>
                  <a:lnTo>
                    <a:pt x="367" y="453"/>
                  </a:lnTo>
                  <a:lnTo>
                    <a:pt x="367" y="453"/>
                  </a:lnTo>
                  <a:lnTo>
                    <a:pt x="367" y="451"/>
                  </a:lnTo>
                  <a:lnTo>
                    <a:pt x="369" y="449"/>
                  </a:lnTo>
                  <a:lnTo>
                    <a:pt x="369" y="447"/>
                  </a:lnTo>
                  <a:lnTo>
                    <a:pt x="369" y="447"/>
                  </a:lnTo>
                  <a:lnTo>
                    <a:pt x="369" y="445"/>
                  </a:lnTo>
                  <a:lnTo>
                    <a:pt x="367" y="442"/>
                  </a:lnTo>
                  <a:lnTo>
                    <a:pt x="364" y="440"/>
                  </a:lnTo>
                  <a:lnTo>
                    <a:pt x="360" y="442"/>
                  </a:lnTo>
                  <a:lnTo>
                    <a:pt x="360" y="442"/>
                  </a:lnTo>
                  <a:lnTo>
                    <a:pt x="360" y="442"/>
                  </a:lnTo>
                  <a:lnTo>
                    <a:pt x="358" y="442"/>
                  </a:lnTo>
                  <a:lnTo>
                    <a:pt x="358" y="442"/>
                  </a:lnTo>
                  <a:lnTo>
                    <a:pt x="356" y="442"/>
                  </a:lnTo>
                  <a:lnTo>
                    <a:pt x="356" y="442"/>
                  </a:lnTo>
                  <a:lnTo>
                    <a:pt x="354" y="444"/>
                  </a:lnTo>
                  <a:lnTo>
                    <a:pt x="354" y="445"/>
                  </a:lnTo>
                  <a:lnTo>
                    <a:pt x="352" y="445"/>
                  </a:lnTo>
                  <a:lnTo>
                    <a:pt x="352" y="445"/>
                  </a:lnTo>
                  <a:lnTo>
                    <a:pt x="352" y="444"/>
                  </a:lnTo>
                  <a:lnTo>
                    <a:pt x="352" y="444"/>
                  </a:lnTo>
                  <a:lnTo>
                    <a:pt x="352" y="442"/>
                  </a:lnTo>
                  <a:lnTo>
                    <a:pt x="352" y="440"/>
                  </a:lnTo>
                  <a:lnTo>
                    <a:pt x="352" y="440"/>
                  </a:lnTo>
                  <a:lnTo>
                    <a:pt x="352" y="440"/>
                  </a:lnTo>
                  <a:lnTo>
                    <a:pt x="354" y="438"/>
                  </a:lnTo>
                  <a:lnTo>
                    <a:pt x="354" y="438"/>
                  </a:lnTo>
                  <a:lnTo>
                    <a:pt x="354" y="436"/>
                  </a:lnTo>
                  <a:lnTo>
                    <a:pt x="354" y="436"/>
                  </a:lnTo>
                  <a:lnTo>
                    <a:pt x="354" y="434"/>
                  </a:lnTo>
                  <a:lnTo>
                    <a:pt x="354" y="434"/>
                  </a:lnTo>
                  <a:lnTo>
                    <a:pt x="354" y="432"/>
                  </a:lnTo>
                  <a:lnTo>
                    <a:pt x="354" y="432"/>
                  </a:lnTo>
                  <a:lnTo>
                    <a:pt x="354" y="432"/>
                  </a:lnTo>
                  <a:lnTo>
                    <a:pt x="354" y="432"/>
                  </a:lnTo>
                  <a:lnTo>
                    <a:pt x="352" y="434"/>
                  </a:lnTo>
                  <a:lnTo>
                    <a:pt x="352" y="434"/>
                  </a:lnTo>
                  <a:lnTo>
                    <a:pt x="352" y="434"/>
                  </a:lnTo>
                  <a:lnTo>
                    <a:pt x="350" y="436"/>
                  </a:lnTo>
                  <a:lnTo>
                    <a:pt x="350" y="436"/>
                  </a:lnTo>
                  <a:lnTo>
                    <a:pt x="350" y="436"/>
                  </a:lnTo>
                  <a:lnTo>
                    <a:pt x="348" y="436"/>
                  </a:lnTo>
                  <a:lnTo>
                    <a:pt x="348" y="436"/>
                  </a:lnTo>
                  <a:lnTo>
                    <a:pt x="347" y="436"/>
                  </a:lnTo>
                  <a:lnTo>
                    <a:pt x="347" y="436"/>
                  </a:lnTo>
                  <a:lnTo>
                    <a:pt x="347" y="436"/>
                  </a:lnTo>
                  <a:lnTo>
                    <a:pt x="345" y="436"/>
                  </a:lnTo>
                  <a:lnTo>
                    <a:pt x="343" y="436"/>
                  </a:lnTo>
                  <a:lnTo>
                    <a:pt x="341" y="434"/>
                  </a:lnTo>
                  <a:lnTo>
                    <a:pt x="341" y="434"/>
                  </a:lnTo>
                  <a:lnTo>
                    <a:pt x="341" y="434"/>
                  </a:lnTo>
                  <a:lnTo>
                    <a:pt x="339" y="436"/>
                  </a:lnTo>
                  <a:lnTo>
                    <a:pt x="339" y="436"/>
                  </a:lnTo>
                  <a:lnTo>
                    <a:pt x="339" y="436"/>
                  </a:lnTo>
                  <a:lnTo>
                    <a:pt x="339" y="438"/>
                  </a:lnTo>
                  <a:lnTo>
                    <a:pt x="339" y="438"/>
                  </a:lnTo>
                  <a:lnTo>
                    <a:pt x="341" y="438"/>
                  </a:lnTo>
                  <a:lnTo>
                    <a:pt x="341" y="440"/>
                  </a:lnTo>
                  <a:lnTo>
                    <a:pt x="341" y="440"/>
                  </a:lnTo>
                  <a:lnTo>
                    <a:pt x="341" y="440"/>
                  </a:lnTo>
                  <a:lnTo>
                    <a:pt x="341" y="442"/>
                  </a:lnTo>
                  <a:lnTo>
                    <a:pt x="341" y="442"/>
                  </a:lnTo>
                  <a:lnTo>
                    <a:pt x="339" y="442"/>
                  </a:lnTo>
                  <a:lnTo>
                    <a:pt x="337" y="444"/>
                  </a:lnTo>
                  <a:lnTo>
                    <a:pt x="337" y="444"/>
                  </a:lnTo>
                  <a:lnTo>
                    <a:pt x="335" y="445"/>
                  </a:lnTo>
                  <a:lnTo>
                    <a:pt x="335" y="445"/>
                  </a:lnTo>
                  <a:lnTo>
                    <a:pt x="335" y="445"/>
                  </a:lnTo>
                  <a:lnTo>
                    <a:pt x="333" y="447"/>
                  </a:lnTo>
                  <a:lnTo>
                    <a:pt x="331" y="447"/>
                  </a:lnTo>
                  <a:lnTo>
                    <a:pt x="331" y="447"/>
                  </a:lnTo>
                  <a:lnTo>
                    <a:pt x="331" y="449"/>
                  </a:lnTo>
                  <a:lnTo>
                    <a:pt x="331" y="449"/>
                  </a:lnTo>
                  <a:lnTo>
                    <a:pt x="329" y="451"/>
                  </a:lnTo>
                  <a:lnTo>
                    <a:pt x="329" y="451"/>
                  </a:lnTo>
                  <a:lnTo>
                    <a:pt x="329" y="451"/>
                  </a:lnTo>
                  <a:lnTo>
                    <a:pt x="329" y="451"/>
                  </a:lnTo>
                  <a:lnTo>
                    <a:pt x="327" y="451"/>
                  </a:lnTo>
                  <a:lnTo>
                    <a:pt x="327" y="449"/>
                  </a:lnTo>
                  <a:lnTo>
                    <a:pt x="327" y="449"/>
                  </a:lnTo>
                  <a:lnTo>
                    <a:pt x="326" y="449"/>
                  </a:lnTo>
                  <a:lnTo>
                    <a:pt x="324" y="449"/>
                  </a:lnTo>
                  <a:lnTo>
                    <a:pt x="324" y="449"/>
                  </a:lnTo>
                  <a:lnTo>
                    <a:pt x="324" y="451"/>
                  </a:lnTo>
                  <a:lnTo>
                    <a:pt x="322" y="451"/>
                  </a:lnTo>
                  <a:lnTo>
                    <a:pt x="322" y="451"/>
                  </a:lnTo>
                  <a:lnTo>
                    <a:pt x="322" y="453"/>
                  </a:lnTo>
                  <a:lnTo>
                    <a:pt x="324" y="453"/>
                  </a:lnTo>
                  <a:lnTo>
                    <a:pt x="322" y="453"/>
                  </a:lnTo>
                  <a:lnTo>
                    <a:pt x="322" y="453"/>
                  </a:lnTo>
                  <a:lnTo>
                    <a:pt x="320" y="453"/>
                  </a:lnTo>
                  <a:lnTo>
                    <a:pt x="318" y="453"/>
                  </a:lnTo>
                  <a:lnTo>
                    <a:pt x="316" y="455"/>
                  </a:lnTo>
                  <a:lnTo>
                    <a:pt x="314" y="457"/>
                  </a:lnTo>
                  <a:lnTo>
                    <a:pt x="314" y="457"/>
                  </a:lnTo>
                  <a:lnTo>
                    <a:pt x="312" y="457"/>
                  </a:lnTo>
                  <a:lnTo>
                    <a:pt x="310" y="457"/>
                  </a:lnTo>
                  <a:lnTo>
                    <a:pt x="310" y="457"/>
                  </a:lnTo>
                  <a:lnTo>
                    <a:pt x="310" y="457"/>
                  </a:lnTo>
                  <a:lnTo>
                    <a:pt x="308" y="457"/>
                  </a:lnTo>
                  <a:lnTo>
                    <a:pt x="308" y="457"/>
                  </a:lnTo>
                  <a:lnTo>
                    <a:pt x="308" y="455"/>
                  </a:lnTo>
                  <a:lnTo>
                    <a:pt x="308" y="453"/>
                  </a:lnTo>
                  <a:lnTo>
                    <a:pt x="308" y="453"/>
                  </a:lnTo>
                  <a:lnTo>
                    <a:pt x="308" y="449"/>
                  </a:lnTo>
                  <a:lnTo>
                    <a:pt x="307" y="449"/>
                  </a:lnTo>
                  <a:lnTo>
                    <a:pt x="307" y="447"/>
                  </a:lnTo>
                  <a:lnTo>
                    <a:pt x="307" y="447"/>
                  </a:lnTo>
                  <a:lnTo>
                    <a:pt x="305" y="447"/>
                  </a:lnTo>
                  <a:lnTo>
                    <a:pt x="305" y="445"/>
                  </a:lnTo>
                  <a:lnTo>
                    <a:pt x="305" y="445"/>
                  </a:lnTo>
                  <a:lnTo>
                    <a:pt x="305" y="444"/>
                  </a:lnTo>
                  <a:lnTo>
                    <a:pt x="305" y="444"/>
                  </a:lnTo>
                  <a:lnTo>
                    <a:pt x="303" y="444"/>
                  </a:lnTo>
                  <a:lnTo>
                    <a:pt x="301" y="444"/>
                  </a:lnTo>
                  <a:lnTo>
                    <a:pt x="299" y="444"/>
                  </a:lnTo>
                  <a:lnTo>
                    <a:pt x="297" y="444"/>
                  </a:lnTo>
                  <a:lnTo>
                    <a:pt x="297" y="444"/>
                  </a:lnTo>
                  <a:lnTo>
                    <a:pt x="295" y="444"/>
                  </a:lnTo>
                  <a:lnTo>
                    <a:pt x="295" y="444"/>
                  </a:lnTo>
                  <a:lnTo>
                    <a:pt x="293" y="444"/>
                  </a:lnTo>
                  <a:lnTo>
                    <a:pt x="293" y="442"/>
                  </a:lnTo>
                  <a:lnTo>
                    <a:pt x="291" y="442"/>
                  </a:lnTo>
                  <a:lnTo>
                    <a:pt x="291" y="442"/>
                  </a:lnTo>
                  <a:lnTo>
                    <a:pt x="289" y="442"/>
                  </a:lnTo>
                  <a:lnTo>
                    <a:pt x="287" y="442"/>
                  </a:lnTo>
                  <a:lnTo>
                    <a:pt x="287" y="440"/>
                  </a:lnTo>
                  <a:lnTo>
                    <a:pt x="286" y="440"/>
                  </a:lnTo>
                  <a:lnTo>
                    <a:pt x="286" y="440"/>
                  </a:lnTo>
                  <a:lnTo>
                    <a:pt x="286" y="440"/>
                  </a:lnTo>
                  <a:lnTo>
                    <a:pt x="284" y="442"/>
                  </a:lnTo>
                  <a:lnTo>
                    <a:pt x="282" y="442"/>
                  </a:lnTo>
                  <a:lnTo>
                    <a:pt x="282" y="440"/>
                  </a:lnTo>
                  <a:lnTo>
                    <a:pt x="282" y="440"/>
                  </a:lnTo>
                  <a:lnTo>
                    <a:pt x="282" y="438"/>
                  </a:lnTo>
                  <a:lnTo>
                    <a:pt x="282" y="438"/>
                  </a:lnTo>
                  <a:lnTo>
                    <a:pt x="282" y="438"/>
                  </a:lnTo>
                  <a:lnTo>
                    <a:pt x="282" y="438"/>
                  </a:lnTo>
                  <a:lnTo>
                    <a:pt x="280" y="438"/>
                  </a:lnTo>
                  <a:lnTo>
                    <a:pt x="280" y="438"/>
                  </a:lnTo>
                  <a:lnTo>
                    <a:pt x="280" y="438"/>
                  </a:lnTo>
                  <a:lnTo>
                    <a:pt x="280" y="440"/>
                  </a:lnTo>
                  <a:lnTo>
                    <a:pt x="280" y="440"/>
                  </a:lnTo>
                  <a:lnTo>
                    <a:pt x="280" y="440"/>
                  </a:lnTo>
                  <a:lnTo>
                    <a:pt x="280" y="440"/>
                  </a:lnTo>
                  <a:lnTo>
                    <a:pt x="280" y="440"/>
                  </a:lnTo>
                  <a:lnTo>
                    <a:pt x="280" y="442"/>
                  </a:lnTo>
                  <a:lnTo>
                    <a:pt x="280" y="442"/>
                  </a:lnTo>
                  <a:lnTo>
                    <a:pt x="280" y="442"/>
                  </a:lnTo>
                  <a:lnTo>
                    <a:pt x="278" y="442"/>
                  </a:lnTo>
                  <a:lnTo>
                    <a:pt x="278" y="442"/>
                  </a:lnTo>
                  <a:lnTo>
                    <a:pt x="278" y="444"/>
                  </a:lnTo>
                  <a:lnTo>
                    <a:pt x="278" y="444"/>
                  </a:lnTo>
                  <a:lnTo>
                    <a:pt x="278" y="444"/>
                  </a:lnTo>
                  <a:lnTo>
                    <a:pt x="278" y="444"/>
                  </a:lnTo>
                  <a:lnTo>
                    <a:pt x="280" y="444"/>
                  </a:lnTo>
                  <a:lnTo>
                    <a:pt x="280" y="445"/>
                  </a:lnTo>
                  <a:lnTo>
                    <a:pt x="280" y="445"/>
                  </a:lnTo>
                  <a:lnTo>
                    <a:pt x="280" y="447"/>
                  </a:lnTo>
                  <a:lnTo>
                    <a:pt x="280" y="447"/>
                  </a:lnTo>
                  <a:lnTo>
                    <a:pt x="280" y="449"/>
                  </a:lnTo>
                  <a:lnTo>
                    <a:pt x="280" y="449"/>
                  </a:lnTo>
                  <a:lnTo>
                    <a:pt x="280" y="451"/>
                  </a:lnTo>
                  <a:lnTo>
                    <a:pt x="280" y="451"/>
                  </a:lnTo>
                  <a:lnTo>
                    <a:pt x="278" y="451"/>
                  </a:lnTo>
                  <a:lnTo>
                    <a:pt x="278" y="451"/>
                  </a:lnTo>
                  <a:lnTo>
                    <a:pt x="276" y="451"/>
                  </a:lnTo>
                  <a:lnTo>
                    <a:pt x="274" y="451"/>
                  </a:lnTo>
                  <a:lnTo>
                    <a:pt x="274" y="451"/>
                  </a:lnTo>
                  <a:lnTo>
                    <a:pt x="274" y="451"/>
                  </a:lnTo>
                  <a:lnTo>
                    <a:pt x="272" y="451"/>
                  </a:lnTo>
                  <a:lnTo>
                    <a:pt x="272" y="453"/>
                  </a:lnTo>
                  <a:lnTo>
                    <a:pt x="272" y="453"/>
                  </a:lnTo>
                  <a:lnTo>
                    <a:pt x="272" y="453"/>
                  </a:lnTo>
                  <a:lnTo>
                    <a:pt x="270" y="453"/>
                  </a:lnTo>
                  <a:lnTo>
                    <a:pt x="270" y="453"/>
                  </a:lnTo>
                  <a:lnTo>
                    <a:pt x="268" y="451"/>
                  </a:lnTo>
                  <a:lnTo>
                    <a:pt x="268" y="451"/>
                  </a:lnTo>
                  <a:lnTo>
                    <a:pt x="268" y="449"/>
                  </a:lnTo>
                  <a:lnTo>
                    <a:pt x="268" y="449"/>
                  </a:lnTo>
                  <a:lnTo>
                    <a:pt x="266" y="449"/>
                  </a:lnTo>
                  <a:lnTo>
                    <a:pt x="266" y="449"/>
                  </a:lnTo>
                  <a:lnTo>
                    <a:pt x="266" y="449"/>
                  </a:lnTo>
                  <a:lnTo>
                    <a:pt x="266" y="451"/>
                  </a:lnTo>
                  <a:lnTo>
                    <a:pt x="266" y="451"/>
                  </a:lnTo>
                  <a:lnTo>
                    <a:pt x="266" y="453"/>
                  </a:lnTo>
                  <a:lnTo>
                    <a:pt x="265" y="453"/>
                  </a:lnTo>
                  <a:lnTo>
                    <a:pt x="265" y="453"/>
                  </a:lnTo>
                  <a:lnTo>
                    <a:pt x="265" y="451"/>
                  </a:lnTo>
                  <a:lnTo>
                    <a:pt x="265" y="449"/>
                  </a:lnTo>
                  <a:lnTo>
                    <a:pt x="265" y="447"/>
                  </a:lnTo>
                  <a:lnTo>
                    <a:pt x="265" y="445"/>
                  </a:lnTo>
                  <a:lnTo>
                    <a:pt x="265" y="445"/>
                  </a:lnTo>
                  <a:lnTo>
                    <a:pt x="265" y="444"/>
                  </a:lnTo>
                  <a:lnTo>
                    <a:pt x="266" y="444"/>
                  </a:lnTo>
                  <a:lnTo>
                    <a:pt x="266" y="442"/>
                  </a:lnTo>
                  <a:lnTo>
                    <a:pt x="266" y="442"/>
                  </a:lnTo>
                  <a:lnTo>
                    <a:pt x="266" y="442"/>
                  </a:lnTo>
                  <a:lnTo>
                    <a:pt x="266" y="440"/>
                  </a:lnTo>
                  <a:lnTo>
                    <a:pt x="268" y="440"/>
                  </a:lnTo>
                  <a:lnTo>
                    <a:pt x="268" y="440"/>
                  </a:lnTo>
                  <a:lnTo>
                    <a:pt x="268" y="440"/>
                  </a:lnTo>
                  <a:lnTo>
                    <a:pt x="268" y="438"/>
                  </a:lnTo>
                  <a:lnTo>
                    <a:pt x="268" y="438"/>
                  </a:lnTo>
                  <a:lnTo>
                    <a:pt x="268" y="438"/>
                  </a:lnTo>
                  <a:lnTo>
                    <a:pt x="268" y="436"/>
                  </a:lnTo>
                  <a:lnTo>
                    <a:pt x="268" y="436"/>
                  </a:lnTo>
                  <a:lnTo>
                    <a:pt x="266" y="434"/>
                  </a:lnTo>
                  <a:lnTo>
                    <a:pt x="266" y="432"/>
                  </a:lnTo>
                  <a:lnTo>
                    <a:pt x="265" y="430"/>
                  </a:lnTo>
                  <a:lnTo>
                    <a:pt x="263" y="430"/>
                  </a:lnTo>
                  <a:lnTo>
                    <a:pt x="263" y="428"/>
                  </a:lnTo>
                  <a:lnTo>
                    <a:pt x="263" y="428"/>
                  </a:lnTo>
                  <a:lnTo>
                    <a:pt x="263" y="428"/>
                  </a:lnTo>
                  <a:lnTo>
                    <a:pt x="261" y="426"/>
                  </a:lnTo>
                  <a:lnTo>
                    <a:pt x="263" y="425"/>
                  </a:lnTo>
                  <a:lnTo>
                    <a:pt x="263" y="425"/>
                  </a:lnTo>
                  <a:lnTo>
                    <a:pt x="263" y="423"/>
                  </a:lnTo>
                  <a:lnTo>
                    <a:pt x="263" y="423"/>
                  </a:lnTo>
                  <a:lnTo>
                    <a:pt x="263" y="423"/>
                  </a:lnTo>
                  <a:lnTo>
                    <a:pt x="261" y="421"/>
                  </a:lnTo>
                  <a:lnTo>
                    <a:pt x="257" y="415"/>
                  </a:lnTo>
                  <a:lnTo>
                    <a:pt x="255" y="415"/>
                  </a:lnTo>
                  <a:lnTo>
                    <a:pt x="255" y="415"/>
                  </a:lnTo>
                  <a:lnTo>
                    <a:pt x="257" y="413"/>
                  </a:lnTo>
                  <a:lnTo>
                    <a:pt x="257" y="413"/>
                  </a:lnTo>
                  <a:lnTo>
                    <a:pt x="259" y="413"/>
                  </a:lnTo>
                  <a:lnTo>
                    <a:pt x="259" y="413"/>
                  </a:lnTo>
                  <a:lnTo>
                    <a:pt x="259" y="411"/>
                  </a:lnTo>
                  <a:lnTo>
                    <a:pt x="259" y="411"/>
                  </a:lnTo>
                  <a:lnTo>
                    <a:pt x="261" y="411"/>
                  </a:lnTo>
                  <a:lnTo>
                    <a:pt x="261" y="411"/>
                  </a:lnTo>
                  <a:lnTo>
                    <a:pt x="261" y="411"/>
                  </a:lnTo>
                  <a:lnTo>
                    <a:pt x="261" y="411"/>
                  </a:lnTo>
                  <a:lnTo>
                    <a:pt x="263" y="413"/>
                  </a:lnTo>
                  <a:lnTo>
                    <a:pt x="263" y="413"/>
                  </a:lnTo>
                  <a:lnTo>
                    <a:pt x="265" y="413"/>
                  </a:lnTo>
                  <a:lnTo>
                    <a:pt x="265" y="413"/>
                  </a:lnTo>
                  <a:lnTo>
                    <a:pt x="265" y="413"/>
                  </a:lnTo>
                  <a:lnTo>
                    <a:pt x="265" y="413"/>
                  </a:lnTo>
                  <a:lnTo>
                    <a:pt x="265" y="413"/>
                  </a:lnTo>
                  <a:lnTo>
                    <a:pt x="265" y="415"/>
                  </a:lnTo>
                  <a:lnTo>
                    <a:pt x="266" y="419"/>
                  </a:lnTo>
                  <a:lnTo>
                    <a:pt x="266" y="421"/>
                  </a:lnTo>
                  <a:lnTo>
                    <a:pt x="266" y="423"/>
                  </a:lnTo>
                  <a:lnTo>
                    <a:pt x="268" y="423"/>
                  </a:lnTo>
                  <a:lnTo>
                    <a:pt x="268" y="423"/>
                  </a:lnTo>
                  <a:lnTo>
                    <a:pt x="268" y="423"/>
                  </a:lnTo>
                  <a:lnTo>
                    <a:pt x="270" y="425"/>
                  </a:lnTo>
                  <a:lnTo>
                    <a:pt x="270" y="425"/>
                  </a:lnTo>
                  <a:lnTo>
                    <a:pt x="274" y="425"/>
                  </a:lnTo>
                  <a:lnTo>
                    <a:pt x="274" y="425"/>
                  </a:lnTo>
                  <a:lnTo>
                    <a:pt x="276" y="426"/>
                  </a:lnTo>
                  <a:lnTo>
                    <a:pt x="276" y="426"/>
                  </a:lnTo>
                  <a:lnTo>
                    <a:pt x="276" y="428"/>
                  </a:lnTo>
                  <a:lnTo>
                    <a:pt x="278" y="428"/>
                  </a:lnTo>
                  <a:lnTo>
                    <a:pt x="278" y="428"/>
                  </a:lnTo>
                  <a:lnTo>
                    <a:pt x="280" y="428"/>
                  </a:lnTo>
                  <a:lnTo>
                    <a:pt x="282" y="428"/>
                  </a:lnTo>
                  <a:lnTo>
                    <a:pt x="284" y="428"/>
                  </a:lnTo>
                  <a:lnTo>
                    <a:pt x="284" y="428"/>
                  </a:lnTo>
                  <a:lnTo>
                    <a:pt x="291" y="426"/>
                  </a:lnTo>
                  <a:lnTo>
                    <a:pt x="291" y="426"/>
                  </a:lnTo>
                  <a:lnTo>
                    <a:pt x="291" y="426"/>
                  </a:lnTo>
                  <a:lnTo>
                    <a:pt x="293" y="426"/>
                  </a:lnTo>
                  <a:lnTo>
                    <a:pt x="293" y="428"/>
                  </a:lnTo>
                  <a:lnTo>
                    <a:pt x="295" y="428"/>
                  </a:lnTo>
                  <a:lnTo>
                    <a:pt x="295" y="428"/>
                  </a:lnTo>
                  <a:lnTo>
                    <a:pt x="295" y="428"/>
                  </a:lnTo>
                  <a:lnTo>
                    <a:pt x="295" y="428"/>
                  </a:lnTo>
                  <a:lnTo>
                    <a:pt x="297" y="432"/>
                  </a:lnTo>
                  <a:lnTo>
                    <a:pt x="299" y="434"/>
                  </a:lnTo>
                  <a:lnTo>
                    <a:pt x="299" y="434"/>
                  </a:lnTo>
                  <a:lnTo>
                    <a:pt x="299" y="436"/>
                  </a:lnTo>
                  <a:lnTo>
                    <a:pt x="299" y="436"/>
                  </a:lnTo>
                  <a:lnTo>
                    <a:pt x="299" y="438"/>
                  </a:lnTo>
                  <a:lnTo>
                    <a:pt x="299" y="438"/>
                  </a:lnTo>
                  <a:lnTo>
                    <a:pt x="299" y="438"/>
                  </a:lnTo>
                  <a:lnTo>
                    <a:pt x="301" y="438"/>
                  </a:lnTo>
                  <a:lnTo>
                    <a:pt x="303" y="440"/>
                  </a:lnTo>
                  <a:lnTo>
                    <a:pt x="303" y="440"/>
                  </a:lnTo>
                  <a:lnTo>
                    <a:pt x="305" y="440"/>
                  </a:lnTo>
                  <a:lnTo>
                    <a:pt x="305" y="438"/>
                  </a:lnTo>
                  <a:lnTo>
                    <a:pt x="305" y="438"/>
                  </a:lnTo>
                  <a:lnTo>
                    <a:pt x="305" y="438"/>
                  </a:lnTo>
                  <a:lnTo>
                    <a:pt x="303" y="436"/>
                  </a:lnTo>
                  <a:lnTo>
                    <a:pt x="303" y="434"/>
                  </a:lnTo>
                  <a:lnTo>
                    <a:pt x="303" y="434"/>
                  </a:lnTo>
                  <a:lnTo>
                    <a:pt x="305" y="432"/>
                  </a:lnTo>
                  <a:lnTo>
                    <a:pt x="303" y="432"/>
                  </a:lnTo>
                  <a:lnTo>
                    <a:pt x="303" y="432"/>
                  </a:lnTo>
                  <a:lnTo>
                    <a:pt x="303" y="430"/>
                  </a:lnTo>
                  <a:lnTo>
                    <a:pt x="301" y="430"/>
                  </a:lnTo>
                  <a:lnTo>
                    <a:pt x="301" y="430"/>
                  </a:lnTo>
                  <a:lnTo>
                    <a:pt x="301" y="428"/>
                  </a:lnTo>
                  <a:lnTo>
                    <a:pt x="301" y="428"/>
                  </a:lnTo>
                  <a:lnTo>
                    <a:pt x="301" y="426"/>
                  </a:lnTo>
                  <a:lnTo>
                    <a:pt x="301" y="426"/>
                  </a:lnTo>
                  <a:lnTo>
                    <a:pt x="299" y="425"/>
                  </a:lnTo>
                  <a:lnTo>
                    <a:pt x="299" y="425"/>
                  </a:lnTo>
                  <a:lnTo>
                    <a:pt x="299" y="425"/>
                  </a:lnTo>
                  <a:lnTo>
                    <a:pt x="299" y="423"/>
                  </a:lnTo>
                  <a:lnTo>
                    <a:pt x="299" y="423"/>
                  </a:lnTo>
                  <a:lnTo>
                    <a:pt x="301" y="421"/>
                  </a:lnTo>
                  <a:lnTo>
                    <a:pt x="301" y="419"/>
                  </a:lnTo>
                  <a:lnTo>
                    <a:pt x="301" y="419"/>
                  </a:lnTo>
                  <a:lnTo>
                    <a:pt x="301" y="419"/>
                  </a:lnTo>
                  <a:lnTo>
                    <a:pt x="301" y="419"/>
                  </a:lnTo>
                  <a:lnTo>
                    <a:pt x="299" y="417"/>
                  </a:lnTo>
                  <a:lnTo>
                    <a:pt x="299" y="417"/>
                  </a:lnTo>
                  <a:lnTo>
                    <a:pt x="299" y="417"/>
                  </a:lnTo>
                  <a:lnTo>
                    <a:pt x="299" y="417"/>
                  </a:lnTo>
                  <a:lnTo>
                    <a:pt x="299" y="417"/>
                  </a:lnTo>
                  <a:lnTo>
                    <a:pt x="301" y="415"/>
                  </a:lnTo>
                  <a:lnTo>
                    <a:pt x="303" y="413"/>
                  </a:lnTo>
                  <a:lnTo>
                    <a:pt x="303" y="413"/>
                  </a:lnTo>
                  <a:lnTo>
                    <a:pt x="303" y="413"/>
                  </a:lnTo>
                  <a:lnTo>
                    <a:pt x="305" y="413"/>
                  </a:lnTo>
                  <a:lnTo>
                    <a:pt x="308" y="413"/>
                  </a:lnTo>
                  <a:lnTo>
                    <a:pt x="310" y="411"/>
                  </a:lnTo>
                  <a:lnTo>
                    <a:pt x="310" y="411"/>
                  </a:lnTo>
                  <a:lnTo>
                    <a:pt x="310" y="411"/>
                  </a:lnTo>
                  <a:lnTo>
                    <a:pt x="310" y="411"/>
                  </a:lnTo>
                  <a:lnTo>
                    <a:pt x="310" y="409"/>
                  </a:lnTo>
                  <a:lnTo>
                    <a:pt x="310" y="409"/>
                  </a:lnTo>
                  <a:lnTo>
                    <a:pt x="310" y="407"/>
                  </a:lnTo>
                  <a:lnTo>
                    <a:pt x="310" y="406"/>
                  </a:lnTo>
                  <a:lnTo>
                    <a:pt x="310" y="406"/>
                  </a:lnTo>
                  <a:lnTo>
                    <a:pt x="310" y="404"/>
                  </a:lnTo>
                  <a:lnTo>
                    <a:pt x="310" y="402"/>
                  </a:lnTo>
                  <a:lnTo>
                    <a:pt x="310" y="402"/>
                  </a:lnTo>
                  <a:lnTo>
                    <a:pt x="310" y="402"/>
                  </a:lnTo>
                  <a:lnTo>
                    <a:pt x="310" y="402"/>
                  </a:lnTo>
                  <a:lnTo>
                    <a:pt x="307" y="400"/>
                  </a:lnTo>
                  <a:lnTo>
                    <a:pt x="307" y="400"/>
                  </a:lnTo>
                  <a:lnTo>
                    <a:pt x="307" y="400"/>
                  </a:lnTo>
                  <a:lnTo>
                    <a:pt x="307" y="400"/>
                  </a:lnTo>
                  <a:lnTo>
                    <a:pt x="307" y="400"/>
                  </a:lnTo>
                  <a:lnTo>
                    <a:pt x="307" y="398"/>
                  </a:lnTo>
                  <a:lnTo>
                    <a:pt x="305" y="398"/>
                  </a:lnTo>
                  <a:lnTo>
                    <a:pt x="305" y="398"/>
                  </a:lnTo>
                  <a:lnTo>
                    <a:pt x="305" y="398"/>
                  </a:lnTo>
                  <a:lnTo>
                    <a:pt x="303" y="398"/>
                  </a:lnTo>
                  <a:lnTo>
                    <a:pt x="303" y="398"/>
                  </a:lnTo>
                  <a:lnTo>
                    <a:pt x="301" y="398"/>
                  </a:lnTo>
                  <a:lnTo>
                    <a:pt x="301" y="398"/>
                  </a:lnTo>
                  <a:lnTo>
                    <a:pt x="301" y="400"/>
                  </a:lnTo>
                  <a:lnTo>
                    <a:pt x="301" y="400"/>
                  </a:lnTo>
                  <a:lnTo>
                    <a:pt x="301" y="402"/>
                  </a:lnTo>
                  <a:lnTo>
                    <a:pt x="301" y="402"/>
                  </a:lnTo>
                  <a:lnTo>
                    <a:pt x="303" y="404"/>
                  </a:lnTo>
                  <a:lnTo>
                    <a:pt x="305" y="406"/>
                  </a:lnTo>
                  <a:lnTo>
                    <a:pt x="303" y="406"/>
                  </a:lnTo>
                  <a:lnTo>
                    <a:pt x="303" y="406"/>
                  </a:lnTo>
                  <a:lnTo>
                    <a:pt x="303" y="406"/>
                  </a:lnTo>
                  <a:lnTo>
                    <a:pt x="301" y="406"/>
                  </a:lnTo>
                  <a:lnTo>
                    <a:pt x="299" y="404"/>
                  </a:lnTo>
                  <a:lnTo>
                    <a:pt x="299" y="402"/>
                  </a:lnTo>
                  <a:lnTo>
                    <a:pt x="297" y="402"/>
                  </a:lnTo>
                  <a:lnTo>
                    <a:pt x="297" y="402"/>
                  </a:lnTo>
                  <a:lnTo>
                    <a:pt x="293" y="402"/>
                  </a:lnTo>
                  <a:lnTo>
                    <a:pt x="293" y="400"/>
                  </a:lnTo>
                  <a:lnTo>
                    <a:pt x="291" y="400"/>
                  </a:lnTo>
                  <a:lnTo>
                    <a:pt x="291" y="398"/>
                  </a:lnTo>
                  <a:lnTo>
                    <a:pt x="291" y="398"/>
                  </a:lnTo>
                  <a:lnTo>
                    <a:pt x="291" y="398"/>
                  </a:lnTo>
                  <a:lnTo>
                    <a:pt x="291" y="398"/>
                  </a:lnTo>
                  <a:lnTo>
                    <a:pt x="291" y="398"/>
                  </a:lnTo>
                  <a:lnTo>
                    <a:pt x="289" y="398"/>
                  </a:lnTo>
                  <a:lnTo>
                    <a:pt x="287" y="398"/>
                  </a:lnTo>
                  <a:lnTo>
                    <a:pt x="286" y="398"/>
                  </a:lnTo>
                  <a:lnTo>
                    <a:pt x="284" y="398"/>
                  </a:lnTo>
                  <a:lnTo>
                    <a:pt x="282" y="398"/>
                  </a:lnTo>
                  <a:lnTo>
                    <a:pt x="282" y="396"/>
                  </a:lnTo>
                  <a:lnTo>
                    <a:pt x="280" y="396"/>
                  </a:lnTo>
                  <a:lnTo>
                    <a:pt x="280" y="396"/>
                  </a:lnTo>
                  <a:lnTo>
                    <a:pt x="278" y="398"/>
                  </a:lnTo>
                  <a:lnTo>
                    <a:pt x="278" y="400"/>
                  </a:lnTo>
                  <a:lnTo>
                    <a:pt x="276" y="402"/>
                  </a:lnTo>
                  <a:lnTo>
                    <a:pt x="276" y="402"/>
                  </a:lnTo>
                  <a:lnTo>
                    <a:pt x="276" y="402"/>
                  </a:lnTo>
                  <a:lnTo>
                    <a:pt x="276" y="406"/>
                  </a:lnTo>
                  <a:lnTo>
                    <a:pt x="276" y="406"/>
                  </a:lnTo>
                  <a:lnTo>
                    <a:pt x="276" y="406"/>
                  </a:lnTo>
                  <a:lnTo>
                    <a:pt x="274" y="407"/>
                  </a:lnTo>
                  <a:lnTo>
                    <a:pt x="274" y="407"/>
                  </a:lnTo>
                  <a:lnTo>
                    <a:pt x="272" y="407"/>
                  </a:lnTo>
                  <a:lnTo>
                    <a:pt x="270" y="406"/>
                  </a:lnTo>
                  <a:lnTo>
                    <a:pt x="268" y="406"/>
                  </a:lnTo>
                  <a:lnTo>
                    <a:pt x="265" y="406"/>
                  </a:lnTo>
                  <a:lnTo>
                    <a:pt x="259" y="404"/>
                  </a:lnTo>
                  <a:lnTo>
                    <a:pt x="259" y="404"/>
                  </a:lnTo>
                  <a:lnTo>
                    <a:pt x="259" y="402"/>
                  </a:lnTo>
                  <a:lnTo>
                    <a:pt x="261" y="402"/>
                  </a:lnTo>
                  <a:lnTo>
                    <a:pt x="261" y="402"/>
                  </a:lnTo>
                  <a:lnTo>
                    <a:pt x="261" y="400"/>
                  </a:lnTo>
                  <a:lnTo>
                    <a:pt x="261" y="400"/>
                  </a:lnTo>
                  <a:lnTo>
                    <a:pt x="261" y="400"/>
                  </a:lnTo>
                  <a:lnTo>
                    <a:pt x="257" y="398"/>
                  </a:lnTo>
                  <a:lnTo>
                    <a:pt x="257" y="398"/>
                  </a:lnTo>
                  <a:lnTo>
                    <a:pt x="255" y="396"/>
                  </a:lnTo>
                  <a:lnTo>
                    <a:pt x="255" y="396"/>
                  </a:lnTo>
                  <a:lnTo>
                    <a:pt x="255" y="394"/>
                  </a:lnTo>
                  <a:lnTo>
                    <a:pt x="255" y="394"/>
                  </a:lnTo>
                  <a:lnTo>
                    <a:pt x="255" y="392"/>
                  </a:lnTo>
                  <a:lnTo>
                    <a:pt x="255" y="392"/>
                  </a:lnTo>
                  <a:lnTo>
                    <a:pt x="255" y="390"/>
                  </a:lnTo>
                  <a:lnTo>
                    <a:pt x="255" y="390"/>
                  </a:lnTo>
                  <a:lnTo>
                    <a:pt x="257" y="390"/>
                  </a:lnTo>
                  <a:lnTo>
                    <a:pt x="257" y="390"/>
                  </a:lnTo>
                  <a:lnTo>
                    <a:pt x="257" y="390"/>
                  </a:lnTo>
                  <a:lnTo>
                    <a:pt x="257" y="390"/>
                  </a:lnTo>
                  <a:lnTo>
                    <a:pt x="259" y="390"/>
                  </a:lnTo>
                  <a:lnTo>
                    <a:pt x="259" y="390"/>
                  </a:lnTo>
                  <a:lnTo>
                    <a:pt x="259" y="390"/>
                  </a:lnTo>
                  <a:lnTo>
                    <a:pt x="259" y="390"/>
                  </a:lnTo>
                  <a:lnTo>
                    <a:pt x="261" y="388"/>
                  </a:lnTo>
                  <a:lnTo>
                    <a:pt x="261" y="388"/>
                  </a:lnTo>
                  <a:lnTo>
                    <a:pt x="261" y="387"/>
                  </a:lnTo>
                  <a:lnTo>
                    <a:pt x="261" y="387"/>
                  </a:lnTo>
                  <a:lnTo>
                    <a:pt x="261" y="385"/>
                  </a:lnTo>
                  <a:lnTo>
                    <a:pt x="261" y="385"/>
                  </a:lnTo>
                  <a:lnTo>
                    <a:pt x="261" y="383"/>
                  </a:lnTo>
                  <a:lnTo>
                    <a:pt x="261" y="383"/>
                  </a:lnTo>
                  <a:lnTo>
                    <a:pt x="259" y="383"/>
                  </a:lnTo>
                  <a:lnTo>
                    <a:pt x="257" y="383"/>
                  </a:lnTo>
                  <a:lnTo>
                    <a:pt x="255" y="383"/>
                  </a:lnTo>
                  <a:lnTo>
                    <a:pt x="255" y="383"/>
                  </a:lnTo>
                  <a:lnTo>
                    <a:pt x="255" y="383"/>
                  </a:lnTo>
                  <a:lnTo>
                    <a:pt x="253" y="383"/>
                  </a:lnTo>
                  <a:lnTo>
                    <a:pt x="253" y="383"/>
                  </a:lnTo>
                  <a:lnTo>
                    <a:pt x="251" y="383"/>
                  </a:lnTo>
                  <a:lnTo>
                    <a:pt x="251" y="383"/>
                  </a:lnTo>
                  <a:lnTo>
                    <a:pt x="251" y="383"/>
                  </a:lnTo>
                  <a:lnTo>
                    <a:pt x="251" y="381"/>
                  </a:lnTo>
                  <a:lnTo>
                    <a:pt x="249" y="379"/>
                  </a:lnTo>
                  <a:lnTo>
                    <a:pt x="249" y="379"/>
                  </a:lnTo>
                  <a:lnTo>
                    <a:pt x="249" y="377"/>
                  </a:lnTo>
                  <a:lnTo>
                    <a:pt x="247" y="377"/>
                  </a:lnTo>
                  <a:lnTo>
                    <a:pt x="247" y="377"/>
                  </a:lnTo>
                  <a:lnTo>
                    <a:pt x="246" y="377"/>
                  </a:lnTo>
                  <a:lnTo>
                    <a:pt x="246" y="375"/>
                  </a:lnTo>
                  <a:lnTo>
                    <a:pt x="246" y="375"/>
                  </a:lnTo>
                  <a:lnTo>
                    <a:pt x="244" y="371"/>
                  </a:lnTo>
                  <a:lnTo>
                    <a:pt x="244" y="369"/>
                  </a:lnTo>
                  <a:lnTo>
                    <a:pt x="244" y="367"/>
                  </a:lnTo>
                  <a:lnTo>
                    <a:pt x="244" y="366"/>
                  </a:lnTo>
                  <a:lnTo>
                    <a:pt x="246" y="364"/>
                  </a:lnTo>
                  <a:lnTo>
                    <a:pt x="246" y="362"/>
                  </a:lnTo>
                  <a:lnTo>
                    <a:pt x="246" y="360"/>
                  </a:lnTo>
                  <a:lnTo>
                    <a:pt x="246" y="360"/>
                  </a:lnTo>
                  <a:lnTo>
                    <a:pt x="246" y="356"/>
                  </a:lnTo>
                  <a:lnTo>
                    <a:pt x="246" y="356"/>
                  </a:lnTo>
                  <a:lnTo>
                    <a:pt x="247" y="356"/>
                  </a:lnTo>
                  <a:lnTo>
                    <a:pt x="249" y="354"/>
                  </a:lnTo>
                  <a:lnTo>
                    <a:pt x="249" y="354"/>
                  </a:lnTo>
                  <a:lnTo>
                    <a:pt x="249" y="354"/>
                  </a:lnTo>
                  <a:lnTo>
                    <a:pt x="249" y="354"/>
                  </a:lnTo>
                  <a:lnTo>
                    <a:pt x="251" y="347"/>
                  </a:lnTo>
                  <a:lnTo>
                    <a:pt x="251" y="345"/>
                  </a:lnTo>
                  <a:lnTo>
                    <a:pt x="251" y="343"/>
                  </a:lnTo>
                  <a:lnTo>
                    <a:pt x="251" y="341"/>
                  </a:lnTo>
                  <a:lnTo>
                    <a:pt x="251" y="341"/>
                  </a:lnTo>
                  <a:lnTo>
                    <a:pt x="251" y="339"/>
                  </a:lnTo>
                  <a:lnTo>
                    <a:pt x="251" y="339"/>
                  </a:lnTo>
                  <a:lnTo>
                    <a:pt x="249" y="339"/>
                  </a:lnTo>
                  <a:lnTo>
                    <a:pt x="249" y="339"/>
                  </a:lnTo>
                  <a:lnTo>
                    <a:pt x="249" y="337"/>
                  </a:lnTo>
                  <a:lnTo>
                    <a:pt x="247" y="337"/>
                  </a:lnTo>
                  <a:lnTo>
                    <a:pt x="246" y="337"/>
                  </a:lnTo>
                  <a:lnTo>
                    <a:pt x="246" y="337"/>
                  </a:lnTo>
                  <a:lnTo>
                    <a:pt x="244" y="335"/>
                  </a:lnTo>
                  <a:lnTo>
                    <a:pt x="242" y="335"/>
                  </a:lnTo>
                  <a:lnTo>
                    <a:pt x="242" y="335"/>
                  </a:lnTo>
                  <a:lnTo>
                    <a:pt x="242" y="335"/>
                  </a:lnTo>
                  <a:lnTo>
                    <a:pt x="242" y="333"/>
                  </a:lnTo>
                  <a:lnTo>
                    <a:pt x="244" y="333"/>
                  </a:lnTo>
                  <a:lnTo>
                    <a:pt x="244" y="333"/>
                  </a:lnTo>
                  <a:lnTo>
                    <a:pt x="244" y="331"/>
                  </a:lnTo>
                  <a:lnTo>
                    <a:pt x="244" y="331"/>
                  </a:lnTo>
                  <a:lnTo>
                    <a:pt x="244" y="329"/>
                  </a:lnTo>
                  <a:lnTo>
                    <a:pt x="244" y="328"/>
                  </a:lnTo>
                  <a:lnTo>
                    <a:pt x="246" y="326"/>
                  </a:lnTo>
                  <a:lnTo>
                    <a:pt x="247" y="326"/>
                  </a:lnTo>
                  <a:lnTo>
                    <a:pt x="255" y="329"/>
                  </a:lnTo>
                  <a:lnTo>
                    <a:pt x="257" y="329"/>
                  </a:lnTo>
                  <a:lnTo>
                    <a:pt x="259" y="329"/>
                  </a:lnTo>
                  <a:lnTo>
                    <a:pt x="261" y="331"/>
                  </a:lnTo>
                  <a:lnTo>
                    <a:pt x="263" y="331"/>
                  </a:lnTo>
                  <a:lnTo>
                    <a:pt x="263" y="331"/>
                  </a:lnTo>
                  <a:lnTo>
                    <a:pt x="265" y="331"/>
                  </a:lnTo>
                  <a:lnTo>
                    <a:pt x="265" y="331"/>
                  </a:lnTo>
                  <a:lnTo>
                    <a:pt x="266" y="331"/>
                  </a:lnTo>
                  <a:lnTo>
                    <a:pt x="266" y="331"/>
                  </a:lnTo>
                  <a:lnTo>
                    <a:pt x="268" y="331"/>
                  </a:lnTo>
                  <a:lnTo>
                    <a:pt x="268" y="331"/>
                  </a:lnTo>
                  <a:lnTo>
                    <a:pt x="268" y="331"/>
                  </a:lnTo>
                  <a:lnTo>
                    <a:pt x="270" y="331"/>
                  </a:lnTo>
                  <a:lnTo>
                    <a:pt x="270" y="333"/>
                  </a:lnTo>
                  <a:lnTo>
                    <a:pt x="270" y="333"/>
                  </a:lnTo>
                  <a:lnTo>
                    <a:pt x="270" y="333"/>
                  </a:lnTo>
                  <a:lnTo>
                    <a:pt x="272" y="333"/>
                  </a:lnTo>
                  <a:lnTo>
                    <a:pt x="272" y="333"/>
                  </a:lnTo>
                  <a:lnTo>
                    <a:pt x="272" y="333"/>
                  </a:lnTo>
                  <a:lnTo>
                    <a:pt x="276" y="329"/>
                  </a:lnTo>
                  <a:lnTo>
                    <a:pt x="276" y="329"/>
                  </a:lnTo>
                  <a:lnTo>
                    <a:pt x="276" y="328"/>
                  </a:lnTo>
                  <a:lnTo>
                    <a:pt x="278" y="326"/>
                  </a:lnTo>
                  <a:lnTo>
                    <a:pt x="278" y="324"/>
                  </a:lnTo>
                  <a:lnTo>
                    <a:pt x="278" y="324"/>
                  </a:lnTo>
                  <a:lnTo>
                    <a:pt x="280" y="324"/>
                  </a:lnTo>
                  <a:lnTo>
                    <a:pt x="280" y="322"/>
                  </a:lnTo>
                  <a:lnTo>
                    <a:pt x="280" y="322"/>
                  </a:lnTo>
                  <a:lnTo>
                    <a:pt x="280" y="320"/>
                  </a:lnTo>
                  <a:lnTo>
                    <a:pt x="280" y="320"/>
                  </a:lnTo>
                  <a:lnTo>
                    <a:pt x="280" y="316"/>
                  </a:lnTo>
                  <a:lnTo>
                    <a:pt x="280" y="316"/>
                  </a:lnTo>
                  <a:lnTo>
                    <a:pt x="278" y="310"/>
                  </a:lnTo>
                  <a:lnTo>
                    <a:pt x="278" y="305"/>
                  </a:lnTo>
                  <a:lnTo>
                    <a:pt x="276" y="303"/>
                  </a:lnTo>
                  <a:lnTo>
                    <a:pt x="276" y="303"/>
                  </a:lnTo>
                  <a:lnTo>
                    <a:pt x="274" y="303"/>
                  </a:lnTo>
                  <a:lnTo>
                    <a:pt x="272" y="301"/>
                  </a:lnTo>
                  <a:lnTo>
                    <a:pt x="270" y="301"/>
                  </a:lnTo>
                  <a:lnTo>
                    <a:pt x="270" y="301"/>
                  </a:lnTo>
                  <a:lnTo>
                    <a:pt x="270" y="299"/>
                  </a:lnTo>
                  <a:lnTo>
                    <a:pt x="268" y="293"/>
                  </a:lnTo>
                  <a:lnTo>
                    <a:pt x="268" y="293"/>
                  </a:lnTo>
                  <a:lnTo>
                    <a:pt x="268" y="291"/>
                  </a:lnTo>
                  <a:lnTo>
                    <a:pt x="268" y="291"/>
                  </a:lnTo>
                  <a:lnTo>
                    <a:pt x="266" y="291"/>
                  </a:lnTo>
                  <a:lnTo>
                    <a:pt x="266" y="290"/>
                  </a:lnTo>
                  <a:lnTo>
                    <a:pt x="266" y="288"/>
                  </a:lnTo>
                  <a:lnTo>
                    <a:pt x="265" y="286"/>
                  </a:lnTo>
                  <a:lnTo>
                    <a:pt x="265" y="286"/>
                  </a:lnTo>
                  <a:lnTo>
                    <a:pt x="265" y="286"/>
                  </a:lnTo>
                  <a:lnTo>
                    <a:pt x="265" y="284"/>
                  </a:lnTo>
                  <a:lnTo>
                    <a:pt x="265" y="284"/>
                  </a:lnTo>
                  <a:lnTo>
                    <a:pt x="266" y="284"/>
                  </a:lnTo>
                  <a:lnTo>
                    <a:pt x="268" y="286"/>
                  </a:lnTo>
                  <a:lnTo>
                    <a:pt x="268" y="286"/>
                  </a:lnTo>
                  <a:lnTo>
                    <a:pt x="268" y="286"/>
                  </a:lnTo>
                  <a:lnTo>
                    <a:pt x="268" y="286"/>
                  </a:lnTo>
                  <a:lnTo>
                    <a:pt x="268" y="284"/>
                  </a:lnTo>
                  <a:lnTo>
                    <a:pt x="268" y="280"/>
                  </a:lnTo>
                  <a:lnTo>
                    <a:pt x="268" y="274"/>
                  </a:lnTo>
                  <a:lnTo>
                    <a:pt x="268" y="274"/>
                  </a:lnTo>
                  <a:lnTo>
                    <a:pt x="268" y="274"/>
                  </a:lnTo>
                  <a:lnTo>
                    <a:pt x="268" y="274"/>
                  </a:lnTo>
                  <a:lnTo>
                    <a:pt x="268" y="272"/>
                  </a:lnTo>
                  <a:lnTo>
                    <a:pt x="270" y="270"/>
                  </a:lnTo>
                  <a:lnTo>
                    <a:pt x="270" y="270"/>
                  </a:lnTo>
                  <a:lnTo>
                    <a:pt x="272" y="270"/>
                  </a:lnTo>
                  <a:lnTo>
                    <a:pt x="272" y="270"/>
                  </a:lnTo>
                  <a:lnTo>
                    <a:pt x="272" y="270"/>
                  </a:lnTo>
                  <a:lnTo>
                    <a:pt x="274" y="270"/>
                  </a:lnTo>
                  <a:lnTo>
                    <a:pt x="274" y="270"/>
                  </a:lnTo>
                  <a:lnTo>
                    <a:pt x="276" y="270"/>
                  </a:lnTo>
                  <a:lnTo>
                    <a:pt x="276" y="270"/>
                  </a:lnTo>
                  <a:lnTo>
                    <a:pt x="274" y="269"/>
                  </a:lnTo>
                  <a:lnTo>
                    <a:pt x="274" y="265"/>
                  </a:lnTo>
                  <a:lnTo>
                    <a:pt x="272" y="263"/>
                  </a:lnTo>
                  <a:lnTo>
                    <a:pt x="272" y="263"/>
                  </a:lnTo>
                  <a:lnTo>
                    <a:pt x="272" y="263"/>
                  </a:lnTo>
                  <a:lnTo>
                    <a:pt x="272" y="263"/>
                  </a:lnTo>
                  <a:lnTo>
                    <a:pt x="270" y="263"/>
                  </a:lnTo>
                  <a:lnTo>
                    <a:pt x="270" y="261"/>
                  </a:lnTo>
                  <a:lnTo>
                    <a:pt x="270" y="259"/>
                  </a:lnTo>
                  <a:lnTo>
                    <a:pt x="270" y="255"/>
                  </a:lnTo>
                  <a:lnTo>
                    <a:pt x="270" y="253"/>
                  </a:lnTo>
                  <a:lnTo>
                    <a:pt x="270" y="251"/>
                  </a:lnTo>
                  <a:lnTo>
                    <a:pt x="270" y="250"/>
                  </a:lnTo>
                  <a:lnTo>
                    <a:pt x="274" y="246"/>
                  </a:lnTo>
                  <a:lnTo>
                    <a:pt x="282" y="242"/>
                  </a:lnTo>
                  <a:lnTo>
                    <a:pt x="284" y="242"/>
                  </a:lnTo>
                  <a:lnTo>
                    <a:pt x="289" y="240"/>
                  </a:lnTo>
                  <a:lnTo>
                    <a:pt x="289" y="240"/>
                  </a:lnTo>
                  <a:lnTo>
                    <a:pt x="291" y="242"/>
                  </a:lnTo>
                  <a:lnTo>
                    <a:pt x="293" y="242"/>
                  </a:lnTo>
                  <a:lnTo>
                    <a:pt x="297" y="242"/>
                  </a:lnTo>
                  <a:lnTo>
                    <a:pt x="308" y="242"/>
                  </a:lnTo>
                  <a:lnTo>
                    <a:pt x="308" y="242"/>
                  </a:lnTo>
                  <a:lnTo>
                    <a:pt x="308" y="242"/>
                  </a:lnTo>
                  <a:lnTo>
                    <a:pt x="310" y="242"/>
                  </a:lnTo>
                  <a:lnTo>
                    <a:pt x="312" y="240"/>
                  </a:lnTo>
                  <a:lnTo>
                    <a:pt x="312" y="238"/>
                  </a:lnTo>
                  <a:lnTo>
                    <a:pt x="312" y="238"/>
                  </a:lnTo>
                  <a:lnTo>
                    <a:pt x="312" y="234"/>
                  </a:lnTo>
                  <a:lnTo>
                    <a:pt x="312" y="232"/>
                  </a:lnTo>
                  <a:lnTo>
                    <a:pt x="312" y="229"/>
                  </a:lnTo>
                  <a:lnTo>
                    <a:pt x="312" y="227"/>
                  </a:lnTo>
                  <a:lnTo>
                    <a:pt x="312" y="223"/>
                  </a:lnTo>
                  <a:lnTo>
                    <a:pt x="312" y="221"/>
                  </a:lnTo>
                  <a:lnTo>
                    <a:pt x="312" y="219"/>
                  </a:lnTo>
                  <a:lnTo>
                    <a:pt x="312" y="217"/>
                  </a:lnTo>
                  <a:lnTo>
                    <a:pt x="312" y="217"/>
                  </a:lnTo>
                  <a:lnTo>
                    <a:pt x="312" y="213"/>
                  </a:lnTo>
                  <a:lnTo>
                    <a:pt x="314" y="213"/>
                  </a:lnTo>
                  <a:lnTo>
                    <a:pt x="314" y="212"/>
                  </a:lnTo>
                  <a:lnTo>
                    <a:pt x="314" y="212"/>
                  </a:lnTo>
                  <a:lnTo>
                    <a:pt x="316" y="210"/>
                  </a:lnTo>
                  <a:lnTo>
                    <a:pt x="318" y="210"/>
                  </a:lnTo>
                  <a:lnTo>
                    <a:pt x="318" y="208"/>
                  </a:lnTo>
                  <a:lnTo>
                    <a:pt x="318" y="208"/>
                  </a:lnTo>
                  <a:lnTo>
                    <a:pt x="320" y="206"/>
                  </a:lnTo>
                  <a:lnTo>
                    <a:pt x="318" y="206"/>
                  </a:lnTo>
                  <a:lnTo>
                    <a:pt x="318" y="204"/>
                  </a:lnTo>
                  <a:lnTo>
                    <a:pt x="318" y="204"/>
                  </a:lnTo>
                  <a:lnTo>
                    <a:pt x="314" y="202"/>
                  </a:lnTo>
                  <a:lnTo>
                    <a:pt x="312" y="202"/>
                  </a:lnTo>
                  <a:lnTo>
                    <a:pt x="307" y="202"/>
                  </a:lnTo>
                  <a:lnTo>
                    <a:pt x="305" y="202"/>
                  </a:lnTo>
                  <a:lnTo>
                    <a:pt x="295" y="198"/>
                  </a:lnTo>
                  <a:lnTo>
                    <a:pt x="295" y="198"/>
                  </a:lnTo>
                  <a:lnTo>
                    <a:pt x="291" y="194"/>
                  </a:lnTo>
                  <a:lnTo>
                    <a:pt x="291" y="194"/>
                  </a:lnTo>
                  <a:lnTo>
                    <a:pt x="293" y="194"/>
                  </a:lnTo>
                  <a:lnTo>
                    <a:pt x="297" y="191"/>
                  </a:lnTo>
                  <a:lnTo>
                    <a:pt x="299" y="189"/>
                  </a:lnTo>
                  <a:lnTo>
                    <a:pt x="303" y="189"/>
                  </a:lnTo>
                  <a:lnTo>
                    <a:pt x="303" y="187"/>
                  </a:lnTo>
                  <a:lnTo>
                    <a:pt x="303" y="187"/>
                  </a:lnTo>
                  <a:lnTo>
                    <a:pt x="303" y="185"/>
                  </a:lnTo>
                  <a:lnTo>
                    <a:pt x="305" y="183"/>
                  </a:lnTo>
                  <a:lnTo>
                    <a:pt x="305" y="183"/>
                  </a:lnTo>
                  <a:lnTo>
                    <a:pt x="307" y="183"/>
                  </a:lnTo>
                  <a:lnTo>
                    <a:pt x="307" y="181"/>
                  </a:lnTo>
                  <a:lnTo>
                    <a:pt x="308" y="181"/>
                  </a:lnTo>
                  <a:lnTo>
                    <a:pt x="308" y="179"/>
                  </a:lnTo>
                  <a:lnTo>
                    <a:pt x="308" y="179"/>
                  </a:lnTo>
                  <a:lnTo>
                    <a:pt x="308" y="177"/>
                  </a:lnTo>
                  <a:lnTo>
                    <a:pt x="308" y="177"/>
                  </a:lnTo>
                  <a:lnTo>
                    <a:pt x="308" y="175"/>
                  </a:lnTo>
                  <a:lnTo>
                    <a:pt x="308" y="175"/>
                  </a:lnTo>
                  <a:lnTo>
                    <a:pt x="308" y="175"/>
                  </a:lnTo>
                  <a:lnTo>
                    <a:pt x="307" y="175"/>
                  </a:lnTo>
                  <a:lnTo>
                    <a:pt x="307" y="175"/>
                  </a:lnTo>
                  <a:lnTo>
                    <a:pt x="307" y="175"/>
                  </a:lnTo>
                  <a:lnTo>
                    <a:pt x="307" y="175"/>
                  </a:lnTo>
                  <a:lnTo>
                    <a:pt x="307" y="174"/>
                  </a:lnTo>
                  <a:lnTo>
                    <a:pt x="307" y="174"/>
                  </a:lnTo>
                  <a:lnTo>
                    <a:pt x="308" y="172"/>
                  </a:lnTo>
                  <a:lnTo>
                    <a:pt x="308" y="172"/>
                  </a:lnTo>
                  <a:lnTo>
                    <a:pt x="308" y="172"/>
                  </a:lnTo>
                  <a:lnTo>
                    <a:pt x="308" y="170"/>
                  </a:lnTo>
                  <a:lnTo>
                    <a:pt x="307" y="170"/>
                  </a:lnTo>
                  <a:lnTo>
                    <a:pt x="307" y="170"/>
                  </a:lnTo>
                  <a:lnTo>
                    <a:pt x="307" y="168"/>
                  </a:lnTo>
                  <a:lnTo>
                    <a:pt x="307" y="168"/>
                  </a:lnTo>
                  <a:lnTo>
                    <a:pt x="307" y="164"/>
                  </a:lnTo>
                  <a:lnTo>
                    <a:pt x="307" y="162"/>
                  </a:lnTo>
                  <a:lnTo>
                    <a:pt x="307" y="162"/>
                  </a:lnTo>
                  <a:lnTo>
                    <a:pt x="308" y="162"/>
                  </a:lnTo>
                  <a:lnTo>
                    <a:pt x="308" y="160"/>
                  </a:lnTo>
                  <a:lnTo>
                    <a:pt x="308" y="149"/>
                  </a:lnTo>
                  <a:lnTo>
                    <a:pt x="308" y="147"/>
                  </a:lnTo>
                  <a:lnTo>
                    <a:pt x="308" y="145"/>
                  </a:lnTo>
                  <a:lnTo>
                    <a:pt x="310" y="143"/>
                  </a:lnTo>
                  <a:lnTo>
                    <a:pt x="310" y="141"/>
                  </a:lnTo>
                  <a:lnTo>
                    <a:pt x="310" y="139"/>
                  </a:lnTo>
                  <a:lnTo>
                    <a:pt x="310" y="137"/>
                  </a:lnTo>
                  <a:lnTo>
                    <a:pt x="308" y="134"/>
                  </a:lnTo>
                  <a:lnTo>
                    <a:pt x="308" y="134"/>
                  </a:lnTo>
                  <a:lnTo>
                    <a:pt x="307" y="130"/>
                  </a:lnTo>
                  <a:lnTo>
                    <a:pt x="307" y="128"/>
                  </a:lnTo>
                  <a:lnTo>
                    <a:pt x="307" y="128"/>
                  </a:lnTo>
                  <a:lnTo>
                    <a:pt x="305" y="128"/>
                  </a:lnTo>
                  <a:lnTo>
                    <a:pt x="303" y="126"/>
                  </a:lnTo>
                  <a:lnTo>
                    <a:pt x="303" y="126"/>
                  </a:lnTo>
                  <a:lnTo>
                    <a:pt x="303" y="126"/>
                  </a:lnTo>
                  <a:lnTo>
                    <a:pt x="301" y="124"/>
                  </a:lnTo>
                  <a:lnTo>
                    <a:pt x="301" y="124"/>
                  </a:lnTo>
                  <a:lnTo>
                    <a:pt x="303" y="120"/>
                  </a:lnTo>
                  <a:lnTo>
                    <a:pt x="314" y="105"/>
                  </a:lnTo>
                  <a:lnTo>
                    <a:pt x="314" y="103"/>
                  </a:lnTo>
                  <a:lnTo>
                    <a:pt x="316" y="101"/>
                  </a:lnTo>
                  <a:lnTo>
                    <a:pt x="316" y="101"/>
                  </a:lnTo>
                  <a:lnTo>
                    <a:pt x="318" y="99"/>
                  </a:lnTo>
                  <a:lnTo>
                    <a:pt x="318" y="99"/>
                  </a:lnTo>
                  <a:lnTo>
                    <a:pt x="320" y="99"/>
                  </a:lnTo>
                  <a:lnTo>
                    <a:pt x="320" y="99"/>
                  </a:lnTo>
                  <a:lnTo>
                    <a:pt x="322" y="97"/>
                  </a:lnTo>
                  <a:lnTo>
                    <a:pt x="322" y="97"/>
                  </a:lnTo>
                  <a:lnTo>
                    <a:pt x="322" y="96"/>
                  </a:lnTo>
                  <a:lnTo>
                    <a:pt x="324" y="96"/>
                  </a:lnTo>
                  <a:lnTo>
                    <a:pt x="327" y="94"/>
                  </a:lnTo>
                  <a:lnTo>
                    <a:pt x="327" y="94"/>
                  </a:lnTo>
                  <a:lnTo>
                    <a:pt x="327" y="94"/>
                  </a:lnTo>
                  <a:lnTo>
                    <a:pt x="331" y="88"/>
                  </a:lnTo>
                  <a:lnTo>
                    <a:pt x="331" y="88"/>
                  </a:lnTo>
                  <a:lnTo>
                    <a:pt x="331" y="86"/>
                  </a:lnTo>
                  <a:lnTo>
                    <a:pt x="329" y="86"/>
                  </a:lnTo>
                  <a:lnTo>
                    <a:pt x="327" y="86"/>
                  </a:lnTo>
                  <a:lnTo>
                    <a:pt x="327" y="88"/>
                  </a:lnTo>
                  <a:lnTo>
                    <a:pt x="326" y="88"/>
                  </a:lnTo>
                  <a:lnTo>
                    <a:pt x="324" y="90"/>
                  </a:lnTo>
                  <a:lnTo>
                    <a:pt x="324" y="90"/>
                  </a:lnTo>
                  <a:lnTo>
                    <a:pt x="322" y="90"/>
                  </a:lnTo>
                  <a:lnTo>
                    <a:pt x="322" y="88"/>
                  </a:lnTo>
                  <a:lnTo>
                    <a:pt x="322" y="86"/>
                  </a:lnTo>
                  <a:lnTo>
                    <a:pt x="318" y="86"/>
                  </a:lnTo>
                  <a:lnTo>
                    <a:pt x="318" y="86"/>
                  </a:lnTo>
                  <a:lnTo>
                    <a:pt x="316" y="86"/>
                  </a:lnTo>
                  <a:lnTo>
                    <a:pt x="314" y="86"/>
                  </a:lnTo>
                  <a:lnTo>
                    <a:pt x="314" y="86"/>
                  </a:lnTo>
                  <a:lnTo>
                    <a:pt x="312" y="86"/>
                  </a:lnTo>
                  <a:lnTo>
                    <a:pt x="310" y="84"/>
                  </a:lnTo>
                  <a:lnTo>
                    <a:pt x="310" y="84"/>
                  </a:lnTo>
                  <a:lnTo>
                    <a:pt x="307" y="82"/>
                  </a:lnTo>
                  <a:lnTo>
                    <a:pt x="307" y="80"/>
                  </a:lnTo>
                  <a:lnTo>
                    <a:pt x="307" y="78"/>
                  </a:lnTo>
                  <a:lnTo>
                    <a:pt x="310" y="75"/>
                  </a:lnTo>
                  <a:lnTo>
                    <a:pt x="310" y="73"/>
                  </a:lnTo>
                  <a:lnTo>
                    <a:pt x="312" y="73"/>
                  </a:lnTo>
                  <a:lnTo>
                    <a:pt x="312" y="73"/>
                  </a:lnTo>
                  <a:lnTo>
                    <a:pt x="316" y="71"/>
                  </a:lnTo>
                  <a:lnTo>
                    <a:pt x="316" y="71"/>
                  </a:lnTo>
                  <a:lnTo>
                    <a:pt x="316" y="69"/>
                  </a:lnTo>
                  <a:lnTo>
                    <a:pt x="318" y="69"/>
                  </a:lnTo>
                  <a:lnTo>
                    <a:pt x="316" y="67"/>
                  </a:lnTo>
                  <a:lnTo>
                    <a:pt x="316" y="67"/>
                  </a:lnTo>
                  <a:lnTo>
                    <a:pt x="316" y="65"/>
                  </a:lnTo>
                  <a:lnTo>
                    <a:pt x="314" y="65"/>
                  </a:lnTo>
                  <a:lnTo>
                    <a:pt x="314" y="63"/>
                  </a:lnTo>
                  <a:lnTo>
                    <a:pt x="314" y="63"/>
                  </a:lnTo>
                  <a:lnTo>
                    <a:pt x="314" y="63"/>
                  </a:lnTo>
                  <a:lnTo>
                    <a:pt x="314" y="63"/>
                  </a:lnTo>
                  <a:lnTo>
                    <a:pt x="314" y="61"/>
                  </a:lnTo>
                  <a:lnTo>
                    <a:pt x="316" y="61"/>
                  </a:lnTo>
                  <a:lnTo>
                    <a:pt x="316" y="59"/>
                  </a:lnTo>
                  <a:lnTo>
                    <a:pt x="316" y="59"/>
                  </a:lnTo>
                  <a:lnTo>
                    <a:pt x="318" y="59"/>
                  </a:lnTo>
                  <a:lnTo>
                    <a:pt x="318" y="59"/>
                  </a:lnTo>
                  <a:lnTo>
                    <a:pt x="320" y="57"/>
                  </a:lnTo>
                  <a:lnTo>
                    <a:pt x="326" y="52"/>
                  </a:lnTo>
                  <a:lnTo>
                    <a:pt x="326" y="52"/>
                  </a:lnTo>
                  <a:lnTo>
                    <a:pt x="326" y="52"/>
                  </a:lnTo>
                  <a:lnTo>
                    <a:pt x="326" y="50"/>
                  </a:lnTo>
                  <a:lnTo>
                    <a:pt x="326" y="46"/>
                  </a:lnTo>
                  <a:lnTo>
                    <a:pt x="324" y="44"/>
                  </a:lnTo>
                  <a:lnTo>
                    <a:pt x="324" y="42"/>
                  </a:lnTo>
                  <a:lnTo>
                    <a:pt x="324" y="40"/>
                  </a:lnTo>
                  <a:lnTo>
                    <a:pt x="320" y="38"/>
                  </a:lnTo>
                  <a:lnTo>
                    <a:pt x="320" y="38"/>
                  </a:lnTo>
                  <a:lnTo>
                    <a:pt x="320" y="37"/>
                  </a:lnTo>
                  <a:lnTo>
                    <a:pt x="320" y="37"/>
                  </a:lnTo>
                  <a:lnTo>
                    <a:pt x="320" y="37"/>
                  </a:lnTo>
                  <a:lnTo>
                    <a:pt x="320" y="35"/>
                  </a:lnTo>
                  <a:lnTo>
                    <a:pt x="322" y="35"/>
                  </a:lnTo>
                  <a:lnTo>
                    <a:pt x="322" y="35"/>
                  </a:lnTo>
                  <a:lnTo>
                    <a:pt x="324" y="35"/>
                  </a:lnTo>
                  <a:lnTo>
                    <a:pt x="324" y="35"/>
                  </a:lnTo>
                  <a:lnTo>
                    <a:pt x="324" y="33"/>
                  </a:lnTo>
                  <a:lnTo>
                    <a:pt x="322" y="29"/>
                  </a:lnTo>
                  <a:lnTo>
                    <a:pt x="320" y="23"/>
                  </a:lnTo>
                  <a:lnTo>
                    <a:pt x="320" y="23"/>
                  </a:lnTo>
                  <a:lnTo>
                    <a:pt x="320" y="21"/>
                  </a:lnTo>
                  <a:lnTo>
                    <a:pt x="322" y="19"/>
                  </a:lnTo>
                  <a:lnTo>
                    <a:pt x="322" y="19"/>
                  </a:lnTo>
                  <a:lnTo>
                    <a:pt x="322" y="18"/>
                  </a:lnTo>
                  <a:lnTo>
                    <a:pt x="322" y="18"/>
                  </a:lnTo>
                  <a:lnTo>
                    <a:pt x="318" y="16"/>
                  </a:lnTo>
                  <a:lnTo>
                    <a:pt x="314" y="16"/>
                  </a:lnTo>
                  <a:lnTo>
                    <a:pt x="314" y="16"/>
                  </a:lnTo>
                  <a:lnTo>
                    <a:pt x="314" y="16"/>
                  </a:lnTo>
                  <a:lnTo>
                    <a:pt x="312" y="18"/>
                  </a:lnTo>
                  <a:lnTo>
                    <a:pt x="310" y="18"/>
                  </a:lnTo>
                  <a:lnTo>
                    <a:pt x="308" y="18"/>
                  </a:lnTo>
                  <a:lnTo>
                    <a:pt x="308" y="18"/>
                  </a:lnTo>
                  <a:lnTo>
                    <a:pt x="308" y="18"/>
                  </a:lnTo>
                  <a:lnTo>
                    <a:pt x="308" y="18"/>
                  </a:lnTo>
                  <a:lnTo>
                    <a:pt x="307" y="16"/>
                  </a:lnTo>
                  <a:lnTo>
                    <a:pt x="307" y="14"/>
                  </a:lnTo>
                  <a:lnTo>
                    <a:pt x="305" y="14"/>
                  </a:lnTo>
                  <a:lnTo>
                    <a:pt x="303" y="12"/>
                  </a:lnTo>
                  <a:lnTo>
                    <a:pt x="301" y="12"/>
                  </a:lnTo>
                  <a:lnTo>
                    <a:pt x="301" y="12"/>
                  </a:lnTo>
                  <a:lnTo>
                    <a:pt x="299" y="10"/>
                  </a:lnTo>
                  <a:lnTo>
                    <a:pt x="299" y="10"/>
                  </a:lnTo>
                  <a:lnTo>
                    <a:pt x="299" y="4"/>
                  </a:lnTo>
                  <a:lnTo>
                    <a:pt x="299" y="4"/>
                  </a:lnTo>
                  <a:lnTo>
                    <a:pt x="299" y="2"/>
                  </a:lnTo>
                  <a:lnTo>
                    <a:pt x="297" y="2"/>
                  </a:lnTo>
                  <a:lnTo>
                    <a:pt x="297" y="0"/>
                  </a:lnTo>
                  <a:lnTo>
                    <a:pt x="295" y="0"/>
                  </a:lnTo>
                  <a:lnTo>
                    <a:pt x="295" y="0"/>
                  </a:lnTo>
                  <a:lnTo>
                    <a:pt x="293" y="0"/>
                  </a:lnTo>
                  <a:lnTo>
                    <a:pt x="293" y="2"/>
                  </a:lnTo>
                  <a:lnTo>
                    <a:pt x="289" y="6"/>
                  </a:lnTo>
                  <a:lnTo>
                    <a:pt x="289" y="6"/>
                  </a:lnTo>
                  <a:lnTo>
                    <a:pt x="289" y="8"/>
                  </a:lnTo>
                  <a:lnTo>
                    <a:pt x="289" y="12"/>
                  </a:lnTo>
                  <a:lnTo>
                    <a:pt x="289" y="14"/>
                  </a:lnTo>
                  <a:lnTo>
                    <a:pt x="289" y="14"/>
                  </a:lnTo>
                  <a:lnTo>
                    <a:pt x="287" y="16"/>
                  </a:lnTo>
                  <a:lnTo>
                    <a:pt x="287" y="16"/>
                  </a:lnTo>
                  <a:lnTo>
                    <a:pt x="287" y="16"/>
                  </a:lnTo>
                  <a:lnTo>
                    <a:pt x="284" y="18"/>
                  </a:lnTo>
                  <a:lnTo>
                    <a:pt x="278" y="21"/>
                  </a:lnTo>
                  <a:lnTo>
                    <a:pt x="278" y="21"/>
                  </a:lnTo>
                  <a:lnTo>
                    <a:pt x="276" y="23"/>
                  </a:lnTo>
                  <a:lnTo>
                    <a:pt x="276" y="23"/>
                  </a:lnTo>
                  <a:lnTo>
                    <a:pt x="276" y="25"/>
                  </a:lnTo>
                  <a:lnTo>
                    <a:pt x="276" y="27"/>
                  </a:lnTo>
                  <a:lnTo>
                    <a:pt x="276" y="27"/>
                  </a:lnTo>
                  <a:lnTo>
                    <a:pt x="274" y="27"/>
                  </a:lnTo>
                  <a:lnTo>
                    <a:pt x="272" y="27"/>
                  </a:lnTo>
                  <a:lnTo>
                    <a:pt x="272" y="27"/>
                  </a:lnTo>
                  <a:lnTo>
                    <a:pt x="270" y="27"/>
                  </a:lnTo>
                  <a:lnTo>
                    <a:pt x="268" y="27"/>
                  </a:lnTo>
                  <a:lnTo>
                    <a:pt x="268" y="29"/>
                  </a:lnTo>
                  <a:lnTo>
                    <a:pt x="268" y="29"/>
                  </a:lnTo>
                  <a:lnTo>
                    <a:pt x="265" y="27"/>
                  </a:lnTo>
                  <a:lnTo>
                    <a:pt x="263" y="27"/>
                  </a:lnTo>
                  <a:lnTo>
                    <a:pt x="261" y="29"/>
                  </a:lnTo>
                  <a:lnTo>
                    <a:pt x="259" y="31"/>
                  </a:lnTo>
                  <a:lnTo>
                    <a:pt x="259" y="31"/>
                  </a:lnTo>
                  <a:lnTo>
                    <a:pt x="259" y="35"/>
                  </a:lnTo>
                  <a:lnTo>
                    <a:pt x="259" y="37"/>
                  </a:lnTo>
                  <a:lnTo>
                    <a:pt x="259" y="38"/>
                  </a:lnTo>
                  <a:lnTo>
                    <a:pt x="257" y="42"/>
                  </a:lnTo>
                  <a:lnTo>
                    <a:pt x="257" y="44"/>
                  </a:lnTo>
                  <a:lnTo>
                    <a:pt x="257" y="46"/>
                  </a:lnTo>
                  <a:lnTo>
                    <a:pt x="257" y="48"/>
                  </a:lnTo>
                  <a:lnTo>
                    <a:pt x="257" y="50"/>
                  </a:lnTo>
                  <a:lnTo>
                    <a:pt x="257" y="52"/>
                  </a:lnTo>
                  <a:lnTo>
                    <a:pt x="255" y="56"/>
                  </a:lnTo>
                  <a:lnTo>
                    <a:pt x="255" y="56"/>
                  </a:lnTo>
                  <a:lnTo>
                    <a:pt x="253" y="57"/>
                  </a:lnTo>
                  <a:lnTo>
                    <a:pt x="251" y="57"/>
                  </a:lnTo>
                  <a:lnTo>
                    <a:pt x="247" y="56"/>
                  </a:lnTo>
                  <a:lnTo>
                    <a:pt x="246" y="56"/>
                  </a:lnTo>
                  <a:lnTo>
                    <a:pt x="246" y="56"/>
                  </a:lnTo>
                  <a:lnTo>
                    <a:pt x="244" y="56"/>
                  </a:lnTo>
                  <a:lnTo>
                    <a:pt x="244" y="57"/>
                  </a:lnTo>
                  <a:lnTo>
                    <a:pt x="246" y="59"/>
                  </a:lnTo>
                  <a:lnTo>
                    <a:pt x="246" y="61"/>
                  </a:lnTo>
                  <a:lnTo>
                    <a:pt x="246" y="63"/>
                  </a:lnTo>
                  <a:lnTo>
                    <a:pt x="246" y="63"/>
                  </a:lnTo>
                  <a:lnTo>
                    <a:pt x="244" y="63"/>
                  </a:lnTo>
                  <a:lnTo>
                    <a:pt x="244" y="63"/>
                  </a:lnTo>
                  <a:lnTo>
                    <a:pt x="242" y="65"/>
                  </a:lnTo>
                  <a:lnTo>
                    <a:pt x="240" y="65"/>
                  </a:lnTo>
                  <a:lnTo>
                    <a:pt x="240" y="67"/>
                  </a:lnTo>
                  <a:lnTo>
                    <a:pt x="240" y="69"/>
                  </a:lnTo>
                  <a:lnTo>
                    <a:pt x="238" y="75"/>
                  </a:lnTo>
                  <a:lnTo>
                    <a:pt x="236" y="73"/>
                  </a:lnTo>
                  <a:lnTo>
                    <a:pt x="234" y="71"/>
                  </a:lnTo>
                  <a:lnTo>
                    <a:pt x="234" y="71"/>
                  </a:lnTo>
                  <a:lnTo>
                    <a:pt x="232" y="71"/>
                  </a:lnTo>
                  <a:lnTo>
                    <a:pt x="230" y="69"/>
                  </a:lnTo>
                  <a:lnTo>
                    <a:pt x="230" y="67"/>
                  </a:lnTo>
                  <a:lnTo>
                    <a:pt x="230" y="67"/>
                  </a:lnTo>
                  <a:lnTo>
                    <a:pt x="228" y="69"/>
                  </a:lnTo>
                  <a:lnTo>
                    <a:pt x="226" y="69"/>
                  </a:lnTo>
                  <a:lnTo>
                    <a:pt x="225" y="67"/>
                  </a:lnTo>
                  <a:lnTo>
                    <a:pt x="225" y="67"/>
                  </a:lnTo>
                  <a:lnTo>
                    <a:pt x="223" y="67"/>
                  </a:lnTo>
                  <a:lnTo>
                    <a:pt x="223" y="69"/>
                  </a:lnTo>
                  <a:lnTo>
                    <a:pt x="223" y="69"/>
                  </a:lnTo>
                  <a:lnTo>
                    <a:pt x="221" y="71"/>
                  </a:lnTo>
                  <a:lnTo>
                    <a:pt x="221" y="71"/>
                  </a:lnTo>
                  <a:lnTo>
                    <a:pt x="219" y="71"/>
                  </a:lnTo>
                  <a:lnTo>
                    <a:pt x="219" y="71"/>
                  </a:lnTo>
                  <a:lnTo>
                    <a:pt x="219" y="73"/>
                  </a:lnTo>
                  <a:lnTo>
                    <a:pt x="219" y="73"/>
                  </a:lnTo>
                  <a:lnTo>
                    <a:pt x="219" y="73"/>
                  </a:lnTo>
                  <a:lnTo>
                    <a:pt x="219" y="75"/>
                  </a:lnTo>
                  <a:lnTo>
                    <a:pt x="219" y="75"/>
                  </a:lnTo>
                  <a:lnTo>
                    <a:pt x="217" y="75"/>
                  </a:lnTo>
                  <a:lnTo>
                    <a:pt x="215" y="77"/>
                  </a:lnTo>
                  <a:lnTo>
                    <a:pt x="215" y="77"/>
                  </a:lnTo>
                  <a:lnTo>
                    <a:pt x="213" y="77"/>
                  </a:lnTo>
                  <a:lnTo>
                    <a:pt x="213" y="78"/>
                  </a:lnTo>
                  <a:lnTo>
                    <a:pt x="213" y="78"/>
                  </a:lnTo>
                  <a:lnTo>
                    <a:pt x="211" y="80"/>
                  </a:lnTo>
                  <a:lnTo>
                    <a:pt x="206" y="82"/>
                  </a:lnTo>
                  <a:lnTo>
                    <a:pt x="204" y="84"/>
                  </a:lnTo>
                  <a:lnTo>
                    <a:pt x="204" y="84"/>
                  </a:lnTo>
                  <a:lnTo>
                    <a:pt x="206" y="84"/>
                  </a:lnTo>
                  <a:lnTo>
                    <a:pt x="206" y="86"/>
                  </a:lnTo>
                  <a:lnTo>
                    <a:pt x="207" y="88"/>
                  </a:lnTo>
                  <a:lnTo>
                    <a:pt x="207" y="88"/>
                  </a:lnTo>
                  <a:lnTo>
                    <a:pt x="207" y="88"/>
                  </a:lnTo>
                  <a:lnTo>
                    <a:pt x="206" y="90"/>
                  </a:lnTo>
                  <a:lnTo>
                    <a:pt x="206" y="90"/>
                  </a:lnTo>
                  <a:lnTo>
                    <a:pt x="207" y="92"/>
                  </a:lnTo>
                  <a:lnTo>
                    <a:pt x="207" y="92"/>
                  </a:lnTo>
                  <a:lnTo>
                    <a:pt x="207" y="94"/>
                  </a:lnTo>
                  <a:lnTo>
                    <a:pt x="206" y="94"/>
                  </a:lnTo>
                  <a:lnTo>
                    <a:pt x="206" y="96"/>
                  </a:lnTo>
                  <a:lnTo>
                    <a:pt x="206" y="96"/>
                  </a:lnTo>
                  <a:lnTo>
                    <a:pt x="206" y="97"/>
                  </a:lnTo>
                  <a:lnTo>
                    <a:pt x="206" y="97"/>
                  </a:lnTo>
                  <a:lnTo>
                    <a:pt x="207" y="99"/>
                  </a:lnTo>
                  <a:lnTo>
                    <a:pt x="207" y="101"/>
                  </a:lnTo>
                  <a:lnTo>
                    <a:pt x="207" y="101"/>
                  </a:lnTo>
                  <a:lnTo>
                    <a:pt x="209" y="103"/>
                  </a:lnTo>
                  <a:lnTo>
                    <a:pt x="211" y="105"/>
                  </a:lnTo>
                  <a:lnTo>
                    <a:pt x="211" y="105"/>
                  </a:lnTo>
                  <a:lnTo>
                    <a:pt x="209" y="107"/>
                  </a:lnTo>
                  <a:lnTo>
                    <a:pt x="207" y="107"/>
                  </a:lnTo>
                  <a:lnTo>
                    <a:pt x="207" y="109"/>
                  </a:lnTo>
                  <a:lnTo>
                    <a:pt x="206" y="109"/>
                  </a:lnTo>
                  <a:lnTo>
                    <a:pt x="204" y="107"/>
                  </a:lnTo>
                  <a:lnTo>
                    <a:pt x="202" y="107"/>
                  </a:lnTo>
                  <a:lnTo>
                    <a:pt x="200" y="107"/>
                  </a:lnTo>
                  <a:lnTo>
                    <a:pt x="200" y="107"/>
                  </a:lnTo>
                  <a:lnTo>
                    <a:pt x="198" y="107"/>
                  </a:lnTo>
                  <a:lnTo>
                    <a:pt x="196" y="105"/>
                  </a:lnTo>
                  <a:lnTo>
                    <a:pt x="196" y="105"/>
                  </a:lnTo>
                  <a:lnTo>
                    <a:pt x="194" y="105"/>
                  </a:lnTo>
                  <a:lnTo>
                    <a:pt x="194" y="105"/>
                  </a:lnTo>
                  <a:lnTo>
                    <a:pt x="192" y="105"/>
                  </a:lnTo>
                  <a:lnTo>
                    <a:pt x="190" y="105"/>
                  </a:lnTo>
                  <a:lnTo>
                    <a:pt x="190" y="107"/>
                  </a:lnTo>
                  <a:lnTo>
                    <a:pt x="188" y="107"/>
                  </a:lnTo>
                  <a:lnTo>
                    <a:pt x="186" y="105"/>
                  </a:lnTo>
                  <a:lnTo>
                    <a:pt x="186" y="105"/>
                  </a:lnTo>
                  <a:lnTo>
                    <a:pt x="185" y="105"/>
                  </a:lnTo>
                  <a:lnTo>
                    <a:pt x="181" y="107"/>
                  </a:lnTo>
                  <a:lnTo>
                    <a:pt x="179" y="109"/>
                  </a:lnTo>
                  <a:lnTo>
                    <a:pt x="179" y="109"/>
                  </a:lnTo>
                  <a:lnTo>
                    <a:pt x="177" y="109"/>
                  </a:lnTo>
                  <a:lnTo>
                    <a:pt x="177" y="109"/>
                  </a:lnTo>
                  <a:lnTo>
                    <a:pt x="175" y="109"/>
                  </a:lnTo>
                  <a:lnTo>
                    <a:pt x="171" y="109"/>
                  </a:lnTo>
                  <a:lnTo>
                    <a:pt x="171" y="109"/>
                  </a:lnTo>
                  <a:lnTo>
                    <a:pt x="169" y="111"/>
                  </a:lnTo>
                  <a:lnTo>
                    <a:pt x="169" y="111"/>
                  </a:lnTo>
                  <a:lnTo>
                    <a:pt x="167" y="109"/>
                  </a:lnTo>
                  <a:lnTo>
                    <a:pt x="167" y="109"/>
                  </a:lnTo>
                  <a:lnTo>
                    <a:pt x="165" y="109"/>
                  </a:lnTo>
                  <a:lnTo>
                    <a:pt x="165" y="107"/>
                  </a:lnTo>
                  <a:lnTo>
                    <a:pt x="165" y="105"/>
                  </a:lnTo>
                  <a:lnTo>
                    <a:pt x="165" y="103"/>
                  </a:lnTo>
                  <a:lnTo>
                    <a:pt x="164" y="103"/>
                  </a:lnTo>
                  <a:lnTo>
                    <a:pt x="164" y="101"/>
                  </a:lnTo>
                  <a:lnTo>
                    <a:pt x="162" y="103"/>
                  </a:lnTo>
                  <a:lnTo>
                    <a:pt x="160" y="101"/>
                  </a:lnTo>
                  <a:lnTo>
                    <a:pt x="158" y="103"/>
                  </a:lnTo>
                  <a:lnTo>
                    <a:pt x="158" y="105"/>
                  </a:lnTo>
                  <a:lnTo>
                    <a:pt x="156" y="105"/>
                  </a:lnTo>
                  <a:lnTo>
                    <a:pt x="154" y="105"/>
                  </a:lnTo>
                  <a:lnTo>
                    <a:pt x="154" y="105"/>
                  </a:lnTo>
                  <a:lnTo>
                    <a:pt x="154" y="103"/>
                  </a:lnTo>
                  <a:lnTo>
                    <a:pt x="152" y="103"/>
                  </a:lnTo>
                  <a:lnTo>
                    <a:pt x="152" y="101"/>
                  </a:lnTo>
                  <a:lnTo>
                    <a:pt x="150" y="101"/>
                  </a:lnTo>
                  <a:lnTo>
                    <a:pt x="148" y="101"/>
                  </a:lnTo>
                  <a:lnTo>
                    <a:pt x="146" y="101"/>
                  </a:lnTo>
                  <a:lnTo>
                    <a:pt x="145" y="99"/>
                  </a:lnTo>
                  <a:lnTo>
                    <a:pt x="145" y="97"/>
                  </a:lnTo>
                  <a:lnTo>
                    <a:pt x="143" y="96"/>
                  </a:lnTo>
                  <a:lnTo>
                    <a:pt x="143" y="96"/>
                  </a:lnTo>
                  <a:lnTo>
                    <a:pt x="141" y="96"/>
                  </a:lnTo>
                  <a:lnTo>
                    <a:pt x="141" y="97"/>
                  </a:lnTo>
                  <a:lnTo>
                    <a:pt x="139" y="97"/>
                  </a:lnTo>
                  <a:lnTo>
                    <a:pt x="139" y="97"/>
                  </a:lnTo>
                  <a:lnTo>
                    <a:pt x="137" y="101"/>
                  </a:lnTo>
                  <a:lnTo>
                    <a:pt x="137" y="101"/>
                  </a:lnTo>
                  <a:lnTo>
                    <a:pt x="137" y="103"/>
                  </a:lnTo>
                  <a:lnTo>
                    <a:pt x="135" y="103"/>
                  </a:lnTo>
                  <a:lnTo>
                    <a:pt x="135" y="105"/>
                  </a:lnTo>
                  <a:lnTo>
                    <a:pt x="135" y="107"/>
                  </a:lnTo>
                  <a:lnTo>
                    <a:pt x="135" y="111"/>
                  </a:lnTo>
                  <a:lnTo>
                    <a:pt x="137" y="111"/>
                  </a:lnTo>
                  <a:lnTo>
                    <a:pt x="137" y="113"/>
                  </a:lnTo>
                  <a:lnTo>
                    <a:pt x="137" y="115"/>
                  </a:lnTo>
                  <a:lnTo>
                    <a:pt x="137" y="115"/>
                  </a:lnTo>
                  <a:lnTo>
                    <a:pt x="139" y="115"/>
                  </a:lnTo>
                  <a:lnTo>
                    <a:pt x="139" y="116"/>
                  </a:lnTo>
                  <a:lnTo>
                    <a:pt x="141" y="116"/>
                  </a:lnTo>
                  <a:lnTo>
                    <a:pt x="141" y="118"/>
                  </a:lnTo>
                  <a:lnTo>
                    <a:pt x="141" y="120"/>
                  </a:lnTo>
                  <a:lnTo>
                    <a:pt x="141" y="120"/>
                  </a:lnTo>
                  <a:lnTo>
                    <a:pt x="141" y="122"/>
                  </a:lnTo>
                  <a:lnTo>
                    <a:pt x="141" y="122"/>
                  </a:lnTo>
                  <a:lnTo>
                    <a:pt x="139" y="124"/>
                  </a:lnTo>
                  <a:lnTo>
                    <a:pt x="139" y="124"/>
                  </a:lnTo>
                  <a:lnTo>
                    <a:pt x="139" y="126"/>
                  </a:lnTo>
                  <a:lnTo>
                    <a:pt x="139" y="128"/>
                  </a:lnTo>
                  <a:lnTo>
                    <a:pt x="141" y="128"/>
                  </a:lnTo>
                  <a:lnTo>
                    <a:pt x="141" y="130"/>
                  </a:lnTo>
                  <a:lnTo>
                    <a:pt x="143" y="130"/>
                  </a:lnTo>
                  <a:lnTo>
                    <a:pt x="143" y="132"/>
                  </a:lnTo>
                  <a:lnTo>
                    <a:pt x="143" y="134"/>
                  </a:lnTo>
                  <a:lnTo>
                    <a:pt x="143" y="134"/>
                  </a:lnTo>
                  <a:lnTo>
                    <a:pt x="143" y="135"/>
                  </a:lnTo>
                  <a:lnTo>
                    <a:pt x="141" y="135"/>
                  </a:lnTo>
                  <a:lnTo>
                    <a:pt x="141" y="135"/>
                  </a:lnTo>
                  <a:lnTo>
                    <a:pt x="141" y="137"/>
                  </a:lnTo>
                  <a:lnTo>
                    <a:pt x="141" y="137"/>
                  </a:lnTo>
                  <a:lnTo>
                    <a:pt x="143" y="139"/>
                  </a:lnTo>
                  <a:lnTo>
                    <a:pt x="143" y="141"/>
                  </a:lnTo>
                  <a:lnTo>
                    <a:pt x="143" y="141"/>
                  </a:lnTo>
                  <a:lnTo>
                    <a:pt x="143" y="143"/>
                  </a:lnTo>
                  <a:lnTo>
                    <a:pt x="143" y="143"/>
                  </a:lnTo>
                  <a:lnTo>
                    <a:pt x="143" y="143"/>
                  </a:lnTo>
                  <a:lnTo>
                    <a:pt x="141" y="145"/>
                  </a:lnTo>
                  <a:lnTo>
                    <a:pt x="141" y="145"/>
                  </a:lnTo>
                  <a:lnTo>
                    <a:pt x="139" y="145"/>
                  </a:lnTo>
                  <a:lnTo>
                    <a:pt x="137" y="143"/>
                  </a:lnTo>
                  <a:lnTo>
                    <a:pt x="135" y="141"/>
                  </a:lnTo>
                  <a:lnTo>
                    <a:pt x="135" y="141"/>
                  </a:lnTo>
                  <a:lnTo>
                    <a:pt x="133" y="141"/>
                  </a:lnTo>
                  <a:lnTo>
                    <a:pt x="133" y="141"/>
                  </a:lnTo>
                  <a:lnTo>
                    <a:pt x="133" y="143"/>
                  </a:lnTo>
                  <a:lnTo>
                    <a:pt x="131" y="143"/>
                  </a:lnTo>
                  <a:lnTo>
                    <a:pt x="131" y="143"/>
                  </a:lnTo>
                  <a:lnTo>
                    <a:pt x="129" y="145"/>
                  </a:lnTo>
                  <a:lnTo>
                    <a:pt x="127" y="145"/>
                  </a:lnTo>
                  <a:lnTo>
                    <a:pt x="125" y="145"/>
                  </a:lnTo>
                  <a:lnTo>
                    <a:pt x="125" y="145"/>
                  </a:lnTo>
                  <a:lnTo>
                    <a:pt x="124" y="145"/>
                  </a:lnTo>
                  <a:lnTo>
                    <a:pt x="124" y="145"/>
                  </a:lnTo>
                  <a:lnTo>
                    <a:pt x="124" y="143"/>
                  </a:lnTo>
                  <a:lnTo>
                    <a:pt x="122" y="143"/>
                  </a:lnTo>
                  <a:lnTo>
                    <a:pt x="118" y="143"/>
                  </a:lnTo>
                  <a:lnTo>
                    <a:pt x="116" y="143"/>
                  </a:lnTo>
                  <a:lnTo>
                    <a:pt x="114" y="145"/>
                  </a:lnTo>
                  <a:lnTo>
                    <a:pt x="114" y="145"/>
                  </a:lnTo>
                  <a:lnTo>
                    <a:pt x="112" y="145"/>
                  </a:lnTo>
                  <a:lnTo>
                    <a:pt x="106" y="147"/>
                  </a:lnTo>
                  <a:lnTo>
                    <a:pt x="106" y="147"/>
                  </a:lnTo>
                  <a:lnTo>
                    <a:pt x="106" y="147"/>
                  </a:lnTo>
                  <a:lnTo>
                    <a:pt x="106" y="149"/>
                  </a:lnTo>
                  <a:lnTo>
                    <a:pt x="106" y="151"/>
                  </a:lnTo>
                  <a:lnTo>
                    <a:pt x="106" y="151"/>
                  </a:lnTo>
                  <a:lnTo>
                    <a:pt x="101" y="154"/>
                  </a:lnTo>
                  <a:lnTo>
                    <a:pt x="99" y="154"/>
                  </a:lnTo>
                  <a:lnTo>
                    <a:pt x="97" y="154"/>
                  </a:lnTo>
                  <a:lnTo>
                    <a:pt x="97" y="154"/>
                  </a:lnTo>
                  <a:lnTo>
                    <a:pt x="95" y="154"/>
                  </a:lnTo>
                  <a:lnTo>
                    <a:pt x="95" y="153"/>
                  </a:lnTo>
                  <a:lnTo>
                    <a:pt x="93" y="153"/>
                  </a:lnTo>
                  <a:lnTo>
                    <a:pt x="93" y="153"/>
                  </a:lnTo>
                  <a:lnTo>
                    <a:pt x="93" y="151"/>
                  </a:lnTo>
                  <a:lnTo>
                    <a:pt x="91" y="151"/>
                  </a:lnTo>
                  <a:lnTo>
                    <a:pt x="89" y="151"/>
                  </a:lnTo>
                  <a:lnTo>
                    <a:pt x="89" y="149"/>
                  </a:lnTo>
                  <a:lnTo>
                    <a:pt x="89" y="149"/>
                  </a:lnTo>
                  <a:lnTo>
                    <a:pt x="89" y="147"/>
                  </a:lnTo>
                  <a:lnTo>
                    <a:pt x="87" y="147"/>
                  </a:lnTo>
                  <a:lnTo>
                    <a:pt x="87" y="147"/>
                  </a:lnTo>
                  <a:lnTo>
                    <a:pt x="87" y="147"/>
                  </a:lnTo>
                  <a:lnTo>
                    <a:pt x="84" y="147"/>
                  </a:lnTo>
                  <a:lnTo>
                    <a:pt x="80" y="147"/>
                  </a:lnTo>
                  <a:lnTo>
                    <a:pt x="80" y="147"/>
                  </a:lnTo>
                  <a:lnTo>
                    <a:pt x="80" y="147"/>
                  </a:lnTo>
                  <a:lnTo>
                    <a:pt x="78" y="149"/>
                  </a:lnTo>
                  <a:lnTo>
                    <a:pt x="78" y="151"/>
                  </a:lnTo>
                  <a:lnTo>
                    <a:pt x="78" y="151"/>
                  </a:lnTo>
                  <a:lnTo>
                    <a:pt x="76" y="153"/>
                  </a:lnTo>
                  <a:lnTo>
                    <a:pt x="76" y="153"/>
                  </a:lnTo>
                  <a:lnTo>
                    <a:pt x="76" y="153"/>
                  </a:lnTo>
                  <a:lnTo>
                    <a:pt x="74" y="154"/>
                  </a:lnTo>
                  <a:lnTo>
                    <a:pt x="70" y="154"/>
                  </a:lnTo>
                  <a:lnTo>
                    <a:pt x="68" y="154"/>
                  </a:lnTo>
                  <a:lnTo>
                    <a:pt x="68" y="156"/>
                  </a:lnTo>
                  <a:lnTo>
                    <a:pt x="68" y="156"/>
                  </a:lnTo>
                  <a:lnTo>
                    <a:pt x="68" y="156"/>
                  </a:lnTo>
                  <a:lnTo>
                    <a:pt x="70" y="158"/>
                  </a:lnTo>
                  <a:lnTo>
                    <a:pt x="70" y="158"/>
                  </a:lnTo>
                  <a:lnTo>
                    <a:pt x="70" y="160"/>
                  </a:lnTo>
                  <a:lnTo>
                    <a:pt x="70" y="164"/>
                  </a:lnTo>
                  <a:lnTo>
                    <a:pt x="70" y="164"/>
                  </a:lnTo>
                  <a:lnTo>
                    <a:pt x="70" y="164"/>
                  </a:lnTo>
                  <a:lnTo>
                    <a:pt x="70" y="164"/>
                  </a:lnTo>
                  <a:lnTo>
                    <a:pt x="70" y="166"/>
                  </a:lnTo>
                  <a:lnTo>
                    <a:pt x="70" y="166"/>
                  </a:lnTo>
                  <a:lnTo>
                    <a:pt x="68" y="166"/>
                  </a:lnTo>
                  <a:lnTo>
                    <a:pt x="66" y="164"/>
                  </a:lnTo>
                  <a:lnTo>
                    <a:pt x="64" y="164"/>
                  </a:lnTo>
                  <a:lnTo>
                    <a:pt x="64" y="164"/>
                  </a:lnTo>
                  <a:lnTo>
                    <a:pt x="64" y="164"/>
                  </a:lnTo>
                  <a:lnTo>
                    <a:pt x="63" y="166"/>
                  </a:lnTo>
                  <a:lnTo>
                    <a:pt x="61" y="166"/>
                  </a:lnTo>
                  <a:lnTo>
                    <a:pt x="59" y="166"/>
                  </a:lnTo>
                  <a:lnTo>
                    <a:pt x="59" y="168"/>
                  </a:lnTo>
                  <a:lnTo>
                    <a:pt x="59" y="168"/>
                  </a:lnTo>
                  <a:lnTo>
                    <a:pt x="59" y="168"/>
                  </a:lnTo>
                  <a:lnTo>
                    <a:pt x="57" y="170"/>
                  </a:lnTo>
                  <a:lnTo>
                    <a:pt x="57" y="170"/>
                  </a:lnTo>
                  <a:lnTo>
                    <a:pt x="57" y="170"/>
                  </a:lnTo>
                  <a:lnTo>
                    <a:pt x="55" y="170"/>
                  </a:lnTo>
                  <a:lnTo>
                    <a:pt x="55" y="170"/>
                  </a:lnTo>
                  <a:lnTo>
                    <a:pt x="55" y="170"/>
                  </a:lnTo>
                  <a:lnTo>
                    <a:pt x="53" y="174"/>
                  </a:lnTo>
                  <a:lnTo>
                    <a:pt x="53" y="174"/>
                  </a:lnTo>
                  <a:lnTo>
                    <a:pt x="53" y="174"/>
                  </a:lnTo>
                  <a:lnTo>
                    <a:pt x="51" y="174"/>
                  </a:lnTo>
                  <a:lnTo>
                    <a:pt x="51" y="175"/>
                  </a:lnTo>
                  <a:lnTo>
                    <a:pt x="53" y="177"/>
                  </a:lnTo>
                  <a:lnTo>
                    <a:pt x="53" y="179"/>
                  </a:lnTo>
                  <a:lnTo>
                    <a:pt x="53" y="179"/>
                  </a:lnTo>
                  <a:lnTo>
                    <a:pt x="51" y="181"/>
                  </a:lnTo>
                  <a:lnTo>
                    <a:pt x="49" y="181"/>
                  </a:lnTo>
                  <a:lnTo>
                    <a:pt x="49" y="181"/>
                  </a:lnTo>
                  <a:lnTo>
                    <a:pt x="49" y="181"/>
                  </a:lnTo>
                  <a:lnTo>
                    <a:pt x="47" y="181"/>
                  </a:lnTo>
                  <a:lnTo>
                    <a:pt x="45" y="185"/>
                  </a:lnTo>
                  <a:lnTo>
                    <a:pt x="44" y="185"/>
                  </a:lnTo>
                  <a:lnTo>
                    <a:pt x="44" y="185"/>
                  </a:lnTo>
                  <a:lnTo>
                    <a:pt x="42" y="185"/>
                  </a:lnTo>
                  <a:lnTo>
                    <a:pt x="42" y="185"/>
                  </a:lnTo>
                  <a:lnTo>
                    <a:pt x="42" y="185"/>
                  </a:lnTo>
                  <a:lnTo>
                    <a:pt x="42" y="185"/>
                  </a:lnTo>
                  <a:lnTo>
                    <a:pt x="42" y="185"/>
                  </a:lnTo>
                  <a:lnTo>
                    <a:pt x="42" y="185"/>
                  </a:lnTo>
                  <a:lnTo>
                    <a:pt x="42" y="183"/>
                  </a:lnTo>
                  <a:lnTo>
                    <a:pt x="42" y="183"/>
                  </a:lnTo>
                  <a:lnTo>
                    <a:pt x="42" y="183"/>
                  </a:lnTo>
                  <a:lnTo>
                    <a:pt x="42" y="183"/>
                  </a:lnTo>
                  <a:lnTo>
                    <a:pt x="40" y="181"/>
                  </a:lnTo>
                  <a:lnTo>
                    <a:pt x="40" y="181"/>
                  </a:lnTo>
                  <a:lnTo>
                    <a:pt x="40" y="179"/>
                  </a:lnTo>
                  <a:lnTo>
                    <a:pt x="40" y="177"/>
                  </a:lnTo>
                  <a:lnTo>
                    <a:pt x="40" y="177"/>
                  </a:lnTo>
                  <a:lnTo>
                    <a:pt x="38" y="177"/>
                  </a:lnTo>
                  <a:lnTo>
                    <a:pt x="36" y="177"/>
                  </a:lnTo>
                  <a:lnTo>
                    <a:pt x="34" y="177"/>
                  </a:lnTo>
                  <a:lnTo>
                    <a:pt x="32" y="177"/>
                  </a:lnTo>
                  <a:lnTo>
                    <a:pt x="32" y="175"/>
                  </a:lnTo>
                  <a:lnTo>
                    <a:pt x="30" y="175"/>
                  </a:lnTo>
                  <a:lnTo>
                    <a:pt x="30" y="175"/>
                  </a:lnTo>
                  <a:lnTo>
                    <a:pt x="30" y="177"/>
                  </a:lnTo>
                  <a:lnTo>
                    <a:pt x="30" y="179"/>
                  </a:lnTo>
                  <a:lnTo>
                    <a:pt x="30" y="181"/>
                  </a:lnTo>
                  <a:lnTo>
                    <a:pt x="28" y="181"/>
                  </a:lnTo>
                  <a:lnTo>
                    <a:pt x="28" y="181"/>
                  </a:lnTo>
                  <a:lnTo>
                    <a:pt x="28" y="183"/>
                  </a:lnTo>
                  <a:lnTo>
                    <a:pt x="26" y="183"/>
                  </a:lnTo>
                  <a:lnTo>
                    <a:pt x="26" y="183"/>
                  </a:lnTo>
                  <a:lnTo>
                    <a:pt x="26" y="183"/>
                  </a:lnTo>
                  <a:lnTo>
                    <a:pt x="24" y="185"/>
                  </a:lnTo>
                  <a:lnTo>
                    <a:pt x="23" y="187"/>
                  </a:lnTo>
                  <a:lnTo>
                    <a:pt x="23" y="187"/>
                  </a:lnTo>
                  <a:lnTo>
                    <a:pt x="23" y="187"/>
                  </a:lnTo>
                  <a:lnTo>
                    <a:pt x="23" y="185"/>
                  </a:lnTo>
                  <a:lnTo>
                    <a:pt x="21" y="185"/>
                  </a:lnTo>
                  <a:lnTo>
                    <a:pt x="21" y="185"/>
                  </a:lnTo>
                  <a:lnTo>
                    <a:pt x="21" y="185"/>
                  </a:lnTo>
                  <a:lnTo>
                    <a:pt x="21" y="183"/>
                  </a:lnTo>
                  <a:lnTo>
                    <a:pt x="19" y="185"/>
                  </a:lnTo>
                  <a:lnTo>
                    <a:pt x="19" y="185"/>
                  </a:lnTo>
                  <a:lnTo>
                    <a:pt x="19" y="187"/>
                  </a:lnTo>
                  <a:lnTo>
                    <a:pt x="19" y="187"/>
                  </a:lnTo>
                  <a:lnTo>
                    <a:pt x="19" y="187"/>
                  </a:lnTo>
                  <a:lnTo>
                    <a:pt x="17" y="187"/>
                  </a:lnTo>
                  <a:lnTo>
                    <a:pt x="17" y="187"/>
                  </a:lnTo>
                  <a:lnTo>
                    <a:pt x="17" y="187"/>
                  </a:lnTo>
                  <a:lnTo>
                    <a:pt x="15" y="187"/>
                  </a:lnTo>
                  <a:lnTo>
                    <a:pt x="15" y="187"/>
                  </a:lnTo>
                  <a:lnTo>
                    <a:pt x="13" y="185"/>
                  </a:lnTo>
                  <a:lnTo>
                    <a:pt x="13" y="187"/>
                  </a:lnTo>
                  <a:lnTo>
                    <a:pt x="13" y="189"/>
                  </a:lnTo>
                  <a:lnTo>
                    <a:pt x="11" y="191"/>
                  </a:lnTo>
                  <a:lnTo>
                    <a:pt x="11" y="191"/>
                  </a:lnTo>
                  <a:lnTo>
                    <a:pt x="11" y="191"/>
                  </a:lnTo>
                  <a:lnTo>
                    <a:pt x="11" y="193"/>
                  </a:lnTo>
                  <a:lnTo>
                    <a:pt x="13" y="193"/>
                  </a:lnTo>
                  <a:lnTo>
                    <a:pt x="13" y="193"/>
                  </a:lnTo>
                  <a:lnTo>
                    <a:pt x="13" y="193"/>
                  </a:lnTo>
                  <a:lnTo>
                    <a:pt x="13" y="193"/>
                  </a:lnTo>
                  <a:lnTo>
                    <a:pt x="15" y="191"/>
                  </a:lnTo>
                  <a:lnTo>
                    <a:pt x="15" y="191"/>
                  </a:lnTo>
                  <a:lnTo>
                    <a:pt x="15" y="191"/>
                  </a:lnTo>
                  <a:lnTo>
                    <a:pt x="15" y="191"/>
                  </a:lnTo>
                  <a:lnTo>
                    <a:pt x="15" y="191"/>
                  </a:lnTo>
                  <a:lnTo>
                    <a:pt x="17" y="191"/>
                  </a:lnTo>
                  <a:lnTo>
                    <a:pt x="17" y="193"/>
                  </a:lnTo>
                  <a:lnTo>
                    <a:pt x="17" y="193"/>
                  </a:lnTo>
                  <a:lnTo>
                    <a:pt x="17" y="193"/>
                  </a:lnTo>
                  <a:lnTo>
                    <a:pt x="17" y="193"/>
                  </a:lnTo>
                  <a:lnTo>
                    <a:pt x="17" y="194"/>
                  </a:lnTo>
                  <a:lnTo>
                    <a:pt x="17" y="194"/>
                  </a:lnTo>
                  <a:lnTo>
                    <a:pt x="17" y="194"/>
                  </a:lnTo>
                  <a:lnTo>
                    <a:pt x="19" y="194"/>
                  </a:lnTo>
                  <a:lnTo>
                    <a:pt x="19" y="194"/>
                  </a:lnTo>
                  <a:lnTo>
                    <a:pt x="19" y="194"/>
                  </a:lnTo>
                  <a:lnTo>
                    <a:pt x="21" y="194"/>
                  </a:lnTo>
                  <a:lnTo>
                    <a:pt x="21" y="194"/>
                  </a:lnTo>
                  <a:lnTo>
                    <a:pt x="21" y="196"/>
                  </a:lnTo>
                  <a:lnTo>
                    <a:pt x="21" y="196"/>
                  </a:lnTo>
                  <a:lnTo>
                    <a:pt x="21" y="196"/>
                  </a:lnTo>
                  <a:lnTo>
                    <a:pt x="21" y="198"/>
                  </a:lnTo>
                  <a:lnTo>
                    <a:pt x="21" y="198"/>
                  </a:lnTo>
                  <a:lnTo>
                    <a:pt x="21" y="198"/>
                  </a:lnTo>
                  <a:lnTo>
                    <a:pt x="23" y="198"/>
                  </a:lnTo>
                  <a:lnTo>
                    <a:pt x="23" y="198"/>
                  </a:lnTo>
                  <a:lnTo>
                    <a:pt x="24" y="200"/>
                  </a:lnTo>
                  <a:lnTo>
                    <a:pt x="24" y="200"/>
                  </a:lnTo>
                  <a:lnTo>
                    <a:pt x="24" y="200"/>
                  </a:lnTo>
                  <a:lnTo>
                    <a:pt x="23" y="200"/>
                  </a:lnTo>
                  <a:lnTo>
                    <a:pt x="23" y="200"/>
                  </a:lnTo>
                  <a:lnTo>
                    <a:pt x="23" y="200"/>
                  </a:lnTo>
                  <a:lnTo>
                    <a:pt x="21" y="202"/>
                  </a:lnTo>
                  <a:lnTo>
                    <a:pt x="19" y="202"/>
                  </a:lnTo>
                  <a:lnTo>
                    <a:pt x="19" y="202"/>
                  </a:lnTo>
                  <a:lnTo>
                    <a:pt x="19" y="202"/>
                  </a:lnTo>
                  <a:lnTo>
                    <a:pt x="19" y="204"/>
                  </a:lnTo>
                  <a:lnTo>
                    <a:pt x="19" y="206"/>
                  </a:lnTo>
                  <a:lnTo>
                    <a:pt x="21" y="206"/>
                  </a:lnTo>
                  <a:lnTo>
                    <a:pt x="21" y="208"/>
                  </a:lnTo>
                  <a:lnTo>
                    <a:pt x="21" y="208"/>
                  </a:lnTo>
                  <a:lnTo>
                    <a:pt x="21" y="208"/>
                  </a:lnTo>
                  <a:lnTo>
                    <a:pt x="21" y="210"/>
                  </a:lnTo>
                  <a:lnTo>
                    <a:pt x="21" y="210"/>
                  </a:lnTo>
                  <a:lnTo>
                    <a:pt x="21" y="212"/>
                  </a:lnTo>
                  <a:lnTo>
                    <a:pt x="21" y="212"/>
                  </a:lnTo>
                  <a:lnTo>
                    <a:pt x="21" y="212"/>
                  </a:lnTo>
                  <a:lnTo>
                    <a:pt x="23" y="212"/>
                  </a:lnTo>
                  <a:lnTo>
                    <a:pt x="23" y="212"/>
                  </a:lnTo>
                  <a:lnTo>
                    <a:pt x="23" y="210"/>
                  </a:lnTo>
                  <a:lnTo>
                    <a:pt x="24" y="210"/>
                  </a:lnTo>
                  <a:lnTo>
                    <a:pt x="24" y="210"/>
                  </a:lnTo>
                  <a:lnTo>
                    <a:pt x="24" y="210"/>
                  </a:lnTo>
                  <a:lnTo>
                    <a:pt x="32" y="213"/>
                  </a:lnTo>
                  <a:lnTo>
                    <a:pt x="34" y="213"/>
                  </a:lnTo>
                  <a:lnTo>
                    <a:pt x="34" y="215"/>
                  </a:lnTo>
                  <a:lnTo>
                    <a:pt x="34" y="215"/>
                  </a:lnTo>
                  <a:lnTo>
                    <a:pt x="34" y="215"/>
                  </a:lnTo>
                  <a:lnTo>
                    <a:pt x="34" y="217"/>
                  </a:lnTo>
                  <a:lnTo>
                    <a:pt x="34" y="219"/>
                  </a:lnTo>
                  <a:lnTo>
                    <a:pt x="34" y="223"/>
                  </a:lnTo>
                  <a:lnTo>
                    <a:pt x="34" y="227"/>
                  </a:lnTo>
                  <a:lnTo>
                    <a:pt x="34" y="227"/>
                  </a:lnTo>
                  <a:lnTo>
                    <a:pt x="34" y="229"/>
                  </a:lnTo>
                  <a:lnTo>
                    <a:pt x="34" y="229"/>
                  </a:lnTo>
                  <a:lnTo>
                    <a:pt x="30" y="229"/>
                  </a:lnTo>
                  <a:lnTo>
                    <a:pt x="28" y="229"/>
                  </a:lnTo>
                  <a:lnTo>
                    <a:pt x="28" y="231"/>
                  </a:lnTo>
                  <a:lnTo>
                    <a:pt x="26" y="231"/>
                  </a:lnTo>
                  <a:lnTo>
                    <a:pt x="26" y="231"/>
                  </a:lnTo>
                  <a:lnTo>
                    <a:pt x="26" y="232"/>
                  </a:lnTo>
                  <a:lnTo>
                    <a:pt x="26" y="232"/>
                  </a:lnTo>
                  <a:lnTo>
                    <a:pt x="28" y="232"/>
                  </a:lnTo>
                  <a:lnTo>
                    <a:pt x="30" y="232"/>
                  </a:lnTo>
                  <a:lnTo>
                    <a:pt x="30" y="234"/>
                  </a:lnTo>
                  <a:lnTo>
                    <a:pt x="30" y="234"/>
                  </a:lnTo>
                  <a:lnTo>
                    <a:pt x="30" y="234"/>
                  </a:lnTo>
                  <a:lnTo>
                    <a:pt x="30" y="234"/>
                  </a:lnTo>
                  <a:lnTo>
                    <a:pt x="30" y="236"/>
                  </a:lnTo>
                  <a:lnTo>
                    <a:pt x="30" y="238"/>
                  </a:lnTo>
                  <a:lnTo>
                    <a:pt x="30" y="240"/>
                  </a:lnTo>
                  <a:lnTo>
                    <a:pt x="28" y="242"/>
                  </a:lnTo>
                  <a:lnTo>
                    <a:pt x="28" y="244"/>
                  </a:lnTo>
                  <a:lnTo>
                    <a:pt x="26" y="248"/>
                  </a:lnTo>
                  <a:lnTo>
                    <a:pt x="24" y="250"/>
                  </a:lnTo>
                  <a:lnTo>
                    <a:pt x="23" y="251"/>
                  </a:lnTo>
                  <a:lnTo>
                    <a:pt x="23" y="251"/>
                  </a:lnTo>
                  <a:lnTo>
                    <a:pt x="24" y="251"/>
                  </a:lnTo>
                  <a:lnTo>
                    <a:pt x="24" y="253"/>
                  </a:lnTo>
                  <a:lnTo>
                    <a:pt x="24" y="253"/>
                  </a:lnTo>
                  <a:lnTo>
                    <a:pt x="24" y="255"/>
                  </a:lnTo>
                  <a:lnTo>
                    <a:pt x="23" y="259"/>
                  </a:lnTo>
                  <a:lnTo>
                    <a:pt x="21" y="261"/>
                  </a:lnTo>
                  <a:lnTo>
                    <a:pt x="21" y="261"/>
                  </a:lnTo>
                  <a:lnTo>
                    <a:pt x="19" y="263"/>
                  </a:lnTo>
                  <a:lnTo>
                    <a:pt x="19" y="263"/>
                  </a:lnTo>
                  <a:lnTo>
                    <a:pt x="17" y="265"/>
                  </a:lnTo>
                  <a:lnTo>
                    <a:pt x="15" y="265"/>
                  </a:lnTo>
                  <a:lnTo>
                    <a:pt x="11" y="265"/>
                  </a:lnTo>
                  <a:lnTo>
                    <a:pt x="11" y="265"/>
                  </a:lnTo>
                  <a:lnTo>
                    <a:pt x="11" y="265"/>
                  </a:lnTo>
                  <a:lnTo>
                    <a:pt x="11" y="265"/>
                  </a:lnTo>
                  <a:lnTo>
                    <a:pt x="11" y="263"/>
                  </a:lnTo>
                  <a:lnTo>
                    <a:pt x="11" y="263"/>
                  </a:lnTo>
                  <a:lnTo>
                    <a:pt x="11" y="263"/>
                  </a:lnTo>
                  <a:lnTo>
                    <a:pt x="11" y="261"/>
                  </a:lnTo>
                  <a:lnTo>
                    <a:pt x="11" y="261"/>
                  </a:lnTo>
                  <a:lnTo>
                    <a:pt x="11" y="261"/>
                  </a:lnTo>
                  <a:lnTo>
                    <a:pt x="9" y="261"/>
                  </a:lnTo>
                  <a:lnTo>
                    <a:pt x="9" y="261"/>
                  </a:lnTo>
                  <a:lnTo>
                    <a:pt x="7" y="261"/>
                  </a:lnTo>
                  <a:lnTo>
                    <a:pt x="4" y="265"/>
                  </a:lnTo>
                  <a:lnTo>
                    <a:pt x="2" y="265"/>
                  </a:lnTo>
                  <a:lnTo>
                    <a:pt x="2" y="269"/>
                  </a:lnTo>
                  <a:lnTo>
                    <a:pt x="2" y="269"/>
                  </a:lnTo>
                  <a:lnTo>
                    <a:pt x="2" y="269"/>
                  </a:lnTo>
                  <a:lnTo>
                    <a:pt x="0" y="269"/>
                  </a:lnTo>
                  <a:lnTo>
                    <a:pt x="0" y="270"/>
                  </a:lnTo>
                  <a:lnTo>
                    <a:pt x="0" y="270"/>
                  </a:lnTo>
                  <a:lnTo>
                    <a:pt x="0" y="270"/>
                  </a:lnTo>
                  <a:lnTo>
                    <a:pt x="0" y="272"/>
                  </a:lnTo>
                  <a:lnTo>
                    <a:pt x="2" y="272"/>
                  </a:lnTo>
                  <a:lnTo>
                    <a:pt x="4" y="272"/>
                  </a:lnTo>
                  <a:lnTo>
                    <a:pt x="4" y="272"/>
                  </a:lnTo>
                  <a:lnTo>
                    <a:pt x="5" y="272"/>
                  </a:lnTo>
                  <a:lnTo>
                    <a:pt x="5" y="272"/>
                  </a:lnTo>
                  <a:lnTo>
                    <a:pt x="5" y="270"/>
                  </a:lnTo>
                  <a:lnTo>
                    <a:pt x="7" y="270"/>
                  </a:lnTo>
                  <a:lnTo>
                    <a:pt x="7" y="272"/>
                  </a:lnTo>
                  <a:lnTo>
                    <a:pt x="9" y="272"/>
                  </a:lnTo>
                  <a:lnTo>
                    <a:pt x="11" y="274"/>
                  </a:lnTo>
                  <a:lnTo>
                    <a:pt x="13" y="274"/>
                  </a:lnTo>
                  <a:lnTo>
                    <a:pt x="13" y="274"/>
                  </a:lnTo>
                  <a:lnTo>
                    <a:pt x="13" y="278"/>
                  </a:lnTo>
                  <a:lnTo>
                    <a:pt x="15" y="284"/>
                  </a:lnTo>
                  <a:lnTo>
                    <a:pt x="15" y="284"/>
                  </a:lnTo>
                  <a:lnTo>
                    <a:pt x="15" y="286"/>
                  </a:lnTo>
                  <a:lnTo>
                    <a:pt x="13" y="288"/>
                  </a:lnTo>
                  <a:lnTo>
                    <a:pt x="13" y="290"/>
                  </a:lnTo>
                  <a:lnTo>
                    <a:pt x="13" y="290"/>
                  </a:lnTo>
                  <a:lnTo>
                    <a:pt x="15" y="291"/>
                  </a:lnTo>
                  <a:lnTo>
                    <a:pt x="15" y="291"/>
                  </a:lnTo>
                  <a:lnTo>
                    <a:pt x="15" y="293"/>
                  </a:lnTo>
                  <a:lnTo>
                    <a:pt x="15" y="293"/>
                  </a:lnTo>
                  <a:lnTo>
                    <a:pt x="15" y="293"/>
                  </a:lnTo>
                  <a:lnTo>
                    <a:pt x="15" y="295"/>
                  </a:lnTo>
                  <a:lnTo>
                    <a:pt x="15" y="295"/>
                  </a:lnTo>
                  <a:lnTo>
                    <a:pt x="15" y="297"/>
                  </a:lnTo>
                  <a:lnTo>
                    <a:pt x="15" y="297"/>
                  </a:lnTo>
                  <a:lnTo>
                    <a:pt x="19" y="301"/>
                  </a:lnTo>
                  <a:lnTo>
                    <a:pt x="19" y="301"/>
                  </a:lnTo>
                  <a:lnTo>
                    <a:pt x="19" y="301"/>
                  </a:lnTo>
                  <a:lnTo>
                    <a:pt x="19" y="303"/>
                  </a:lnTo>
                  <a:lnTo>
                    <a:pt x="19" y="307"/>
                  </a:lnTo>
                  <a:lnTo>
                    <a:pt x="19" y="307"/>
                  </a:lnTo>
                  <a:lnTo>
                    <a:pt x="19" y="309"/>
                  </a:lnTo>
                  <a:lnTo>
                    <a:pt x="17" y="309"/>
                  </a:lnTo>
                  <a:lnTo>
                    <a:pt x="17" y="309"/>
                  </a:lnTo>
                  <a:lnTo>
                    <a:pt x="15" y="309"/>
                  </a:lnTo>
                  <a:lnTo>
                    <a:pt x="13" y="309"/>
                  </a:lnTo>
                  <a:lnTo>
                    <a:pt x="13" y="310"/>
                  </a:lnTo>
                  <a:lnTo>
                    <a:pt x="13" y="310"/>
                  </a:lnTo>
                  <a:lnTo>
                    <a:pt x="13" y="310"/>
                  </a:lnTo>
                  <a:lnTo>
                    <a:pt x="13" y="312"/>
                  </a:lnTo>
                  <a:lnTo>
                    <a:pt x="13" y="312"/>
                  </a:lnTo>
                  <a:lnTo>
                    <a:pt x="17" y="314"/>
                  </a:lnTo>
                  <a:lnTo>
                    <a:pt x="17" y="314"/>
                  </a:lnTo>
                  <a:lnTo>
                    <a:pt x="17" y="314"/>
                  </a:lnTo>
                  <a:lnTo>
                    <a:pt x="17" y="314"/>
                  </a:lnTo>
                  <a:lnTo>
                    <a:pt x="19" y="316"/>
                  </a:lnTo>
                  <a:lnTo>
                    <a:pt x="19" y="316"/>
                  </a:lnTo>
                  <a:lnTo>
                    <a:pt x="17" y="318"/>
                  </a:lnTo>
                  <a:lnTo>
                    <a:pt x="15" y="322"/>
                  </a:lnTo>
                  <a:lnTo>
                    <a:pt x="15" y="324"/>
                  </a:lnTo>
                  <a:lnTo>
                    <a:pt x="15" y="324"/>
                  </a:lnTo>
                  <a:lnTo>
                    <a:pt x="15" y="326"/>
                  </a:lnTo>
                  <a:lnTo>
                    <a:pt x="15" y="326"/>
                  </a:lnTo>
                  <a:lnTo>
                    <a:pt x="15" y="329"/>
                  </a:lnTo>
                  <a:lnTo>
                    <a:pt x="15" y="329"/>
                  </a:lnTo>
                  <a:lnTo>
                    <a:pt x="15" y="331"/>
                  </a:lnTo>
                  <a:lnTo>
                    <a:pt x="15" y="331"/>
                  </a:lnTo>
                  <a:lnTo>
                    <a:pt x="15" y="333"/>
                  </a:lnTo>
                  <a:lnTo>
                    <a:pt x="15" y="333"/>
                  </a:lnTo>
                  <a:lnTo>
                    <a:pt x="13" y="335"/>
                  </a:lnTo>
                  <a:lnTo>
                    <a:pt x="13" y="337"/>
                  </a:lnTo>
                  <a:lnTo>
                    <a:pt x="13" y="337"/>
                  </a:lnTo>
                  <a:lnTo>
                    <a:pt x="13" y="337"/>
                  </a:lnTo>
                  <a:lnTo>
                    <a:pt x="11" y="339"/>
                  </a:lnTo>
                  <a:lnTo>
                    <a:pt x="11" y="341"/>
                  </a:lnTo>
                  <a:lnTo>
                    <a:pt x="9" y="341"/>
                  </a:lnTo>
                  <a:lnTo>
                    <a:pt x="7" y="341"/>
                  </a:lnTo>
                  <a:lnTo>
                    <a:pt x="5" y="341"/>
                  </a:lnTo>
                  <a:lnTo>
                    <a:pt x="5" y="341"/>
                  </a:lnTo>
                  <a:lnTo>
                    <a:pt x="5" y="341"/>
                  </a:lnTo>
                  <a:lnTo>
                    <a:pt x="2" y="343"/>
                  </a:lnTo>
                  <a:lnTo>
                    <a:pt x="0" y="345"/>
                  </a:lnTo>
                  <a:lnTo>
                    <a:pt x="0" y="347"/>
                  </a:lnTo>
                  <a:lnTo>
                    <a:pt x="2" y="348"/>
                  </a:lnTo>
                  <a:lnTo>
                    <a:pt x="2" y="348"/>
                  </a:lnTo>
                  <a:lnTo>
                    <a:pt x="4" y="348"/>
                  </a:lnTo>
                  <a:lnTo>
                    <a:pt x="5" y="347"/>
                  </a:lnTo>
                  <a:lnTo>
                    <a:pt x="5" y="347"/>
                  </a:lnTo>
                  <a:lnTo>
                    <a:pt x="5" y="345"/>
                  </a:lnTo>
                  <a:lnTo>
                    <a:pt x="9" y="345"/>
                  </a:lnTo>
                  <a:lnTo>
                    <a:pt x="9" y="343"/>
                  </a:lnTo>
                  <a:lnTo>
                    <a:pt x="11" y="345"/>
                  </a:lnTo>
                  <a:lnTo>
                    <a:pt x="11" y="345"/>
                  </a:lnTo>
                  <a:lnTo>
                    <a:pt x="13" y="345"/>
                  </a:lnTo>
                  <a:lnTo>
                    <a:pt x="13" y="345"/>
                  </a:lnTo>
                  <a:lnTo>
                    <a:pt x="13" y="347"/>
                  </a:lnTo>
                  <a:lnTo>
                    <a:pt x="11" y="347"/>
                  </a:lnTo>
                  <a:lnTo>
                    <a:pt x="11" y="347"/>
                  </a:lnTo>
                  <a:lnTo>
                    <a:pt x="9" y="347"/>
                  </a:lnTo>
                  <a:lnTo>
                    <a:pt x="9" y="347"/>
                  </a:lnTo>
                  <a:lnTo>
                    <a:pt x="7" y="347"/>
                  </a:lnTo>
                  <a:lnTo>
                    <a:pt x="7" y="348"/>
                  </a:lnTo>
                  <a:lnTo>
                    <a:pt x="5" y="350"/>
                  </a:lnTo>
                  <a:lnTo>
                    <a:pt x="5" y="350"/>
                  </a:lnTo>
                  <a:lnTo>
                    <a:pt x="4" y="348"/>
                  </a:lnTo>
                  <a:lnTo>
                    <a:pt x="4" y="348"/>
                  </a:lnTo>
                  <a:lnTo>
                    <a:pt x="2" y="350"/>
                  </a:lnTo>
                  <a:lnTo>
                    <a:pt x="2" y="350"/>
                  </a:lnTo>
                  <a:lnTo>
                    <a:pt x="2" y="352"/>
                  </a:lnTo>
                  <a:lnTo>
                    <a:pt x="2" y="352"/>
                  </a:lnTo>
                  <a:lnTo>
                    <a:pt x="0" y="352"/>
                  </a:lnTo>
                  <a:lnTo>
                    <a:pt x="0" y="354"/>
                  </a:lnTo>
                  <a:lnTo>
                    <a:pt x="2" y="354"/>
                  </a:lnTo>
                  <a:lnTo>
                    <a:pt x="4" y="356"/>
                  </a:lnTo>
                  <a:lnTo>
                    <a:pt x="4" y="356"/>
                  </a:lnTo>
                  <a:lnTo>
                    <a:pt x="5" y="358"/>
                  </a:lnTo>
                  <a:lnTo>
                    <a:pt x="5" y="358"/>
                  </a:lnTo>
                  <a:lnTo>
                    <a:pt x="7" y="358"/>
                  </a:lnTo>
                  <a:lnTo>
                    <a:pt x="7" y="358"/>
                  </a:lnTo>
                  <a:lnTo>
                    <a:pt x="7" y="358"/>
                  </a:lnTo>
                  <a:lnTo>
                    <a:pt x="9" y="362"/>
                  </a:lnTo>
                  <a:lnTo>
                    <a:pt x="9" y="360"/>
                  </a:lnTo>
                  <a:lnTo>
                    <a:pt x="11" y="358"/>
                  </a:lnTo>
                  <a:lnTo>
                    <a:pt x="13" y="360"/>
                  </a:lnTo>
                  <a:lnTo>
                    <a:pt x="15" y="360"/>
                  </a:lnTo>
                  <a:lnTo>
                    <a:pt x="15" y="362"/>
                  </a:lnTo>
                  <a:lnTo>
                    <a:pt x="15" y="366"/>
                  </a:lnTo>
                  <a:lnTo>
                    <a:pt x="17" y="367"/>
                  </a:lnTo>
                  <a:lnTo>
                    <a:pt x="15" y="369"/>
                  </a:lnTo>
                  <a:lnTo>
                    <a:pt x="15" y="369"/>
                  </a:lnTo>
                  <a:lnTo>
                    <a:pt x="17" y="371"/>
                  </a:lnTo>
                  <a:lnTo>
                    <a:pt x="17" y="371"/>
                  </a:lnTo>
                  <a:lnTo>
                    <a:pt x="19" y="371"/>
                  </a:lnTo>
                  <a:lnTo>
                    <a:pt x="21" y="371"/>
                  </a:lnTo>
                  <a:lnTo>
                    <a:pt x="21" y="369"/>
                  </a:lnTo>
                  <a:lnTo>
                    <a:pt x="23" y="371"/>
                  </a:lnTo>
                  <a:lnTo>
                    <a:pt x="23" y="371"/>
                  </a:lnTo>
                  <a:lnTo>
                    <a:pt x="19" y="371"/>
                  </a:lnTo>
                  <a:lnTo>
                    <a:pt x="19" y="373"/>
                  </a:lnTo>
                  <a:lnTo>
                    <a:pt x="19" y="375"/>
                  </a:lnTo>
                  <a:lnTo>
                    <a:pt x="19" y="377"/>
                  </a:lnTo>
                  <a:lnTo>
                    <a:pt x="19" y="379"/>
                  </a:lnTo>
                  <a:lnTo>
                    <a:pt x="19" y="379"/>
                  </a:lnTo>
                  <a:lnTo>
                    <a:pt x="21" y="379"/>
                  </a:lnTo>
                  <a:lnTo>
                    <a:pt x="23" y="379"/>
                  </a:lnTo>
                  <a:lnTo>
                    <a:pt x="23" y="377"/>
                  </a:lnTo>
                  <a:lnTo>
                    <a:pt x="23" y="377"/>
                  </a:lnTo>
                  <a:lnTo>
                    <a:pt x="23" y="375"/>
                  </a:lnTo>
                  <a:lnTo>
                    <a:pt x="24" y="375"/>
                  </a:lnTo>
                  <a:lnTo>
                    <a:pt x="24" y="375"/>
                  </a:lnTo>
                  <a:lnTo>
                    <a:pt x="24" y="375"/>
                  </a:lnTo>
                  <a:lnTo>
                    <a:pt x="24" y="377"/>
                  </a:lnTo>
                  <a:lnTo>
                    <a:pt x="24" y="377"/>
                  </a:lnTo>
                  <a:lnTo>
                    <a:pt x="24" y="377"/>
                  </a:lnTo>
                  <a:lnTo>
                    <a:pt x="26" y="377"/>
                  </a:lnTo>
                  <a:lnTo>
                    <a:pt x="26" y="377"/>
                  </a:lnTo>
                  <a:lnTo>
                    <a:pt x="26" y="379"/>
                  </a:lnTo>
                  <a:lnTo>
                    <a:pt x="24" y="379"/>
                  </a:lnTo>
                  <a:lnTo>
                    <a:pt x="26" y="379"/>
                  </a:lnTo>
                  <a:lnTo>
                    <a:pt x="30" y="385"/>
                  </a:lnTo>
                  <a:lnTo>
                    <a:pt x="28" y="383"/>
                  </a:lnTo>
                  <a:lnTo>
                    <a:pt x="28" y="385"/>
                  </a:lnTo>
                  <a:lnTo>
                    <a:pt x="28" y="385"/>
                  </a:lnTo>
                  <a:lnTo>
                    <a:pt x="26" y="385"/>
                  </a:lnTo>
                  <a:lnTo>
                    <a:pt x="26" y="383"/>
                  </a:lnTo>
                  <a:lnTo>
                    <a:pt x="24" y="381"/>
                  </a:lnTo>
                  <a:lnTo>
                    <a:pt x="23" y="379"/>
                  </a:lnTo>
                  <a:lnTo>
                    <a:pt x="24" y="381"/>
                  </a:lnTo>
                  <a:lnTo>
                    <a:pt x="26" y="385"/>
                  </a:lnTo>
                  <a:lnTo>
                    <a:pt x="26" y="388"/>
                  </a:lnTo>
                  <a:lnTo>
                    <a:pt x="26" y="388"/>
                  </a:lnTo>
                  <a:lnTo>
                    <a:pt x="26" y="388"/>
                  </a:lnTo>
                  <a:lnTo>
                    <a:pt x="26" y="390"/>
                  </a:lnTo>
                  <a:lnTo>
                    <a:pt x="26" y="392"/>
                  </a:lnTo>
                  <a:lnTo>
                    <a:pt x="28" y="394"/>
                  </a:lnTo>
                  <a:lnTo>
                    <a:pt x="28" y="394"/>
                  </a:lnTo>
                  <a:lnTo>
                    <a:pt x="28" y="396"/>
                  </a:lnTo>
                  <a:lnTo>
                    <a:pt x="30" y="400"/>
                  </a:lnTo>
                  <a:lnTo>
                    <a:pt x="30" y="402"/>
                  </a:lnTo>
                  <a:lnTo>
                    <a:pt x="32" y="402"/>
                  </a:lnTo>
                  <a:lnTo>
                    <a:pt x="38" y="404"/>
                  </a:lnTo>
                  <a:lnTo>
                    <a:pt x="38" y="406"/>
                  </a:lnTo>
                  <a:lnTo>
                    <a:pt x="36" y="406"/>
                  </a:lnTo>
                  <a:lnTo>
                    <a:pt x="34" y="406"/>
                  </a:lnTo>
                  <a:lnTo>
                    <a:pt x="32" y="406"/>
                  </a:lnTo>
                  <a:lnTo>
                    <a:pt x="30" y="404"/>
                  </a:lnTo>
                  <a:lnTo>
                    <a:pt x="30" y="406"/>
                  </a:lnTo>
                  <a:lnTo>
                    <a:pt x="32" y="407"/>
                  </a:lnTo>
                  <a:lnTo>
                    <a:pt x="34" y="411"/>
                  </a:lnTo>
                  <a:lnTo>
                    <a:pt x="34" y="413"/>
                  </a:lnTo>
                  <a:lnTo>
                    <a:pt x="34" y="419"/>
                  </a:lnTo>
                  <a:lnTo>
                    <a:pt x="36" y="421"/>
                  </a:lnTo>
                  <a:lnTo>
                    <a:pt x="36" y="421"/>
                  </a:lnTo>
                  <a:lnTo>
                    <a:pt x="36" y="423"/>
                  </a:lnTo>
                  <a:lnTo>
                    <a:pt x="36" y="423"/>
                  </a:lnTo>
                  <a:lnTo>
                    <a:pt x="36" y="425"/>
                  </a:lnTo>
                  <a:lnTo>
                    <a:pt x="36" y="426"/>
                  </a:lnTo>
                  <a:lnTo>
                    <a:pt x="38" y="428"/>
                  </a:lnTo>
                  <a:lnTo>
                    <a:pt x="40" y="432"/>
                  </a:lnTo>
                  <a:lnTo>
                    <a:pt x="42" y="434"/>
                  </a:lnTo>
                  <a:lnTo>
                    <a:pt x="45" y="438"/>
                  </a:lnTo>
                  <a:lnTo>
                    <a:pt x="45" y="442"/>
                  </a:lnTo>
                  <a:lnTo>
                    <a:pt x="47" y="445"/>
                  </a:lnTo>
                  <a:lnTo>
                    <a:pt x="49" y="451"/>
                  </a:lnTo>
                  <a:lnTo>
                    <a:pt x="51" y="459"/>
                  </a:lnTo>
                  <a:lnTo>
                    <a:pt x="51" y="461"/>
                  </a:lnTo>
                  <a:lnTo>
                    <a:pt x="53" y="457"/>
                  </a:lnTo>
                  <a:lnTo>
                    <a:pt x="55" y="457"/>
                  </a:lnTo>
                  <a:lnTo>
                    <a:pt x="55" y="459"/>
                  </a:lnTo>
                  <a:lnTo>
                    <a:pt x="55" y="459"/>
                  </a:lnTo>
                  <a:lnTo>
                    <a:pt x="55" y="459"/>
                  </a:lnTo>
                  <a:lnTo>
                    <a:pt x="55" y="461"/>
                  </a:lnTo>
                  <a:lnTo>
                    <a:pt x="57" y="461"/>
                  </a:lnTo>
                  <a:lnTo>
                    <a:pt x="57" y="463"/>
                  </a:lnTo>
                  <a:lnTo>
                    <a:pt x="59" y="463"/>
                  </a:lnTo>
                  <a:lnTo>
                    <a:pt x="57" y="463"/>
                  </a:lnTo>
                  <a:lnTo>
                    <a:pt x="57" y="463"/>
                  </a:lnTo>
                  <a:lnTo>
                    <a:pt x="55" y="463"/>
                  </a:lnTo>
                  <a:lnTo>
                    <a:pt x="55" y="463"/>
                  </a:lnTo>
                  <a:lnTo>
                    <a:pt x="53" y="463"/>
                  </a:lnTo>
                  <a:lnTo>
                    <a:pt x="53" y="463"/>
                  </a:lnTo>
                  <a:lnTo>
                    <a:pt x="53" y="464"/>
                  </a:lnTo>
                  <a:lnTo>
                    <a:pt x="53" y="464"/>
                  </a:lnTo>
                  <a:lnTo>
                    <a:pt x="53" y="464"/>
                  </a:lnTo>
                  <a:lnTo>
                    <a:pt x="53" y="464"/>
                  </a:lnTo>
                  <a:lnTo>
                    <a:pt x="53" y="464"/>
                  </a:lnTo>
                  <a:lnTo>
                    <a:pt x="53" y="464"/>
                  </a:lnTo>
                  <a:lnTo>
                    <a:pt x="53" y="464"/>
                  </a:lnTo>
                  <a:lnTo>
                    <a:pt x="53" y="466"/>
                  </a:lnTo>
                  <a:lnTo>
                    <a:pt x="53" y="472"/>
                  </a:lnTo>
                  <a:lnTo>
                    <a:pt x="53" y="474"/>
                  </a:lnTo>
                  <a:lnTo>
                    <a:pt x="55" y="480"/>
                  </a:lnTo>
                  <a:lnTo>
                    <a:pt x="55" y="482"/>
                  </a:lnTo>
                  <a:lnTo>
                    <a:pt x="55" y="484"/>
                  </a:lnTo>
                  <a:lnTo>
                    <a:pt x="57" y="485"/>
                  </a:lnTo>
                  <a:lnTo>
                    <a:pt x="55" y="484"/>
                  </a:lnTo>
                  <a:lnTo>
                    <a:pt x="55" y="482"/>
                  </a:lnTo>
                  <a:lnTo>
                    <a:pt x="53" y="480"/>
                  </a:lnTo>
                  <a:lnTo>
                    <a:pt x="53" y="482"/>
                  </a:lnTo>
                  <a:lnTo>
                    <a:pt x="55" y="485"/>
                  </a:lnTo>
                  <a:lnTo>
                    <a:pt x="55" y="487"/>
                  </a:lnTo>
                  <a:lnTo>
                    <a:pt x="55" y="487"/>
                  </a:lnTo>
                  <a:lnTo>
                    <a:pt x="55" y="489"/>
                  </a:lnTo>
                  <a:lnTo>
                    <a:pt x="57" y="491"/>
                  </a:lnTo>
                  <a:lnTo>
                    <a:pt x="57" y="493"/>
                  </a:lnTo>
                  <a:lnTo>
                    <a:pt x="59" y="499"/>
                  </a:lnTo>
                  <a:lnTo>
                    <a:pt x="59" y="503"/>
                  </a:lnTo>
                  <a:lnTo>
                    <a:pt x="61" y="508"/>
                  </a:lnTo>
                  <a:lnTo>
                    <a:pt x="61" y="508"/>
                  </a:lnTo>
                  <a:lnTo>
                    <a:pt x="61" y="508"/>
                  </a:lnTo>
                  <a:lnTo>
                    <a:pt x="61" y="510"/>
                  </a:lnTo>
                  <a:lnTo>
                    <a:pt x="61" y="512"/>
                  </a:lnTo>
                  <a:lnTo>
                    <a:pt x="63" y="514"/>
                  </a:lnTo>
                  <a:lnTo>
                    <a:pt x="63" y="514"/>
                  </a:lnTo>
                  <a:lnTo>
                    <a:pt x="63" y="516"/>
                  </a:lnTo>
                  <a:lnTo>
                    <a:pt x="63" y="520"/>
                  </a:lnTo>
                  <a:lnTo>
                    <a:pt x="66" y="537"/>
                  </a:lnTo>
                  <a:lnTo>
                    <a:pt x="70" y="537"/>
                  </a:lnTo>
                  <a:lnTo>
                    <a:pt x="74" y="537"/>
                  </a:lnTo>
                  <a:lnTo>
                    <a:pt x="78" y="535"/>
                  </a:lnTo>
                  <a:lnTo>
                    <a:pt x="78" y="537"/>
                  </a:lnTo>
                  <a:lnTo>
                    <a:pt x="76" y="537"/>
                  </a:lnTo>
                  <a:lnTo>
                    <a:pt x="74" y="537"/>
                  </a:lnTo>
                  <a:lnTo>
                    <a:pt x="72" y="539"/>
                  </a:lnTo>
                  <a:lnTo>
                    <a:pt x="72" y="539"/>
                  </a:lnTo>
                  <a:lnTo>
                    <a:pt x="70" y="541"/>
                  </a:lnTo>
                  <a:lnTo>
                    <a:pt x="70" y="541"/>
                  </a:lnTo>
                  <a:lnTo>
                    <a:pt x="70" y="541"/>
                  </a:lnTo>
                  <a:lnTo>
                    <a:pt x="66" y="539"/>
                  </a:lnTo>
                  <a:lnTo>
                    <a:pt x="66" y="541"/>
                  </a:lnTo>
                  <a:lnTo>
                    <a:pt x="68" y="541"/>
                  </a:lnTo>
                  <a:lnTo>
                    <a:pt x="68" y="542"/>
                  </a:lnTo>
                  <a:lnTo>
                    <a:pt x="70" y="542"/>
                  </a:lnTo>
                  <a:lnTo>
                    <a:pt x="70" y="544"/>
                  </a:lnTo>
                  <a:lnTo>
                    <a:pt x="70" y="546"/>
                  </a:lnTo>
                  <a:lnTo>
                    <a:pt x="74" y="544"/>
                  </a:lnTo>
                  <a:lnTo>
                    <a:pt x="76" y="544"/>
                  </a:lnTo>
                  <a:lnTo>
                    <a:pt x="78" y="544"/>
                  </a:lnTo>
                  <a:lnTo>
                    <a:pt x="78" y="544"/>
                  </a:lnTo>
                  <a:lnTo>
                    <a:pt x="78" y="544"/>
                  </a:lnTo>
                  <a:lnTo>
                    <a:pt x="78" y="546"/>
                  </a:lnTo>
                  <a:lnTo>
                    <a:pt x="78" y="546"/>
                  </a:lnTo>
                  <a:lnTo>
                    <a:pt x="78" y="546"/>
                  </a:lnTo>
                  <a:lnTo>
                    <a:pt x="80" y="548"/>
                  </a:lnTo>
                  <a:lnTo>
                    <a:pt x="80" y="548"/>
                  </a:lnTo>
                  <a:lnTo>
                    <a:pt x="80" y="548"/>
                  </a:lnTo>
                  <a:lnTo>
                    <a:pt x="80" y="550"/>
                  </a:lnTo>
                  <a:lnTo>
                    <a:pt x="80" y="550"/>
                  </a:lnTo>
                  <a:lnTo>
                    <a:pt x="82" y="550"/>
                  </a:lnTo>
                  <a:lnTo>
                    <a:pt x="84" y="550"/>
                  </a:lnTo>
                  <a:lnTo>
                    <a:pt x="84" y="550"/>
                  </a:lnTo>
                  <a:lnTo>
                    <a:pt x="84" y="550"/>
                  </a:lnTo>
                  <a:lnTo>
                    <a:pt x="84" y="550"/>
                  </a:lnTo>
                  <a:lnTo>
                    <a:pt x="84" y="550"/>
                  </a:lnTo>
                  <a:lnTo>
                    <a:pt x="84" y="552"/>
                  </a:lnTo>
                  <a:lnTo>
                    <a:pt x="84" y="552"/>
                  </a:lnTo>
                  <a:lnTo>
                    <a:pt x="84" y="552"/>
                  </a:lnTo>
                  <a:lnTo>
                    <a:pt x="84" y="554"/>
                  </a:lnTo>
                  <a:lnTo>
                    <a:pt x="85" y="554"/>
                  </a:lnTo>
                  <a:lnTo>
                    <a:pt x="85" y="554"/>
                  </a:lnTo>
                  <a:lnTo>
                    <a:pt x="85" y="554"/>
                  </a:lnTo>
                  <a:lnTo>
                    <a:pt x="85" y="554"/>
                  </a:lnTo>
                  <a:lnTo>
                    <a:pt x="87" y="552"/>
                  </a:lnTo>
                  <a:lnTo>
                    <a:pt x="87" y="552"/>
                  </a:lnTo>
                  <a:lnTo>
                    <a:pt x="89" y="552"/>
                  </a:lnTo>
                  <a:lnTo>
                    <a:pt x="89" y="552"/>
                  </a:lnTo>
                  <a:lnTo>
                    <a:pt x="91" y="554"/>
                  </a:lnTo>
                  <a:lnTo>
                    <a:pt x="93" y="554"/>
                  </a:lnTo>
                  <a:lnTo>
                    <a:pt x="93" y="554"/>
                  </a:lnTo>
                  <a:lnTo>
                    <a:pt x="93" y="554"/>
                  </a:lnTo>
                  <a:lnTo>
                    <a:pt x="93" y="556"/>
                  </a:lnTo>
                  <a:lnTo>
                    <a:pt x="93" y="556"/>
                  </a:lnTo>
                  <a:lnTo>
                    <a:pt x="93" y="556"/>
                  </a:lnTo>
                  <a:lnTo>
                    <a:pt x="93" y="558"/>
                  </a:lnTo>
                  <a:lnTo>
                    <a:pt x="93" y="558"/>
                  </a:lnTo>
                  <a:lnTo>
                    <a:pt x="93" y="560"/>
                  </a:lnTo>
                  <a:lnTo>
                    <a:pt x="95" y="560"/>
                  </a:lnTo>
                  <a:lnTo>
                    <a:pt x="95" y="560"/>
                  </a:lnTo>
                  <a:lnTo>
                    <a:pt x="95" y="558"/>
                  </a:lnTo>
                  <a:lnTo>
                    <a:pt x="97" y="558"/>
                  </a:lnTo>
                  <a:lnTo>
                    <a:pt x="97" y="558"/>
                  </a:lnTo>
                  <a:lnTo>
                    <a:pt x="97" y="560"/>
                  </a:lnTo>
                  <a:lnTo>
                    <a:pt x="99" y="561"/>
                  </a:lnTo>
                  <a:lnTo>
                    <a:pt x="99" y="561"/>
                  </a:lnTo>
                  <a:lnTo>
                    <a:pt x="101" y="561"/>
                  </a:lnTo>
                  <a:lnTo>
                    <a:pt x="101" y="561"/>
                  </a:lnTo>
                  <a:lnTo>
                    <a:pt x="101" y="561"/>
                  </a:lnTo>
                  <a:lnTo>
                    <a:pt x="103" y="561"/>
                  </a:lnTo>
                  <a:lnTo>
                    <a:pt x="103" y="561"/>
                  </a:lnTo>
                  <a:lnTo>
                    <a:pt x="103" y="560"/>
                  </a:lnTo>
                  <a:lnTo>
                    <a:pt x="105" y="560"/>
                  </a:lnTo>
                  <a:lnTo>
                    <a:pt x="108" y="561"/>
                  </a:lnTo>
                  <a:lnTo>
                    <a:pt x="108" y="563"/>
                  </a:lnTo>
                  <a:lnTo>
                    <a:pt x="106" y="565"/>
                  </a:lnTo>
                  <a:lnTo>
                    <a:pt x="106" y="565"/>
                  </a:lnTo>
                  <a:lnTo>
                    <a:pt x="106" y="567"/>
                  </a:lnTo>
                  <a:lnTo>
                    <a:pt x="106" y="567"/>
                  </a:lnTo>
                  <a:lnTo>
                    <a:pt x="108" y="569"/>
                  </a:lnTo>
                  <a:lnTo>
                    <a:pt x="108" y="569"/>
                  </a:lnTo>
                  <a:lnTo>
                    <a:pt x="108" y="571"/>
                  </a:lnTo>
                  <a:lnTo>
                    <a:pt x="108" y="571"/>
                  </a:lnTo>
                  <a:lnTo>
                    <a:pt x="110" y="571"/>
                  </a:lnTo>
                  <a:lnTo>
                    <a:pt x="110" y="571"/>
                  </a:lnTo>
                  <a:lnTo>
                    <a:pt x="110" y="571"/>
                  </a:lnTo>
                  <a:lnTo>
                    <a:pt x="110" y="571"/>
                  </a:lnTo>
                  <a:lnTo>
                    <a:pt x="112" y="573"/>
                  </a:lnTo>
                  <a:lnTo>
                    <a:pt x="112" y="573"/>
                  </a:lnTo>
                  <a:lnTo>
                    <a:pt x="112" y="573"/>
                  </a:lnTo>
                  <a:lnTo>
                    <a:pt x="112" y="573"/>
                  </a:lnTo>
                  <a:lnTo>
                    <a:pt x="112" y="573"/>
                  </a:lnTo>
                  <a:lnTo>
                    <a:pt x="112" y="573"/>
                  </a:lnTo>
                  <a:lnTo>
                    <a:pt x="116" y="573"/>
                  </a:lnTo>
                  <a:lnTo>
                    <a:pt x="116" y="573"/>
                  </a:lnTo>
                  <a:lnTo>
                    <a:pt x="116" y="573"/>
                  </a:lnTo>
                  <a:lnTo>
                    <a:pt x="118" y="573"/>
                  </a:lnTo>
                  <a:lnTo>
                    <a:pt x="118" y="573"/>
                  </a:lnTo>
                  <a:lnTo>
                    <a:pt x="118" y="575"/>
                  </a:lnTo>
                  <a:lnTo>
                    <a:pt x="118" y="575"/>
                  </a:lnTo>
                  <a:lnTo>
                    <a:pt x="118" y="575"/>
                  </a:lnTo>
                  <a:lnTo>
                    <a:pt x="116" y="575"/>
                  </a:lnTo>
                  <a:lnTo>
                    <a:pt x="116" y="577"/>
                  </a:lnTo>
                  <a:lnTo>
                    <a:pt x="114" y="577"/>
                  </a:lnTo>
                  <a:lnTo>
                    <a:pt x="114" y="579"/>
                  </a:lnTo>
                  <a:lnTo>
                    <a:pt x="114" y="579"/>
                  </a:lnTo>
                  <a:lnTo>
                    <a:pt x="114" y="580"/>
                  </a:lnTo>
                  <a:lnTo>
                    <a:pt x="114" y="580"/>
                  </a:lnTo>
                  <a:lnTo>
                    <a:pt x="116" y="580"/>
                  </a:lnTo>
                  <a:lnTo>
                    <a:pt x="116" y="582"/>
                  </a:lnTo>
                  <a:lnTo>
                    <a:pt x="118" y="584"/>
                  </a:lnTo>
                  <a:lnTo>
                    <a:pt x="118" y="586"/>
                  </a:lnTo>
                  <a:lnTo>
                    <a:pt x="118" y="588"/>
                  </a:lnTo>
                  <a:lnTo>
                    <a:pt x="120" y="590"/>
                  </a:lnTo>
                  <a:lnTo>
                    <a:pt x="120" y="590"/>
                  </a:lnTo>
                  <a:lnTo>
                    <a:pt x="120" y="590"/>
                  </a:lnTo>
                  <a:lnTo>
                    <a:pt x="120" y="590"/>
                  </a:lnTo>
                  <a:lnTo>
                    <a:pt x="120" y="590"/>
                  </a:lnTo>
                  <a:lnTo>
                    <a:pt x="122" y="590"/>
                  </a:lnTo>
                  <a:lnTo>
                    <a:pt x="122" y="590"/>
                  </a:lnTo>
                  <a:lnTo>
                    <a:pt x="122" y="590"/>
                  </a:lnTo>
                  <a:lnTo>
                    <a:pt x="124" y="592"/>
                  </a:lnTo>
                  <a:lnTo>
                    <a:pt x="133" y="601"/>
                  </a:lnTo>
                  <a:lnTo>
                    <a:pt x="135" y="603"/>
                  </a:lnTo>
                  <a:lnTo>
                    <a:pt x="137" y="603"/>
                  </a:lnTo>
                  <a:lnTo>
                    <a:pt x="139" y="605"/>
                  </a:lnTo>
                  <a:lnTo>
                    <a:pt x="139" y="605"/>
                  </a:lnTo>
                  <a:lnTo>
                    <a:pt x="141" y="605"/>
                  </a:lnTo>
                  <a:lnTo>
                    <a:pt x="141" y="607"/>
                  </a:lnTo>
                  <a:lnTo>
                    <a:pt x="141" y="607"/>
                  </a:lnTo>
                  <a:lnTo>
                    <a:pt x="141" y="609"/>
                  </a:lnTo>
                  <a:lnTo>
                    <a:pt x="143" y="609"/>
                  </a:lnTo>
                  <a:lnTo>
                    <a:pt x="143" y="609"/>
                  </a:lnTo>
                  <a:lnTo>
                    <a:pt x="145" y="609"/>
                  </a:lnTo>
                  <a:lnTo>
                    <a:pt x="145" y="609"/>
                  </a:lnTo>
                  <a:lnTo>
                    <a:pt x="145" y="609"/>
                  </a:lnTo>
                  <a:lnTo>
                    <a:pt x="146" y="611"/>
                  </a:lnTo>
                  <a:lnTo>
                    <a:pt x="148" y="611"/>
                  </a:lnTo>
                  <a:lnTo>
                    <a:pt x="148" y="611"/>
                  </a:lnTo>
                  <a:lnTo>
                    <a:pt x="150" y="611"/>
                  </a:lnTo>
                  <a:lnTo>
                    <a:pt x="150" y="611"/>
                  </a:lnTo>
                  <a:lnTo>
                    <a:pt x="150" y="611"/>
                  </a:lnTo>
                  <a:lnTo>
                    <a:pt x="152" y="611"/>
                  </a:lnTo>
                  <a:lnTo>
                    <a:pt x="152" y="611"/>
                  </a:lnTo>
                  <a:lnTo>
                    <a:pt x="152" y="611"/>
                  </a:lnTo>
                  <a:lnTo>
                    <a:pt x="154" y="611"/>
                  </a:lnTo>
                  <a:lnTo>
                    <a:pt x="154" y="613"/>
                  </a:lnTo>
                  <a:lnTo>
                    <a:pt x="154" y="615"/>
                  </a:lnTo>
                  <a:lnTo>
                    <a:pt x="154" y="617"/>
                  </a:lnTo>
                  <a:lnTo>
                    <a:pt x="156" y="619"/>
                  </a:lnTo>
                  <a:lnTo>
                    <a:pt x="156" y="620"/>
                  </a:lnTo>
                  <a:lnTo>
                    <a:pt x="158" y="620"/>
                  </a:lnTo>
                  <a:lnTo>
                    <a:pt x="160" y="622"/>
                  </a:lnTo>
                  <a:lnTo>
                    <a:pt x="162" y="622"/>
                  </a:lnTo>
                  <a:lnTo>
                    <a:pt x="164" y="622"/>
                  </a:lnTo>
                  <a:lnTo>
                    <a:pt x="165" y="624"/>
                  </a:lnTo>
                  <a:lnTo>
                    <a:pt x="167" y="624"/>
                  </a:lnTo>
                  <a:lnTo>
                    <a:pt x="171" y="624"/>
                  </a:lnTo>
                  <a:lnTo>
                    <a:pt x="173" y="624"/>
                  </a:lnTo>
                  <a:lnTo>
                    <a:pt x="177" y="622"/>
                  </a:lnTo>
                  <a:lnTo>
                    <a:pt x="181" y="622"/>
                  </a:lnTo>
                  <a:lnTo>
                    <a:pt x="183" y="622"/>
                  </a:lnTo>
                  <a:lnTo>
                    <a:pt x="183" y="622"/>
                  </a:lnTo>
                  <a:lnTo>
                    <a:pt x="183" y="622"/>
                  </a:lnTo>
                  <a:lnTo>
                    <a:pt x="183" y="624"/>
                  </a:lnTo>
                  <a:lnTo>
                    <a:pt x="183" y="628"/>
                  </a:lnTo>
                  <a:lnTo>
                    <a:pt x="183" y="630"/>
                  </a:lnTo>
                  <a:lnTo>
                    <a:pt x="183" y="630"/>
                  </a:lnTo>
                  <a:lnTo>
                    <a:pt x="185" y="632"/>
                  </a:lnTo>
                  <a:lnTo>
                    <a:pt x="185" y="632"/>
                  </a:lnTo>
                  <a:lnTo>
                    <a:pt x="186" y="632"/>
                  </a:lnTo>
                  <a:lnTo>
                    <a:pt x="186" y="632"/>
                  </a:lnTo>
                  <a:lnTo>
                    <a:pt x="188" y="630"/>
                  </a:lnTo>
                  <a:lnTo>
                    <a:pt x="188" y="630"/>
                  </a:lnTo>
                  <a:lnTo>
                    <a:pt x="190" y="630"/>
                  </a:lnTo>
                  <a:lnTo>
                    <a:pt x="190" y="632"/>
                  </a:lnTo>
                  <a:lnTo>
                    <a:pt x="192" y="632"/>
                  </a:lnTo>
                  <a:lnTo>
                    <a:pt x="192" y="632"/>
                  </a:lnTo>
                  <a:lnTo>
                    <a:pt x="192" y="634"/>
                  </a:lnTo>
                  <a:lnTo>
                    <a:pt x="194" y="636"/>
                  </a:lnTo>
                  <a:lnTo>
                    <a:pt x="194" y="636"/>
                  </a:lnTo>
                  <a:lnTo>
                    <a:pt x="196" y="636"/>
                  </a:lnTo>
                  <a:lnTo>
                    <a:pt x="196" y="636"/>
                  </a:lnTo>
                  <a:lnTo>
                    <a:pt x="196" y="636"/>
                  </a:lnTo>
                  <a:lnTo>
                    <a:pt x="198" y="636"/>
                  </a:lnTo>
                  <a:lnTo>
                    <a:pt x="198" y="636"/>
                  </a:lnTo>
                  <a:lnTo>
                    <a:pt x="198" y="636"/>
                  </a:lnTo>
                  <a:lnTo>
                    <a:pt x="200" y="636"/>
                  </a:lnTo>
                  <a:lnTo>
                    <a:pt x="200" y="638"/>
                  </a:lnTo>
                  <a:lnTo>
                    <a:pt x="202" y="639"/>
                  </a:lnTo>
                  <a:lnTo>
                    <a:pt x="204" y="641"/>
                  </a:lnTo>
                  <a:lnTo>
                    <a:pt x="204" y="641"/>
                  </a:lnTo>
                  <a:lnTo>
                    <a:pt x="206" y="641"/>
                  </a:lnTo>
                  <a:lnTo>
                    <a:pt x="207" y="641"/>
                  </a:lnTo>
                  <a:lnTo>
                    <a:pt x="207" y="643"/>
                  </a:lnTo>
                  <a:lnTo>
                    <a:pt x="207" y="641"/>
                  </a:lnTo>
                  <a:lnTo>
                    <a:pt x="209" y="641"/>
                  </a:lnTo>
                  <a:lnTo>
                    <a:pt x="209" y="641"/>
                  </a:lnTo>
                  <a:lnTo>
                    <a:pt x="211" y="641"/>
                  </a:lnTo>
                  <a:lnTo>
                    <a:pt x="211" y="641"/>
                  </a:lnTo>
                  <a:lnTo>
                    <a:pt x="211" y="643"/>
                  </a:lnTo>
                  <a:lnTo>
                    <a:pt x="211" y="643"/>
                  </a:lnTo>
                  <a:lnTo>
                    <a:pt x="213" y="645"/>
                  </a:lnTo>
                  <a:lnTo>
                    <a:pt x="213" y="647"/>
                  </a:lnTo>
                  <a:lnTo>
                    <a:pt x="213" y="649"/>
                  </a:lnTo>
                  <a:lnTo>
                    <a:pt x="215" y="649"/>
                  </a:lnTo>
                  <a:lnTo>
                    <a:pt x="215" y="647"/>
                  </a:lnTo>
                  <a:lnTo>
                    <a:pt x="215" y="647"/>
                  </a:lnTo>
                  <a:lnTo>
                    <a:pt x="217" y="647"/>
                  </a:lnTo>
                  <a:lnTo>
                    <a:pt x="217" y="645"/>
                  </a:lnTo>
                  <a:lnTo>
                    <a:pt x="219" y="645"/>
                  </a:lnTo>
                  <a:lnTo>
                    <a:pt x="221" y="645"/>
                  </a:lnTo>
                  <a:lnTo>
                    <a:pt x="223" y="645"/>
                  </a:lnTo>
                  <a:lnTo>
                    <a:pt x="225" y="645"/>
                  </a:lnTo>
                  <a:lnTo>
                    <a:pt x="226" y="647"/>
                  </a:lnTo>
                  <a:lnTo>
                    <a:pt x="226" y="647"/>
                  </a:lnTo>
                  <a:lnTo>
                    <a:pt x="226" y="649"/>
                  </a:lnTo>
                  <a:lnTo>
                    <a:pt x="226" y="651"/>
                  </a:lnTo>
                  <a:lnTo>
                    <a:pt x="226" y="651"/>
                  </a:lnTo>
                  <a:lnTo>
                    <a:pt x="226" y="653"/>
                  </a:lnTo>
                  <a:lnTo>
                    <a:pt x="228" y="653"/>
                  </a:lnTo>
                  <a:lnTo>
                    <a:pt x="230" y="653"/>
                  </a:lnTo>
                  <a:lnTo>
                    <a:pt x="232" y="653"/>
                  </a:lnTo>
                  <a:lnTo>
                    <a:pt x="246" y="651"/>
                  </a:lnTo>
                  <a:lnTo>
                    <a:pt x="246" y="653"/>
                  </a:lnTo>
                  <a:lnTo>
                    <a:pt x="251" y="653"/>
                  </a:lnTo>
                  <a:lnTo>
                    <a:pt x="251" y="653"/>
                  </a:lnTo>
                  <a:lnTo>
                    <a:pt x="253" y="651"/>
                  </a:lnTo>
                  <a:lnTo>
                    <a:pt x="253" y="645"/>
                  </a:lnTo>
                  <a:lnTo>
                    <a:pt x="255" y="641"/>
                  </a:lnTo>
                  <a:lnTo>
                    <a:pt x="259" y="638"/>
                  </a:lnTo>
                  <a:lnTo>
                    <a:pt x="261" y="636"/>
                  </a:lnTo>
                  <a:lnTo>
                    <a:pt x="261" y="636"/>
                  </a:lnTo>
                  <a:lnTo>
                    <a:pt x="263" y="636"/>
                  </a:lnTo>
                  <a:lnTo>
                    <a:pt x="265" y="636"/>
                  </a:lnTo>
                  <a:lnTo>
                    <a:pt x="266" y="636"/>
                  </a:lnTo>
                  <a:lnTo>
                    <a:pt x="268" y="634"/>
                  </a:lnTo>
                  <a:lnTo>
                    <a:pt x="268" y="636"/>
                  </a:lnTo>
                  <a:lnTo>
                    <a:pt x="270" y="636"/>
                  </a:lnTo>
                  <a:lnTo>
                    <a:pt x="276" y="641"/>
                  </a:lnTo>
                  <a:lnTo>
                    <a:pt x="276" y="641"/>
                  </a:lnTo>
                  <a:lnTo>
                    <a:pt x="278" y="641"/>
                  </a:lnTo>
                  <a:lnTo>
                    <a:pt x="278" y="639"/>
                  </a:lnTo>
                  <a:lnTo>
                    <a:pt x="278" y="638"/>
                  </a:lnTo>
                  <a:lnTo>
                    <a:pt x="280" y="638"/>
                  </a:lnTo>
                  <a:lnTo>
                    <a:pt x="280" y="638"/>
                  </a:lnTo>
                  <a:lnTo>
                    <a:pt x="282" y="638"/>
                  </a:lnTo>
                  <a:lnTo>
                    <a:pt x="284" y="636"/>
                  </a:lnTo>
                  <a:lnTo>
                    <a:pt x="287" y="638"/>
                  </a:lnTo>
                  <a:lnTo>
                    <a:pt x="289" y="636"/>
                  </a:lnTo>
                  <a:lnTo>
                    <a:pt x="291" y="636"/>
                  </a:lnTo>
                  <a:lnTo>
                    <a:pt x="291" y="636"/>
                  </a:lnTo>
                  <a:lnTo>
                    <a:pt x="293" y="636"/>
                  </a:lnTo>
                  <a:lnTo>
                    <a:pt x="293" y="636"/>
                  </a:lnTo>
                  <a:lnTo>
                    <a:pt x="295" y="636"/>
                  </a:lnTo>
                  <a:lnTo>
                    <a:pt x="297" y="638"/>
                  </a:lnTo>
                  <a:lnTo>
                    <a:pt x="297" y="638"/>
                  </a:lnTo>
                  <a:lnTo>
                    <a:pt x="299" y="638"/>
                  </a:lnTo>
                  <a:lnTo>
                    <a:pt x="301" y="638"/>
                  </a:lnTo>
                  <a:lnTo>
                    <a:pt x="303" y="638"/>
                  </a:lnTo>
                  <a:lnTo>
                    <a:pt x="307" y="638"/>
                  </a:lnTo>
                  <a:lnTo>
                    <a:pt x="307" y="638"/>
                  </a:lnTo>
                  <a:lnTo>
                    <a:pt x="308" y="636"/>
                  </a:lnTo>
                  <a:lnTo>
                    <a:pt x="308" y="634"/>
                  </a:lnTo>
                  <a:lnTo>
                    <a:pt x="310" y="630"/>
                  </a:lnTo>
                  <a:lnTo>
                    <a:pt x="310" y="628"/>
                  </a:lnTo>
                  <a:lnTo>
                    <a:pt x="312" y="626"/>
                  </a:lnTo>
                  <a:lnTo>
                    <a:pt x="312" y="624"/>
                  </a:lnTo>
                  <a:lnTo>
                    <a:pt x="314" y="624"/>
                  </a:lnTo>
                  <a:lnTo>
                    <a:pt x="316" y="624"/>
                  </a:lnTo>
                  <a:lnTo>
                    <a:pt x="326" y="622"/>
                  </a:lnTo>
                  <a:lnTo>
                    <a:pt x="327" y="622"/>
                  </a:lnTo>
                  <a:lnTo>
                    <a:pt x="327" y="622"/>
                  </a:lnTo>
                  <a:lnTo>
                    <a:pt x="329" y="622"/>
                  </a:lnTo>
                  <a:lnTo>
                    <a:pt x="329" y="620"/>
                  </a:lnTo>
                  <a:lnTo>
                    <a:pt x="331" y="619"/>
                  </a:lnTo>
                  <a:lnTo>
                    <a:pt x="333" y="615"/>
                  </a:lnTo>
                  <a:lnTo>
                    <a:pt x="335" y="613"/>
                  </a:lnTo>
                  <a:lnTo>
                    <a:pt x="335" y="613"/>
                  </a:lnTo>
                  <a:lnTo>
                    <a:pt x="337" y="611"/>
                  </a:lnTo>
                  <a:lnTo>
                    <a:pt x="337" y="611"/>
                  </a:lnTo>
                  <a:lnTo>
                    <a:pt x="337" y="611"/>
                  </a:lnTo>
                  <a:lnTo>
                    <a:pt x="339" y="609"/>
                  </a:lnTo>
                  <a:lnTo>
                    <a:pt x="339" y="609"/>
                  </a:lnTo>
                  <a:lnTo>
                    <a:pt x="339" y="609"/>
                  </a:lnTo>
                  <a:lnTo>
                    <a:pt x="339" y="609"/>
                  </a:lnTo>
                  <a:lnTo>
                    <a:pt x="339" y="607"/>
                  </a:lnTo>
                  <a:lnTo>
                    <a:pt x="339" y="607"/>
                  </a:lnTo>
                  <a:lnTo>
                    <a:pt x="339" y="607"/>
                  </a:lnTo>
                  <a:lnTo>
                    <a:pt x="339" y="605"/>
                  </a:lnTo>
                  <a:lnTo>
                    <a:pt x="335" y="601"/>
                  </a:lnTo>
                  <a:lnTo>
                    <a:pt x="335" y="601"/>
                  </a:lnTo>
                  <a:lnTo>
                    <a:pt x="335" y="601"/>
                  </a:lnTo>
                  <a:lnTo>
                    <a:pt x="333" y="600"/>
                  </a:lnTo>
                  <a:lnTo>
                    <a:pt x="329" y="600"/>
                  </a:lnTo>
                  <a:lnTo>
                    <a:pt x="314" y="600"/>
                  </a:lnTo>
                  <a:lnTo>
                    <a:pt x="312" y="598"/>
                  </a:lnTo>
                  <a:lnTo>
                    <a:pt x="312" y="598"/>
                  </a:lnTo>
                  <a:lnTo>
                    <a:pt x="312" y="596"/>
                  </a:lnTo>
                  <a:lnTo>
                    <a:pt x="312" y="596"/>
                  </a:lnTo>
                  <a:lnTo>
                    <a:pt x="310" y="594"/>
                  </a:lnTo>
                  <a:lnTo>
                    <a:pt x="310" y="594"/>
                  </a:lnTo>
                  <a:lnTo>
                    <a:pt x="310" y="594"/>
                  </a:lnTo>
                  <a:lnTo>
                    <a:pt x="312" y="592"/>
                  </a:lnTo>
                  <a:lnTo>
                    <a:pt x="312" y="592"/>
                  </a:lnTo>
                  <a:lnTo>
                    <a:pt x="312" y="590"/>
                  </a:lnTo>
                  <a:lnTo>
                    <a:pt x="316" y="588"/>
                  </a:lnTo>
                  <a:lnTo>
                    <a:pt x="320" y="586"/>
                  </a:lnTo>
                  <a:lnTo>
                    <a:pt x="320" y="584"/>
                  </a:lnTo>
                  <a:lnTo>
                    <a:pt x="322" y="582"/>
                  </a:lnTo>
                  <a:lnTo>
                    <a:pt x="324" y="580"/>
                  </a:lnTo>
                  <a:lnTo>
                    <a:pt x="324" y="580"/>
                  </a:lnTo>
                  <a:lnTo>
                    <a:pt x="326" y="575"/>
                  </a:lnTo>
                  <a:lnTo>
                    <a:pt x="326" y="573"/>
                  </a:lnTo>
                  <a:lnTo>
                    <a:pt x="326" y="571"/>
                  </a:lnTo>
                  <a:lnTo>
                    <a:pt x="324" y="571"/>
                  </a:lnTo>
                  <a:lnTo>
                    <a:pt x="324" y="571"/>
                  </a:lnTo>
                  <a:lnTo>
                    <a:pt x="322" y="571"/>
                  </a:lnTo>
                  <a:lnTo>
                    <a:pt x="322" y="571"/>
                  </a:lnTo>
                  <a:lnTo>
                    <a:pt x="322" y="571"/>
                  </a:lnTo>
                  <a:lnTo>
                    <a:pt x="322" y="571"/>
                  </a:lnTo>
                  <a:lnTo>
                    <a:pt x="322" y="571"/>
                  </a:lnTo>
                  <a:lnTo>
                    <a:pt x="322" y="571"/>
                  </a:lnTo>
                  <a:lnTo>
                    <a:pt x="322" y="569"/>
                  </a:lnTo>
                  <a:lnTo>
                    <a:pt x="322" y="569"/>
                  </a:lnTo>
                  <a:lnTo>
                    <a:pt x="322" y="567"/>
                  </a:lnTo>
                  <a:lnTo>
                    <a:pt x="320" y="567"/>
                  </a:lnTo>
                  <a:lnTo>
                    <a:pt x="320" y="565"/>
                  </a:lnTo>
                  <a:lnTo>
                    <a:pt x="320" y="563"/>
                  </a:lnTo>
                  <a:lnTo>
                    <a:pt x="322" y="560"/>
                  </a:lnTo>
                  <a:lnTo>
                    <a:pt x="324" y="554"/>
                  </a:lnTo>
                  <a:lnTo>
                    <a:pt x="326" y="554"/>
                  </a:lnTo>
                  <a:lnTo>
                    <a:pt x="327" y="554"/>
                  </a:lnTo>
                  <a:lnTo>
                    <a:pt x="327" y="554"/>
                  </a:lnTo>
                  <a:lnTo>
                    <a:pt x="329" y="554"/>
                  </a:lnTo>
                  <a:lnTo>
                    <a:pt x="331" y="554"/>
                  </a:lnTo>
                  <a:lnTo>
                    <a:pt x="331" y="554"/>
                  </a:lnTo>
                  <a:lnTo>
                    <a:pt x="333" y="554"/>
                  </a:lnTo>
                  <a:lnTo>
                    <a:pt x="337" y="552"/>
                  </a:lnTo>
                  <a:lnTo>
                    <a:pt x="337" y="552"/>
                  </a:lnTo>
                  <a:lnTo>
                    <a:pt x="339" y="550"/>
                  </a:lnTo>
                  <a:lnTo>
                    <a:pt x="339" y="550"/>
                  </a:lnTo>
                  <a:lnTo>
                    <a:pt x="339" y="550"/>
                  </a:lnTo>
                  <a:lnTo>
                    <a:pt x="339" y="548"/>
                  </a:lnTo>
                  <a:lnTo>
                    <a:pt x="337" y="548"/>
                  </a:lnTo>
                  <a:lnTo>
                    <a:pt x="337" y="548"/>
                  </a:lnTo>
                  <a:lnTo>
                    <a:pt x="337" y="546"/>
                  </a:lnTo>
                  <a:lnTo>
                    <a:pt x="339" y="546"/>
                  </a:lnTo>
                  <a:lnTo>
                    <a:pt x="339" y="544"/>
                  </a:lnTo>
                  <a:lnTo>
                    <a:pt x="341" y="542"/>
                  </a:lnTo>
                  <a:lnTo>
                    <a:pt x="343" y="537"/>
                  </a:lnTo>
                  <a:lnTo>
                    <a:pt x="347" y="537"/>
                  </a:lnTo>
                  <a:lnTo>
                    <a:pt x="350" y="535"/>
                  </a:lnTo>
                  <a:lnTo>
                    <a:pt x="352" y="537"/>
                  </a:lnTo>
                  <a:lnTo>
                    <a:pt x="352" y="537"/>
                  </a:lnTo>
                  <a:lnTo>
                    <a:pt x="354" y="537"/>
                  </a:lnTo>
                  <a:lnTo>
                    <a:pt x="354" y="537"/>
                  </a:lnTo>
                  <a:lnTo>
                    <a:pt x="354" y="539"/>
                  </a:lnTo>
                  <a:lnTo>
                    <a:pt x="356" y="539"/>
                  </a:lnTo>
                  <a:lnTo>
                    <a:pt x="356" y="541"/>
                  </a:lnTo>
                  <a:lnTo>
                    <a:pt x="358" y="542"/>
                  </a:lnTo>
                  <a:lnTo>
                    <a:pt x="360" y="542"/>
                  </a:lnTo>
                  <a:lnTo>
                    <a:pt x="360" y="542"/>
                  </a:lnTo>
                  <a:lnTo>
                    <a:pt x="362" y="542"/>
                  </a:lnTo>
                  <a:lnTo>
                    <a:pt x="362" y="541"/>
                  </a:lnTo>
                  <a:lnTo>
                    <a:pt x="362" y="541"/>
                  </a:lnTo>
                  <a:lnTo>
                    <a:pt x="362" y="541"/>
                  </a:lnTo>
                  <a:lnTo>
                    <a:pt x="364" y="539"/>
                  </a:lnTo>
                  <a:lnTo>
                    <a:pt x="364" y="539"/>
                  </a:lnTo>
                  <a:lnTo>
                    <a:pt x="366" y="539"/>
                  </a:lnTo>
                  <a:lnTo>
                    <a:pt x="367" y="541"/>
                  </a:lnTo>
                  <a:lnTo>
                    <a:pt x="373" y="544"/>
                  </a:lnTo>
                  <a:lnTo>
                    <a:pt x="375" y="544"/>
                  </a:lnTo>
                  <a:lnTo>
                    <a:pt x="381" y="546"/>
                  </a:lnTo>
                  <a:lnTo>
                    <a:pt x="383" y="546"/>
                  </a:lnTo>
                  <a:lnTo>
                    <a:pt x="383" y="544"/>
                  </a:lnTo>
                  <a:lnTo>
                    <a:pt x="383" y="542"/>
                  </a:lnTo>
                  <a:lnTo>
                    <a:pt x="383" y="542"/>
                  </a:lnTo>
                  <a:lnTo>
                    <a:pt x="383" y="541"/>
                  </a:lnTo>
                  <a:lnTo>
                    <a:pt x="383" y="539"/>
                  </a:lnTo>
                  <a:lnTo>
                    <a:pt x="383" y="539"/>
                  </a:lnTo>
                  <a:lnTo>
                    <a:pt x="383" y="537"/>
                  </a:lnTo>
                  <a:lnTo>
                    <a:pt x="383" y="537"/>
                  </a:lnTo>
                  <a:lnTo>
                    <a:pt x="383" y="537"/>
                  </a:lnTo>
                  <a:lnTo>
                    <a:pt x="385" y="537"/>
                  </a:lnTo>
                  <a:lnTo>
                    <a:pt x="385" y="537"/>
                  </a:lnTo>
                  <a:lnTo>
                    <a:pt x="385" y="539"/>
                  </a:lnTo>
                  <a:lnTo>
                    <a:pt x="387" y="539"/>
                  </a:lnTo>
                  <a:lnTo>
                    <a:pt x="387" y="539"/>
                  </a:lnTo>
                  <a:lnTo>
                    <a:pt x="387" y="539"/>
                  </a:lnTo>
                  <a:lnTo>
                    <a:pt x="387" y="539"/>
                  </a:lnTo>
                  <a:lnTo>
                    <a:pt x="388" y="537"/>
                  </a:lnTo>
                  <a:lnTo>
                    <a:pt x="388" y="537"/>
                  </a:lnTo>
                  <a:lnTo>
                    <a:pt x="388" y="537"/>
                  </a:lnTo>
                  <a:lnTo>
                    <a:pt x="390" y="537"/>
                  </a:lnTo>
                  <a:lnTo>
                    <a:pt x="390" y="537"/>
                  </a:lnTo>
                  <a:lnTo>
                    <a:pt x="390" y="537"/>
                  </a:lnTo>
                  <a:lnTo>
                    <a:pt x="392" y="537"/>
                  </a:lnTo>
                  <a:lnTo>
                    <a:pt x="392" y="535"/>
                  </a:lnTo>
                  <a:lnTo>
                    <a:pt x="392" y="533"/>
                  </a:lnTo>
                  <a:lnTo>
                    <a:pt x="392" y="533"/>
                  </a:lnTo>
                  <a:lnTo>
                    <a:pt x="392" y="531"/>
                  </a:lnTo>
                  <a:lnTo>
                    <a:pt x="392" y="531"/>
                  </a:lnTo>
                  <a:lnTo>
                    <a:pt x="394" y="531"/>
                  </a:lnTo>
                  <a:lnTo>
                    <a:pt x="394" y="531"/>
                  </a:lnTo>
                  <a:lnTo>
                    <a:pt x="394" y="531"/>
                  </a:lnTo>
                  <a:lnTo>
                    <a:pt x="394" y="533"/>
                  </a:lnTo>
                  <a:lnTo>
                    <a:pt x="400" y="537"/>
                  </a:lnTo>
                  <a:lnTo>
                    <a:pt x="402" y="537"/>
                  </a:lnTo>
                  <a:lnTo>
                    <a:pt x="404" y="537"/>
                  </a:lnTo>
                  <a:lnTo>
                    <a:pt x="404" y="537"/>
                  </a:lnTo>
                  <a:lnTo>
                    <a:pt x="404" y="535"/>
                  </a:lnTo>
                  <a:lnTo>
                    <a:pt x="404" y="535"/>
                  </a:lnTo>
                  <a:lnTo>
                    <a:pt x="402" y="533"/>
                  </a:lnTo>
                  <a:lnTo>
                    <a:pt x="400" y="531"/>
                  </a:lnTo>
                  <a:lnTo>
                    <a:pt x="400" y="531"/>
                  </a:lnTo>
                  <a:lnTo>
                    <a:pt x="398" y="531"/>
                  </a:lnTo>
                  <a:lnTo>
                    <a:pt x="398" y="531"/>
                  </a:lnTo>
                  <a:lnTo>
                    <a:pt x="398" y="529"/>
                  </a:lnTo>
                  <a:lnTo>
                    <a:pt x="398" y="529"/>
                  </a:lnTo>
                  <a:lnTo>
                    <a:pt x="402" y="525"/>
                  </a:lnTo>
                  <a:lnTo>
                    <a:pt x="402" y="523"/>
                  </a:lnTo>
                  <a:lnTo>
                    <a:pt x="402" y="523"/>
                  </a:lnTo>
                  <a:lnTo>
                    <a:pt x="402" y="523"/>
                  </a:lnTo>
                  <a:lnTo>
                    <a:pt x="404" y="522"/>
                  </a:lnTo>
                  <a:lnTo>
                    <a:pt x="404" y="520"/>
                  </a:lnTo>
                  <a:lnTo>
                    <a:pt x="404" y="520"/>
                  </a:lnTo>
                  <a:lnTo>
                    <a:pt x="404" y="520"/>
                  </a:lnTo>
                  <a:lnTo>
                    <a:pt x="406" y="518"/>
                  </a:lnTo>
                  <a:lnTo>
                    <a:pt x="407" y="518"/>
                  </a:lnTo>
                  <a:lnTo>
                    <a:pt x="407" y="516"/>
                  </a:lnTo>
                  <a:lnTo>
                    <a:pt x="407" y="516"/>
                  </a:lnTo>
                  <a:lnTo>
                    <a:pt x="407" y="514"/>
                  </a:lnTo>
                  <a:lnTo>
                    <a:pt x="407" y="512"/>
                  </a:lnTo>
                  <a:lnTo>
                    <a:pt x="409" y="510"/>
                  </a:lnTo>
                  <a:lnTo>
                    <a:pt x="409" y="510"/>
                  </a:lnTo>
                  <a:lnTo>
                    <a:pt x="411" y="508"/>
                  </a:lnTo>
                  <a:lnTo>
                    <a:pt x="411" y="506"/>
                  </a:lnTo>
                  <a:lnTo>
                    <a:pt x="411" y="506"/>
                  </a:lnTo>
                  <a:lnTo>
                    <a:pt x="411" y="504"/>
                  </a:lnTo>
                  <a:lnTo>
                    <a:pt x="411" y="504"/>
                  </a:lnTo>
                  <a:lnTo>
                    <a:pt x="413" y="503"/>
                  </a:lnTo>
                  <a:lnTo>
                    <a:pt x="413" y="503"/>
                  </a:lnTo>
                  <a:lnTo>
                    <a:pt x="413" y="503"/>
                  </a:lnTo>
                  <a:lnTo>
                    <a:pt x="413" y="501"/>
                  </a:lnTo>
                  <a:lnTo>
                    <a:pt x="413" y="499"/>
                  </a:lnTo>
                  <a:lnTo>
                    <a:pt x="413" y="499"/>
                  </a:lnTo>
                  <a:lnTo>
                    <a:pt x="413" y="49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6" name="Freeform 48">
              <a:extLst>
                <a:ext uri="{FF2B5EF4-FFF2-40B4-BE49-F238E27FC236}">
                  <a16:creationId xmlns:a16="http://schemas.microsoft.com/office/drawing/2014/main" id="{83C2A70A-DA0B-FE7F-03DC-05B9643BC42D}"/>
                </a:ext>
              </a:extLst>
            </p:cNvPr>
            <p:cNvSpPr>
              <a:spLocks/>
            </p:cNvSpPr>
            <p:nvPr/>
          </p:nvSpPr>
          <p:spPr bwMode="auto">
            <a:xfrm>
              <a:off x="6003925" y="3412338"/>
              <a:ext cx="669925" cy="530225"/>
            </a:xfrm>
            <a:custGeom>
              <a:avLst/>
              <a:gdLst>
                <a:gd name="T0" fmla="*/ 418 w 422"/>
                <a:gd name="T1" fmla="*/ 57 h 334"/>
                <a:gd name="T2" fmla="*/ 418 w 422"/>
                <a:gd name="T3" fmla="*/ 45 h 334"/>
                <a:gd name="T4" fmla="*/ 410 w 422"/>
                <a:gd name="T5" fmla="*/ 17 h 334"/>
                <a:gd name="T6" fmla="*/ 391 w 422"/>
                <a:gd name="T7" fmla="*/ 1 h 334"/>
                <a:gd name="T8" fmla="*/ 372 w 422"/>
                <a:gd name="T9" fmla="*/ 13 h 334"/>
                <a:gd name="T10" fmla="*/ 355 w 422"/>
                <a:gd name="T11" fmla="*/ 26 h 334"/>
                <a:gd name="T12" fmla="*/ 345 w 422"/>
                <a:gd name="T13" fmla="*/ 66 h 334"/>
                <a:gd name="T14" fmla="*/ 319 w 422"/>
                <a:gd name="T15" fmla="*/ 74 h 334"/>
                <a:gd name="T16" fmla="*/ 290 w 422"/>
                <a:gd name="T17" fmla="*/ 91 h 334"/>
                <a:gd name="T18" fmla="*/ 275 w 422"/>
                <a:gd name="T19" fmla="*/ 83 h 334"/>
                <a:gd name="T20" fmla="*/ 250 w 422"/>
                <a:gd name="T21" fmla="*/ 60 h 334"/>
                <a:gd name="T22" fmla="*/ 220 w 422"/>
                <a:gd name="T23" fmla="*/ 59 h 334"/>
                <a:gd name="T24" fmla="*/ 210 w 422"/>
                <a:gd name="T25" fmla="*/ 78 h 334"/>
                <a:gd name="T26" fmla="*/ 180 w 422"/>
                <a:gd name="T27" fmla="*/ 83 h 334"/>
                <a:gd name="T28" fmla="*/ 162 w 422"/>
                <a:gd name="T29" fmla="*/ 93 h 334"/>
                <a:gd name="T30" fmla="*/ 136 w 422"/>
                <a:gd name="T31" fmla="*/ 83 h 334"/>
                <a:gd name="T32" fmla="*/ 115 w 422"/>
                <a:gd name="T33" fmla="*/ 95 h 334"/>
                <a:gd name="T34" fmla="*/ 96 w 422"/>
                <a:gd name="T35" fmla="*/ 93 h 334"/>
                <a:gd name="T36" fmla="*/ 84 w 422"/>
                <a:gd name="T37" fmla="*/ 79 h 334"/>
                <a:gd name="T38" fmla="*/ 75 w 422"/>
                <a:gd name="T39" fmla="*/ 81 h 334"/>
                <a:gd name="T40" fmla="*/ 61 w 422"/>
                <a:gd name="T41" fmla="*/ 72 h 334"/>
                <a:gd name="T42" fmla="*/ 33 w 422"/>
                <a:gd name="T43" fmla="*/ 81 h 334"/>
                <a:gd name="T44" fmla="*/ 10 w 422"/>
                <a:gd name="T45" fmla="*/ 93 h 334"/>
                <a:gd name="T46" fmla="*/ 4 w 422"/>
                <a:gd name="T47" fmla="*/ 119 h 334"/>
                <a:gd name="T48" fmla="*/ 37 w 422"/>
                <a:gd name="T49" fmla="*/ 157 h 334"/>
                <a:gd name="T50" fmla="*/ 44 w 422"/>
                <a:gd name="T51" fmla="*/ 175 h 334"/>
                <a:gd name="T52" fmla="*/ 56 w 422"/>
                <a:gd name="T53" fmla="*/ 169 h 334"/>
                <a:gd name="T54" fmla="*/ 58 w 422"/>
                <a:gd name="T55" fmla="*/ 186 h 334"/>
                <a:gd name="T56" fmla="*/ 63 w 422"/>
                <a:gd name="T57" fmla="*/ 195 h 334"/>
                <a:gd name="T58" fmla="*/ 73 w 422"/>
                <a:gd name="T59" fmla="*/ 233 h 334"/>
                <a:gd name="T60" fmla="*/ 84 w 422"/>
                <a:gd name="T61" fmla="*/ 233 h 334"/>
                <a:gd name="T62" fmla="*/ 92 w 422"/>
                <a:gd name="T63" fmla="*/ 249 h 334"/>
                <a:gd name="T64" fmla="*/ 69 w 422"/>
                <a:gd name="T65" fmla="*/ 270 h 334"/>
                <a:gd name="T66" fmla="*/ 73 w 422"/>
                <a:gd name="T67" fmla="*/ 291 h 334"/>
                <a:gd name="T68" fmla="*/ 107 w 422"/>
                <a:gd name="T69" fmla="*/ 294 h 334"/>
                <a:gd name="T70" fmla="*/ 145 w 422"/>
                <a:gd name="T71" fmla="*/ 291 h 334"/>
                <a:gd name="T72" fmla="*/ 155 w 422"/>
                <a:gd name="T73" fmla="*/ 317 h 334"/>
                <a:gd name="T74" fmla="*/ 174 w 422"/>
                <a:gd name="T75" fmla="*/ 330 h 334"/>
                <a:gd name="T76" fmla="*/ 220 w 422"/>
                <a:gd name="T77" fmla="*/ 325 h 334"/>
                <a:gd name="T78" fmla="*/ 225 w 422"/>
                <a:gd name="T79" fmla="*/ 330 h 334"/>
                <a:gd name="T80" fmla="*/ 242 w 422"/>
                <a:gd name="T81" fmla="*/ 310 h 334"/>
                <a:gd name="T82" fmla="*/ 242 w 422"/>
                <a:gd name="T83" fmla="*/ 283 h 334"/>
                <a:gd name="T84" fmla="*/ 277 w 422"/>
                <a:gd name="T85" fmla="*/ 298 h 334"/>
                <a:gd name="T86" fmla="*/ 313 w 422"/>
                <a:gd name="T87" fmla="*/ 308 h 334"/>
                <a:gd name="T88" fmla="*/ 319 w 422"/>
                <a:gd name="T89" fmla="*/ 296 h 334"/>
                <a:gd name="T90" fmla="*/ 315 w 422"/>
                <a:gd name="T91" fmla="*/ 283 h 334"/>
                <a:gd name="T92" fmla="*/ 292 w 422"/>
                <a:gd name="T93" fmla="*/ 258 h 334"/>
                <a:gd name="T94" fmla="*/ 286 w 422"/>
                <a:gd name="T95" fmla="*/ 237 h 334"/>
                <a:gd name="T96" fmla="*/ 275 w 422"/>
                <a:gd name="T97" fmla="*/ 232 h 334"/>
                <a:gd name="T98" fmla="*/ 235 w 422"/>
                <a:gd name="T99" fmla="*/ 214 h 334"/>
                <a:gd name="T100" fmla="*/ 231 w 422"/>
                <a:gd name="T101" fmla="*/ 190 h 334"/>
                <a:gd name="T102" fmla="*/ 246 w 422"/>
                <a:gd name="T103" fmla="*/ 175 h 334"/>
                <a:gd name="T104" fmla="*/ 260 w 422"/>
                <a:gd name="T105" fmla="*/ 184 h 334"/>
                <a:gd name="T106" fmla="*/ 277 w 422"/>
                <a:gd name="T107" fmla="*/ 178 h 334"/>
                <a:gd name="T108" fmla="*/ 321 w 422"/>
                <a:gd name="T109" fmla="*/ 152 h 334"/>
                <a:gd name="T110" fmla="*/ 340 w 422"/>
                <a:gd name="T111" fmla="*/ 146 h 334"/>
                <a:gd name="T112" fmla="*/ 355 w 422"/>
                <a:gd name="T113" fmla="*/ 146 h 334"/>
                <a:gd name="T114" fmla="*/ 364 w 422"/>
                <a:gd name="T115" fmla="*/ 137 h 334"/>
                <a:gd name="T116" fmla="*/ 368 w 422"/>
                <a:gd name="T117" fmla="*/ 133 h 334"/>
                <a:gd name="T118" fmla="*/ 385 w 422"/>
                <a:gd name="T119" fmla="*/ 119 h 334"/>
                <a:gd name="T120" fmla="*/ 397 w 422"/>
                <a:gd name="T121" fmla="*/ 110 h 334"/>
                <a:gd name="T122" fmla="*/ 410 w 422"/>
                <a:gd name="T123" fmla="*/ 85 h 334"/>
                <a:gd name="T124" fmla="*/ 408 w 422"/>
                <a:gd name="T125" fmla="*/ 7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334">
                  <a:moveTo>
                    <a:pt x="420" y="70"/>
                  </a:moveTo>
                  <a:lnTo>
                    <a:pt x="420" y="70"/>
                  </a:lnTo>
                  <a:lnTo>
                    <a:pt x="420" y="70"/>
                  </a:lnTo>
                  <a:lnTo>
                    <a:pt x="418" y="68"/>
                  </a:lnTo>
                  <a:lnTo>
                    <a:pt x="420" y="68"/>
                  </a:lnTo>
                  <a:lnTo>
                    <a:pt x="420" y="68"/>
                  </a:lnTo>
                  <a:lnTo>
                    <a:pt x="420" y="66"/>
                  </a:lnTo>
                  <a:lnTo>
                    <a:pt x="422" y="66"/>
                  </a:lnTo>
                  <a:lnTo>
                    <a:pt x="422" y="64"/>
                  </a:lnTo>
                  <a:lnTo>
                    <a:pt x="420" y="64"/>
                  </a:lnTo>
                  <a:lnTo>
                    <a:pt x="420" y="64"/>
                  </a:lnTo>
                  <a:lnTo>
                    <a:pt x="420" y="62"/>
                  </a:lnTo>
                  <a:lnTo>
                    <a:pt x="420" y="62"/>
                  </a:lnTo>
                  <a:lnTo>
                    <a:pt x="420" y="60"/>
                  </a:lnTo>
                  <a:lnTo>
                    <a:pt x="420" y="59"/>
                  </a:lnTo>
                  <a:lnTo>
                    <a:pt x="418" y="59"/>
                  </a:lnTo>
                  <a:lnTo>
                    <a:pt x="418" y="57"/>
                  </a:lnTo>
                  <a:lnTo>
                    <a:pt x="418" y="57"/>
                  </a:lnTo>
                  <a:lnTo>
                    <a:pt x="418" y="57"/>
                  </a:lnTo>
                  <a:lnTo>
                    <a:pt x="414" y="57"/>
                  </a:lnTo>
                  <a:lnTo>
                    <a:pt x="414" y="55"/>
                  </a:lnTo>
                  <a:lnTo>
                    <a:pt x="414" y="55"/>
                  </a:lnTo>
                  <a:lnTo>
                    <a:pt x="414" y="55"/>
                  </a:lnTo>
                  <a:lnTo>
                    <a:pt x="414" y="53"/>
                  </a:lnTo>
                  <a:lnTo>
                    <a:pt x="414" y="53"/>
                  </a:lnTo>
                  <a:lnTo>
                    <a:pt x="414" y="53"/>
                  </a:lnTo>
                  <a:lnTo>
                    <a:pt x="414" y="53"/>
                  </a:lnTo>
                  <a:lnTo>
                    <a:pt x="416" y="53"/>
                  </a:lnTo>
                  <a:lnTo>
                    <a:pt x="416" y="53"/>
                  </a:lnTo>
                  <a:lnTo>
                    <a:pt x="418" y="53"/>
                  </a:lnTo>
                  <a:lnTo>
                    <a:pt x="418" y="53"/>
                  </a:lnTo>
                  <a:lnTo>
                    <a:pt x="418" y="53"/>
                  </a:lnTo>
                  <a:lnTo>
                    <a:pt x="418" y="47"/>
                  </a:lnTo>
                  <a:lnTo>
                    <a:pt x="418" y="45"/>
                  </a:lnTo>
                  <a:lnTo>
                    <a:pt x="420" y="43"/>
                  </a:lnTo>
                  <a:lnTo>
                    <a:pt x="420" y="43"/>
                  </a:lnTo>
                  <a:lnTo>
                    <a:pt x="420" y="40"/>
                  </a:lnTo>
                  <a:lnTo>
                    <a:pt x="420" y="38"/>
                  </a:lnTo>
                  <a:lnTo>
                    <a:pt x="418" y="30"/>
                  </a:lnTo>
                  <a:lnTo>
                    <a:pt x="416" y="28"/>
                  </a:lnTo>
                  <a:lnTo>
                    <a:pt x="416" y="28"/>
                  </a:lnTo>
                  <a:lnTo>
                    <a:pt x="416" y="26"/>
                  </a:lnTo>
                  <a:lnTo>
                    <a:pt x="412" y="22"/>
                  </a:lnTo>
                  <a:lnTo>
                    <a:pt x="412" y="22"/>
                  </a:lnTo>
                  <a:lnTo>
                    <a:pt x="410" y="22"/>
                  </a:lnTo>
                  <a:lnTo>
                    <a:pt x="410" y="22"/>
                  </a:lnTo>
                  <a:lnTo>
                    <a:pt x="410" y="22"/>
                  </a:lnTo>
                  <a:lnTo>
                    <a:pt x="410" y="20"/>
                  </a:lnTo>
                  <a:lnTo>
                    <a:pt x="410" y="20"/>
                  </a:lnTo>
                  <a:lnTo>
                    <a:pt x="410" y="19"/>
                  </a:lnTo>
                  <a:lnTo>
                    <a:pt x="410" y="17"/>
                  </a:lnTo>
                  <a:lnTo>
                    <a:pt x="408" y="15"/>
                  </a:lnTo>
                  <a:lnTo>
                    <a:pt x="408" y="15"/>
                  </a:lnTo>
                  <a:lnTo>
                    <a:pt x="410" y="13"/>
                  </a:lnTo>
                  <a:lnTo>
                    <a:pt x="410" y="13"/>
                  </a:lnTo>
                  <a:lnTo>
                    <a:pt x="410" y="11"/>
                  </a:lnTo>
                  <a:lnTo>
                    <a:pt x="410" y="9"/>
                  </a:lnTo>
                  <a:lnTo>
                    <a:pt x="410" y="9"/>
                  </a:lnTo>
                  <a:lnTo>
                    <a:pt x="410" y="7"/>
                  </a:lnTo>
                  <a:lnTo>
                    <a:pt x="408" y="7"/>
                  </a:lnTo>
                  <a:lnTo>
                    <a:pt x="408" y="7"/>
                  </a:lnTo>
                  <a:lnTo>
                    <a:pt x="404" y="5"/>
                  </a:lnTo>
                  <a:lnTo>
                    <a:pt x="401" y="7"/>
                  </a:lnTo>
                  <a:lnTo>
                    <a:pt x="399" y="5"/>
                  </a:lnTo>
                  <a:lnTo>
                    <a:pt x="393" y="5"/>
                  </a:lnTo>
                  <a:lnTo>
                    <a:pt x="393" y="3"/>
                  </a:lnTo>
                  <a:lnTo>
                    <a:pt x="391" y="1"/>
                  </a:lnTo>
                  <a:lnTo>
                    <a:pt x="391" y="1"/>
                  </a:lnTo>
                  <a:lnTo>
                    <a:pt x="389" y="0"/>
                  </a:lnTo>
                  <a:lnTo>
                    <a:pt x="389" y="0"/>
                  </a:lnTo>
                  <a:lnTo>
                    <a:pt x="387" y="0"/>
                  </a:lnTo>
                  <a:lnTo>
                    <a:pt x="387" y="0"/>
                  </a:lnTo>
                  <a:lnTo>
                    <a:pt x="387" y="0"/>
                  </a:lnTo>
                  <a:lnTo>
                    <a:pt x="385" y="0"/>
                  </a:lnTo>
                  <a:lnTo>
                    <a:pt x="382" y="3"/>
                  </a:lnTo>
                  <a:lnTo>
                    <a:pt x="380" y="5"/>
                  </a:lnTo>
                  <a:lnTo>
                    <a:pt x="380" y="5"/>
                  </a:lnTo>
                  <a:lnTo>
                    <a:pt x="380" y="7"/>
                  </a:lnTo>
                  <a:lnTo>
                    <a:pt x="380" y="7"/>
                  </a:lnTo>
                  <a:lnTo>
                    <a:pt x="378" y="9"/>
                  </a:lnTo>
                  <a:lnTo>
                    <a:pt x="378" y="11"/>
                  </a:lnTo>
                  <a:lnTo>
                    <a:pt x="378" y="13"/>
                  </a:lnTo>
                  <a:lnTo>
                    <a:pt x="376" y="13"/>
                  </a:lnTo>
                  <a:lnTo>
                    <a:pt x="374" y="13"/>
                  </a:lnTo>
                  <a:lnTo>
                    <a:pt x="372" y="13"/>
                  </a:lnTo>
                  <a:lnTo>
                    <a:pt x="372" y="11"/>
                  </a:lnTo>
                  <a:lnTo>
                    <a:pt x="370" y="11"/>
                  </a:lnTo>
                  <a:lnTo>
                    <a:pt x="370" y="11"/>
                  </a:lnTo>
                  <a:lnTo>
                    <a:pt x="370" y="13"/>
                  </a:lnTo>
                  <a:lnTo>
                    <a:pt x="370" y="13"/>
                  </a:lnTo>
                  <a:lnTo>
                    <a:pt x="366" y="13"/>
                  </a:lnTo>
                  <a:lnTo>
                    <a:pt x="366" y="13"/>
                  </a:lnTo>
                  <a:lnTo>
                    <a:pt x="364" y="15"/>
                  </a:lnTo>
                  <a:lnTo>
                    <a:pt x="364" y="17"/>
                  </a:lnTo>
                  <a:lnTo>
                    <a:pt x="364" y="19"/>
                  </a:lnTo>
                  <a:lnTo>
                    <a:pt x="362" y="24"/>
                  </a:lnTo>
                  <a:lnTo>
                    <a:pt x="362" y="24"/>
                  </a:lnTo>
                  <a:lnTo>
                    <a:pt x="362" y="24"/>
                  </a:lnTo>
                  <a:lnTo>
                    <a:pt x="359" y="24"/>
                  </a:lnTo>
                  <a:lnTo>
                    <a:pt x="359" y="24"/>
                  </a:lnTo>
                  <a:lnTo>
                    <a:pt x="355" y="26"/>
                  </a:lnTo>
                  <a:lnTo>
                    <a:pt x="355" y="26"/>
                  </a:lnTo>
                  <a:lnTo>
                    <a:pt x="353" y="28"/>
                  </a:lnTo>
                  <a:lnTo>
                    <a:pt x="349" y="32"/>
                  </a:lnTo>
                  <a:lnTo>
                    <a:pt x="349" y="34"/>
                  </a:lnTo>
                  <a:lnTo>
                    <a:pt x="349" y="34"/>
                  </a:lnTo>
                  <a:lnTo>
                    <a:pt x="349" y="45"/>
                  </a:lnTo>
                  <a:lnTo>
                    <a:pt x="349" y="47"/>
                  </a:lnTo>
                  <a:lnTo>
                    <a:pt x="349" y="47"/>
                  </a:lnTo>
                  <a:lnTo>
                    <a:pt x="347" y="49"/>
                  </a:lnTo>
                  <a:lnTo>
                    <a:pt x="345" y="53"/>
                  </a:lnTo>
                  <a:lnTo>
                    <a:pt x="345" y="53"/>
                  </a:lnTo>
                  <a:lnTo>
                    <a:pt x="345" y="53"/>
                  </a:lnTo>
                  <a:lnTo>
                    <a:pt x="345" y="55"/>
                  </a:lnTo>
                  <a:lnTo>
                    <a:pt x="345" y="55"/>
                  </a:lnTo>
                  <a:lnTo>
                    <a:pt x="345" y="57"/>
                  </a:lnTo>
                  <a:lnTo>
                    <a:pt x="345" y="57"/>
                  </a:lnTo>
                  <a:lnTo>
                    <a:pt x="343" y="62"/>
                  </a:lnTo>
                  <a:lnTo>
                    <a:pt x="345" y="66"/>
                  </a:lnTo>
                  <a:lnTo>
                    <a:pt x="343" y="68"/>
                  </a:lnTo>
                  <a:lnTo>
                    <a:pt x="343" y="70"/>
                  </a:lnTo>
                  <a:lnTo>
                    <a:pt x="343" y="72"/>
                  </a:lnTo>
                  <a:lnTo>
                    <a:pt x="341" y="74"/>
                  </a:lnTo>
                  <a:lnTo>
                    <a:pt x="341" y="74"/>
                  </a:lnTo>
                  <a:lnTo>
                    <a:pt x="340" y="74"/>
                  </a:lnTo>
                  <a:lnTo>
                    <a:pt x="334" y="72"/>
                  </a:lnTo>
                  <a:lnTo>
                    <a:pt x="332" y="70"/>
                  </a:lnTo>
                  <a:lnTo>
                    <a:pt x="330" y="72"/>
                  </a:lnTo>
                  <a:lnTo>
                    <a:pt x="330" y="72"/>
                  </a:lnTo>
                  <a:lnTo>
                    <a:pt x="328" y="74"/>
                  </a:lnTo>
                  <a:lnTo>
                    <a:pt x="328" y="76"/>
                  </a:lnTo>
                  <a:lnTo>
                    <a:pt x="328" y="78"/>
                  </a:lnTo>
                  <a:lnTo>
                    <a:pt x="328" y="79"/>
                  </a:lnTo>
                  <a:lnTo>
                    <a:pt x="328" y="79"/>
                  </a:lnTo>
                  <a:lnTo>
                    <a:pt x="321" y="78"/>
                  </a:lnTo>
                  <a:lnTo>
                    <a:pt x="319" y="74"/>
                  </a:lnTo>
                  <a:lnTo>
                    <a:pt x="317" y="74"/>
                  </a:lnTo>
                  <a:lnTo>
                    <a:pt x="315" y="74"/>
                  </a:lnTo>
                  <a:lnTo>
                    <a:pt x="315" y="74"/>
                  </a:lnTo>
                  <a:lnTo>
                    <a:pt x="315" y="74"/>
                  </a:lnTo>
                  <a:lnTo>
                    <a:pt x="313" y="76"/>
                  </a:lnTo>
                  <a:lnTo>
                    <a:pt x="311" y="78"/>
                  </a:lnTo>
                  <a:lnTo>
                    <a:pt x="309" y="78"/>
                  </a:lnTo>
                  <a:lnTo>
                    <a:pt x="307" y="78"/>
                  </a:lnTo>
                  <a:lnTo>
                    <a:pt x="305" y="78"/>
                  </a:lnTo>
                  <a:lnTo>
                    <a:pt x="303" y="78"/>
                  </a:lnTo>
                  <a:lnTo>
                    <a:pt x="301" y="76"/>
                  </a:lnTo>
                  <a:lnTo>
                    <a:pt x="300" y="76"/>
                  </a:lnTo>
                  <a:lnTo>
                    <a:pt x="296" y="81"/>
                  </a:lnTo>
                  <a:lnTo>
                    <a:pt x="292" y="83"/>
                  </a:lnTo>
                  <a:lnTo>
                    <a:pt x="292" y="85"/>
                  </a:lnTo>
                  <a:lnTo>
                    <a:pt x="290" y="87"/>
                  </a:lnTo>
                  <a:lnTo>
                    <a:pt x="290" y="91"/>
                  </a:lnTo>
                  <a:lnTo>
                    <a:pt x="290" y="93"/>
                  </a:lnTo>
                  <a:lnTo>
                    <a:pt x="288" y="93"/>
                  </a:lnTo>
                  <a:lnTo>
                    <a:pt x="288" y="93"/>
                  </a:lnTo>
                  <a:lnTo>
                    <a:pt x="288" y="95"/>
                  </a:lnTo>
                  <a:lnTo>
                    <a:pt x="288" y="95"/>
                  </a:lnTo>
                  <a:lnTo>
                    <a:pt x="288" y="97"/>
                  </a:lnTo>
                  <a:lnTo>
                    <a:pt x="288" y="97"/>
                  </a:lnTo>
                  <a:lnTo>
                    <a:pt x="288" y="98"/>
                  </a:lnTo>
                  <a:lnTo>
                    <a:pt x="286" y="98"/>
                  </a:lnTo>
                  <a:lnTo>
                    <a:pt x="284" y="97"/>
                  </a:lnTo>
                  <a:lnTo>
                    <a:pt x="279" y="93"/>
                  </a:lnTo>
                  <a:lnTo>
                    <a:pt x="271" y="89"/>
                  </a:lnTo>
                  <a:lnTo>
                    <a:pt x="271" y="87"/>
                  </a:lnTo>
                  <a:lnTo>
                    <a:pt x="271" y="87"/>
                  </a:lnTo>
                  <a:lnTo>
                    <a:pt x="273" y="85"/>
                  </a:lnTo>
                  <a:lnTo>
                    <a:pt x="273" y="83"/>
                  </a:lnTo>
                  <a:lnTo>
                    <a:pt x="275" y="83"/>
                  </a:lnTo>
                  <a:lnTo>
                    <a:pt x="273" y="79"/>
                  </a:lnTo>
                  <a:lnTo>
                    <a:pt x="273" y="78"/>
                  </a:lnTo>
                  <a:lnTo>
                    <a:pt x="273" y="78"/>
                  </a:lnTo>
                  <a:lnTo>
                    <a:pt x="269" y="78"/>
                  </a:lnTo>
                  <a:lnTo>
                    <a:pt x="267" y="76"/>
                  </a:lnTo>
                  <a:lnTo>
                    <a:pt x="265" y="76"/>
                  </a:lnTo>
                  <a:lnTo>
                    <a:pt x="263" y="78"/>
                  </a:lnTo>
                  <a:lnTo>
                    <a:pt x="261" y="78"/>
                  </a:lnTo>
                  <a:lnTo>
                    <a:pt x="260" y="78"/>
                  </a:lnTo>
                  <a:lnTo>
                    <a:pt x="258" y="76"/>
                  </a:lnTo>
                  <a:lnTo>
                    <a:pt x="258" y="74"/>
                  </a:lnTo>
                  <a:lnTo>
                    <a:pt x="256" y="72"/>
                  </a:lnTo>
                  <a:lnTo>
                    <a:pt x="256" y="64"/>
                  </a:lnTo>
                  <a:lnTo>
                    <a:pt x="256" y="62"/>
                  </a:lnTo>
                  <a:lnTo>
                    <a:pt x="254" y="62"/>
                  </a:lnTo>
                  <a:lnTo>
                    <a:pt x="252" y="62"/>
                  </a:lnTo>
                  <a:lnTo>
                    <a:pt x="250" y="60"/>
                  </a:lnTo>
                  <a:lnTo>
                    <a:pt x="250" y="60"/>
                  </a:lnTo>
                  <a:lnTo>
                    <a:pt x="248" y="60"/>
                  </a:lnTo>
                  <a:lnTo>
                    <a:pt x="250" y="60"/>
                  </a:lnTo>
                  <a:lnTo>
                    <a:pt x="250" y="59"/>
                  </a:lnTo>
                  <a:lnTo>
                    <a:pt x="250" y="59"/>
                  </a:lnTo>
                  <a:lnTo>
                    <a:pt x="250" y="57"/>
                  </a:lnTo>
                  <a:lnTo>
                    <a:pt x="248" y="59"/>
                  </a:lnTo>
                  <a:lnTo>
                    <a:pt x="246" y="59"/>
                  </a:lnTo>
                  <a:lnTo>
                    <a:pt x="242" y="62"/>
                  </a:lnTo>
                  <a:lnTo>
                    <a:pt x="237" y="62"/>
                  </a:lnTo>
                  <a:lnTo>
                    <a:pt x="233" y="57"/>
                  </a:lnTo>
                  <a:lnTo>
                    <a:pt x="231" y="55"/>
                  </a:lnTo>
                  <a:lnTo>
                    <a:pt x="231" y="55"/>
                  </a:lnTo>
                  <a:lnTo>
                    <a:pt x="221" y="55"/>
                  </a:lnTo>
                  <a:lnTo>
                    <a:pt x="221" y="55"/>
                  </a:lnTo>
                  <a:lnTo>
                    <a:pt x="220" y="57"/>
                  </a:lnTo>
                  <a:lnTo>
                    <a:pt x="220" y="59"/>
                  </a:lnTo>
                  <a:lnTo>
                    <a:pt x="218" y="60"/>
                  </a:lnTo>
                  <a:lnTo>
                    <a:pt x="218" y="60"/>
                  </a:lnTo>
                  <a:lnTo>
                    <a:pt x="218" y="64"/>
                  </a:lnTo>
                  <a:lnTo>
                    <a:pt x="218" y="66"/>
                  </a:lnTo>
                  <a:lnTo>
                    <a:pt x="216" y="66"/>
                  </a:lnTo>
                  <a:lnTo>
                    <a:pt x="214" y="66"/>
                  </a:lnTo>
                  <a:lnTo>
                    <a:pt x="214" y="68"/>
                  </a:lnTo>
                  <a:lnTo>
                    <a:pt x="214" y="68"/>
                  </a:lnTo>
                  <a:lnTo>
                    <a:pt x="214" y="68"/>
                  </a:lnTo>
                  <a:lnTo>
                    <a:pt x="214" y="70"/>
                  </a:lnTo>
                  <a:lnTo>
                    <a:pt x="214" y="70"/>
                  </a:lnTo>
                  <a:lnTo>
                    <a:pt x="214" y="72"/>
                  </a:lnTo>
                  <a:lnTo>
                    <a:pt x="214" y="76"/>
                  </a:lnTo>
                  <a:lnTo>
                    <a:pt x="214" y="76"/>
                  </a:lnTo>
                  <a:lnTo>
                    <a:pt x="214" y="78"/>
                  </a:lnTo>
                  <a:lnTo>
                    <a:pt x="210" y="78"/>
                  </a:lnTo>
                  <a:lnTo>
                    <a:pt x="210" y="78"/>
                  </a:lnTo>
                  <a:lnTo>
                    <a:pt x="208" y="76"/>
                  </a:lnTo>
                  <a:lnTo>
                    <a:pt x="206" y="76"/>
                  </a:lnTo>
                  <a:lnTo>
                    <a:pt x="206" y="78"/>
                  </a:lnTo>
                  <a:lnTo>
                    <a:pt x="206" y="78"/>
                  </a:lnTo>
                  <a:lnTo>
                    <a:pt x="204" y="79"/>
                  </a:lnTo>
                  <a:lnTo>
                    <a:pt x="204" y="79"/>
                  </a:lnTo>
                  <a:lnTo>
                    <a:pt x="202" y="81"/>
                  </a:lnTo>
                  <a:lnTo>
                    <a:pt x="200" y="83"/>
                  </a:lnTo>
                  <a:lnTo>
                    <a:pt x="200" y="81"/>
                  </a:lnTo>
                  <a:lnTo>
                    <a:pt x="199" y="81"/>
                  </a:lnTo>
                  <a:lnTo>
                    <a:pt x="199" y="81"/>
                  </a:lnTo>
                  <a:lnTo>
                    <a:pt x="197" y="81"/>
                  </a:lnTo>
                  <a:lnTo>
                    <a:pt x="195" y="81"/>
                  </a:lnTo>
                  <a:lnTo>
                    <a:pt x="189" y="81"/>
                  </a:lnTo>
                  <a:lnTo>
                    <a:pt x="187" y="83"/>
                  </a:lnTo>
                  <a:lnTo>
                    <a:pt x="181" y="83"/>
                  </a:lnTo>
                  <a:lnTo>
                    <a:pt x="180" y="83"/>
                  </a:lnTo>
                  <a:lnTo>
                    <a:pt x="180" y="85"/>
                  </a:lnTo>
                  <a:lnTo>
                    <a:pt x="180" y="85"/>
                  </a:lnTo>
                  <a:lnTo>
                    <a:pt x="178" y="85"/>
                  </a:lnTo>
                  <a:lnTo>
                    <a:pt x="178" y="87"/>
                  </a:lnTo>
                  <a:lnTo>
                    <a:pt x="170" y="89"/>
                  </a:lnTo>
                  <a:lnTo>
                    <a:pt x="168" y="91"/>
                  </a:lnTo>
                  <a:lnTo>
                    <a:pt x="168" y="91"/>
                  </a:lnTo>
                  <a:lnTo>
                    <a:pt x="168" y="93"/>
                  </a:lnTo>
                  <a:lnTo>
                    <a:pt x="168" y="93"/>
                  </a:lnTo>
                  <a:lnTo>
                    <a:pt x="168" y="93"/>
                  </a:lnTo>
                  <a:lnTo>
                    <a:pt x="166" y="95"/>
                  </a:lnTo>
                  <a:lnTo>
                    <a:pt x="162" y="98"/>
                  </a:lnTo>
                  <a:lnTo>
                    <a:pt x="162" y="98"/>
                  </a:lnTo>
                  <a:lnTo>
                    <a:pt x="160" y="98"/>
                  </a:lnTo>
                  <a:lnTo>
                    <a:pt x="160" y="97"/>
                  </a:lnTo>
                  <a:lnTo>
                    <a:pt x="162" y="95"/>
                  </a:lnTo>
                  <a:lnTo>
                    <a:pt x="162" y="93"/>
                  </a:lnTo>
                  <a:lnTo>
                    <a:pt x="160" y="93"/>
                  </a:lnTo>
                  <a:lnTo>
                    <a:pt x="155" y="95"/>
                  </a:lnTo>
                  <a:lnTo>
                    <a:pt x="153" y="97"/>
                  </a:lnTo>
                  <a:lnTo>
                    <a:pt x="151" y="97"/>
                  </a:lnTo>
                  <a:lnTo>
                    <a:pt x="149" y="98"/>
                  </a:lnTo>
                  <a:lnTo>
                    <a:pt x="145" y="97"/>
                  </a:lnTo>
                  <a:lnTo>
                    <a:pt x="143" y="97"/>
                  </a:lnTo>
                  <a:lnTo>
                    <a:pt x="143" y="95"/>
                  </a:lnTo>
                  <a:lnTo>
                    <a:pt x="141" y="89"/>
                  </a:lnTo>
                  <a:lnTo>
                    <a:pt x="141" y="89"/>
                  </a:lnTo>
                  <a:lnTo>
                    <a:pt x="141" y="89"/>
                  </a:lnTo>
                  <a:lnTo>
                    <a:pt x="141" y="89"/>
                  </a:lnTo>
                  <a:lnTo>
                    <a:pt x="140" y="89"/>
                  </a:lnTo>
                  <a:lnTo>
                    <a:pt x="138" y="89"/>
                  </a:lnTo>
                  <a:lnTo>
                    <a:pt x="138" y="83"/>
                  </a:lnTo>
                  <a:lnTo>
                    <a:pt x="136" y="83"/>
                  </a:lnTo>
                  <a:lnTo>
                    <a:pt x="136" y="83"/>
                  </a:lnTo>
                  <a:lnTo>
                    <a:pt x="134" y="83"/>
                  </a:lnTo>
                  <a:lnTo>
                    <a:pt x="134" y="83"/>
                  </a:lnTo>
                  <a:lnTo>
                    <a:pt x="132" y="85"/>
                  </a:lnTo>
                  <a:lnTo>
                    <a:pt x="130" y="85"/>
                  </a:lnTo>
                  <a:lnTo>
                    <a:pt x="126" y="89"/>
                  </a:lnTo>
                  <a:lnTo>
                    <a:pt x="124" y="89"/>
                  </a:lnTo>
                  <a:lnTo>
                    <a:pt x="124" y="91"/>
                  </a:lnTo>
                  <a:lnTo>
                    <a:pt x="122" y="95"/>
                  </a:lnTo>
                  <a:lnTo>
                    <a:pt x="122" y="95"/>
                  </a:lnTo>
                  <a:lnTo>
                    <a:pt x="120" y="95"/>
                  </a:lnTo>
                  <a:lnTo>
                    <a:pt x="119" y="95"/>
                  </a:lnTo>
                  <a:lnTo>
                    <a:pt x="119" y="95"/>
                  </a:lnTo>
                  <a:lnTo>
                    <a:pt x="117" y="95"/>
                  </a:lnTo>
                  <a:lnTo>
                    <a:pt x="117" y="93"/>
                  </a:lnTo>
                  <a:lnTo>
                    <a:pt x="115" y="93"/>
                  </a:lnTo>
                  <a:lnTo>
                    <a:pt x="115" y="93"/>
                  </a:lnTo>
                  <a:lnTo>
                    <a:pt x="115" y="95"/>
                  </a:lnTo>
                  <a:lnTo>
                    <a:pt x="115" y="95"/>
                  </a:lnTo>
                  <a:lnTo>
                    <a:pt x="111" y="97"/>
                  </a:lnTo>
                  <a:lnTo>
                    <a:pt x="111" y="98"/>
                  </a:lnTo>
                  <a:lnTo>
                    <a:pt x="111" y="98"/>
                  </a:lnTo>
                  <a:lnTo>
                    <a:pt x="111" y="100"/>
                  </a:lnTo>
                  <a:lnTo>
                    <a:pt x="109" y="102"/>
                  </a:lnTo>
                  <a:lnTo>
                    <a:pt x="107" y="102"/>
                  </a:lnTo>
                  <a:lnTo>
                    <a:pt x="107" y="102"/>
                  </a:lnTo>
                  <a:lnTo>
                    <a:pt x="105" y="102"/>
                  </a:lnTo>
                  <a:lnTo>
                    <a:pt x="105" y="102"/>
                  </a:lnTo>
                  <a:lnTo>
                    <a:pt x="103" y="100"/>
                  </a:lnTo>
                  <a:lnTo>
                    <a:pt x="103" y="100"/>
                  </a:lnTo>
                  <a:lnTo>
                    <a:pt x="101" y="98"/>
                  </a:lnTo>
                  <a:lnTo>
                    <a:pt x="101" y="98"/>
                  </a:lnTo>
                  <a:lnTo>
                    <a:pt x="99" y="97"/>
                  </a:lnTo>
                  <a:lnTo>
                    <a:pt x="96" y="95"/>
                  </a:lnTo>
                  <a:lnTo>
                    <a:pt x="96" y="93"/>
                  </a:lnTo>
                  <a:lnTo>
                    <a:pt x="94" y="93"/>
                  </a:lnTo>
                  <a:lnTo>
                    <a:pt x="92" y="91"/>
                  </a:lnTo>
                  <a:lnTo>
                    <a:pt x="90" y="89"/>
                  </a:lnTo>
                  <a:lnTo>
                    <a:pt x="90" y="87"/>
                  </a:lnTo>
                  <a:lnTo>
                    <a:pt x="90" y="85"/>
                  </a:lnTo>
                  <a:lnTo>
                    <a:pt x="92" y="85"/>
                  </a:lnTo>
                  <a:lnTo>
                    <a:pt x="92" y="81"/>
                  </a:lnTo>
                  <a:lnTo>
                    <a:pt x="90" y="79"/>
                  </a:lnTo>
                  <a:lnTo>
                    <a:pt x="90" y="79"/>
                  </a:lnTo>
                  <a:lnTo>
                    <a:pt x="88" y="79"/>
                  </a:lnTo>
                  <a:lnTo>
                    <a:pt x="88" y="79"/>
                  </a:lnTo>
                  <a:lnTo>
                    <a:pt x="86" y="79"/>
                  </a:lnTo>
                  <a:lnTo>
                    <a:pt x="86" y="81"/>
                  </a:lnTo>
                  <a:lnTo>
                    <a:pt x="86" y="81"/>
                  </a:lnTo>
                  <a:lnTo>
                    <a:pt x="84" y="79"/>
                  </a:lnTo>
                  <a:lnTo>
                    <a:pt x="84" y="79"/>
                  </a:lnTo>
                  <a:lnTo>
                    <a:pt x="84" y="79"/>
                  </a:lnTo>
                  <a:lnTo>
                    <a:pt x="82" y="79"/>
                  </a:lnTo>
                  <a:lnTo>
                    <a:pt x="82" y="79"/>
                  </a:lnTo>
                  <a:lnTo>
                    <a:pt x="80" y="79"/>
                  </a:lnTo>
                  <a:lnTo>
                    <a:pt x="80" y="79"/>
                  </a:lnTo>
                  <a:lnTo>
                    <a:pt x="79" y="81"/>
                  </a:lnTo>
                  <a:lnTo>
                    <a:pt x="79" y="81"/>
                  </a:lnTo>
                  <a:lnTo>
                    <a:pt x="79" y="83"/>
                  </a:lnTo>
                  <a:lnTo>
                    <a:pt x="79" y="83"/>
                  </a:lnTo>
                  <a:lnTo>
                    <a:pt x="79" y="85"/>
                  </a:lnTo>
                  <a:lnTo>
                    <a:pt x="79" y="85"/>
                  </a:lnTo>
                  <a:lnTo>
                    <a:pt x="77" y="85"/>
                  </a:lnTo>
                  <a:lnTo>
                    <a:pt x="77" y="83"/>
                  </a:lnTo>
                  <a:lnTo>
                    <a:pt x="77" y="83"/>
                  </a:lnTo>
                  <a:lnTo>
                    <a:pt x="77" y="81"/>
                  </a:lnTo>
                  <a:lnTo>
                    <a:pt x="77" y="81"/>
                  </a:lnTo>
                  <a:lnTo>
                    <a:pt x="75" y="81"/>
                  </a:lnTo>
                  <a:lnTo>
                    <a:pt x="75" y="81"/>
                  </a:lnTo>
                  <a:lnTo>
                    <a:pt x="75" y="81"/>
                  </a:lnTo>
                  <a:lnTo>
                    <a:pt x="75" y="83"/>
                  </a:lnTo>
                  <a:lnTo>
                    <a:pt x="75" y="83"/>
                  </a:lnTo>
                  <a:lnTo>
                    <a:pt x="75" y="85"/>
                  </a:lnTo>
                  <a:lnTo>
                    <a:pt x="75" y="85"/>
                  </a:lnTo>
                  <a:lnTo>
                    <a:pt x="73" y="85"/>
                  </a:lnTo>
                  <a:lnTo>
                    <a:pt x="73" y="85"/>
                  </a:lnTo>
                  <a:lnTo>
                    <a:pt x="71" y="83"/>
                  </a:lnTo>
                  <a:lnTo>
                    <a:pt x="71" y="81"/>
                  </a:lnTo>
                  <a:lnTo>
                    <a:pt x="69" y="76"/>
                  </a:lnTo>
                  <a:lnTo>
                    <a:pt x="65" y="70"/>
                  </a:lnTo>
                  <a:lnTo>
                    <a:pt x="63" y="68"/>
                  </a:lnTo>
                  <a:lnTo>
                    <a:pt x="63" y="68"/>
                  </a:lnTo>
                  <a:lnTo>
                    <a:pt x="63" y="68"/>
                  </a:lnTo>
                  <a:lnTo>
                    <a:pt x="61" y="68"/>
                  </a:lnTo>
                  <a:lnTo>
                    <a:pt x="61" y="72"/>
                  </a:lnTo>
                  <a:lnTo>
                    <a:pt x="61" y="72"/>
                  </a:lnTo>
                  <a:lnTo>
                    <a:pt x="61" y="74"/>
                  </a:lnTo>
                  <a:lnTo>
                    <a:pt x="59" y="74"/>
                  </a:lnTo>
                  <a:lnTo>
                    <a:pt x="59" y="74"/>
                  </a:lnTo>
                  <a:lnTo>
                    <a:pt x="58" y="74"/>
                  </a:lnTo>
                  <a:lnTo>
                    <a:pt x="58" y="76"/>
                  </a:lnTo>
                  <a:lnTo>
                    <a:pt x="56" y="78"/>
                  </a:lnTo>
                  <a:lnTo>
                    <a:pt x="54" y="78"/>
                  </a:lnTo>
                  <a:lnTo>
                    <a:pt x="50" y="78"/>
                  </a:lnTo>
                  <a:lnTo>
                    <a:pt x="48" y="79"/>
                  </a:lnTo>
                  <a:lnTo>
                    <a:pt x="48" y="79"/>
                  </a:lnTo>
                  <a:lnTo>
                    <a:pt x="46" y="79"/>
                  </a:lnTo>
                  <a:lnTo>
                    <a:pt x="44" y="78"/>
                  </a:lnTo>
                  <a:lnTo>
                    <a:pt x="44" y="78"/>
                  </a:lnTo>
                  <a:lnTo>
                    <a:pt x="42" y="79"/>
                  </a:lnTo>
                  <a:lnTo>
                    <a:pt x="40" y="81"/>
                  </a:lnTo>
                  <a:lnTo>
                    <a:pt x="39" y="81"/>
                  </a:lnTo>
                  <a:lnTo>
                    <a:pt x="33" y="81"/>
                  </a:lnTo>
                  <a:lnTo>
                    <a:pt x="27" y="81"/>
                  </a:lnTo>
                  <a:lnTo>
                    <a:pt x="19" y="79"/>
                  </a:lnTo>
                  <a:lnTo>
                    <a:pt x="18" y="79"/>
                  </a:lnTo>
                  <a:lnTo>
                    <a:pt x="10" y="79"/>
                  </a:lnTo>
                  <a:lnTo>
                    <a:pt x="8" y="81"/>
                  </a:lnTo>
                  <a:lnTo>
                    <a:pt x="6" y="81"/>
                  </a:lnTo>
                  <a:lnTo>
                    <a:pt x="6" y="83"/>
                  </a:lnTo>
                  <a:lnTo>
                    <a:pt x="6" y="83"/>
                  </a:lnTo>
                  <a:lnTo>
                    <a:pt x="6" y="83"/>
                  </a:lnTo>
                  <a:lnTo>
                    <a:pt x="6" y="85"/>
                  </a:lnTo>
                  <a:lnTo>
                    <a:pt x="6" y="85"/>
                  </a:lnTo>
                  <a:lnTo>
                    <a:pt x="6" y="85"/>
                  </a:lnTo>
                  <a:lnTo>
                    <a:pt x="6" y="87"/>
                  </a:lnTo>
                  <a:lnTo>
                    <a:pt x="6" y="89"/>
                  </a:lnTo>
                  <a:lnTo>
                    <a:pt x="8" y="91"/>
                  </a:lnTo>
                  <a:lnTo>
                    <a:pt x="8" y="91"/>
                  </a:lnTo>
                  <a:lnTo>
                    <a:pt x="10" y="93"/>
                  </a:lnTo>
                  <a:lnTo>
                    <a:pt x="10" y="95"/>
                  </a:lnTo>
                  <a:lnTo>
                    <a:pt x="10" y="95"/>
                  </a:lnTo>
                  <a:lnTo>
                    <a:pt x="10" y="97"/>
                  </a:lnTo>
                  <a:lnTo>
                    <a:pt x="10" y="97"/>
                  </a:lnTo>
                  <a:lnTo>
                    <a:pt x="10" y="98"/>
                  </a:lnTo>
                  <a:lnTo>
                    <a:pt x="8" y="100"/>
                  </a:lnTo>
                  <a:lnTo>
                    <a:pt x="8" y="102"/>
                  </a:lnTo>
                  <a:lnTo>
                    <a:pt x="8" y="102"/>
                  </a:lnTo>
                  <a:lnTo>
                    <a:pt x="8" y="104"/>
                  </a:lnTo>
                  <a:lnTo>
                    <a:pt x="8" y="104"/>
                  </a:lnTo>
                  <a:lnTo>
                    <a:pt x="6" y="106"/>
                  </a:lnTo>
                  <a:lnTo>
                    <a:pt x="6" y="106"/>
                  </a:lnTo>
                  <a:lnTo>
                    <a:pt x="4" y="110"/>
                  </a:lnTo>
                  <a:lnTo>
                    <a:pt x="2" y="112"/>
                  </a:lnTo>
                  <a:lnTo>
                    <a:pt x="2" y="114"/>
                  </a:lnTo>
                  <a:lnTo>
                    <a:pt x="0" y="119"/>
                  </a:lnTo>
                  <a:lnTo>
                    <a:pt x="4" y="119"/>
                  </a:lnTo>
                  <a:lnTo>
                    <a:pt x="10" y="121"/>
                  </a:lnTo>
                  <a:lnTo>
                    <a:pt x="10" y="121"/>
                  </a:lnTo>
                  <a:lnTo>
                    <a:pt x="12" y="121"/>
                  </a:lnTo>
                  <a:lnTo>
                    <a:pt x="12" y="123"/>
                  </a:lnTo>
                  <a:lnTo>
                    <a:pt x="16" y="125"/>
                  </a:lnTo>
                  <a:lnTo>
                    <a:pt x="16" y="125"/>
                  </a:lnTo>
                  <a:lnTo>
                    <a:pt x="18" y="127"/>
                  </a:lnTo>
                  <a:lnTo>
                    <a:pt x="18" y="127"/>
                  </a:lnTo>
                  <a:lnTo>
                    <a:pt x="18" y="131"/>
                  </a:lnTo>
                  <a:lnTo>
                    <a:pt x="18" y="133"/>
                  </a:lnTo>
                  <a:lnTo>
                    <a:pt x="18" y="135"/>
                  </a:lnTo>
                  <a:lnTo>
                    <a:pt x="18" y="137"/>
                  </a:lnTo>
                  <a:lnTo>
                    <a:pt x="19" y="137"/>
                  </a:lnTo>
                  <a:lnTo>
                    <a:pt x="19" y="140"/>
                  </a:lnTo>
                  <a:lnTo>
                    <a:pt x="33" y="152"/>
                  </a:lnTo>
                  <a:lnTo>
                    <a:pt x="35" y="154"/>
                  </a:lnTo>
                  <a:lnTo>
                    <a:pt x="37" y="157"/>
                  </a:lnTo>
                  <a:lnTo>
                    <a:pt x="37" y="157"/>
                  </a:lnTo>
                  <a:lnTo>
                    <a:pt x="37" y="159"/>
                  </a:lnTo>
                  <a:lnTo>
                    <a:pt x="37" y="159"/>
                  </a:lnTo>
                  <a:lnTo>
                    <a:pt x="35" y="163"/>
                  </a:lnTo>
                  <a:lnTo>
                    <a:pt x="35" y="163"/>
                  </a:lnTo>
                  <a:lnTo>
                    <a:pt x="35" y="165"/>
                  </a:lnTo>
                  <a:lnTo>
                    <a:pt x="35" y="165"/>
                  </a:lnTo>
                  <a:lnTo>
                    <a:pt x="37" y="167"/>
                  </a:lnTo>
                  <a:lnTo>
                    <a:pt x="37" y="171"/>
                  </a:lnTo>
                  <a:lnTo>
                    <a:pt x="39" y="173"/>
                  </a:lnTo>
                  <a:lnTo>
                    <a:pt x="39" y="173"/>
                  </a:lnTo>
                  <a:lnTo>
                    <a:pt x="40" y="175"/>
                  </a:lnTo>
                  <a:lnTo>
                    <a:pt x="40" y="175"/>
                  </a:lnTo>
                  <a:lnTo>
                    <a:pt x="42" y="175"/>
                  </a:lnTo>
                  <a:lnTo>
                    <a:pt x="42" y="175"/>
                  </a:lnTo>
                  <a:lnTo>
                    <a:pt x="44" y="175"/>
                  </a:lnTo>
                  <a:lnTo>
                    <a:pt x="44" y="175"/>
                  </a:lnTo>
                  <a:lnTo>
                    <a:pt x="46" y="175"/>
                  </a:lnTo>
                  <a:lnTo>
                    <a:pt x="46" y="175"/>
                  </a:lnTo>
                  <a:lnTo>
                    <a:pt x="52" y="176"/>
                  </a:lnTo>
                  <a:lnTo>
                    <a:pt x="54" y="176"/>
                  </a:lnTo>
                  <a:lnTo>
                    <a:pt x="54" y="176"/>
                  </a:lnTo>
                  <a:lnTo>
                    <a:pt x="54" y="176"/>
                  </a:lnTo>
                  <a:lnTo>
                    <a:pt x="54" y="176"/>
                  </a:lnTo>
                  <a:lnTo>
                    <a:pt x="54" y="176"/>
                  </a:lnTo>
                  <a:lnTo>
                    <a:pt x="54" y="173"/>
                  </a:lnTo>
                  <a:lnTo>
                    <a:pt x="54" y="173"/>
                  </a:lnTo>
                  <a:lnTo>
                    <a:pt x="54" y="171"/>
                  </a:lnTo>
                  <a:lnTo>
                    <a:pt x="54" y="171"/>
                  </a:lnTo>
                  <a:lnTo>
                    <a:pt x="54" y="171"/>
                  </a:lnTo>
                  <a:lnTo>
                    <a:pt x="54" y="171"/>
                  </a:lnTo>
                  <a:lnTo>
                    <a:pt x="56" y="171"/>
                  </a:lnTo>
                  <a:lnTo>
                    <a:pt x="56" y="171"/>
                  </a:lnTo>
                  <a:lnTo>
                    <a:pt x="56" y="169"/>
                  </a:lnTo>
                  <a:lnTo>
                    <a:pt x="58" y="169"/>
                  </a:lnTo>
                  <a:lnTo>
                    <a:pt x="58" y="169"/>
                  </a:lnTo>
                  <a:lnTo>
                    <a:pt x="59" y="169"/>
                  </a:lnTo>
                  <a:lnTo>
                    <a:pt x="59" y="169"/>
                  </a:lnTo>
                  <a:lnTo>
                    <a:pt x="59" y="171"/>
                  </a:lnTo>
                  <a:lnTo>
                    <a:pt x="61" y="171"/>
                  </a:lnTo>
                  <a:lnTo>
                    <a:pt x="61" y="173"/>
                  </a:lnTo>
                  <a:lnTo>
                    <a:pt x="61" y="173"/>
                  </a:lnTo>
                  <a:lnTo>
                    <a:pt x="63" y="176"/>
                  </a:lnTo>
                  <a:lnTo>
                    <a:pt x="63" y="176"/>
                  </a:lnTo>
                  <a:lnTo>
                    <a:pt x="63" y="178"/>
                  </a:lnTo>
                  <a:lnTo>
                    <a:pt x="61" y="178"/>
                  </a:lnTo>
                  <a:lnTo>
                    <a:pt x="61" y="180"/>
                  </a:lnTo>
                  <a:lnTo>
                    <a:pt x="61" y="180"/>
                  </a:lnTo>
                  <a:lnTo>
                    <a:pt x="58" y="184"/>
                  </a:lnTo>
                  <a:lnTo>
                    <a:pt x="58" y="184"/>
                  </a:lnTo>
                  <a:lnTo>
                    <a:pt x="58" y="186"/>
                  </a:lnTo>
                  <a:lnTo>
                    <a:pt x="56" y="186"/>
                  </a:lnTo>
                  <a:lnTo>
                    <a:pt x="58" y="188"/>
                  </a:lnTo>
                  <a:lnTo>
                    <a:pt x="58" y="188"/>
                  </a:lnTo>
                  <a:lnTo>
                    <a:pt x="58" y="190"/>
                  </a:lnTo>
                  <a:lnTo>
                    <a:pt x="58" y="190"/>
                  </a:lnTo>
                  <a:lnTo>
                    <a:pt x="56" y="194"/>
                  </a:lnTo>
                  <a:lnTo>
                    <a:pt x="56" y="194"/>
                  </a:lnTo>
                  <a:lnTo>
                    <a:pt x="56" y="195"/>
                  </a:lnTo>
                  <a:lnTo>
                    <a:pt x="56" y="195"/>
                  </a:lnTo>
                  <a:lnTo>
                    <a:pt x="56" y="197"/>
                  </a:lnTo>
                  <a:lnTo>
                    <a:pt x="58" y="197"/>
                  </a:lnTo>
                  <a:lnTo>
                    <a:pt x="58" y="197"/>
                  </a:lnTo>
                  <a:lnTo>
                    <a:pt x="58" y="197"/>
                  </a:lnTo>
                  <a:lnTo>
                    <a:pt x="59" y="195"/>
                  </a:lnTo>
                  <a:lnTo>
                    <a:pt x="61" y="194"/>
                  </a:lnTo>
                  <a:lnTo>
                    <a:pt x="61" y="194"/>
                  </a:lnTo>
                  <a:lnTo>
                    <a:pt x="63" y="195"/>
                  </a:lnTo>
                  <a:lnTo>
                    <a:pt x="63" y="195"/>
                  </a:lnTo>
                  <a:lnTo>
                    <a:pt x="63" y="197"/>
                  </a:lnTo>
                  <a:lnTo>
                    <a:pt x="65" y="203"/>
                  </a:lnTo>
                  <a:lnTo>
                    <a:pt x="63" y="211"/>
                  </a:lnTo>
                  <a:lnTo>
                    <a:pt x="63" y="214"/>
                  </a:lnTo>
                  <a:lnTo>
                    <a:pt x="63" y="218"/>
                  </a:lnTo>
                  <a:lnTo>
                    <a:pt x="65" y="220"/>
                  </a:lnTo>
                  <a:lnTo>
                    <a:pt x="69" y="224"/>
                  </a:lnTo>
                  <a:lnTo>
                    <a:pt x="69" y="224"/>
                  </a:lnTo>
                  <a:lnTo>
                    <a:pt x="69" y="226"/>
                  </a:lnTo>
                  <a:lnTo>
                    <a:pt x="71" y="228"/>
                  </a:lnTo>
                  <a:lnTo>
                    <a:pt x="71" y="230"/>
                  </a:lnTo>
                  <a:lnTo>
                    <a:pt x="71" y="232"/>
                  </a:lnTo>
                  <a:lnTo>
                    <a:pt x="71" y="233"/>
                  </a:lnTo>
                  <a:lnTo>
                    <a:pt x="71" y="233"/>
                  </a:lnTo>
                  <a:lnTo>
                    <a:pt x="73" y="233"/>
                  </a:lnTo>
                  <a:lnTo>
                    <a:pt x="73" y="233"/>
                  </a:lnTo>
                  <a:lnTo>
                    <a:pt x="73" y="233"/>
                  </a:lnTo>
                  <a:lnTo>
                    <a:pt x="75" y="233"/>
                  </a:lnTo>
                  <a:lnTo>
                    <a:pt x="75" y="233"/>
                  </a:lnTo>
                  <a:lnTo>
                    <a:pt x="75" y="233"/>
                  </a:lnTo>
                  <a:lnTo>
                    <a:pt x="75" y="233"/>
                  </a:lnTo>
                  <a:lnTo>
                    <a:pt x="75" y="233"/>
                  </a:lnTo>
                  <a:lnTo>
                    <a:pt x="75" y="232"/>
                  </a:lnTo>
                  <a:lnTo>
                    <a:pt x="75" y="232"/>
                  </a:lnTo>
                  <a:lnTo>
                    <a:pt x="75" y="232"/>
                  </a:lnTo>
                  <a:lnTo>
                    <a:pt x="77" y="232"/>
                  </a:lnTo>
                  <a:lnTo>
                    <a:pt x="79" y="233"/>
                  </a:lnTo>
                  <a:lnTo>
                    <a:pt x="80" y="233"/>
                  </a:lnTo>
                  <a:lnTo>
                    <a:pt x="80" y="233"/>
                  </a:lnTo>
                  <a:lnTo>
                    <a:pt x="82" y="233"/>
                  </a:lnTo>
                  <a:lnTo>
                    <a:pt x="82" y="233"/>
                  </a:lnTo>
                  <a:lnTo>
                    <a:pt x="84" y="233"/>
                  </a:lnTo>
                  <a:lnTo>
                    <a:pt x="84" y="233"/>
                  </a:lnTo>
                  <a:lnTo>
                    <a:pt x="84" y="233"/>
                  </a:lnTo>
                  <a:lnTo>
                    <a:pt x="86" y="233"/>
                  </a:lnTo>
                  <a:lnTo>
                    <a:pt x="86" y="233"/>
                  </a:lnTo>
                  <a:lnTo>
                    <a:pt x="88" y="233"/>
                  </a:lnTo>
                  <a:lnTo>
                    <a:pt x="88" y="233"/>
                  </a:lnTo>
                  <a:lnTo>
                    <a:pt x="90" y="235"/>
                  </a:lnTo>
                  <a:lnTo>
                    <a:pt x="92" y="235"/>
                  </a:lnTo>
                  <a:lnTo>
                    <a:pt x="92" y="235"/>
                  </a:lnTo>
                  <a:lnTo>
                    <a:pt x="92" y="239"/>
                  </a:lnTo>
                  <a:lnTo>
                    <a:pt x="92" y="239"/>
                  </a:lnTo>
                  <a:lnTo>
                    <a:pt x="94" y="241"/>
                  </a:lnTo>
                  <a:lnTo>
                    <a:pt x="94" y="243"/>
                  </a:lnTo>
                  <a:lnTo>
                    <a:pt x="94" y="243"/>
                  </a:lnTo>
                  <a:lnTo>
                    <a:pt x="94" y="245"/>
                  </a:lnTo>
                  <a:lnTo>
                    <a:pt x="94" y="247"/>
                  </a:lnTo>
                  <a:lnTo>
                    <a:pt x="92" y="247"/>
                  </a:lnTo>
                  <a:lnTo>
                    <a:pt x="92" y="249"/>
                  </a:lnTo>
                  <a:lnTo>
                    <a:pt x="88" y="251"/>
                  </a:lnTo>
                  <a:lnTo>
                    <a:pt x="86" y="253"/>
                  </a:lnTo>
                  <a:lnTo>
                    <a:pt x="86" y="253"/>
                  </a:lnTo>
                  <a:lnTo>
                    <a:pt x="84" y="253"/>
                  </a:lnTo>
                  <a:lnTo>
                    <a:pt x="84" y="254"/>
                  </a:lnTo>
                  <a:lnTo>
                    <a:pt x="82" y="254"/>
                  </a:lnTo>
                  <a:lnTo>
                    <a:pt x="82" y="254"/>
                  </a:lnTo>
                  <a:lnTo>
                    <a:pt x="82" y="256"/>
                  </a:lnTo>
                  <a:lnTo>
                    <a:pt x="80" y="256"/>
                  </a:lnTo>
                  <a:lnTo>
                    <a:pt x="80" y="262"/>
                  </a:lnTo>
                  <a:lnTo>
                    <a:pt x="79" y="262"/>
                  </a:lnTo>
                  <a:lnTo>
                    <a:pt x="79" y="264"/>
                  </a:lnTo>
                  <a:lnTo>
                    <a:pt x="75" y="266"/>
                  </a:lnTo>
                  <a:lnTo>
                    <a:pt x="73" y="268"/>
                  </a:lnTo>
                  <a:lnTo>
                    <a:pt x="71" y="270"/>
                  </a:lnTo>
                  <a:lnTo>
                    <a:pt x="71" y="270"/>
                  </a:lnTo>
                  <a:lnTo>
                    <a:pt x="69" y="270"/>
                  </a:lnTo>
                  <a:lnTo>
                    <a:pt x="67" y="270"/>
                  </a:lnTo>
                  <a:lnTo>
                    <a:pt x="67" y="270"/>
                  </a:lnTo>
                  <a:lnTo>
                    <a:pt x="65" y="270"/>
                  </a:lnTo>
                  <a:lnTo>
                    <a:pt x="63" y="272"/>
                  </a:lnTo>
                  <a:lnTo>
                    <a:pt x="63" y="273"/>
                  </a:lnTo>
                  <a:lnTo>
                    <a:pt x="63" y="273"/>
                  </a:lnTo>
                  <a:lnTo>
                    <a:pt x="61" y="273"/>
                  </a:lnTo>
                  <a:lnTo>
                    <a:pt x="59" y="273"/>
                  </a:lnTo>
                  <a:lnTo>
                    <a:pt x="59" y="275"/>
                  </a:lnTo>
                  <a:lnTo>
                    <a:pt x="59" y="275"/>
                  </a:lnTo>
                  <a:lnTo>
                    <a:pt x="59" y="275"/>
                  </a:lnTo>
                  <a:lnTo>
                    <a:pt x="59" y="277"/>
                  </a:lnTo>
                  <a:lnTo>
                    <a:pt x="58" y="279"/>
                  </a:lnTo>
                  <a:lnTo>
                    <a:pt x="61" y="281"/>
                  </a:lnTo>
                  <a:lnTo>
                    <a:pt x="65" y="281"/>
                  </a:lnTo>
                  <a:lnTo>
                    <a:pt x="67" y="283"/>
                  </a:lnTo>
                  <a:lnTo>
                    <a:pt x="73" y="291"/>
                  </a:lnTo>
                  <a:lnTo>
                    <a:pt x="73" y="292"/>
                  </a:lnTo>
                  <a:lnTo>
                    <a:pt x="75" y="292"/>
                  </a:lnTo>
                  <a:lnTo>
                    <a:pt x="75" y="294"/>
                  </a:lnTo>
                  <a:lnTo>
                    <a:pt x="79" y="296"/>
                  </a:lnTo>
                  <a:lnTo>
                    <a:pt x="79" y="298"/>
                  </a:lnTo>
                  <a:lnTo>
                    <a:pt x="79" y="298"/>
                  </a:lnTo>
                  <a:lnTo>
                    <a:pt x="80" y="298"/>
                  </a:lnTo>
                  <a:lnTo>
                    <a:pt x="82" y="298"/>
                  </a:lnTo>
                  <a:lnTo>
                    <a:pt x="88" y="300"/>
                  </a:lnTo>
                  <a:lnTo>
                    <a:pt x="90" y="300"/>
                  </a:lnTo>
                  <a:lnTo>
                    <a:pt x="99" y="300"/>
                  </a:lnTo>
                  <a:lnTo>
                    <a:pt x="99" y="300"/>
                  </a:lnTo>
                  <a:lnTo>
                    <a:pt x="105" y="296"/>
                  </a:lnTo>
                  <a:lnTo>
                    <a:pt x="107" y="296"/>
                  </a:lnTo>
                  <a:lnTo>
                    <a:pt x="107" y="296"/>
                  </a:lnTo>
                  <a:lnTo>
                    <a:pt x="107" y="296"/>
                  </a:lnTo>
                  <a:lnTo>
                    <a:pt x="107" y="294"/>
                  </a:lnTo>
                  <a:lnTo>
                    <a:pt x="107" y="294"/>
                  </a:lnTo>
                  <a:lnTo>
                    <a:pt x="107" y="292"/>
                  </a:lnTo>
                  <a:lnTo>
                    <a:pt x="107" y="292"/>
                  </a:lnTo>
                  <a:lnTo>
                    <a:pt x="107" y="292"/>
                  </a:lnTo>
                  <a:lnTo>
                    <a:pt x="109" y="291"/>
                  </a:lnTo>
                  <a:lnTo>
                    <a:pt x="111" y="291"/>
                  </a:lnTo>
                  <a:lnTo>
                    <a:pt x="128" y="291"/>
                  </a:lnTo>
                  <a:lnTo>
                    <a:pt x="130" y="291"/>
                  </a:lnTo>
                  <a:lnTo>
                    <a:pt x="132" y="291"/>
                  </a:lnTo>
                  <a:lnTo>
                    <a:pt x="132" y="289"/>
                  </a:lnTo>
                  <a:lnTo>
                    <a:pt x="132" y="289"/>
                  </a:lnTo>
                  <a:lnTo>
                    <a:pt x="134" y="289"/>
                  </a:lnTo>
                  <a:lnTo>
                    <a:pt x="136" y="289"/>
                  </a:lnTo>
                  <a:lnTo>
                    <a:pt x="136" y="289"/>
                  </a:lnTo>
                  <a:lnTo>
                    <a:pt x="141" y="291"/>
                  </a:lnTo>
                  <a:lnTo>
                    <a:pt x="145" y="291"/>
                  </a:lnTo>
                  <a:lnTo>
                    <a:pt x="145" y="291"/>
                  </a:lnTo>
                  <a:lnTo>
                    <a:pt x="147" y="291"/>
                  </a:lnTo>
                  <a:lnTo>
                    <a:pt x="147" y="289"/>
                  </a:lnTo>
                  <a:lnTo>
                    <a:pt x="149" y="289"/>
                  </a:lnTo>
                  <a:lnTo>
                    <a:pt x="149" y="289"/>
                  </a:lnTo>
                  <a:lnTo>
                    <a:pt x="153" y="289"/>
                  </a:lnTo>
                  <a:lnTo>
                    <a:pt x="153" y="289"/>
                  </a:lnTo>
                  <a:lnTo>
                    <a:pt x="157" y="285"/>
                  </a:lnTo>
                  <a:lnTo>
                    <a:pt x="159" y="283"/>
                  </a:lnTo>
                  <a:lnTo>
                    <a:pt x="162" y="289"/>
                  </a:lnTo>
                  <a:lnTo>
                    <a:pt x="162" y="294"/>
                  </a:lnTo>
                  <a:lnTo>
                    <a:pt x="162" y="298"/>
                  </a:lnTo>
                  <a:lnTo>
                    <a:pt x="162" y="300"/>
                  </a:lnTo>
                  <a:lnTo>
                    <a:pt x="162" y="302"/>
                  </a:lnTo>
                  <a:lnTo>
                    <a:pt x="162" y="304"/>
                  </a:lnTo>
                  <a:lnTo>
                    <a:pt x="162" y="306"/>
                  </a:lnTo>
                  <a:lnTo>
                    <a:pt x="157" y="311"/>
                  </a:lnTo>
                  <a:lnTo>
                    <a:pt x="155" y="317"/>
                  </a:lnTo>
                  <a:lnTo>
                    <a:pt x="153" y="319"/>
                  </a:lnTo>
                  <a:lnTo>
                    <a:pt x="153" y="321"/>
                  </a:lnTo>
                  <a:lnTo>
                    <a:pt x="153" y="321"/>
                  </a:lnTo>
                  <a:lnTo>
                    <a:pt x="153" y="323"/>
                  </a:lnTo>
                  <a:lnTo>
                    <a:pt x="153" y="323"/>
                  </a:lnTo>
                  <a:lnTo>
                    <a:pt x="153" y="323"/>
                  </a:lnTo>
                  <a:lnTo>
                    <a:pt x="157" y="321"/>
                  </a:lnTo>
                  <a:lnTo>
                    <a:pt x="159" y="321"/>
                  </a:lnTo>
                  <a:lnTo>
                    <a:pt x="159" y="321"/>
                  </a:lnTo>
                  <a:lnTo>
                    <a:pt x="160" y="321"/>
                  </a:lnTo>
                  <a:lnTo>
                    <a:pt x="162" y="321"/>
                  </a:lnTo>
                  <a:lnTo>
                    <a:pt x="164" y="323"/>
                  </a:lnTo>
                  <a:lnTo>
                    <a:pt x="170" y="327"/>
                  </a:lnTo>
                  <a:lnTo>
                    <a:pt x="172" y="329"/>
                  </a:lnTo>
                  <a:lnTo>
                    <a:pt x="174" y="330"/>
                  </a:lnTo>
                  <a:lnTo>
                    <a:pt x="174" y="330"/>
                  </a:lnTo>
                  <a:lnTo>
                    <a:pt x="174" y="330"/>
                  </a:lnTo>
                  <a:lnTo>
                    <a:pt x="176" y="330"/>
                  </a:lnTo>
                  <a:lnTo>
                    <a:pt x="180" y="325"/>
                  </a:lnTo>
                  <a:lnTo>
                    <a:pt x="183" y="321"/>
                  </a:lnTo>
                  <a:lnTo>
                    <a:pt x="185" y="319"/>
                  </a:lnTo>
                  <a:lnTo>
                    <a:pt x="189" y="319"/>
                  </a:lnTo>
                  <a:lnTo>
                    <a:pt x="191" y="317"/>
                  </a:lnTo>
                  <a:lnTo>
                    <a:pt x="191" y="317"/>
                  </a:lnTo>
                  <a:lnTo>
                    <a:pt x="193" y="317"/>
                  </a:lnTo>
                  <a:lnTo>
                    <a:pt x="193" y="317"/>
                  </a:lnTo>
                  <a:lnTo>
                    <a:pt x="195" y="317"/>
                  </a:lnTo>
                  <a:lnTo>
                    <a:pt x="197" y="317"/>
                  </a:lnTo>
                  <a:lnTo>
                    <a:pt x="204" y="323"/>
                  </a:lnTo>
                  <a:lnTo>
                    <a:pt x="210" y="325"/>
                  </a:lnTo>
                  <a:lnTo>
                    <a:pt x="214" y="325"/>
                  </a:lnTo>
                  <a:lnTo>
                    <a:pt x="216" y="325"/>
                  </a:lnTo>
                  <a:lnTo>
                    <a:pt x="218" y="325"/>
                  </a:lnTo>
                  <a:lnTo>
                    <a:pt x="220" y="325"/>
                  </a:lnTo>
                  <a:lnTo>
                    <a:pt x="220" y="325"/>
                  </a:lnTo>
                  <a:lnTo>
                    <a:pt x="221" y="323"/>
                  </a:lnTo>
                  <a:lnTo>
                    <a:pt x="221" y="323"/>
                  </a:lnTo>
                  <a:lnTo>
                    <a:pt x="223" y="323"/>
                  </a:lnTo>
                  <a:lnTo>
                    <a:pt x="223" y="321"/>
                  </a:lnTo>
                  <a:lnTo>
                    <a:pt x="225" y="321"/>
                  </a:lnTo>
                  <a:lnTo>
                    <a:pt x="227" y="321"/>
                  </a:lnTo>
                  <a:lnTo>
                    <a:pt x="227" y="321"/>
                  </a:lnTo>
                  <a:lnTo>
                    <a:pt x="227" y="321"/>
                  </a:lnTo>
                  <a:lnTo>
                    <a:pt x="227" y="323"/>
                  </a:lnTo>
                  <a:lnTo>
                    <a:pt x="227" y="323"/>
                  </a:lnTo>
                  <a:lnTo>
                    <a:pt x="225" y="325"/>
                  </a:lnTo>
                  <a:lnTo>
                    <a:pt x="225" y="327"/>
                  </a:lnTo>
                  <a:lnTo>
                    <a:pt x="225" y="327"/>
                  </a:lnTo>
                  <a:lnTo>
                    <a:pt x="225" y="329"/>
                  </a:lnTo>
                  <a:lnTo>
                    <a:pt x="225" y="329"/>
                  </a:lnTo>
                  <a:lnTo>
                    <a:pt x="225" y="330"/>
                  </a:lnTo>
                  <a:lnTo>
                    <a:pt x="225" y="332"/>
                  </a:lnTo>
                  <a:lnTo>
                    <a:pt x="231" y="334"/>
                  </a:lnTo>
                  <a:lnTo>
                    <a:pt x="235" y="334"/>
                  </a:lnTo>
                  <a:lnTo>
                    <a:pt x="237" y="332"/>
                  </a:lnTo>
                  <a:lnTo>
                    <a:pt x="239" y="330"/>
                  </a:lnTo>
                  <a:lnTo>
                    <a:pt x="242" y="325"/>
                  </a:lnTo>
                  <a:lnTo>
                    <a:pt x="242" y="323"/>
                  </a:lnTo>
                  <a:lnTo>
                    <a:pt x="244" y="323"/>
                  </a:lnTo>
                  <a:lnTo>
                    <a:pt x="244" y="323"/>
                  </a:lnTo>
                  <a:lnTo>
                    <a:pt x="242" y="321"/>
                  </a:lnTo>
                  <a:lnTo>
                    <a:pt x="242" y="319"/>
                  </a:lnTo>
                  <a:lnTo>
                    <a:pt x="244" y="319"/>
                  </a:lnTo>
                  <a:lnTo>
                    <a:pt x="244" y="315"/>
                  </a:lnTo>
                  <a:lnTo>
                    <a:pt x="244" y="315"/>
                  </a:lnTo>
                  <a:lnTo>
                    <a:pt x="244" y="313"/>
                  </a:lnTo>
                  <a:lnTo>
                    <a:pt x="242" y="310"/>
                  </a:lnTo>
                  <a:lnTo>
                    <a:pt x="242" y="310"/>
                  </a:lnTo>
                  <a:lnTo>
                    <a:pt x="242" y="308"/>
                  </a:lnTo>
                  <a:lnTo>
                    <a:pt x="242" y="306"/>
                  </a:lnTo>
                  <a:lnTo>
                    <a:pt x="244" y="304"/>
                  </a:lnTo>
                  <a:lnTo>
                    <a:pt x="244" y="302"/>
                  </a:lnTo>
                  <a:lnTo>
                    <a:pt x="244" y="300"/>
                  </a:lnTo>
                  <a:lnTo>
                    <a:pt x="244" y="294"/>
                  </a:lnTo>
                  <a:lnTo>
                    <a:pt x="244" y="292"/>
                  </a:lnTo>
                  <a:lnTo>
                    <a:pt x="244" y="291"/>
                  </a:lnTo>
                  <a:lnTo>
                    <a:pt x="240" y="289"/>
                  </a:lnTo>
                  <a:lnTo>
                    <a:pt x="240" y="287"/>
                  </a:lnTo>
                  <a:lnTo>
                    <a:pt x="240" y="285"/>
                  </a:lnTo>
                  <a:lnTo>
                    <a:pt x="240" y="283"/>
                  </a:lnTo>
                  <a:lnTo>
                    <a:pt x="240" y="283"/>
                  </a:lnTo>
                  <a:lnTo>
                    <a:pt x="240" y="283"/>
                  </a:lnTo>
                  <a:lnTo>
                    <a:pt x="240" y="283"/>
                  </a:lnTo>
                  <a:lnTo>
                    <a:pt x="240" y="283"/>
                  </a:lnTo>
                  <a:lnTo>
                    <a:pt x="242" y="283"/>
                  </a:lnTo>
                  <a:lnTo>
                    <a:pt x="242" y="281"/>
                  </a:lnTo>
                  <a:lnTo>
                    <a:pt x="244" y="281"/>
                  </a:lnTo>
                  <a:lnTo>
                    <a:pt x="244" y="281"/>
                  </a:lnTo>
                  <a:lnTo>
                    <a:pt x="246" y="281"/>
                  </a:lnTo>
                  <a:lnTo>
                    <a:pt x="246" y="281"/>
                  </a:lnTo>
                  <a:lnTo>
                    <a:pt x="248" y="279"/>
                  </a:lnTo>
                  <a:lnTo>
                    <a:pt x="248" y="277"/>
                  </a:lnTo>
                  <a:lnTo>
                    <a:pt x="250" y="277"/>
                  </a:lnTo>
                  <a:lnTo>
                    <a:pt x="250" y="277"/>
                  </a:lnTo>
                  <a:lnTo>
                    <a:pt x="252" y="277"/>
                  </a:lnTo>
                  <a:lnTo>
                    <a:pt x="252" y="279"/>
                  </a:lnTo>
                  <a:lnTo>
                    <a:pt x="256" y="283"/>
                  </a:lnTo>
                  <a:lnTo>
                    <a:pt x="271" y="291"/>
                  </a:lnTo>
                  <a:lnTo>
                    <a:pt x="273" y="292"/>
                  </a:lnTo>
                  <a:lnTo>
                    <a:pt x="275" y="294"/>
                  </a:lnTo>
                  <a:lnTo>
                    <a:pt x="275" y="296"/>
                  </a:lnTo>
                  <a:lnTo>
                    <a:pt x="277" y="298"/>
                  </a:lnTo>
                  <a:lnTo>
                    <a:pt x="279" y="298"/>
                  </a:lnTo>
                  <a:lnTo>
                    <a:pt x="281" y="300"/>
                  </a:lnTo>
                  <a:lnTo>
                    <a:pt x="281" y="300"/>
                  </a:lnTo>
                  <a:lnTo>
                    <a:pt x="282" y="302"/>
                  </a:lnTo>
                  <a:lnTo>
                    <a:pt x="284" y="302"/>
                  </a:lnTo>
                  <a:lnTo>
                    <a:pt x="286" y="300"/>
                  </a:lnTo>
                  <a:lnTo>
                    <a:pt x="290" y="300"/>
                  </a:lnTo>
                  <a:lnTo>
                    <a:pt x="290" y="300"/>
                  </a:lnTo>
                  <a:lnTo>
                    <a:pt x="292" y="300"/>
                  </a:lnTo>
                  <a:lnTo>
                    <a:pt x="292" y="300"/>
                  </a:lnTo>
                  <a:lnTo>
                    <a:pt x="301" y="306"/>
                  </a:lnTo>
                  <a:lnTo>
                    <a:pt x="305" y="310"/>
                  </a:lnTo>
                  <a:lnTo>
                    <a:pt x="309" y="311"/>
                  </a:lnTo>
                  <a:lnTo>
                    <a:pt x="309" y="311"/>
                  </a:lnTo>
                  <a:lnTo>
                    <a:pt x="311" y="310"/>
                  </a:lnTo>
                  <a:lnTo>
                    <a:pt x="313" y="310"/>
                  </a:lnTo>
                  <a:lnTo>
                    <a:pt x="313" y="308"/>
                  </a:lnTo>
                  <a:lnTo>
                    <a:pt x="313" y="308"/>
                  </a:lnTo>
                  <a:lnTo>
                    <a:pt x="315" y="310"/>
                  </a:lnTo>
                  <a:lnTo>
                    <a:pt x="317" y="310"/>
                  </a:lnTo>
                  <a:lnTo>
                    <a:pt x="317" y="308"/>
                  </a:lnTo>
                  <a:lnTo>
                    <a:pt x="317" y="308"/>
                  </a:lnTo>
                  <a:lnTo>
                    <a:pt x="317" y="306"/>
                  </a:lnTo>
                  <a:lnTo>
                    <a:pt x="317" y="306"/>
                  </a:lnTo>
                  <a:lnTo>
                    <a:pt x="319" y="304"/>
                  </a:lnTo>
                  <a:lnTo>
                    <a:pt x="319" y="304"/>
                  </a:lnTo>
                  <a:lnTo>
                    <a:pt x="322" y="304"/>
                  </a:lnTo>
                  <a:lnTo>
                    <a:pt x="324" y="304"/>
                  </a:lnTo>
                  <a:lnTo>
                    <a:pt x="324" y="304"/>
                  </a:lnTo>
                  <a:lnTo>
                    <a:pt x="324" y="302"/>
                  </a:lnTo>
                  <a:lnTo>
                    <a:pt x="322" y="300"/>
                  </a:lnTo>
                  <a:lnTo>
                    <a:pt x="321" y="300"/>
                  </a:lnTo>
                  <a:lnTo>
                    <a:pt x="321" y="298"/>
                  </a:lnTo>
                  <a:lnTo>
                    <a:pt x="319" y="296"/>
                  </a:lnTo>
                  <a:lnTo>
                    <a:pt x="319" y="294"/>
                  </a:lnTo>
                  <a:lnTo>
                    <a:pt x="319" y="292"/>
                  </a:lnTo>
                  <a:lnTo>
                    <a:pt x="317" y="291"/>
                  </a:lnTo>
                  <a:lnTo>
                    <a:pt x="317" y="289"/>
                  </a:lnTo>
                  <a:lnTo>
                    <a:pt x="313" y="289"/>
                  </a:lnTo>
                  <a:lnTo>
                    <a:pt x="313" y="287"/>
                  </a:lnTo>
                  <a:lnTo>
                    <a:pt x="313" y="287"/>
                  </a:lnTo>
                  <a:lnTo>
                    <a:pt x="311" y="285"/>
                  </a:lnTo>
                  <a:lnTo>
                    <a:pt x="311" y="285"/>
                  </a:lnTo>
                  <a:lnTo>
                    <a:pt x="311" y="283"/>
                  </a:lnTo>
                  <a:lnTo>
                    <a:pt x="311" y="283"/>
                  </a:lnTo>
                  <a:lnTo>
                    <a:pt x="311" y="283"/>
                  </a:lnTo>
                  <a:lnTo>
                    <a:pt x="311" y="283"/>
                  </a:lnTo>
                  <a:lnTo>
                    <a:pt x="311" y="283"/>
                  </a:lnTo>
                  <a:lnTo>
                    <a:pt x="313" y="283"/>
                  </a:lnTo>
                  <a:lnTo>
                    <a:pt x="315" y="283"/>
                  </a:lnTo>
                  <a:lnTo>
                    <a:pt x="315" y="283"/>
                  </a:lnTo>
                  <a:lnTo>
                    <a:pt x="315" y="283"/>
                  </a:lnTo>
                  <a:lnTo>
                    <a:pt x="317" y="283"/>
                  </a:lnTo>
                  <a:lnTo>
                    <a:pt x="317" y="281"/>
                  </a:lnTo>
                  <a:lnTo>
                    <a:pt x="315" y="281"/>
                  </a:lnTo>
                  <a:lnTo>
                    <a:pt x="315" y="279"/>
                  </a:lnTo>
                  <a:lnTo>
                    <a:pt x="315" y="277"/>
                  </a:lnTo>
                  <a:lnTo>
                    <a:pt x="313" y="275"/>
                  </a:lnTo>
                  <a:lnTo>
                    <a:pt x="311" y="275"/>
                  </a:lnTo>
                  <a:lnTo>
                    <a:pt x="309" y="273"/>
                  </a:lnTo>
                  <a:lnTo>
                    <a:pt x="305" y="273"/>
                  </a:lnTo>
                  <a:lnTo>
                    <a:pt x="303" y="273"/>
                  </a:lnTo>
                  <a:lnTo>
                    <a:pt x="301" y="273"/>
                  </a:lnTo>
                  <a:lnTo>
                    <a:pt x="301" y="272"/>
                  </a:lnTo>
                  <a:lnTo>
                    <a:pt x="301" y="270"/>
                  </a:lnTo>
                  <a:lnTo>
                    <a:pt x="300" y="266"/>
                  </a:lnTo>
                  <a:lnTo>
                    <a:pt x="294" y="260"/>
                  </a:lnTo>
                  <a:lnTo>
                    <a:pt x="292" y="258"/>
                  </a:lnTo>
                  <a:lnTo>
                    <a:pt x="292" y="258"/>
                  </a:lnTo>
                  <a:lnTo>
                    <a:pt x="290" y="258"/>
                  </a:lnTo>
                  <a:lnTo>
                    <a:pt x="290" y="258"/>
                  </a:lnTo>
                  <a:lnTo>
                    <a:pt x="288" y="258"/>
                  </a:lnTo>
                  <a:lnTo>
                    <a:pt x="282" y="254"/>
                  </a:lnTo>
                  <a:lnTo>
                    <a:pt x="282" y="253"/>
                  </a:lnTo>
                  <a:lnTo>
                    <a:pt x="282" y="253"/>
                  </a:lnTo>
                  <a:lnTo>
                    <a:pt x="282" y="249"/>
                  </a:lnTo>
                  <a:lnTo>
                    <a:pt x="282" y="247"/>
                  </a:lnTo>
                  <a:lnTo>
                    <a:pt x="282" y="247"/>
                  </a:lnTo>
                  <a:lnTo>
                    <a:pt x="284" y="243"/>
                  </a:lnTo>
                  <a:lnTo>
                    <a:pt x="284" y="243"/>
                  </a:lnTo>
                  <a:lnTo>
                    <a:pt x="284" y="241"/>
                  </a:lnTo>
                  <a:lnTo>
                    <a:pt x="284" y="241"/>
                  </a:lnTo>
                  <a:lnTo>
                    <a:pt x="284" y="239"/>
                  </a:lnTo>
                  <a:lnTo>
                    <a:pt x="284" y="239"/>
                  </a:lnTo>
                  <a:lnTo>
                    <a:pt x="286" y="237"/>
                  </a:lnTo>
                  <a:lnTo>
                    <a:pt x="288" y="237"/>
                  </a:lnTo>
                  <a:lnTo>
                    <a:pt x="288" y="235"/>
                  </a:lnTo>
                  <a:lnTo>
                    <a:pt x="290" y="235"/>
                  </a:lnTo>
                  <a:lnTo>
                    <a:pt x="292" y="235"/>
                  </a:lnTo>
                  <a:lnTo>
                    <a:pt x="292" y="235"/>
                  </a:lnTo>
                  <a:lnTo>
                    <a:pt x="292" y="235"/>
                  </a:lnTo>
                  <a:lnTo>
                    <a:pt x="292" y="235"/>
                  </a:lnTo>
                  <a:lnTo>
                    <a:pt x="292" y="233"/>
                  </a:lnTo>
                  <a:lnTo>
                    <a:pt x="292" y="233"/>
                  </a:lnTo>
                  <a:lnTo>
                    <a:pt x="290" y="233"/>
                  </a:lnTo>
                  <a:lnTo>
                    <a:pt x="288" y="233"/>
                  </a:lnTo>
                  <a:lnTo>
                    <a:pt x="288" y="233"/>
                  </a:lnTo>
                  <a:lnTo>
                    <a:pt x="288" y="233"/>
                  </a:lnTo>
                  <a:lnTo>
                    <a:pt x="288" y="233"/>
                  </a:lnTo>
                  <a:lnTo>
                    <a:pt x="288" y="233"/>
                  </a:lnTo>
                  <a:lnTo>
                    <a:pt x="288" y="233"/>
                  </a:lnTo>
                  <a:lnTo>
                    <a:pt x="275" y="232"/>
                  </a:lnTo>
                  <a:lnTo>
                    <a:pt x="269" y="232"/>
                  </a:lnTo>
                  <a:lnTo>
                    <a:pt x="265" y="232"/>
                  </a:lnTo>
                  <a:lnTo>
                    <a:pt x="265" y="232"/>
                  </a:lnTo>
                  <a:lnTo>
                    <a:pt x="263" y="233"/>
                  </a:lnTo>
                  <a:lnTo>
                    <a:pt x="261" y="233"/>
                  </a:lnTo>
                  <a:lnTo>
                    <a:pt x="261" y="232"/>
                  </a:lnTo>
                  <a:lnTo>
                    <a:pt x="260" y="230"/>
                  </a:lnTo>
                  <a:lnTo>
                    <a:pt x="248" y="218"/>
                  </a:lnTo>
                  <a:lnTo>
                    <a:pt x="246" y="216"/>
                  </a:lnTo>
                  <a:lnTo>
                    <a:pt x="244" y="216"/>
                  </a:lnTo>
                  <a:lnTo>
                    <a:pt x="242" y="214"/>
                  </a:lnTo>
                  <a:lnTo>
                    <a:pt x="240" y="214"/>
                  </a:lnTo>
                  <a:lnTo>
                    <a:pt x="237" y="216"/>
                  </a:lnTo>
                  <a:lnTo>
                    <a:pt x="235" y="216"/>
                  </a:lnTo>
                  <a:lnTo>
                    <a:pt x="235" y="216"/>
                  </a:lnTo>
                  <a:lnTo>
                    <a:pt x="235" y="216"/>
                  </a:lnTo>
                  <a:lnTo>
                    <a:pt x="235" y="214"/>
                  </a:lnTo>
                  <a:lnTo>
                    <a:pt x="235" y="213"/>
                  </a:lnTo>
                  <a:lnTo>
                    <a:pt x="231" y="209"/>
                  </a:lnTo>
                  <a:lnTo>
                    <a:pt x="231" y="207"/>
                  </a:lnTo>
                  <a:lnTo>
                    <a:pt x="231" y="205"/>
                  </a:lnTo>
                  <a:lnTo>
                    <a:pt x="231" y="203"/>
                  </a:lnTo>
                  <a:lnTo>
                    <a:pt x="233" y="201"/>
                  </a:lnTo>
                  <a:lnTo>
                    <a:pt x="235" y="199"/>
                  </a:lnTo>
                  <a:lnTo>
                    <a:pt x="235" y="197"/>
                  </a:lnTo>
                  <a:lnTo>
                    <a:pt x="235" y="197"/>
                  </a:lnTo>
                  <a:lnTo>
                    <a:pt x="235" y="194"/>
                  </a:lnTo>
                  <a:lnTo>
                    <a:pt x="235" y="194"/>
                  </a:lnTo>
                  <a:lnTo>
                    <a:pt x="237" y="192"/>
                  </a:lnTo>
                  <a:lnTo>
                    <a:pt x="237" y="192"/>
                  </a:lnTo>
                  <a:lnTo>
                    <a:pt x="235" y="190"/>
                  </a:lnTo>
                  <a:lnTo>
                    <a:pt x="235" y="190"/>
                  </a:lnTo>
                  <a:lnTo>
                    <a:pt x="231" y="190"/>
                  </a:lnTo>
                  <a:lnTo>
                    <a:pt x="231" y="190"/>
                  </a:lnTo>
                  <a:lnTo>
                    <a:pt x="231" y="190"/>
                  </a:lnTo>
                  <a:lnTo>
                    <a:pt x="231" y="188"/>
                  </a:lnTo>
                  <a:lnTo>
                    <a:pt x="229" y="188"/>
                  </a:lnTo>
                  <a:lnTo>
                    <a:pt x="229" y="186"/>
                  </a:lnTo>
                  <a:lnTo>
                    <a:pt x="229" y="186"/>
                  </a:lnTo>
                  <a:lnTo>
                    <a:pt x="229" y="184"/>
                  </a:lnTo>
                  <a:lnTo>
                    <a:pt x="231" y="184"/>
                  </a:lnTo>
                  <a:lnTo>
                    <a:pt x="237" y="182"/>
                  </a:lnTo>
                  <a:lnTo>
                    <a:pt x="239" y="182"/>
                  </a:lnTo>
                  <a:lnTo>
                    <a:pt x="240" y="182"/>
                  </a:lnTo>
                  <a:lnTo>
                    <a:pt x="246" y="182"/>
                  </a:lnTo>
                  <a:lnTo>
                    <a:pt x="246" y="182"/>
                  </a:lnTo>
                  <a:lnTo>
                    <a:pt x="246" y="182"/>
                  </a:lnTo>
                  <a:lnTo>
                    <a:pt x="248" y="180"/>
                  </a:lnTo>
                  <a:lnTo>
                    <a:pt x="246" y="180"/>
                  </a:lnTo>
                  <a:lnTo>
                    <a:pt x="246" y="176"/>
                  </a:lnTo>
                  <a:lnTo>
                    <a:pt x="246" y="175"/>
                  </a:lnTo>
                  <a:lnTo>
                    <a:pt x="246" y="175"/>
                  </a:lnTo>
                  <a:lnTo>
                    <a:pt x="246" y="175"/>
                  </a:lnTo>
                  <a:lnTo>
                    <a:pt x="248" y="173"/>
                  </a:lnTo>
                  <a:lnTo>
                    <a:pt x="248" y="173"/>
                  </a:lnTo>
                  <a:lnTo>
                    <a:pt x="250" y="173"/>
                  </a:lnTo>
                  <a:lnTo>
                    <a:pt x="252" y="173"/>
                  </a:lnTo>
                  <a:lnTo>
                    <a:pt x="256" y="175"/>
                  </a:lnTo>
                  <a:lnTo>
                    <a:pt x="258" y="175"/>
                  </a:lnTo>
                  <a:lnTo>
                    <a:pt x="258" y="176"/>
                  </a:lnTo>
                  <a:lnTo>
                    <a:pt x="258" y="182"/>
                  </a:lnTo>
                  <a:lnTo>
                    <a:pt x="258" y="184"/>
                  </a:lnTo>
                  <a:lnTo>
                    <a:pt x="258" y="184"/>
                  </a:lnTo>
                  <a:lnTo>
                    <a:pt x="258" y="184"/>
                  </a:lnTo>
                  <a:lnTo>
                    <a:pt x="258" y="184"/>
                  </a:lnTo>
                  <a:lnTo>
                    <a:pt x="258" y="184"/>
                  </a:lnTo>
                  <a:lnTo>
                    <a:pt x="260" y="184"/>
                  </a:lnTo>
                  <a:lnTo>
                    <a:pt x="260" y="184"/>
                  </a:lnTo>
                  <a:lnTo>
                    <a:pt x="263" y="186"/>
                  </a:lnTo>
                  <a:lnTo>
                    <a:pt x="265" y="188"/>
                  </a:lnTo>
                  <a:lnTo>
                    <a:pt x="265" y="188"/>
                  </a:lnTo>
                  <a:lnTo>
                    <a:pt x="267" y="190"/>
                  </a:lnTo>
                  <a:lnTo>
                    <a:pt x="269" y="190"/>
                  </a:lnTo>
                  <a:lnTo>
                    <a:pt x="271" y="188"/>
                  </a:lnTo>
                  <a:lnTo>
                    <a:pt x="273" y="186"/>
                  </a:lnTo>
                  <a:lnTo>
                    <a:pt x="275" y="184"/>
                  </a:lnTo>
                  <a:lnTo>
                    <a:pt x="275" y="184"/>
                  </a:lnTo>
                  <a:lnTo>
                    <a:pt x="277" y="184"/>
                  </a:lnTo>
                  <a:lnTo>
                    <a:pt x="277" y="184"/>
                  </a:lnTo>
                  <a:lnTo>
                    <a:pt x="277" y="184"/>
                  </a:lnTo>
                  <a:lnTo>
                    <a:pt x="277" y="182"/>
                  </a:lnTo>
                  <a:lnTo>
                    <a:pt x="277" y="182"/>
                  </a:lnTo>
                  <a:lnTo>
                    <a:pt x="277" y="182"/>
                  </a:lnTo>
                  <a:lnTo>
                    <a:pt x="277" y="180"/>
                  </a:lnTo>
                  <a:lnTo>
                    <a:pt x="277" y="178"/>
                  </a:lnTo>
                  <a:lnTo>
                    <a:pt x="277" y="178"/>
                  </a:lnTo>
                  <a:lnTo>
                    <a:pt x="279" y="176"/>
                  </a:lnTo>
                  <a:lnTo>
                    <a:pt x="279" y="175"/>
                  </a:lnTo>
                  <a:lnTo>
                    <a:pt x="281" y="173"/>
                  </a:lnTo>
                  <a:lnTo>
                    <a:pt x="284" y="171"/>
                  </a:lnTo>
                  <a:lnTo>
                    <a:pt x="288" y="169"/>
                  </a:lnTo>
                  <a:lnTo>
                    <a:pt x="296" y="167"/>
                  </a:lnTo>
                  <a:lnTo>
                    <a:pt x="300" y="165"/>
                  </a:lnTo>
                  <a:lnTo>
                    <a:pt x="305" y="163"/>
                  </a:lnTo>
                  <a:lnTo>
                    <a:pt x="317" y="161"/>
                  </a:lnTo>
                  <a:lnTo>
                    <a:pt x="321" y="161"/>
                  </a:lnTo>
                  <a:lnTo>
                    <a:pt x="321" y="157"/>
                  </a:lnTo>
                  <a:lnTo>
                    <a:pt x="322" y="156"/>
                  </a:lnTo>
                  <a:lnTo>
                    <a:pt x="321" y="154"/>
                  </a:lnTo>
                  <a:lnTo>
                    <a:pt x="321" y="152"/>
                  </a:lnTo>
                  <a:lnTo>
                    <a:pt x="321" y="152"/>
                  </a:lnTo>
                  <a:lnTo>
                    <a:pt x="321" y="152"/>
                  </a:lnTo>
                  <a:lnTo>
                    <a:pt x="321" y="150"/>
                  </a:lnTo>
                  <a:lnTo>
                    <a:pt x="322" y="148"/>
                  </a:lnTo>
                  <a:lnTo>
                    <a:pt x="322" y="148"/>
                  </a:lnTo>
                  <a:lnTo>
                    <a:pt x="324" y="146"/>
                  </a:lnTo>
                  <a:lnTo>
                    <a:pt x="324" y="146"/>
                  </a:lnTo>
                  <a:lnTo>
                    <a:pt x="324" y="144"/>
                  </a:lnTo>
                  <a:lnTo>
                    <a:pt x="324" y="144"/>
                  </a:lnTo>
                  <a:lnTo>
                    <a:pt x="326" y="144"/>
                  </a:lnTo>
                  <a:lnTo>
                    <a:pt x="326" y="142"/>
                  </a:lnTo>
                  <a:lnTo>
                    <a:pt x="326" y="142"/>
                  </a:lnTo>
                  <a:lnTo>
                    <a:pt x="326" y="142"/>
                  </a:lnTo>
                  <a:lnTo>
                    <a:pt x="328" y="142"/>
                  </a:lnTo>
                  <a:lnTo>
                    <a:pt x="330" y="142"/>
                  </a:lnTo>
                  <a:lnTo>
                    <a:pt x="334" y="146"/>
                  </a:lnTo>
                  <a:lnTo>
                    <a:pt x="336" y="146"/>
                  </a:lnTo>
                  <a:lnTo>
                    <a:pt x="338" y="146"/>
                  </a:lnTo>
                  <a:lnTo>
                    <a:pt x="340" y="146"/>
                  </a:lnTo>
                  <a:lnTo>
                    <a:pt x="340" y="148"/>
                  </a:lnTo>
                  <a:lnTo>
                    <a:pt x="341" y="150"/>
                  </a:lnTo>
                  <a:lnTo>
                    <a:pt x="343" y="150"/>
                  </a:lnTo>
                  <a:lnTo>
                    <a:pt x="345" y="152"/>
                  </a:lnTo>
                  <a:lnTo>
                    <a:pt x="351" y="154"/>
                  </a:lnTo>
                  <a:lnTo>
                    <a:pt x="353" y="152"/>
                  </a:lnTo>
                  <a:lnTo>
                    <a:pt x="353" y="150"/>
                  </a:lnTo>
                  <a:lnTo>
                    <a:pt x="353" y="150"/>
                  </a:lnTo>
                  <a:lnTo>
                    <a:pt x="353" y="150"/>
                  </a:lnTo>
                  <a:lnTo>
                    <a:pt x="351" y="148"/>
                  </a:lnTo>
                  <a:lnTo>
                    <a:pt x="351" y="148"/>
                  </a:lnTo>
                  <a:lnTo>
                    <a:pt x="351" y="146"/>
                  </a:lnTo>
                  <a:lnTo>
                    <a:pt x="351" y="146"/>
                  </a:lnTo>
                  <a:lnTo>
                    <a:pt x="351" y="146"/>
                  </a:lnTo>
                  <a:lnTo>
                    <a:pt x="353" y="144"/>
                  </a:lnTo>
                  <a:lnTo>
                    <a:pt x="353" y="146"/>
                  </a:lnTo>
                  <a:lnTo>
                    <a:pt x="355" y="146"/>
                  </a:lnTo>
                  <a:lnTo>
                    <a:pt x="357" y="146"/>
                  </a:lnTo>
                  <a:lnTo>
                    <a:pt x="357" y="146"/>
                  </a:lnTo>
                  <a:lnTo>
                    <a:pt x="359" y="146"/>
                  </a:lnTo>
                  <a:lnTo>
                    <a:pt x="359" y="148"/>
                  </a:lnTo>
                  <a:lnTo>
                    <a:pt x="359" y="148"/>
                  </a:lnTo>
                  <a:lnTo>
                    <a:pt x="361" y="148"/>
                  </a:lnTo>
                  <a:lnTo>
                    <a:pt x="361" y="146"/>
                  </a:lnTo>
                  <a:lnTo>
                    <a:pt x="361" y="146"/>
                  </a:lnTo>
                  <a:lnTo>
                    <a:pt x="361" y="144"/>
                  </a:lnTo>
                  <a:lnTo>
                    <a:pt x="361" y="142"/>
                  </a:lnTo>
                  <a:lnTo>
                    <a:pt x="362" y="142"/>
                  </a:lnTo>
                  <a:lnTo>
                    <a:pt x="362" y="142"/>
                  </a:lnTo>
                  <a:lnTo>
                    <a:pt x="364" y="142"/>
                  </a:lnTo>
                  <a:lnTo>
                    <a:pt x="364" y="140"/>
                  </a:lnTo>
                  <a:lnTo>
                    <a:pt x="364" y="138"/>
                  </a:lnTo>
                  <a:lnTo>
                    <a:pt x="364" y="137"/>
                  </a:lnTo>
                  <a:lnTo>
                    <a:pt x="364" y="137"/>
                  </a:lnTo>
                  <a:lnTo>
                    <a:pt x="362" y="135"/>
                  </a:lnTo>
                  <a:lnTo>
                    <a:pt x="361" y="135"/>
                  </a:lnTo>
                  <a:lnTo>
                    <a:pt x="361" y="133"/>
                  </a:lnTo>
                  <a:lnTo>
                    <a:pt x="361" y="133"/>
                  </a:lnTo>
                  <a:lnTo>
                    <a:pt x="361" y="133"/>
                  </a:lnTo>
                  <a:lnTo>
                    <a:pt x="359" y="131"/>
                  </a:lnTo>
                  <a:lnTo>
                    <a:pt x="359" y="131"/>
                  </a:lnTo>
                  <a:lnTo>
                    <a:pt x="359" y="129"/>
                  </a:lnTo>
                  <a:lnTo>
                    <a:pt x="361" y="129"/>
                  </a:lnTo>
                  <a:lnTo>
                    <a:pt x="362" y="129"/>
                  </a:lnTo>
                  <a:lnTo>
                    <a:pt x="366" y="127"/>
                  </a:lnTo>
                  <a:lnTo>
                    <a:pt x="366" y="127"/>
                  </a:lnTo>
                  <a:lnTo>
                    <a:pt x="368" y="127"/>
                  </a:lnTo>
                  <a:lnTo>
                    <a:pt x="368" y="129"/>
                  </a:lnTo>
                  <a:lnTo>
                    <a:pt x="368" y="129"/>
                  </a:lnTo>
                  <a:lnTo>
                    <a:pt x="368" y="131"/>
                  </a:lnTo>
                  <a:lnTo>
                    <a:pt x="368" y="133"/>
                  </a:lnTo>
                  <a:lnTo>
                    <a:pt x="368" y="133"/>
                  </a:lnTo>
                  <a:lnTo>
                    <a:pt x="370" y="133"/>
                  </a:lnTo>
                  <a:lnTo>
                    <a:pt x="374" y="131"/>
                  </a:lnTo>
                  <a:lnTo>
                    <a:pt x="376" y="131"/>
                  </a:lnTo>
                  <a:lnTo>
                    <a:pt x="380" y="131"/>
                  </a:lnTo>
                  <a:lnTo>
                    <a:pt x="380" y="131"/>
                  </a:lnTo>
                  <a:lnTo>
                    <a:pt x="382" y="129"/>
                  </a:lnTo>
                  <a:lnTo>
                    <a:pt x="383" y="129"/>
                  </a:lnTo>
                  <a:lnTo>
                    <a:pt x="383" y="129"/>
                  </a:lnTo>
                  <a:lnTo>
                    <a:pt x="383" y="127"/>
                  </a:lnTo>
                  <a:lnTo>
                    <a:pt x="383" y="125"/>
                  </a:lnTo>
                  <a:lnTo>
                    <a:pt x="383" y="123"/>
                  </a:lnTo>
                  <a:lnTo>
                    <a:pt x="383" y="121"/>
                  </a:lnTo>
                  <a:lnTo>
                    <a:pt x="383" y="119"/>
                  </a:lnTo>
                  <a:lnTo>
                    <a:pt x="383" y="119"/>
                  </a:lnTo>
                  <a:lnTo>
                    <a:pt x="385" y="119"/>
                  </a:lnTo>
                  <a:lnTo>
                    <a:pt x="385" y="119"/>
                  </a:lnTo>
                  <a:lnTo>
                    <a:pt x="387" y="119"/>
                  </a:lnTo>
                  <a:lnTo>
                    <a:pt x="389" y="121"/>
                  </a:lnTo>
                  <a:lnTo>
                    <a:pt x="391" y="121"/>
                  </a:lnTo>
                  <a:lnTo>
                    <a:pt x="391" y="121"/>
                  </a:lnTo>
                  <a:lnTo>
                    <a:pt x="391" y="119"/>
                  </a:lnTo>
                  <a:lnTo>
                    <a:pt x="393" y="117"/>
                  </a:lnTo>
                  <a:lnTo>
                    <a:pt x="393" y="116"/>
                  </a:lnTo>
                  <a:lnTo>
                    <a:pt x="393" y="116"/>
                  </a:lnTo>
                  <a:lnTo>
                    <a:pt x="395" y="114"/>
                  </a:lnTo>
                  <a:lnTo>
                    <a:pt x="397" y="116"/>
                  </a:lnTo>
                  <a:lnTo>
                    <a:pt x="399" y="116"/>
                  </a:lnTo>
                  <a:lnTo>
                    <a:pt x="399" y="114"/>
                  </a:lnTo>
                  <a:lnTo>
                    <a:pt x="399" y="112"/>
                  </a:lnTo>
                  <a:lnTo>
                    <a:pt x="399" y="110"/>
                  </a:lnTo>
                  <a:lnTo>
                    <a:pt x="399" y="110"/>
                  </a:lnTo>
                  <a:lnTo>
                    <a:pt x="397" y="110"/>
                  </a:lnTo>
                  <a:lnTo>
                    <a:pt x="397" y="110"/>
                  </a:lnTo>
                  <a:lnTo>
                    <a:pt x="397" y="110"/>
                  </a:lnTo>
                  <a:lnTo>
                    <a:pt x="395" y="110"/>
                  </a:lnTo>
                  <a:lnTo>
                    <a:pt x="395" y="110"/>
                  </a:lnTo>
                  <a:lnTo>
                    <a:pt x="395" y="108"/>
                  </a:lnTo>
                  <a:lnTo>
                    <a:pt x="395" y="108"/>
                  </a:lnTo>
                  <a:lnTo>
                    <a:pt x="395" y="106"/>
                  </a:lnTo>
                  <a:lnTo>
                    <a:pt x="397" y="106"/>
                  </a:lnTo>
                  <a:lnTo>
                    <a:pt x="399" y="104"/>
                  </a:lnTo>
                  <a:lnTo>
                    <a:pt x="399" y="104"/>
                  </a:lnTo>
                  <a:lnTo>
                    <a:pt x="402" y="102"/>
                  </a:lnTo>
                  <a:lnTo>
                    <a:pt x="404" y="100"/>
                  </a:lnTo>
                  <a:lnTo>
                    <a:pt x="406" y="98"/>
                  </a:lnTo>
                  <a:lnTo>
                    <a:pt x="410" y="91"/>
                  </a:lnTo>
                  <a:lnTo>
                    <a:pt x="410" y="89"/>
                  </a:lnTo>
                  <a:lnTo>
                    <a:pt x="410" y="87"/>
                  </a:lnTo>
                  <a:lnTo>
                    <a:pt x="410" y="87"/>
                  </a:lnTo>
                  <a:lnTo>
                    <a:pt x="410" y="85"/>
                  </a:lnTo>
                  <a:lnTo>
                    <a:pt x="410" y="85"/>
                  </a:lnTo>
                  <a:lnTo>
                    <a:pt x="410" y="85"/>
                  </a:lnTo>
                  <a:lnTo>
                    <a:pt x="412" y="83"/>
                  </a:lnTo>
                  <a:lnTo>
                    <a:pt x="412" y="83"/>
                  </a:lnTo>
                  <a:lnTo>
                    <a:pt x="412" y="81"/>
                  </a:lnTo>
                  <a:lnTo>
                    <a:pt x="412" y="81"/>
                  </a:lnTo>
                  <a:lnTo>
                    <a:pt x="412" y="81"/>
                  </a:lnTo>
                  <a:lnTo>
                    <a:pt x="410" y="79"/>
                  </a:lnTo>
                  <a:lnTo>
                    <a:pt x="410" y="79"/>
                  </a:lnTo>
                  <a:lnTo>
                    <a:pt x="412" y="76"/>
                  </a:lnTo>
                  <a:lnTo>
                    <a:pt x="410" y="76"/>
                  </a:lnTo>
                  <a:lnTo>
                    <a:pt x="410" y="76"/>
                  </a:lnTo>
                  <a:lnTo>
                    <a:pt x="410" y="74"/>
                  </a:lnTo>
                  <a:lnTo>
                    <a:pt x="408" y="74"/>
                  </a:lnTo>
                  <a:lnTo>
                    <a:pt x="408" y="74"/>
                  </a:lnTo>
                  <a:lnTo>
                    <a:pt x="408" y="74"/>
                  </a:lnTo>
                  <a:lnTo>
                    <a:pt x="408" y="72"/>
                  </a:lnTo>
                  <a:lnTo>
                    <a:pt x="408" y="72"/>
                  </a:lnTo>
                  <a:lnTo>
                    <a:pt x="410" y="72"/>
                  </a:lnTo>
                  <a:lnTo>
                    <a:pt x="412" y="72"/>
                  </a:lnTo>
                  <a:lnTo>
                    <a:pt x="412" y="74"/>
                  </a:lnTo>
                  <a:lnTo>
                    <a:pt x="414" y="74"/>
                  </a:lnTo>
                  <a:lnTo>
                    <a:pt x="414" y="74"/>
                  </a:lnTo>
                  <a:lnTo>
                    <a:pt x="416" y="74"/>
                  </a:lnTo>
                  <a:lnTo>
                    <a:pt x="416" y="74"/>
                  </a:lnTo>
                  <a:lnTo>
                    <a:pt x="418" y="74"/>
                  </a:lnTo>
                  <a:lnTo>
                    <a:pt x="420" y="74"/>
                  </a:lnTo>
                  <a:lnTo>
                    <a:pt x="420" y="72"/>
                  </a:lnTo>
                  <a:lnTo>
                    <a:pt x="422" y="72"/>
                  </a:lnTo>
                  <a:lnTo>
                    <a:pt x="422" y="70"/>
                  </a:lnTo>
                  <a:lnTo>
                    <a:pt x="420" y="7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7" name="Freeform 49">
              <a:extLst>
                <a:ext uri="{FF2B5EF4-FFF2-40B4-BE49-F238E27FC236}">
                  <a16:creationId xmlns:a16="http://schemas.microsoft.com/office/drawing/2014/main" id="{CB188C78-367E-6752-5AB9-D07449FA9D04}"/>
                </a:ext>
              </a:extLst>
            </p:cNvPr>
            <p:cNvSpPr>
              <a:spLocks/>
            </p:cNvSpPr>
            <p:nvPr/>
          </p:nvSpPr>
          <p:spPr bwMode="auto">
            <a:xfrm>
              <a:off x="6003925" y="3412338"/>
              <a:ext cx="669925" cy="530225"/>
            </a:xfrm>
            <a:custGeom>
              <a:avLst/>
              <a:gdLst>
                <a:gd name="T0" fmla="*/ 418 w 422"/>
                <a:gd name="T1" fmla="*/ 57 h 334"/>
                <a:gd name="T2" fmla="*/ 418 w 422"/>
                <a:gd name="T3" fmla="*/ 45 h 334"/>
                <a:gd name="T4" fmla="*/ 410 w 422"/>
                <a:gd name="T5" fmla="*/ 17 h 334"/>
                <a:gd name="T6" fmla="*/ 391 w 422"/>
                <a:gd name="T7" fmla="*/ 1 h 334"/>
                <a:gd name="T8" fmla="*/ 372 w 422"/>
                <a:gd name="T9" fmla="*/ 13 h 334"/>
                <a:gd name="T10" fmla="*/ 355 w 422"/>
                <a:gd name="T11" fmla="*/ 26 h 334"/>
                <a:gd name="T12" fmla="*/ 345 w 422"/>
                <a:gd name="T13" fmla="*/ 66 h 334"/>
                <a:gd name="T14" fmla="*/ 319 w 422"/>
                <a:gd name="T15" fmla="*/ 74 h 334"/>
                <a:gd name="T16" fmla="*/ 290 w 422"/>
                <a:gd name="T17" fmla="*/ 91 h 334"/>
                <a:gd name="T18" fmla="*/ 275 w 422"/>
                <a:gd name="T19" fmla="*/ 83 h 334"/>
                <a:gd name="T20" fmla="*/ 250 w 422"/>
                <a:gd name="T21" fmla="*/ 60 h 334"/>
                <a:gd name="T22" fmla="*/ 220 w 422"/>
                <a:gd name="T23" fmla="*/ 59 h 334"/>
                <a:gd name="T24" fmla="*/ 210 w 422"/>
                <a:gd name="T25" fmla="*/ 78 h 334"/>
                <a:gd name="T26" fmla="*/ 180 w 422"/>
                <a:gd name="T27" fmla="*/ 83 h 334"/>
                <a:gd name="T28" fmla="*/ 162 w 422"/>
                <a:gd name="T29" fmla="*/ 93 h 334"/>
                <a:gd name="T30" fmla="*/ 136 w 422"/>
                <a:gd name="T31" fmla="*/ 83 h 334"/>
                <a:gd name="T32" fmla="*/ 115 w 422"/>
                <a:gd name="T33" fmla="*/ 95 h 334"/>
                <a:gd name="T34" fmla="*/ 96 w 422"/>
                <a:gd name="T35" fmla="*/ 93 h 334"/>
                <a:gd name="T36" fmla="*/ 84 w 422"/>
                <a:gd name="T37" fmla="*/ 79 h 334"/>
                <a:gd name="T38" fmla="*/ 75 w 422"/>
                <a:gd name="T39" fmla="*/ 81 h 334"/>
                <a:gd name="T40" fmla="*/ 61 w 422"/>
                <a:gd name="T41" fmla="*/ 72 h 334"/>
                <a:gd name="T42" fmla="*/ 33 w 422"/>
                <a:gd name="T43" fmla="*/ 81 h 334"/>
                <a:gd name="T44" fmla="*/ 10 w 422"/>
                <a:gd name="T45" fmla="*/ 93 h 334"/>
                <a:gd name="T46" fmla="*/ 4 w 422"/>
                <a:gd name="T47" fmla="*/ 119 h 334"/>
                <a:gd name="T48" fmla="*/ 37 w 422"/>
                <a:gd name="T49" fmla="*/ 157 h 334"/>
                <a:gd name="T50" fmla="*/ 44 w 422"/>
                <a:gd name="T51" fmla="*/ 175 h 334"/>
                <a:gd name="T52" fmla="*/ 56 w 422"/>
                <a:gd name="T53" fmla="*/ 169 h 334"/>
                <a:gd name="T54" fmla="*/ 58 w 422"/>
                <a:gd name="T55" fmla="*/ 186 h 334"/>
                <a:gd name="T56" fmla="*/ 63 w 422"/>
                <a:gd name="T57" fmla="*/ 195 h 334"/>
                <a:gd name="T58" fmla="*/ 73 w 422"/>
                <a:gd name="T59" fmla="*/ 233 h 334"/>
                <a:gd name="T60" fmla="*/ 84 w 422"/>
                <a:gd name="T61" fmla="*/ 233 h 334"/>
                <a:gd name="T62" fmla="*/ 92 w 422"/>
                <a:gd name="T63" fmla="*/ 249 h 334"/>
                <a:gd name="T64" fmla="*/ 69 w 422"/>
                <a:gd name="T65" fmla="*/ 270 h 334"/>
                <a:gd name="T66" fmla="*/ 73 w 422"/>
                <a:gd name="T67" fmla="*/ 291 h 334"/>
                <a:gd name="T68" fmla="*/ 107 w 422"/>
                <a:gd name="T69" fmla="*/ 294 h 334"/>
                <a:gd name="T70" fmla="*/ 145 w 422"/>
                <a:gd name="T71" fmla="*/ 291 h 334"/>
                <a:gd name="T72" fmla="*/ 155 w 422"/>
                <a:gd name="T73" fmla="*/ 317 h 334"/>
                <a:gd name="T74" fmla="*/ 174 w 422"/>
                <a:gd name="T75" fmla="*/ 330 h 334"/>
                <a:gd name="T76" fmla="*/ 220 w 422"/>
                <a:gd name="T77" fmla="*/ 325 h 334"/>
                <a:gd name="T78" fmla="*/ 225 w 422"/>
                <a:gd name="T79" fmla="*/ 330 h 334"/>
                <a:gd name="T80" fmla="*/ 242 w 422"/>
                <a:gd name="T81" fmla="*/ 310 h 334"/>
                <a:gd name="T82" fmla="*/ 242 w 422"/>
                <a:gd name="T83" fmla="*/ 283 h 334"/>
                <a:gd name="T84" fmla="*/ 277 w 422"/>
                <a:gd name="T85" fmla="*/ 298 h 334"/>
                <a:gd name="T86" fmla="*/ 313 w 422"/>
                <a:gd name="T87" fmla="*/ 308 h 334"/>
                <a:gd name="T88" fmla="*/ 319 w 422"/>
                <a:gd name="T89" fmla="*/ 296 h 334"/>
                <a:gd name="T90" fmla="*/ 315 w 422"/>
                <a:gd name="T91" fmla="*/ 283 h 334"/>
                <a:gd name="T92" fmla="*/ 292 w 422"/>
                <a:gd name="T93" fmla="*/ 258 h 334"/>
                <a:gd name="T94" fmla="*/ 286 w 422"/>
                <a:gd name="T95" fmla="*/ 237 h 334"/>
                <a:gd name="T96" fmla="*/ 275 w 422"/>
                <a:gd name="T97" fmla="*/ 232 h 334"/>
                <a:gd name="T98" fmla="*/ 235 w 422"/>
                <a:gd name="T99" fmla="*/ 214 h 334"/>
                <a:gd name="T100" fmla="*/ 231 w 422"/>
                <a:gd name="T101" fmla="*/ 190 h 334"/>
                <a:gd name="T102" fmla="*/ 246 w 422"/>
                <a:gd name="T103" fmla="*/ 175 h 334"/>
                <a:gd name="T104" fmla="*/ 260 w 422"/>
                <a:gd name="T105" fmla="*/ 184 h 334"/>
                <a:gd name="T106" fmla="*/ 277 w 422"/>
                <a:gd name="T107" fmla="*/ 178 h 334"/>
                <a:gd name="T108" fmla="*/ 321 w 422"/>
                <a:gd name="T109" fmla="*/ 152 h 334"/>
                <a:gd name="T110" fmla="*/ 340 w 422"/>
                <a:gd name="T111" fmla="*/ 146 h 334"/>
                <a:gd name="T112" fmla="*/ 355 w 422"/>
                <a:gd name="T113" fmla="*/ 146 h 334"/>
                <a:gd name="T114" fmla="*/ 364 w 422"/>
                <a:gd name="T115" fmla="*/ 137 h 334"/>
                <a:gd name="T116" fmla="*/ 368 w 422"/>
                <a:gd name="T117" fmla="*/ 133 h 334"/>
                <a:gd name="T118" fmla="*/ 385 w 422"/>
                <a:gd name="T119" fmla="*/ 119 h 334"/>
                <a:gd name="T120" fmla="*/ 397 w 422"/>
                <a:gd name="T121" fmla="*/ 110 h 334"/>
                <a:gd name="T122" fmla="*/ 410 w 422"/>
                <a:gd name="T123" fmla="*/ 85 h 334"/>
                <a:gd name="T124" fmla="*/ 408 w 422"/>
                <a:gd name="T125" fmla="*/ 7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334">
                  <a:moveTo>
                    <a:pt x="420" y="70"/>
                  </a:moveTo>
                  <a:lnTo>
                    <a:pt x="420" y="70"/>
                  </a:lnTo>
                  <a:lnTo>
                    <a:pt x="420" y="70"/>
                  </a:lnTo>
                  <a:lnTo>
                    <a:pt x="418" y="68"/>
                  </a:lnTo>
                  <a:lnTo>
                    <a:pt x="420" y="68"/>
                  </a:lnTo>
                  <a:lnTo>
                    <a:pt x="420" y="68"/>
                  </a:lnTo>
                  <a:lnTo>
                    <a:pt x="420" y="66"/>
                  </a:lnTo>
                  <a:lnTo>
                    <a:pt x="422" y="66"/>
                  </a:lnTo>
                  <a:lnTo>
                    <a:pt x="422" y="64"/>
                  </a:lnTo>
                  <a:lnTo>
                    <a:pt x="420" y="64"/>
                  </a:lnTo>
                  <a:lnTo>
                    <a:pt x="420" y="64"/>
                  </a:lnTo>
                  <a:lnTo>
                    <a:pt x="420" y="62"/>
                  </a:lnTo>
                  <a:lnTo>
                    <a:pt x="420" y="62"/>
                  </a:lnTo>
                  <a:lnTo>
                    <a:pt x="420" y="60"/>
                  </a:lnTo>
                  <a:lnTo>
                    <a:pt x="420" y="59"/>
                  </a:lnTo>
                  <a:lnTo>
                    <a:pt x="418" y="59"/>
                  </a:lnTo>
                  <a:lnTo>
                    <a:pt x="418" y="57"/>
                  </a:lnTo>
                  <a:lnTo>
                    <a:pt x="418" y="57"/>
                  </a:lnTo>
                  <a:lnTo>
                    <a:pt x="418" y="57"/>
                  </a:lnTo>
                  <a:lnTo>
                    <a:pt x="414" y="57"/>
                  </a:lnTo>
                  <a:lnTo>
                    <a:pt x="414" y="55"/>
                  </a:lnTo>
                  <a:lnTo>
                    <a:pt x="414" y="55"/>
                  </a:lnTo>
                  <a:lnTo>
                    <a:pt x="414" y="55"/>
                  </a:lnTo>
                  <a:lnTo>
                    <a:pt x="414" y="53"/>
                  </a:lnTo>
                  <a:lnTo>
                    <a:pt x="414" y="53"/>
                  </a:lnTo>
                  <a:lnTo>
                    <a:pt x="414" y="53"/>
                  </a:lnTo>
                  <a:lnTo>
                    <a:pt x="414" y="53"/>
                  </a:lnTo>
                  <a:lnTo>
                    <a:pt x="416" y="53"/>
                  </a:lnTo>
                  <a:lnTo>
                    <a:pt x="416" y="53"/>
                  </a:lnTo>
                  <a:lnTo>
                    <a:pt x="418" y="53"/>
                  </a:lnTo>
                  <a:lnTo>
                    <a:pt x="418" y="53"/>
                  </a:lnTo>
                  <a:lnTo>
                    <a:pt x="418" y="53"/>
                  </a:lnTo>
                  <a:lnTo>
                    <a:pt x="418" y="47"/>
                  </a:lnTo>
                  <a:lnTo>
                    <a:pt x="418" y="45"/>
                  </a:lnTo>
                  <a:lnTo>
                    <a:pt x="420" y="43"/>
                  </a:lnTo>
                  <a:lnTo>
                    <a:pt x="420" y="43"/>
                  </a:lnTo>
                  <a:lnTo>
                    <a:pt x="420" y="40"/>
                  </a:lnTo>
                  <a:lnTo>
                    <a:pt x="420" y="38"/>
                  </a:lnTo>
                  <a:lnTo>
                    <a:pt x="418" y="30"/>
                  </a:lnTo>
                  <a:lnTo>
                    <a:pt x="416" y="28"/>
                  </a:lnTo>
                  <a:lnTo>
                    <a:pt x="416" y="28"/>
                  </a:lnTo>
                  <a:lnTo>
                    <a:pt x="416" y="26"/>
                  </a:lnTo>
                  <a:lnTo>
                    <a:pt x="412" y="22"/>
                  </a:lnTo>
                  <a:lnTo>
                    <a:pt x="412" y="22"/>
                  </a:lnTo>
                  <a:lnTo>
                    <a:pt x="410" y="22"/>
                  </a:lnTo>
                  <a:lnTo>
                    <a:pt x="410" y="22"/>
                  </a:lnTo>
                  <a:lnTo>
                    <a:pt x="410" y="22"/>
                  </a:lnTo>
                  <a:lnTo>
                    <a:pt x="410" y="20"/>
                  </a:lnTo>
                  <a:lnTo>
                    <a:pt x="410" y="20"/>
                  </a:lnTo>
                  <a:lnTo>
                    <a:pt x="410" y="19"/>
                  </a:lnTo>
                  <a:lnTo>
                    <a:pt x="410" y="17"/>
                  </a:lnTo>
                  <a:lnTo>
                    <a:pt x="408" y="15"/>
                  </a:lnTo>
                  <a:lnTo>
                    <a:pt x="408" y="15"/>
                  </a:lnTo>
                  <a:lnTo>
                    <a:pt x="410" y="13"/>
                  </a:lnTo>
                  <a:lnTo>
                    <a:pt x="410" y="13"/>
                  </a:lnTo>
                  <a:lnTo>
                    <a:pt x="410" y="11"/>
                  </a:lnTo>
                  <a:lnTo>
                    <a:pt x="410" y="9"/>
                  </a:lnTo>
                  <a:lnTo>
                    <a:pt x="410" y="9"/>
                  </a:lnTo>
                  <a:lnTo>
                    <a:pt x="410" y="7"/>
                  </a:lnTo>
                  <a:lnTo>
                    <a:pt x="408" y="7"/>
                  </a:lnTo>
                  <a:lnTo>
                    <a:pt x="408" y="7"/>
                  </a:lnTo>
                  <a:lnTo>
                    <a:pt x="404" y="5"/>
                  </a:lnTo>
                  <a:lnTo>
                    <a:pt x="401" y="7"/>
                  </a:lnTo>
                  <a:lnTo>
                    <a:pt x="399" y="5"/>
                  </a:lnTo>
                  <a:lnTo>
                    <a:pt x="393" y="5"/>
                  </a:lnTo>
                  <a:lnTo>
                    <a:pt x="393" y="3"/>
                  </a:lnTo>
                  <a:lnTo>
                    <a:pt x="391" y="1"/>
                  </a:lnTo>
                  <a:lnTo>
                    <a:pt x="391" y="1"/>
                  </a:lnTo>
                  <a:lnTo>
                    <a:pt x="389" y="0"/>
                  </a:lnTo>
                  <a:lnTo>
                    <a:pt x="389" y="0"/>
                  </a:lnTo>
                  <a:lnTo>
                    <a:pt x="387" y="0"/>
                  </a:lnTo>
                  <a:lnTo>
                    <a:pt x="387" y="0"/>
                  </a:lnTo>
                  <a:lnTo>
                    <a:pt x="387" y="0"/>
                  </a:lnTo>
                  <a:lnTo>
                    <a:pt x="385" y="0"/>
                  </a:lnTo>
                  <a:lnTo>
                    <a:pt x="382" y="3"/>
                  </a:lnTo>
                  <a:lnTo>
                    <a:pt x="380" y="5"/>
                  </a:lnTo>
                  <a:lnTo>
                    <a:pt x="380" y="5"/>
                  </a:lnTo>
                  <a:lnTo>
                    <a:pt x="380" y="7"/>
                  </a:lnTo>
                  <a:lnTo>
                    <a:pt x="380" y="7"/>
                  </a:lnTo>
                  <a:lnTo>
                    <a:pt x="378" y="9"/>
                  </a:lnTo>
                  <a:lnTo>
                    <a:pt x="378" y="11"/>
                  </a:lnTo>
                  <a:lnTo>
                    <a:pt x="378" y="13"/>
                  </a:lnTo>
                  <a:lnTo>
                    <a:pt x="376" y="13"/>
                  </a:lnTo>
                  <a:lnTo>
                    <a:pt x="374" y="13"/>
                  </a:lnTo>
                  <a:lnTo>
                    <a:pt x="372" y="13"/>
                  </a:lnTo>
                  <a:lnTo>
                    <a:pt x="372" y="11"/>
                  </a:lnTo>
                  <a:lnTo>
                    <a:pt x="370" y="11"/>
                  </a:lnTo>
                  <a:lnTo>
                    <a:pt x="370" y="11"/>
                  </a:lnTo>
                  <a:lnTo>
                    <a:pt x="370" y="13"/>
                  </a:lnTo>
                  <a:lnTo>
                    <a:pt x="370" y="13"/>
                  </a:lnTo>
                  <a:lnTo>
                    <a:pt x="366" y="13"/>
                  </a:lnTo>
                  <a:lnTo>
                    <a:pt x="366" y="13"/>
                  </a:lnTo>
                  <a:lnTo>
                    <a:pt x="364" y="15"/>
                  </a:lnTo>
                  <a:lnTo>
                    <a:pt x="364" y="17"/>
                  </a:lnTo>
                  <a:lnTo>
                    <a:pt x="364" y="19"/>
                  </a:lnTo>
                  <a:lnTo>
                    <a:pt x="362" y="24"/>
                  </a:lnTo>
                  <a:lnTo>
                    <a:pt x="362" y="24"/>
                  </a:lnTo>
                  <a:lnTo>
                    <a:pt x="362" y="24"/>
                  </a:lnTo>
                  <a:lnTo>
                    <a:pt x="359" y="24"/>
                  </a:lnTo>
                  <a:lnTo>
                    <a:pt x="359" y="24"/>
                  </a:lnTo>
                  <a:lnTo>
                    <a:pt x="355" y="26"/>
                  </a:lnTo>
                  <a:lnTo>
                    <a:pt x="355" y="26"/>
                  </a:lnTo>
                  <a:lnTo>
                    <a:pt x="353" y="28"/>
                  </a:lnTo>
                  <a:lnTo>
                    <a:pt x="349" y="32"/>
                  </a:lnTo>
                  <a:lnTo>
                    <a:pt x="349" y="34"/>
                  </a:lnTo>
                  <a:lnTo>
                    <a:pt x="349" y="34"/>
                  </a:lnTo>
                  <a:lnTo>
                    <a:pt x="349" y="45"/>
                  </a:lnTo>
                  <a:lnTo>
                    <a:pt x="349" y="47"/>
                  </a:lnTo>
                  <a:lnTo>
                    <a:pt x="349" y="47"/>
                  </a:lnTo>
                  <a:lnTo>
                    <a:pt x="347" y="49"/>
                  </a:lnTo>
                  <a:lnTo>
                    <a:pt x="345" y="53"/>
                  </a:lnTo>
                  <a:lnTo>
                    <a:pt x="345" y="53"/>
                  </a:lnTo>
                  <a:lnTo>
                    <a:pt x="345" y="53"/>
                  </a:lnTo>
                  <a:lnTo>
                    <a:pt x="345" y="55"/>
                  </a:lnTo>
                  <a:lnTo>
                    <a:pt x="345" y="55"/>
                  </a:lnTo>
                  <a:lnTo>
                    <a:pt x="345" y="57"/>
                  </a:lnTo>
                  <a:lnTo>
                    <a:pt x="345" y="57"/>
                  </a:lnTo>
                  <a:lnTo>
                    <a:pt x="343" y="62"/>
                  </a:lnTo>
                  <a:lnTo>
                    <a:pt x="345" y="66"/>
                  </a:lnTo>
                  <a:lnTo>
                    <a:pt x="343" y="68"/>
                  </a:lnTo>
                  <a:lnTo>
                    <a:pt x="343" y="70"/>
                  </a:lnTo>
                  <a:lnTo>
                    <a:pt x="343" y="72"/>
                  </a:lnTo>
                  <a:lnTo>
                    <a:pt x="341" y="74"/>
                  </a:lnTo>
                  <a:lnTo>
                    <a:pt x="341" y="74"/>
                  </a:lnTo>
                  <a:lnTo>
                    <a:pt x="340" y="74"/>
                  </a:lnTo>
                  <a:lnTo>
                    <a:pt x="334" y="72"/>
                  </a:lnTo>
                  <a:lnTo>
                    <a:pt x="332" y="70"/>
                  </a:lnTo>
                  <a:lnTo>
                    <a:pt x="330" y="72"/>
                  </a:lnTo>
                  <a:lnTo>
                    <a:pt x="330" y="72"/>
                  </a:lnTo>
                  <a:lnTo>
                    <a:pt x="328" y="74"/>
                  </a:lnTo>
                  <a:lnTo>
                    <a:pt x="328" y="76"/>
                  </a:lnTo>
                  <a:lnTo>
                    <a:pt x="328" y="78"/>
                  </a:lnTo>
                  <a:lnTo>
                    <a:pt x="328" y="79"/>
                  </a:lnTo>
                  <a:lnTo>
                    <a:pt x="328" y="79"/>
                  </a:lnTo>
                  <a:lnTo>
                    <a:pt x="321" y="78"/>
                  </a:lnTo>
                  <a:lnTo>
                    <a:pt x="319" y="74"/>
                  </a:lnTo>
                  <a:lnTo>
                    <a:pt x="317" y="74"/>
                  </a:lnTo>
                  <a:lnTo>
                    <a:pt x="315" y="74"/>
                  </a:lnTo>
                  <a:lnTo>
                    <a:pt x="315" y="74"/>
                  </a:lnTo>
                  <a:lnTo>
                    <a:pt x="315" y="74"/>
                  </a:lnTo>
                  <a:lnTo>
                    <a:pt x="313" y="76"/>
                  </a:lnTo>
                  <a:lnTo>
                    <a:pt x="311" y="78"/>
                  </a:lnTo>
                  <a:lnTo>
                    <a:pt x="309" y="78"/>
                  </a:lnTo>
                  <a:lnTo>
                    <a:pt x="307" y="78"/>
                  </a:lnTo>
                  <a:lnTo>
                    <a:pt x="305" y="78"/>
                  </a:lnTo>
                  <a:lnTo>
                    <a:pt x="303" y="78"/>
                  </a:lnTo>
                  <a:lnTo>
                    <a:pt x="301" y="76"/>
                  </a:lnTo>
                  <a:lnTo>
                    <a:pt x="300" y="76"/>
                  </a:lnTo>
                  <a:lnTo>
                    <a:pt x="296" y="81"/>
                  </a:lnTo>
                  <a:lnTo>
                    <a:pt x="292" y="83"/>
                  </a:lnTo>
                  <a:lnTo>
                    <a:pt x="292" y="85"/>
                  </a:lnTo>
                  <a:lnTo>
                    <a:pt x="290" y="87"/>
                  </a:lnTo>
                  <a:lnTo>
                    <a:pt x="290" y="91"/>
                  </a:lnTo>
                  <a:lnTo>
                    <a:pt x="290" y="93"/>
                  </a:lnTo>
                  <a:lnTo>
                    <a:pt x="288" y="93"/>
                  </a:lnTo>
                  <a:lnTo>
                    <a:pt x="288" y="93"/>
                  </a:lnTo>
                  <a:lnTo>
                    <a:pt x="288" y="95"/>
                  </a:lnTo>
                  <a:lnTo>
                    <a:pt x="288" y="95"/>
                  </a:lnTo>
                  <a:lnTo>
                    <a:pt x="288" y="97"/>
                  </a:lnTo>
                  <a:lnTo>
                    <a:pt x="288" y="97"/>
                  </a:lnTo>
                  <a:lnTo>
                    <a:pt x="288" y="98"/>
                  </a:lnTo>
                  <a:lnTo>
                    <a:pt x="286" y="98"/>
                  </a:lnTo>
                  <a:lnTo>
                    <a:pt x="284" y="97"/>
                  </a:lnTo>
                  <a:lnTo>
                    <a:pt x="279" y="93"/>
                  </a:lnTo>
                  <a:lnTo>
                    <a:pt x="271" y="89"/>
                  </a:lnTo>
                  <a:lnTo>
                    <a:pt x="271" y="87"/>
                  </a:lnTo>
                  <a:lnTo>
                    <a:pt x="271" y="87"/>
                  </a:lnTo>
                  <a:lnTo>
                    <a:pt x="273" y="85"/>
                  </a:lnTo>
                  <a:lnTo>
                    <a:pt x="273" y="83"/>
                  </a:lnTo>
                  <a:lnTo>
                    <a:pt x="275" y="83"/>
                  </a:lnTo>
                  <a:lnTo>
                    <a:pt x="273" y="79"/>
                  </a:lnTo>
                  <a:lnTo>
                    <a:pt x="273" y="78"/>
                  </a:lnTo>
                  <a:lnTo>
                    <a:pt x="273" y="78"/>
                  </a:lnTo>
                  <a:lnTo>
                    <a:pt x="269" y="78"/>
                  </a:lnTo>
                  <a:lnTo>
                    <a:pt x="267" y="76"/>
                  </a:lnTo>
                  <a:lnTo>
                    <a:pt x="265" y="76"/>
                  </a:lnTo>
                  <a:lnTo>
                    <a:pt x="263" y="78"/>
                  </a:lnTo>
                  <a:lnTo>
                    <a:pt x="261" y="78"/>
                  </a:lnTo>
                  <a:lnTo>
                    <a:pt x="260" y="78"/>
                  </a:lnTo>
                  <a:lnTo>
                    <a:pt x="258" y="76"/>
                  </a:lnTo>
                  <a:lnTo>
                    <a:pt x="258" y="74"/>
                  </a:lnTo>
                  <a:lnTo>
                    <a:pt x="256" y="72"/>
                  </a:lnTo>
                  <a:lnTo>
                    <a:pt x="256" y="64"/>
                  </a:lnTo>
                  <a:lnTo>
                    <a:pt x="256" y="62"/>
                  </a:lnTo>
                  <a:lnTo>
                    <a:pt x="254" y="62"/>
                  </a:lnTo>
                  <a:lnTo>
                    <a:pt x="252" y="62"/>
                  </a:lnTo>
                  <a:lnTo>
                    <a:pt x="250" y="60"/>
                  </a:lnTo>
                  <a:lnTo>
                    <a:pt x="250" y="60"/>
                  </a:lnTo>
                  <a:lnTo>
                    <a:pt x="248" y="60"/>
                  </a:lnTo>
                  <a:lnTo>
                    <a:pt x="250" y="60"/>
                  </a:lnTo>
                  <a:lnTo>
                    <a:pt x="250" y="59"/>
                  </a:lnTo>
                  <a:lnTo>
                    <a:pt x="250" y="59"/>
                  </a:lnTo>
                  <a:lnTo>
                    <a:pt x="250" y="57"/>
                  </a:lnTo>
                  <a:lnTo>
                    <a:pt x="248" y="59"/>
                  </a:lnTo>
                  <a:lnTo>
                    <a:pt x="246" y="59"/>
                  </a:lnTo>
                  <a:lnTo>
                    <a:pt x="242" y="62"/>
                  </a:lnTo>
                  <a:lnTo>
                    <a:pt x="237" y="62"/>
                  </a:lnTo>
                  <a:lnTo>
                    <a:pt x="233" y="57"/>
                  </a:lnTo>
                  <a:lnTo>
                    <a:pt x="231" y="55"/>
                  </a:lnTo>
                  <a:lnTo>
                    <a:pt x="231" y="55"/>
                  </a:lnTo>
                  <a:lnTo>
                    <a:pt x="221" y="55"/>
                  </a:lnTo>
                  <a:lnTo>
                    <a:pt x="221" y="55"/>
                  </a:lnTo>
                  <a:lnTo>
                    <a:pt x="220" y="57"/>
                  </a:lnTo>
                  <a:lnTo>
                    <a:pt x="220" y="59"/>
                  </a:lnTo>
                  <a:lnTo>
                    <a:pt x="218" y="60"/>
                  </a:lnTo>
                  <a:lnTo>
                    <a:pt x="218" y="60"/>
                  </a:lnTo>
                  <a:lnTo>
                    <a:pt x="218" y="64"/>
                  </a:lnTo>
                  <a:lnTo>
                    <a:pt x="218" y="66"/>
                  </a:lnTo>
                  <a:lnTo>
                    <a:pt x="216" y="66"/>
                  </a:lnTo>
                  <a:lnTo>
                    <a:pt x="214" y="66"/>
                  </a:lnTo>
                  <a:lnTo>
                    <a:pt x="214" y="68"/>
                  </a:lnTo>
                  <a:lnTo>
                    <a:pt x="214" y="68"/>
                  </a:lnTo>
                  <a:lnTo>
                    <a:pt x="214" y="68"/>
                  </a:lnTo>
                  <a:lnTo>
                    <a:pt x="214" y="70"/>
                  </a:lnTo>
                  <a:lnTo>
                    <a:pt x="214" y="70"/>
                  </a:lnTo>
                  <a:lnTo>
                    <a:pt x="214" y="72"/>
                  </a:lnTo>
                  <a:lnTo>
                    <a:pt x="214" y="76"/>
                  </a:lnTo>
                  <a:lnTo>
                    <a:pt x="214" y="76"/>
                  </a:lnTo>
                  <a:lnTo>
                    <a:pt x="214" y="78"/>
                  </a:lnTo>
                  <a:lnTo>
                    <a:pt x="210" y="78"/>
                  </a:lnTo>
                  <a:lnTo>
                    <a:pt x="210" y="78"/>
                  </a:lnTo>
                  <a:lnTo>
                    <a:pt x="208" y="76"/>
                  </a:lnTo>
                  <a:lnTo>
                    <a:pt x="206" y="76"/>
                  </a:lnTo>
                  <a:lnTo>
                    <a:pt x="206" y="78"/>
                  </a:lnTo>
                  <a:lnTo>
                    <a:pt x="206" y="78"/>
                  </a:lnTo>
                  <a:lnTo>
                    <a:pt x="204" y="79"/>
                  </a:lnTo>
                  <a:lnTo>
                    <a:pt x="204" y="79"/>
                  </a:lnTo>
                  <a:lnTo>
                    <a:pt x="202" y="81"/>
                  </a:lnTo>
                  <a:lnTo>
                    <a:pt x="200" y="83"/>
                  </a:lnTo>
                  <a:lnTo>
                    <a:pt x="200" y="81"/>
                  </a:lnTo>
                  <a:lnTo>
                    <a:pt x="199" y="81"/>
                  </a:lnTo>
                  <a:lnTo>
                    <a:pt x="199" y="81"/>
                  </a:lnTo>
                  <a:lnTo>
                    <a:pt x="197" y="81"/>
                  </a:lnTo>
                  <a:lnTo>
                    <a:pt x="195" y="81"/>
                  </a:lnTo>
                  <a:lnTo>
                    <a:pt x="189" y="81"/>
                  </a:lnTo>
                  <a:lnTo>
                    <a:pt x="187" y="83"/>
                  </a:lnTo>
                  <a:lnTo>
                    <a:pt x="181" y="83"/>
                  </a:lnTo>
                  <a:lnTo>
                    <a:pt x="180" y="83"/>
                  </a:lnTo>
                  <a:lnTo>
                    <a:pt x="180" y="85"/>
                  </a:lnTo>
                  <a:lnTo>
                    <a:pt x="180" y="85"/>
                  </a:lnTo>
                  <a:lnTo>
                    <a:pt x="178" y="85"/>
                  </a:lnTo>
                  <a:lnTo>
                    <a:pt x="178" y="87"/>
                  </a:lnTo>
                  <a:lnTo>
                    <a:pt x="170" y="89"/>
                  </a:lnTo>
                  <a:lnTo>
                    <a:pt x="168" y="91"/>
                  </a:lnTo>
                  <a:lnTo>
                    <a:pt x="168" y="91"/>
                  </a:lnTo>
                  <a:lnTo>
                    <a:pt x="168" y="93"/>
                  </a:lnTo>
                  <a:lnTo>
                    <a:pt x="168" y="93"/>
                  </a:lnTo>
                  <a:lnTo>
                    <a:pt x="168" y="93"/>
                  </a:lnTo>
                  <a:lnTo>
                    <a:pt x="166" y="95"/>
                  </a:lnTo>
                  <a:lnTo>
                    <a:pt x="162" y="98"/>
                  </a:lnTo>
                  <a:lnTo>
                    <a:pt x="162" y="98"/>
                  </a:lnTo>
                  <a:lnTo>
                    <a:pt x="160" y="98"/>
                  </a:lnTo>
                  <a:lnTo>
                    <a:pt x="160" y="97"/>
                  </a:lnTo>
                  <a:lnTo>
                    <a:pt x="162" y="95"/>
                  </a:lnTo>
                  <a:lnTo>
                    <a:pt x="162" y="93"/>
                  </a:lnTo>
                  <a:lnTo>
                    <a:pt x="160" y="93"/>
                  </a:lnTo>
                  <a:lnTo>
                    <a:pt x="155" y="95"/>
                  </a:lnTo>
                  <a:lnTo>
                    <a:pt x="153" y="97"/>
                  </a:lnTo>
                  <a:lnTo>
                    <a:pt x="151" y="97"/>
                  </a:lnTo>
                  <a:lnTo>
                    <a:pt x="149" y="98"/>
                  </a:lnTo>
                  <a:lnTo>
                    <a:pt x="145" y="97"/>
                  </a:lnTo>
                  <a:lnTo>
                    <a:pt x="143" y="97"/>
                  </a:lnTo>
                  <a:lnTo>
                    <a:pt x="143" y="95"/>
                  </a:lnTo>
                  <a:lnTo>
                    <a:pt x="141" y="89"/>
                  </a:lnTo>
                  <a:lnTo>
                    <a:pt x="141" y="89"/>
                  </a:lnTo>
                  <a:lnTo>
                    <a:pt x="141" y="89"/>
                  </a:lnTo>
                  <a:lnTo>
                    <a:pt x="141" y="89"/>
                  </a:lnTo>
                  <a:lnTo>
                    <a:pt x="140" y="89"/>
                  </a:lnTo>
                  <a:lnTo>
                    <a:pt x="138" y="89"/>
                  </a:lnTo>
                  <a:lnTo>
                    <a:pt x="138" y="83"/>
                  </a:lnTo>
                  <a:lnTo>
                    <a:pt x="136" y="83"/>
                  </a:lnTo>
                  <a:lnTo>
                    <a:pt x="136" y="83"/>
                  </a:lnTo>
                  <a:lnTo>
                    <a:pt x="134" y="83"/>
                  </a:lnTo>
                  <a:lnTo>
                    <a:pt x="134" y="83"/>
                  </a:lnTo>
                  <a:lnTo>
                    <a:pt x="132" y="85"/>
                  </a:lnTo>
                  <a:lnTo>
                    <a:pt x="130" y="85"/>
                  </a:lnTo>
                  <a:lnTo>
                    <a:pt x="126" y="89"/>
                  </a:lnTo>
                  <a:lnTo>
                    <a:pt x="124" y="89"/>
                  </a:lnTo>
                  <a:lnTo>
                    <a:pt x="124" y="91"/>
                  </a:lnTo>
                  <a:lnTo>
                    <a:pt x="122" y="95"/>
                  </a:lnTo>
                  <a:lnTo>
                    <a:pt x="122" y="95"/>
                  </a:lnTo>
                  <a:lnTo>
                    <a:pt x="120" y="95"/>
                  </a:lnTo>
                  <a:lnTo>
                    <a:pt x="119" y="95"/>
                  </a:lnTo>
                  <a:lnTo>
                    <a:pt x="119" y="95"/>
                  </a:lnTo>
                  <a:lnTo>
                    <a:pt x="117" y="95"/>
                  </a:lnTo>
                  <a:lnTo>
                    <a:pt x="117" y="93"/>
                  </a:lnTo>
                  <a:lnTo>
                    <a:pt x="115" y="93"/>
                  </a:lnTo>
                  <a:lnTo>
                    <a:pt x="115" y="93"/>
                  </a:lnTo>
                  <a:lnTo>
                    <a:pt x="115" y="95"/>
                  </a:lnTo>
                  <a:lnTo>
                    <a:pt x="115" y="95"/>
                  </a:lnTo>
                  <a:lnTo>
                    <a:pt x="111" y="97"/>
                  </a:lnTo>
                  <a:lnTo>
                    <a:pt x="111" y="98"/>
                  </a:lnTo>
                  <a:lnTo>
                    <a:pt x="111" y="98"/>
                  </a:lnTo>
                  <a:lnTo>
                    <a:pt x="111" y="100"/>
                  </a:lnTo>
                  <a:lnTo>
                    <a:pt x="109" y="102"/>
                  </a:lnTo>
                  <a:lnTo>
                    <a:pt x="107" y="102"/>
                  </a:lnTo>
                  <a:lnTo>
                    <a:pt x="107" y="102"/>
                  </a:lnTo>
                  <a:lnTo>
                    <a:pt x="105" y="102"/>
                  </a:lnTo>
                  <a:lnTo>
                    <a:pt x="105" y="102"/>
                  </a:lnTo>
                  <a:lnTo>
                    <a:pt x="103" y="100"/>
                  </a:lnTo>
                  <a:lnTo>
                    <a:pt x="103" y="100"/>
                  </a:lnTo>
                  <a:lnTo>
                    <a:pt x="101" y="98"/>
                  </a:lnTo>
                  <a:lnTo>
                    <a:pt x="101" y="98"/>
                  </a:lnTo>
                  <a:lnTo>
                    <a:pt x="99" y="97"/>
                  </a:lnTo>
                  <a:lnTo>
                    <a:pt x="96" y="95"/>
                  </a:lnTo>
                  <a:lnTo>
                    <a:pt x="96" y="93"/>
                  </a:lnTo>
                  <a:lnTo>
                    <a:pt x="94" y="93"/>
                  </a:lnTo>
                  <a:lnTo>
                    <a:pt x="92" y="91"/>
                  </a:lnTo>
                  <a:lnTo>
                    <a:pt x="90" y="89"/>
                  </a:lnTo>
                  <a:lnTo>
                    <a:pt x="90" y="87"/>
                  </a:lnTo>
                  <a:lnTo>
                    <a:pt x="90" y="85"/>
                  </a:lnTo>
                  <a:lnTo>
                    <a:pt x="92" y="85"/>
                  </a:lnTo>
                  <a:lnTo>
                    <a:pt x="92" y="81"/>
                  </a:lnTo>
                  <a:lnTo>
                    <a:pt x="90" y="79"/>
                  </a:lnTo>
                  <a:lnTo>
                    <a:pt x="90" y="79"/>
                  </a:lnTo>
                  <a:lnTo>
                    <a:pt x="88" y="79"/>
                  </a:lnTo>
                  <a:lnTo>
                    <a:pt x="88" y="79"/>
                  </a:lnTo>
                  <a:lnTo>
                    <a:pt x="86" y="79"/>
                  </a:lnTo>
                  <a:lnTo>
                    <a:pt x="86" y="81"/>
                  </a:lnTo>
                  <a:lnTo>
                    <a:pt x="86" y="81"/>
                  </a:lnTo>
                  <a:lnTo>
                    <a:pt x="84" y="79"/>
                  </a:lnTo>
                  <a:lnTo>
                    <a:pt x="84" y="79"/>
                  </a:lnTo>
                  <a:lnTo>
                    <a:pt x="84" y="79"/>
                  </a:lnTo>
                  <a:lnTo>
                    <a:pt x="82" y="79"/>
                  </a:lnTo>
                  <a:lnTo>
                    <a:pt x="82" y="79"/>
                  </a:lnTo>
                  <a:lnTo>
                    <a:pt x="80" y="79"/>
                  </a:lnTo>
                  <a:lnTo>
                    <a:pt x="80" y="79"/>
                  </a:lnTo>
                  <a:lnTo>
                    <a:pt x="79" y="81"/>
                  </a:lnTo>
                  <a:lnTo>
                    <a:pt x="79" y="81"/>
                  </a:lnTo>
                  <a:lnTo>
                    <a:pt x="79" y="83"/>
                  </a:lnTo>
                  <a:lnTo>
                    <a:pt x="79" y="83"/>
                  </a:lnTo>
                  <a:lnTo>
                    <a:pt x="79" y="85"/>
                  </a:lnTo>
                  <a:lnTo>
                    <a:pt x="79" y="85"/>
                  </a:lnTo>
                  <a:lnTo>
                    <a:pt x="77" y="85"/>
                  </a:lnTo>
                  <a:lnTo>
                    <a:pt x="77" y="83"/>
                  </a:lnTo>
                  <a:lnTo>
                    <a:pt x="77" y="83"/>
                  </a:lnTo>
                  <a:lnTo>
                    <a:pt x="77" y="81"/>
                  </a:lnTo>
                  <a:lnTo>
                    <a:pt x="77" y="81"/>
                  </a:lnTo>
                  <a:lnTo>
                    <a:pt x="75" y="81"/>
                  </a:lnTo>
                  <a:lnTo>
                    <a:pt x="75" y="81"/>
                  </a:lnTo>
                  <a:lnTo>
                    <a:pt x="75" y="81"/>
                  </a:lnTo>
                  <a:lnTo>
                    <a:pt x="75" y="83"/>
                  </a:lnTo>
                  <a:lnTo>
                    <a:pt x="75" y="83"/>
                  </a:lnTo>
                  <a:lnTo>
                    <a:pt x="75" y="85"/>
                  </a:lnTo>
                  <a:lnTo>
                    <a:pt x="75" y="85"/>
                  </a:lnTo>
                  <a:lnTo>
                    <a:pt x="73" y="85"/>
                  </a:lnTo>
                  <a:lnTo>
                    <a:pt x="73" y="85"/>
                  </a:lnTo>
                  <a:lnTo>
                    <a:pt x="71" y="83"/>
                  </a:lnTo>
                  <a:lnTo>
                    <a:pt x="71" y="81"/>
                  </a:lnTo>
                  <a:lnTo>
                    <a:pt x="69" y="76"/>
                  </a:lnTo>
                  <a:lnTo>
                    <a:pt x="65" y="70"/>
                  </a:lnTo>
                  <a:lnTo>
                    <a:pt x="63" y="68"/>
                  </a:lnTo>
                  <a:lnTo>
                    <a:pt x="63" y="68"/>
                  </a:lnTo>
                  <a:lnTo>
                    <a:pt x="63" y="68"/>
                  </a:lnTo>
                  <a:lnTo>
                    <a:pt x="61" y="68"/>
                  </a:lnTo>
                  <a:lnTo>
                    <a:pt x="61" y="72"/>
                  </a:lnTo>
                  <a:lnTo>
                    <a:pt x="61" y="72"/>
                  </a:lnTo>
                  <a:lnTo>
                    <a:pt x="61" y="74"/>
                  </a:lnTo>
                  <a:lnTo>
                    <a:pt x="59" y="74"/>
                  </a:lnTo>
                  <a:lnTo>
                    <a:pt x="59" y="74"/>
                  </a:lnTo>
                  <a:lnTo>
                    <a:pt x="58" y="74"/>
                  </a:lnTo>
                  <a:lnTo>
                    <a:pt x="58" y="76"/>
                  </a:lnTo>
                  <a:lnTo>
                    <a:pt x="56" y="78"/>
                  </a:lnTo>
                  <a:lnTo>
                    <a:pt x="54" y="78"/>
                  </a:lnTo>
                  <a:lnTo>
                    <a:pt x="50" y="78"/>
                  </a:lnTo>
                  <a:lnTo>
                    <a:pt x="48" y="79"/>
                  </a:lnTo>
                  <a:lnTo>
                    <a:pt x="48" y="79"/>
                  </a:lnTo>
                  <a:lnTo>
                    <a:pt x="46" y="79"/>
                  </a:lnTo>
                  <a:lnTo>
                    <a:pt x="44" y="78"/>
                  </a:lnTo>
                  <a:lnTo>
                    <a:pt x="44" y="78"/>
                  </a:lnTo>
                  <a:lnTo>
                    <a:pt x="42" y="79"/>
                  </a:lnTo>
                  <a:lnTo>
                    <a:pt x="40" y="81"/>
                  </a:lnTo>
                  <a:lnTo>
                    <a:pt x="39" y="81"/>
                  </a:lnTo>
                  <a:lnTo>
                    <a:pt x="33" y="81"/>
                  </a:lnTo>
                  <a:lnTo>
                    <a:pt x="27" y="81"/>
                  </a:lnTo>
                  <a:lnTo>
                    <a:pt x="19" y="79"/>
                  </a:lnTo>
                  <a:lnTo>
                    <a:pt x="18" y="79"/>
                  </a:lnTo>
                  <a:lnTo>
                    <a:pt x="10" y="79"/>
                  </a:lnTo>
                  <a:lnTo>
                    <a:pt x="8" y="81"/>
                  </a:lnTo>
                  <a:lnTo>
                    <a:pt x="6" y="81"/>
                  </a:lnTo>
                  <a:lnTo>
                    <a:pt x="6" y="83"/>
                  </a:lnTo>
                  <a:lnTo>
                    <a:pt x="6" y="83"/>
                  </a:lnTo>
                  <a:lnTo>
                    <a:pt x="6" y="83"/>
                  </a:lnTo>
                  <a:lnTo>
                    <a:pt x="6" y="85"/>
                  </a:lnTo>
                  <a:lnTo>
                    <a:pt x="6" y="85"/>
                  </a:lnTo>
                  <a:lnTo>
                    <a:pt x="6" y="85"/>
                  </a:lnTo>
                  <a:lnTo>
                    <a:pt x="6" y="87"/>
                  </a:lnTo>
                  <a:lnTo>
                    <a:pt x="6" y="89"/>
                  </a:lnTo>
                  <a:lnTo>
                    <a:pt x="8" y="91"/>
                  </a:lnTo>
                  <a:lnTo>
                    <a:pt x="8" y="91"/>
                  </a:lnTo>
                  <a:lnTo>
                    <a:pt x="10" y="93"/>
                  </a:lnTo>
                  <a:lnTo>
                    <a:pt x="10" y="95"/>
                  </a:lnTo>
                  <a:lnTo>
                    <a:pt x="10" y="95"/>
                  </a:lnTo>
                  <a:lnTo>
                    <a:pt x="10" y="97"/>
                  </a:lnTo>
                  <a:lnTo>
                    <a:pt x="10" y="97"/>
                  </a:lnTo>
                  <a:lnTo>
                    <a:pt x="10" y="98"/>
                  </a:lnTo>
                  <a:lnTo>
                    <a:pt x="8" y="100"/>
                  </a:lnTo>
                  <a:lnTo>
                    <a:pt x="8" y="102"/>
                  </a:lnTo>
                  <a:lnTo>
                    <a:pt x="8" y="102"/>
                  </a:lnTo>
                  <a:lnTo>
                    <a:pt x="8" y="104"/>
                  </a:lnTo>
                  <a:lnTo>
                    <a:pt x="8" y="104"/>
                  </a:lnTo>
                  <a:lnTo>
                    <a:pt x="6" y="106"/>
                  </a:lnTo>
                  <a:lnTo>
                    <a:pt x="6" y="106"/>
                  </a:lnTo>
                  <a:lnTo>
                    <a:pt x="4" y="110"/>
                  </a:lnTo>
                  <a:lnTo>
                    <a:pt x="2" y="112"/>
                  </a:lnTo>
                  <a:lnTo>
                    <a:pt x="2" y="114"/>
                  </a:lnTo>
                  <a:lnTo>
                    <a:pt x="0" y="119"/>
                  </a:lnTo>
                  <a:lnTo>
                    <a:pt x="4" y="119"/>
                  </a:lnTo>
                  <a:lnTo>
                    <a:pt x="10" y="121"/>
                  </a:lnTo>
                  <a:lnTo>
                    <a:pt x="10" y="121"/>
                  </a:lnTo>
                  <a:lnTo>
                    <a:pt x="12" y="121"/>
                  </a:lnTo>
                  <a:lnTo>
                    <a:pt x="12" y="123"/>
                  </a:lnTo>
                  <a:lnTo>
                    <a:pt x="16" y="125"/>
                  </a:lnTo>
                  <a:lnTo>
                    <a:pt x="16" y="125"/>
                  </a:lnTo>
                  <a:lnTo>
                    <a:pt x="18" y="127"/>
                  </a:lnTo>
                  <a:lnTo>
                    <a:pt x="18" y="127"/>
                  </a:lnTo>
                  <a:lnTo>
                    <a:pt x="18" y="131"/>
                  </a:lnTo>
                  <a:lnTo>
                    <a:pt x="18" y="133"/>
                  </a:lnTo>
                  <a:lnTo>
                    <a:pt x="18" y="135"/>
                  </a:lnTo>
                  <a:lnTo>
                    <a:pt x="18" y="137"/>
                  </a:lnTo>
                  <a:lnTo>
                    <a:pt x="19" y="137"/>
                  </a:lnTo>
                  <a:lnTo>
                    <a:pt x="19" y="140"/>
                  </a:lnTo>
                  <a:lnTo>
                    <a:pt x="33" y="152"/>
                  </a:lnTo>
                  <a:lnTo>
                    <a:pt x="35" y="154"/>
                  </a:lnTo>
                  <a:lnTo>
                    <a:pt x="37" y="157"/>
                  </a:lnTo>
                  <a:lnTo>
                    <a:pt x="37" y="157"/>
                  </a:lnTo>
                  <a:lnTo>
                    <a:pt x="37" y="159"/>
                  </a:lnTo>
                  <a:lnTo>
                    <a:pt x="37" y="159"/>
                  </a:lnTo>
                  <a:lnTo>
                    <a:pt x="35" y="163"/>
                  </a:lnTo>
                  <a:lnTo>
                    <a:pt x="35" y="163"/>
                  </a:lnTo>
                  <a:lnTo>
                    <a:pt x="35" y="165"/>
                  </a:lnTo>
                  <a:lnTo>
                    <a:pt x="35" y="165"/>
                  </a:lnTo>
                  <a:lnTo>
                    <a:pt x="37" y="167"/>
                  </a:lnTo>
                  <a:lnTo>
                    <a:pt x="37" y="171"/>
                  </a:lnTo>
                  <a:lnTo>
                    <a:pt x="39" y="173"/>
                  </a:lnTo>
                  <a:lnTo>
                    <a:pt x="39" y="173"/>
                  </a:lnTo>
                  <a:lnTo>
                    <a:pt x="40" y="175"/>
                  </a:lnTo>
                  <a:lnTo>
                    <a:pt x="40" y="175"/>
                  </a:lnTo>
                  <a:lnTo>
                    <a:pt x="42" y="175"/>
                  </a:lnTo>
                  <a:lnTo>
                    <a:pt x="42" y="175"/>
                  </a:lnTo>
                  <a:lnTo>
                    <a:pt x="44" y="175"/>
                  </a:lnTo>
                  <a:lnTo>
                    <a:pt x="44" y="175"/>
                  </a:lnTo>
                  <a:lnTo>
                    <a:pt x="46" y="175"/>
                  </a:lnTo>
                  <a:lnTo>
                    <a:pt x="46" y="175"/>
                  </a:lnTo>
                  <a:lnTo>
                    <a:pt x="52" y="176"/>
                  </a:lnTo>
                  <a:lnTo>
                    <a:pt x="54" y="176"/>
                  </a:lnTo>
                  <a:lnTo>
                    <a:pt x="54" y="176"/>
                  </a:lnTo>
                  <a:lnTo>
                    <a:pt x="54" y="176"/>
                  </a:lnTo>
                  <a:lnTo>
                    <a:pt x="54" y="176"/>
                  </a:lnTo>
                  <a:lnTo>
                    <a:pt x="54" y="176"/>
                  </a:lnTo>
                  <a:lnTo>
                    <a:pt x="54" y="173"/>
                  </a:lnTo>
                  <a:lnTo>
                    <a:pt x="54" y="173"/>
                  </a:lnTo>
                  <a:lnTo>
                    <a:pt x="54" y="171"/>
                  </a:lnTo>
                  <a:lnTo>
                    <a:pt x="54" y="171"/>
                  </a:lnTo>
                  <a:lnTo>
                    <a:pt x="54" y="171"/>
                  </a:lnTo>
                  <a:lnTo>
                    <a:pt x="54" y="171"/>
                  </a:lnTo>
                  <a:lnTo>
                    <a:pt x="56" y="171"/>
                  </a:lnTo>
                  <a:lnTo>
                    <a:pt x="56" y="171"/>
                  </a:lnTo>
                  <a:lnTo>
                    <a:pt x="56" y="169"/>
                  </a:lnTo>
                  <a:lnTo>
                    <a:pt x="58" y="169"/>
                  </a:lnTo>
                  <a:lnTo>
                    <a:pt x="58" y="169"/>
                  </a:lnTo>
                  <a:lnTo>
                    <a:pt x="59" y="169"/>
                  </a:lnTo>
                  <a:lnTo>
                    <a:pt x="59" y="169"/>
                  </a:lnTo>
                  <a:lnTo>
                    <a:pt x="59" y="171"/>
                  </a:lnTo>
                  <a:lnTo>
                    <a:pt x="61" y="171"/>
                  </a:lnTo>
                  <a:lnTo>
                    <a:pt x="61" y="173"/>
                  </a:lnTo>
                  <a:lnTo>
                    <a:pt x="61" y="173"/>
                  </a:lnTo>
                  <a:lnTo>
                    <a:pt x="63" y="176"/>
                  </a:lnTo>
                  <a:lnTo>
                    <a:pt x="63" y="176"/>
                  </a:lnTo>
                  <a:lnTo>
                    <a:pt x="63" y="178"/>
                  </a:lnTo>
                  <a:lnTo>
                    <a:pt x="61" y="178"/>
                  </a:lnTo>
                  <a:lnTo>
                    <a:pt x="61" y="180"/>
                  </a:lnTo>
                  <a:lnTo>
                    <a:pt x="61" y="180"/>
                  </a:lnTo>
                  <a:lnTo>
                    <a:pt x="58" y="184"/>
                  </a:lnTo>
                  <a:lnTo>
                    <a:pt x="58" y="184"/>
                  </a:lnTo>
                  <a:lnTo>
                    <a:pt x="58" y="186"/>
                  </a:lnTo>
                  <a:lnTo>
                    <a:pt x="56" y="186"/>
                  </a:lnTo>
                  <a:lnTo>
                    <a:pt x="58" y="188"/>
                  </a:lnTo>
                  <a:lnTo>
                    <a:pt x="58" y="188"/>
                  </a:lnTo>
                  <a:lnTo>
                    <a:pt x="58" y="190"/>
                  </a:lnTo>
                  <a:lnTo>
                    <a:pt x="58" y="190"/>
                  </a:lnTo>
                  <a:lnTo>
                    <a:pt x="56" y="194"/>
                  </a:lnTo>
                  <a:lnTo>
                    <a:pt x="56" y="194"/>
                  </a:lnTo>
                  <a:lnTo>
                    <a:pt x="56" y="195"/>
                  </a:lnTo>
                  <a:lnTo>
                    <a:pt x="56" y="195"/>
                  </a:lnTo>
                  <a:lnTo>
                    <a:pt x="56" y="197"/>
                  </a:lnTo>
                  <a:lnTo>
                    <a:pt x="58" y="197"/>
                  </a:lnTo>
                  <a:lnTo>
                    <a:pt x="58" y="197"/>
                  </a:lnTo>
                  <a:lnTo>
                    <a:pt x="58" y="197"/>
                  </a:lnTo>
                  <a:lnTo>
                    <a:pt x="59" y="195"/>
                  </a:lnTo>
                  <a:lnTo>
                    <a:pt x="61" y="194"/>
                  </a:lnTo>
                  <a:lnTo>
                    <a:pt x="61" y="194"/>
                  </a:lnTo>
                  <a:lnTo>
                    <a:pt x="63" y="195"/>
                  </a:lnTo>
                  <a:lnTo>
                    <a:pt x="63" y="195"/>
                  </a:lnTo>
                  <a:lnTo>
                    <a:pt x="63" y="197"/>
                  </a:lnTo>
                  <a:lnTo>
                    <a:pt x="65" y="203"/>
                  </a:lnTo>
                  <a:lnTo>
                    <a:pt x="63" y="211"/>
                  </a:lnTo>
                  <a:lnTo>
                    <a:pt x="63" y="214"/>
                  </a:lnTo>
                  <a:lnTo>
                    <a:pt x="63" y="218"/>
                  </a:lnTo>
                  <a:lnTo>
                    <a:pt x="65" y="220"/>
                  </a:lnTo>
                  <a:lnTo>
                    <a:pt x="69" y="224"/>
                  </a:lnTo>
                  <a:lnTo>
                    <a:pt x="69" y="224"/>
                  </a:lnTo>
                  <a:lnTo>
                    <a:pt x="69" y="226"/>
                  </a:lnTo>
                  <a:lnTo>
                    <a:pt x="71" y="228"/>
                  </a:lnTo>
                  <a:lnTo>
                    <a:pt x="71" y="230"/>
                  </a:lnTo>
                  <a:lnTo>
                    <a:pt x="71" y="232"/>
                  </a:lnTo>
                  <a:lnTo>
                    <a:pt x="71" y="233"/>
                  </a:lnTo>
                  <a:lnTo>
                    <a:pt x="71" y="233"/>
                  </a:lnTo>
                  <a:lnTo>
                    <a:pt x="73" y="233"/>
                  </a:lnTo>
                  <a:lnTo>
                    <a:pt x="73" y="233"/>
                  </a:lnTo>
                  <a:lnTo>
                    <a:pt x="73" y="233"/>
                  </a:lnTo>
                  <a:lnTo>
                    <a:pt x="75" y="233"/>
                  </a:lnTo>
                  <a:lnTo>
                    <a:pt x="75" y="233"/>
                  </a:lnTo>
                  <a:lnTo>
                    <a:pt x="75" y="233"/>
                  </a:lnTo>
                  <a:lnTo>
                    <a:pt x="75" y="233"/>
                  </a:lnTo>
                  <a:lnTo>
                    <a:pt x="75" y="233"/>
                  </a:lnTo>
                  <a:lnTo>
                    <a:pt x="75" y="232"/>
                  </a:lnTo>
                  <a:lnTo>
                    <a:pt x="75" y="232"/>
                  </a:lnTo>
                  <a:lnTo>
                    <a:pt x="75" y="232"/>
                  </a:lnTo>
                  <a:lnTo>
                    <a:pt x="77" y="232"/>
                  </a:lnTo>
                  <a:lnTo>
                    <a:pt x="79" y="233"/>
                  </a:lnTo>
                  <a:lnTo>
                    <a:pt x="80" y="233"/>
                  </a:lnTo>
                  <a:lnTo>
                    <a:pt x="80" y="233"/>
                  </a:lnTo>
                  <a:lnTo>
                    <a:pt x="82" y="233"/>
                  </a:lnTo>
                  <a:lnTo>
                    <a:pt x="82" y="233"/>
                  </a:lnTo>
                  <a:lnTo>
                    <a:pt x="84" y="233"/>
                  </a:lnTo>
                  <a:lnTo>
                    <a:pt x="84" y="233"/>
                  </a:lnTo>
                  <a:lnTo>
                    <a:pt x="84" y="233"/>
                  </a:lnTo>
                  <a:lnTo>
                    <a:pt x="86" y="233"/>
                  </a:lnTo>
                  <a:lnTo>
                    <a:pt x="86" y="233"/>
                  </a:lnTo>
                  <a:lnTo>
                    <a:pt x="88" y="233"/>
                  </a:lnTo>
                  <a:lnTo>
                    <a:pt x="88" y="233"/>
                  </a:lnTo>
                  <a:lnTo>
                    <a:pt x="90" y="235"/>
                  </a:lnTo>
                  <a:lnTo>
                    <a:pt x="92" y="235"/>
                  </a:lnTo>
                  <a:lnTo>
                    <a:pt x="92" y="235"/>
                  </a:lnTo>
                  <a:lnTo>
                    <a:pt x="92" y="239"/>
                  </a:lnTo>
                  <a:lnTo>
                    <a:pt x="92" y="239"/>
                  </a:lnTo>
                  <a:lnTo>
                    <a:pt x="94" y="241"/>
                  </a:lnTo>
                  <a:lnTo>
                    <a:pt x="94" y="243"/>
                  </a:lnTo>
                  <a:lnTo>
                    <a:pt x="94" y="243"/>
                  </a:lnTo>
                  <a:lnTo>
                    <a:pt x="94" y="245"/>
                  </a:lnTo>
                  <a:lnTo>
                    <a:pt x="94" y="247"/>
                  </a:lnTo>
                  <a:lnTo>
                    <a:pt x="92" y="247"/>
                  </a:lnTo>
                  <a:lnTo>
                    <a:pt x="92" y="249"/>
                  </a:lnTo>
                  <a:lnTo>
                    <a:pt x="88" y="251"/>
                  </a:lnTo>
                  <a:lnTo>
                    <a:pt x="86" y="253"/>
                  </a:lnTo>
                  <a:lnTo>
                    <a:pt x="86" y="253"/>
                  </a:lnTo>
                  <a:lnTo>
                    <a:pt x="84" y="253"/>
                  </a:lnTo>
                  <a:lnTo>
                    <a:pt x="84" y="254"/>
                  </a:lnTo>
                  <a:lnTo>
                    <a:pt x="82" y="254"/>
                  </a:lnTo>
                  <a:lnTo>
                    <a:pt x="82" y="254"/>
                  </a:lnTo>
                  <a:lnTo>
                    <a:pt x="82" y="256"/>
                  </a:lnTo>
                  <a:lnTo>
                    <a:pt x="80" y="256"/>
                  </a:lnTo>
                  <a:lnTo>
                    <a:pt x="80" y="262"/>
                  </a:lnTo>
                  <a:lnTo>
                    <a:pt x="79" y="262"/>
                  </a:lnTo>
                  <a:lnTo>
                    <a:pt x="79" y="264"/>
                  </a:lnTo>
                  <a:lnTo>
                    <a:pt x="75" y="266"/>
                  </a:lnTo>
                  <a:lnTo>
                    <a:pt x="73" y="268"/>
                  </a:lnTo>
                  <a:lnTo>
                    <a:pt x="71" y="270"/>
                  </a:lnTo>
                  <a:lnTo>
                    <a:pt x="71" y="270"/>
                  </a:lnTo>
                  <a:lnTo>
                    <a:pt x="69" y="270"/>
                  </a:lnTo>
                  <a:lnTo>
                    <a:pt x="67" y="270"/>
                  </a:lnTo>
                  <a:lnTo>
                    <a:pt x="67" y="270"/>
                  </a:lnTo>
                  <a:lnTo>
                    <a:pt x="65" y="270"/>
                  </a:lnTo>
                  <a:lnTo>
                    <a:pt x="63" y="272"/>
                  </a:lnTo>
                  <a:lnTo>
                    <a:pt x="63" y="273"/>
                  </a:lnTo>
                  <a:lnTo>
                    <a:pt x="63" y="273"/>
                  </a:lnTo>
                  <a:lnTo>
                    <a:pt x="61" y="273"/>
                  </a:lnTo>
                  <a:lnTo>
                    <a:pt x="59" y="273"/>
                  </a:lnTo>
                  <a:lnTo>
                    <a:pt x="59" y="275"/>
                  </a:lnTo>
                  <a:lnTo>
                    <a:pt x="59" y="275"/>
                  </a:lnTo>
                  <a:lnTo>
                    <a:pt x="59" y="275"/>
                  </a:lnTo>
                  <a:lnTo>
                    <a:pt x="59" y="277"/>
                  </a:lnTo>
                  <a:lnTo>
                    <a:pt x="58" y="279"/>
                  </a:lnTo>
                  <a:lnTo>
                    <a:pt x="61" y="281"/>
                  </a:lnTo>
                  <a:lnTo>
                    <a:pt x="65" y="281"/>
                  </a:lnTo>
                  <a:lnTo>
                    <a:pt x="67" y="283"/>
                  </a:lnTo>
                  <a:lnTo>
                    <a:pt x="73" y="291"/>
                  </a:lnTo>
                  <a:lnTo>
                    <a:pt x="73" y="292"/>
                  </a:lnTo>
                  <a:lnTo>
                    <a:pt x="75" y="292"/>
                  </a:lnTo>
                  <a:lnTo>
                    <a:pt x="75" y="294"/>
                  </a:lnTo>
                  <a:lnTo>
                    <a:pt x="79" y="296"/>
                  </a:lnTo>
                  <a:lnTo>
                    <a:pt x="79" y="298"/>
                  </a:lnTo>
                  <a:lnTo>
                    <a:pt x="79" y="298"/>
                  </a:lnTo>
                  <a:lnTo>
                    <a:pt x="80" y="298"/>
                  </a:lnTo>
                  <a:lnTo>
                    <a:pt x="82" y="298"/>
                  </a:lnTo>
                  <a:lnTo>
                    <a:pt x="88" y="300"/>
                  </a:lnTo>
                  <a:lnTo>
                    <a:pt x="90" y="300"/>
                  </a:lnTo>
                  <a:lnTo>
                    <a:pt x="99" y="300"/>
                  </a:lnTo>
                  <a:lnTo>
                    <a:pt x="99" y="300"/>
                  </a:lnTo>
                  <a:lnTo>
                    <a:pt x="105" y="296"/>
                  </a:lnTo>
                  <a:lnTo>
                    <a:pt x="107" y="296"/>
                  </a:lnTo>
                  <a:lnTo>
                    <a:pt x="107" y="296"/>
                  </a:lnTo>
                  <a:lnTo>
                    <a:pt x="107" y="296"/>
                  </a:lnTo>
                  <a:lnTo>
                    <a:pt x="107" y="294"/>
                  </a:lnTo>
                  <a:lnTo>
                    <a:pt x="107" y="294"/>
                  </a:lnTo>
                  <a:lnTo>
                    <a:pt x="107" y="292"/>
                  </a:lnTo>
                  <a:lnTo>
                    <a:pt x="107" y="292"/>
                  </a:lnTo>
                  <a:lnTo>
                    <a:pt x="107" y="292"/>
                  </a:lnTo>
                  <a:lnTo>
                    <a:pt x="109" y="291"/>
                  </a:lnTo>
                  <a:lnTo>
                    <a:pt x="111" y="291"/>
                  </a:lnTo>
                  <a:lnTo>
                    <a:pt x="128" y="291"/>
                  </a:lnTo>
                  <a:lnTo>
                    <a:pt x="130" y="291"/>
                  </a:lnTo>
                  <a:lnTo>
                    <a:pt x="132" y="291"/>
                  </a:lnTo>
                  <a:lnTo>
                    <a:pt x="132" y="289"/>
                  </a:lnTo>
                  <a:lnTo>
                    <a:pt x="132" y="289"/>
                  </a:lnTo>
                  <a:lnTo>
                    <a:pt x="134" y="289"/>
                  </a:lnTo>
                  <a:lnTo>
                    <a:pt x="136" y="289"/>
                  </a:lnTo>
                  <a:lnTo>
                    <a:pt x="136" y="289"/>
                  </a:lnTo>
                  <a:lnTo>
                    <a:pt x="141" y="291"/>
                  </a:lnTo>
                  <a:lnTo>
                    <a:pt x="145" y="291"/>
                  </a:lnTo>
                  <a:lnTo>
                    <a:pt x="145" y="291"/>
                  </a:lnTo>
                  <a:lnTo>
                    <a:pt x="147" y="291"/>
                  </a:lnTo>
                  <a:lnTo>
                    <a:pt x="147" y="289"/>
                  </a:lnTo>
                  <a:lnTo>
                    <a:pt x="149" y="289"/>
                  </a:lnTo>
                  <a:lnTo>
                    <a:pt x="149" y="289"/>
                  </a:lnTo>
                  <a:lnTo>
                    <a:pt x="153" y="289"/>
                  </a:lnTo>
                  <a:lnTo>
                    <a:pt x="153" y="289"/>
                  </a:lnTo>
                  <a:lnTo>
                    <a:pt x="157" y="285"/>
                  </a:lnTo>
                  <a:lnTo>
                    <a:pt x="159" y="283"/>
                  </a:lnTo>
                  <a:lnTo>
                    <a:pt x="162" y="289"/>
                  </a:lnTo>
                  <a:lnTo>
                    <a:pt x="162" y="294"/>
                  </a:lnTo>
                  <a:lnTo>
                    <a:pt x="162" y="298"/>
                  </a:lnTo>
                  <a:lnTo>
                    <a:pt x="162" y="300"/>
                  </a:lnTo>
                  <a:lnTo>
                    <a:pt x="162" y="302"/>
                  </a:lnTo>
                  <a:lnTo>
                    <a:pt x="162" y="304"/>
                  </a:lnTo>
                  <a:lnTo>
                    <a:pt x="162" y="306"/>
                  </a:lnTo>
                  <a:lnTo>
                    <a:pt x="157" y="311"/>
                  </a:lnTo>
                  <a:lnTo>
                    <a:pt x="155" y="317"/>
                  </a:lnTo>
                  <a:lnTo>
                    <a:pt x="153" y="319"/>
                  </a:lnTo>
                  <a:lnTo>
                    <a:pt x="153" y="321"/>
                  </a:lnTo>
                  <a:lnTo>
                    <a:pt x="153" y="321"/>
                  </a:lnTo>
                  <a:lnTo>
                    <a:pt x="153" y="323"/>
                  </a:lnTo>
                  <a:lnTo>
                    <a:pt x="153" y="323"/>
                  </a:lnTo>
                  <a:lnTo>
                    <a:pt x="153" y="323"/>
                  </a:lnTo>
                  <a:lnTo>
                    <a:pt x="157" y="321"/>
                  </a:lnTo>
                  <a:lnTo>
                    <a:pt x="159" y="321"/>
                  </a:lnTo>
                  <a:lnTo>
                    <a:pt x="159" y="321"/>
                  </a:lnTo>
                  <a:lnTo>
                    <a:pt x="160" y="321"/>
                  </a:lnTo>
                  <a:lnTo>
                    <a:pt x="162" y="321"/>
                  </a:lnTo>
                  <a:lnTo>
                    <a:pt x="164" y="323"/>
                  </a:lnTo>
                  <a:lnTo>
                    <a:pt x="170" y="327"/>
                  </a:lnTo>
                  <a:lnTo>
                    <a:pt x="172" y="329"/>
                  </a:lnTo>
                  <a:lnTo>
                    <a:pt x="174" y="330"/>
                  </a:lnTo>
                  <a:lnTo>
                    <a:pt x="174" y="330"/>
                  </a:lnTo>
                  <a:lnTo>
                    <a:pt x="174" y="330"/>
                  </a:lnTo>
                  <a:lnTo>
                    <a:pt x="176" y="330"/>
                  </a:lnTo>
                  <a:lnTo>
                    <a:pt x="180" y="325"/>
                  </a:lnTo>
                  <a:lnTo>
                    <a:pt x="183" y="321"/>
                  </a:lnTo>
                  <a:lnTo>
                    <a:pt x="185" y="319"/>
                  </a:lnTo>
                  <a:lnTo>
                    <a:pt x="189" y="319"/>
                  </a:lnTo>
                  <a:lnTo>
                    <a:pt x="191" y="317"/>
                  </a:lnTo>
                  <a:lnTo>
                    <a:pt x="191" y="317"/>
                  </a:lnTo>
                  <a:lnTo>
                    <a:pt x="193" y="317"/>
                  </a:lnTo>
                  <a:lnTo>
                    <a:pt x="193" y="317"/>
                  </a:lnTo>
                  <a:lnTo>
                    <a:pt x="195" y="317"/>
                  </a:lnTo>
                  <a:lnTo>
                    <a:pt x="197" y="317"/>
                  </a:lnTo>
                  <a:lnTo>
                    <a:pt x="204" y="323"/>
                  </a:lnTo>
                  <a:lnTo>
                    <a:pt x="210" y="325"/>
                  </a:lnTo>
                  <a:lnTo>
                    <a:pt x="214" y="325"/>
                  </a:lnTo>
                  <a:lnTo>
                    <a:pt x="216" y="325"/>
                  </a:lnTo>
                  <a:lnTo>
                    <a:pt x="218" y="325"/>
                  </a:lnTo>
                  <a:lnTo>
                    <a:pt x="220" y="325"/>
                  </a:lnTo>
                  <a:lnTo>
                    <a:pt x="220" y="325"/>
                  </a:lnTo>
                  <a:lnTo>
                    <a:pt x="221" y="323"/>
                  </a:lnTo>
                  <a:lnTo>
                    <a:pt x="221" y="323"/>
                  </a:lnTo>
                  <a:lnTo>
                    <a:pt x="223" y="323"/>
                  </a:lnTo>
                  <a:lnTo>
                    <a:pt x="223" y="321"/>
                  </a:lnTo>
                  <a:lnTo>
                    <a:pt x="225" y="321"/>
                  </a:lnTo>
                  <a:lnTo>
                    <a:pt x="227" y="321"/>
                  </a:lnTo>
                  <a:lnTo>
                    <a:pt x="227" y="321"/>
                  </a:lnTo>
                  <a:lnTo>
                    <a:pt x="227" y="321"/>
                  </a:lnTo>
                  <a:lnTo>
                    <a:pt x="227" y="323"/>
                  </a:lnTo>
                  <a:lnTo>
                    <a:pt x="227" y="323"/>
                  </a:lnTo>
                  <a:lnTo>
                    <a:pt x="225" y="325"/>
                  </a:lnTo>
                  <a:lnTo>
                    <a:pt x="225" y="327"/>
                  </a:lnTo>
                  <a:lnTo>
                    <a:pt x="225" y="327"/>
                  </a:lnTo>
                  <a:lnTo>
                    <a:pt x="225" y="329"/>
                  </a:lnTo>
                  <a:lnTo>
                    <a:pt x="225" y="329"/>
                  </a:lnTo>
                  <a:lnTo>
                    <a:pt x="225" y="330"/>
                  </a:lnTo>
                  <a:lnTo>
                    <a:pt x="225" y="332"/>
                  </a:lnTo>
                  <a:lnTo>
                    <a:pt x="231" y="334"/>
                  </a:lnTo>
                  <a:lnTo>
                    <a:pt x="235" y="334"/>
                  </a:lnTo>
                  <a:lnTo>
                    <a:pt x="237" y="332"/>
                  </a:lnTo>
                  <a:lnTo>
                    <a:pt x="239" y="330"/>
                  </a:lnTo>
                  <a:lnTo>
                    <a:pt x="242" y="325"/>
                  </a:lnTo>
                  <a:lnTo>
                    <a:pt x="242" y="323"/>
                  </a:lnTo>
                  <a:lnTo>
                    <a:pt x="244" y="323"/>
                  </a:lnTo>
                  <a:lnTo>
                    <a:pt x="244" y="323"/>
                  </a:lnTo>
                  <a:lnTo>
                    <a:pt x="242" y="321"/>
                  </a:lnTo>
                  <a:lnTo>
                    <a:pt x="242" y="319"/>
                  </a:lnTo>
                  <a:lnTo>
                    <a:pt x="244" y="319"/>
                  </a:lnTo>
                  <a:lnTo>
                    <a:pt x="244" y="315"/>
                  </a:lnTo>
                  <a:lnTo>
                    <a:pt x="244" y="315"/>
                  </a:lnTo>
                  <a:lnTo>
                    <a:pt x="244" y="313"/>
                  </a:lnTo>
                  <a:lnTo>
                    <a:pt x="242" y="310"/>
                  </a:lnTo>
                  <a:lnTo>
                    <a:pt x="242" y="310"/>
                  </a:lnTo>
                  <a:lnTo>
                    <a:pt x="242" y="308"/>
                  </a:lnTo>
                  <a:lnTo>
                    <a:pt x="242" y="306"/>
                  </a:lnTo>
                  <a:lnTo>
                    <a:pt x="244" y="304"/>
                  </a:lnTo>
                  <a:lnTo>
                    <a:pt x="244" y="302"/>
                  </a:lnTo>
                  <a:lnTo>
                    <a:pt x="244" y="300"/>
                  </a:lnTo>
                  <a:lnTo>
                    <a:pt x="244" y="294"/>
                  </a:lnTo>
                  <a:lnTo>
                    <a:pt x="244" y="292"/>
                  </a:lnTo>
                  <a:lnTo>
                    <a:pt x="244" y="291"/>
                  </a:lnTo>
                  <a:lnTo>
                    <a:pt x="240" y="289"/>
                  </a:lnTo>
                  <a:lnTo>
                    <a:pt x="240" y="287"/>
                  </a:lnTo>
                  <a:lnTo>
                    <a:pt x="240" y="285"/>
                  </a:lnTo>
                  <a:lnTo>
                    <a:pt x="240" y="283"/>
                  </a:lnTo>
                  <a:lnTo>
                    <a:pt x="240" y="283"/>
                  </a:lnTo>
                  <a:lnTo>
                    <a:pt x="240" y="283"/>
                  </a:lnTo>
                  <a:lnTo>
                    <a:pt x="240" y="283"/>
                  </a:lnTo>
                  <a:lnTo>
                    <a:pt x="240" y="283"/>
                  </a:lnTo>
                  <a:lnTo>
                    <a:pt x="242" y="283"/>
                  </a:lnTo>
                  <a:lnTo>
                    <a:pt x="242" y="281"/>
                  </a:lnTo>
                  <a:lnTo>
                    <a:pt x="244" y="281"/>
                  </a:lnTo>
                  <a:lnTo>
                    <a:pt x="244" y="281"/>
                  </a:lnTo>
                  <a:lnTo>
                    <a:pt x="246" y="281"/>
                  </a:lnTo>
                  <a:lnTo>
                    <a:pt x="246" y="281"/>
                  </a:lnTo>
                  <a:lnTo>
                    <a:pt x="248" y="279"/>
                  </a:lnTo>
                  <a:lnTo>
                    <a:pt x="248" y="277"/>
                  </a:lnTo>
                  <a:lnTo>
                    <a:pt x="250" y="277"/>
                  </a:lnTo>
                  <a:lnTo>
                    <a:pt x="250" y="277"/>
                  </a:lnTo>
                  <a:lnTo>
                    <a:pt x="252" y="277"/>
                  </a:lnTo>
                  <a:lnTo>
                    <a:pt x="252" y="279"/>
                  </a:lnTo>
                  <a:lnTo>
                    <a:pt x="256" y="283"/>
                  </a:lnTo>
                  <a:lnTo>
                    <a:pt x="271" y="291"/>
                  </a:lnTo>
                  <a:lnTo>
                    <a:pt x="273" y="292"/>
                  </a:lnTo>
                  <a:lnTo>
                    <a:pt x="275" y="294"/>
                  </a:lnTo>
                  <a:lnTo>
                    <a:pt x="275" y="296"/>
                  </a:lnTo>
                  <a:lnTo>
                    <a:pt x="277" y="298"/>
                  </a:lnTo>
                  <a:lnTo>
                    <a:pt x="279" y="298"/>
                  </a:lnTo>
                  <a:lnTo>
                    <a:pt x="281" y="300"/>
                  </a:lnTo>
                  <a:lnTo>
                    <a:pt x="281" y="300"/>
                  </a:lnTo>
                  <a:lnTo>
                    <a:pt x="282" y="302"/>
                  </a:lnTo>
                  <a:lnTo>
                    <a:pt x="284" y="302"/>
                  </a:lnTo>
                  <a:lnTo>
                    <a:pt x="286" y="300"/>
                  </a:lnTo>
                  <a:lnTo>
                    <a:pt x="290" y="300"/>
                  </a:lnTo>
                  <a:lnTo>
                    <a:pt x="290" y="300"/>
                  </a:lnTo>
                  <a:lnTo>
                    <a:pt x="292" y="300"/>
                  </a:lnTo>
                  <a:lnTo>
                    <a:pt x="292" y="300"/>
                  </a:lnTo>
                  <a:lnTo>
                    <a:pt x="301" y="306"/>
                  </a:lnTo>
                  <a:lnTo>
                    <a:pt x="305" y="310"/>
                  </a:lnTo>
                  <a:lnTo>
                    <a:pt x="309" y="311"/>
                  </a:lnTo>
                  <a:lnTo>
                    <a:pt x="309" y="311"/>
                  </a:lnTo>
                  <a:lnTo>
                    <a:pt x="311" y="310"/>
                  </a:lnTo>
                  <a:lnTo>
                    <a:pt x="313" y="310"/>
                  </a:lnTo>
                  <a:lnTo>
                    <a:pt x="313" y="308"/>
                  </a:lnTo>
                  <a:lnTo>
                    <a:pt x="313" y="308"/>
                  </a:lnTo>
                  <a:lnTo>
                    <a:pt x="315" y="310"/>
                  </a:lnTo>
                  <a:lnTo>
                    <a:pt x="317" y="310"/>
                  </a:lnTo>
                  <a:lnTo>
                    <a:pt x="317" y="308"/>
                  </a:lnTo>
                  <a:lnTo>
                    <a:pt x="317" y="308"/>
                  </a:lnTo>
                  <a:lnTo>
                    <a:pt x="317" y="306"/>
                  </a:lnTo>
                  <a:lnTo>
                    <a:pt x="317" y="306"/>
                  </a:lnTo>
                  <a:lnTo>
                    <a:pt x="319" y="304"/>
                  </a:lnTo>
                  <a:lnTo>
                    <a:pt x="319" y="304"/>
                  </a:lnTo>
                  <a:lnTo>
                    <a:pt x="322" y="304"/>
                  </a:lnTo>
                  <a:lnTo>
                    <a:pt x="324" y="304"/>
                  </a:lnTo>
                  <a:lnTo>
                    <a:pt x="324" y="304"/>
                  </a:lnTo>
                  <a:lnTo>
                    <a:pt x="324" y="302"/>
                  </a:lnTo>
                  <a:lnTo>
                    <a:pt x="322" y="300"/>
                  </a:lnTo>
                  <a:lnTo>
                    <a:pt x="321" y="300"/>
                  </a:lnTo>
                  <a:lnTo>
                    <a:pt x="321" y="298"/>
                  </a:lnTo>
                  <a:lnTo>
                    <a:pt x="319" y="296"/>
                  </a:lnTo>
                  <a:lnTo>
                    <a:pt x="319" y="294"/>
                  </a:lnTo>
                  <a:lnTo>
                    <a:pt x="319" y="292"/>
                  </a:lnTo>
                  <a:lnTo>
                    <a:pt x="317" y="291"/>
                  </a:lnTo>
                  <a:lnTo>
                    <a:pt x="317" y="289"/>
                  </a:lnTo>
                  <a:lnTo>
                    <a:pt x="313" y="289"/>
                  </a:lnTo>
                  <a:lnTo>
                    <a:pt x="313" y="287"/>
                  </a:lnTo>
                  <a:lnTo>
                    <a:pt x="313" y="287"/>
                  </a:lnTo>
                  <a:lnTo>
                    <a:pt x="311" y="285"/>
                  </a:lnTo>
                  <a:lnTo>
                    <a:pt x="311" y="285"/>
                  </a:lnTo>
                  <a:lnTo>
                    <a:pt x="311" y="283"/>
                  </a:lnTo>
                  <a:lnTo>
                    <a:pt x="311" y="283"/>
                  </a:lnTo>
                  <a:lnTo>
                    <a:pt x="311" y="283"/>
                  </a:lnTo>
                  <a:lnTo>
                    <a:pt x="311" y="283"/>
                  </a:lnTo>
                  <a:lnTo>
                    <a:pt x="311" y="283"/>
                  </a:lnTo>
                  <a:lnTo>
                    <a:pt x="313" y="283"/>
                  </a:lnTo>
                  <a:lnTo>
                    <a:pt x="315" y="283"/>
                  </a:lnTo>
                  <a:lnTo>
                    <a:pt x="315" y="283"/>
                  </a:lnTo>
                  <a:lnTo>
                    <a:pt x="315" y="283"/>
                  </a:lnTo>
                  <a:lnTo>
                    <a:pt x="317" y="283"/>
                  </a:lnTo>
                  <a:lnTo>
                    <a:pt x="317" y="281"/>
                  </a:lnTo>
                  <a:lnTo>
                    <a:pt x="315" y="281"/>
                  </a:lnTo>
                  <a:lnTo>
                    <a:pt x="315" y="279"/>
                  </a:lnTo>
                  <a:lnTo>
                    <a:pt x="315" y="277"/>
                  </a:lnTo>
                  <a:lnTo>
                    <a:pt x="313" y="275"/>
                  </a:lnTo>
                  <a:lnTo>
                    <a:pt x="311" y="275"/>
                  </a:lnTo>
                  <a:lnTo>
                    <a:pt x="309" y="273"/>
                  </a:lnTo>
                  <a:lnTo>
                    <a:pt x="305" y="273"/>
                  </a:lnTo>
                  <a:lnTo>
                    <a:pt x="303" y="273"/>
                  </a:lnTo>
                  <a:lnTo>
                    <a:pt x="301" y="273"/>
                  </a:lnTo>
                  <a:lnTo>
                    <a:pt x="301" y="272"/>
                  </a:lnTo>
                  <a:lnTo>
                    <a:pt x="301" y="270"/>
                  </a:lnTo>
                  <a:lnTo>
                    <a:pt x="300" y="266"/>
                  </a:lnTo>
                  <a:lnTo>
                    <a:pt x="294" y="260"/>
                  </a:lnTo>
                  <a:lnTo>
                    <a:pt x="292" y="258"/>
                  </a:lnTo>
                  <a:lnTo>
                    <a:pt x="292" y="258"/>
                  </a:lnTo>
                  <a:lnTo>
                    <a:pt x="290" y="258"/>
                  </a:lnTo>
                  <a:lnTo>
                    <a:pt x="290" y="258"/>
                  </a:lnTo>
                  <a:lnTo>
                    <a:pt x="288" y="258"/>
                  </a:lnTo>
                  <a:lnTo>
                    <a:pt x="282" y="254"/>
                  </a:lnTo>
                  <a:lnTo>
                    <a:pt x="282" y="253"/>
                  </a:lnTo>
                  <a:lnTo>
                    <a:pt x="282" y="253"/>
                  </a:lnTo>
                  <a:lnTo>
                    <a:pt x="282" y="249"/>
                  </a:lnTo>
                  <a:lnTo>
                    <a:pt x="282" y="247"/>
                  </a:lnTo>
                  <a:lnTo>
                    <a:pt x="282" y="247"/>
                  </a:lnTo>
                  <a:lnTo>
                    <a:pt x="284" y="243"/>
                  </a:lnTo>
                  <a:lnTo>
                    <a:pt x="284" y="243"/>
                  </a:lnTo>
                  <a:lnTo>
                    <a:pt x="284" y="241"/>
                  </a:lnTo>
                  <a:lnTo>
                    <a:pt x="284" y="241"/>
                  </a:lnTo>
                  <a:lnTo>
                    <a:pt x="284" y="239"/>
                  </a:lnTo>
                  <a:lnTo>
                    <a:pt x="284" y="239"/>
                  </a:lnTo>
                  <a:lnTo>
                    <a:pt x="286" y="237"/>
                  </a:lnTo>
                  <a:lnTo>
                    <a:pt x="288" y="237"/>
                  </a:lnTo>
                  <a:lnTo>
                    <a:pt x="288" y="235"/>
                  </a:lnTo>
                  <a:lnTo>
                    <a:pt x="290" y="235"/>
                  </a:lnTo>
                  <a:lnTo>
                    <a:pt x="292" y="235"/>
                  </a:lnTo>
                  <a:lnTo>
                    <a:pt x="292" y="235"/>
                  </a:lnTo>
                  <a:lnTo>
                    <a:pt x="292" y="235"/>
                  </a:lnTo>
                  <a:lnTo>
                    <a:pt x="292" y="235"/>
                  </a:lnTo>
                  <a:lnTo>
                    <a:pt x="292" y="233"/>
                  </a:lnTo>
                  <a:lnTo>
                    <a:pt x="292" y="233"/>
                  </a:lnTo>
                  <a:lnTo>
                    <a:pt x="290" y="233"/>
                  </a:lnTo>
                  <a:lnTo>
                    <a:pt x="288" y="233"/>
                  </a:lnTo>
                  <a:lnTo>
                    <a:pt x="288" y="233"/>
                  </a:lnTo>
                  <a:lnTo>
                    <a:pt x="288" y="233"/>
                  </a:lnTo>
                  <a:lnTo>
                    <a:pt x="288" y="233"/>
                  </a:lnTo>
                  <a:lnTo>
                    <a:pt x="288" y="233"/>
                  </a:lnTo>
                  <a:lnTo>
                    <a:pt x="288" y="233"/>
                  </a:lnTo>
                  <a:lnTo>
                    <a:pt x="275" y="232"/>
                  </a:lnTo>
                  <a:lnTo>
                    <a:pt x="269" y="232"/>
                  </a:lnTo>
                  <a:lnTo>
                    <a:pt x="265" y="232"/>
                  </a:lnTo>
                  <a:lnTo>
                    <a:pt x="265" y="232"/>
                  </a:lnTo>
                  <a:lnTo>
                    <a:pt x="263" y="233"/>
                  </a:lnTo>
                  <a:lnTo>
                    <a:pt x="261" y="233"/>
                  </a:lnTo>
                  <a:lnTo>
                    <a:pt x="261" y="232"/>
                  </a:lnTo>
                  <a:lnTo>
                    <a:pt x="260" y="230"/>
                  </a:lnTo>
                  <a:lnTo>
                    <a:pt x="248" y="218"/>
                  </a:lnTo>
                  <a:lnTo>
                    <a:pt x="246" y="216"/>
                  </a:lnTo>
                  <a:lnTo>
                    <a:pt x="244" y="216"/>
                  </a:lnTo>
                  <a:lnTo>
                    <a:pt x="242" y="214"/>
                  </a:lnTo>
                  <a:lnTo>
                    <a:pt x="240" y="214"/>
                  </a:lnTo>
                  <a:lnTo>
                    <a:pt x="237" y="216"/>
                  </a:lnTo>
                  <a:lnTo>
                    <a:pt x="235" y="216"/>
                  </a:lnTo>
                  <a:lnTo>
                    <a:pt x="235" y="216"/>
                  </a:lnTo>
                  <a:lnTo>
                    <a:pt x="235" y="216"/>
                  </a:lnTo>
                  <a:lnTo>
                    <a:pt x="235" y="214"/>
                  </a:lnTo>
                  <a:lnTo>
                    <a:pt x="235" y="213"/>
                  </a:lnTo>
                  <a:lnTo>
                    <a:pt x="231" y="209"/>
                  </a:lnTo>
                  <a:lnTo>
                    <a:pt x="231" y="207"/>
                  </a:lnTo>
                  <a:lnTo>
                    <a:pt x="231" y="205"/>
                  </a:lnTo>
                  <a:lnTo>
                    <a:pt x="231" y="203"/>
                  </a:lnTo>
                  <a:lnTo>
                    <a:pt x="233" y="201"/>
                  </a:lnTo>
                  <a:lnTo>
                    <a:pt x="235" y="199"/>
                  </a:lnTo>
                  <a:lnTo>
                    <a:pt x="235" y="197"/>
                  </a:lnTo>
                  <a:lnTo>
                    <a:pt x="235" y="197"/>
                  </a:lnTo>
                  <a:lnTo>
                    <a:pt x="235" y="194"/>
                  </a:lnTo>
                  <a:lnTo>
                    <a:pt x="235" y="194"/>
                  </a:lnTo>
                  <a:lnTo>
                    <a:pt x="237" y="192"/>
                  </a:lnTo>
                  <a:lnTo>
                    <a:pt x="237" y="192"/>
                  </a:lnTo>
                  <a:lnTo>
                    <a:pt x="235" y="190"/>
                  </a:lnTo>
                  <a:lnTo>
                    <a:pt x="235" y="190"/>
                  </a:lnTo>
                  <a:lnTo>
                    <a:pt x="231" y="190"/>
                  </a:lnTo>
                  <a:lnTo>
                    <a:pt x="231" y="190"/>
                  </a:lnTo>
                  <a:lnTo>
                    <a:pt x="231" y="190"/>
                  </a:lnTo>
                  <a:lnTo>
                    <a:pt x="231" y="188"/>
                  </a:lnTo>
                  <a:lnTo>
                    <a:pt x="229" y="188"/>
                  </a:lnTo>
                  <a:lnTo>
                    <a:pt x="229" y="186"/>
                  </a:lnTo>
                  <a:lnTo>
                    <a:pt x="229" y="186"/>
                  </a:lnTo>
                  <a:lnTo>
                    <a:pt x="229" y="184"/>
                  </a:lnTo>
                  <a:lnTo>
                    <a:pt x="231" y="184"/>
                  </a:lnTo>
                  <a:lnTo>
                    <a:pt x="237" y="182"/>
                  </a:lnTo>
                  <a:lnTo>
                    <a:pt x="239" y="182"/>
                  </a:lnTo>
                  <a:lnTo>
                    <a:pt x="240" y="182"/>
                  </a:lnTo>
                  <a:lnTo>
                    <a:pt x="246" y="182"/>
                  </a:lnTo>
                  <a:lnTo>
                    <a:pt x="246" y="182"/>
                  </a:lnTo>
                  <a:lnTo>
                    <a:pt x="246" y="182"/>
                  </a:lnTo>
                  <a:lnTo>
                    <a:pt x="248" y="180"/>
                  </a:lnTo>
                  <a:lnTo>
                    <a:pt x="246" y="180"/>
                  </a:lnTo>
                  <a:lnTo>
                    <a:pt x="246" y="176"/>
                  </a:lnTo>
                  <a:lnTo>
                    <a:pt x="246" y="175"/>
                  </a:lnTo>
                  <a:lnTo>
                    <a:pt x="246" y="175"/>
                  </a:lnTo>
                  <a:lnTo>
                    <a:pt x="246" y="175"/>
                  </a:lnTo>
                  <a:lnTo>
                    <a:pt x="248" y="173"/>
                  </a:lnTo>
                  <a:lnTo>
                    <a:pt x="248" y="173"/>
                  </a:lnTo>
                  <a:lnTo>
                    <a:pt x="250" y="173"/>
                  </a:lnTo>
                  <a:lnTo>
                    <a:pt x="252" y="173"/>
                  </a:lnTo>
                  <a:lnTo>
                    <a:pt x="256" y="175"/>
                  </a:lnTo>
                  <a:lnTo>
                    <a:pt x="258" y="175"/>
                  </a:lnTo>
                  <a:lnTo>
                    <a:pt x="258" y="176"/>
                  </a:lnTo>
                  <a:lnTo>
                    <a:pt x="258" y="182"/>
                  </a:lnTo>
                  <a:lnTo>
                    <a:pt x="258" y="184"/>
                  </a:lnTo>
                  <a:lnTo>
                    <a:pt x="258" y="184"/>
                  </a:lnTo>
                  <a:lnTo>
                    <a:pt x="258" y="184"/>
                  </a:lnTo>
                  <a:lnTo>
                    <a:pt x="258" y="184"/>
                  </a:lnTo>
                  <a:lnTo>
                    <a:pt x="258" y="184"/>
                  </a:lnTo>
                  <a:lnTo>
                    <a:pt x="260" y="184"/>
                  </a:lnTo>
                  <a:lnTo>
                    <a:pt x="260" y="184"/>
                  </a:lnTo>
                  <a:lnTo>
                    <a:pt x="263" y="186"/>
                  </a:lnTo>
                  <a:lnTo>
                    <a:pt x="265" y="188"/>
                  </a:lnTo>
                  <a:lnTo>
                    <a:pt x="265" y="188"/>
                  </a:lnTo>
                  <a:lnTo>
                    <a:pt x="267" y="190"/>
                  </a:lnTo>
                  <a:lnTo>
                    <a:pt x="269" y="190"/>
                  </a:lnTo>
                  <a:lnTo>
                    <a:pt x="271" y="188"/>
                  </a:lnTo>
                  <a:lnTo>
                    <a:pt x="273" y="186"/>
                  </a:lnTo>
                  <a:lnTo>
                    <a:pt x="275" y="184"/>
                  </a:lnTo>
                  <a:lnTo>
                    <a:pt x="275" y="184"/>
                  </a:lnTo>
                  <a:lnTo>
                    <a:pt x="277" y="184"/>
                  </a:lnTo>
                  <a:lnTo>
                    <a:pt x="277" y="184"/>
                  </a:lnTo>
                  <a:lnTo>
                    <a:pt x="277" y="184"/>
                  </a:lnTo>
                  <a:lnTo>
                    <a:pt x="277" y="182"/>
                  </a:lnTo>
                  <a:lnTo>
                    <a:pt x="277" y="182"/>
                  </a:lnTo>
                  <a:lnTo>
                    <a:pt x="277" y="182"/>
                  </a:lnTo>
                  <a:lnTo>
                    <a:pt x="277" y="180"/>
                  </a:lnTo>
                  <a:lnTo>
                    <a:pt x="277" y="178"/>
                  </a:lnTo>
                  <a:lnTo>
                    <a:pt x="277" y="178"/>
                  </a:lnTo>
                  <a:lnTo>
                    <a:pt x="279" y="176"/>
                  </a:lnTo>
                  <a:lnTo>
                    <a:pt x="279" y="175"/>
                  </a:lnTo>
                  <a:lnTo>
                    <a:pt x="281" y="173"/>
                  </a:lnTo>
                  <a:lnTo>
                    <a:pt x="284" y="171"/>
                  </a:lnTo>
                  <a:lnTo>
                    <a:pt x="288" y="169"/>
                  </a:lnTo>
                  <a:lnTo>
                    <a:pt x="296" y="167"/>
                  </a:lnTo>
                  <a:lnTo>
                    <a:pt x="300" y="165"/>
                  </a:lnTo>
                  <a:lnTo>
                    <a:pt x="305" y="163"/>
                  </a:lnTo>
                  <a:lnTo>
                    <a:pt x="317" y="161"/>
                  </a:lnTo>
                  <a:lnTo>
                    <a:pt x="321" y="161"/>
                  </a:lnTo>
                  <a:lnTo>
                    <a:pt x="321" y="157"/>
                  </a:lnTo>
                  <a:lnTo>
                    <a:pt x="322" y="156"/>
                  </a:lnTo>
                  <a:lnTo>
                    <a:pt x="321" y="154"/>
                  </a:lnTo>
                  <a:lnTo>
                    <a:pt x="321" y="152"/>
                  </a:lnTo>
                  <a:lnTo>
                    <a:pt x="321" y="152"/>
                  </a:lnTo>
                  <a:lnTo>
                    <a:pt x="321" y="152"/>
                  </a:lnTo>
                  <a:lnTo>
                    <a:pt x="321" y="150"/>
                  </a:lnTo>
                  <a:lnTo>
                    <a:pt x="322" y="148"/>
                  </a:lnTo>
                  <a:lnTo>
                    <a:pt x="322" y="148"/>
                  </a:lnTo>
                  <a:lnTo>
                    <a:pt x="324" y="146"/>
                  </a:lnTo>
                  <a:lnTo>
                    <a:pt x="324" y="146"/>
                  </a:lnTo>
                  <a:lnTo>
                    <a:pt x="324" y="144"/>
                  </a:lnTo>
                  <a:lnTo>
                    <a:pt x="324" y="144"/>
                  </a:lnTo>
                  <a:lnTo>
                    <a:pt x="326" y="144"/>
                  </a:lnTo>
                  <a:lnTo>
                    <a:pt x="326" y="142"/>
                  </a:lnTo>
                  <a:lnTo>
                    <a:pt x="326" y="142"/>
                  </a:lnTo>
                  <a:lnTo>
                    <a:pt x="326" y="142"/>
                  </a:lnTo>
                  <a:lnTo>
                    <a:pt x="328" y="142"/>
                  </a:lnTo>
                  <a:lnTo>
                    <a:pt x="330" y="142"/>
                  </a:lnTo>
                  <a:lnTo>
                    <a:pt x="334" y="146"/>
                  </a:lnTo>
                  <a:lnTo>
                    <a:pt x="336" y="146"/>
                  </a:lnTo>
                  <a:lnTo>
                    <a:pt x="338" y="146"/>
                  </a:lnTo>
                  <a:lnTo>
                    <a:pt x="340" y="146"/>
                  </a:lnTo>
                  <a:lnTo>
                    <a:pt x="340" y="148"/>
                  </a:lnTo>
                  <a:lnTo>
                    <a:pt x="341" y="150"/>
                  </a:lnTo>
                  <a:lnTo>
                    <a:pt x="343" y="150"/>
                  </a:lnTo>
                  <a:lnTo>
                    <a:pt x="345" y="152"/>
                  </a:lnTo>
                  <a:lnTo>
                    <a:pt x="351" y="154"/>
                  </a:lnTo>
                  <a:lnTo>
                    <a:pt x="353" y="152"/>
                  </a:lnTo>
                  <a:lnTo>
                    <a:pt x="353" y="150"/>
                  </a:lnTo>
                  <a:lnTo>
                    <a:pt x="353" y="150"/>
                  </a:lnTo>
                  <a:lnTo>
                    <a:pt x="353" y="150"/>
                  </a:lnTo>
                  <a:lnTo>
                    <a:pt x="351" y="148"/>
                  </a:lnTo>
                  <a:lnTo>
                    <a:pt x="351" y="148"/>
                  </a:lnTo>
                  <a:lnTo>
                    <a:pt x="351" y="146"/>
                  </a:lnTo>
                  <a:lnTo>
                    <a:pt x="351" y="146"/>
                  </a:lnTo>
                  <a:lnTo>
                    <a:pt x="351" y="146"/>
                  </a:lnTo>
                  <a:lnTo>
                    <a:pt x="353" y="144"/>
                  </a:lnTo>
                  <a:lnTo>
                    <a:pt x="353" y="146"/>
                  </a:lnTo>
                  <a:lnTo>
                    <a:pt x="355" y="146"/>
                  </a:lnTo>
                  <a:lnTo>
                    <a:pt x="357" y="146"/>
                  </a:lnTo>
                  <a:lnTo>
                    <a:pt x="357" y="146"/>
                  </a:lnTo>
                  <a:lnTo>
                    <a:pt x="359" y="146"/>
                  </a:lnTo>
                  <a:lnTo>
                    <a:pt x="359" y="148"/>
                  </a:lnTo>
                  <a:lnTo>
                    <a:pt x="359" y="148"/>
                  </a:lnTo>
                  <a:lnTo>
                    <a:pt x="361" y="148"/>
                  </a:lnTo>
                  <a:lnTo>
                    <a:pt x="361" y="146"/>
                  </a:lnTo>
                  <a:lnTo>
                    <a:pt x="361" y="146"/>
                  </a:lnTo>
                  <a:lnTo>
                    <a:pt x="361" y="144"/>
                  </a:lnTo>
                  <a:lnTo>
                    <a:pt x="361" y="142"/>
                  </a:lnTo>
                  <a:lnTo>
                    <a:pt x="362" y="142"/>
                  </a:lnTo>
                  <a:lnTo>
                    <a:pt x="362" y="142"/>
                  </a:lnTo>
                  <a:lnTo>
                    <a:pt x="364" y="142"/>
                  </a:lnTo>
                  <a:lnTo>
                    <a:pt x="364" y="140"/>
                  </a:lnTo>
                  <a:lnTo>
                    <a:pt x="364" y="138"/>
                  </a:lnTo>
                  <a:lnTo>
                    <a:pt x="364" y="137"/>
                  </a:lnTo>
                  <a:lnTo>
                    <a:pt x="364" y="137"/>
                  </a:lnTo>
                  <a:lnTo>
                    <a:pt x="362" y="135"/>
                  </a:lnTo>
                  <a:lnTo>
                    <a:pt x="361" y="135"/>
                  </a:lnTo>
                  <a:lnTo>
                    <a:pt x="361" y="133"/>
                  </a:lnTo>
                  <a:lnTo>
                    <a:pt x="361" y="133"/>
                  </a:lnTo>
                  <a:lnTo>
                    <a:pt x="361" y="133"/>
                  </a:lnTo>
                  <a:lnTo>
                    <a:pt x="359" y="131"/>
                  </a:lnTo>
                  <a:lnTo>
                    <a:pt x="359" y="131"/>
                  </a:lnTo>
                  <a:lnTo>
                    <a:pt x="359" y="129"/>
                  </a:lnTo>
                  <a:lnTo>
                    <a:pt x="361" y="129"/>
                  </a:lnTo>
                  <a:lnTo>
                    <a:pt x="362" y="129"/>
                  </a:lnTo>
                  <a:lnTo>
                    <a:pt x="366" y="127"/>
                  </a:lnTo>
                  <a:lnTo>
                    <a:pt x="366" y="127"/>
                  </a:lnTo>
                  <a:lnTo>
                    <a:pt x="368" y="127"/>
                  </a:lnTo>
                  <a:lnTo>
                    <a:pt x="368" y="129"/>
                  </a:lnTo>
                  <a:lnTo>
                    <a:pt x="368" y="129"/>
                  </a:lnTo>
                  <a:lnTo>
                    <a:pt x="368" y="131"/>
                  </a:lnTo>
                  <a:lnTo>
                    <a:pt x="368" y="133"/>
                  </a:lnTo>
                  <a:lnTo>
                    <a:pt x="368" y="133"/>
                  </a:lnTo>
                  <a:lnTo>
                    <a:pt x="370" y="133"/>
                  </a:lnTo>
                  <a:lnTo>
                    <a:pt x="374" y="131"/>
                  </a:lnTo>
                  <a:lnTo>
                    <a:pt x="376" y="131"/>
                  </a:lnTo>
                  <a:lnTo>
                    <a:pt x="380" y="131"/>
                  </a:lnTo>
                  <a:lnTo>
                    <a:pt x="380" y="131"/>
                  </a:lnTo>
                  <a:lnTo>
                    <a:pt x="382" y="129"/>
                  </a:lnTo>
                  <a:lnTo>
                    <a:pt x="383" y="129"/>
                  </a:lnTo>
                  <a:lnTo>
                    <a:pt x="383" y="129"/>
                  </a:lnTo>
                  <a:lnTo>
                    <a:pt x="383" y="127"/>
                  </a:lnTo>
                  <a:lnTo>
                    <a:pt x="383" y="125"/>
                  </a:lnTo>
                  <a:lnTo>
                    <a:pt x="383" y="123"/>
                  </a:lnTo>
                  <a:lnTo>
                    <a:pt x="383" y="121"/>
                  </a:lnTo>
                  <a:lnTo>
                    <a:pt x="383" y="119"/>
                  </a:lnTo>
                  <a:lnTo>
                    <a:pt x="383" y="119"/>
                  </a:lnTo>
                  <a:lnTo>
                    <a:pt x="385" y="119"/>
                  </a:lnTo>
                  <a:lnTo>
                    <a:pt x="385" y="119"/>
                  </a:lnTo>
                  <a:lnTo>
                    <a:pt x="387" y="119"/>
                  </a:lnTo>
                  <a:lnTo>
                    <a:pt x="389" y="121"/>
                  </a:lnTo>
                  <a:lnTo>
                    <a:pt x="391" y="121"/>
                  </a:lnTo>
                  <a:lnTo>
                    <a:pt x="391" y="121"/>
                  </a:lnTo>
                  <a:lnTo>
                    <a:pt x="391" y="119"/>
                  </a:lnTo>
                  <a:lnTo>
                    <a:pt x="393" y="117"/>
                  </a:lnTo>
                  <a:lnTo>
                    <a:pt x="393" y="116"/>
                  </a:lnTo>
                  <a:lnTo>
                    <a:pt x="393" y="116"/>
                  </a:lnTo>
                  <a:lnTo>
                    <a:pt x="395" y="114"/>
                  </a:lnTo>
                  <a:lnTo>
                    <a:pt x="397" y="116"/>
                  </a:lnTo>
                  <a:lnTo>
                    <a:pt x="399" y="116"/>
                  </a:lnTo>
                  <a:lnTo>
                    <a:pt x="399" y="114"/>
                  </a:lnTo>
                  <a:lnTo>
                    <a:pt x="399" y="112"/>
                  </a:lnTo>
                  <a:lnTo>
                    <a:pt x="399" y="110"/>
                  </a:lnTo>
                  <a:lnTo>
                    <a:pt x="399" y="110"/>
                  </a:lnTo>
                  <a:lnTo>
                    <a:pt x="397" y="110"/>
                  </a:lnTo>
                  <a:lnTo>
                    <a:pt x="397" y="110"/>
                  </a:lnTo>
                  <a:lnTo>
                    <a:pt x="397" y="110"/>
                  </a:lnTo>
                  <a:lnTo>
                    <a:pt x="395" y="110"/>
                  </a:lnTo>
                  <a:lnTo>
                    <a:pt x="395" y="110"/>
                  </a:lnTo>
                  <a:lnTo>
                    <a:pt x="395" y="108"/>
                  </a:lnTo>
                  <a:lnTo>
                    <a:pt x="395" y="108"/>
                  </a:lnTo>
                  <a:lnTo>
                    <a:pt x="395" y="106"/>
                  </a:lnTo>
                  <a:lnTo>
                    <a:pt x="397" y="106"/>
                  </a:lnTo>
                  <a:lnTo>
                    <a:pt x="399" y="104"/>
                  </a:lnTo>
                  <a:lnTo>
                    <a:pt x="399" y="104"/>
                  </a:lnTo>
                  <a:lnTo>
                    <a:pt x="402" y="102"/>
                  </a:lnTo>
                  <a:lnTo>
                    <a:pt x="404" y="100"/>
                  </a:lnTo>
                  <a:lnTo>
                    <a:pt x="406" y="98"/>
                  </a:lnTo>
                  <a:lnTo>
                    <a:pt x="410" y="91"/>
                  </a:lnTo>
                  <a:lnTo>
                    <a:pt x="410" y="89"/>
                  </a:lnTo>
                  <a:lnTo>
                    <a:pt x="410" y="87"/>
                  </a:lnTo>
                  <a:lnTo>
                    <a:pt x="410" y="87"/>
                  </a:lnTo>
                  <a:lnTo>
                    <a:pt x="410" y="85"/>
                  </a:lnTo>
                  <a:lnTo>
                    <a:pt x="410" y="85"/>
                  </a:lnTo>
                  <a:lnTo>
                    <a:pt x="410" y="85"/>
                  </a:lnTo>
                  <a:lnTo>
                    <a:pt x="412" y="83"/>
                  </a:lnTo>
                  <a:lnTo>
                    <a:pt x="412" y="83"/>
                  </a:lnTo>
                  <a:lnTo>
                    <a:pt x="412" y="81"/>
                  </a:lnTo>
                  <a:lnTo>
                    <a:pt x="412" y="81"/>
                  </a:lnTo>
                  <a:lnTo>
                    <a:pt x="412" y="81"/>
                  </a:lnTo>
                  <a:lnTo>
                    <a:pt x="410" y="79"/>
                  </a:lnTo>
                  <a:lnTo>
                    <a:pt x="410" y="79"/>
                  </a:lnTo>
                  <a:lnTo>
                    <a:pt x="412" y="76"/>
                  </a:lnTo>
                  <a:lnTo>
                    <a:pt x="410" y="76"/>
                  </a:lnTo>
                  <a:lnTo>
                    <a:pt x="410" y="76"/>
                  </a:lnTo>
                  <a:lnTo>
                    <a:pt x="410" y="74"/>
                  </a:lnTo>
                  <a:lnTo>
                    <a:pt x="408" y="74"/>
                  </a:lnTo>
                  <a:lnTo>
                    <a:pt x="408" y="74"/>
                  </a:lnTo>
                  <a:lnTo>
                    <a:pt x="408" y="74"/>
                  </a:lnTo>
                  <a:lnTo>
                    <a:pt x="408" y="72"/>
                  </a:lnTo>
                  <a:lnTo>
                    <a:pt x="408" y="72"/>
                  </a:lnTo>
                  <a:lnTo>
                    <a:pt x="410" y="72"/>
                  </a:lnTo>
                  <a:lnTo>
                    <a:pt x="412" y="72"/>
                  </a:lnTo>
                  <a:lnTo>
                    <a:pt x="412" y="74"/>
                  </a:lnTo>
                  <a:lnTo>
                    <a:pt x="414" y="74"/>
                  </a:lnTo>
                  <a:lnTo>
                    <a:pt x="414" y="74"/>
                  </a:lnTo>
                  <a:lnTo>
                    <a:pt x="416" y="74"/>
                  </a:lnTo>
                  <a:lnTo>
                    <a:pt x="416" y="74"/>
                  </a:lnTo>
                  <a:lnTo>
                    <a:pt x="418" y="74"/>
                  </a:lnTo>
                  <a:lnTo>
                    <a:pt x="420" y="74"/>
                  </a:lnTo>
                  <a:lnTo>
                    <a:pt x="420" y="72"/>
                  </a:lnTo>
                  <a:lnTo>
                    <a:pt x="422" y="72"/>
                  </a:lnTo>
                  <a:lnTo>
                    <a:pt x="422" y="70"/>
                  </a:lnTo>
                  <a:lnTo>
                    <a:pt x="420" y="7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8" name="Freeform 50">
              <a:extLst>
                <a:ext uri="{FF2B5EF4-FFF2-40B4-BE49-F238E27FC236}">
                  <a16:creationId xmlns:a16="http://schemas.microsoft.com/office/drawing/2014/main" id="{7D2A77BA-EDFD-E4B9-F276-59337C0DD421}"/>
                </a:ext>
              </a:extLst>
            </p:cNvPr>
            <p:cNvSpPr>
              <a:spLocks/>
            </p:cNvSpPr>
            <p:nvPr/>
          </p:nvSpPr>
          <p:spPr bwMode="auto">
            <a:xfrm>
              <a:off x="4416425" y="1397801"/>
              <a:ext cx="1152525" cy="846138"/>
            </a:xfrm>
            <a:custGeom>
              <a:avLst/>
              <a:gdLst>
                <a:gd name="T0" fmla="*/ 692 w 726"/>
                <a:gd name="T1" fmla="*/ 185 h 533"/>
                <a:gd name="T2" fmla="*/ 657 w 726"/>
                <a:gd name="T3" fmla="*/ 145 h 533"/>
                <a:gd name="T4" fmla="*/ 604 w 726"/>
                <a:gd name="T5" fmla="*/ 129 h 533"/>
                <a:gd name="T6" fmla="*/ 528 w 726"/>
                <a:gd name="T7" fmla="*/ 162 h 533"/>
                <a:gd name="T8" fmla="*/ 478 w 726"/>
                <a:gd name="T9" fmla="*/ 183 h 533"/>
                <a:gd name="T10" fmla="*/ 375 w 726"/>
                <a:gd name="T11" fmla="*/ 99 h 533"/>
                <a:gd name="T12" fmla="*/ 269 w 726"/>
                <a:gd name="T13" fmla="*/ 36 h 533"/>
                <a:gd name="T14" fmla="*/ 217 w 726"/>
                <a:gd name="T15" fmla="*/ 17 h 533"/>
                <a:gd name="T16" fmla="*/ 183 w 726"/>
                <a:gd name="T17" fmla="*/ 8 h 533"/>
                <a:gd name="T18" fmla="*/ 116 w 726"/>
                <a:gd name="T19" fmla="*/ 19 h 533"/>
                <a:gd name="T20" fmla="*/ 128 w 726"/>
                <a:gd name="T21" fmla="*/ 32 h 533"/>
                <a:gd name="T22" fmla="*/ 118 w 726"/>
                <a:gd name="T23" fmla="*/ 38 h 533"/>
                <a:gd name="T24" fmla="*/ 101 w 726"/>
                <a:gd name="T25" fmla="*/ 36 h 533"/>
                <a:gd name="T26" fmla="*/ 65 w 726"/>
                <a:gd name="T27" fmla="*/ 40 h 533"/>
                <a:gd name="T28" fmla="*/ 51 w 726"/>
                <a:gd name="T29" fmla="*/ 55 h 533"/>
                <a:gd name="T30" fmla="*/ 36 w 726"/>
                <a:gd name="T31" fmla="*/ 69 h 533"/>
                <a:gd name="T32" fmla="*/ 17 w 726"/>
                <a:gd name="T33" fmla="*/ 91 h 533"/>
                <a:gd name="T34" fmla="*/ 2 w 726"/>
                <a:gd name="T35" fmla="*/ 108 h 533"/>
                <a:gd name="T36" fmla="*/ 27 w 726"/>
                <a:gd name="T37" fmla="*/ 139 h 533"/>
                <a:gd name="T38" fmla="*/ 51 w 726"/>
                <a:gd name="T39" fmla="*/ 137 h 533"/>
                <a:gd name="T40" fmla="*/ 59 w 726"/>
                <a:gd name="T41" fmla="*/ 141 h 533"/>
                <a:gd name="T42" fmla="*/ 74 w 726"/>
                <a:gd name="T43" fmla="*/ 165 h 533"/>
                <a:gd name="T44" fmla="*/ 84 w 726"/>
                <a:gd name="T45" fmla="*/ 173 h 533"/>
                <a:gd name="T46" fmla="*/ 118 w 726"/>
                <a:gd name="T47" fmla="*/ 183 h 533"/>
                <a:gd name="T48" fmla="*/ 109 w 726"/>
                <a:gd name="T49" fmla="*/ 200 h 533"/>
                <a:gd name="T50" fmla="*/ 116 w 726"/>
                <a:gd name="T51" fmla="*/ 207 h 533"/>
                <a:gd name="T52" fmla="*/ 131 w 726"/>
                <a:gd name="T53" fmla="*/ 211 h 533"/>
                <a:gd name="T54" fmla="*/ 141 w 726"/>
                <a:gd name="T55" fmla="*/ 219 h 533"/>
                <a:gd name="T56" fmla="*/ 149 w 726"/>
                <a:gd name="T57" fmla="*/ 223 h 533"/>
                <a:gd name="T58" fmla="*/ 147 w 726"/>
                <a:gd name="T59" fmla="*/ 232 h 533"/>
                <a:gd name="T60" fmla="*/ 141 w 726"/>
                <a:gd name="T61" fmla="*/ 243 h 533"/>
                <a:gd name="T62" fmla="*/ 131 w 726"/>
                <a:gd name="T63" fmla="*/ 251 h 533"/>
                <a:gd name="T64" fmla="*/ 118 w 726"/>
                <a:gd name="T65" fmla="*/ 257 h 533"/>
                <a:gd name="T66" fmla="*/ 107 w 726"/>
                <a:gd name="T67" fmla="*/ 276 h 533"/>
                <a:gd name="T68" fmla="*/ 97 w 726"/>
                <a:gd name="T69" fmla="*/ 282 h 533"/>
                <a:gd name="T70" fmla="*/ 86 w 726"/>
                <a:gd name="T71" fmla="*/ 287 h 533"/>
                <a:gd name="T72" fmla="*/ 88 w 726"/>
                <a:gd name="T73" fmla="*/ 314 h 533"/>
                <a:gd name="T74" fmla="*/ 101 w 726"/>
                <a:gd name="T75" fmla="*/ 375 h 533"/>
                <a:gd name="T76" fmla="*/ 103 w 726"/>
                <a:gd name="T77" fmla="*/ 405 h 533"/>
                <a:gd name="T78" fmla="*/ 101 w 726"/>
                <a:gd name="T79" fmla="*/ 430 h 533"/>
                <a:gd name="T80" fmla="*/ 107 w 726"/>
                <a:gd name="T81" fmla="*/ 437 h 533"/>
                <a:gd name="T82" fmla="*/ 133 w 726"/>
                <a:gd name="T83" fmla="*/ 455 h 533"/>
                <a:gd name="T84" fmla="*/ 191 w 726"/>
                <a:gd name="T85" fmla="*/ 483 h 533"/>
                <a:gd name="T86" fmla="*/ 202 w 726"/>
                <a:gd name="T87" fmla="*/ 515 h 533"/>
                <a:gd name="T88" fmla="*/ 271 w 726"/>
                <a:gd name="T89" fmla="*/ 527 h 533"/>
                <a:gd name="T90" fmla="*/ 307 w 726"/>
                <a:gd name="T91" fmla="*/ 512 h 533"/>
                <a:gd name="T92" fmla="*/ 312 w 726"/>
                <a:gd name="T93" fmla="*/ 477 h 533"/>
                <a:gd name="T94" fmla="*/ 320 w 726"/>
                <a:gd name="T95" fmla="*/ 466 h 533"/>
                <a:gd name="T96" fmla="*/ 381 w 726"/>
                <a:gd name="T97" fmla="*/ 436 h 533"/>
                <a:gd name="T98" fmla="*/ 459 w 726"/>
                <a:gd name="T99" fmla="*/ 468 h 533"/>
                <a:gd name="T100" fmla="*/ 492 w 726"/>
                <a:gd name="T101" fmla="*/ 466 h 533"/>
                <a:gd name="T102" fmla="*/ 516 w 726"/>
                <a:gd name="T103" fmla="*/ 495 h 533"/>
                <a:gd name="T104" fmla="*/ 541 w 726"/>
                <a:gd name="T105" fmla="*/ 483 h 533"/>
                <a:gd name="T106" fmla="*/ 534 w 726"/>
                <a:gd name="T107" fmla="*/ 514 h 533"/>
                <a:gd name="T108" fmla="*/ 577 w 726"/>
                <a:gd name="T109" fmla="*/ 512 h 533"/>
                <a:gd name="T110" fmla="*/ 623 w 726"/>
                <a:gd name="T111" fmla="*/ 512 h 533"/>
                <a:gd name="T112" fmla="*/ 635 w 726"/>
                <a:gd name="T113" fmla="*/ 443 h 533"/>
                <a:gd name="T114" fmla="*/ 591 w 726"/>
                <a:gd name="T115" fmla="*/ 401 h 533"/>
                <a:gd name="T116" fmla="*/ 593 w 726"/>
                <a:gd name="T117" fmla="*/ 346 h 533"/>
                <a:gd name="T118" fmla="*/ 648 w 726"/>
                <a:gd name="T119" fmla="*/ 306 h 533"/>
                <a:gd name="T120" fmla="*/ 676 w 726"/>
                <a:gd name="T121" fmla="*/ 280 h 533"/>
                <a:gd name="T122" fmla="*/ 716 w 726"/>
                <a:gd name="T123" fmla="*/ 20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533">
                  <a:moveTo>
                    <a:pt x="726" y="181"/>
                  </a:moveTo>
                  <a:lnTo>
                    <a:pt x="724" y="177"/>
                  </a:lnTo>
                  <a:lnTo>
                    <a:pt x="722" y="177"/>
                  </a:lnTo>
                  <a:lnTo>
                    <a:pt x="720" y="177"/>
                  </a:lnTo>
                  <a:lnTo>
                    <a:pt x="720" y="177"/>
                  </a:lnTo>
                  <a:lnTo>
                    <a:pt x="720" y="177"/>
                  </a:lnTo>
                  <a:lnTo>
                    <a:pt x="718" y="179"/>
                  </a:lnTo>
                  <a:lnTo>
                    <a:pt x="716" y="179"/>
                  </a:lnTo>
                  <a:lnTo>
                    <a:pt x="716" y="177"/>
                  </a:lnTo>
                  <a:lnTo>
                    <a:pt x="715" y="177"/>
                  </a:lnTo>
                  <a:lnTo>
                    <a:pt x="713" y="173"/>
                  </a:lnTo>
                  <a:lnTo>
                    <a:pt x="713" y="173"/>
                  </a:lnTo>
                  <a:lnTo>
                    <a:pt x="709" y="171"/>
                  </a:lnTo>
                  <a:lnTo>
                    <a:pt x="707" y="173"/>
                  </a:lnTo>
                  <a:lnTo>
                    <a:pt x="705" y="181"/>
                  </a:lnTo>
                  <a:lnTo>
                    <a:pt x="703" y="183"/>
                  </a:lnTo>
                  <a:lnTo>
                    <a:pt x="701" y="186"/>
                  </a:lnTo>
                  <a:lnTo>
                    <a:pt x="697" y="188"/>
                  </a:lnTo>
                  <a:lnTo>
                    <a:pt x="696" y="188"/>
                  </a:lnTo>
                  <a:lnTo>
                    <a:pt x="694" y="188"/>
                  </a:lnTo>
                  <a:lnTo>
                    <a:pt x="692" y="185"/>
                  </a:lnTo>
                  <a:lnTo>
                    <a:pt x="690" y="181"/>
                  </a:lnTo>
                  <a:lnTo>
                    <a:pt x="690" y="177"/>
                  </a:lnTo>
                  <a:lnTo>
                    <a:pt x="688" y="173"/>
                  </a:lnTo>
                  <a:lnTo>
                    <a:pt x="686" y="169"/>
                  </a:lnTo>
                  <a:lnTo>
                    <a:pt x="684" y="165"/>
                  </a:lnTo>
                  <a:lnTo>
                    <a:pt x="680" y="167"/>
                  </a:lnTo>
                  <a:lnTo>
                    <a:pt x="680" y="169"/>
                  </a:lnTo>
                  <a:lnTo>
                    <a:pt x="678" y="171"/>
                  </a:lnTo>
                  <a:lnTo>
                    <a:pt x="676" y="171"/>
                  </a:lnTo>
                  <a:lnTo>
                    <a:pt x="675" y="169"/>
                  </a:lnTo>
                  <a:lnTo>
                    <a:pt x="675" y="169"/>
                  </a:lnTo>
                  <a:lnTo>
                    <a:pt x="673" y="165"/>
                  </a:lnTo>
                  <a:lnTo>
                    <a:pt x="673" y="164"/>
                  </a:lnTo>
                  <a:lnTo>
                    <a:pt x="671" y="164"/>
                  </a:lnTo>
                  <a:lnTo>
                    <a:pt x="663" y="162"/>
                  </a:lnTo>
                  <a:lnTo>
                    <a:pt x="661" y="160"/>
                  </a:lnTo>
                  <a:lnTo>
                    <a:pt x="659" y="154"/>
                  </a:lnTo>
                  <a:lnTo>
                    <a:pt x="655" y="150"/>
                  </a:lnTo>
                  <a:lnTo>
                    <a:pt x="655" y="148"/>
                  </a:lnTo>
                  <a:lnTo>
                    <a:pt x="657" y="146"/>
                  </a:lnTo>
                  <a:lnTo>
                    <a:pt x="657" y="145"/>
                  </a:lnTo>
                  <a:lnTo>
                    <a:pt x="659" y="145"/>
                  </a:lnTo>
                  <a:lnTo>
                    <a:pt x="657" y="141"/>
                  </a:lnTo>
                  <a:lnTo>
                    <a:pt x="657" y="141"/>
                  </a:lnTo>
                  <a:lnTo>
                    <a:pt x="654" y="141"/>
                  </a:lnTo>
                  <a:lnTo>
                    <a:pt x="654" y="141"/>
                  </a:lnTo>
                  <a:lnTo>
                    <a:pt x="652" y="139"/>
                  </a:lnTo>
                  <a:lnTo>
                    <a:pt x="652" y="139"/>
                  </a:lnTo>
                  <a:lnTo>
                    <a:pt x="652" y="137"/>
                  </a:lnTo>
                  <a:lnTo>
                    <a:pt x="650" y="137"/>
                  </a:lnTo>
                  <a:lnTo>
                    <a:pt x="648" y="137"/>
                  </a:lnTo>
                  <a:lnTo>
                    <a:pt x="644" y="139"/>
                  </a:lnTo>
                  <a:lnTo>
                    <a:pt x="640" y="137"/>
                  </a:lnTo>
                  <a:lnTo>
                    <a:pt x="638" y="135"/>
                  </a:lnTo>
                  <a:lnTo>
                    <a:pt x="638" y="131"/>
                  </a:lnTo>
                  <a:lnTo>
                    <a:pt x="638" y="127"/>
                  </a:lnTo>
                  <a:lnTo>
                    <a:pt x="636" y="126"/>
                  </a:lnTo>
                  <a:lnTo>
                    <a:pt x="633" y="124"/>
                  </a:lnTo>
                  <a:lnTo>
                    <a:pt x="629" y="124"/>
                  </a:lnTo>
                  <a:lnTo>
                    <a:pt x="627" y="124"/>
                  </a:lnTo>
                  <a:lnTo>
                    <a:pt x="617" y="127"/>
                  </a:lnTo>
                  <a:lnTo>
                    <a:pt x="604" y="129"/>
                  </a:lnTo>
                  <a:lnTo>
                    <a:pt x="595" y="133"/>
                  </a:lnTo>
                  <a:lnTo>
                    <a:pt x="591" y="133"/>
                  </a:lnTo>
                  <a:lnTo>
                    <a:pt x="589" y="133"/>
                  </a:lnTo>
                  <a:lnTo>
                    <a:pt x="581" y="131"/>
                  </a:lnTo>
                  <a:lnTo>
                    <a:pt x="579" y="129"/>
                  </a:lnTo>
                  <a:lnTo>
                    <a:pt x="575" y="131"/>
                  </a:lnTo>
                  <a:lnTo>
                    <a:pt x="572" y="131"/>
                  </a:lnTo>
                  <a:lnTo>
                    <a:pt x="572" y="133"/>
                  </a:lnTo>
                  <a:lnTo>
                    <a:pt x="568" y="139"/>
                  </a:lnTo>
                  <a:lnTo>
                    <a:pt x="568" y="139"/>
                  </a:lnTo>
                  <a:lnTo>
                    <a:pt x="558" y="146"/>
                  </a:lnTo>
                  <a:lnTo>
                    <a:pt x="554" y="148"/>
                  </a:lnTo>
                  <a:lnTo>
                    <a:pt x="547" y="148"/>
                  </a:lnTo>
                  <a:lnTo>
                    <a:pt x="545" y="150"/>
                  </a:lnTo>
                  <a:lnTo>
                    <a:pt x="541" y="152"/>
                  </a:lnTo>
                  <a:lnTo>
                    <a:pt x="537" y="154"/>
                  </a:lnTo>
                  <a:lnTo>
                    <a:pt x="534" y="156"/>
                  </a:lnTo>
                  <a:lnTo>
                    <a:pt x="534" y="156"/>
                  </a:lnTo>
                  <a:lnTo>
                    <a:pt x="532" y="158"/>
                  </a:lnTo>
                  <a:lnTo>
                    <a:pt x="530" y="160"/>
                  </a:lnTo>
                  <a:lnTo>
                    <a:pt x="528" y="162"/>
                  </a:lnTo>
                  <a:lnTo>
                    <a:pt x="524" y="162"/>
                  </a:lnTo>
                  <a:lnTo>
                    <a:pt x="522" y="164"/>
                  </a:lnTo>
                  <a:lnTo>
                    <a:pt x="520" y="165"/>
                  </a:lnTo>
                  <a:lnTo>
                    <a:pt x="518" y="169"/>
                  </a:lnTo>
                  <a:lnTo>
                    <a:pt x="518" y="173"/>
                  </a:lnTo>
                  <a:lnTo>
                    <a:pt x="516" y="173"/>
                  </a:lnTo>
                  <a:lnTo>
                    <a:pt x="514" y="173"/>
                  </a:lnTo>
                  <a:lnTo>
                    <a:pt x="505" y="171"/>
                  </a:lnTo>
                  <a:lnTo>
                    <a:pt x="503" y="171"/>
                  </a:lnTo>
                  <a:lnTo>
                    <a:pt x="501" y="173"/>
                  </a:lnTo>
                  <a:lnTo>
                    <a:pt x="501" y="175"/>
                  </a:lnTo>
                  <a:lnTo>
                    <a:pt x="499" y="179"/>
                  </a:lnTo>
                  <a:lnTo>
                    <a:pt x="497" y="181"/>
                  </a:lnTo>
                  <a:lnTo>
                    <a:pt x="494" y="181"/>
                  </a:lnTo>
                  <a:lnTo>
                    <a:pt x="492" y="179"/>
                  </a:lnTo>
                  <a:lnTo>
                    <a:pt x="490" y="179"/>
                  </a:lnTo>
                  <a:lnTo>
                    <a:pt x="486" y="179"/>
                  </a:lnTo>
                  <a:lnTo>
                    <a:pt x="486" y="179"/>
                  </a:lnTo>
                  <a:lnTo>
                    <a:pt x="484" y="179"/>
                  </a:lnTo>
                  <a:lnTo>
                    <a:pt x="480" y="181"/>
                  </a:lnTo>
                  <a:lnTo>
                    <a:pt x="478" y="183"/>
                  </a:lnTo>
                  <a:lnTo>
                    <a:pt x="476" y="183"/>
                  </a:lnTo>
                  <a:lnTo>
                    <a:pt x="463" y="181"/>
                  </a:lnTo>
                  <a:lnTo>
                    <a:pt x="463" y="179"/>
                  </a:lnTo>
                  <a:lnTo>
                    <a:pt x="461" y="169"/>
                  </a:lnTo>
                  <a:lnTo>
                    <a:pt x="457" y="162"/>
                  </a:lnTo>
                  <a:lnTo>
                    <a:pt x="454" y="162"/>
                  </a:lnTo>
                  <a:lnTo>
                    <a:pt x="448" y="152"/>
                  </a:lnTo>
                  <a:lnTo>
                    <a:pt x="444" y="152"/>
                  </a:lnTo>
                  <a:lnTo>
                    <a:pt x="434" y="154"/>
                  </a:lnTo>
                  <a:lnTo>
                    <a:pt x="427" y="152"/>
                  </a:lnTo>
                  <a:lnTo>
                    <a:pt x="423" y="150"/>
                  </a:lnTo>
                  <a:lnTo>
                    <a:pt x="421" y="146"/>
                  </a:lnTo>
                  <a:lnTo>
                    <a:pt x="415" y="141"/>
                  </a:lnTo>
                  <a:lnTo>
                    <a:pt x="410" y="139"/>
                  </a:lnTo>
                  <a:lnTo>
                    <a:pt x="400" y="137"/>
                  </a:lnTo>
                  <a:lnTo>
                    <a:pt x="394" y="131"/>
                  </a:lnTo>
                  <a:lnTo>
                    <a:pt x="394" y="116"/>
                  </a:lnTo>
                  <a:lnTo>
                    <a:pt x="393" y="108"/>
                  </a:lnTo>
                  <a:lnTo>
                    <a:pt x="389" y="103"/>
                  </a:lnTo>
                  <a:lnTo>
                    <a:pt x="385" y="99"/>
                  </a:lnTo>
                  <a:lnTo>
                    <a:pt x="375" y="99"/>
                  </a:lnTo>
                  <a:lnTo>
                    <a:pt x="366" y="97"/>
                  </a:lnTo>
                  <a:lnTo>
                    <a:pt x="362" y="93"/>
                  </a:lnTo>
                  <a:lnTo>
                    <a:pt x="358" y="86"/>
                  </a:lnTo>
                  <a:lnTo>
                    <a:pt x="353" y="84"/>
                  </a:lnTo>
                  <a:lnTo>
                    <a:pt x="345" y="86"/>
                  </a:lnTo>
                  <a:lnTo>
                    <a:pt x="337" y="72"/>
                  </a:lnTo>
                  <a:lnTo>
                    <a:pt x="320" y="70"/>
                  </a:lnTo>
                  <a:lnTo>
                    <a:pt x="320" y="69"/>
                  </a:lnTo>
                  <a:lnTo>
                    <a:pt x="320" y="69"/>
                  </a:lnTo>
                  <a:lnTo>
                    <a:pt x="311" y="49"/>
                  </a:lnTo>
                  <a:lnTo>
                    <a:pt x="309" y="48"/>
                  </a:lnTo>
                  <a:lnTo>
                    <a:pt x="303" y="42"/>
                  </a:lnTo>
                  <a:lnTo>
                    <a:pt x="297" y="38"/>
                  </a:lnTo>
                  <a:lnTo>
                    <a:pt x="290" y="34"/>
                  </a:lnTo>
                  <a:lnTo>
                    <a:pt x="282" y="34"/>
                  </a:lnTo>
                  <a:lnTo>
                    <a:pt x="276" y="36"/>
                  </a:lnTo>
                  <a:lnTo>
                    <a:pt x="276" y="36"/>
                  </a:lnTo>
                  <a:lnTo>
                    <a:pt x="276" y="38"/>
                  </a:lnTo>
                  <a:lnTo>
                    <a:pt x="276" y="38"/>
                  </a:lnTo>
                  <a:lnTo>
                    <a:pt x="271" y="38"/>
                  </a:lnTo>
                  <a:lnTo>
                    <a:pt x="269" y="36"/>
                  </a:lnTo>
                  <a:lnTo>
                    <a:pt x="267" y="30"/>
                  </a:lnTo>
                  <a:lnTo>
                    <a:pt x="267" y="27"/>
                  </a:lnTo>
                  <a:lnTo>
                    <a:pt x="267" y="23"/>
                  </a:lnTo>
                  <a:lnTo>
                    <a:pt x="265" y="19"/>
                  </a:lnTo>
                  <a:lnTo>
                    <a:pt x="263" y="17"/>
                  </a:lnTo>
                  <a:lnTo>
                    <a:pt x="259" y="15"/>
                  </a:lnTo>
                  <a:lnTo>
                    <a:pt x="248" y="13"/>
                  </a:lnTo>
                  <a:lnTo>
                    <a:pt x="246" y="11"/>
                  </a:lnTo>
                  <a:lnTo>
                    <a:pt x="242" y="8"/>
                  </a:lnTo>
                  <a:lnTo>
                    <a:pt x="242" y="8"/>
                  </a:lnTo>
                  <a:lnTo>
                    <a:pt x="240" y="8"/>
                  </a:lnTo>
                  <a:lnTo>
                    <a:pt x="232" y="8"/>
                  </a:lnTo>
                  <a:lnTo>
                    <a:pt x="229" y="8"/>
                  </a:lnTo>
                  <a:lnTo>
                    <a:pt x="225" y="10"/>
                  </a:lnTo>
                  <a:lnTo>
                    <a:pt x="223" y="10"/>
                  </a:lnTo>
                  <a:lnTo>
                    <a:pt x="221" y="11"/>
                  </a:lnTo>
                  <a:lnTo>
                    <a:pt x="221" y="11"/>
                  </a:lnTo>
                  <a:lnTo>
                    <a:pt x="221" y="15"/>
                  </a:lnTo>
                  <a:lnTo>
                    <a:pt x="219" y="17"/>
                  </a:lnTo>
                  <a:lnTo>
                    <a:pt x="219" y="17"/>
                  </a:lnTo>
                  <a:lnTo>
                    <a:pt x="217" y="17"/>
                  </a:lnTo>
                  <a:lnTo>
                    <a:pt x="217" y="13"/>
                  </a:lnTo>
                  <a:lnTo>
                    <a:pt x="217" y="11"/>
                  </a:lnTo>
                  <a:lnTo>
                    <a:pt x="213" y="8"/>
                  </a:lnTo>
                  <a:lnTo>
                    <a:pt x="213" y="8"/>
                  </a:lnTo>
                  <a:lnTo>
                    <a:pt x="211" y="6"/>
                  </a:lnTo>
                  <a:lnTo>
                    <a:pt x="204" y="4"/>
                  </a:lnTo>
                  <a:lnTo>
                    <a:pt x="202" y="2"/>
                  </a:lnTo>
                  <a:lnTo>
                    <a:pt x="200" y="0"/>
                  </a:lnTo>
                  <a:lnTo>
                    <a:pt x="198" y="0"/>
                  </a:lnTo>
                  <a:lnTo>
                    <a:pt x="196" y="2"/>
                  </a:lnTo>
                  <a:lnTo>
                    <a:pt x="191" y="4"/>
                  </a:lnTo>
                  <a:lnTo>
                    <a:pt x="189" y="4"/>
                  </a:lnTo>
                  <a:lnTo>
                    <a:pt x="189" y="4"/>
                  </a:lnTo>
                  <a:lnTo>
                    <a:pt x="189" y="6"/>
                  </a:lnTo>
                  <a:lnTo>
                    <a:pt x="189" y="6"/>
                  </a:lnTo>
                  <a:lnTo>
                    <a:pt x="189" y="8"/>
                  </a:lnTo>
                  <a:lnTo>
                    <a:pt x="187" y="11"/>
                  </a:lnTo>
                  <a:lnTo>
                    <a:pt x="187" y="11"/>
                  </a:lnTo>
                  <a:lnTo>
                    <a:pt x="185" y="10"/>
                  </a:lnTo>
                  <a:lnTo>
                    <a:pt x="183" y="8"/>
                  </a:lnTo>
                  <a:lnTo>
                    <a:pt x="183" y="8"/>
                  </a:lnTo>
                  <a:lnTo>
                    <a:pt x="181" y="6"/>
                  </a:lnTo>
                  <a:lnTo>
                    <a:pt x="181" y="6"/>
                  </a:lnTo>
                  <a:lnTo>
                    <a:pt x="177" y="6"/>
                  </a:lnTo>
                  <a:lnTo>
                    <a:pt x="173" y="8"/>
                  </a:lnTo>
                  <a:lnTo>
                    <a:pt x="171" y="10"/>
                  </a:lnTo>
                  <a:lnTo>
                    <a:pt x="164" y="13"/>
                  </a:lnTo>
                  <a:lnTo>
                    <a:pt x="160" y="17"/>
                  </a:lnTo>
                  <a:lnTo>
                    <a:pt x="158" y="19"/>
                  </a:lnTo>
                  <a:lnTo>
                    <a:pt x="151" y="17"/>
                  </a:lnTo>
                  <a:lnTo>
                    <a:pt x="151" y="19"/>
                  </a:lnTo>
                  <a:lnTo>
                    <a:pt x="149" y="19"/>
                  </a:lnTo>
                  <a:lnTo>
                    <a:pt x="149" y="21"/>
                  </a:lnTo>
                  <a:lnTo>
                    <a:pt x="147" y="25"/>
                  </a:lnTo>
                  <a:lnTo>
                    <a:pt x="147" y="27"/>
                  </a:lnTo>
                  <a:lnTo>
                    <a:pt x="141" y="29"/>
                  </a:lnTo>
                  <a:lnTo>
                    <a:pt x="139" y="29"/>
                  </a:lnTo>
                  <a:lnTo>
                    <a:pt x="135" y="27"/>
                  </a:lnTo>
                  <a:lnTo>
                    <a:pt x="133" y="27"/>
                  </a:lnTo>
                  <a:lnTo>
                    <a:pt x="126" y="21"/>
                  </a:lnTo>
                  <a:lnTo>
                    <a:pt x="122" y="21"/>
                  </a:lnTo>
                  <a:lnTo>
                    <a:pt x="116" y="19"/>
                  </a:lnTo>
                  <a:lnTo>
                    <a:pt x="111" y="19"/>
                  </a:lnTo>
                  <a:lnTo>
                    <a:pt x="111" y="19"/>
                  </a:lnTo>
                  <a:lnTo>
                    <a:pt x="111" y="21"/>
                  </a:lnTo>
                  <a:lnTo>
                    <a:pt x="111" y="23"/>
                  </a:lnTo>
                  <a:lnTo>
                    <a:pt x="111" y="23"/>
                  </a:lnTo>
                  <a:lnTo>
                    <a:pt x="111" y="23"/>
                  </a:lnTo>
                  <a:lnTo>
                    <a:pt x="112" y="23"/>
                  </a:lnTo>
                  <a:lnTo>
                    <a:pt x="112" y="23"/>
                  </a:lnTo>
                  <a:lnTo>
                    <a:pt x="112" y="25"/>
                  </a:lnTo>
                  <a:lnTo>
                    <a:pt x="112" y="25"/>
                  </a:lnTo>
                  <a:lnTo>
                    <a:pt x="112" y="25"/>
                  </a:lnTo>
                  <a:lnTo>
                    <a:pt x="114" y="25"/>
                  </a:lnTo>
                  <a:lnTo>
                    <a:pt x="116" y="25"/>
                  </a:lnTo>
                  <a:lnTo>
                    <a:pt x="118" y="25"/>
                  </a:lnTo>
                  <a:lnTo>
                    <a:pt x="120" y="27"/>
                  </a:lnTo>
                  <a:lnTo>
                    <a:pt x="120" y="27"/>
                  </a:lnTo>
                  <a:lnTo>
                    <a:pt x="120" y="29"/>
                  </a:lnTo>
                  <a:lnTo>
                    <a:pt x="120" y="29"/>
                  </a:lnTo>
                  <a:lnTo>
                    <a:pt x="126" y="30"/>
                  </a:lnTo>
                  <a:lnTo>
                    <a:pt x="126" y="30"/>
                  </a:lnTo>
                  <a:lnTo>
                    <a:pt x="128" y="32"/>
                  </a:lnTo>
                  <a:lnTo>
                    <a:pt x="128" y="32"/>
                  </a:lnTo>
                  <a:lnTo>
                    <a:pt x="128" y="32"/>
                  </a:lnTo>
                  <a:lnTo>
                    <a:pt x="128" y="32"/>
                  </a:lnTo>
                  <a:lnTo>
                    <a:pt x="128" y="34"/>
                  </a:lnTo>
                  <a:lnTo>
                    <a:pt x="128" y="34"/>
                  </a:lnTo>
                  <a:lnTo>
                    <a:pt x="128" y="34"/>
                  </a:lnTo>
                  <a:lnTo>
                    <a:pt x="128" y="34"/>
                  </a:lnTo>
                  <a:lnTo>
                    <a:pt x="128" y="36"/>
                  </a:lnTo>
                  <a:lnTo>
                    <a:pt x="128" y="36"/>
                  </a:lnTo>
                  <a:lnTo>
                    <a:pt x="128" y="38"/>
                  </a:lnTo>
                  <a:lnTo>
                    <a:pt x="128" y="38"/>
                  </a:lnTo>
                  <a:lnTo>
                    <a:pt x="128" y="38"/>
                  </a:lnTo>
                  <a:lnTo>
                    <a:pt x="128" y="38"/>
                  </a:lnTo>
                  <a:lnTo>
                    <a:pt x="128" y="40"/>
                  </a:lnTo>
                  <a:lnTo>
                    <a:pt x="128" y="40"/>
                  </a:lnTo>
                  <a:lnTo>
                    <a:pt x="126" y="40"/>
                  </a:lnTo>
                  <a:lnTo>
                    <a:pt x="124" y="40"/>
                  </a:lnTo>
                  <a:lnTo>
                    <a:pt x="122" y="38"/>
                  </a:lnTo>
                  <a:lnTo>
                    <a:pt x="120" y="38"/>
                  </a:lnTo>
                  <a:lnTo>
                    <a:pt x="118" y="38"/>
                  </a:lnTo>
                  <a:lnTo>
                    <a:pt x="118" y="38"/>
                  </a:lnTo>
                  <a:lnTo>
                    <a:pt x="116" y="40"/>
                  </a:lnTo>
                  <a:lnTo>
                    <a:pt x="116" y="40"/>
                  </a:lnTo>
                  <a:lnTo>
                    <a:pt x="116" y="40"/>
                  </a:lnTo>
                  <a:lnTo>
                    <a:pt x="114" y="38"/>
                  </a:lnTo>
                  <a:lnTo>
                    <a:pt x="112" y="38"/>
                  </a:lnTo>
                  <a:lnTo>
                    <a:pt x="112" y="38"/>
                  </a:lnTo>
                  <a:lnTo>
                    <a:pt x="112" y="38"/>
                  </a:lnTo>
                  <a:lnTo>
                    <a:pt x="111" y="40"/>
                  </a:lnTo>
                  <a:lnTo>
                    <a:pt x="109" y="40"/>
                  </a:lnTo>
                  <a:lnTo>
                    <a:pt x="109" y="40"/>
                  </a:lnTo>
                  <a:lnTo>
                    <a:pt x="109" y="40"/>
                  </a:lnTo>
                  <a:lnTo>
                    <a:pt x="107" y="40"/>
                  </a:lnTo>
                  <a:lnTo>
                    <a:pt x="107" y="40"/>
                  </a:lnTo>
                  <a:lnTo>
                    <a:pt x="103" y="40"/>
                  </a:lnTo>
                  <a:lnTo>
                    <a:pt x="103" y="40"/>
                  </a:lnTo>
                  <a:lnTo>
                    <a:pt x="103" y="40"/>
                  </a:lnTo>
                  <a:lnTo>
                    <a:pt x="103" y="40"/>
                  </a:lnTo>
                  <a:lnTo>
                    <a:pt x="103" y="40"/>
                  </a:lnTo>
                  <a:lnTo>
                    <a:pt x="101" y="38"/>
                  </a:lnTo>
                  <a:lnTo>
                    <a:pt x="101" y="38"/>
                  </a:lnTo>
                  <a:lnTo>
                    <a:pt x="101" y="36"/>
                  </a:lnTo>
                  <a:lnTo>
                    <a:pt x="101" y="36"/>
                  </a:lnTo>
                  <a:lnTo>
                    <a:pt x="101" y="36"/>
                  </a:lnTo>
                  <a:lnTo>
                    <a:pt x="99" y="38"/>
                  </a:lnTo>
                  <a:lnTo>
                    <a:pt x="99" y="38"/>
                  </a:lnTo>
                  <a:lnTo>
                    <a:pt x="97" y="38"/>
                  </a:lnTo>
                  <a:lnTo>
                    <a:pt x="97" y="38"/>
                  </a:lnTo>
                  <a:lnTo>
                    <a:pt x="97" y="38"/>
                  </a:lnTo>
                  <a:lnTo>
                    <a:pt x="95" y="38"/>
                  </a:lnTo>
                  <a:lnTo>
                    <a:pt x="93" y="38"/>
                  </a:lnTo>
                  <a:lnTo>
                    <a:pt x="93" y="38"/>
                  </a:lnTo>
                  <a:lnTo>
                    <a:pt x="88" y="36"/>
                  </a:lnTo>
                  <a:lnTo>
                    <a:pt x="86" y="36"/>
                  </a:lnTo>
                  <a:lnTo>
                    <a:pt x="84" y="34"/>
                  </a:lnTo>
                  <a:lnTo>
                    <a:pt x="74" y="38"/>
                  </a:lnTo>
                  <a:lnTo>
                    <a:pt x="72" y="40"/>
                  </a:lnTo>
                  <a:lnTo>
                    <a:pt x="72" y="40"/>
                  </a:lnTo>
                  <a:lnTo>
                    <a:pt x="70" y="38"/>
                  </a:lnTo>
                  <a:lnTo>
                    <a:pt x="69" y="40"/>
                  </a:lnTo>
                  <a:lnTo>
                    <a:pt x="65" y="40"/>
                  </a:lnTo>
                  <a:lnTo>
                    <a:pt x="65" y="40"/>
                  </a:lnTo>
                  <a:lnTo>
                    <a:pt x="65" y="40"/>
                  </a:lnTo>
                  <a:lnTo>
                    <a:pt x="65" y="40"/>
                  </a:lnTo>
                  <a:lnTo>
                    <a:pt x="63" y="38"/>
                  </a:lnTo>
                  <a:lnTo>
                    <a:pt x="63" y="38"/>
                  </a:lnTo>
                  <a:lnTo>
                    <a:pt x="61" y="36"/>
                  </a:lnTo>
                  <a:lnTo>
                    <a:pt x="61" y="38"/>
                  </a:lnTo>
                  <a:lnTo>
                    <a:pt x="59" y="40"/>
                  </a:lnTo>
                  <a:lnTo>
                    <a:pt x="57" y="40"/>
                  </a:lnTo>
                  <a:lnTo>
                    <a:pt x="55" y="40"/>
                  </a:lnTo>
                  <a:lnTo>
                    <a:pt x="53" y="42"/>
                  </a:lnTo>
                  <a:lnTo>
                    <a:pt x="51" y="42"/>
                  </a:lnTo>
                  <a:lnTo>
                    <a:pt x="51" y="42"/>
                  </a:lnTo>
                  <a:lnTo>
                    <a:pt x="51" y="42"/>
                  </a:lnTo>
                  <a:lnTo>
                    <a:pt x="51" y="42"/>
                  </a:lnTo>
                  <a:lnTo>
                    <a:pt x="51" y="46"/>
                  </a:lnTo>
                  <a:lnTo>
                    <a:pt x="53" y="48"/>
                  </a:lnTo>
                  <a:lnTo>
                    <a:pt x="53" y="51"/>
                  </a:lnTo>
                  <a:lnTo>
                    <a:pt x="55" y="51"/>
                  </a:lnTo>
                  <a:lnTo>
                    <a:pt x="55" y="51"/>
                  </a:lnTo>
                  <a:lnTo>
                    <a:pt x="55" y="51"/>
                  </a:lnTo>
                  <a:lnTo>
                    <a:pt x="53" y="53"/>
                  </a:lnTo>
                  <a:lnTo>
                    <a:pt x="51" y="55"/>
                  </a:lnTo>
                  <a:lnTo>
                    <a:pt x="51" y="57"/>
                  </a:lnTo>
                  <a:lnTo>
                    <a:pt x="51" y="57"/>
                  </a:lnTo>
                  <a:lnTo>
                    <a:pt x="51" y="59"/>
                  </a:lnTo>
                  <a:lnTo>
                    <a:pt x="51" y="59"/>
                  </a:lnTo>
                  <a:lnTo>
                    <a:pt x="50" y="61"/>
                  </a:lnTo>
                  <a:lnTo>
                    <a:pt x="50" y="61"/>
                  </a:lnTo>
                  <a:lnTo>
                    <a:pt x="44" y="63"/>
                  </a:lnTo>
                  <a:lnTo>
                    <a:pt x="44" y="63"/>
                  </a:lnTo>
                  <a:lnTo>
                    <a:pt x="44" y="63"/>
                  </a:lnTo>
                  <a:lnTo>
                    <a:pt x="44" y="63"/>
                  </a:lnTo>
                  <a:lnTo>
                    <a:pt x="44" y="65"/>
                  </a:lnTo>
                  <a:lnTo>
                    <a:pt x="44" y="65"/>
                  </a:lnTo>
                  <a:lnTo>
                    <a:pt x="44" y="65"/>
                  </a:lnTo>
                  <a:lnTo>
                    <a:pt x="44" y="67"/>
                  </a:lnTo>
                  <a:lnTo>
                    <a:pt x="44" y="67"/>
                  </a:lnTo>
                  <a:lnTo>
                    <a:pt x="44" y="67"/>
                  </a:lnTo>
                  <a:lnTo>
                    <a:pt x="44" y="67"/>
                  </a:lnTo>
                  <a:lnTo>
                    <a:pt x="42" y="69"/>
                  </a:lnTo>
                  <a:lnTo>
                    <a:pt x="38" y="69"/>
                  </a:lnTo>
                  <a:lnTo>
                    <a:pt x="36" y="69"/>
                  </a:lnTo>
                  <a:lnTo>
                    <a:pt x="36" y="69"/>
                  </a:lnTo>
                  <a:lnTo>
                    <a:pt x="36" y="69"/>
                  </a:lnTo>
                  <a:lnTo>
                    <a:pt x="36" y="70"/>
                  </a:lnTo>
                  <a:lnTo>
                    <a:pt x="34" y="70"/>
                  </a:lnTo>
                  <a:lnTo>
                    <a:pt x="34" y="74"/>
                  </a:lnTo>
                  <a:lnTo>
                    <a:pt x="34" y="76"/>
                  </a:lnTo>
                  <a:lnTo>
                    <a:pt x="34" y="76"/>
                  </a:lnTo>
                  <a:lnTo>
                    <a:pt x="34" y="76"/>
                  </a:lnTo>
                  <a:lnTo>
                    <a:pt x="34" y="78"/>
                  </a:lnTo>
                  <a:lnTo>
                    <a:pt x="34" y="78"/>
                  </a:lnTo>
                  <a:lnTo>
                    <a:pt x="30" y="78"/>
                  </a:lnTo>
                  <a:lnTo>
                    <a:pt x="30" y="78"/>
                  </a:lnTo>
                  <a:lnTo>
                    <a:pt x="29" y="80"/>
                  </a:lnTo>
                  <a:lnTo>
                    <a:pt x="25" y="84"/>
                  </a:lnTo>
                  <a:lnTo>
                    <a:pt x="25" y="84"/>
                  </a:lnTo>
                  <a:lnTo>
                    <a:pt x="25" y="86"/>
                  </a:lnTo>
                  <a:lnTo>
                    <a:pt x="23" y="86"/>
                  </a:lnTo>
                  <a:lnTo>
                    <a:pt x="21" y="86"/>
                  </a:lnTo>
                  <a:lnTo>
                    <a:pt x="19" y="88"/>
                  </a:lnTo>
                  <a:lnTo>
                    <a:pt x="19" y="88"/>
                  </a:lnTo>
                  <a:lnTo>
                    <a:pt x="17" y="89"/>
                  </a:lnTo>
                  <a:lnTo>
                    <a:pt x="17" y="91"/>
                  </a:lnTo>
                  <a:lnTo>
                    <a:pt x="15" y="91"/>
                  </a:lnTo>
                  <a:lnTo>
                    <a:pt x="13" y="89"/>
                  </a:lnTo>
                  <a:lnTo>
                    <a:pt x="13" y="89"/>
                  </a:lnTo>
                  <a:lnTo>
                    <a:pt x="11" y="89"/>
                  </a:lnTo>
                  <a:lnTo>
                    <a:pt x="11" y="89"/>
                  </a:lnTo>
                  <a:lnTo>
                    <a:pt x="10" y="89"/>
                  </a:lnTo>
                  <a:lnTo>
                    <a:pt x="8" y="91"/>
                  </a:lnTo>
                  <a:lnTo>
                    <a:pt x="8" y="91"/>
                  </a:lnTo>
                  <a:lnTo>
                    <a:pt x="6" y="93"/>
                  </a:lnTo>
                  <a:lnTo>
                    <a:pt x="6" y="93"/>
                  </a:lnTo>
                  <a:lnTo>
                    <a:pt x="6" y="95"/>
                  </a:lnTo>
                  <a:lnTo>
                    <a:pt x="6" y="95"/>
                  </a:lnTo>
                  <a:lnTo>
                    <a:pt x="4" y="99"/>
                  </a:lnTo>
                  <a:lnTo>
                    <a:pt x="4" y="101"/>
                  </a:lnTo>
                  <a:lnTo>
                    <a:pt x="4" y="103"/>
                  </a:lnTo>
                  <a:lnTo>
                    <a:pt x="4" y="103"/>
                  </a:lnTo>
                  <a:lnTo>
                    <a:pt x="6" y="103"/>
                  </a:lnTo>
                  <a:lnTo>
                    <a:pt x="6" y="105"/>
                  </a:lnTo>
                  <a:lnTo>
                    <a:pt x="6" y="105"/>
                  </a:lnTo>
                  <a:lnTo>
                    <a:pt x="2" y="108"/>
                  </a:lnTo>
                  <a:lnTo>
                    <a:pt x="2" y="108"/>
                  </a:lnTo>
                  <a:lnTo>
                    <a:pt x="2" y="108"/>
                  </a:lnTo>
                  <a:lnTo>
                    <a:pt x="2" y="110"/>
                  </a:lnTo>
                  <a:lnTo>
                    <a:pt x="2" y="110"/>
                  </a:lnTo>
                  <a:lnTo>
                    <a:pt x="2" y="110"/>
                  </a:lnTo>
                  <a:lnTo>
                    <a:pt x="2" y="112"/>
                  </a:lnTo>
                  <a:lnTo>
                    <a:pt x="2" y="112"/>
                  </a:lnTo>
                  <a:lnTo>
                    <a:pt x="4" y="112"/>
                  </a:lnTo>
                  <a:lnTo>
                    <a:pt x="4" y="112"/>
                  </a:lnTo>
                  <a:lnTo>
                    <a:pt x="6" y="116"/>
                  </a:lnTo>
                  <a:lnTo>
                    <a:pt x="8" y="116"/>
                  </a:lnTo>
                  <a:lnTo>
                    <a:pt x="8" y="118"/>
                  </a:lnTo>
                  <a:lnTo>
                    <a:pt x="8" y="120"/>
                  </a:lnTo>
                  <a:lnTo>
                    <a:pt x="8" y="120"/>
                  </a:lnTo>
                  <a:lnTo>
                    <a:pt x="8" y="120"/>
                  </a:lnTo>
                  <a:lnTo>
                    <a:pt x="0" y="131"/>
                  </a:lnTo>
                  <a:lnTo>
                    <a:pt x="4" y="133"/>
                  </a:lnTo>
                  <a:lnTo>
                    <a:pt x="13" y="137"/>
                  </a:lnTo>
                  <a:lnTo>
                    <a:pt x="13" y="137"/>
                  </a:lnTo>
                  <a:lnTo>
                    <a:pt x="23" y="139"/>
                  </a:lnTo>
                  <a:lnTo>
                    <a:pt x="27" y="139"/>
                  </a:lnTo>
                  <a:lnTo>
                    <a:pt x="27" y="139"/>
                  </a:lnTo>
                  <a:lnTo>
                    <a:pt x="29" y="139"/>
                  </a:lnTo>
                  <a:lnTo>
                    <a:pt x="29" y="139"/>
                  </a:lnTo>
                  <a:lnTo>
                    <a:pt x="29" y="139"/>
                  </a:lnTo>
                  <a:lnTo>
                    <a:pt x="29" y="139"/>
                  </a:lnTo>
                  <a:lnTo>
                    <a:pt x="32" y="135"/>
                  </a:lnTo>
                  <a:lnTo>
                    <a:pt x="32" y="135"/>
                  </a:lnTo>
                  <a:lnTo>
                    <a:pt x="34" y="135"/>
                  </a:lnTo>
                  <a:lnTo>
                    <a:pt x="44" y="135"/>
                  </a:lnTo>
                  <a:lnTo>
                    <a:pt x="44" y="135"/>
                  </a:lnTo>
                  <a:lnTo>
                    <a:pt x="44" y="135"/>
                  </a:lnTo>
                  <a:lnTo>
                    <a:pt x="44" y="135"/>
                  </a:lnTo>
                  <a:lnTo>
                    <a:pt x="46" y="137"/>
                  </a:lnTo>
                  <a:lnTo>
                    <a:pt x="46" y="137"/>
                  </a:lnTo>
                  <a:lnTo>
                    <a:pt x="46" y="137"/>
                  </a:lnTo>
                  <a:lnTo>
                    <a:pt x="46" y="137"/>
                  </a:lnTo>
                  <a:lnTo>
                    <a:pt x="48" y="137"/>
                  </a:lnTo>
                  <a:lnTo>
                    <a:pt x="48" y="137"/>
                  </a:lnTo>
                  <a:lnTo>
                    <a:pt x="48" y="137"/>
                  </a:lnTo>
                  <a:lnTo>
                    <a:pt x="50" y="137"/>
                  </a:lnTo>
                  <a:lnTo>
                    <a:pt x="50" y="137"/>
                  </a:lnTo>
                  <a:lnTo>
                    <a:pt x="51" y="137"/>
                  </a:lnTo>
                  <a:lnTo>
                    <a:pt x="51" y="137"/>
                  </a:lnTo>
                  <a:lnTo>
                    <a:pt x="51" y="137"/>
                  </a:lnTo>
                  <a:lnTo>
                    <a:pt x="51" y="137"/>
                  </a:lnTo>
                  <a:lnTo>
                    <a:pt x="53" y="135"/>
                  </a:lnTo>
                  <a:lnTo>
                    <a:pt x="53" y="135"/>
                  </a:lnTo>
                  <a:lnTo>
                    <a:pt x="53" y="135"/>
                  </a:lnTo>
                  <a:lnTo>
                    <a:pt x="53" y="135"/>
                  </a:lnTo>
                  <a:lnTo>
                    <a:pt x="53" y="135"/>
                  </a:lnTo>
                  <a:lnTo>
                    <a:pt x="53" y="135"/>
                  </a:lnTo>
                  <a:lnTo>
                    <a:pt x="53" y="135"/>
                  </a:lnTo>
                  <a:lnTo>
                    <a:pt x="53" y="135"/>
                  </a:lnTo>
                  <a:lnTo>
                    <a:pt x="53" y="137"/>
                  </a:lnTo>
                  <a:lnTo>
                    <a:pt x="55" y="137"/>
                  </a:lnTo>
                  <a:lnTo>
                    <a:pt x="57" y="139"/>
                  </a:lnTo>
                  <a:lnTo>
                    <a:pt x="57" y="139"/>
                  </a:lnTo>
                  <a:lnTo>
                    <a:pt x="57" y="139"/>
                  </a:lnTo>
                  <a:lnTo>
                    <a:pt x="57" y="139"/>
                  </a:lnTo>
                  <a:lnTo>
                    <a:pt x="59" y="141"/>
                  </a:lnTo>
                  <a:lnTo>
                    <a:pt x="59" y="141"/>
                  </a:lnTo>
                  <a:lnTo>
                    <a:pt x="59" y="141"/>
                  </a:lnTo>
                  <a:lnTo>
                    <a:pt x="59" y="141"/>
                  </a:lnTo>
                  <a:lnTo>
                    <a:pt x="59" y="141"/>
                  </a:lnTo>
                  <a:lnTo>
                    <a:pt x="59" y="143"/>
                  </a:lnTo>
                  <a:lnTo>
                    <a:pt x="57" y="145"/>
                  </a:lnTo>
                  <a:lnTo>
                    <a:pt x="57" y="145"/>
                  </a:lnTo>
                  <a:lnTo>
                    <a:pt x="57" y="145"/>
                  </a:lnTo>
                  <a:lnTo>
                    <a:pt x="57" y="150"/>
                  </a:lnTo>
                  <a:lnTo>
                    <a:pt x="57" y="150"/>
                  </a:lnTo>
                  <a:lnTo>
                    <a:pt x="57" y="152"/>
                  </a:lnTo>
                  <a:lnTo>
                    <a:pt x="57" y="152"/>
                  </a:lnTo>
                  <a:lnTo>
                    <a:pt x="57" y="152"/>
                  </a:lnTo>
                  <a:lnTo>
                    <a:pt x="57" y="154"/>
                  </a:lnTo>
                  <a:lnTo>
                    <a:pt x="67" y="160"/>
                  </a:lnTo>
                  <a:lnTo>
                    <a:pt x="69" y="160"/>
                  </a:lnTo>
                  <a:lnTo>
                    <a:pt x="69" y="162"/>
                  </a:lnTo>
                  <a:lnTo>
                    <a:pt x="69" y="162"/>
                  </a:lnTo>
                  <a:lnTo>
                    <a:pt x="72" y="164"/>
                  </a:lnTo>
                  <a:lnTo>
                    <a:pt x="72" y="164"/>
                  </a:lnTo>
                  <a:lnTo>
                    <a:pt x="72" y="164"/>
                  </a:lnTo>
                  <a:lnTo>
                    <a:pt x="72" y="165"/>
                  </a:lnTo>
                  <a:lnTo>
                    <a:pt x="72" y="165"/>
                  </a:lnTo>
                  <a:lnTo>
                    <a:pt x="74" y="165"/>
                  </a:lnTo>
                  <a:lnTo>
                    <a:pt x="74" y="167"/>
                  </a:lnTo>
                  <a:lnTo>
                    <a:pt x="74" y="167"/>
                  </a:lnTo>
                  <a:lnTo>
                    <a:pt x="74" y="167"/>
                  </a:lnTo>
                  <a:lnTo>
                    <a:pt x="74" y="167"/>
                  </a:lnTo>
                  <a:lnTo>
                    <a:pt x="74" y="167"/>
                  </a:lnTo>
                  <a:lnTo>
                    <a:pt x="76" y="167"/>
                  </a:lnTo>
                  <a:lnTo>
                    <a:pt x="76" y="167"/>
                  </a:lnTo>
                  <a:lnTo>
                    <a:pt x="78" y="167"/>
                  </a:lnTo>
                  <a:lnTo>
                    <a:pt x="78" y="167"/>
                  </a:lnTo>
                  <a:lnTo>
                    <a:pt x="80" y="167"/>
                  </a:lnTo>
                  <a:lnTo>
                    <a:pt x="80" y="167"/>
                  </a:lnTo>
                  <a:lnTo>
                    <a:pt x="80" y="167"/>
                  </a:lnTo>
                  <a:lnTo>
                    <a:pt x="80" y="167"/>
                  </a:lnTo>
                  <a:lnTo>
                    <a:pt x="80" y="167"/>
                  </a:lnTo>
                  <a:lnTo>
                    <a:pt x="80" y="167"/>
                  </a:lnTo>
                  <a:lnTo>
                    <a:pt x="82" y="169"/>
                  </a:lnTo>
                  <a:lnTo>
                    <a:pt x="82" y="169"/>
                  </a:lnTo>
                  <a:lnTo>
                    <a:pt x="82" y="169"/>
                  </a:lnTo>
                  <a:lnTo>
                    <a:pt x="82" y="169"/>
                  </a:lnTo>
                  <a:lnTo>
                    <a:pt x="84" y="173"/>
                  </a:lnTo>
                  <a:lnTo>
                    <a:pt x="84" y="173"/>
                  </a:lnTo>
                  <a:lnTo>
                    <a:pt x="84" y="173"/>
                  </a:lnTo>
                  <a:lnTo>
                    <a:pt x="84" y="173"/>
                  </a:lnTo>
                  <a:lnTo>
                    <a:pt x="86" y="171"/>
                  </a:lnTo>
                  <a:lnTo>
                    <a:pt x="88" y="171"/>
                  </a:lnTo>
                  <a:lnTo>
                    <a:pt x="88" y="171"/>
                  </a:lnTo>
                  <a:lnTo>
                    <a:pt x="88" y="171"/>
                  </a:lnTo>
                  <a:lnTo>
                    <a:pt x="88" y="171"/>
                  </a:lnTo>
                  <a:lnTo>
                    <a:pt x="91" y="175"/>
                  </a:lnTo>
                  <a:lnTo>
                    <a:pt x="91" y="175"/>
                  </a:lnTo>
                  <a:lnTo>
                    <a:pt x="91" y="175"/>
                  </a:lnTo>
                  <a:lnTo>
                    <a:pt x="91" y="175"/>
                  </a:lnTo>
                  <a:lnTo>
                    <a:pt x="97" y="173"/>
                  </a:lnTo>
                  <a:lnTo>
                    <a:pt x="103" y="173"/>
                  </a:lnTo>
                  <a:lnTo>
                    <a:pt x="116" y="175"/>
                  </a:lnTo>
                  <a:lnTo>
                    <a:pt x="116" y="175"/>
                  </a:lnTo>
                  <a:lnTo>
                    <a:pt x="116" y="175"/>
                  </a:lnTo>
                  <a:lnTo>
                    <a:pt x="116" y="175"/>
                  </a:lnTo>
                  <a:lnTo>
                    <a:pt x="116" y="175"/>
                  </a:lnTo>
                  <a:lnTo>
                    <a:pt x="118" y="177"/>
                  </a:lnTo>
                  <a:lnTo>
                    <a:pt x="118" y="177"/>
                  </a:lnTo>
                  <a:lnTo>
                    <a:pt x="118" y="183"/>
                  </a:lnTo>
                  <a:lnTo>
                    <a:pt x="118" y="183"/>
                  </a:lnTo>
                  <a:lnTo>
                    <a:pt x="118" y="183"/>
                  </a:lnTo>
                  <a:lnTo>
                    <a:pt x="118" y="185"/>
                  </a:lnTo>
                  <a:lnTo>
                    <a:pt x="118" y="185"/>
                  </a:lnTo>
                  <a:lnTo>
                    <a:pt x="118" y="185"/>
                  </a:lnTo>
                  <a:lnTo>
                    <a:pt x="118" y="185"/>
                  </a:lnTo>
                  <a:lnTo>
                    <a:pt x="116" y="185"/>
                  </a:lnTo>
                  <a:lnTo>
                    <a:pt x="114" y="186"/>
                  </a:lnTo>
                  <a:lnTo>
                    <a:pt x="112" y="186"/>
                  </a:lnTo>
                  <a:lnTo>
                    <a:pt x="112" y="188"/>
                  </a:lnTo>
                  <a:lnTo>
                    <a:pt x="112" y="188"/>
                  </a:lnTo>
                  <a:lnTo>
                    <a:pt x="112" y="188"/>
                  </a:lnTo>
                  <a:lnTo>
                    <a:pt x="112" y="190"/>
                  </a:lnTo>
                  <a:lnTo>
                    <a:pt x="111" y="194"/>
                  </a:lnTo>
                  <a:lnTo>
                    <a:pt x="109" y="194"/>
                  </a:lnTo>
                  <a:lnTo>
                    <a:pt x="109" y="194"/>
                  </a:lnTo>
                  <a:lnTo>
                    <a:pt x="109" y="194"/>
                  </a:lnTo>
                  <a:lnTo>
                    <a:pt x="109" y="196"/>
                  </a:lnTo>
                  <a:lnTo>
                    <a:pt x="109" y="196"/>
                  </a:lnTo>
                  <a:lnTo>
                    <a:pt x="109" y="198"/>
                  </a:lnTo>
                  <a:lnTo>
                    <a:pt x="109" y="200"/>
                  </a:lnTo>
                  <a:lnTo>
                    <a:pt x="109" y="200"/>
                  </a:lnTo>
                  <a:lnTo>
                    <a:pt x="109" y="200"/>
                  </a:lnTo>
                  <a:lnTo>
                    <a:pt x="112" y="205"/>
                  </a:lnTo>
                  <a:lnTo>
                    <a:pt x="112" y="205"/>
                  </a:lnTo>
                  <a:lnTo>
                    <a:pt x="112" y="205"/>
                  </a:lnTo>
                  <a:lnTo>
                    <a:pt x="112" y="207"/>
                  </a:lnTo>
                  <a:lnTo>
                    <a:pt x="112" y="207"/>
                  </a:lnTo>
                  <a:lnTo>
                    <a:pt x="112" y="209"/>
                  </a:lnTo>
                  <a:lnTo>
                    <a:pt x="112" y="209"/>
                  </a:lnTo>
                  <a:lnTo>
                    <a:pt x="112" y="209"/>
                  </a:lnTo>
                  <a:lnTo>
                    <a:pt x="112" y="211"/>
                  </a:lnTo>
                  <a:lnTo>
                    <a:pt x="112" y="211"/>
                  </a:lnTo>
                  <a:lnTo>
                    <a:pt x="112" y="211"/>
                  </a:lnTo>
                  <a:lnTo>
                    <a:pt x="112" y="211"/>
                  </a:lnTo>
                  <a:lnTo>
                    <a:pt x="112" y="211"/>
                  </a:lnTo>
                  <a:lnTo>
                    <a:pt x="114" y="211"/>
                  </a:lnTo>
                  <a:lnTo>
                    <a:pt x="114" y="211"/>
                  </a:lnTo>
                  <a:lnTo>
                    <a:pt x="114" y="211"/>
                  </a:lnTo>
                  <a:lnTo>
                    <a:pt x="114" y="211"/>
                  </a:lnTo>
                  <a:lnTo>
                    <a:pt x="116" y="209"/>
                  </a:lnTo>
                  <a:lnTo>
                    <a:pt x="116" y="207"/>
                  </a:lnTo>
                  <a:lnTo>
                    <a:pt x="116" y="207"/>
                  </a:lnTo>
                  <a:lnTo>
                    <a:pt x="118" y="207"/>
                  </a:lnTo>
                  <a:lnTo>
                    <a:pt x="120" y="207"/>
                  </a:lnTo>
                  <a:lnTo>
                    <a:pt x="120" y="207"/>
                  </a:lnTo>
                  <a:lnTo>
                    <a:pt x="120" y="207"/>
                  </a:lnTo>
                  <a:lnTo>
                    <a:pt x="120" y="207"/>
                  </a:lnTo>
                  <a:lnTo>
                    <a:pt x="120" y="207"/>
                  </a:lnTo>
                  <a:lnTo>
                    <a:pt x="122" y="209"/>
                  </a:lnTo>
                  <a:lnTo>
                    <a:pt x="124" y="209"/>
                  </a:lnTo>
                  <a:lnTo>
                    <a:pt x="126" y="211"/>
                  </a:lnTo>
                  <a:lnTo>
                    <a:pt x="126" y="211"/>
                  </a:lnTo>
                  <a:lnTo>
                    <a:pt x="126" y="211"/>
                  </a:lnTo>
                  <a:lnTo>
                    <a:pt x="126" y="211"/>
                  </a:lnTo>
                  <a:lnTo>
                    <a:pt x="126" y="211"/>
                  </a:lnTo>
                  <a:lnTo>
                    <a:pt x="126" y="211"/>
                  </a:lnTo>
                  <a:lnTo>
                    <a:pt x="128" y="211"/>
                  </a:lnTo>
                  <a:lnTo>
                    <a:pt x="128" y="211"/>
                  </a:lnTo>
                  <a:lnTo>
                    <a:pt x="128" y="211"/>
                  </a:lnTo>
                  <a:lnTo>
                    <a:pt x="130" y="211"/>
                  </a:lnTo>
                  <a:lnTo>
                    <a:pt x="130" y="211"/>
                  </a:lnTo>
                  <a:lnTo>
                    <a:pt x="131" y="211"/>
                  </a:lnTo>
                  <a:lnTo>
                    <a:pt x="133" y="215"/>
                  </a:lnTo>
                  <a:lnTo>
                    <a:pt x="133" y="215"/>
                  </a:lnTo>
                  <a:lnTo>
                    <a:pt x="133" y="215"/>
                  </a:lnTo>
                  <a:lnTo>
                    <a:pt x="133" y="215"/>
                  </a:lnTo>
                  <a:lnTo>
                    <a:pt x="133" y="215"/>
                  </a:lnTo>
                  <a:lnTo>
                    <a:pt x="133" y="215"/>
                  </a:lnTo>
                  <a:lnTo>
                    <a:pt x="135" y="215"/>
                  </a:lnTo>
                  <a:lnTo>
                    <a:pt x="135" y="215"/>
                  </a:lnTo>
                  <a:lnTo>
                    <a:pt x="137" y="215"/>
                  </a:lnTo>
                  <a:lnTo>
                    <a:pt x="137" y="215"/>
                  </a:lnTo>
                  <a:lnTo>
                    <a:pt x="137" y="215"/>
                  </a:lnTo>
                  <a:lnTo>
                    <a:pt x="137" y="215"/>
                  </a:lnTo>
                  <a:lnTo>
                    <a:pt x="137" y="215"/>
                  </a:lnTo>
                  <a:lnTo>
                    <a:pt x="139" y="215"/>
                  </a:lnTo>
                  <a:lnTo>
                    <a:pt x="139" y="215"/>
                  </a:lnTo>
                  <a:lnTo>
                    <a:pt x="139" y="215"/>
                  </a:lnTo>
                  <a:lnTo>
                    <a:pt x="139" y="217"/>
                  </a:lnTo>
                  <a:lnTo>
                    <a:pt x="141" y="217"/>
                  </a:lnTo>
                  <a:lnTo>
                    <a:pt x="141" y="219"/>
                  </a:lnTo>
                  <a:lnTo>
                    <a:pt x="141" y="219"/>
                  </a:lnTo>
                  <a:lnTo>
                    <a:pt x="141" y="219"/>
                  </a:lnTo>
                  <a:lnTo>
                    <a:pt x="141" y="219"/>
                  </a:lnTo>
                  <a:lnTo>
                    <a:pt x="143" y="219"/>
                  </a:lnTo>
                  <a:lnTo>
                    <a:pt x="145" y="219"/>
                  </a:lnTo>
                  <a:lnTo>
                    <a:pt x="145" y="219"/>
                  </a:lnTo>
                  <a:lnTo>
                    <a:pt x="147" y="219"/>
                  </a:lnTo>
                  <a:lnTo>
                    <a:pt x="147" y="219"/>
                  </a:lnTo>
                  <a:lnTo>
                    <a:pt x="147" y="219"/>
                  </a:lnTo>
                  <a:lnTo>
                    <a:pt x="147" y="219"/>
                  </a:lnTo>
                  <a:lnTo>
                    <a:pt x="147" y="219"/>
                  </a:lnTo>
                  <a:lnTo>
                    <a:pt x="147" y="219"/>
                  </a:lnTo>
                  <a:lnTo>
                    <a:pt x="147" y="219"/>
                  </a:lnTo>
                  <a:lnTo>
                    <a:pt x="147" y="219"/>
                  </a:lnTo>
                  <a:lnTo>
                    <a:pt x="147" y="219"/>
                  </a:lnTo>
                  <a:lnTo>
                    <a:pt x="147" y="221"/>
                  </a:lnTo>
                  <a:lnTo>
                    <a:pt x="147" y="221"/>
                  </a:lnTo>
                  <a:lnTo>
                    <a:pt x="149" y="223"/>
                  </a:lnTo>
                  <a:lnTo>
                    <a:pt x="149" y="223"/>
                  </a:lnTo>
                  <a:lnTo>
                    <a:pt x="149" y="223"/>
                  </a:lnTo>
                  <a:lnTo>
                    <a:pt x="149" y="223"/>
                  </a:lnTo>
                  <a:lnTo>
                    <a:pt x="149" y="223"/>
                  </a:lnTo>
                  <a:lnTo>
                    <a:pt x="149" y="223"/>
                  </a:lnTo>
                  <a:lnTo>
                    <a:pt x="149" y="223"/>
                  </a:lnTo>
                  <a:lnTo>
                    <a:pt x="149" y="223"/>
                  </a:lnTo>
                  <a:lnTo>
                    <a:pt x="147" y="224"/>
                  </a:lnTo>
                  <a:lnTo>
                    <a:pt x="147" y="224"/>
                  </a:lnTo>
                  <a:lnTo>
                    <a:pt x="145" y="226"/>
                  </a:lnTo>
                  <a:lnTo>
                    <a:pt x="145" y="226"/>
                  </a:lnTo>
                  <a:lnTo>
                    <a:pt x="145" y="226"/>
                  </a:lnTo>
                  <a:lnTo>
                    <a:pt x="145" y="228"/>
                  </a:lnTo>
                  <a:lnTo>
                    <a:pt x="145" y="228"/>
                  </a:lnTo>
                  <a:lnTo>
                    <a:pt x="145" y="230"/>
                  </a:lnTo>
                  <a:lnTo>
                    <a:pt x="145" y="230"/>
                  </a:lnTo>
                  <a:lnTo>
                    <a:pt x="145" y="230"/>
                  </a:lnTo>
                  <a:lnTo>
                    <a:pt x="145" y="230"/>
                  </a:lnTo>
                  <a:lnTo>
                    <a:pt x="145" y="230"/>
                  </a:lnTo>
                  <a:lnTo>
                    <a:pt x="145" y="230"/>
                  </a:lnTo>
                  <a:lnTo>
                    <a:pt x="145" y="230"/>
                  </a:lnTo>
                  <a:lnTo>
                    <a:pt x="145" y="230"/>
                  </a:lnTo>
                  <a:lnTo>
                    <a:pt x="147" y="230"/>
                  </a:lnTo>
                  <a:lnTo>
                    <a:pt x="147" y="230"/>
                  </a:lnTo>
                  <a:lnTo>
                    <a:pt x="147" y="232"/>
                  </a:lnTo>
                  <a:lnTo>
                    <a:pt x="147" y="232"/>
                  </a:lnTo>
                  <a:lnTo>
                    <a:pt x="147" y="232"/>
                  </a:lnTo>
                  <a:lnTo>
                    <a:pt x="147" y="234"/>
                  </a:lnTo>
                  <a:lnTo>
                    <a:pt x="147" y="234"/>
                  </a:lnTo>
                  <a:lnTo>
                    <a:pt x="147" y="234"/>
                  </a:lnTo>
                  <a:lnTo>
                    <a:pt x="147" y="234"/>
                  </a:lnTo>
                  <a:lnTo>
                    <a:pt x="147" y="234"/>
                  </a:lnTo>
                  <a:lnTo>
                    <a:pt x="147" y="234"/>
                  </a:lnTo>
                  <a:lnTo>
                    <a:pt x="145" y="236"/>
                  </a:lnTo>
                  <a:lnTo>
                    <a:pt x="145" y="236"/>
                  </a:lnTo>
                  <a:lnTo>
                    <a:pt x="145" y="238"/>
                  </a:lnTo>
                  <a:lnTo>
                    <a:pt x="143" y="238"/>
                  </a:lnTo>
                  <a:lnTo>
                    <a:pt x="143" y="240"/>
                  </a:lnTo>
                  <a:lnTo>
                    <a:pt x="143" y="242"/>
                  </a:lnTo>
                  <a:lnTo>
                    <a:pt x="143" y="242"/>
                  </a:lnTo>
                  <a:lnTo>
                    <a:pt x="143" y="242"/>
                  </a:lnTo>
                  <a:lnTo>
                    <a:pt x="143" y="242"/>
                  </a:lnTo>
                  <a:lnTo>
                    <a:pt x="141" y="243"/>
                  </a:lnTo>
                  <a:lnTo>
                    <a:pt x="141" y="243"/>
                  </a:lnTo>
                  <a:lnTo>
                    <a:pt x="141" y="243"/>
                  </a:lnTo>
                  <a:lnTo>
                    <a:pt x="141" y="243"/>
                  </a:lnTo>
                  <a:lnTo>
                    <a:pt x="141" y="243"/>
                  </a:lnTo>
                  <a:lnTo>
                    <a:pt x="141" y="245"/>
                  </a:lnTo>
                  <a:lnTo>
                    <a:pt x="141" y="247"/>
                  </a:lnTo>
                  <a:lnTo>
                    <a:pt x="141" y="247"/>
                  </a:lnTo>
                  <a:lnTo>
                    <a:pt x="139" y="247"/>
                  </a:lnTo>
                  <a:lnTo>
                    <a:pt x="139" y="247"/>
                  </a:lnTo>
                  <a:lnTo>
                    <a:pt x="139" y="247"/>
                  </a:lnTo>
                  <a:lnTo>
                    <a:pt x="139" y="247"/>
                  </a:lnTo>
                  <a:lnTo>
                    <a:pt x="139" y="249"/>
                  </a:lnTo>
                  <a:lnTo>
                    <a:pt x="139" y="249"/>
                  </a:lnTo>
                  <a:lnTo>
                    <a:pt x="137" y="249"/>
                  </a:lnTo>
                  <a:lnTo>
                    <a:pt x="137" y="249"/>
                  </a:lnTo>
                  <a:lnTo>
                    <a:pt x="137" y="249"/>
                  </a:lnTo>
                  <a:lnTo>
                    <a:pt x="135" y="249"/>
                  </a:lnTo>
                  <a:lnTo>
                    <a:pt x="135" y="249"/>
                  </a:lnTo>
                  <a:lnTo>
                    <a:pt x="133" y="249"/>
                  </a:lnTo>
                  <a:lnTo>
                    <a:pt x="133" y="249"/>
                  </a:lnTo>
                  <a:lnTo>
                    <a:pt x="133" y="251"/>
                  </a:lnTo>
                  <a:lnTo>
                    <a:pt x="133" y="251"/>
                  </a:lnTo>
                  <a:lnTo>
                    <a:pt x="133" y="251"/>
                  </a:lnTo>
                  <a:lnTo>
                    <a:pt x="131" y="251"/>
                  </a:lnTo>
                  <a:lnTo>
                    <a:pt x="131" y="251"/>
                  </a:lnTo>
                  <a:lnTo>
                    <a:pt x="131" y="253"/>
                  </a:lnTo>
                  <a:lnTo>
                    <a:pt x="131" y="253"/>
                  </a:lnTo>
                  <a:lnTo>
                    <a:pt x="131" y="253"/>
                  </a:lnTo>
                  <a:lnTo>
                    <a:pt x="131" y="253"/>
                  </a:lnTo>
                  <a:lnTo>
                    <a:pt x="131" y="253"/>
                  </a:lnTo>
                  <a:lnTo>
                    <a:pt x="130" y="253"/>
                  </a:lnTo>
                  <a:lnTo>
                    <a:pt x="130" y="255"/>
                  </a:lnTo>
                  <a:lnTo>
                    <a:pt x="130" y="255"/>
                  </a:lnTo>
                  <a:lnTo>
                    <a:pt x="130" y="255"/>
                  </a:lnTo>
                  <a:lnTo>
                    <a:pt x="128" y="255"/>
                  </a:lnTo>
                  <a:lnTo>
                    <a:pt x="128" y="255"/>
                  </a:lnTo>
                  <a:lnTo>
                    <a:pt x="128" y="255"/>
                  </a:lnTo>
                  <a:lnTo>
                    <a:pt x="128" y="255"/>
                  </a:lnTo>
                  <a:lnTo>
                    <a:pt x="128" y="255"/>
                  </a:lnTo>
                  <a:lnTo>
                    <a:pt x="124" y="255"/>
                  </a:lnTo>
                  <a:lnTo>
                    <a:pt x="122" y="255"/>
                  </a:lnTo>
                  <a:lnTo>
                    <a:pt x="120" y="257"/>
                  </a:lnTo>
                  <a:lnTo>
                    <a:pt x="120" y="257"/>
                  </a:lnTo>
                  <a:lnTo>
                    <a:pt x="120" y="257"/>
                  </a:lnTo>
                  <a:lnTo>
                    <a:pt x="120" y="257"/>
                  </a:lnTo>
                  <a:lnTo>
                    <a:pt x="118" y="257"/>
                  </a:lnTo>
                  <a:lnTo>
                    <a:pt x="118" y="257"/>
                  </a:lnTo>
                  <a:lnTo>
                    <a:pt x="118" y="259"/>
                  </a:lnTo>
                  <a:lnTo>
                    <a:pt x="116" y="257"/>
                  </a:lnTo>
                  <a:lnTo>
                    <a:pt x="114" y="259"/>
                  </a:lnTo>
                  <a:lnTo>
                    <a:pt x="114" y="259"/>
                  </a:lnTo>
                  <a:lnTo>
                    <a:pt x="114" y="259"/>
                  </a:lnTo>
                  <a:lnTo>
                    <a:pt x="112" y="261"/>
                  </a:lnTo>
                  <a:lnTo>
                    <a:pt x="111" y="261"/>
                  </a:lnTo>
                  <a:lnTo>
                    <a:pt x="111" y="262"/>
                  </a:lnTo>
                  <a:lnTo>
                    <a:pt x="111" y="262"/>
                  </a:lnTo>
                  <a:lnTo>
                    <a:pt x="111" y="262"/>
                  </a:lnTo>
                  <a:lnTo>
                    <a:pt x="109" y="266"/>
                  </a:lnTo>
                  <a:lnTo>
                    <a:pt x="109" y="266"/>
                  </a:lnTo>
                  <a:lnTo>
                    <a:pt x="105" y="270"/>
                  </a:lnTo>
                  <a:lnTo>
                    <a:pt x="105" y="272"/>
                  </a:lnTo>
                  <a:lnTo>
                    <a:pt x="105" y="272"/>
                  </a:lnTo>
                  <a:lnTo>
                    <a:pt x="105" y="272"/>
                  </a:lnTo>
                  <a:lnTo>
                    <a:pt x="105" y="272"/>
                  </a:lnTo>
                  <a:lnTo>
                    <a:pt x="107" y="274"/>
                  </a:lnTo>
                  <a:lnTo>
                    <a:pt x="107" y="274"/>
                  </a:lnTo>
                  <a:lnTo>
                    <a:pt x="107" y="276"/>
                  </a:lnTo>
                  <a:lnTo>
                    <a:pt x="107" y="276"/>
                  </a:lnTo>
                  <a:lnTo>
                    <a:pt x="105" y="282"/>
                  </a:lnTo>
                  <a:lnTo>
                    <a:pt x="103" y="283"/>
                  </a:lnTo>
                  <a:lnTo>
                    <a:pt x="103" y="283"/>
                  </a:lnTo>
                  <a:lnTo>
                    <a:pt x="103" y="283"/>
                  </a:lnTo>
                  <a:lnTo>
                    <a:pt x="103" y="283"/>
                  </a:lnTo>
                  <a:lnTo>
                    <a:pt x="103" y="283"/>
                  </a:lnTo>
                  <a:lnTo>
                    <a:pt x="103" y="283"/>
                  </a:lnTo>
                  <a:lnTo>
                    <a:pt x="103" y="283"/>
                  </a:lnTo>
                  <a:lnTo>
                    <a:pt x="101" y="282"/>
                  </a:lnTo>
                  <a:lnTo>
                    <a:pt x="101" y="282"/>
                  </a:lnTo>
                  <a:lnTo>
                    <a:pt x="101" y="282"/>
                  </a:lnTo>
                  <a:lnTo>
                    <a:pt x="101" y="282"/>
                  </a:lnTo>
                  <a:lnTo>
                    <a:pt x="101" y="282"/>
                  </a:lnTo>
                  <a:lnTo>
                    <a:pt x="101" y="282"/>
                  </a:lnTo>
                  <a:lnTo>
                    <a:pt x="101" y="282"/>
                  </a:lnTo>
                  <a:lnTo>
                    <a:pt x="101" y="282"/>
                  </a:lnTo>
                  <a:lnTo>
                    <a:pt x="99" y="282"/>
                  </a:lnTo>
                  <a:lnTo>
                    <a:pt x="99" y="282"/>
                  </a:lnTo>
                  <a:lnTo>
                    <a:pt x="97" y="282"/>
                  </a:lnTo>
                  <a:lnTo>
                    <a:pt x="97" y="282"/>
                  </a:lnTo>
                  <a:lnTo>
                    <a:pt x="95" y="282"/>
                  </a:lnTo>
                  <a:lnTo>
                    <a:pt x="95" y="283"/>
                  </a:lnTo>
                  <a:lnTo>
                    <a:pt x="95" y="283"/>
                  </a:lnTo>
                  <a:lnTo>
                    <a:pt x="93" y="283"/>
                  </a:lnTo>
                  <a:lnTo>
                    <a:pt x="93" y="283"/>
                  </a:lnTo>
                  <a:lnTo>
                    <a:pt x="91" y="282"/>
                  </a:lnTo>
                  <a:lnTo>
                    <a:pt x="91" y="282"/>
                  </a:lnTo>
                  <a:lnTo>
                    <a:pt x="91" y="282"/>
                  </a:lnTo>
                  <a:lnTo>
                    <a:pt x="91" y="282"/>
                  </a:lnTo>
                  <a:lnTo>
                    <a:pt x="88" y="283"/>
                  </a:lnTo>
                  <a:lnTo>
                    <a:pt x="88" y="283"/>
                  </a:lnTo>
                  <a:lnTo>
                    <a:pt x="88" y="283"/>
                  </a:lnTo>
                  <a:lnTo>
                    <a:pt x="88" y="283"/>
                  </a:lnTo>
                  <a:lnTo>
                    <a:pt x="88" y="283"/>
                  </a:lnTo>
                  <a:lnTo>
                    <a:pt x="88" y="285"/>
                  </a:lnTo>
                  <a:lnTo>
                    <a:pt x="88" y="285"/>
                  </a:lnTo>
                  <a:lnTo>
                    <a:pt x="88" y="285"/>
                  </a:lnTo>
                  <a:lnTo>
                    <a:pt x="86" y="287"/>
                  </a:lnTo>
                  <a:lnTo>
                    <a:pt x="86" y="287"/>
                  </a:lnTo>
                  <a:lnTo>
                    <a:pt x="86" y="287"/>
                  </a:lnTo>
                  <a:lnTo>
                    <a:pt x="86" y="287"/>
                  </a:lnTo>
                  <a:lnTo>
                    <a:pt x="86" y="289"/>
                  </a:lnTo>
                  <a:lnTo>
                    <a:pt x="86" y="291"/>
                  </a:lnTo>
                  <a:lnTo>
                    <a:pt x="86" y="291"/>
                  </a:lnTo>
                  <a:lnTo>
                    <a:pt x="86" y="293"/>
                  </a:lnTo>
                  <a:lnTo>
                    <a:pt x="86" y="293"/>
                  </a:lnTo>
                  <a:lnTo>
                    <a:pt x="86" y="293"/>
                  </a:lnTo>
                  <a:lnTo>
                    <a:pt x="86" y="293"/>
                  </a:lnTo>
                  <a:lnTo>
                    <a:pt x="86" y="293"/>
                  </a:lnTo>
                  <a:lnTo>
                    <a:pt x="86" y="295"/>
                  </a:lnTo>
                  <a:lnTo>
                    <a:pt x="86" y="297"/>
                  </a:lnTo>
                  <a:lnTo>
                    <a:pt x="86" y="299"/>
                  </a:lnTo>
                  <a:lnTo>
                    <a:pt x="86" y="299"/>
                  </a:lnTo>
                  <a:lnTo>
                    <a:pt x="86" y="299"/>
                  </a:lnTo>
                  <a:lnTo>
                    <a:pt x="84" y="301"/>
                  </a:lnTo>
                  <a:lnTo>
                    <a:pt x="84" y="302"/>
                  </a:lnTo>
                  <a:lnTo>
                    <a:pt x="82" y="304"/>
                  </a:lnTo>
                  <a:lnTo>
                    <a:pt x="82" y="304"/>
                  </a:lnTo>
                  <a:lnTo>
                    <a:pt x="82" y="304"/>
                  </a:lnTo>
                  <a:lnTo>
                    <a:pt x="84" y="306"/>
                  </a:lnTo>
                  <a:lnTo>
                    <a:pt x="88" y="312"/>
                  </a:lnTo>
                  <a:lnTo>
                    <a:pt x="88" y="314"/>
                  </a:lnTo>
                  <a:lnTo>
                    <a:pt x="88" y="314"/>
                  </a:lnTo>
                  <a:lnTo>
                    <a:pt x="90" y="316"/>
                  </a:lnTo>
                  <a:lnTo>
                    <a:pt x="90" y="316"/>
                  </a:lnTo>
                  <a:lnTo>
                    <a:pt x="91" y="323"/>
                  </a:lnTo>
                  <a:lnTo>
                    <a:pt x="91" y="325"/>
                  </a:lnTo>
                  <a:lnTo>
                    <a:pt x="91" y="329"/>
                  </a:lnTo>
                  <a:lnTo>
                    <a:pt x="91" y="329"/>
                  </a:lnTo>
                  <a:lnTo>
                    <a:pt x="91" y="331"/>
                  </a:lnTo>
                  <a:lnTo>
                    <a:pt x="91" y="331"/>
                  </a:lnTo>
                  <a:lnTo>
                    <a:pt x="91" y="333"/>
                  </a:lnTo>
                  <a:lnTo>
                    <a:pt x="93" y="339"/>
                  </a:lnTo>
                  <a:lnTo>
                    <a:pt x="93" y="344"/>
                  </a:lnTo>
                  <a:lnTo>
                    <a:pt x="93" y="346"/>
                  </a:lnTo>
                  <a:lnTo>
                    <a:pt x="93" y="346"/>
                  </a:lnTo>
                  <a:lnTo>
                    <a:pt x="93" y="346"/>
                  </a:lnTo>
                  <a:lnTo>
                    <a:pt x="99" y="356"/>
                  </a:lnTo>
                  <a:lnTo>
                    <a:pt x="99" y="359"/>
                  </a:lnTo>
                  <a:lnTo>
                    <a:pt x="97" y="367"/>
                  </a:lnTo>
                  <a:lnTo>
                    <a:pt x="99" y="371"/>
                  </a:lnTo>
                  <a:lnTo>
                    <a:pt x="99" y="373"/>
                  </a:lnTo>
                  <a:lnTo>
                    <a:pt x="101" y="375"/>
                  </a:lnTo>
                  <a:lnTo>
                    <a:pt x="101" y="377"/>
                  </a:lnTo>
                  <a:lnTo>
                    <a:pt x="101" y="379"/>
                  </a:lnTo>
                  <a:lnTo>
                    <a:pt x="101" y="380"/>
                  </a:lnTo>
                  <a:lnTo>
                    <a:pt x="99" y="384"/>
                  </a:lnTo>
                  <a:lnTo>
                    <a:pt x="99" y="384"/>
                  </a:lnTo>
                  <a:lnTo>
                    <a:pt x="99" y="386"/>
                  </a:lnTo>
                  <a:lnTo>
                    <a:pt x="99" y="386"/>
                  </a:lnTo>
                  <a:lnTo>
                    <a:pt x="99" y="388"/>
                  </a:lnTo>
                  <a:lnTo>
                    <a:pt x="101" y="390"/>
                  </a:lnTo>
                  <a:lnTo>
                    <a:pt x="103" y="392"/>
                  </a:lnTo>
                  <a:lnTo>
                    <a:pt x="103" y="394"/>
                  </a:lnTo>
                  <a:lnTo>
                    <a:pt x="105" y="396"/>
                  </a:lnTo>
                  <a:lnTo>
                    <a:pt x="105" y="398"/>
                  </a:lnTo>
                  <a:lnTo>
                    <a:pt x="105" y="398"/>
                  </a:lnTo>
                  <a:lnTo>
                    <a:pt x="103" y="399"/>
                  </a:lnTo>
                  <a:lnTo>
                    <a:pt x="103" y="399"/>
                  </a:lnTo>
                  <a:lnTo>
                    <a:pt x="103" y="399"/>
                  </a:lnTo>
                  <a:lnTo>
                    <a:pt x="103" y="401"/>
                  </a:lnTo>
                  <a:lnTo>
                    <a:pt x="103" y="403"/>
                  </a:lnTo>
                  <a:lnTo>
                    <a:pt x="103" y="405"/>
                  </a:lnTo>
                  <a:lnTo>
                    <a:pt x="103" y="405"/>
                  </a:lnTo>
                  <a:lnTo>
                    <a:pt x="103" y="407"/>
                  </a:lnTo>
                  <a:lnTo>
                    <a:pt x="103" y="407"/>
                  </a:lnTo>
                  <a:lnTo>
                    <a:pt x="103" y="407"/>
                  </a:lnTo>
                  <a:lnTo>
                    <a:pt x="103" y="407"/>
                  </a:lnTo>
                  <a:lnTo>
                    <a:pt x="103" y="407"/>
                  </a:lnTo>
                  <a:lnTo>
                    <a:pt x="101" y="409"/>
                  </a:lnTo>
                  <a:lnTo>
                    <a:pt x="101" y="411"/>
                  </a:lnTo>
                  <a:lnTo>
                    <a:pt x="99" y="413"/>
                  </a:lnTo>
                  <a:lnTo>
                    <a:pt x="99" y="415"/>
                  </a:lnTo>
                  <a:lnTo>
                    <a:pt x="99" y="417"/>
                  </a:lnTo>
                  <a:lnTo>
                    <a:pt x="99" y="418"/>
                  </a:lnTo>
                  <a:lnTo>
                    <a:pt x="101" y="418"/>
                  </a:lnTo>
                  <a:lnTo>
                    <a:pt x="101" y="420"/>
                  </a:lnTo>
                  <a:lnTo>
                    <a:pt x="101" y="420"/>
                  </a:lnTo>
                  <a:lnTo>
                    <a:pt x="101" y="422"/>
                  </a:lnTo>
                  <a:lnTo>
                    <a:pt x="101" y="424"/>
                  </a:lnTo>
                  <a:lnTo>
                    <a:pt x="101" y="426"/>
                  </a:lnTo>
                  <a:lnTo>
                    <a:pt x="101" y="428"/>
                  </a:lnTo>
                  <a:lnTo>
                    <a:pt x="101" y="430"/>
                  </a:lnTo>
                  <a:lnTo>
                    <a:pt x="101" y="430"/>
                  </a:lnTo>
                  <a:lnTo>
                    <a:pt x="101" y="430"/>
                  </a:lnTo>
                  <a:lnTo>
                    <a:pt x="99" y="430"/>
                  </a:lnTo>
                  <a:lnTo>
                    <a:pt x="99" y="430"/>
                  </a:lnTo>
                  <a:lnTo>
                    <a:pt x="99" y="430"/>
                  </a:lnTo>
                  <a:lnTo>
                    <a:pt x="99" y="430"/>
                  </a:lnTo>
                  <a:lnTo>
                    <a:pt x="99" y="432"/>
                  </a:lnTo>
                  <a:lnTo>
                    <a:pt x="99" y="432"/>
                  </a:lnTo>
                  <a:lnTo>
                    <a:pt x="99" y="432"/>
                  </a:lnTo>
                  <a:lnTo>
                    <a:pt x="101" y="432"/>
                  </a:lnTo>
                  <a:lnTo>
                    <a:pt x="101" y="432"/>
                  </a:lnTo>
                  <a:lnTo>
                    <a:pt x="101" y="432"/>
                  </a:lnTo>
                  <a:lnTo>
                    <a:pt x="101" y="432"/>
                  </a:lnTo>
                  <a:lnTo>
                    <a:pt x="101" y="432"/>
                  </a:lnTo>
                  <a:lnTo>
                    <a:pt x="103" y="432"/>
                  </a:lnTo>
                  <a:lnTo>
                    <a:pt x="103" y="432"/>
                  </a:lnTo>
                  <a:lnTo>
                    <a:pt x="103" y="432"/>
                  </a:lnTo>
                  <a:lnTo>
                    <a:pt x="103" y="434"/>
                  </a:lnTo>
                  <a:lnTo>
                    <a:pt x="103" y="434"/>
                  </a:lnTo>
                  <a:lnTo>
                    <a:pt x="105" y="434"/>
                  </a:lnTo>
                  <a:lnTo>
                    <a:pt x="105" y="436"/>
                  </a:lnTo>
                  <a:lnTo>
                    <a:pt x="107" y="436"/>
                  </a:lnTo>
                  <a:lnTo>
                    <a:pt x="107" y="437"/>
                  </a:lnTo>
                  <a:lnTo>
                    <a:pt x="105" y="439"/>
                  </a:lnTo>
                  <a:lnTo>
                    <a:pt x="105" y="439"/>
                  </a:lnTo>
                  <a:lnTo>
                    <a:pt x="105" y="441"/>
                  </a:lnTo>
                  <a:lnTo>
                    <a:pt x="103" y="443"/>
                  </a:lnTo>
                  <a:lnTo>
                    <a:pt x="105" y="445"/>
                  </a:lnTo>
                  <a:lnTo>
                    <a:pt x="109" y="447"/>
                  </a:lnTo>
                  <a:lnTo>
                    <a:pt x="112" y="449"/>
                  </a:lnTo>
                  <a:lnTo>
                    <a:pt x="116" y="451"/>
                  </a:lnTo>
                  <a:lnTo>
                    <a:pt x="116" y="453"/>
                  </a:lnTo>
                  <a:lnTo>
                    <a:pt x="118" y="455"/>
                  </a:lnTo>
                  <a:lnTo>
                    <a:pt x="120" y="455"/>
                  </a:lnTo>
                  <a:lnTo>
                    <a:pt x="122" y="455"/>
                  </a:lnTo>
                  <a:lnTo>
                    <a:pt x="122" y="455"/>
                  </a:lnTo>
                  <a:lnTo>
                    <a:pt x="122" y="455"/>
                  </a:lnTo>
                  <a:lnTo>
                    <a:pt x="124" y="455"/>
                  </a:lnTo>
                  <a:lnTo>
                    <a:pt x="124" y="455"/>
                  </a:lnTo>
                  <a:lnTo>
                    <a:pt x="126" y="455"/>
                  </a:lnTo>
                  <a:lnTo>
                    <a:pt x="126" y="453"/>
                  </a:lnTo>
                  <a:lnTo>
                    <a:pt x="130" y="453"/>
                  </a:lnTo>
                  <a:lnTo>
                    <a:pt x="131" y="455"/>
                  </a:lnTo>
                  <a:lnTo>
                    <a:pt x="133" y="455"/>
                  </a:lnTo>
                  <a:lnTo>
                    <a:pt x="133" y="455"/>
                  </a:lnTo>
                  <a:lnTo>
                    <a:pt x="133" y="456"/>
                  </a:lnTo>
                  <a:lnTo>
                    <a:pt x="133" y="456"/>
                  </a:lnTo>
                  <a:lnTo>
                    <a:pt x="133" y="456"/>
                  </a:lnTo>
                  <a:lnTo>
                    <a:pt x="135" y="460"/>
                  </a:lnTo>
                  <a:lnTo>
                    <a:pt x="137" y="460"/>
                  </a:lnTo>
                  <a:lnTo>
                    <a:pt x="168" y="475"/>
                  </a:lnTo>
                  <a:lnTo>
                    <a:pt x="168" y="475"/>
                  </a:lnTo>
                  <a:lnTo>
                    <a:pt x="166" y="477"/>
                  </a:lnTo>
                  <a:lnTo>
                    <a:pt x="168" y="479"/>
                  </a:lnTo>
                  <a:lnTo>
                    <a:pt x="168" y="481"/>
                  </a:lnTo>
                  <a:lnTo>
                    <a:pt x="170" y="483"/>
                  </a:lnTo>
                  <a:lnTo>
                    <a:pt x="171" y="483"/>
                  </a:lnTo>
                  <a:lnTo>
                    <a:pt x="173" y="483"/>
                  </a:lnTo>
                  <a:lnTo>
                    <a:pt x="177" y="481"/>
                  </a:lnTo>
                  <a:lnTo>
                    <a:pt x="179" y="479"/>
                  </a:lnTo>
                  <a:lnTo>
                    <a:pt x="179" y="481"/>
                  </a:lnTo>
                  <a:lnTo>
                    <a:pt x="183" y="483"/>
                  </a:lnTo>
                  <a:lnTo>
                    <a:pt x="185" y="485"/>
                  </a:lnTo>
                  <a:lnTo>
                    <a:pt x="187" y="485"/>
                  </a:lnTo>
                  <a:lnTo>
                    <a:pt x="191" y="483"/>
                  </a:lnTo>
                  <a:lnTo>
                    <a:pt x="192" y="483"/>
                  </a:lnTo>
                  <a:lnTo>
                    <a:pt x="194" y="481"/>
                  </a:lnTo>
                  <a:lnTo>
                    <a:pt x="196" y="481"/>
                  </a:lnTo>
                  <a:lnTo>
                    <a:pt x="196" y="479"/>
                  </a:lnTo>
                  <a:lnTo>
                    <a:pt x="196" y="475"/>
                  </a:lnTo>
                  <a:lnTo>
                    <a:pt x="198" y="475"/>
                  </a:lnTo>
                  <a:lnTo>
                    <a:pt x="200" y="474"/>
                  </a:lnTo>
                  <a:lnTo>
                    <a:pt x="202" y="475"/>
                  </a:lnTo>
                  <a:lnTo>
                    <a:pt x="202" y="477"/>
                  </a:lnTo>
                  <a:lnTo>
                    <a:pt x="200" y="479"/>
                  </a:lnTo>
                  <a:lnTo>
                    <a:pt x="198" y="485"/>
                  </a:lnTo>
                  <a:lnTo>
                    <a:pt x="198" y="487"/>
                  </a:lnTo>
                  <a:lnTo>
                    <a:pt x="198" y="489"/>
                  </a:lnTo>
                  <a:lnTo>
                    <a:pt x="198" y="495"/>
                  </a:lnTo>
                  <a:lnTo>
                    <a:pt x="198" y="496"/>
                  </a:lnTo>
                  <a:lnTo>
                    <a:pt x="198" y="498"/>
                  </a:lnTo>
                  <a:lnTo>
                    <a:pt x="196" y="500"/>
                  </a:lnTo>
                  <a:lnTo>
                    <a:pt x="196" y="502"/>
                  </a:lnTo>
                  <a:lnTo>
                    <a:pt x="196" y="504"/>
                  </a:lnTo>
                  <a:lnTo>
                    <a:pt x="198" y="512"/>
                  </a:lnTo>
                  <a:lnTo>
                    <a:pt x="202" y="515"/>
                  </a:lnTo>
                  <a:lnTo>
                    <a:pt x="206" y="515"/>
                  </a:lnTo>
                  <a:lnTo>
                    <a:pt x="208" y="515"/>
                  </a:lnTo>
                  <a:lnTo>
                    <a:pt x="211" y="514"/>
                  </a:lnTo>
                  <a:lnTo>
                    <a:pt x="215" y="514"/>
                  </a:lnTo>
                  <a:lnTo>
                    <a:pt x="221" y="517"/>
                  </a:lnTo>
                  <a:lnTo>
                    <a:pt x="225" y="517"/>
                  </a:lnTo>
                  <a:lnTo>
                    <a:pt x="229" y="515"/>
                  </a:lnTo>
                  <a:lnTo>
                    <a:pt x="232" y="515"/>
                  </a:lnTo>
                  <a:lnTo>
                    <a:pt x="234" y="515"/>
                  </a:lnTo>
                  <a:lnTo>
                    <a:pt x="238" y="519"/>
                  </a:lnTo>
                  <a:lnTo>
                    <a:pt x="242" y="521"/>
                  </a:lnTo>
                  <a:lnTo>
                    <a:pt x="248" y="523"/>
                  </a:lnTo>
                  <a:lnTo>
                    <a:pt x="252" y="525"/>
                  </a:lnTo>
                  <a:lnTo>
                    <a:pt x="257" y="531"/>
                  </a:lnTo>
                  <a:lnTo>
                    <a:pt x="261" y="529"/>
                  </a:lnTo>
                  <a:lnTo>
                    <a:pt x="267" y="529"/>
                  </a:lnTo>
                  <a:lnTo>
                    <a:pt x="269" y="529"/>
                  </a:lnTo>
                  <a:lnTo>
                    <a:pt x="269" y="527"/>
                  </a:lnTo>
                  <a:lnTo>
                    <a:pt x="271" y="527"/>
                  </a:lnTo>
                  <a:lnTo>
                    <a:pt x="271" y="527"/>
                  </a:lnTo>
                  <a:lnTo>
                    <a:pt x="271" y="527"/>
                  </a:lnTo>
                  <a:lnTo>
                    <a:pt x="271" y="529"/>
                  </a:lnTo>
                  <a:lnTo>
                    <a:pt x="271" y="531"/>
                  </a:lnTo>
                  <a:lnTo>
                    <a:pt x="272" y="531"/>
                  </a:lnTo>
                  <a:lnTo>
                    <a:pt x="272" y="531"/>
                  </a:lnTo>
                  <a:lnTo>
                    <a:pt x="274" y="533"/>
                  </a:lnTo>
                  <a:lnTo>
                    <a:pt x="274" y="533"/>
                  </a:lnTo>
                  <a:lnTo>
                    <a:pt x="276" y="533"/>
                  </a:lnTo>
                  <a:lnTo>
                    <a:pt x="280" y="529"/>
                  </a:lnTo>
                  <a:lnTo>
                    <a:pt x="284" y="525"/>
                  </a:lnTo>
                  <a:lnTo>
                    <a:pt x="286" y="523"/>
                  </a:lnTo>
                  <a:lnTo>
                    <a:pt x="293" y="523"/>
                  </a:lnTo>
                  <a:lnTo>
                    <a:pt x="295" y="521"/>
                  </a:lnTo>
                  <a:lnTo>
                    <a:pt x="295" y="521"/>
                  </a:lnTo>
                  <a:lnTo>
                    <a:pt x="297" y="519"/>
                  </a:lnTo>
                  <a:lnTo>
                    <a:pt x="297" y="519"/>
                  </a:lnTo>
                  <a:lnTo>
                    <a:pt x="297" y="519"/>
                  </a:lnTo>
                  <a:lnTo>
                    <a:pt x="299" y="515"/>
                  </a:lnTo>
                  <a:lnTo>
                    <a:pt x="299" y="515"/>
                  </a:lnTo>
                  <a:lnTo>
                    <a:pt x="303" y="514"/>
                  </a:lnTo>
                  <a:lnTo>
                    <a:pt x="305" y="512"/>
                  </a:lnTo>
                  <a:lnTo>
                    <a:pt x="307" y="512"/>
                  </a:lnTo>
                  <a:lnTo>
                    <a:pt x="307" y="512"/>
                  </a:lnTo>
                  <a:lnTo>
                    <a:pt x="309" y="510"/>
                  </a:lnTo>
                  <a:lnTo>
                    <a:pt x="309" y="508"/>
                  </a:lnTo>
                  <a:lnTo>
                    <a:pt x="311" y="506"/>
                  </a:lnTo>
                  <a:lnTo>
                    <a:pt x="311" y="504"/>
                  </a:lnTo>
                  <a:lnTo>
                    <a:pt x="312" y="500"/>
                  </a:lnTo>
                  <a:lnTo>
                    <a:pt x="314" y="500"/>
                  </a:lnTo>
                  <a:lnTo>
                    <a:pt x="314" y="498"/>
                  </a:lnTo>
                  <a:lnTo>
                    <a:pt x="316" y="498"/>
                  </a:lnTo>
                  <a:lnTo>
                    <a:pt x="316" y="496"/>
                  </a:lnTo>
                  <a:lnTo>
                    <a:pt x="316" y="496"/>
                  </a:lnTo>
                  <a:lnTo>
                    <a:pt x="316" y="495"/>
                  </a:lnTo>
                  <a:lnTo>
                    <a:pt x="314" y="491"/>
                  </a:lnTo>
                  <a:lnTo>
                    <a:pt x="314" y="489"/>
                  </a:lnTo>
                  <a:lnTo>
                    <a:pt x="314" y="485"/>
                  </a:lnTo>
                  <a:lnTo>
                    <a:pt x="314" y="483"/>
                  </a:lnTo>
                  <a:lnTo>
                    <a:pt x="314" y="483"/>
                  </a:lnTo>
                  <a:lnTo>
                    <a:pt x="314" y="481"/>
                  </a:lnTo>
                  <a:lnTo>
                    <a:pt x="314" y="481"/>
                  </a:lnTo>
                  <a:lnTo>
                    <a:pt x="312" y="479"/>
                  </a:lnTo>
                  <a:lnTo>
                    <a:pt x="312" y="477"/>
                  </a:lnTo>
                  <a:lnTo>
                    <a:pt x="311" y="477"/>
                  </a:lnTo>
                  <a:lnTo>
                    <a:pt x="311" y="475"/>
                  </a:lnTo>
                  <a:lnTo>
                    <a:pt x="309" y="474"/>
                  </a:lnTo>
                  <a:lnTo>
                    <a:pt x="307" y="472"/>
                  </a:lnTo>
                  <a:lnTo>
                    <a:pt x="305" y="470"/>
                  </a:lnTo>
                  <a:lnTo>
                    <a:pt x="305" y="468"/>
                  </a:lnTo>
                  <a:lnTo>
                    <a:pt x="305" y="466"/>
                  </a:lnTo>
                  <a:lnTo>
                    <a:pt x="305" y="466"/>
                  </a:lnTo>
                  <a:lnTo>
                    <a:pt x="305" y="464"/>
                  </a:lnTo>
                  <a:lnTo>
                    <a:pt x="307" y="464"/>
                  </a:lnTo>
                  <a:lnTo>
                    <a:pt x="309" y="462"/>
                  </a:lnTo>
                  <a:lnTo>
                    <a:pt x="309" y="462"/>
                  </a:lnTo>
                  <a:lnTo>
                    <a:pt x="311" y="464"/>
                  </a:lnTo>
                  <a:lnTo>
                    <a:pt x="312" y="464"/>
                  </a:lnTo>
                  <a:lnTo>
                    <a:pt x="314" y="464"/>
                  </a:lnTo>
                  <a:lnTo>
                    <a:pt x="314" y="464"/>
                  </a:lnTo>
                  <a:lnTo>
                    <a:pt x="314" y="466"/>
                  </a:lnTo>
                  <a:lnTo>
                    <a:pt x="316" y="468"/>
                  </a:lnTo>
                  <a:lnTo>
                    <a:pt x="318" y="468"/>
                  </a:lnTo>
                  <a:lnTo>
                    <a:pt x="318" y="468"/>
                  </a:lnTo>
                  <a:lnTo>
                    <a:pt x="320" y="466"/>
                  </a:lnTo>
                  <a:lnTo>
                    <a:pt x="328" y="460"/>
                  </a:lnTo>
                  <a:lnTo>
                    <a:pt x="330" y="458"/>
                  </a:lnTo>
                  <a:lnTo>
                    <a:pt x="330" y="456"/>
                  </a:lnTo>
                  <a:lnTo>
                    <a:pt x="332" y="455"/>
                  </a:lnTo>
                  <a:lnTo>
                    <a:pt x="337" y="453"/>
                  </a:lnTo>
                  <a:lnTo>
                    <a:pt x="341" y="453"/>
                  </a:lnTo>
                  <a:lnTo>
                    <a:pt x="343" y="451"/>
                  </a:lnTo>
                  <a:lnTo>
                    <a:pt x="345" y="449"/>
                  </a:lnTo>
                  <a:lnTo>
                    <a:pt x="347" y="447"/>
                  </a:lnTo>
                  <a:lnTo>
                    <a:pt x="347" y="445"/>
                  </a:lnTo>
                  <a:lnTo>
                    <a:pt x="349" y="443"/>
                  </a:lnTo>
                  <a:lnTo>
                    <a:pt x="349" y="443"/>
                  </a:lnTo>
                  <a:lnTo>
                    <a:pt x="349" y="441"/>
                  </a:lnTo>
                  <a:lnTo>
                    <a:pt x="351" y="441"/>
                  </a:lnTo>
                  <a:lnTo>
                    <a:pt x="354" y="437"/>
                  </a:lnTo>
                  <a:lnTo>
                    <a:pt x="358" y="436"/>
                  </a:lnTo>
                  <a:lnTo>
                    <a:pt x="370" y="434"/>
                  </a:lnTo>
                  <a:lnTo>
                    <a:pt x="373" y="432"/>
                  </a:lnTo>
                  <a:lnTo>
                    <a:pt x="373" y="432"/>
                  </a:lnTo>
                  <a:lnTo>
                    <a:pt x="379" y="436"/>
                  </a:lnTo>
                  <a:lnTo>
                    <a:pt x="381" y="436"/>
                  </a:lnTo>
                  <a:lnTo>
                    <a:pt x="391" y="436"/>
                  </a:lnTo>
                  <a:lnTo>
                    <a:pt x="393" y="436"/>
                  </a:lnTo>
                  <a:lnTo>
                    <a:pt x="394" y="436"/>
                  </a:lnTo>
                  <a:lnTo>
                    <a:pt x="398" y="443"/>
                  </a:lnTo>
                  <a:lnTo>
                    <a:pt x="400" y="443"/>
                  </a:lnTo>
                  <a:lnTo>
                    <a:pt x="406" y="449"/>
                  </a:lnTo>
                  <a:lnTo>
                    <a:pt x="408" y="451"/>
                  </a:lnTo>
                  <a:lnTo>
                    <a:pt x="410" y="453"/>
                  </a:lnTo>
                  <a:lnTo>
                    <a:pt x="412" y="455"/>
                  </a:lnTo>
                  <a:lnTo>
                    <a:pt x="415" y="456"/>
                  </a:lnTo>
                  <a:lnTo>
                    <a:pt x="423" y="462"/>
                  </a:lnTo>
                  <a:lnTo>
                    <a:pt x="427" y="464"/>
                  </a:lnTo>
                  <a:lnTo>
                    <a:pt x="434" y="468"/>
                  </a:lnTo>
                  <a:lnTo>
                    <a:pt x="448" y="472"/>
                  </a:lnTo>
                  <a:lnTo>
                    <a:pt x="450" y="472"/>
                  </a:lnTo>
                  <a:lnTo>
                    <a:pt x="450" y="470"/>
                  </a:lnTo>
                  <a:lnTo>
                    <a:pt x="450" y="470"/>
                  </a:lnTo>
                  <a:lnTo>
                    <a:pt x="452" y="470"/>
                  </a:lnTo>
                  <a:lnTo>
                    <a:pt x="452" y="468"/>
                  </a:lnTo>
                  <a:lnTo>
                    <a:pt x="455" y="468"/>
                  </a:lnTo>
                  <a:lnTo>
                    <a:pt x="459" y="468"/>
                  </a:lnTo>
                  <a:lnTo>
                    <a:pt x="461" y="466"/>
                  </a:lnTo>
                  <a:lnTo>
                    <a:pt x="465" y="466"/>
                  </a:lnTo>
                  <a:lnTo>
                    <a:pt x="467" y="466"/>
                  </a:lnTo>
                  <a:lnTo>
                    <a:pt x="467" y="464"/>
                  </a:lnTo>
                  <a:lnTo>
                    <a:pt x="469" y="464"/>
                  </a:lnTo>
                  <a:lnTo>
                    <a:pt x="471" y="460"/>
                  </a:lnTo>
                  <a:lnTo>
                    <a:pt x="473" y="460"/>
                  </a:lnTo>
                  <a:lnTo>
                    <a:pt x="473" y="460"/>
                  </a:lnTo>
                  <a:lnTo>
                    <a:pt x="474" y="460"/>
                  </a:lnTo>
                  <a:lnTo>
                    <a:pt x="474" y="458"/>
                  </a:lnTo>
                  <a:lnTo>
                    <a:pt x="476" y="458"/>
                  </a:lnTo>
                  <a:lnTo>
                    <a:pt x="476" y="456"/>
                  </a:lnTo>
                  <a:lnTo>
                    <a:pt x="476" y="456"/>
                  </a:lnTo>
                  <a:lnTo>
                    <a:pt x="478" y="456"/>
                  </a:lnTo>
                  <a:lnTo>
                    <a:pt x="480" y="455"/>
                  </a:lnTo>
                  <a:lnTo>
                    <a:pt x="480" y="455"/>
                  </a:lnTo>
                  <a:lnTo>
                    <a:pt x="482" y="455"/>
                  </a:lnTo>
                  <a:lnTo>
                    <a:pt x="482" y="456"/>
                  </a:lnTo>
                  <a:lnTo>
                    <a:pt x="484" y="458"/>
                  </a:lnTo>
                  <a:lnTo>
                    <a:pt x="486" y="460"/>
                  </a:lnTo>
                  <a:lnTo>
                    <a:pt x="492" y="466"/>
                  </a:lnTo>
                  <a:lnTo>
                    <a:pt x="494" y="470"/>
                  </a:lnTo>
                  <a:lnTo>
                    <a:pt x="497" y="477"/>
                  </a:lnTo>
                  <a:lnTo>
                    <a:pt x="499" y="479"/>
                  </a:lnTo>
                  <a:lnTo>
                    <a:pt x="499" y="481"/>
                  </a:lnTo>
                  <a:lnTo>
                    <a:pt x="501" y="483"/>
                  </a:lnTo>
                  <a:lnTo>
                    <a:pt x="501" y="489"/>
                  </a:lnTo>
                  <a:lnTo>
                    <a:pt x="501" y="491"/>
                  </a:lnTo>
                  <a:lnTo>
                    <a:pt x="503" y="491"/>
                  </a:lnTo>
                  <a:lnTo>
                    <a:pt x="505" y="495"/>
                  </a:lnTo>
                  <a:lnTo>
                    <a:pt x="505" y="495"/>
                  </a:lnTo>
                  <a:lnTo>
                    <a:pt x="507" y="496"/>
                  </a:lnTo>
                  <a:lnTo>
                    <a:pt x="507" y="498"/>
                  </a:lnTo>
                  <a:lnTo>
                    <a:pt x="509" y="500"/>
                  </a:lnTo>
                  <a:lnTo>
                    <a:pt x="511" y="500"/>
                  </a:lnTo>
                  <a:lnTo>
                    <a:pt x="513" y="498"/>
                  </a:lnTo>
                  <a:lnTo>
                    <a:pt x="514" y="496"/>
                  </a:lnTo>
                  <a:lnTo>
                    <a:pt x="514" y="496"/>
                  </a:lnTo>
                  <a:lnTo>
                    <a:pt x="514" y="496"/>
                  </a:lnTo>
                  <a:lnTo>
                    <a:pt x="516" y="495"/>
                  </a:lnTo>
                  <a:lnTo>
                    <a:pt x="516" y="495"/>
                  </a:lnTo>
                  <a:lnTo>
                    <a:pt x="516" y="495"/>
                  </a:lnTo>
                  <a:lnTo>
                    <a:pt x="518" y="493"/>
                  </a:lnTo>
                  <a:lnTo>
                    <a:pt x="520" y="493"/>
                  </a:lnTo>
                  <a:lnTo>
                    <a:pt x="522" y="493"/>
                  </a:lnTo>
                  <a:lnTo>
                    <a:pt x="524" y="491"/>
                  </a:lnTo>
                  <a:lnTo>
                    <a:pt x="524" y="491"/>
                  </a:lnTo>
                  <a:lnTo>
                    <a:pt x="526" y="491"/>
                  </a:lnTo>
                  <a:lnTo>
                    <a:pt x="528" y="491"/>
                  </a:lnTo>
                  <a:lnTo>
                    <a:pt x="530" y="491"/>
                  </a:lnTo>
                  <a:lnTo>
                    <a:pt x="530" y="491"/>
                  </a:lnTo>
                  <a:lnTo>
                    <a:pt x="532" y="489"/>
                  </a:lnTo>
                  <a:lnTo>
                    <a:pt x="534" y="487"/>
                  </a:lnTo>
                  <a:lnTo>
                    <a:pt x="535" y="487"/>
                  </a:lnTo>
                  <a:lnTo>
                    <a:pt x="535" y="485"/>
                  </a:lnTo>
                  <a:lnTo>
                    <a:pt x="537" y="485"/>
                  </a:lnTo>
                  <a:lnTo>
                    <a:pt x="535" y="483"/>
                  </a:lnTo>
                  <a:lnTo>
                    <a:pt x="537" y="483"/>
                  </a:lnTo>
                  <a:lnTo>
                    <a:pt x="537" y="483"/>
                  </a:lnTo>
                  <a:lnTo>
                    <a:pt x="537" y="483"/>
                  </a:lnTo>
                  <a:lnTo>
                    <a:pt x="539" y="481"/>
                  </a:lnTo>
                  <a:lnTo>
                    <a:pt x="541" y="483"/>
                  </a:lnTo>
                  <a:lnTo>
                    <a:pt x="541" y="483"/>
                  </a:lnTo>
                  <a:lnTo>
                    <a:pt x="541" y="483"/>
                  </a:lnTo>
                  <a:lnTo>
                    <a:pt x="541" y="483"/>
                  </a:lnTo>
                  <a:lnTo>
                    <a:pt x="543" y="487"/>
                  </a:lnTo>
                  <a:lnTo>
                    <a:pt x="543" y="489"/>
                  </a:lnTo>
                  <a:lnTo>
                    <a:pt x="543" y="489"/>
                  </a:lnTo>
                  <a:lnTo>
                    <a:pt x="543" y="493"/>
                  </a:lnTo>
                  <a:lnTo>
                    <a:pt x="541" y="495"/>
                  </a:lnTo>
                  <a:lnTo>
                    <a:pt x="541" y="495"/>
                  </a:lnTo>
                  <a:lnTo>
                    <a:pt x="541" y="496"/>
                  </a:lnTo>
                  <a:lnTo>
                    <a:pt x="541" y="496"/>
                  </a:lnTo>
                  <a:lnTo>
                    <a:pt x="537" y="498"/>
                  </a:lnTo>
                  <a:lnTo>
                    <a:pt x="535" y="500"/>
                  </a:lnTo>
                  <a:lnTo>
                    <a:pt x="535" y="500"/>
                  </a:lnTo>
                  <a:lnTo>
                    <a:pt x="535" y="502"/>
                  </a:lnTo>
                  <a:lnTo>
                    <a:pt x="534" y="504"/>
                  </a:lnTo>
                  <a:lnTo>
                    <a:pt x="534" y="506"/>
                  </a:lnTo>
                  <a:lnTo>
                    <a:pt x="534" y="508"/>
                  </a:lnTo>
                  <a:lnTo>
                    <a:pt x="532" y="510"/>
                  </a:lnTo>
                  <a:lnTo>
                    <a:pt x="532" y="512"/>
                  </a:lnTo>
                  <a:lnTo>
                    <a:pt x="532" y="512"/>
                  </a:lnTo>
                  <a:lnTo>
                    <a:pt x="534" y="514"/>
                  </a:lnTo>
                  <a:lnTo>
                    <a:pt x="534" y="514"/>
                  </a:lnTo>
                  <a:lnTo>
                    <a:pt x="535" y="515"/>
                  </a:lnTo>
                  <a:lnTo>
                    <a:pt x="535" y="515"/>
                  </a:lnTo>
                  <a:lnTo>
                    <a:pt x="541" y="510"/>
                  </a:lnTo>
                  <a:lnTo>
                    <a:pt x="543" y="508"/>
                  </a:lnTo>
                  <a:lnTo>
                    <a:pt x="543" y="506"/>
                  </a:lnTo>
                  <a:lnTo>
                    <a:pt x="545" y="506"/>
                  </a:lnTo>
                  <a:lnTo>
                    <a:pt x="549" y="504"/>
                  </a:lnTo>
                  <a:lnTo>
                    <a:pt x="562" y="504"/>
                  </a:lnTo>
                  <a:lnTo>
                    <a:pt x="566" y="502"/>
                  </a:lnTo>
                  <a:lnTo>
                    <a:pt x="568" y="502"/>
                  </a:lnTo>
                  <a:lnTo>
                    <a:pt x="568" y="500"/>
                  </a:lnTo>
                  <a:lnTo>
                    <a:pt x="572" y="496"/>
                  </a:lnTo>
                  <a:lnTo>
                    <a:pt x="574" y="496"/>
                  </a:lnTo>
                  <a:lnTo>
                    <a:pt x="575" y="496"/>
                  </a:lnTo>
                  <a:lnTo>
                    <a:pt x="577" y="498"/>
                  </a:lnTo>
                  <a:lnTo>
                    <a:pt x="575" y="500"/>
                  </a:lnTo>
                  <a:lnTo>
                    <a:pt x="575" y="502"/>
                  </a:lnTo>
                  <a:lnTo>
                    <a:pt x="575" y="504"/>
                  </a:lnTo>
                  <a:lnTo>
                    <a:pt x="575" y="506"/>
                  </a:lnTo>
                  <a:lnTo>
                    <a:pt x="577" y="512"/>
                  </a:lnTo>
                  <a:lnTo>
                    <a:pt x="579" y="515"/>
                  </a:lnTo>
                  <a:lnTo>
                    <a:pt x="587" y="523"/>
                  </a:lnTo>
                  <a:lnTo>
                    <a:pt x="589" y="525"/>
                  </a:lnTo>
                  <a:lnTo>
                    <a:pt x="591" y="527"/>
                  </a:lnTo>
                  <a:lnTo>
                    <a:pt x="595" y="529"/>
                  </a:lnTo>
                  <a:lnTo>
                    <a:pt x="596" y="527"/>
                  </a:lnTo>
                  <a:lnTo>
                    <a:pt x="598" y="527"/>
                  </a:lnTo>
                  <a:lnTo>
                    <a:pt x="600" y="525"/>
                  </a:lnTo>
                  <a:lnTo>
                    <a:pt x="602" y="525"/>
                  </a:lnTo>
                  <a:lnTo>
                    <a:pt x="604" y="525"/>
                  </a:lnTo>
                  <a:lnTo>
                    <a:pt x="606" y="525"/>
                  </a:lnTo>
                  <a:lnTo>
                    <a:pt x="606" y="525"/>
                  </a:lnTo>
                  <a:lnTo>
                    <a:pt x="608" y="523"/>
                  </a:lnTo>
                  <a:lnTo>
                    <a:pt x="610" y="517"/>
                  </a:lnTo>
                  <a:lnTo>
                    <a:pt x="610" y="515"/>
                  </a:lnTo>
                  <a:lnTo>
                    <a:pt x="612" y="514"/>
                  </a:lnTo>
                  <a:lnTo>
                    <a:pt x="614" y="512"/>
                  </a:lnTo>
                  <a:lnTo>
                    <a:pt x="617" y="512"/>
                  </a:lnTo>
                  <a:lnTo>
                    <a:pt x="619" y="510"/>
                  </a:lnTo>
                  <a:lnTo>
                    <a:pt x="621" y="512"/>
                  </a:lnTo>
                  <a:lnTo>
                    <a:pt x="623" y="512"/>
                  </a:lnTo>
                  <a:lnTo>
                    <a:pt x="625" y="512"/>
                  </a:lnTo>
                  <a:lnTo>
                    <a:pt x="627" y="512"/>
                  </a:lnTo>
                  <a:lnTo>
                    <a:pt x="631" y="508"/>
                  </a:lnTo>
                  <a:lnTo>
                    <a:pt x="640" y="500"/>
                  </a:lnTo>
                  <a:lnTo>
                    <a:pt x="644" y="496"/>
                  </a:lnTo>
                  <a:lnTo>
                    <a:pt x="646" y="493"/>
                  </a:lnTo>
                  <a:lnTo>
                    <a:pt x="646" y="489"/>
                  </a:lnTo>
                  <a:lnTo>
                    <a:pt x="646" y="485"/>
                  </a:lnTo>
                  <a:lnTo>
                    <a:pt x="644" y="481"/>
                  </a:lnTo>
                  <a:lnTo>
                    <a:pt x="640" y="479"/>
                  </a:lnTo>
                  <a:lnTo>
                    <a:pt x="640" y="475"/>
                  </a:lnTo>
                  <a:lnTo>
                    <a:pt x="640" y="472"/>
                  </a:lnTo>
                  <a:lnTo>
                    <a:pt x="638" y="470"/>
                  </a:lnTo>
                  <a:lnTo>
                    <a:pt x="633" y="464"/>
                  </a:lnTo>
                  <a:lnTo>
                    <a:pt x="631" y="462"/>
                  </a:lnTo>
                  <a:lnTo>
                    <a:pt x="631" y="456"/>
                  </a:lnTo>
                  <a:lnTo>
                    <a:pt x="631" y="455"/>
                  </a:lnTo>
                  <a:lnTo>
                    <a:pt x="631" y="449"/>
                  </a:lnTo>
                  <a:lnTo>
                    <a:pt x="633" y="447"/>
                  </a:lnTo>
                  <a:lnTo>
                    <a:pt x="635" y="445"/>
                  </a:lnTo>
                  <a:lnTo>
                    <a:pt x="635" y="443"/>
                  </a:lnTo>
                  <a:lnTo>
                    <a:pt x="635" y="439"/>
                  </a:lnTo>
                  <a:lnTo>
                    <a:pt x="631" y="437"/>
                  </a:lnTo>
                  <a:lnTo>
                    <a:pt x="623" y="437"/>
                  </a:lnTo>
                  <a:lnTo>
                    <a:pt x="621" y="436"/>
                  </a:lnTo>
                  <a:lnTo>
                    <a:pt x="614" y="432"/>
                  </a:lnTo>
                  <a:lnTo>
                    <a:pt x="612" y="432"/>
                  </a:lnTo>
                  <a:lnTo>
                    <a:pt x="608" y="434"/>
                  </a:lnTo>
                  <a:lnTo>
                    <a:pt x="606" y="432"/>
                  </a:lnTo>
                  <a:lnTo>
                    <a:pt x="606" y="430"/>
                  </a:lnTo>
                  <a:lnTo>
                    <a:pt x="606" y="428"/>
                  </a:lnTo>
                  <a:lnTo>
                    <a:pt x="606" y="426"/>
                  </a:lnTo>
                  <a:lnTo>
                    <a:pt x="604" y="426"/>
                  </a:lnTo>
                  <a:lnTo>
                    <a:pt x="602" y="424"/>
                  </a:lnTo>
                  <a:lnTo>
                    <a:pt x="598" y="424"/>
                  </a:lnTo>
                  <a:lnTo>
                    <a:pt x="596" y="422"/>
                  </a:lnTo>
                  <a:lnTo>
                    <a:pt x="593" y="415"/>
                  </a:lnTo>
                  <a:lnTo>
                    <a:pt x="593" y="415"/>
                  </a:lnTo>
                  <a:lnTo>
                    <a:pt x="591" y="413"/>
                  </a:lnTo>
                  <a:lnTo>
                    <a:pt x="591" y="411"/>
                  </a:lnTo>
                  <a:lnTo>
                    <a:pt x="591" y="407"/>
                  </a:lnTo>
                  <a:lnTo>
                    <a:pt x="591" y="401"/>
                  </a:lnTo>
                  <a:lnTo>
                    <a:pt x="591" y="399"/>
                  </a:lnTo>
                  <a:lnTo>
                    <a:pt x="589" y="394"/>
                  </a:lnTo>
                  <a:lnTo>
                    <a:pt x="589" y="392"/>
                  </a:lnTo>
                  <a:lnTo>
                    <a:pt x="591" y="388"/>
                  </a:lnTo>
                  <a:lnTo>
                    <a:pt x="593" y="386"/>
                  </a:lnTo>
                  <a:lnTo>
                    <a:pt x="595" y="386"/>
                  </a:lnTo>
                  <a:lnTo>
                    <a:pt x="596" y="388"/>
                  </a:lnTo>
                  <a:lnTo>
                    <a:pt x="600" y="388"/>
                  </a:lnTo>
                  <a:lnTo>
                    <a:pt x="600" y="386"/>
                  </a:lnTo>
                  <a:lnTo>
                    <a:pt x="600" y="384"/>
                  </a:lnTo>
                  <a:lnTo>
                    <a:pt x="598" y="379"/>
                  </a:lnTo>
                  <a:lnTo>
                    <a:pt x="598" y="377"/>
                  </a:lnTo>
                  <a:lnTo>
                    <a:pt x="598" y="373"/>
                  </a:lnTo>
                  <a:lnTo>
                    <a:pt x="596" y="371"/>
                  </a:lnTo>
                  <a:lnTo>
                    <a:pt x="595" y="369"/>
                  </a:lnTo>
                  <a:lnTo>
                    <a:pt x="593" y="365"/>
                  </a:lnTo>
                  <a:lnTo>
                    <a:pt x="593" y="361"/>
                  </a:lnTo>
                  <a:lnTo>
                    <a:pt x="591" y="356"/>
                  </a:lnTo>
                  <a:lnTo>
                    <a:pt x="589" y="352"/>
                  </a:lnTo>
                  <a:lnTo>
                    <a:pt x="591" y="348"/>
                  </a:lnTo>
                  <a:lnTo>
                    <a:pt x="593" y="346"/>
                  </a:lnTo>
                  <a:lnTo>
                    <a:pt x="604" y="346"/>
                  </a:lnTo>
                  <a:lnTo>
                    <a:pt x="606" y="346"/>
                  </a:lnTo>
                  <a:lnTo>
                    <a:pt x="606" y="346"/>
                  </a:lnTo>
                  <a:lnTo>
                    <a:pt x="608" y="346"/>
                  </a:lnTo>
                  <a:lnTo>
                    <a:pt x="608" y="344"/>
                  </a:lnTo>
                  <a:lnTo>
                    <a:pt x="610" y="344"/>
                  </a:lnTo>
                  <a:lnTo>
                    <a:pt x="612" y="342"/>
                  </a:lnTo>
                  <a:lnTo>
                    <a:pt x="635" y="344"/>
                  </a:lnTo>
                  <a:lnTo>
                    <a:pt x="636" y="344"/>
                  </a:lnTo>
                  <a:lnTo>
                    <a:pt x="640" y="339"/>
                  </a:lnTo>
                  <a:lnTo>
                    <a:pt x="644" y="337"/>
                  </a:lnTo>
                  <a:lnTo>
                    <a:pt x="646" y="335"/>
                  </a:lnTo>
                  <a:lnTo>
                    <a:pt x="646" y="333"/>
                  </a:lnTo>
                  <a:lnTo>
                    <a:pt x="644" y="329"/>
                  </a:lnTo>
                  <a:lnTo>
                    <a:pt x="644" y="325"/>
                  </a:lnTo>
                  <a:lnTo>
                    <a:pt x="646" y="325"/>
                  </a:lnTo>
                  <a:lnTo>
                    <a:pt x="648" y="325"/>
                  </a:lnTo>
                  <a:lnTo>
                    <a:pt x="648" y="325"/>
                  </a:lnTo>
                  <a:lnTo>
                    <a:pt x="650" y="323"/>
                  </a:lnTo>
                  <a:lnTo>
                    <a:pt x="650" y="318"/>
                  </a:lnTo>
                  <a:lnTo>
                    <a:pt x="648" y="306"/>
                  </a:lnTo>
                  <a:lnTo>
                    <a:pt x="646" y="302"/>
                  </a:lnTo>
                  <a:lnTo>
                    <a:pt x="646" y="301"/>
                  </a:lnTo>
                  <a:lnTo>
                    <a:pt x="648" y="299"/>
                  </a:lnTo>
                  <a:lnTo>
                    <a:pt x="650" y="299"/>
                  </a:lnTo>
                  <a:lnTo>
                    <a:pt x="657" y="301"/>
                  </a:lnTo>
                  <a:lnTo>
                    <a:pt x="661" y="301"/>
                  </a:lnTo>
                  <a:lnTo>
                    <a:pt x="665" y="301"/>
                  </a:lnTo>
                  <a:lnTo>
                    <a:pt x="665" y="301"/>
                  </a:lnTo>
                  <a:lnTo>
                    <a:pt x="667" y="297"/>
                  </a:lnTo>
                  <a:lnTo>
                    <a:pt x="667" y="295"/>
                  </a:lnTo>
                  <a:lnTo>
                    <a:pt x="667" y="293"/>
                  </a:lnTo>
                  <a:lnTo>
                    <a:pt x="665" y="293"/>
                  </a:lnTo>
                  <a:lnTo>
                    <a:pt x="665" y="291"/>
                  </a:lnTo>
                  <a:lnTo>
                    <a:pt x="665" y="289"/>
                  </a:lnTo>
                  <a:lnTo>
                    <a:pt x="665" y="287"/>
                  </a:lnTo>
                  <a:lnTo>
                    <a:pt x="667" y="285"/>
                  </a:lnTo>
                  <a:lnTo>
                    <a:pt x="669" y="285"/>
                  </a:lnTo>
                  <a:lnTo>
                    <a:pt x="673" y="283"/>
                  </a:lnTo>
                  <a:lnTo>
                    <a:pt x="675" y="283"/>
                  </a:lnTo>
                  <a:lnTo>
                    <a:pt x="676" y="282"/>
                  </a:lnTo>
                  <a:lnTo>
                    <a:pt x="676" y="280"/>
                  </a:lnTo>
                  <a:lnTo>
                    <a:pt x="678" y="276"/>
                  </a:lnTo>
                  <a:lnTo>
                    <a:pt x="678" y="274"/>
                  </a:lnTo>
                  <a:lnTo>
                    <a:pt x="680" y="272"/>
                  </a:lnTo>
                  <a:lnTo>
                    <a:pt x="684" y="272"/>
                  </a:lnTo>
                  <a:lnTo>
                    <a:pt x="686" y="272"/>
                  </a:lnTo>
                  <a:lnTo>
                    <a:pt x="692" y="274"/>
                  </a:lnTo>
                  <a:lnTo>
                    <a:pt x="696" y="272"/>
                  </a:lnTo>
                  <a:lnTo>
                    <a:pt x="696" y="272"/>
                  </a:lnTo>
                  <a:lnTo>
                    <a:pt x="697" y="264"/>
                  </a:lnTo>
                  <a:lnTo>
                    <a:pt x="699" y="259"/>
                  </a:lnTo>
                  <a:lnTo>
                    <a:pt x="701" y="257"/>
                  </a:lnTo>
                  <a:lnTo>
                    <a:pt x="707" y="251"/>
                  </a:lnTo>
                  <a:lnTo>
                    <a:pt x="707" y="249"/>
                  </a:lnTo>
                  <a:lnTo>
                    <a:pt x="709" y="245"/>
                  </a:lnTo>
                  <a:lnTo>
                    <a:pt x="707" y="226"/>
                  </a:lnTo>
                  <a:lnTo>
                    <a:pt x="709" y="223"/>
                  </a:lnTo>
                  <a:lnTo>
                    <a:pt x="711" y="219"/>
                  </a:lnTo>
                  <a:lnTo>
                    <a:pt x="715" y="215"/>
                  </a:lnTo>
                  <a:lnTo>
                    <a:pt x="716" y="213"/>
                  </a:lnTo>
                  <a:lnTo>
                    <a:pt x="716" y="209"/>
                  </a:lnTo>
                  <a:lnTo>
                    <a:pt x="716" y="204"/>
                  </a:lnTo>
                  <a:lnTo>
                    <a:pt x="715" y="200"/>
                  </a:lnTo>
                  <a:lnTo>
                    <a:pt x="718" y="196"/>
                  </a:lnTo>
                  <a:lnTo>
                    <a:pt x="724" y="190"/>
                  </a:lnTo>
                  <a:lnTo>
                    <a:pt x="726" y="186"/>
                  </a:lnTo>
                  <a:lnTo>
                    <a:pt x="726" y="183"/>
                  </a:lnTo>
                  <a:lnTo>
                    <a:pt x="726" y="18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49" name="Freeform 51">
              <a:extLst>
                <a:ext uri="{FF2B5EF4-FFF2-40B4-BE49-F238E27FC236}">
                  <a16:creationId xmlns:a16="http://schemas.microsoft.com/office/drawing/2014/main" id="{9D7D62B6-9E2E-FA52-9D79-1F42D166A6E4}"/>
                </a:ext>
              </a:extLst>
            </p:cNvPr>
            <p:cNvSpPr>
              <a:spLocks/>
            </p:cNvSpPr>
            <p:nvPr/>
          </p:nvSpPr>
          <p:spPr bwMode="auto">
            <a:xfrm>
              <a:off x="4416425" y="1397801"/>
              <a:ext cx="1152525" cy="846138"/>
            </a:xfrm>
            <a:custGeom>
              <a:avLst/>
              <a:gdLst>
                <a:gd name="T0" fmla="*/ 692 w 726"/>
                <a:gd name="T1" fmla="*/ 185 h 533"/>
                <a:gd name="T2" fmla="*/ 657 w 726"/>
                <a:gd name="T3" fmla="*/ 145 h 533"/>
                <a:gd name="T4" fmla="*/ 604 w 726"/>
                <a:gd name="T5" fmla="*/ 129 h 533"/>
                <a:gd name="T6" fmla="*/ 528 w 726"/>
                <a:gd name="T7" fmla="*/ 162 h 533"/>
                <a:gd name="T8" fmla="*/ 478 w 726"/>
                <a:gd name="T9" fmla="*/ 183 h 533"/>
                <a:gd name="T10" fmla="*/ 375 w 726"/>
                <a:gd name="T11" fmla="*/ 99 h 533"/>
                <a:gd name="T12" fmla="*/ 269 w 726"/>
                <a:gd name="T13" fmla="*/ 36 h 533"/>
                <a:gd name="T14" fmla="*/ 217 w 726"/>
                <a:gd name="T15" fmla="*/ 17 h 533"/>
                <a:gd name="T16" fmla="*/ 183 w 726"/>
                <a:gd name="T17" fmla="*/ 8 h 533"/>
                <a:gd name="T18" fmla="*/ 116 w 726"/>
                <a:gd name="T19" fmla="*/ 19 h 533"/>
                <a:gd name="T20" fmla="*/ 128 w 726"/>
                <a:gd name="T21" fmla="*/ 32 h 533"/>
                <a:gd name="T22" fmla="*/ 118 w 726"/>
                <a:gd name="T23" fmla="*/ 38 h 533"/>
                <a:gd name="T24" fmla="*/ 101 w 726"/>
                <a:gd name="T25" fmla="*/ 36 h 533"/>
                <a:gd name="T26" fmla="*/ 65 w 726"/>
                <a:gd name="T27" fmla="*/ 40 h 533"/>
                <a:gd name="T28" fmla="*/ 51 w 726"/>
                <a:gd name="T29" fmla="*/ 55 h 533"/>
                <a:gd name="T30" fmla="*/ 36 w 726"/>
                <a:gd name="T31" fmla="*/ 69 h 533"/>
                <a:gd name="T32" fmla="*/ 17 w 726"/>
                <a:gd name="T33" fmla="*/ 91 h 533"/>
                <a:gd name="T34" fmla="*/ 2 w 726"/>
                <a:gd name="T35" fmla="*/ 108 h 533"/>
                <a:gd name="T36" fmla="*/ 27 w 726"/>
                <a:gd name="T37" fmla="*/ 139 h 533"/>
                <a:gd name="T38" fmla="*/ 51 w 726"/>
                <a:gd name="T39" fmla="*/ 137 h 533"/>
                <a:gd name="T40" fmla="*/ 59 w 726"/>
                <a:gd name="T41" fmla="*/ 141 h 533"/>
                <a:gd name="T42" fmla="*/ 74 w 726"/>
                <a:gd name="T43" fmla="*/ 165 h 533"/>
                <a:gd name="T44" fmla="*/ 84 w 726"/>
                <a:gd name="T45" fmla="*/ 173 h 533"/>
                <a:gd name="T46" fmla="*/ 118 w 726"/>
                <a:gd name="T47" fmla="*/ 183 h 533"/>
                <a:gd name="T48" fmla="*/ 109 w 726"/>
                <a:gd name="T49" fmla="*/ 200 h 533"/>
                <a:gd name="T50" fmla="*/ 116 w 726"/>
                <a:gd name="T51" fmla="*/ 207 h 533"/>
                <a:gd name="T52" fmla="*/ 131 w 726"/>
                <a:gd name="T53" fmla="*/ 211 h 533"/>
                <a:gd name="T54" fmla="*/ 141 w 726"/>
                <a:gd name="T55" fmla="*/ 219 h 533"/>
                <a:gd name="T56" fmla="*/ 149 w 726"/>
                <a:gd name="T57" fmla="*/ 223 h 533"/>
                <a:gd name="T58" fmla="*/ 147 w 726"/>
                <a:gd name="T59" fmla="*/ 232 h 533"/>
                <a:gd name="T60" fmla="*/ 141 w 726"/>
                <a:gd name="T61" fmla="*/ 243 h 533"/>
                <a:gd name="T62" fmla="*/ 131 w 726"/>
                <a:gd name="T63" fmla="*/ 251 h 533"/>
                <a:gd name="T64" fmla="*/ 118 w 726"/>
                <a:gd name="T65" fmla="*/ 257 h 533"/>
                <a:gd name="T66" fmla="*/ 107 w 726"/>
                <a:gd name="T67" fmla="*/ 276 h 533"/>
                <a:gd name="T68" fmla="*/ 97 w 726"/>
                <a:gd name="T69" fmla="*/ 282 h 533"/>
                <a:gd name="T70" fmla="*/ 86 w 726"/>
                <a:gd name="T71" fmla="*/ 287 h 533"/>
                <a:gd name="T72" fmla="*/ 88 w 726"/>
                <a:gd name="T73" fmla="*/ 314 h 533"/>
                <a:gd name="T74" fmla="*/ 101 w 726"/>
                <a:gd name="T75" fmla="*/ 375 h 533"/>
                <a:gd name="T76" fmla="*/ 103 w 726"/>
                <a:gd name="T77" fmla="*/ 405 h 533"/>
                <a:gd name="T78" fmla="*/ 101 w 726"/>
                <a:gd name="T79" fmla="*/ 430 h 533"/>
                <a:gd name="T80" fmla="*/ 107 w 726"/>
                <a:gd name="T81" fmla="*/ 437 h 533"/>
                <a:gd name="T82" fmla="*/ 133 w 726"/>
                <a:gd name="T83" fmla="*/ 455 h 533"/>
                <a:gd name="T84" fmla="*/ 191 w 726"/>
                <a:gd name="T85" fmla="*/ 483 h 533"/>
                <a:gd name="T86" fmla="*/ 202 w 726"/>
                <a:gd name="T87" fmla="*/ 515 h 533"/>
                <a:gd name="T88" fmla="*/ 271 w 726"/>
                <a:gd name="T89" fmla="*/ 527 h 533"/>
                <a:gd name="T90" fmla="*/ 307 w 726"/>
                <a:gd name="T91" fmla="*/ 512 h 533"/>
                <a:gd name="T92" fmla="*/ 312 w 726"/>
                <a:gd name="T93" fmla="*/ 477 h 533"/>
                <a:gd name="T94" fmla="*/ 320 w 726"/>
                <a:gd name="T95" fmla="*/ 466 h 533"/>
                <a:gd name="T96" fmla="*/ 381 w 726"/>
                <a:gd name="T97" fmla="*/ 436 h 533"/>
                <a:gd name="T98" fmla="*/ 459 w 726"/>
                <a:gd name="T99" fmla="*/ 468 h 533"/>
                <a:gd name="T100" fmla="*/ 492 w 726"/>
                <a:gd name="T101" fmla="*/ 466 h 533"/>
                <a:gd name="T102" fmla="*/ 516 w 726"/>
                <a:gd name="T103" fmla="*/ 495 h 533"/>
                <a:gd name="T104" fmla="*/ 541 w 726"/>
                <a:gd name="T105" fmla="*/ 483 h 533"/>
                <a:gd name="T106" fmla="*/ 534 w 726"/>
                <a:gd name="T107" fmla="*/ 514 h 533"/>
                <a:gd name="T108" fmla="*/ 577 w 726"/>
                <a:gd name="T109" fmla="*/ 512 h 533"/>
                <a:gd name="T110" fmla="*/ 623 w 726"/>
                <a:gd name="T111" fmla="*/ 512 h 533"/>
                <a:gd name="T112" fmla="*/ 635 w 726"/>
                <a:gd name="T113" fmla="*/ 443 h 533"/>
                <a:gd name="T114" fmla="*/ 591 w 726"/>
                <a:gd name="T115" fmla="*/ 401 h 533"/>
                <a:gd name="T116" fmla="*/ 593 w 726"/>
                <a:gd name="T117" fmla="*/ 346 h 533"/>
                <a:gd name="T118" fmla="*/ 648 w 726"/>
                <a:gd name="T119" fmla="*/ 306 h 533"/>
                <a:gd name="T120" fmla="*/ 676 w 726"/>
                <a:gd name="T121" fmla="*/ 280 h 533"/>
                <a:gd name="T122" fmla="*/ 716 w 726"/>
                <a:gd name="T123" fmla="*/ 20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533">
                  <a:moveTo>
                    <a:pt x="726" y="181"/>
                  </a:moveTo>
                  <a:lnTo>
                    <a:pt x="724" y="177"/>
                  </a:lnTo>
                  <a:lnTo>
                    <a:pt x="722" y="177"/>
                  </a:lnTo>
                  <a:lnTo>
                    <a:pt x="720" y="177"/>
                  </a:lnTo>
                  <a:lnTo>
                    <a:pt x="720" y="177"/>
                  </a:lnTo>
                  <a:lnTo>
                    <a:pt x="720" y="177"/>
                  </a:lnTo>
                  <a:lnTo>
                    <a:pt x="718" y="179"/>
                  </a:lnTo>
                  <a:lnTo>
                    <a:pt x="716" y="179"/>
                  </a:lnTo>
                  <a:lnTo>
                    <a:pt x="716" y="177"/>
                  </a:lnTo>
                  <a:lnTo>
                    <a:pt x="715" y="177"/>
                  </a:lnTo>
                  <a:lnTo>
                    <a:pt x="713" y="173"/>
                  </a:lnTo>
                  <a:lnTo>
                    <a:pt x="713" y="173"/>
                  </a:lnTo>
                  <a:lnTo>
                    <a:pt x="709" y="171"/>
                  </a:lnTo>
                  <a:lnTo>
                    <a:pt x="707" y="173"/>
                  </a:lnTo>
                  <a:lnTo>
                    <a:pt x="705" y="181"/>
                  </a:lnTo>
                  <a:lnTo>
                    <a:pt x="703" y="183"/>
                  </a:lnTo>
                  <a:lnTo>
                    <a:pt x="701" y="186"/>
                  </a:lnTo>
                  <a:lnTo>
                    <a:pt x="697" y="188"/>
                  </a:lnTo>
                  <a:lnTo>
                    <a:pt x="696" y="188"/>
                  </a:lnTo>
                  <a:lnTo>
                    <a:pt x="694" y="188"/>
                  </a:lnTo>
                  <a:lnTo>
                    <a:pt x="692" y="185"/>
                  </a:lnTo>
                  <a:lnTo>
                    <a:pt x="690" y="181"/>
                  </a:lnTo>
                  <a:lnTo>
                    <a:pt x="690" y="177"/>
                  </a:lnTo>
                  <a:lnTo>
                    <a:pt x="688" y="173"/>
                  </a:lnTo>
                  <a:lnTo>
                    <a:pt x="686" y="169"/>
                  </a:lnTo>
                  <a:lnTo>
                    <a:pt x="684" y="165"/>
                  </a:lnTo>
                  <a:lnTo>
                    <a:pt x="680" y="167"/>
                  </a:lnTo>
                  <a:lnTo>
                    <a:pt x="680" y="169"/>
                  </a:lnTo>
                  <a:lnTo>
                    <a:pt x="678" y="171"/>
                  </a:lnTo>
                  <a:lnTo>
                    <a:pt x="676" y="171"/>
                  </a:lnTo>
                  <a:lnTo>
                    <a:pt x="675" y="169"/>
                  </a:lnTo>
                  <a:lnTo>
                    <a:pt x="675" y="169"/>
                  </a:lnTo>
                  <a:lnTo>
                    <a:pt x="673" y="165"/>
                  </a:lnTo>
                  <a:lnTo>
                    <a:pt x="673" y="164"/>
                  </a:lnTo>
                  <a:lnTo>
                    <a:pt x="671" y="164"/>
                  </a:lnTo>
                  <a:lnTo>
                    <a:pt x="663" y="162"/>
                  </a:lnTo>
                  <a:lnTo>
                    <a:pt x="661" y="160"/>
                  </a:lnTo>
                  <a:lnTo>
                    <a:pt x="659" y="154"/>
                  </a:lnTo>
                  <a:lnTo>
                    <a:pt x="655" y="150"/>
                  </a:lnTo>
                  <a:lnTo>
                    <a:pt x="655" y="148"/>
                  </a:lnTo>
                  <a:lnTo>
                    <a:pt x="657" y="146"/>
                  </a:lnTo>
                  <a:lnTo>
                    <a:pt x="657" y="145"/>
                  </a:lnTo>
                  <a:lnTo>
                    <a:pt x="659" y="145"/>
                  </a:lnTo>
                  <a:lnTo>
                    <a:pt x="657" y="141"/>
                  </a:lnTo>
                  <a:lnTo>
                    <a:pt x="657" y="141"/>
                  </a:lnTo>
                  <a:lnTo>
                    <a:pt x="654" y="141"/>
                  </a:lnTo>
                  <a:lnTo>
                    <a:pt x="654" y="141"/>
                  </a:lnTo>
                  <a:lnTo>
                    <a:pt x="652" y="139"/>
                  </a:lnTo>
                  <a:lnTo>
                    <a:pt x="652" y="139"/>
                  </a:lnTo>
                  <a:lnTo>
                    <a:pt x="652" y="137"/>
                  </a:lnTo>
                  <a:lnTo>
                    <a:pt x="650" y="137"/>
                  </a:lnTo>
                  <a:lnTo>
                    <a:pt x="648" y="137"/>
                  </a:lnTo>
                  <a:lnTo>
                    <a:pt x="644" y="139"/>
                  </a:lnTo>
                  <a:lnTo>
                    <a:pt x="640" y="137"/>
                  </a:lnTo>
                  <a:lnTo>
                    <a:pt x="638" y="135"/>
                  </a:lnTo>
                  <a:lnTo>
                    <a:pt x="638" y="131"/>
                  </a:lnTo>
                  <a:lnTo>
                    <a:pt x="638" y="127"/>
                  </a:lnTo>
                  <a:lnTo>
                    <a:pt x="636" y="126"/>
                  </a:lnTo>
                  <a:lnTo>
                    <a:pt x="633" y="124"/>
                  </a:lnTo>
                  <a:lnTo>
                    <a:pt x="629" y="124"/>
                  </a:lnTo>
                  <a:lnTo>
                    <a:pt x="627" y="124"/>
                  </a:lnTo>
                  <a:lnTo>
                    <a:pt x="617" y="127"/>
                  </a:lnTo>
                  <a:lnTo>
                    <a:pt x="604" y="129"/>
                  </a:lnTo>
                  <a:lnTo>
                    <a:pt x="595" y="133"/>
                  </a:lnTo>
                  <a:lnTo>
                    <a:pt x="591" y="133"/>
                  </a:lnTo>
                  <a:lnTo>
                    <a:pt x="589" y="133"/>
                  </a:lnTo>
                  <a:lnTo>
                    <a:pt x="581" y="131"/>
                  </a:lnTo>
                  <a:lnTo>
                    <a:pt x="579" y="129"/>
                  </a:lnTo>
                  <a:lnTo>
                    <a:pt x="575" y="131"/>
                  </a:lnTo>
                  <a:lnTo>
                    <a:pt x="572" y="131"/>
                  </a:lnTo>
                  <a:lnTo>
                    <a:pt x="572" y="133"/>
                  </a:lnTo>
                  <a:lnTo>
                    <a:pt x="568" y="139"/>
                  </a:lnTo>
                  <a:lnTo>
                    <a:pt x="568" y="139"/>
                  </a:lnTo>
                  <a:lnTo>
                    <a:pt x="558" y="146"/>
                  </a:lnTo>
                  <a:lnTo>
                    <a:pt x="554" y="148"/>
                  </a:lnTo>
                  <a:lnTo>
                    <a:pt x="547" y="148"/>
                  </a:lnTo>
                  <a:lnTo>
                    <a:pt x="545" y="150"/>
                  </a:lnTo>
                  <a:lnTo>
                    <a:pt x="541" y="152"/>
                  </a:lnTo>
                  <a:lnTo>
                    <a:pt x="537" y="154"/>
                  </a:lnTo>
                  <a:lnTo>
                    <a:pt x="534" y="156"/>
                  </a:lnTo>
                  <a:lnTo>
                    <a:pt x="534" y="156"/>
                  </a:lnTo>
                  <a:lnTo>
                    <a:pt x="532" y="158"/>
                  </a:lnTo>
                  <a:lnTo>
                    <a:pt x="530" y="160"/>
                  </a:lnTo>
                  <a:lnTo>
                    <a:pt x="528" y="162"/>
                  </a:lnTo>
                  <a:lnTo>
                    <a:pt x="524" y="162"/>
                  </a:lnTo>
                  <a:lnTo>
                    <a:pt x="522" y="164"/>
                  </a:lnTo>
                  <a:lnTo>
                    <a:pt x="520" y="165"/>
                  </a:lnTo>
                  <a:lnTo>
                    <a:pt x="518" y="169"/>
                  </a:lnTo>
                  <a:lnTo>
                    <a:pt x="518" y="173"/>
                  </a:lnTo>
                  <a:lnTo>
                    <a:pt x="516" y="173"/>
                  </a:lnTo>
                  <a:lnTo>
                    <a:pt x="514" y="173"/>
                  </a:lnTo>
                  <a:lnTo>
                    <a:pt x="505" y="171"/>
                  </a:lnTo>
                  <a:lnTo>
                    <a:pt x="503" y="171"/>
                  </a:lnTo>
                  <a:lnTo>
                    <a:pt x="501" y="173"/>
                  </a:lnTo>
                  <a:lnTo>
                    <a:pt x="501" y="175"/>
                  </a:lnTo>
                  <a:lnTo>
                    <a:pt x="499" y="179"/>
                  </a:lnTo>
                  <a:lnTo>
                    <a:pt x="497" y="181"/>
                  </a:lnTo>
                  <a:lnTo>
                    <a:pt x="494" y="181"/>
                  </a:lnTo>
                  <a:lnTo>
                    <a:pt x="492" y="179"/>
                  </a:lnTo>
                  <a:lnTo>
                    <a:pt x="490" y="179"/>
                  </a:lnTo>
                  <a:lnTo>
                    <a:pt x="486" y="179"/>
                  </a:lnTo>
                  <a:lnTo>
                    <a:pt x="486" y="179"/>
                  </a:lnTo>
                  <a:lnTo>
                    <a:pt x="484" y="179"/>
                  </a:lnTo>
                  <a:lnTo>
                    <a:pt x="480" y="181"/>
                  </a:lnTo>
                  <a:lnTo>
                    <a:pt x="478" y="183"/>
                  </a:lnTo>
                  <a:lnTo>
                    <a:pt x="476" y="183"/>
                  </a:lnTo>
                  <a:lnTo>
                    <a:pt x="463" y="181"/>
                  </a:lnTo>
                  <a:lnTo>
                    <a:pt x="463" y="179"/>
                  </a:lnTo>
                  <a:lnTo>
                    <a:pt x="461" y="169"/>
                  </a:lnTo>
                  <a:lnTo>
                    <a:pt x="457" y="162"/>
                  </a:lnTo>
                  <a:lnTo>
                    <a:pt x="454" y="162"/>
                  </a:lnTo>
                  <a:lnTo>
                    <a:pt x="448" y="152"/>
                  </a:lnTo>
                  <a:lnTo>
                    <a:pt x="444" y="152"/>
                  </a:lnTo>
                  <a:lnTo>
                    <a:pt x="434" y="154"/>
                  </a:lnTo>
                  <a:lnTo>
                    <a:pt x="427" y="152"/>
                  </a:lnTo>
                  <a:lnTo>
                    <a:pt x="423" y="150"/>
                  </a:lnTo>
                  <a:lnTo>
                    <a:pt x="421" y="146"/>
                  </a:lnTo>
                  <a:lnTo>
                    <a:pt x="415" y="141"/>
                  </a:lnTo>
                  <a:lnTo>
                    <a:pt x="410" y="139"/>
                  </a:lnTo>
                  <a:lnTo>
                    <a:pt x="400" y="137"/>
                  </a:lnTo>
                  <a:lnTo>
                    <a:pt x="394" y="131"/>
                  </a:lnTo>
                  <a:lnTo>
                    <a:pt x="394" y="116"/>
                  </a:lnTo>
                  <a:lnTo>
                    <a:pt x="393" y="108"/>
                  </a:lnTo>
                  <a:lnTo>
                    <a:pt x="389" y="103"/>
                  </a:lnTo>
                  <a:lnTo>
                    <a:pt x="385" y="99"/>
                  </a:lnTo>
                  <a:lnTo>
                    <a:pt x="375" y="99"/>
                  </a:lnTo>
                  <a:lnTo>
                    <a:pt x="366" y="97"/>
                  </a:lnTo>
                  <a:lnTo>
                    <a:pt x="362" y="93"/>
                  </a:lnTo>
                  <a:lnTo>
                    <a:pt x="358" y="86"/>
                  </a:lnTo>
                  <a:lnTo>
                    <a:pt x="353" y="84"/>
                  </a:lnTo>
                  <a:lnTo>
                    <a:pt x="345" y="86"/>
                  </a:lnTo>
                  <a:lnTo>
                    <a:pt x="337" y="72"/>
                  </a:lnTo>
                  <a:lnTo>
                    <a:pt x="320" y="70"/>
                  </a:lnTo>
                  <a:lnTo>
                    <a:pt x="320" y="69"/>
                  </a:lnTo>
                  <a:lnTo>
                    <a:pt x="320" y="69"/>
                  </a:lnTo>
                  <a:lnTo>
                    <a:pt x="311" y="49"/>
                  </a:lnTo>
                  <a:lnTo>
                    <a:pt x="309" y="48"/>
                  </a:lnTo>
                  <a:lnTo>
                    <a:pt x="303" y="42"/>
                  </a:lnTo>
                  <a:lnTo>
                    <a:pt x="297" y="38"/>
                  </a:lnTo>
                  <a:lnTo>
                    <a:pt x="290" y="34"/>
                  </a:lnTo>
                  <a:lnTo>
                    <a:pt x="282" y="34"/>
                  </a:lnTo>
                  <a:lnTo>
                    <a:pt x="276" y="36"/>
                  </a:lnTo>
                  <a:lnTo>
                    <a:pt x="276" y="36"/>
                  </a:lnTo>
                  <a:lnTo>
                    <a:pt x="276" y="38"/>
                  </a:lnTo>
                  <a:lnTo>
                    <a:pt x="276" y="38"/>
                  </a:lnTo>
                  <a:lnTo>
                    <a:pt x="271" y="38"/>
                  </a:lnTo>
                  <a:lnTo>
                    <a:pt x="269" y="36"/>
                  </a:lnTo>
                  <a:lnTo>
                    <a:pt x="267" y="30"/>
                  </a:lnTo>
                  <a:lnTo>
                    <a:pt x="267" y="27"/>
                  </a:lnTo>
                  <a:lnTo>
                    <a:pt x="267" y="23"/>
                  </a:lnTo>
                  <a:lnTo>
                    <a:pt x="265" y="19"/>
                  </a:lnTo>
                  <a:lnTo>
                    <a:pt x="263" y="17"/>
                  </a:lnTo>
                  <a:lnTo>
                    <a:pt x="259" y="15"/>
                  </a:lnTo>
                  <a:lnTo>
                    <a:pt x="248" y="13"/>
                  </a:lnTo>
                  <a:lnTo>
                    <a:pt x="246" y="11"/>
                  </a:lnTo>
                  <a:lnTo>
                    <a:pt x="242" y="8"/>
                  </a:lnTo>
                  <a:lnTo>
                    <a:pt x="242" y="8"/>
                  </a:lnTo>
                  <a:lnTo>
                    <a:pt x="240" y="8"/>
                  </a:lnTo>
                  <a:lnTo>
                    <a:pt x="232" y="8"/>
                  </a:lnTo>
                  <a:lnTo>
                    <a:pt x="229" y="8"/>
                  </a:lnTo>
                  <a:lnTo>
                    <a:pt x="225" y="10"/>
                  </a:lnTo>
                  <a:lnTo>
                    <a:pt x="223" y="10"/>
                  </a:lnTo>
                  <a:lnTo>
                    <a:pt x="221" y="11"/>
                  </a:lnTo>
                  <a:lnTo>
                    <a:pt x="221" y="11"/>
                  </a:lnTo>
                  <a:lnTo>
                    <a:pt x="221" y="15"/>
                  </a:lnTo>
                  <a:lnTo>
                    <a:pt x="219" y="17"/>
                  </a:lnTo>
                  <a:lnTo>
                    <a:pt x="219" y="17"/>
                  </a:lnTo>
                  <a:lnTo>
                    <a:pt x="217" y="17"/>
                  </a:lnTo>
                  <a:lnTo>
                    <a:pt x="217" y="13"/>
                  </a:lnTo>
                  <a:lnTo>
                    <a:pt x="217" y="11"/>
                  </a:lnTo>
                  <a:lnTo>
                    <a:pt x="213" y="8"/>
                  </a:lnTo>
                  <a:lnTo>
                    <a:pt x="213" y="8"/>
                  </a:lnTo>
                  <a:lnTo>
                    <a:pt x="211" y="6"/>
                  </a:lnTo>
                  <a:lnTo>
                    <a:pt x="204" y="4"/>
                  </a:lnTo>
                  <a:lnTo>
                    <a:pt x="202" y="2"/>
                  </a:lnTo>
                  <a:lnTo>
                    <a:pt x="200" y="0"/>
                  </a:lnTo>
                  <a:lnTo>
                    <a:pt x="198" y="0"/>
                  </a:lnTo>
                  <a:lnTo>
                    <a:pt x="196" y="2"/>
                  </a:lnTo>
                  <a:lnTo>
                    <a:pt x="191" y="4"/>
                  </a:lnTo>
                  <a:lnTo>
                    <a:pt x="189" y="4"/>
                  </a:lnTo>
                  <a:lnTo>
                    <a:pt x="189" y="4"/>
                  </a:lnTo>
                  <a:lnTo>
                    <a:pt x="189" y="6"/>
                  </a:lnTo>
                  <a:lnTo>
                    <a:pt x="189" y="6"/>
                  </a:lnTo>
                  <a:lnTo>
                    <a:pt x="189" y="8"/>
                  </a:lnTo>
                  <a:lnTo>
                    <a:pt x="187" y="11"/>
                  </a:lnTo>
                  <a:lnTo>
                    <a:pt x="187" y="11"/>
                  </a:lnTo>
                  <a:lnTo>
                    <a:pt x="185" y="10"/>
                  </a:lnTo>
                  <a:lnTo>
                    <a:pt x="183" y="8"/>
                  </a:lnTo>
                  <a:lnTo>
                    <a:pt x="183" y="8"/>
                  </a:lnTo>
                  <a:lnTo>
                    <a:pt x="181" y="6"/>
                  </a:lnTo>
                  <a:lnTo>
                    <a:pt x="181" y="6"/>
                  </a:lnTo>
                  <a:lnTo>
                    <a:pt x="177" y="6"/>
                  </a:lnTo>
                  <a:lnTo>
                    <a:pt x="173" y="8"/>
                  </a:lnTo>
                  <a:lnTo>
                    <a:pt x="171" y="10"/>
                  </a:lnTo>
                  <a:lnTo>
                    <a:pt x="164" y="13"/>
                  </a:lnTo>
                  <a:lnTo>
                    <a:pt x="160" y="17"/>
                  </a:lnTo>
                  <a:lnTo>
                    <a:pt x="158" y="19"/>
                  </a:lnTo>
                  <a:lnTo>
                    <a:pt x="151" y="17"/>
                  </a:lnTo>
                  <a:lnTo>
                    <a:pt x="151" y="19"/>
                  </a:lnTo>
                  <a:lnTo>
                    <a:pt x="149" y="19"/>
                  </a:lnTo>
                  <a:lnTo>
                    <a:pt x="149" y="21"/>
                  </a:lnTo>
                  <a:lnTo>
                    <a:pt x="147" y="25"/>
                  </a:lnTo>
                  <a:lnTo>
                    <a:pt x="147" y="27"/>
                  </a:lnTo>
                  <a:lnTo>
                    <a:pt x="141" y="29"/>
                  </a:lnTo>
                  <a:lnTo>
                    <a:pt x="139" y="29"/>
                  </a:lnTo>
                  <a:lnTo>
                    <a:pt x="135" y="27"/>
                  </a:lnTo>
                  <a:lnTo>
                    <a:pt x="133" y="27"/>
                  </a:lnTo>
                  <a:lnTo>
                    <a:pt x="126" y="21"/>
                  </a:lnTo>
                  <a:lnTo>
                    <a:pt x="122" y="21"/>
                  </a:lnTo>
                  <a:lnTo>
                    <a:pt x="116" y="19"/>
                  </a:lnTo>
                  <a:lnTo>
                    <a:pt x="111" y="19"/>
                  </a:lnTo>
                  <a:lnTo>
                    <a:pt x="111" y="19"/>
                  </a:lnTo>
                  <a:lnTo>
                    <a:pt x="111" y="21"/>
                  </a:lnTo>
                  <a:lnTo>
                    <a:pt x="111" y="23"/>
                  </a:lnTo>
                  <a:lnTo>
                    <a:pt x="111" y="23"/>
                  </a:lnTo>
                  <a:lnTo>
                    <a:pt x="111" y="23"/>
                  </a:lnTo>
                  <a:lnTo>
                    <a:pt x="112" y="23"/>
                  </a:lnTo>
                  <a:lnTo>
                    <a:pt x="112" y="23"/>
                  </a:lnTo>
                  <a:lnTo>
                    <a:pt x="112" y="25"/>
                  </a:lnTo>
                  <a:lnTo>
                    <a:pt x="112" y="25"/>
                  </a:lnTo>
                  <a:lnTo>
                    <a:pt x="112" y="25"/>
                  </a:lnTo>
                  <a:lnTo>
                    <a:pt x="114" y="25"/>
                  </a:lnTo>
                  <a:lnTo>
                    <a:pt x="116" y="25"/>
                  </a:lnTo>
                  <a:lnTo>
                    <a:pt x="118" y="25"/>
                  </a:lnTo>
                  <a:lnTo>
                    <a:pt x="120" y="27"/>
                  </a:lnTo>
                  <a:lnTo>
                    <a:pt x="120" y="27"/>
                  </a:lnTo>
                  <a:lnTo>
                    <a:pt x="120" y="29"/>
                  </a:lnTo>
                  <a:lnTo>
                    <a:pt x="120" y="29"/>
                  </a:lnTo>
                  <a:lnTo>
                    <a:pt x="126" y="30"/>
                  </a:lnTo>
                  <a:lnTo>
                    <a:pt x="126" y="30"/>
                  </a:lnTo>
                  <a:lnTo>
                    <a:pt x="128" y="32"/>
                  </a:lnTo>
                  <a:lnTo>
                    <a:pt x="128" y="32"/>
                  </a:lnTo>
                  <a:lnTo>
                    <a:pt x="128" y="32"/>
                  </a:lnTo>
                  <a:lnTo>
                    <a:pt x="128" y="32"/>
                  </a:lnTo>
                  <a:lnTo>
                    <a:pt x="128" y="34"/>
                  </a:lnTo>
                  <a:lnTo>
                    <a:pt x="128" y="34"/>
                  </a:lnTo>
                  <a:lnTo>
                    <a:pt x="128" y="34"/>
                  </a:lnTo>
                  <a:lnTo>
                    <a:pt x="128" y="34"/>
                  </a:lnTo>
                  <a:lnTo>
                    <a:pt x="128" y="36"/>
                  </a:lnTo>
                  <a:lnTo>
                    <a:pt x="128" y="36"/>
                  </a:lnTo>
                  <a:lnTo>
                    <a:pt x="128" y="38"/>
                  </a:lnTo>
                  <a:lnTo>
                    <a:pt x="128" y="38"/>
                  </a:lnTo>
                  <a:lnTo>
                    <a:pt x="128" y="38"/>
                  </a:lnTo>
                  <a:lnTo>
                    <a:pt x="128" y="38"/>
                  </a:lnTo>
                  <a:lnTo>
                    <a:pt x="128" y="40"/>
                  </a:lnTo>
                  <a:lnTo>
                    <a:pt x="128" y="40"/>
                  </a:lnTo>
                  <a:lnTo>
                    <a:pt x="126" y="40"/>
                  </a:lnTo>
                  <a:lnTo>
                    <a:pt x="124" y="40"/>
                  </a:lnTo>
                  <a:lnTo>
                    <a:pt x="122" y="38"/>
                  </a:lnTo>
                  <a:lnTo>
                    <a:pt x="120" y="38"/>
                  </a:lnTo>
                  <a:lnTo>
                    <a:pt x="118" y="38"/>
                  </a:lnTo>
                  <a:lnTo>
                    <a:pt x="118" y="38"/>
                  </a:lnTo>
                  <a:lnTo>
                    <a:pt x="116" y="40"/>
                  </a:lnTo>
                  <a:lnTo>
                    <a:pt x="116" y="40"/>
                  </a:lnTo>
                  <a:lnTo>
                    <a:pt x="116" y="40"/>
                  </a:lnTo>
                  <a:lnTo>
                    <a:pt x="114" y="38"/>
                  </a:lnTo>
                  <a:lnTo>
                    <a:pt x="112" y="38"/>
                  </a:lnTo>
                  <a:lnTo>
                    <a:pt x="112" y="38"/>
                  </a:lnTo>
                  <a:lnTo>
                    <a:pt x="112" y="38"/>
                  </a:lnTo>
                  <a:lnTo>
                    <a:pt x="111" y="40"/>
                  </a:lnTo>
                  <a:lnTo>
                    <a:pt x="109" y="40"/>
                  </a:lnTo>
                  <a:lnTo>
                    <a:pt x="109" y="40"/>
                  </a:lnTo>
                  <a:lnTo>
                    <a:pt x="109" y="40"/>
                  </a:lnTo>
                  <a:lnTo>
                    <a:pt x="107" y="40"/>
                  </a:lnTo>
                  <a:lnTo>
                    <a:pt x="107" y="40"/>
                  </a:lnTo>
                  <a:lnTo>
                    <a:pt x="103" y="40"/>
                  </a:lnTo>
                  <a:lnTo>
                    <a:pt x="103" y="40"/>
                  </a:lnTo>
                  <a:lnTo>
                    <a:pt x="103" y="40"/>
                  </a:lnTo>
                  <a:lnTo>
                    <a:pt x="103" y="40"/>
                  </a:lnTo>
                  <a:lnTo>
                    <a:pt x="103" y="40"/>
                  </a:lnTo>
                  <a:lnTo>
                    <a:pt x="101" y="38"/>
                  </a:lnTo>
                  <a:lnTo>
                    <a:pt x="101" y="38"/>
                  </a:lnTo>
                  <a:lnTo>
                    <a:pt x="101" y="36"/>
                  </a:lnTo>
                  <a:lnTo>
                    <a:pt x="101" y="36"/>
                  </a:lnTo>
                  <a:lnTo>
                    <a:pt x="101" y="36"/>
                  </a:lnTo>
                  <a:lnTo>
                    <a:pt x="99" y="38"/>
                  </a:lnTo>
                  <a:lnTo>
                    <a:pt x="99" y="38"/>
                  </a:lnTo>
                  <a:lnTo>
                    <a:pt x="97" y="38"/>
                  </a:lnTo>
                  <a:lnTo>
                    <a:pt x="97" y="38"/>
                  </a:lnTo>
                  <a:lnTo>
                    <a:pt x="97" y="38"/>
                  </a:lnTo>
                  <a:lnTo>
                    <a:pt x="95" y="38"/>
                  </a:lnTo>
                  <a:lnTo>
                    <a:pt x="93" y="38"/>
                  </a:lnTo>
                  <a:lnTo>
                    <a:pt x="93" y="38"/>
                  </a:lnTo>
                  <a:lnTo>
                    <a:pt x="88" y="36"/>
                  </a:lnTo>
                  <a:lnTo>
                    <a:pt x="86" y="36"/>
                  </a:lnTo>
                  <a:lnTo>
                    <a:pt x="84" y="34"/>
                  </a:lnTo>
                  <a:lnTo>
                    <a:pt x="74" y="38"/>
                  </a:lnTo>
                  <a:lnTo>
                    <a:pt x="72" y="40"/>
                  </a:lnTo>
                  <a:lnTo>
                    <a:pt x="72" y="40"/>
                  </a:lnTo>
                  <a:lnTo>
                    <a:pt x="70" y="38"/>
                  </a:lnTo>
                  <a:lnTo>
                    <a:pt x="69" y="40"/>
                  </a:lnTo>
                  <a:lnTo>
                    <a:pt x="65" y="40"/>
                  </a:lnTo>
                  <a:lnTo>
                    <a:pt x="65" y="40"/>
                  </a:lnTo>
                  <a:lnTo>
                    <a:pt x="65" y="40"/>
                  </a:lnTo>
                  <a:lnTo>
                    <a:pt x="65" y="40"/>
                  </a:lnTo>
                  <a:lnTo>
                    <a:pt x="63" y="38"/>
                  </a:lnTo>
                  <a:lnTo>
                    <a:pt x="63" y="38"/>
                  </a:lnTo>
                  <a:lnTo>
                    <a:pt x="61" y="36"/>
                  </a:lnTo>
                  <a:lnTo>
                    <a:pt x="61" y="38"/>
                  </a:lnTo>
                  <a:lnTo>
                    <a:pt x="59" y="40"/>
                  </a:lnTo>
                  <a:lnTo>
                    <a:pt x="57" y="40"/>
                  </a:lnTo>
                  <a:lnTo>
                    <a:pt x="55" y="40"/>
                  </a:lnTo>
                  <a:lnTo>
                    <a:pt x="53" y="42"/>
                  </a:lnTo>
                  <a:lnTo>
                    <a:pt x="51" y="42"/>
                  </a:lnTo>
                  <a:lnTo>
                    <a:pt x="51" y="42"/>
                  </a:lnTo>
                  <a:lnTo>
                    <a:pt x="51" y="42"/>
                  </a:lnTo>
                  <a:lnTo>
                    <a:pt x="51" y="42"/>
                  </a:lnTo>
                  <a:lnTo>
                    <a:pt x="51" y="46"/>
                  </a:lnTo>
                  <a:lnTo>
                    <a:pt x="53" y="48"/>
                  </a:lnTo>
                  <a:lnTo>
                    <a:pt x="53" y="51"/>
                  </a:lnTo>
                  <a:lnTo>
                    <a:pt x="55" y="51"/>
                  </a:lnTo>
                  <a:lnTo>
                    <a:pt x="55" y="51"/>
                  </a:lnTo>
                  <a:lnTo>
                    <a:pt x="55" y="51"/>
                  </a:lnTo>
                  <a:lnTo>
                    <a:pt x="53" y="53"/>
                  </a:lnTo>
                  <a:lnTo>
                    <a:pt x="51" y="55"/>
                  </a:lnTo>
                  <a:lnTo>
                    <a:pt x="51" y="57"/>
                  </a:lnTo>
                  <a:lnTo>
                    <a:pt x="51" y="57"/>
                  </a:lnTo>
                  <a:lnTo>
                    <a:pt x="51" y="59"/>
                  </a:lnTo>
                  <a:lnTo>
                    <a:pt x="51" y="59"/>
                  </a:lnTo>
                  <a:lnTo>
                    <a:pt x="50" y="61"/>
                  </a:lnTo>
                  <a:lnTo>
                    <a:pt x="50" y="61"/>
                  </a:lnTo>
                  <a:lnTo>
                    <a:pt x="44" y="63"/>
                  </a:lnTo>
                  <a:lnTo>
                    <a:pt x="44" y="63"/>
                  </a:lnTo>
                  <a:lnTo>
                    <a:pt x="44" y="63"/>
                  </a:lnTo>
                  <a:lnTo>
                    <a:pt x="44" y="63"/>
                  </a:lnTo>
                  <a:lnTo>
                    <a:pt x="44" y="65"/>
                  </a:lnTo>
                  <a:lnTo>
                    <a:pt x="44" y="65"/>
                  </a:lnTo>
                  <a:lnTo>
                    <a:pt x="44" y="65"/>
                  </a:lnTo>
                  <a:lnTo>
                    <a:pt x="44" y="67"/>
                  </a:lnTo>
                  <a:lnTo>
                    <a:pt x="44" y="67"/>
                  </a:lnTo>
                  <a:lnTo>
                    <a:pt x="44" y="67"/>
                  </a:lnTo>
                  <a:lnTo>
                    <a:pt x="44" y="67"/>
                  </a:lnTo>
                  <a:lnTo>
                    <a:pt x="42" y="69"/>
                  </a:lnTo>
                  <a:lnTo>
                    <a:pt x="38" y="69"/>
                  </a:lnTo>
                  <a:lnTo>
                    <a:pt x="36" y="69"/>
                  </a:lnTo>
                  <a:lnTo>
                    <a:pt x="36" y="69"/>
                  </a:lnTo>
                  <a:lnTo>
                    <a:pt x="36" y="69"/>
                  </a:lnTo>
                  <a:lnTo>
                    <a:pt x="36" y="70"/>
                  </a:lnTo>
                  <a:lnTo>
                    <a:pt x="34" y="70"/>
                  </a:lnTo>
                  <a:lnTo>
                    <a:pt x="34" y="74"/>
                  </a:lnTo>
                  <a:lnTo>
                    <a:pt x="34" y="76"/>
                  </a:lnTo>
                  <a:lnTo>
                    <a:pt x="34" y="76"/>
                  </a:lnTo>
                  <a:lnTo>
                    <a:pt x="34" y="76"/>
                  </a:lnTo>
                  <a:lnTo>
                    <a:pt x="34" y="78"/>
                  </a:lnTo>
                  <a:lnTo>
                    <a:pt x="34" y="78"/>
                  </a:lnTo>
                  <a:lnTo>
                    <a:pt x="30" y="78"/>
                  </a:lnTo>
                  <a:lnTo>
                    <a:pt x="30" y="78"/>
                  </a:lnTo>
                  <a:lnTo>
                    <a:pt x="29" y="80"/>
                  </a:lnTo>
                  <a:lnTo>
                    <a:pt x="25" y="84"/>
                  </a:lnTo>
                  <a:lnTo>
                    <a:pt x="25" y="84"/>
                  </a:lnTo>
                  <a:lnTo>
                    <a:pt x="25" y="86"/>
                  </a:lnTo>
                  <a:lnTo>
                    <a:pt x="23" y="86"/>
                  </a:lnTo>
                  <a:lnTo>
                    <a:pt x="21" y="86"/>
                  </a:lnTo>
                  <a:lnTo>
                    <a:pt x="19" y="88"/>
                  </a:lnTo>
                  <a:lnTo>
                    <a:pt x="19" y="88"/>
                  </a:lnTo>
                  <a:lnTo>
                    <a:pt x="17" y="89"/>
                  </a:lnTo>
                  <a:lnTo>
                    <a:pt x="17" y="91"/>
                  </a:lnTo>
                  <a:lnTo>
                    <a:pt x="15" y="91"/>
                  </a:lnTo>
                  <a:lnTo>
                    <a:pt x="13" y="89"/>
                  </a:lnTo>
                  <a:lnTo>
                    <a:pt x="13" y="89"/>
                  </a:lnTo>
                  <a:lnTo>
                    <a:pt x="11" y="89"/>
                  </a:lnTo>
                  <a:lnTo>
                    <a:pt x="11" y="89"/>
                  </a:lnTo>
                  <a:lnTo>
                    <a:pt x="10" y="89"/>
                  </a:lnTo>
                  <a:lnTo>
                    <a:pt x="8" y="91"/>
                  </a:lnTo>
                  <a:lnTo>
                    <a:pt x="8" y="91"/>
                  </a:lnTo>
                  <a:lnTo>
                    <a:pt x="6" y="93"/>
                  </a:lnTo>
                  <a:lnTo>
                    <a:pt x="6" y="93"/>
                  </a:lnTo>
                  <a:lnTo>
                    <a:pt x="6" y="95"/>
                  </a:lnTo>
                  <a:lnTo>
                    <a:pt x="6" y="95"/>
                  </a:lnTo>
                  <a:lnTo>
                    <a:pt x="4" y="99"/>
                  </a:lnTo>
                  <a:lnTo>
                    <a:pt x="4" y="101"/>
                  </a:lnTo>
                  <a:lnTo>
                    <a:pt x="4" y="103"/>
                  </a:lnTo>
                  <a:lnTo>
                    <a:pt x="4" y="103"/>
                  </a:lnTo>
                  <a:lnTo>
                    <a:pt x="6" y="103"/>
                  </a:lnTo>
                  <a:lnTo>
                    <a:pt x="6" y="105"/>
                  </a:lnTo>
                  <a:lnTo>
                    <a:pt x="6" y="105"/>
                  </a:lnTo>
                  <a:lnTo>
                    <a:pt x="2" y="108"/>
                  </a:lnTo>
                  <a:lnTo>
                    <a:pt x="2" y="108"/>
                  </a:lnTo>
                  <a:lnTo>
                    <a:pt x="2" y="108"/>
                  </a:lnTo>
                  <a:lnTo>
                    <a:pt x="2" y="110"/>
                  </a:lnTo>
                  <a:lnTo>
                    <a:pt x="2" y="110"/>
                  </a:lnTo>
                  <a:lnTo>
                    <a:pt x="2" y="110"/>
                  </a:lnTo>
                  <a:lnTo>
                    <a:pt x="2" y="112"/>
                  </a:lnTo>
                  <a:lnTo>
                    <a:pt x="2" y="112"/>
                  </a:lnTo>
                  <a:lnTo>
                    <a:pt x="4" y="112"/>
                  </a:lnTo>
                  <a:lnTo>
                    <a:pt x="4" y="112"/>
                  </a:lnTo>
                  <a:lnTo>
                    <a:pt x="6" y="116"/>
                  </a:lnTo>
                  <a:lnTo>
                    <a:pt x="8" y="116"/>
                  </a:lnTo>
                  <a:lnTo>
                    <a:pt x="8" y="118"/>
                  </a:lnTo>
                  <a:lnTo>
                    <a:pt x="8" y="120"/>
                  </a:lnTo>
                  <a:lnTo>
                    <a:pt x="8" y="120"/>
                  </a:lnTo>
                  <a:lnTo>
                    <a:pt x="8" y="120"/>
                  </a:lnTo>
                  <a:lnTo>
                    <a:pt x="0" y="131"/>
                  </a:lnTo>
                  <a:lnTo>
                    <a:pt x="4" y="133"/>
                  </a:lnTo>
                  <a:lnTo>
                    <a:pt x="13" y="137"/>
                  </a:lnTo>
                  <a:lnTo>
                    <a:pt x="13" y="137"/>
                  </a:lnTo>
                  <a:lnTo>
                    <a:pt x="23" y="139"/>
                  </a:lnTo>
                  <a:lnTo>
                    <a:pt x="27" y="139"/>
                  </a:lnTo>
                  <a:lnTo>
                    <a:pt x="27" y="139"/>
                  </a:lnTo>
                  <a:lnTo>
                    <a:pt x="29" y="139"/>
                  </a:lnTo>
                  <a:lnTo>
                    <a:pt x="29" y="139"/>
                  </a:lnTo>
                  <a:lnTo>
                    <a:pt x="29" y="139"/>
                  </a:lnTo>
                  <a:lnTo>
                    <a:pt x="29" y="139"/>
                  </a:lnTo>
                  <a:lnTo>
                    <a:pt x="32" y="135"/>
                  </a:lnTo>
                  <a:lnTo>
                    <a:pt x="32" y="135"/>
                  </a:lnTo>
                  <a:lnTo>
                    <a:pt x="34" y="135"/>
                  </a:lnTo>
                  <a:lnTo>
                    <a:pt x="44" y="135"/>
                  </a:lnTo>
                  <a:lnTo>
                    <a:pt x="44" y="135"/>
                  </a:lnTo>
                  <a:lnTo>
                    <a:pt x="44" y="135"/>
                  </a:lnTo>
                  <a:lnTo>
                    <a:pt x="44" y="135"/>
                  </a:lnTo>
                  <a:lnTo>
                    <a:pt x="46" y="137"/>
                  </a:lnTo>
                  <a:lnTo>
                    <a:pt x="46" y="137"/>
                  </a:lnTo>
                  <a:lnTo>
                    <a:pt x="46" y="137"/>
                  </a:lnTo>
                  <a:lnTo>
                    <a:pt x="46" y="137"/>
                  </a:lnTo>
                  <a:lnTo>
                    <a:pt x="48" y="137"/>
                  </a:lnTo>
                  <a:lnTo>
                    <a:pt x="48" y="137"/>
                  </a:lnTo>
                  <a:lnTo>
                    <a:pt x="48" y="137"/>
                  </a:lnTo>
                  <a:lnTo>
                    <a:pt x="50" y="137"/>
                  </a:lnTo>
                  <a:lnTo>
                    <a:pt x="50" y="137"/>
                  </a:lnTo>
                  <a:lnTo>
                    <a:pt x="51" y="137"/>
                  </a:lnTo>
                  <a:lnTo>
                    <a:pt x="51" y="137"/>
                  </a:lnTo>
                  <a:lnTo>
                    <a:pt x="51" y="137"/>
                  </a:lnTo>
                  <a:lnTo>
                    <a:pt x="51" y="137"/>
                  </a:lnTo>
                  <a:lnTo>
                    <a:pt x="53" y="135"/>
                  </a:lnTo>
                  <a:lnTo>
                    <a:pt x="53" y="135"/>
                  </a:lnTo>
                  <a:lnTo>
                    <a:pt x="53" y="135"/>
                  </a:lnTo>
                  <a:lnTo>
                    <a:pt x="53" y="135"/>
                  </a:lnTo>
                  <a:lnTo>
                    <a:pt x="53" y="135"/>
                  </a:lnTo>
                  <a:lnTo>
                    <a:pt x="53" y="135"/>
                  </a:lnTo>
                  <a:lnTo>
                    <a:pt x="53" y="135"/>
                  </a:lnTo>
                  <a:lnTo>
                    <a:pt x="53" y="135"/>
                  </a:lnTo>
                  <a:lnTo>
                    <a:pt x="53" y="137"/>
                  </a:lnTo>
                  <a:lnTo>
                    <a:pt x="55" y="137"/>
                  </a:lnTo>
                  <a:lnTo>
                    <a:pt x="57" y="139"/>
                  </a:lnTo>
                  <a:lnTo>
                    <a:pt x="57" y="139"/>
                  </a:lnTo>
                  <a:lnTo>
                    <a:pt x="57" y="139"/>
                  </a:lnTo>
                  <a:lnTo>
                    <a:pt x="57" y="139"/>
                  </a:lnTo>
                  <a:lnTo>
                    <a:pt x="59" y="141"/>
                  </a:lnTo>
                  <a:lnTo>
                    <a:pt x="59" y="141"/>
                  </a:lnTo>
                  <a:lnTo>
                    <a:pt x="59" y="141"/>
                  </a:lnTo>
                  <a:lnTo>
                    <a:pt x="59" y="141"/>
                  </a:lnTo>
                  <a:lnTo>
                    <a:pt x="59" y="141"/>
                  </a:lnTo>
                  <a:lnTo>
                    <a:pt x="59" y="143"/>
                  </a:lnTo>
                  <a:lnTo>
                    <a:pt x="57" y="145"/>
                  </a:lnTo>
                  <a:lnTo>
                    <a:pt x="57" y="145"/>
                  </a:lnTo>
                  <a:lnTo>
                    <a:pt x="57" y="145"/>
                  </a:lnTo>
                  <a:lnTo>
                    <a:pt x="57" y="150"/>
                  </a:lnTo>
                  <a:lnTo>
                    <a:pt x="57" y="150"/>
                  </a:lnTo>
                  <a:lnTo>
                    <a:pt x="57" y="152"/>
                  </a:lnTo>
                  <a:lnTo>
                    <a:pt x="57" y="152"/>
                  </a:lnTo>
                  <a:lnTo>
                    <a:pt x="57" y="152"/>
                  </a:lnTo>
                  <a:lnTo>
                    <a:pt x="57" y="154"/>
                  </a:lnTo>
                  <a:lnTo>
                    <a:pt x="67" y="160"/>
                  </a:lnTo>
                  <a:lnTo>
                    <a:pt x="69" y="160"/>
                  </a:lnTo>
                  <a:lnTo>
                    <a:pt x="69" y="162"/>
                  </a:lnTo>
                  <a:lnTo>
                    <a:pt x="69" y="162"/>
                  </a:lnTo>
                  <a:lnTo>
                    <a:pt x="72" y="164"/>
                  </a:lnTo>
                  <a:lnTo>
                    <a:pt x="72" y="164"/>
                  </a:lnTo>
                  <a:lnTo>
                    <a:pt x="72" y="164"/>
                  </a:lnTo>
                  <a:lnTo>
                    <a:pt x="72" y="165"/>
                  </a:lnTo>
                  <a:lnTo>
                    <a:pt x="72" y="165"/>
                  </a:lnTo>
                  <a:lnTo>
                    <a:pt x="74" y="165"/>
                  </a:lnTo>
                  <a:lnTo>
                    <a:pt x="74" y="167"/>
                  </a:lnTo>
                  <a:lnTo>
                    <a:pt x="74" y="167"/>
                  </a:lnTo>
                  <a:lnTo>
                    <a:pt x="74" y="167"/>
                  </a:lnTo>
                  <a:lnTo>
                    <a:pt x="74" y="167"/>
                  </a:lnTo>
                  <a:lnTo>
                    <a:pt x="74" y="167"/>
                  </a:lnTo>
                  <a:lnTo>
                    <a:pt x="76" y="167"/>
                  </a:lnTo>
                  <a:lnTo>
                    <a:pt x="76" y="167"/>
                  </a:lnTo>
                  <a:lnTo>
                    <a:pt x="78" y="167"/>
                  </a:lnTo>
                  <a:lnTo>
                    <a:pt x="78" y="167"/>
                  </a:lnTo>
                  <a:lnTo>
                    <a:pt x="80" y="167"/>
                  </a:lnTo>
                  <a:lnTo>
                    <a:pt x="80" y="167"/>
                  </a:lnTo>
                  <a:lnTo>
                    <a:pt x="80" y="167"/>
                  </a:lnTo>
                  <a:lnTo>
                    <a:pt x="80" y="167"/>
                  </a:lnTo>
                  <a:lnTo>
                    <a:pt x="80" y="167"/>
                  </a:lnTo>
                  <a:lnTo>
                    <a:pt x="80" y="167"/>
                  </a:lnTo>
                  <a:lnTo>
                    <a:pt x="82" y="169"/>
                  </a:lnTo>
                  <a:lnTo>
                    <a:pt x="82" y="169"/>
                  </a:lnTo>
                  <a:lnTo>
                    <a:pt x="82" y="169"/>
                  </a:lnTo>
                  <a:lnTo>
                    <a:pt x="82" y="169"/>
                  </a:lnTo>
                  <a:lnTo>
                    <a:pt x="84" y="173"/>
                  </a:lnTo>
                  <a:lnTo>
                    <a:pt x="84" y="173"/>
                  </a:lnTo>
                  <a:lnTo>
                    <a:pt x="84" y="173"/>
                  </a:lnTo>
                  <a:lnTo>
                    <a:pt x="84" y="173"/>
                  </a:lnTo>
                  <a:lnTo>
                    <a:pt x="86" y="171"/>
                  </a:lnTo>
                  <a:lnTo>
                    <a:pt x="88" y="171"/>
                  </a:lnTo>
                  <a:lnTo>
                    <a:pt x="88" y="171"/>
                  </a:lnTo>
                  <a:lnTo>
                    <a:pt x="88" y="171"/>
                  </a:lnTo>
                  <a:lnTo>
                    <a:pt x="88" y="171"/>
                  </a:lnTo>
                  <a:lnTo>
                    <a:pt x="91" y="175"/>
                  </a:lnTo>
                  <a:lnTo>
                    <a:pt x="91" y="175"/>
                  </a:lnTo>
                  <a:lnTo>
                    <a:pt x="91" y="175"/>
                  </a:lnTo>
                  <a:lnTo>
                    <a:pt x="91" y="175"/>
                  </a:lnTo>
                  <a:lnTo>
                    <a:pt x="97" y="173"/>
                  </a:lnTo>
                  <a:lnTo>
                    <a:pt x="103" y="173"/>
                  </a:lnTo>
                  <a:lnTo>
                    <a:pt x="116" y="175"/>
                  </a:lnTo>
                  <a:lnTo>
                    <a:pt x="116" y="175"/>
                  </a:lnTo>
                  <a:lnTo>
                    <a:pt x="116" y="175"/>
                  </a:lnTo>
                  <a:lnTo>
                    <a:pt x="116" y="175"/>
                  </a:lnTo>
                  <a:lnTo>
                    <a:pt x="116" y="175"/>
                  </a:lnTo>
                  <a:lnTo>
                    <a:pt x="118" y="177"/>
                  </a:lnTo>
                  <a:lnTo>
                    <a:pt x="118" y="177"/>
                  </a:lnTo>
                  <a:lnTo>
                    <a:pt x="118" y="183"/>
                  </a:lnTo>
                  <a:lnTo>
                    <a:pt x="118" y="183"/>
                  </a:lnTo>
                  <a:lnTo>
                    <a:pt x="118" y="183"/>
                  </a:lnTo>
                  <a:lnTo>
                    <a:pt x="118" y="185"/>
                  </a:lnTo>
                  <a:lnTo>
                    <a:pt x="118" y="185"/>
                  </a:lnTo>
                  <a:lnTo>
                    <a:pt x="118" y="185"/>
                  </a:lnTo>
                  <a:lnTo>
                    <a:pt x="118" y="185"/>
                  </a:lnTo>
                  <a:lnTo>
                    <a:pt x="116" y="185"/>
                  </a:lnTo>
                  <a:lnTo>
                    <a:pt x="114" y="186"/>
                  </a:lnTo>
                  <a:lnTo>
                    <a:pt x="112" y="186"/>
                  </a:lnTo>
                  <a:lnTo>
                    <a:pt x="112" y="188"/>
                  </a:lnTo>
                  <a:lnTo>
                    <a:pt x="112" y="188"/>
                  </a:lnTo>
                  <a:lnTo>
                    <a:pt x="112" y="188"/>
                  </a:lnTo>
                  <a:lnTo>
                    <a:pt x="112" y="190"/>
                  </a:lnTo>
                  <a:lnTo>
                    <a:pt x="111" y="194"/>
                  </a:lnTo>
                  <a:lnTo>
                    <a:pt x="109" y="194"/>
                  </a:lnTo>
                  <a:lnTo>
                    <a:pt x="109" y="194"/>
                  </a:lnTo>
                  <a:lnTo>
                    <a:pt x="109" y="194"/>
                  </a:lnTo>
                  <a:lnTo>
                    <a:pt x="109" y="196"/>
                  </a:lnTo>
                  <a:lnTo>
                    <a:pt x="109" y="196"/>
                  </a:lnTo>
                  <a:lnTo>
                    <a:pt x="109" y="198"/>
                  </a:lnTo>
                  <a:lnTo>
                    <a:pt x="109" y="200"/>
                  </a:lnTo>
                  <a:lnTo>
                    <a:pt x="109" y="200"/>
                  </a:lnTo>
                  <a:lnTo>
                    <a:pt x="109" y="200"/>
                  </a:lnTo>
                  <a:lnTo>
                    <a:pt x="112" y="205"/>
                  </a:lnTo>
                  <a:lnTo>
                    <a:pt x="112" y="205"/>
                  </a:lnTo>
                  <a:lnTo>
                    <a:pt x="112" y="205"/>
                  </a:lnTo>
                  <a:lnTo>
                    <a:pt x="112" y="207"/>
                  </a:lnTo>
                  <a:lnTo>
                    <a:pt x="112" y="207"/>
                  </a:lnTo>
                  <a:lnTo>
                    <a:pt x="112" y="209"/>
                  </a:lnTo>
                  <a:lnTo>
                    <a:pt x="112" y="209"/>
                  </a:lnTo>
                  <a:lnTo>
                    <a:pt x="112" y="209"/>
                  </a:lnTo>
                  <a:lnTo>
                    <a:pt x="112" y="211"/>
                  </a:lnTo>
                  <a:lnTo>
                    <a:pt x="112" y="211"/>
                  </a:lnTo>
                  <a:lnTo>
                    <a:pt x="112" y="211"/>
                  </a:lnTo>
                  <a:lnTo>
                    <a:pt x="112" y="211"/>
                  </a:lnTo>
                  <a:lnTo>
                    <a:pt x="112" y="211"/>
                  </a:lnTo>
                  <a:lnTo>
                    <a:pt x="114" y="211"/>
                  </a:lnTo>
                  <a:lnTo>
                    <a:pt x="114" y="211"/>
                  </a:lnTo>
                  <a:lnTo>
                    <a:pt x="114" y="211"/>
                  </a:lnTo>
                  <a:lnTo>
                    <a:pt x="114" y="211"/>
                  </a:lnTo>
                  <a:lnTo>
                    <a:pt x="116" y="209"/>
                  </a:lnTo>
                  <a:lnTo>
                    <a:pt x="116" y="207"/>
                  </a:lnTo>
                  <a:lnTo>
                    <a:pt x="116" y="207"/>
                  </a:lnTo>
                  <a:lnTo>
                    <a:pt x="118" y="207"/>
                  </a:lnTo>
                  <a:lnTo>
                    <a:pt x="120" y="207"/>
                  </a:lnTo>
                  <a:lnTo>
                    <a:pt x="120" y="207"/>
                  </a:lnTo>
                  <a:lnTo>
                    <a:pt x="120" y="207"/>
                  </a:lnTo>
                  <a:lnTo>
                    <a:pt x="120" y="207"/>
                  </a:lnTo>
                  <a:lnTo>
                    <a:pt x="120" y="207"/>
                  </a:lnTo>
                  <a:lnTo>
                    <a:pt x="122" y="209"/>
                  </a:lnTo>
                  <a:lnTo>
                    <a:pt x="124" y="209"/>
                  </a:lnTo>
                  <a:lnTo>
                    <a:pt x="126" y="211"/>
                  </a:lnTo>
                  <a:lnTo>
                    <a:pt x="126" y="211"/>
                  </a:lnTo>
                  <a:lnTo>
                    <a:pt x="126" y="211"/>
                  </a:lnTo>
                  <a:lnTo>
                    <a:pt x="126" y="211"/>
                  </a:lnTo>
                  <a:lnTo>
                    <a:pt x="126" y="211"/>
                  </a:lnTo>
                  <a:lnTo>
                    <a:pt x="126" y="211"/>
                  </a:lnTo>
                  <a:lnTo>
                    <a:pt x="128" y="211"/>
                  </a:lnTo>
                  <a:lnTo>
                    <a:pt x="128" y="211"/>
                  </a:lnTo>
                  <a:lnTo>
                    <a:pt x="128" y="211"/>
                  </a:lnTo>
                  <a:lnTo>
                    <a:pt x="130" y="211"/>
                  </a:lnTo>
                  <a:lnTo>
                    <a:pt x="130" y="211"/>
                  </a:lnTo>
                  <a:lnTo>
                    <a:pt x="131" y="211"/>
                  </a:lnTo>
                  <a:lnTo>
                    <a:pt x="133" y="215"/>
                  </a:lnTo>
                  <a:lnTo>
                    <a:pt x="133" y="215"/>
                  </a:lnTo>
                  <a:lnTo>
                    <a:pt x="133" y="215"/>
                  </a:lnTo>
                  <a:lnTo>
                    <a:pt x="133" y="215"/>
                  </a:lnTo>
                  <a:lnTo>
                    <a:pt x="133" y="215"/>
                  </a:lnTo>
                  <a:lnTo>
                    <a:pt x="133" y="215"/>
                  </a:lnTo>
                  <a:lnTo>
                    <a:pt x="135" y="215"/>
                  </a:lnTo>
                  <a:lnTo>
                    <a:pt x="135" y="215"/>
                  </a:lnTo>
                  <a:lnTo>
                    <a:pt x="137" y="215"/>
                  </a:lnTo>
                  <a:lnTo>
                    <a:pt x="137" y="215"/>
                  </a:lnTo>
                  <a:lnTo>
                    <a:pt x="137" y="215"/>
                  </a:lnTo>
                  <a:lnTo>
                    <a:pt x="137" y="215"/>
                  </a:lnTo>
                  <a:lnTo>
                    <a:pt x="137" y="215"/>
                  </a:lnTo>
                  <a:lnTo>
                    <a:pt x="139" y="215"/>
                  </a:lnTo>
                  <a:lnTo>
                    <a:pt x="139" y="215"/>
                  </a:lnTo>
                  <a:lnTo>
                    <a:pt x="139" y="215"/>
                  </a:lnTo>
                  <a:lnTo>
                    <a:pt x="139" y="217"/>
                  </a:lnTo>
                  <a:lnTo>
                    <a:pt x="141" y="217"/>
                  </a:lnTo>
                  <a:lnTo>
                    <a:pt x="141" y="219"/>
                  </a:lnTo>
                  <a:lnTo>
                    <a:pt x="141" y="219"/>
                  </a:lnTo>
                  <a:lnTo>
                    <a:pt x="141" y="219"/>
                  </a:lnTo>
                  <a:lnTo>
                    <a:pt x="141" y="219"/>
                  </a:lnTo>
                  <a:lnTo>
                    <a:pt x="143" y="219"/>
                  </a:lnTo>
                  <a:lnTo>
                    <a:pt x="145" y="219"/>
                  </a:lnTo>
                  <a:lnTo>
                    <a:pt x="145" y="219"/>
                  </a:lnTo>
                  <a:lnTo>
                    <a:pt x="147" y="219"/>
                  </a:lnTo>
                  <a:lnTo>
                    <a:pt x="147" y="219"/>
                  </a:lnTo>
                  <a:lnTo>
                    <a:pt x="147" y="219"/>
                  </a:lnTo>
                  <a:lnTo>
                    <a:pt x="147" y="219"/>
                  </a:lnTo>
                  <a:lnTo>
                    <a:pt x="147" y="219"/>
                  </a:lnTo>
                  <a:lnTo>
                    <a:pt x="147" y="219"/>
                  </a:lnTo>
                  <a:lnTo>
                    <a:pt x="147" y="219"/>
                  </a:lnTo>
                  <a:lnTo>
                    <a:pt x="147" y="219"/>
                  </a:lnTo>
                  <a:lnTo>
                    <a:pt x="147" y="219"/>
                  </a:lnTo>
                  <a:lnTo>
                    <a:pt x="147" y="221"/>
                  </a:lnTo>
                  <a:lnTo>
                    <a:pt x="147" y="221"/>
                  </a:lnTo>
                  <a:lnTo>
                    <a:pt x="149" y="223"/>
                  </a:lnTo>
                  <a:lnTo>
                    <a:pt x="149" y="223"/>
                  </a:lnTo>
                  <a:lnTo>
                    <a:pt x="149" y="223"/>
                  </a:lnTo>
                  <a:lnTo>
                    <a:pt x="149" y="223"/>
                  </a:lnTo>
                  <a:lnTo>
                    <a:pt x="149" y="223"/>
                  </a:lnTo>
                  <a:lnTo>
                    <a:pt x="149" y="223"/>
                  </a:lnTo>
                  <a:lnTo>
                    <a:pt x="149" y="223"/>
                  </a:lnTo>
                  <a:lnTo>
                    <a:pt x="149" y="223"/>
                  </a:lnTo>
                  <a:lnTo>
                    <a:pt x="147" y="224"/>
                  </a:lnTo>
                  <a:lnTo>
                    <a:pt x="147" y="224"/>
                  </a:lnTo>
                  <a:lnTo>
                    <a:pt x="145" y="226"/>
                  </a:lnTo>
                  <a:lnTo>
                    <a:pt x="145" y="226"/>
                  </a:lnTo>
                  <a:lnTo>
                    <a:pt x="145" y="226"/>
                  </a:lnTo>
                  <a:lnTo>
                    <a:pt x="145" y="228"/>
                  </a:lnTo>
                  <a:lnTo>
                    <a:pt x="145" y="228"/>
                  </a:lnTo>
                  <a:lnTo>
                    <a:pt x="145" y="230"/>
                  </a:lnTo>
                  <a:lnTo>
                    <a:pt x="145" y="230"/>
                  </a:lnTo>
                  <a:lnTo>
                    <a:pt x="145" y="230"/>
                  </a:lnTo>
                  <a:lnTo>
                    <a:pt x="145" y="230"/>
                  </a:lnTo>
                  <a:lnTo>
                    <a:pt x="145" y="230"/>
                  </a:lnTo>
                  <a:lnTo>
                    <a:pt x="145" y="230"/>
                  </a:lnTo>
                  <a:lnTo>
                    <a:pt x="145" y="230"/>
                  </a:lnTo>
                  <a:lnTo>
                    <a:pt x="145" y="230"/>
                  </a:lnTo>
                  <a:lnTo>
                    <a:pt x="147" y="230"/>
                  </a:lnTo>
                  <a:lnTo>
                    <a:pt x="147" y="230"/>
                  </a:lnTo>
                  <a:lnTo>
                    <a:pt x="147" y="232"/>
                  </a:lnTo>
                  <a:lnTo>
                    <a:pt x="147" y="232"/>
                  </a:lnTo>
                  <a:lnTo>
                    <a:pt x="147" y="232"/>
                  </a:lnTo>
                  <a:lnTo>
                    <a:pt x="147" y="234"/>
                  </a:lnTo>
                  <a:lnTo>
                    <a:pt x="147" y="234"/>
                  </a:lnTo>
                  <a:lnTo>
                    <a:pt x="147" y="234"/>
                  </a:lnTo>
                  <a:lnTo>
                    <a:pt x="147" y="234"/>
                  </a:lnTo>
                  <a:lnTo>
                    <a:pt x="147" y="234"/>
                  </a:lnTo>
                  <a:lnTo>
                    <a:pt x="147" y="234"/>
                  </a:lnTo>
                  <a:lnTo>
                    <a:pt x="145" y="236"/>
                  </a:lnTo>
                  <a:lnTo>
                    <a:pt x="145" y="236"/>
                  </a:lnTo>
                  <a:lnTo>
                    <a:pt x="145" y="238"/>
                  </a:lnTo>
                  <a:lnTo>
                    <a:pt x="143" y="238"/>
                  </a:lnTo>
                  <a:lnTo>
                    <a:pt x="143" y="240"/>
                  </a:lnTo>
                  <a:lnTo>
                    <a:pt x="143" y="242"/>
                  </a:lnTo>
                  <a:lnTo>
                    <a:pt x="143" y="242"/>
                  </a:lnTo>
                  <a:lnTo>
                    <a:pt x="143" y="242"/>
                  </a:lnTo>
                  <a:lnTo>
                    <a:pt x="143" y="242"/>
                  </a:lnTo>
                  <a:lnTo>
                    <a:pt x="141" y="243"/>
                  </a:lnTo>
                  <a:lnTo>
                    <a:pt x="141" y="243"/>
                  </a:lnTo>
                  <a:lnTo>
                    <a:pt x="141" y="243"/>
                  </a:lnTo>
                  <a:lnTo>
                    <a:pt x="141" y="243"/>
                  </a:lnTo>
                  <a:lnTo>
                    <a:pt x="141" y="243"/>
                  </a:lnTo>
                  <a:lnTo>
                    <a:pt x="141" y="245"/>
                  </a:lnTo>
                  <a:lnTo>
                    <a:pt x="141" y="247"/>
                  </a:lnTo>
                  <a:lnTo>
                    <a:pt x="141" y="247"/>
                  </a:lnTo>
                  <a:lnTo>
                    <a:pt x="139" y="247"/>
                  </a:lnTo>
                  <a:lnTo>
                    <a:pt x="139" y="247"/>
                  </a:lnTo>
                  <a:lnTo>
                    <a:pt x="139" y="247"/>
                  </a:lnTo>
                  <a:lnTo>
                    <a:pt x="139" y="247"/>
                  </a:lnTo>
                  <a:lnTo>
                    <a:pt x="139" y="249"/>
                  </a:lnTo>
                  <a:lnTo>
                    <a:pt x="139" y="249"/>
                  </a:lnTo>
                  <a:lnTo>
                    <a:pt x="137" y="249"/>
                  </a:lnTo>
                  <a:lnTo>
                    <a:pt x="137" y="249"/>
                  </a:lnTo>
                  <a:lnTo>
                    <a:pt x="137" y="249"/>
                  </a:lnTo>
                  <a:lnTo>
                    <a:pt x="135" y="249"/>
                  </a:lnTo>
                  <a:lnTo>
                    <a:pt x="135" y="249"/>
                  </a:lnTo>
                  <a:lnTo>
                    <a:pt x="133" y="249"/>
                  </a:lnTo>
                  <a:lnTo>
                    <a:pt x="133" y="249"/>
                  </a:lnTo>
                  <a:lnTo>
                    <a:pt x="133" y="251"/>
                  </a:lnTo>
                  <a:lnTo>
                    <a:pt x="133" y="251"/>
                  </a:lnTo>
                  <a:lnTo>
                    <a:pt x="133" y="251"/>
                  </a:lnTo>
                  <a:lnTo>
                    <a:pt x="131" y="251"/>
                  </a:lnTo>
                  <a:lnTo>
                    <a:pt x="131" y="251"/>
                  </a:lnTo>
                  <a:lnTo>
                    <a:pt x="131" y="253"/>
                  </a:lnTo>
                  <a:lnTo>
                    <a:pt x="131" y="253"/>
                  </a:lnTo>
                  <a:lnTo>
                    <a:pt x="131" y="253"/>
                  </a:lnTo>
                  <a:lnTo>
                    <a:pt x="131" y="253"/>
                  </a:lnTo>
                  <a:lnTo>
                    <a:pt x="131" y="253"/>
                  </a:lnTo>
                  <a:lnTo>
                    <a:pt x="130" y="253"/>
                  </a:lnTo>
                  <a:lnTo>
                    <a:pt x="130" y="255"/>
                  </a:lnTo>
                  <a:lnTo>
                    <a:pt x="130" y="255"/>
                  </a:lnTo>
                  <a:lnTo>
                    <a:pt x="130" y="255"/>
                  </a:lnTo>
                  <a:lnTo>
                    <a:pt x="128" y="255"/>
                  </a:lnTo>
                  <a:lnTo>
                    <a:pt x="128" y="255"/>
                  </a:lnTo>
                  <a:lnTo>
                    <a:pt x="128" y="255"/>
                  </a:lnTo>
                  <a:lnTo>
                    <a:pt x="128" y="255"/>
                  </a:lnTo>
                  <a:lnTo>
                    <a:pt x="128" y="255"/>
                  </a:lnTo>
                  <a:lnTo>
                    <a:pt x="124" y="255"/>
                  </a:lnTo>
                  <a:lnTo>
                    <a:pt x="122" y="255"/>
                  </a:lnTo>
                  <a:lnTo>
                    <a:pt x="120" y="257"/>
                  </a:lnTo>
                  <a:lnTo>
                    <a:pt x="120" y="257"/>
                  </a:lnTo>
                  <a:lnTo>
                    <a:pt x="120" y="257"/>
                  </a:lnTo>
                  <a:lnTo>
                    <a:pt x="120" y="257"/>
                  </a:lnTo>
                  <a:lnTo>
                    <a:pt x="118" y="257"/>
                  </a:lnTo>
                  <a:lnTo>
                    <a:pt x="118" y="257"/>
                  </a:lnTo>
                  <a:lnTo>
                    <a:pt x="118" y="259"/>
                  </a:lnTo>
                  <a:lnTo>
                    <a:pt x="116" y="257"/>
                  </a:lnTo>
                  <a:lnTo>
                    <a:pt x="114" y="259"/>
                  </a:lnTo>
                  <a:lnTo>
                    <a:pt x="114" y="259"/>
                  </a:lnTo>
                  <a:lnTo>
                    <a:pt x="114" y="259"/>
                  </a:lnTo>
                  <a:lnTo>
                    <a:pt x="112" y="261"/>
                  </a:lnTo>
                  <a:lnTo>
                    <a:pt x="111" y="261"/>
                  </a:lnTo>
                  <a:lnTo>
                    <a:pt x="111" y="262"/>
                  </a:lnTo>
                  <a:lnTo>
                    <a:pt x="111" y="262"/>
                  </a:lnTo>
                  <a:lnTo>
                    <a:pt x="111" y="262"/>
                  </a:lnTo>
                  <a:lnTo>
                    <a:pt x="109" y="266"/>
                  </a:lnTo>
                  <a:lnTo>
                    <a:pt x="109" y="266"/>
                  </a:lnTo>
                  <a:lnTo>
                    <a:pt x="105" y="270"/>
                  </a:lnTo>
                  <a:lnTo>
                    <a:pt x="105" y="272"/>
                  </a:lnTo>
                  <a:lnTo>
                    <a:pt x="105" y="272"/>
                  </a:lnTo>
                  <a:lnTo>
                    <a:pt x="105" y="272"/>
                  </a:lnTo>
                  <a:lnTo>
                    <a:pt x="105" y="272"/>
                  </a:lnTo>
                  <a:lnTo>
                    <a:pt x="107" y="274"/>
                  </a:lnTo>
                  <a:lnTo>
                    <a:pt x="107" y="274"/>
                  </a:lnTo>
                  <a:lnTo>
                    <a:pt x="107" y="276"/>
                  </a:lnTo>
                  <a:lnTo>
                    <a:pt x="107" y="276"/>
                  </a:lnTo>
                  <a:lnTo>
                    <a:pt x="105" y="282"/>
                  </a:lnTo>
                  <a:lnTo>
                    <a:pt x="103" y="283"/>
                  </a:lnTo>
                  <a:lnTo>
                    <a:pt x="103" y="283"/>
                  </a:lnTo>
                  <a:lnTo>
                    <a:pt x="103" y="283"/>
                  </a:lnTo>
                  <a:lnTo>
                    <a:pt x="103" y="283"/>
                  </a:lnTo>
                  <a:lnTo>
                    <a:pt x="103" y="283"/>
                  </a:lnTo>
                  <a:lnTo>
                    <a:pt x="103" y="283"/>
                  </a:lnTo>
                  <a:lnTo>
                    <a:pt x="103" y="283"/>
                  </a:lnTo>
                  <a:lnTo>
                    <a:pt x="101" y="282"/>
                  </a:lnTo>
                  <a:lnTo>
                    <a:pt x="101" y="282"/>
                  </a:lnTo>
                  <a:lnTo>
                    <a:pt x="101" y="282"/>
                  </a:lnTo>
                  <a:lnTo>
                    <a:pt x="101" y="282"/>
                  </a:lnTo>
                  <a:lnTo>
                    <a:pt x="101" y="282"/>
                  </a:lnTo>
                  <a:lnTo>
                    <a:pt x="101" y="282"/>
                  </a:lnTo>
                  <a:lnTo>
                    <a:pt x="101" y="282"/>
                  </a:lnTo>
                  <a:lnTo>
                    <a:pt x="101" y="282"/>
                  </a:lnTo>
                  <a:lnTo>
                    <a:pt x="99" y="282"/>
                  </a:lnTo>
                  <a:lnTo>
                    <a:pt x="99" y="282"/>
                  </a:lnTo>
                  <a:lnTo>
                    <a:pt x="97" y="282"/>
                  </a:lnTo>
                  <a:lnTo>
                    <a:pt x="97" y="282"/>
                  </a:lnTo>
                  <a:lnTo>
                    <a:pt x="95" y="282"/>
                  </a:lnTo>
                  <a:lnTo>
                    <a:pt x="95" y="283"/>
                  </a:lnTo>
                  <a:lnTo>
                    <a:pt x="95" y="283"/>
                  </a:lnTo>
                  <a:lnTo>
                    <a:pt x="93" y="283"/>
                  </a:lnTo>
                  <a:lnTo>
                    <a:pt x="93" y="283"/>
                  </a:lnTo>
                  <a:lnTo>
                    <a:pt x="91" y="282"/>
                  </a:lnTo>
                  <a:lnTo>
                    <a:pt x="91" y="282"/>
                  </a:lnTo>
                  <a:lnTo>
                    <a:pt x="91" y="282"/>
                  </a:lnTo>
                  <a:lnTo>
                    <a:pt x="91" y="282"/>
                  </a:lnTo>
                  <a:lnTo>
                    <a:pt x="88" y="283"/>
                  </a:lnTo>
                  <a:lnTo>
                    <a:pt x="88" y="283"/>
                  </a:lnTo>
                  <a:lnTo>
                    <a:pt x="88" y="283"/>
                  </a:lnTo>
                  <a:lnTo>
                    <a:pt x="88" y="283"/>
                  </a:lnTo>
                  <a:lnTo>
                    <a:pt x="88" y="283"/>
                  </a:lnTo>
                  <a:lnTo>
                    <a:pt x="88" y="285"/>
                  </a:lnTo>
                  <a:lnTo>
                    <a:pt x="88" y="285"/>
                  </a:lnTo>
                  <a:lnTo>
                    <a:pt x="88" y="285"/>
                  </a:lnTo>
                  <a:lnTo>
                    <a:pt x="86" y="287"/>
                  </a:lnTo>
                  <a:lnTo>
                    <a:pt x="86" y="287"/>
                  </a:lnTo>
                  <a:lnTo>
                    <a:pt x="86" y="287"/>
                  </a:lnTo>
                  <a:lnTo>
                    <a:pt x="86" y="287"/>
                  </a:lnTo>
                  <a:lnTo>
                    <a:pt x="86" y="289"/>
                  </a:lnTo>
                  <a:lnTo>
                    <a:pt x="86" y="291"/>
                  </a:lnTo>
                  <a:lnTo>
                    <a:pt x="86" y="291"/>
                  </a:lnTo>
                  <a:lnTo>
                    <a:pt x="86" y="293"/>
                  </a:lnTo>
                  <a:lnTo>
                    <a:pt x="86" y="293"/>
                  </a:lnTo>
                  <a:lnTo>
                    <a:pt x="86" y="293"/>
                  </a:lnTo>
                  <a:lnTo>
                    <a:pt x="86" y="293"/>
                  </a:lnTo>
                  <a:lnTo>
                    <a:pt x="86" y="293"/>
                  </a:lnTo>
                  <a:lnTo>
                    <a:pt x="86" y="295"/>
                  </a:lnTo>
                  <a:lnTo>
                    <a:pt x="86" y="297"/>
                  </a:lnTo>
                  <a:lnTo>
                    <a:pt x="86" y="299"/>
                  </a:lnTo>
                  <a:lnTo>
                    <a:pt x="86" y="299"/>
                  </a:lnTo>
                  <a:lnTo>
                    <a:pt x="86" y="299"/>
                  </a:lnTo>
                  <a:lnTo>
                    <a:pt x="84" y="301"/>
                  </a:lnTo>
                  <a:lnTo>
                    <a:pt x="84" y="302"/>
                  </a:lnTo>
                  <a:lnTo>
                    <a:pt x="82" y="304"/>
                  </a:lnTo>
                  <a:lnTo>
                    <a:pt x="82" y="304"/>
                  </a:lnTo>
                  <a:lnTo>
                    <a:pt x="82" y="304"/>
                  </a:lnTo>
                  <a:lnTo>
                    <a:pt x="84" y="306"/>
                  </a:lnTo>
                  <a:lnTo>
                    <a:pt x="88" y="312"/>
                  </a:lnTo>
                  <a:lnTo>
                    <a:pt x="88" y="314"/>
                  </a:lnTo>
                  <a:lnTo>
                    <a:pt x="88" y="314"/>
                  </a:lnTo>
                  <a:lnTo>
                    <a:pt x="90" y="316"/>
                  </a:lnTo>
                  <a:lnTo>
                    <a:pt x="90" y="316"/>
                  </a:lnTo>
                  <a:lnTo>
                    <a:pt x="91" y="323"/>
                  </a:lnTo>
                  <a:lnTo>
                    <a:pt x="91" y="325"/>
                  </a:lnTo>
                  <a:lnTo>
                    <a:pt x="91" y="329"/>
                  </a:lnTo>
                  <a:lnTo>
                    <a:pt x="91" y="329"/>
                  </a:lnTo>
                  <a:lnTo>
                    <a:pt x="91" y="331"/>
                  </a:lnTo>
                  <a:lnTo>
                    <a:pt x="91" y="331"/>
                  </a:lnTo>
                  <a:lnTo>
                    <a:pt x="91" y="333"/>
                  </a:lnTo>
                  <a:lnTo>
                    <a:pt x="93" y="339"/>
                  </a:lnTo>
                  <a:lnTo>
                    <a:pt x="93" y="344"/>
                  </a:lnTo>
                  <a:lnTo>
                    <a:pt x="93" y="346"/>
                  </a:lnTo>
                  <a:lnTo>
                    <a:pt x="93" y="346"/>
                  </a:lnTo>
                  <a:lnTo>
                    <a:pt x="93" y="346"/>
                  </a:lnTo>
                  <a:lnTo>
                    <a:pt x="99" y="356"/>
                  </a:lnTo>
                  <a:lnTo>
                    <a:pt x="99" y="359"/>
                  </a:lnTo>
                  <a:lnTo>
                    <a:pt x="97" y="367"/>
                  </a:lnTo>
                  <a:lnTo>
                    <a:pt x="99" y="371"/>
                  </a:lnTo>
                  <a:lnTo>
                    <a:pt x="99" y="373"/>
                  </a:lnTo>
                  <a:lnTo>
                    <a:pt x="101" y="375"/>
                  </a:lnTo>
                  <a:lnTo>
                    <a:pt x="101" y="377"/>
                  </a:lnTo>
                  <a:lnTo>
                    <a:pt x="101" y="379"/>
                  </a:lnTo>
                  <a:lnTo>
                    <a:pt x="101" y="380"/>
                  </a:lnTo>
                  <a:lnTo>
                    <a:pt x="99" y="384"/>
                  </a:lnTo>
                  <a:lnTo>
                    <a:pt x="99" y="384"/>
                  </a:lnTo>
                  <a:lnTo>
                    <a:pt x="99" y="386"/>
                  </a:lnTo>
                  <a:lnTo>
                    <a:pt x="99" y="386"/>
                  </a:lnTo>
                  <a:lnTo>
                    <a:pt x="99" y="388"/>
                  </a:lnTo>
                  <a:lnTo>
                    <a:pt x="101" y="390"/>
                  </a:lnTo>
                  <a:lnTo>
                    <a:pt x="103" y="392"/>
                  </a:lnTo>
                  <a:lnTo>
                    <a:pt x="103" y="394"/>
                  </a:lnTo>
                  <a:lnTo>
                    <a:pt x="105" y="396"/>
                  </a:lnTo>
                  <a:lnTo>
                    <a:pt x="105" y="398"/>
                  </a:lnTo>
                  <a:lnTo>
                    <a:pt x="105" y="398"/>
                  </a:lnTo>
                  <a:lnTo>
                    <a:pt x="103" y="399"/>
                  </a:lnTo>
                  <a:lnTo>
                    <a:pt x="103" y="399"/>
                  </a:lnTo>
                  <a:lnTo>
                    <a:pt x="103" y="399"/>
                  </a:lnTo>
                  <a:lnTo>
                    <a:pt x="103" y="401"/>
                  </a:lnTo>
                  <a:lnTo>
                    <a:pt x="103" y="403"/>
                  </a:lnTo>
                  <a:lnTo>
                    <a:pt x="103" y="405"/>
                  </a:lnTo>
                  <a:lnTo>
                    <a:pt x="103" y="405"/>
                  </a:lnTo>
                  <a:lnTo>
                    <a:pt x="103" y="407"/>
                  </a:lnTo>
                  <a:lnTo>
                    <a:pt x="103" y="407"/>
                  </a:lnTo>
                  <a:lnTo>
                    <a:pt x="103" y="407"/>
                  </a:lnTo>
                  <a:lnTo>
                    <a:pt x="103" y="407"/>
                  </a:lnTo>
                  <a:lnTo>
                    <a:pt x="103" y="407"/>
                  </a:lnTo>
                  <a:lnTo>
                    <a:pt x="101" y="409"/>
                  </a:lnTo>
                  <a:lnTo>
                    <a:pt x="101" y="411"/>
                  </a:lnTo>
                  <a:lnTo>
                    <a:pt x="99" y="413"/>
                  </a:lnTo>
                  <a:lnTo>
                    <a:pt x="99" y="415"/>
                  </a:lnTo>
                  <a:lnTo>
                    <a:pt x="99" y="417"/>
                  </a:lnTo>
                  <a:lnTo>
                    <a:pt x="99" y="418"/>
                  </a:lnTo>
                  <a:lnTo>
                    <a:pt x="101" y="418"/>
                  </a:lnTo>
                  <a:lnTo>
                    <a:pt x="101" y="420"/>
                  </a:lnTo>
                  <a:lnTo>
                    <a:pt x="101" y="420"/>
                  </a:lnTo>
                  <a:lnTo>
                    <a:pt x="101" y="422"/>
                  </a:lnTo>
                  <a:lnTo>
                    <a:pt x="101" y="424"/>
                  </a:lnTo>
                  <a:lnTo>
                    <a:pt x="101" y="426"/>
                  </a:lnTo>
                  <a:lnTo>
                    <a:pt x="101" y="428"/>
                  </a:lnTo>
                  <a:lnTo>
                    <a:pt x="101" y="430"/>
                  </a:lnTo>
                  <a:lnTo>
                    <a:pt x="101" y="430"/>
                  </a:lnTo>
                  <a:lnTo>
                    <a:pt x="101" y="430"/>
                  </a:lnTo>
                  <a:lnTo>
                    <a:pt x="99" y="430"/>
                  </a:lnTo>
                  <a:lnTo>
                    <a:pt x="99" y="430"/>
                  </a:lnTo>
                  <a:lnTo>
                    <a:pt x="99" y="430"/>
                  </a:lnTo>
                  <a:lnTo>
                    <a:pt x="99" y="430"/>
                  </a:lnTo>
                  <a:lnTo>
                    <a:pt x="99" y="432"/>
                  </a:lnTo>
                  <a:lnTo>
                    <a:pt x="99" y="432"/>
                  </a:lnTo>
                  <a:lnTo>
                    <a:pt x="99" y="432"/>
                  </a:lnTo>
                  <a:lnTo>
                    <a:pt x="101" y="432"/>
                  </a:lnTo>
                  <a:lnTo>
                    <a:pt x="101" y="432"/>
                  </a:lnTo>
                  <a:lnTo>
                    <a:pt x="101" y="432"/>
                  </a:lnTo>
                  <a:lnTo>
                    <a:pt x="101" y="432"/>
                  </a:lnTo>
                  <a:lnTo>
                    <a:pt x="101" y="432"/>
                  </a:lnTo>
                  <a:lnTo>
                    <a:pt x="103" y="432"/>
                  </a:lnTo>
                  <a:lnTo>
                    <a:pt x="103" y="432"/>
                  </a:lnTo>
                  <a:lnTo>
                    <a:pt x="103" y="432"/>
                  </a:lnTo>
                  <a:lnTo>
                    <a:pt x="103" y="434"/>
                  </a:lnTo>
                  <a:lnTo>
                    <a:pt x="103" y="434"/>
                  </a:lnTo>
                  <a:lnTo>
                    <a:pt x="105" y="434"/>
                  </a:lnTo>
                  <a:lnTo>
                    <a:pt x="105" y="436"/>
                  </a:lnTo>
                  <a:lnTo>
                    <a:pt x="107" y="436"/>
                  </a:lnTo>
                  <a:lnTo>
                    <a:pt x="107" y="437"/>
                  </a:lnTo>
                  <a:lnTo>
                    <a:pt x="105" y="439"/>
                  </a:lnTo>
                  <a:lnTo>
                    <a:pt x="105" y="439"/>
                  </a:lnTo>
                  <a:lnTo>
                    <a:pt x="105" y="441"/>
                  </a:lnTo>
                  <a:lnTo>
                    <a:pt x="103" y="443"/>
                  </a:lnTo>
                  <a:lnTo>
                    <a:pt x="105" y="445"/>
                  </a:lnTo>
                  <a:lnTo>
                    <a:pt x="109" y="447"/>
                  </a:lnTo>
                  <a:lnTo>
                    <a:pt x="112" y="449"/>
                  </a:lnTo>
                  <a:lnTo>
                    <a:pt x="116" y="451"/>
                  </a:lnTo>
                  <a:lnTo>
                    <a:pt x="116" y="453"/>
                  </a:lnTo>
                  <a:lnTo>
                    <a:pt x="118" y="455"/>
                  </a:lnTo>
                  <a:lnTo>
                    <a:pt x="120" y="455"/>
                  </a:lnTo>
                  <a:lnTo>
                    <a:pt x="122" y="455"/>
                  </a:lnTo>
                  <a:lnTo>
                    <a:pt x="122" y="455"/>
                  </a:lnTo>
                  <a:lnTo>
                    <a:pt x="122" y="455"/>
                  </a:lnTo>
                  <a:lnTo>
                    <a:pt x="124" y="455"/>
                  </a:lnTo>
                  <a:lnTo>
                    <a:pt x="124" y="455"/>
                  </a:lnTo>
                  <a:lnTo>
                    <a:pt x="126" y="455"/>
                  </a:lnTo>
                  <a:lnTo>
                    <a:pt x="126" y="453"/>
                  </a:lnTo>
                  <a:lnTo>
                    <a:pt x="130" y="453"/>
                  </a:lnTo>
                  <a:lnTo>
                    <a:pt x="131" y="455"/>
                  </a:lnTo>
                  <a:lnTo>
                    <a:pt x="133" y="455"/>
                  </a:lnTo>
                  <a:lnTo>
                    <a:pt x="133" y="455"/>
                  </a:lnTo>
                  <a:lnTo>
                    <a:pt x="133" y="456"/>
                  </a:lnTo>
                  <a:lnTo>
                    <a:pt x="133" y="456"/>
                  </a:lnTo>
                  <a:lnTo>
                    <a:pt x="133" y="456"/>
                  </a:lnTo>
                  <a:lnTo>
                    <a:pt x="135" y="460"/>
                  </a:lnTo>
                  <a:lnTo>
                    <a:pt x="137" y="460"/>
                  </a:lnTo>
                  <a:lnTo>
                    <a:pt x="168" y="475"/>
                  </a:lnTo>
                  <a:lnTo>
                    <a:pt x="168" y="475"/>
                  </a:lnTo>
                  <a:lnTo>
                    <a:pt x="166" y="477"/>
                  </a:lnTo>
                  <a:lnTo>
                    <a:pt x="168" y="479"/>
                  </a:lnTo>
                  <a:lnTo>
                    <a:pt x="168" y="481"/>
                  </a:lnTo>
                  <a:lnTo>
                    <a:pt x="170" y="483"/>
                  </a:lnTo>
                  <a:lnTo>
                    <a:pt x="171" y="483"/>
                  </a:lnTo>
                  <a:lnTo>
                    <a:pt x="173" y="483"/>
                  </a:lnTo>
                  <a:lnTo>
                    <a:pt x="177" y="481"/>
                  </a:lnTo>
                  <a:lnTo>
                    <a:pt x="179" y="479"/>
                  </a:lnTo>
                  <a:lnTo>
                    <a:pt x="179" y="481"/>
                  </a:lnTo>
                  <a:lnTo>
                    <a:pt x="183" y="483"/>
                  </a:lnTo>
                  <a:lnTo>
                    <a:pt x="185" y="485"/>
                  </a:lnTo>
                  <a:lnTo>
                    <a:pt x="187" y="485"/>
                  </a:lnTo>
                  <a:lnTo>
                    <a:pt x="191" y="483"/>
                  </a:lnTo>
                  <a:lnTo>
                    <a:pt x="192" y="483"/>
                  </a:lnTo>
                  <a:lnTo>
                    <a:pt x="194" y="481"/>
                  </a:lnTo>
                  <a:lnTo>
                    <a:pt x="196" y="481"/>
                  </a:lnTo>
                  <a:lnTo>
                    <a:pt x="196" y="479"/>
                  </a:lnTo>
                  <a:lnTo>
                    <a:pt x="196" y="475"/>
                  </a:lnTo>
                  <a:lnTo>
                    <a:pt x="198" y="475"/>
                  </a:lnTo>
                  <a:lnTo>
                    <a:pt x="200" y="474"/>
                  </a:lnTo>
                  <a:lnTo>
                    <a:pt x="202" y="475"/>
                  </a:lnTo>
                  <a:lnTo>
                    <a:pt x="202" y="477"/>
                  </a:lnTo>
                  <a:lnTo>
                    <a:pt x="200" y="479"/>
                  </a:lnTo>
                  <a:lnTo>
                    <a:pt x="198" y="485"/>
                  </a:lnTo>
                  <a:lnTo>
                    <a:pt x="198" y="487"/>
                  </a:lnTo>
                  <a:lnTo>
                    <a:pt x="198" y="489"/>
                  </a:lnTo>
                  <a:lnTo>
                    <a:pt x="198" y="495"/>
                  </a:lnTo>
                  <a:lnTo>
                    <a:pt x="198" y="496"/>
                  </a:lnTo>
                  <a:lnTo>
                    <a:pt x="198" y="498"/>
                  </a:lnTo>
                  <a:lnTo>
                    <a:pt x="196" y="500"/>
                  </a:lnTo>
                  <a:lnTo>
                    <a:pt x="196" y="502"/>
                  </a:lnTo>
                  <a:lnTo>
                    <a:pt x="196" y="504"/>
                  </a:lnTo>
                  <a:lnTo>
                    <a:pt x="198" y="512"/>
                  </a:lnTo>
                  <a:lnTo>
                    <a:pt x="202" y="515"/>
                  </a:lnTo>
                  <a:lnTo>
                    <a:pt x="206" y="515"/>
                  </a:lnTo>
                  <a:lnTo>
                    <a:pt x="208" y="515"/>
                  </a:lnTo>
                  <a:lnTo>
                    <a:pt x="211" y="514"/>
                  </a:lnTo>
                  <a:lnTo>
                    <a:pt x="215" y="514"/>
                  </a:lnTo>
                  <a:lnTo>
                    <a:pt x="221" y="517"/>
                  </a:lnTo>
                  <a:lnTo>
                    <a:pt x="225" y="517"/>
                  </a:lnTo>
                  <a:lnTo>
                    <a:pt x="229" y="515"/>
                  </a:lnTo>
                  <a:lnTo>
                    <a:pt x="232" y="515"/>
                  </a:lnTo>
                  <a:lnTo>
                    <a:pt x="234" y="515"/>
                  </a:lnTo>
                  <a:lnTo>
                    <a:pt x="238" y="519"/>
                  </a:lnTo>
                  <a:lnTo>
                    <a:pt x="242" y="521"/>
                  </a:lnTo>
                  <a:lnTo>
                    <a:pt x="248" y="523"/>
                  </a:lnTo>
                  <a:lnTo>
                    <a:pt x="252" y="525"/>
                  </a:lnTo>
                  <a:lnTo>
                    <a:pt x="257" y="531"/>
                  </a:lnTo>
                  <a:lnTo>
                    <a:pt x="261" y="529"/>
                  </a:lnTo>
                  <a:lnTo>
                    <a:pt x="267" y="529"/>
                  </a:lnTo>
                  <a:lnTo>
                    <a:pt x="269" y="529"/>
                  </a:lnTo>
                  <a:lnTo>
                    <a:pt x="269" y="527"/>
                  </a:lnTo>
                  <a:lnTo>
                    <a:pt x="271" y="527"/>
                  </a:lnTo>
                  <a:lnTo>
                    <a:pt x="271" y="527"/>
                  </a:lnTo>
                  <a:lnTo>
                    <a:pt x="271" y="527"/>
                  </a:lnTo>
                  <a:lnTo>
                    <a:pt x="271" y="529"/>
                  </a:lnTo>
                  <a:lnTo>
                    <a:pt x="271" y="531"/>
                  </a:lnTo>
                  <a:lnTo>
                    <a:pt x="272" y="531"/>
                  </a:lnTo>
                  <a:lnTo>
                    <a:pt x="272" y="531"/>
                  </a:lnTo>
                  <a:lnTo>
                    <a:pt x="274" y="533"/>
                  </a:lnTo>
                  <a:lnTo>
                    <a:pt x="274" y="533"/>
                  </a:lnTo>
                  <a:lnTo>
                    <a:pt x="276" y="533"/>
                  </a:lnTo>
                  <a:lnTo>
                    <a:pt x="280" y="529"/>
                  </a:lnTo>
                  <a:lnTo>
                    <a:pt x="284" y="525"/>
                  </a:lnTo>
                  <a:lnTo>
                    <a:pt x="286" y="523"/>
                  </a:lnTo>
                  <a:lnTo>
                    <a:pt x="293" y="523"/>
                  </a:lnTo>
                  <a:lnTo>
                    <a:pt x="295" y="521"/>
                  </a:lnTo>
                  <a:lnTo>
                    <a:pt x="295" y="521"/>
                  </a:lnTo>
                  <a:lnTo>
                    <a:pt x="297" y="519"/>
                  </a:lnTo>
                  <a:lnTo>
                    <a:pt x="297" y="519"/>
                  </a:lnTo>
                  <a:lnTo>
                    <a:pt x="297" y="519"/>
                  </a:lnTo>
                  <a:lnTo>
                    <a:pt x="299" y="515"/>
                  </a:lnTo>
                  <a:lnTo>
                    <a:pt x="299" y="515"/>
                  </a:lnTo>
                  <a:lnTo>
                    <a:pt x="303" y="514"/>
                  </a:lnTo>
                  <a:lnTo>
                    <a:pt x="305" y="512"/>
                  </a:lnTo>
                  <a:lnTo>
                    <a:pt x="307" y="512"/>
                  </a:lnTo>
                  <a:lnTo>
                    <a:pt x="307" y="512"/>
                  </a:lnTo>
                  <a:lnTo>
                    <a:pt x="309" y="510"/>
                  </a:lnTo>
                  <a:lnTo>
                    <a:pt x="309" y="508"/>
                  </a:lnTo>
                  <a:lnTo>
                    <a:pt x="311" y="506"/>
                  </a:lnTo>
                  <a:lnTo>
                    <a:pt x="311" y="504"/>
                  </a:lnTo>
                  <a:lnTo>
                    <a:pt x="312" y="500"/>
                  </a:lnTo>
                  <a:lnTo>
                    <a:pt x="314" y="500"/>
                  </a:lnTo>
                  <a:lnTo>
                    <a:pt x="314" y="498"/>
                  </a:lnTo>
                  <a:lnTo>
                    <a:pt x="316" y="498"/>
                  </a:lnTo>
                  <a:lnTo>
                    <a:pt x="316" y="496"/>
                  </a:lnTo>
                  <a:lnTo>
                    <a:pt x="316" y="496"/>
                  </a:lnTo>
                  <a:lnTo>
                    <a:pt x="316" y="495"/>
                  </a:lnTo>
                  <a:lnTo>
                    <a:pt x="314" y="491"/>
                  </a:lnTo>
                  <a:lnTo>
                    <a:pt x="314" y="489"/>
                  </a:lnTo>
                  <a:lnTo>
                    <a:pt x="314" y="485"/>
                  </a:lnTo>
                  <a:lnTo>
                    <a:pt x="314" y="483"/>
                  </a:lnTo>
                  <a:lnTo>
                    <a:pt x="314" y="483"/>
                  </a:lnTo>
                  <a:lnTo>
                    <a:pt x="314" y="481"/>
                  </a:lnTo>
                  <a:lnTo>
                    <a:pt x="314" y="481"/>
                  </a:lnTo>
                  <a:lnTo>
                    <a:pt x="312" y="479"/>
                  </a:lnTo>
                  <a:lnTo>
                    <a:pt x="312" y="477"/>
                  </a:lnTo>
                  <a:lnTo>
                    <a:pt x="311" y="477"/>
                  </a:lnTo>
                  <a:lnTo>
                    <a:pt x="311" y="475"/>
                  </a:lnTo>
                  <a:lnTo>
                    <a:pt x="309" y="474"/>
                  </a:lnTo>
                  <a:lnTo>
                    <a:pt x="307" y="472"/>
                  </a:lnTo>
                  <a:lnTo>
                    <a:pt x="305" y="470"/>
                  </a:lnTo>
                  <a:lnTo>
                    <a:pt x="305" y="468"/>
                  </a:lnTo>
                  <a:lnTo>
                    <a:pt x="305" y="466"/>
                  </a:lnTo>
                  <a:lnTo>
                    <a:pt x="305" y="466"/>
                  </a:lnTo>
                  <a:lnTo>
                    <a:pt x="305" y="464"/>
                  </a:lnTo>
                  <a:lnTo>
                    <a:pt x="307" y="464"/>
                  </a:lnTo>
                  <a:lnTo>
                    <a:pt x="309" y="462"/>
                  </a:lnTo>
                  <a:lnTo>
                    <a:pt x="309" y="462"/>
                  </a:lnTo>
                  <a:lnTo>
                    <a:pt x="311" y="464"/>
                  </a:lnTo>
                  <a:lnTo>
                    <a:pt x="312" y="464"/>
                  </a:lnTo>
                  <a:lnTo>
                    <a:pt x="314" y="464"/>
                  </a:lnTo>
                  <a:lnTo>
                    <a:pt x="314" y="464"/>
                  </a:lnTo>
                  <a:lnTo>
                    <a:pt x="314" y="466"/>
                  </a:lnTo>
                  <a:lnTo>
                    <a:pt x="316" y="468"/>
                  </a:lnTo>
                  <a:lnTo>
                    <a:pt x="318" y="468"/>
                  </a:lnTo>
                  <a:lnTo>
                    <a:pt x="318" y="468"/>
                  </a:lnTo>
                  <a:lnTo>
                    <a:pt x="320" y="466"/>
                  </a:lnTo>
                  <a:lnTo>
                    <a:pt x="328" y="460"/>
                  </a:lnTo>
                  <a:lnTo>
                    <a:pt x="330" y="458"/>
                  </a:lnTo>
                  <a:lnTo>
                    <a:pt x="330" y="456"/>
                  </a:lnTo>
                  <a:lnTo>
                    <a:pt x="332" y="455"/>
                  </a:lnTo>
                  <a:lnTo>
                    <a:pt x="337" y="453"/>
                  </a:lnTo>
                  <a:lnTo>
                    <a:pt x="341" y="453"/>
                  </a:lnTo>
                  <a:lnTo>
                    <a:pt x="343" y="451"/>
                  </a:lnTo>
                  <a:lnTo>
                    <a:pt x="345" y="449"/>
                  </a:lnTo>
                  <a:lnTo>
                    <a:pt x="347" y="447"/>
                  </a:lnTo>
                  <a:lnTo>
                    <a:pt x="347" y="445"/>
                  </a:lnTo>
                  <a:lnTo>
                    <a:pt x="349" y="443"/>
                  </a:lnTo>
                  <a:lnTo>
                    <a:pt x="349" y="443"/>
                  </a:lnTo>
                  <a:lnTo>
                    <a:pt x="349" y="441"/>
                  </a:lnTo>
                  <a:lnTo>
                    <a:pt x="351" y="441"/>
                  </a:lnTo>
                  <a:lnTo>
                    <a:pt x="354" y="437"/>
                  </a:lnTo>
                  <a:lnTo>
                    <a:pt x="358" y="436"/>
                  </a:lnTo>
                  <a:lnTo>
                    <a:pt x="370" y="434"/>
                  </a:lnTo>
                  <a:lnTo>
                    <a:pt x="373" y="432"/>
                  </a:lnTo>
                  <a:lnTo>
                    <a:pt x="373" y="432"/>
                  </a:lnTo>
                  <a:lnTo>
                    <a:pt x="379" y="436"/>
                  </a:lnTo>
                  <a:lnTo>
                    <a:pt x="381" y="436"/>
                  </a:lnTo>
                  <a:lnTo>
                    <a:pt x="391" y="436"/>
                  </a:lnTo>
                  <a:lnTo>
                    <a:pt x="393" y="436"/>
                  </a:lnTo>
                  <a:lnTo>
                    <a:pt x="394" y="436"/>
                  </a:lnTo>
                  <a:lnTo>
                    <a:pt x="398" y="443"/>
                  </a:lnTo>
                  <a:lnTo>
                    <a:pt x="400" y="443"/>
                  </a:lnTo>
                  <a:lnTo>
                    <a:pt x="406" y="449"/>
                  </a:lnTo>
                  <a:lnTo>
                    <a:pt x="408" y="451"/>
                  </a:lnTo>
                  <a:lnTo>
                    <a:pt x="410" y="453"/>
                  </a:lnTo>
                  <a:lnTo>
                    <a:pt x="412" y="455"/>
                  </a:lnTo>
                  <a:lnTo>
                    <a:pt x="415" y="456"/>
                  </a:lnTo>
                  <a:lnTo>
                    <a:pt x="423" y="462"/>
                  </a:lnTo>
                  <a:lnTo>
                    <a:pt x="427" y="464"/>
                  </a:lnTo>
                  <a:lnTo>
                    <a:pt x="434" y="468"/>
                  </a:lnTo>
                  <a:lnTo>
                    <a:pt x="448" y="472"/>
                  </a:lnTo>
                  <a:lnTo>
                    <a:pt x="450" y="472"/>
                  </a:lnTo>
                  <a:lnTo>
                    <a:pt x="450" y="470"/>
                  </a:lnTo>
                  <a:lnTo>
                    <a:pt x="450" y="470"/>
                  </a:lnTo>
                  <a:lnTo>
                    <a:pt x="452" y="470"/>
                  </a:lnTo>
                  <a:lnTo>
                    <a:pt x="452" y="468"/>
                  </a:lnTo>
                  <a:lnTo>
                    <a:pt x="455" y="468"/>
                  </a:lnTo>
                  <a:lnTo>
                    <a:pt x="459" y="468"/>
                  </a:lnTo>
                  <a:lnTo>
                    <a:pt x="461" y="466"/>
                  </a:lnTo>
                  <a:lnTo>
                    <a:pt x="465" y="466"/>
                  </a:lnTo>
                  <a:lnTo>
                    <a:pt x="467" y="466"/>
                  </a:lnTo>
                  <a:lnTo>
                    <a:pt x="467" y="464"/>
                  </a:lnTo>
                  <a:lnTo>
                    <a:pt x="469" y="464"/>
                  </a:lnTo>
                  <a:lnTo>
                    <a:pt x="471" y="460"/>
                  </a:lnTo>
                  <a:lnTo>
                    <a:pt x="473" y="460"/>
                  </a:lnTo>
                  <a:lnTo>
                    <a:pt x="473" y="460"/>
                  </a:lnTo>
                  <a:lnTo>
                    <a:pt x="474" y="460"/>
                  </a:lnTo>
                  <a:lnTo>
                    <a:pt x="474" y="458"/>
                  </a:lnTo>
                  <a:lnTo>
                    <a:pt x="476" y="458"/>
                  </a:lnTo>
                  <a:lnTo>
                    <a:pt x="476" y="456"/>
                  </a:lnTo>
                  <a:lnTo>
                    <a:pt x="476" y="456"/>
                  </a:lnTo>
                  <a:lnTo>
                    <a:pt x="478" y="456"/>
                  </a:lnTo>
                  <a:lnTo>
                    <a:pt x="480" y="455"/>
                  </a:lnTo>
                  <a:lnTo>
                    <a:pt x="480" y="455"/>
                  </a:lnTo>
                  <a:lnTo>
                    <a:pt x="482" y="455"/>
                  </a:lnTo>
                  <a:lnTo>
                    <a:pt x="482" y="456"/>
                  </a:lnTo>
                  <a:lnTo>
                    <a:pt x="484" y="458"/>
                  </a:lnTo>
                  <a:lnTo>
                    <a:pt x="486" y="460"/>
                  </a:lnTo>
                  <a:lnTo>
                    <a:pt x="492" y="466"/>
                  </a:lnTo>
                  <a:lnTo>
                    <a:pt x="494" y="470"/>
                  </a:lnTo>
                  <a:lnTo>
                    <a:pt x="497" y="477"/>
                  </a:lnTo>
                  <a:lnTo>
                    <a:pt x="499" y="479"/>
                  </a:lnTo>
                  <a:lnTo>
                    <a:pt x="499" y="481"/>
                  </a:lnTo>
                  <a:lnTo>
                    <a:pt x="501" y="483"/>
                  </a:lnTo>
                  <a:lnTo>
                    <a:pt x="501" y="489"/>
                  </a:lnTo>
                  <a:lnTo>
                    <a:pt x="501" y="491"/>
                  </a:lnTo>
                  <a:lnTo>
                    <a:pt x="503" y="491"/>
                  </a:lnTo>
                  <a:lnTo>
                    <a:pt x="505" y="495"/>
                  </a:lnTo>
                  <a:lnTo>
                    <a:pt x="505" y="495"/>
                  </a:lnTo>
                  <a:lnTo>
                    <a:pt x="507" y="496"/>
                  </a:lnTo>
                  <a:lnTo>
                    <a:pt x="507" y="498"/>
                  </a:lnTo>
                  <a:lnTo>
                    <a:pt x="509" y="500"/>
                  </a:lnTo>
                  <a:lnTo>
                    <a:pt x="511" y="500"/>
                  </a:lnTo>
                  <a:lnTo>
                    <a:pt x="513" y="498"/>
                  </a:lnTo>
                  <a:lnTo>
                    <a:pt x="514" y="496"/>
                  </a:lnTo>
                  <a:lnTo>
                    <a:pt x="514" y="496"/>
                  </a:lnTo>
                  <a:lnTo>
                    <a:pt x="514" y="496"/>
                  </a:lnTo>
                  <a:lnTo>
                    <a:pt x="516" y="495"/>
                  </a:lnTo>
                  <a:lnTo>
                    <a:pt x="516" y="495"/>
                  </a:lnTo>
                  <a:lnTo>
                    <a:pt x="516" y="495"/>
                  </a:lnTo>
                  <a:lnTo>
                    <a:pt x="518" y="493"/>
                  </a:lnTo>
                  <a:lnTo>
                    <a:pt x="520" y="493"/>
                  </a:lnTo>
                  <a:lnTo>
                    <a:pt x="522" y="493"/>
                  </a:lnTo>
                  <a:lnTo>
                    <a:pt x="524" y="491"/>
                  </a:lnTo>
                  <a:lnTo>
                    <a:pt x="524" y="491"/>
                  </a:lnTo>
                  <a:lnTo>
                    <a:pt x="526" y="491"/>
                  </a:lnTo>
                  <a:lnTo>
                    <a:pt x="528" y="491"/>
                  </a:lnTo>
                  <a:lnTo>
                    <a:pt x="530" y="491"/>
                  </a:lnTo>
                  <a:lnTo>
                    <a:pt x="530" y="491"/>
                  </a:lnTo>
                  <a:lnTo>
                    <a:pt x="532" y="489"/>
                  </a:lnTo>
                  <a:lnTo>
                    <a:pt x="534" y="487"/>
                  </a:lnTo>
                  <a:lnTo>
                    <a:pt x="535" y="487"/>
                  </a:lnTo>
                  <a:lnTo>
                    <a:pt x="535" y="485"/>
                  </a:lnTo>
                  <a:lnTo>
                    <a:pt x="537" y="485"/>
                  </a:lnTo>
                  <a:lnTo>
                    <a:pt x="535" y="483"/>
                  </a:lnTo>
                  <a:lnTo>
                    <a:pt x="537" y="483"/>
                  </a:lnTo>
                  <a:lnTo>
                    <a:pt x="537" y="483"/>
                  </a:lnTo>
                  <a:lnTo>
                    <a:pt x="537" y="483"/>
                  </a:lnTo>
                  <a:lnTo>
                    <a:pt x="539" y="481"/>
                  </a:lnTo>
                  <a:lnTo>
                    <a:pt x="541" y="483"/>
                  </a:lnTo>
                  <a:lnTo>
                    <a:pt x="541" y="483"/>
                  </a:lnTo>
                  <a:lnTo>
                    <a:pt x="541" y="483"/>
                  </a:lnTo>
                  <a:lnTo>
                    <a:pt x="541" y="483"/>
                  </a:lnTo>
                  <a:lnTo>
                    <a:pt x="543" y="487"/>
                  </a:lnTo>
                  <a:lnTo>
                    <a:pt x="543" y="489"/>
                  </a:lnTo>
                  <a:lnTo>
                    <a:pt x="543" y="489"/>
                  </a:lnTo>
                  <a:lnTo>
                    <a:pt x="543" y="493"/>
                  </a:lnTo>
                  <a:lnTo>
                    <a:pt x="541" y="495"/>
                  </a:lnTo>
                  <a:lnTo>
                    <a:pt x="541" y="495"/>
                  </a:lnTo>
                  <a:lnTo>
                    <a:pt x="541" y="496"/>
                  </a:lnTo>
                  <a:lnTo>
                    <a:pt x="541" y="496"/>
                  </a:lnTo>
                  <a:lnTo>
                    <a:pt x="537" y="498"/>
                  </a:lnTo>
                  <a:lnTo>
                    <a:pt x="535" y="500"/>
                  </a:lnTo>
                  <a:lnTo>
                    <a:pt x="535" y="500"/>
                  </a:lnTo>
                  <a:lnTo>
                    <a:pt x="535" y="502"/>
                  </a:lnTo>
                  <a:lnTo>
                    <a:pt x="534" y="504"/>
                  </a:lnTo>
                  <a:lnTo>
                    <a:pt x="534" y="506"/>
                  </a:lnTo>
                  <a:lnTo>
                    <a:pt x="534" y="508"/>
                  </a:lnTo>
                  <a:lnTo>
                    <a:pt x="532" y="510"/>
                  </a:lnTo>
                  <a:lnTo>
                    <a:pt x="532" y="512"/>
                  </a:lnTo>
                  <a:lnTo>
                    <a:pt x="532" y="512"/>
                  </a:lnTo>
                  <a:lnTo>
                    <a:pt x="534" y="514"/>
                  </a:lnTo>
                  <a:lnTo>
                    <a:pt x="534" y="514"/>
                  </a:lnTo>
                  <a:lnTo>
                    <a:pt x="535" y="515"/>
                  </a:lnTo>
                  <a:lnTo>
                    <a:pt x="535" y="515"/>
                  </a:lnTo>
                  <a:lnTo>
                    <a:pt x="541" y="510"/>
                  </a:lnTo>
                  <a:lnTo>
                    <a:pt x="543" y="508"/>
                  </a:lnTo>
                  <a:lnTo>
                    <a:pt x="543" y="506"/>
                  </a:lnTo>
                  <a:lnTo>
                    <a:pt x="545" y="506"/>
                  </a:lnTo>
                  <a:lnTo>
                    <a:pt x="549" y="504"/>
                  </a:lnTo>
                  <a:lnTo>
                    <a:pt x="562" y="504"/>
                  </a:lnTo>
                  <a:lnTo>
                    <a:pt x="566" y="502"/>
                  </a:lnTo>
                  <a:lnTo>
                    <a:pt x="568" y="502"/>
                  </a:lnTo>
                  <a:lnTo>
                    <a:pt x="568" y="500"/>
                  </a:lnTo>
                  <a:lnTo>
                    <a:pt x="572" y="496"/>
                  </a:lnTo>
                  <a:lnTo>
                    <a:pt x="574" y="496"/>
                  </a:lnTo>
                  <a:lnTo>
                    <a:pt x="575" y="496"/>
                  </a:lnTo>
                  <a:lnTo>
                    <a:pt x="577" y="498"/>
                  </a:lnTo>
                  <a:lnTo>
                    <a:pt x="575" y="500"/>
                  </a:lnTo>
                  <a:lnTo>
                    <a:pt x="575" y="502"/>
                  </a:lnTo>
                  <a:lnTo>
                    <a:pt x="575" y="504"/>
                  </a:lnTo>
                  <a:lnTo>
                    <a:pt x="575" y="506"/>
                  </a:lnTo>
                  <a:lnTo>
                    <a:pt x="577" y="512"/>
                  </a:lnTo>
                  <a:lnTo>
                    <a:pt x="579" y="515"/>
                  </a:lnTo>
                  <a:lnTo>
                    <a:pt x="587" y="523"/>
                  </a:lnTo>
                  <a:lnTo>
                    <a:pt x="589" y="525"/>
                  </a:lnTo>
                  <a:lnTo>
                    <a:pt x="591" y="527"/>
                  </a:lnTo>
                  <a:lnTo>
                    <a:pt x="595" y="529"/>
                  </a:lnTo>
                  <a:lnTo>
                    <a:pt x="596" y="527"/>
                  </a:lnTo>
                  <a:lnTo>
                    <a:pt x="598" y="527"/>
                  </a:lnTo>
                  <a:lnTo>
                    <a:pt x="600" y="525"/>
                  </a:lnTo>
                  <a:lnTo>
                    <a:pt x="602" y="525"/>
                  </a:lnTo>
                  <a:lnTo>
                    <a:pt x="604" y="525"/>
                  </a:lnTo>
                  <a:lnTo>
                    <a:pt x="606" y="525"/>
                  </a:lnTo>
                  <a:lnTo>
                    <a:pt x="606" y="525"/>
                  </a:lnTo>
                  <a:lnTo>
                    <a:pt x="608" y="523"/>
                  </a:lnTo>
                  <a:lnTo>
                    <a:pt x="610" y="517"/>
                  </a:lnTo>
                  <a:lnTo>
                    <a:pt x="610" y="515"/>
                  </a:lnTo>
                  <a:lnTo>
                    <a:pt x="612" y="514"/>
                  </a:lnTo>
                  <a:lnTo>
                    <a:pt x="614" y="512"/>
                  </a:lnTo>
                  <a:lnTo>
                    <a:pt x="617" y="512"/>
                  </a:lnTo>
                  <a:lnTo>
                    <a:pt x="619" y="510"/>
                  </a:lnTo>
                  <a:lnTo>
                    <a:pt x="621" y="512"/>
                  </a:lnTo>
                  <a:lnTo>
                    <a:pt x="623" y="512"/>
                  </a:lnTo>
                  <a:lnTo>
                    <a:pt x="625" y="512"/>
                  </a:lnTo>
                  <a:lnTo>
                    <a:pt x="627" y="512"/>
                  </a:lnTo>
                  <a:lnTo>
                    <a:pt x="631" y="508"/>
                  </a:lnTo>
                  <a:lnTo>
                    <a:pt x="640" y="500"/>
                  </a:lnTo>
                  <a:lnTo>
                    <a:pt x="644" y="496"/>
                  </a:lnTo>
                  <a:lnTo>
                    <a:pt x="646" y="493"/>
                  </a:lnTo>
                  <a:lnTo>
                    <a:pt x="646" y="489"/>
                  </a:lnTo>
                  <a:lnTo>
                    <a:pt x="646" y="485"/>
                  </a:lnTo>
                  <a:lnTo>
                    <a:pt x="644" y="481"/>
                  </a:lnTo>
                  <a:lnTo>
                    <a:pt x="640" y="479"/>
                  </a:lnTo>
                  <a:lnTo>
                    <a:pt x="640" y="475"/>
                  </a:lnTo>
                  <a:lnTo>
                    <a:pt x="640" y="472"/>
                  </a:lnTo>
                  <a:lnTo>
                    <a:pt x="638" y="470"/>
                  </a:lnTo>
                  <a:lnTo>
                    <a:pt x="633" y="464"/>
                  </a:lnTo>
                  <a:lnTo>
                    <a:pt x="631" y="462"/>
                  </a:lnTo>
                  <a:lnTo>
                    <a:pt x="631" y="456"/>
                  </a:lnTo>
                  <a:lnTo>
                    <a:pt x="631" y="455"/>
                  </a:lnTo>
                  <a:lnTo>
                    <a:pt x="631" y="449"/>
                  </a:lnTo>
                  <a:lnTo>
                    <a:pt x="633" y="447"/>
                  </a:lnTo>
                  <a:lnTo>
                    <a:pt x="635" y="445"/>
                  </a:lnTo>
                  <a:lnTo>
                    <a:pt x="635" y="443"/>
                  </a:lnTo>
                  <a:lnTo>
                    <a:pt x="635" y="439"/>
                  </a:lnTo>
                  <a:lnTo>
                    <a:pt x="631" y="437"/>
                  </a:lnTo>
                  <a:lnTo>
                    <a:pt x="623" y="437"/>
                  </a:lnTo>
                  <a:lnTo>
                    <a:pt x="621" y="436"/>
                  </a:lnTo>
                  <a:lnTo>
                    <a:pt x="614" y="432"/>
                  </a:lnTo>
                  <a:lnTo>
                    <a:pt x="612" y="432"/>
                  </a:lnTo>
                  <a:lnTo>
                    <a:pt x="608" y="434"/>
                  </a:lnTo>
                  <a:lnTo>
                    <a:pt x="606" y="432"/>
                  </a:lnTo>
                  <a:lnTo>
                    <a:pt x="606" y="430"/>
                  </a:lnTo>
                  <a:lnTo>
                    <a:pt x="606" y="428"/>
                  </a:lnTo>
                  <a:lnTo>
                    <a:pt x="606" y="426"/>
                  </a:lnTo>
                  <a:lnTo>
                    <a:pt x="604" y="426"/>
                  </a:lnTo>
                  <a:lnTo>
                    <a:pt x="602" y="424"/>
                  </a:lnTo>
                  <a:lnTo>
                    <a:pt x="598" y="424"/>
                  </a:lnTo>
                  <a:lnTo>
                    <a:pt x="596" y="422"/>
                  </a:lnTo>
                  <a:lnTo>
                    <a:pt x="593" y="415"/>
                  </a:lnTo>
                  <a:lnTo>
                    <a:pt x="593" y="415"/>
                  </a:lnTo>
                  <a:lnTo>
                    <a:pt x="591" y="413"/>
                  </a:lnTo>
                  <a:lnTo>
                    <a:pt x="591" y="411"/>
                  </a:lnTo>
                  <a:lnTo>
                    <a:pt x="591" y="407"/>
                  </a:lnTo>
                  <a:lnTo>
                    <a:pt x="591" y="401"/>
                  </a:lnTo>
                  <a:lnTo>
                    <a:pt x="591" y="399"/>
                  </a:lnTo>
                  <a:lnTo>
                    <a:pt x="589" y="394"/>
                  </a:lnTo>
                  <a:lnTo>
                    <a:pt x="589" y="392"/>
                  </a:lnTo>
                  <a:lnTo>
                    <a:pt x="591" y="388"/>
                  </a:lnTo>
                  <a:lnTo>
                    <a:pt x="593" y="386"/>
                  </a:lnTo>
                  <a:lnTo>
                    <a:pt x="595" y="386"/>
                  </a:lnTo>
                  <a:lnTo>
                    <a:pt x="596" y="388"/>
                  </a:lnTo>
                  <a:lnTo>
                    <a:pt x="600" y="388"/>
                  </a:lnTo>
                  <a:lnTo>
                    <a:pt x="600" y="386"/>
                  </a:lnTo>
                  <a:lnTo>
                    <a:pt x="600" y="384"/>
                  </a:lnTo>
                  <a:lnTo>
                    <a:pt x="598" y="379"/>
                  </a:lnTo>
                  <a:lnTo>
                    <a:pt x="598" y="377"/>
                  </a:lnTo>
                  <a:lnTo>
                    <a:pt x="598" y="373"/>
                  </a:lnTo>
                  <a:lnTo>
                    <a:pt x="596" y="371"/>
                  </a:lnTo>
                  <a:lnTo>
                    <a:pt x="595" y="369"/>
                  </a:lnTo>
                  <a:lnTo>
                    <a:pt x="593" y="365"/>
                  </a:lnTo>
                  <a:lnTo>
                    <a:pt x="593" y="361"/>
                  </a:lnTo>
                  <a:lnTo>
                    <a:pt x="591" y="356"/>
                  </a:lnTo>
                  <a:lnTo>
                    <a:pt x="589" y="352"/>
                  </a:lnTo>
                  <a:lnTo>
                    <a:pt x="591" y="348"/>
                  </a:lnTo>
                  <a:lnTo>
                    <a:pt x="593" y="346"/>
                  </a:lnTo>
                  <a:lnTo>
                    <a:pt x="604" y="346"/>
                  </a:lnTo>
                  <a:lnTo>
                    <a:pt x="606" y="346"/>
                  </a:lnTo>
                  <a:lnTo>
                    <a:pt x="606" y="346"/>
                  </a:lnTo>
                  <a:lnTo>
                    <a:pt x="608" y="346"/>
                  </a:lnTo>
                  <a:lnTo>
                    <a:pt x="608" y="344"/>
                  </a:lnTo>
                  <a:lnTo>
                    <a:pt x="610" y="344"/>
                  </a:lnTo>
                  <a:lnTo>
                    <a:pt x="612" y="342"/>
                  </a:lnTo>
                  <a:lnTo>
                    <a:pt x="635" y="344"/>
                  </a:lnTo>
                  <a:lnTo>
                    <a:pt x="636" y="344"/>
                  </a:lnTo>
                  <a:lnTo>
                    <a:pt x="640" y="339"/>
                  </a:lnTo>
                  <a:lnTo>
                    <a:pt x="644" y="337"/>
                  </a:lnTo>
                  <a:lnTo>
                    <a:pt x="646" y="335"/>
                  </a:lnTo>
                  <a:lnTo>
                    <a:pt x="646" y="333"/>
                  </a:lnTo>
                  <a:lnTo>
                    <a:pt x="644" y="329"/>
                  </a:lnTo>
                  <a:lnTo>
                    <a:pt x="644" y="325"/>
                  </a:lnTo>
                  <a:lnTo>
                    <a:pt x="646" y="325"/>
                  </a:lnTo>
                  <a:lnTo>
                    <a:pt x="648" y="325"/>
                  </a:lnTo>
                  <a:lnTo>
                    <a:pt x="648" y="325"/>
                  </a:lnTo>
                  <a:lnTo>
                    <a:pt x="650" y="323"/>
                  </a:lnTo>
                  <a:lnTo>
                    <a:pt x="650" y="318"/>
                  </a:lnTo>
                  <a:lnTo>
                    <a:pt x="648" y="306"/>
                  </a:lnTo>
                  <a:lnTo>
                    <a:pt x="646" y="302"/>
                  </a:lnTo>
                  <a:lnTo>
                    <a:pt x="646" y="301"/>
                  </a:lnTo>
                  <a:lnTo>
                    <a:pt x="648" y="299"/>
                  </a:lnTo>
                  <a:lnTo>
                    <a:pt x="650" y="299"/>
                  </a:lnTo>
                  <a:lnTo>
                    <a:pt x="657" y="301"/>
                  </a:lnTo>
                  <a:lnTo>
                    <a:pt x="661" y="301"/>
                  </a:lnTo>
                  <a:lnTo>
                    <a:pt x="665" y="301"/>
                  </a:lnTo>
                  <a:lnTo>
                    <a:pt x="665" y="301"/>
                  </a:lnTo>
                  <a:lnTo>
                    <a:pt x="667" y="297"/>
                  </a:lnTo>
                  <a:lnTo>
                    <a:pt x="667" y="295"/>
                  </a:lnTo>
                  <a:lnTo>
                    <a:pt x="667" y="293"/>
                  </a:lnTo>
                  <a:lnTo>
                    <a:pt x="665" y="293"/>
                  </a:lnTo>
                  <a:lnTo>
                    <a:pt x="665" y="291"/>
                  </a:lnTo>
                  <a:lnTo>
                    <a:pt x="665" y="289"/>
                  </a:lnTo>
                  <a:lnTo>
                    <a:pt x="665" y="287"/>
                  </a:lnTo>
                  <a:lnTo>
                    <a:pt x="667" y="285"/>
                  </a:lnTo>
                  <a:lnTo>
                    <a:pt x="669" y="285"/>
                  </a:lnTo>
                  <a:lnTo>
                    <a:pt x="673" y="283"/>
                  </a:lnTo>
                  <a:lnTo>
                    <a:pt x="675" y="283"/>
                  </a:lnTo>
                  <a:lnTo>
                    <a:pt x="676" y="282"/>
                  </a:lnTo>
                  <a:lnTo>
                    <a:pt x="676" y="280"/>
                  </a:lnTo>
                  <a:lnTo>
                    <a:pt x="678" y="276"/>
                  </a:lnTo>
                  <a:lnTo>
                    <a:pt x="678" y="274"/>
                  </a:lnTo>
                  <a:lnTo>
                    <a:pt x="680" y="272"/>
                  </a:lnTo>
                  <a:lnTo>
                    <a:pt x="684" y="272"/>
                  </a:lnTo>
                  <a:lnTo>
                    <a:pt x="686" y="272"/>
                  </a:lnTo>
                  <a:lnTo>
                    <a:pt x="692" y="274"/>
                  </a:lnTo>
                  <a:lnTo>
                    <a:pt x="696" y="272"/>
                  </a:lnTo>
                  <a:lnTo>
                    <a:pt x="696" y="272"/>
                  </a:lnTo>
                  <a:lnTo>
                    <a:pt x="697" y="264"/>
                  </a:lnTo>
                  <a:lnTo>
                    <a:pt x="699" y="259"/>
                  </a:lnTo>
                  <a:lnTo>
                    <a:pt x="701" y="257"/>
                  </a:lnTo>
                  <a:lnTo>
                    <a:pt x="707" y="251"/>
                  </a:lnTo>
                  <a:lnTo>
                    <a:pt x="707" y="249"/>
                  </a:lnTo>
                  <a:lnTo>
                    <a:pt x="709" y="245"/>
                  </a:lnTo>
                  <a:lnTo>
                    <a:pt x="707" y="226"/>
                  </a:lnTo>
                  <a:lnTo>
                    <a:pt x="709" y="223"/>
                  </a:lnTo>
                  <a:lnTo>
                    <a:pt x="711" y="219"/>
                  </a:lnTo>
                  <a:lnTo>
                    <a:pt x="715" y="215"/>
                  </a:lnTo>
                  <a:lnTo>
                    <a:pt x="716" y="213"/>
                  </a:lnTo>
                  <a:lnTo>
                    <a:pt x="716" y="209"/>
                  </a:lnTo>
                  <a:lnTo>
                    <a:pt x="716" y="204"/>
                  </a:lnTo>
                  <a:lnTo>
                    <a:pt x="715" y="200"/>
                  </a:lnTo>
                  <a:lnTo>
                    <a:pt x="718" y="196"/>
                  </a:lnTo>
                  <a:lnTo>
                    <a:pt x="724" y="190"/>
                  </a:lnTo>
                  <a:lnTo>
                    <a:pt x="726" y="186"/>
                  </a:lnTo>
                  <a:lnTo>
                    <a:pt x="726" y="183"/>
                  </a:lnTo>
                  <a:lnTo>
                    <a:pt x="726" y="18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0" name="Freeform 52">
              <a:extLst>
                <a:ext uri="{FF2B5EF4-FFF2-40B4-BE49-F238E27FC236}">
                  <a16:creationId xmlns:a16="http://schemas.microsoft.com/office/drawing/2014/main" id="{BB215352-487C-52EE-C5AD-788A08ED0FA2}"/>
                </a:ext>
              </a:extLst>
            </p:cNvPr>
            <p:cNvSpPr>
              <a:spLocks/>
            </p:cNvSpPr>
            <p:nvPr/>
          </p:nvSpPr>
          <p:spPr bwMode="auto">
            <a:xfrm>
              <a:off x="4867275" y="2083601"/>
              <a:ext cx="498475" cy="488950"/>
            </a:xfrm>
            <a:custGeom>
              <a:avLst/>
              <a:gdLst>
                <a:gd name="T0" fmla="*/ 301 w 314"/>
                <a:gd name="T1" fmla="*/ 211 h 308"/>
                <a:gd name="T2" fmla="*/ 293 w 314"/>
                <a:gd name="T3" fmla="*/ 198 h 308"/>
                <a:gd name="T4" fmla="*/ 293 w 314"/>
                <a:gd name="T5" fmla="*/ 171 h 308"/>
                <a:gd name="T6" fmla="*/ 288 w 314"/>
                <a:gd name="T7" fmla="*/ 163 h 308"/>
                <a:gd name="T8" fmla="*/ 291 w 314"/>
                <a:gd name="T9" fmla="*/ 139 h 308"/>
                <a:gd name="T10" fmla="*/ 267 w 314"/>
                <a:gd name="T11" fmla="*/ 110 h 308"/>
                <a:gd name="T12" fmla="*/ 263 w 314"/>
                <a:gd name="T13" fmla="*/ 91 h 308"/>
                <a:gd name="T14" fmla="*/ 251 w 314"/>
                <a:gd name="T15" fmla="*/ 83 h 308"/>
                <a:gd name="T16" fmla="*/ 251 w 314"/>
                <a:gd name="T17" fmla="*/ 70 h 308"/>
                <a:gd name="T18" fmla="*/ 259 w 314"/>
                <a:gd name="T19" fmla="*/ 57 h 308"/>
                <a:gd name="T20" fmla="*/ 253 w 314"/>
                <a:gd name="T21" fmla="*/ 51 h 308"/>
                <a:gd name="T22" fmla="*/ 246 w 314"/>
                <a:gd name="T23" fmla="*/ 59 h 308"/>
                <a:gd name="T24" fmla="*/ 232 w 314"/>
                <a:gd name="T25" fmla="*/ 63 h 308"/>
                <a:gd name="T26" fmla="*/ 223 w 314"/>
                <a:gd name="T27" fmla="*/ 64 h 308"/>
                <a:gd name="T28" fmla="*/ 213 w 314"/>
                <a:gd name="T29" fmla="*/ 45 h 308"/>
                <a:gd name="T30" fmla="*/ 194 w 314"/>
                <a:gd name="T31" fmla="*/ 24 h 308"/>
                <a:gd name="T32" fmla="*/ 185 w 314"/>
                <a:gd name="T33" fmla="*/ 32 h 308"/>
                <a:gd name="T34" fmla="*/ 166 w 314"/>
                <a:gd name="T35" fmla="*/ 38 h 308"/>
                <a:gd name="T36" fmla="*/ 126 w 314"/>
                <a:gd name="T37" fmla="*/ 21 h 308"/>
                <a:gd name="T38" fmla="*/ 95 w 314"/>
                <a:gd name="T39" fmla="*/ 4 h 308"/>
                <a:gd name="T40" fmla="*/ 65 w 314"/>
                <a:gd name="T41" fmla="*/ 11 h 308"/>
                <a:gd name="T42" fmla="*/ 46 w 314"/>
                <a:gd name="T43" fmla="*/ 26 h 308"/>
                <a:gd name="T44" fmla="*/ 28 w 314"/>
                <a:gd name="T45" fmla="*/ 32 h 308"/>
                <a:gd name="T46" fmla="*/ 21 w 314"/>
                <a:gd name="T47" fmla="*/ 38 h 308"/>
                <a:gd name="T48" fmla="*/ 30 w 314"/>
                <a:gd name="T49" fmla="*/ 51 h 308"/>
                <a:gd name="T50" fmla="*/ 30 w 314"/>
                <a:gd name="T51" fmla="*/ 66 h 308"/>
                <a:gd name="T52" fmla="*/ 27 w 314"/>
                <a:gd name="T53" fmla="*/ 80 h 308"/>
                <a:gd name="T54" fmla="*/ 11 w 314"/>
                <a:gd name="T55" fmla="*/ 104 h 308"/>
                <a:gd name="T56" fmla="*/ 4 w 314"/>
                <a:gd name="T57" fmla="*/ 114 h 308"/>
                <a:gd name="T58" fmla="*/ 6 w 314"/>
                <a:gd name="T59" fmla="*/ 116 h 308"/>
                <a:gd name="T60" fmla="*/ 11 w 314"/>
                <a:gd name="T61" fmla="*/ 127 h 308"/>
                <a:gd name="T62" fmla="*/ 36 w 314"/>
                <a:gd name="T63" fmla="*/ 152 h 308"/>
                <a:gd name="T64" fmla="*/ 32 w 314"/>
                <a:gd name="T65" fmla="*/ 156 h 308"/>
                <a:gd name="T66" fmla="*/ 59 w 314"/>
                <a:gd name="T67" fmla="*/ 209 h 308"/>
                <a:gd name="T68" fmla="*/ 67 w 314"/>
                <a:gd name="T69" fmla="*/ 205 h 308"/>
                <a:gd name="T70" fmla="*/ 70 w 314"/>
                <a:gd name="T71" fmla="*/ 196 h 308"/>
                <a:gd name="T72" fmla="*/ 82 w 314"/>
                <a:gd name="T73" fmla="*/ 209 h 308"/>
                <a:gd name="T74" fmla="*/ 86 w 314"/>
                <a:gd name="T75" fmla="*/ 211 h 308"/>
                <a:gd name="T76" fmla="*/ 89 w 314"/>
                <a:gd name="T77" fmla="*/ 215 h 308"/>
                <a:gd name="T78" fmla="*/ 91 w 314"/>
                <a:gd name="T79" fmla="*/ 217 h 308"/>
                <a:gd name="T80" fmla="*/ 93 w 314"/>
                <a:gd name="T81" fmla="*/ 222 h 308"/>
                <a:gd name="T82" fmla="*/ 95 w 314"/>
                <a:gd name="T83" fmla="*/ 236 h 308"/>
                <a:gd name="T84" fmla="*/ 110 w 314"/>
                <a:gd name="T85" fmla="*/ 251 h 308"/>
                <a:gd name="T86" fmla="*/ 118 w 314"/>
                <a:gd name="T87" fmla="*/ 253 h 308"/>
                <a:gd name="T88" fmla="*/ 128 w 314"/>
                <a:gd name="T89" fmla="*/ 262 h 308"/>
                <a:gd name="T90" fmla="*/ 135 w 314"/>
                <a:gd name="T91" fmla="*/ 268 h 308"/>
                <a:gd name="T92" fmla="*/ 145 w 314"/>
                <a:gd name="T93" fmla="*/ 285 h 308"/>
                <a:gd name="T94" fmla="*/ 150 w 314"/>
                <a:gd name="T95" fmla="*/ 298 h 308"/>
                <a:gd name="T96" fmla="*/ 166 w 314"/>
                <a:gd name="T97" fmla="*/ 304 h 308"/>
                <a:gd name="T98" fmla="*/ 171 w 314"/>
                <a:gd name="T99" fmla="*/ 304 h 308"/>
                <a:gd name="T100" fmla="*/ 185 w 314"/>
                <a:gd name="T101" fmla="*/ 308 h 308"/>
                <a:gd name="T102" fmla="*/ 202 w 314"/>
                <a:gd name="T103" fmla="*/ 296 h 308"/>
                <a:gd name="T104" fmla="*/ 204 w 314"/>
                <a:gd name="T105" fmla="*/ 291 h 308"/>
                <a:gd name="T106" fmla="*/ 202 w 314"/>
                <a:gd name="T107" fmla="*/ 277 h 308"/>
                <a:gd name="T108" fmla="*/ 200 w 314"/>
                <a:gd name="T109" fmla="*/ 257 h 308"/>
                <a:gd name="T110" fmla="*/ 204 w 314"/>
                <a:gd name="T111" fmla="*/ 249 h 308"/>
                <a:gd name="T112" fmla="*/ 204 w 314"/>
                <a:gd name="T113" fmla="*/ 243 h 308"/>
                <a:gd name="T114" fmla="*/ 217 w 314"/>
                <a:gd name="T115" fmla="*/ 224 h 308"/>
                <a:gd name="T116" fmla="*/ 240 w 314"/>
                <a:gd name="T117" fmla="*/ 215 h 308"/>
                <a:gd name="T118" fmla="*/ 259 w 314"/>
                <a:gd name="T119" fmla="*/ 213 h 308"/>
                <a:gd name="T120" fmla="*/ 270 w 314"/>
                <a:gd name="T121" fmla="*/ 218 h 308"/>
                <a:gd name="T122" fmla="*/ 290 w 314"/>
                <a:gd name="T123" fmla="*/ 218 h 308"/>
                <a:gd name="T124" fmla="*/ 309 w 314"/>
                <a:gd name="T125" fmla="*/ 23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308">
                  <a:moveTo>
                    <a:pt x="314" y="224"/>
                  </a:moveTo>
                  <a:lnTo>
                    <a:pt x="312" y="220"/>
                  </a:lnTo>
                  <a:lnTo>
                    <a:pt x="311" y="217"/>
                  </a:lnTo>
                  <a:lnTo>
                    <a:pt x="307" y="213"/>
                  </a:lnTo>
                  <a:lnTo>
                    <a:pt x="307" y="213"/>
                  </a:lnTo>
                  <a:lnTo>
                    <a:pt x="305" y="209"/>
                  </a:lnTo>
                  <a:lnTo>
                    <a:pt x="305" y="211"/>
                  </a:lnTo>
                  <a:lnTo>
                    <a:pt x="303" y="211"/>
                  </a:lnTo>
                  <a:lnTo>
                    <a:pt x="301" y="211"/>
                  </a:lnTo>
                  <a:lnTo>
                    <a:pt x="299" y="211"/>
                  </a:lnTo>
                  <a:lnTo>
                    <a:pt x="297" y="211"/>
                  </a:lnTo>
                  <a:lnTo>
                    <a:pt x="295" y="211"/>
                  </a:lnTo>
                  <a:lnTo>
                    <a:pt x="293" y="209"/>
                  </a:lnTo>
                  <a:lnTo>
                    <a:pt x="291" y="209"/>
                  </a:lnTo>
                  <a:lnTo>
                    <a:pt x="291" y="207"/>
                  </a:lnTo>
                  <a:lnTo>
                    <a:pt x="291" y="205"/>
                  </a:lnTo>
                  <a:lnTo>
                    <a:pt x="291" y="201"/>
                  </a:lnTo>
                  <a:lnTo>
                    <a:pt x="293" y="198"/>
                  </a:lnTo>
                  <a:lnTo>
                    <a:pt x="293" y="194"/>
                  </a:lnTo>
                  <a:lnTo>
                    <a:pt x="291" y="192"/>
                  </a:lnTo>
                  <a:lnTo>
                    <a:pt x="288" y="190"/>
                  </a:lnTo>
                  <a:lnTo>
                    <a:pt x="288" y="186"/>
                  </a:lnTo>
                  <a:lnTo>
                    <a:pt x="297" y="180"/>
                  </a:lnTo>
                  <a:lnTo>
                    <a:pt x="299" y="179"/>
                  </a:lnTo>
                  <a:lnTo>
                    <a:pt x="299" y="177"/>
                  </a:lnTo>
                  <a:lnTo>
                    <a:pt x="297" y="173"/>
                  </a:lnTo>
                  <a:lnTo>
                    <a:pt x="293" y="171"/>
                  </a:lnTo>
                  <a:lnTo>
                    <a:pt x="291" y="171"/>
                  </a:lnTo>
                  <a:lnTo>
                    <a:pt x="291" y="169"/>
                  </a:lnTo>
                  <a:lnTo>
                    <a:pt x="290" y="169"/>
                  </a:lnTo>
                  <a:lnTo>
                    <a:pt x="290" y="169"/>
                  </a:lnTo>
                  <a:lnTo>
                    <a:pt x="290" y="167"/>
                  </a:lnTo>
                  <a:lnTo>
                    <a:pt x="288" y="165"/>
                  </a:lnTo>
                  <a:lnTo>
                    <a:pt x="288" y="165"/>
                  </a:lnTo>
                  <a:lnTo>
                    <a:pt x="288" y="163"/>
                  </a:lnTo>
                  <a:lnTo>
                    <a:pt x="288" y="163"/>
                  </a:lnTo>
                  <a:lnTo>
                    <a:pt x="288" y="161"/>
                  </a:lnTo>
                  <a:lnTo>
                    <a:pt x="286" y="160"/>
                  </a:lnTo>
                  <a:lnTo>
                    <a:pt x="286" y="158"/>
                  </a:lnTo>
                  <a:lnTo>
                    <a:pt x="288" y="154"/>
                  </a:lnTo>
                  <a:lnTo>
                    <a:pt x="288" y="152"/>
                  </a:lnTo>
                  <a:lnTo>
                    <a:pt x="290" y="146"/>
                  </a:lnTo>
                  <a:lnTo>
                    <a:pt x="290" y="144"/>
                  </a:lnTo>
                  <a:lnTo>
                    <a:pt x="291" y="140"/>
                  </a:lnTo>
                  <a:lnTo>
                    <a:pt x="291" y="139"/>
                  </a:lnTo>
                  <a:lnTo>
                    <a:pt x="291" y="135"/>
                  </a:lnTo>
                  <a:lnTo>
                    <a:pt x="290" y="135"/>
                  </a:lnTo>
                  <a:lnTo>
                    <a:pt x="286" y="133"/>
                  </a:lnTo>
                  <a:lnTo>
                    <a:pt x="284" y="129"/>
                  </a:lnTo>
                  <a:lnTo>
                    <a:pt x="274" y="118"/>
                  </a:lnTo>
                  <a:lnTo>
                    <a:pt x="272" y="114"/>
                  </a:lnTo>
                  <a:lnTo>
                    <a:pt x="270" y="112"/>
                  </a:lnTo>
                  <a:lnTo>
                    <a:pt x="267" y="110"/>
                  </a:lnTo>
                  <a:lnTo>
                    <a:pt x="267" y="110"/>
                  </a:lnTo>
                  <a:lnTo>
                    <a:pt x="267" y="110"/>
                  </a:lnTo>
                  <a:lnTo>
                    <a:pt x="265" y="108"/>
                  </a:lnTo>
                  <a:lnTo>
                    <a:pt x="265" y="108"/>
                  </a:lnTo>
                  <a:lnTo>
                    <a:pt x="267" y="106"/>
                  </a:lnTo>
                  <a:lnTo>
                    <a:pt x="267" y="102"/>
                  </a:lnTo>
                  <a:lnTo>
                    <a:pt x="263" y="93"/>
                  </a:lnTo>
                  <a:lnTo>
                    <a:pt x="263" y="93"/>
                  </a:lnTo>
                  <a:lnTo>
                    <a:pt x="263" y="93"/>
                  </a:lnTo>
                  <a:lnTo>
                    <a:pt x="263" y="91"/>
                  </a:lnTo>
                  <a:lnTo>
                    <a:pt x="265" y="89"/>
                  </a:lnTo>
                  <a:lnTo>
                    <a:pt x="265" y="89"/>
                  </a:lnTo>
                  <a:lnTo>
                    <a:pt x="265" y="89"/>
                  </a:lnTo>
                  <a:lnTo>
                    <a:pt x="265" y="87"/>
                  </a:lnTo>
                  <a:lnTo>
                    <a:pt x="261" y="82"/>
                  </a:lnTo>
                  <a:lnTo>
                    <a:pt x="259" y="76"/>
                  </a:lnTo>
                  <a:lnTo>
                    <a:pt x="257" y="78"/>
                  </a:lnTo>
                  <a:lnTo>
                    <a:pt x="251" y="83"/>
                  </a:lnTo>
                  <a:lnTo>
                    <a:pt x="251" y="83"/>
                  </a:lnTo>
                  <a:lnTo>
                    <a:pt x="250" y="82"/>
                  </a:lnTo>
                  <a:lnTo>
                    <a:pt x="250" y="82"/>
                  </a:lnTo>
                  <a:lnTo>
                    <a:pt x="248" y="80"/>
                  </a:lnTo>
                  <a:lnTo>
                    <a:pt x="248" y="80"/>
                  </a:lnTo>
                  <a:lnTo>
                    <a:pt x="248" y="78"/>
                  </a:lnTo>
                  <a:lnTo>
                    <a:pt x="250" y="76"/>
                  </a:lnTo>
                  <a:lnTo>
                    <a:pt x="250" y="74"/>
                  </a:lnTo>
                  <a:lnTo>
                    <a:pt x="250" y="72"/>
                  </a:lnTo>
                  <a:lnTo>
                    <a:pt x="251" y="70"/>
                  </a:lnTo>
                  <a:lnTo>
                    <a:pt x="251" y="68"/>
                  </a:lnTo>
                  <a:lnTo>
                    <a:pt x="251" y="68"/>
                  </a:lnTo>
                  <a:lnTo>
                    <a:pt x="253" y="66"/>
                  </a:lnTo>
                  <a:lnTo>
                    <a:pt x="257" y="64"/>
                  </a:lnTo>
                  <a:lnTo>
                    <a:pt x="257" y="64"/>
                  </a:lnTo>
                  <a:lnTo>
                    <a:pt x="257" y="63"/>
                  </a:lnTo>
                  <a:lnTo>
                    <a:pt x="257" y="63"/>
                  </a:lnTo>
                  <a:lnTo>
                    <a:pt x="259" y="61"/>
                  </a:lnTo>
                  <a:lnTo>
                    <a:pt x="259" y="57"/>
                  </a:lnTo>
                  <a:lnTo>
                    <a:pt x="259" y="57"/>
                  </a:lnTo>
                  <a:lnTo>
                    <a:pt x="259" y="55"/>
                  </a:lnTo>
                  <a:lnTo>
                    <a:pt x="257" y="51"/>
                  </a:lnTo>
                  <a:lnTo>
                    <a:pt x="257" y="51"/>
                  </a:lnTo>
                  <a:lnTo>
                    <a:pt x="257" y="51"/>
                  </a:lnTo>
                  <a:lnTo>
                    <a:pt x="257" y="51"/>
                  </a:lnTo>
                  <a:lnTo>
                    <a:pt x="255" y="49"/>
                  </a:lnTo>
                  <a:lnTo>
                    <a:pt x="253" y="51"/>
                  </a:lnTo>
                  <a:lnTo>
                    <a:pt x="253" y="51"/>
                  </a:lnTo>
                  <a:lnTo>
                    <a:pt x="253" y="51"/>
                  </a:lnTo>
                  <a:lnTo>
                    <a:pt x="251" y="51"/>
                  </a:lnTo>
                  <a:lnTo>
                    <a:pt x="253" y="53"/>
                  </a:lnTo>
                  <a:lnTo>
                    <a:pt x="251" y="53"/>
                  </a:lnTo>
                  <a:lnTo>
                    <a:pt x="251" y="55"/>
                  </a:lnTo>
                  <a:lnTo>
                    <a:pt x="250" y="55"/>
                  </a:lnTo>
                  <a:lnTo>
                    <a:pt x="248" y="57"/>
                  </a:lnTo>
                  <a:lnTo>
                    <a:pt x="246" y="59"/>
                  </a:lnTo>
                  <a:lnTo>
                    <a:pt x="246" y="59"/>
                  </a:lnTo>
                  <a:lnTo>
                    <a:pt x="244" y="59"/>
                  </a:lnTo>
                  <a:lnTo>
                    <a:pt x="242" y="59"/>
                  </a:lnTo>
                  <a:lnTo>
                    <a:pt x="240" y="59"/>
                  </a:lnTo>
                  <a:lnTo>
                    <a:pt x="240" y="59"/>
                  </a:lnTo>
                  <a:lnTo>
                    <a:pt x="238" y="61"/>
                  </a:lnTo>
                  <a:lnTo>
                    <a:pt x="236" y="61"/>
                  </a:lnTo>
                  <a:lnTo>
                    <a:pt x="234" y="61"/>
                  </a:lnTo>
                  <a:lnTo>
                    <a:pt x="232" y="63"/>
                  </a:lnTo>
                  <a:lnTo>
                    <a:pt x="232" y="63"/>
                  </a:lnTo>
                  <a:lnTo>
                    <a:pt x="232" y="63"/>
                  </a:lnTo>
                  <a:lnTo>
                    <a:pt x="230" y="64"/>
                  </a:lnTo>
                  <a:lnTo>
                    <a:pt x="230" y="64"/>
                  </a:lnTo>
                  <a:lnTo>
                    <a:pt x="230" y="64"/>
                  </a:lnTo>
                  <a:lnTo>
                    <a:pt x="229" y="66"/>
                  </a:lnTo>
                  <a:lnTo>
                    <a:pt x="227" y="68"/>
                  </a:lnTo>
                  <a:lnTo>
                    <a:pt x="225" y="68"/>
                  </a:lnTo>
                  <a:lnTo>
                    <a:pt x="223" y="66"/>
                  </a:lnTo>
                  <a:lnTo>
                    <a:pt x="223" y="64"/>
                  </a:lnTo>
                  <a:lnTo>
                    <a:pt x="221" y="63"/>
                  </a:lnTo>
                  <a:lnTo>
                    <a:pt x="221" y="63"/>
                  </a:lnTo>
                  <a:lnTo>
                    <a:pt x="219" y="59"/>
                  </a:lnTo>
                  <a:lnTo>
                    <a:pt x="217" y="59"/>
                  </a:lnTo>
                  <a:lnTo>
                    <a:pt x="217" y="57"/>
                  </a:lnTo>
                  <a:lnTo>
                    <a:pt x="217" y="51"/>
                  </a:lnTo>
                  <a:lnTo>
                    <a:pt x="215" y="49"/>
                  </a:lnTo>
                  <a:lnTo>
                    <a:pt x="215" y="47"/>
                  </a:lnTo>
                  <a:lnTo>
                    <a:pt x="213" y="45"/>
                  </a:lnTo>
                  <a:lnTo>
                    <a:pt x="210" y="38"/>
                  </a:lnTo>
                  <a:lnTo>
                    <a:pt x="208" y="34"/>
                  </a:lnTo>
                  <a:lnTo>
                    <a:pt x="202" y="28"/>
                  </a:lnTo>
                  <a:lnTo>
                    <a:pt x="200" y="26"/>
                  </a:lnTo>
                  <a:lnTo>
                    <a:pt x="198" y="24"/>
                  </a:lnTo>
                  <a:lnTo>
                    <a:pt x="198" y="23"/>
                  </a:lnTo>
                  <a:lnTo>
                    <a:pt x="196" y="23"/>
                  </a:lnTo>
                  <a:lnTo>
                    <a:pt x="196" y="23"/>
                  </a:lnTo>
                  <a:lnTo>
                    <a:pt x="194" y="24"/>
                  </a:lnTo>
                  <a:lnTo>
                    <a:pt x="192" y="24"/>
                  </a:lnTo>
                  <a:lnTo>
                    <a:pt x="192" y="24"/>
                  </a:lnTo>
                  <a:lnTo>
                    <a:pt x="192" y="26"/>
                  </a:lnTo>
                  <a:lnTo>
                    <a:pt x="190" y="26"/>
                  </a:lnTo>
                  <a:lnTo>
                    <a:pt x="190" y="28"/>
                  </a:lnTo>
                  <a:lnTo>
                    <a:pt x="189" y="28"/>
                  </a:lnTo>
                  <a:lnTo>
                    <a:pt x="189" y="28"/>
                  </a:lnTo>
                  <a:lnTo>
                    <a:pt x="187" y="28"/>
                  </a:lnTo>
                  <a:lnTo>
                    <a:pt x="185" y="32"/>
                  </a:lnTo>
                  <a:lnTo>
                    <a:pt x="183" y="32"/>
                  </a:lnTo>
                  <a:lnTo>
                    <a:pt x="183" y="34"/>
                  </a:lnTo>
                  <a:lnTo>
                    <a:pt x="181" y="34"/>
                  </a:lnTo>
                  <a:lnTo>
                    <a:pt x="177" y="34"/>
                  </a:lnTo>
                  <a:lnTo>
                    <a:pt x="175" y="36"/>
                  </a:lnTo>
                  <a:lnTo>
                    <a:pt x="171" y="36"/>
                  </a:lnTo>
                  <a:lnTo>
                    <a:pt x="168" y="36"/>
                  </a:lnTo>
                  <a:lnTo>
                    <a:pt x="168" y="38"/>
                  </a:lnTo>
                  <a:lnTo>
                    <a:pt x="166" y="38"/>
                  </a:lnTo>
                  <a:lnTo>
                    <a:pt x="166" y="38"/>
                  </a:lnTo>
                  <a:lnTo>
                    <a:pt x="166" y="40"/>
                  </a:lnTo>
                  <a:lnTo>
                    <a:pt x="164" y="40"/>
                  </a:lnTo>
                  <a:lnTo>
                    <a:pt x="150" y="36"/>
                  </a:lnTo>
                  <a:lnTo>
                    <a:pt x="143" y="32"/>
                  </a:lnTo>
                  <a:lnTo>
                    <a:pt x="139" y="30"/>
                  </a:lnTo>
                  <a:lnTo>
                    <a:pt x="131" y="24"/>
                  </a:lnTo>
                  <a:lnTo>
                    <a:pt x="128" y="23"/>
                  </a:lnTo>
                  <a:lnTo>
                    <a:pt x="126" y="21"/>
                  </a:lnTo>
                  <a:lnTo>
                    <a:pt x="124" y="19"/>
                  </a:lnTo>
                  <a:lnTo>
                    <a:pt x="122" y="17"/>
                  </a:lnTo>
                  <a:lnTo>
                    <a:pt x="116" y="11"/>
                  </a:lnTo>
                  <a:lnTo>
                    <a:pt x="114" y="11"/>
                  </a:lnTo>
                  <a:lnTo>
                    <a:pt x="110" y="4"/>
                  </a:lnTo>
                  <a:lnTo>
                    <a:pt x="109" y="4"/>
                  </a:lnTo>
                  <a:lnTo>
                    <a:pt x="107" y="4"/>
                  </a:lnTo>
                  <a:lnTo>
                    <a:pt x="97" y="4"/>
                  </a:lnTo>
                  <a:lnTo>
                    <a:pt x="95" y="4"/>
                  </a:lnTo>
                  <a:lnTo>
                    <a:pt x="89" y="0"/>
                  </a:lnTo>
                  <a:lnTo>
                    <a:pt x="89" y="0"/>
                  </a:lnTo>
                  <a:lnTo>
                    <a:pt x="86" y="2"/>
                  </a:lnTo>
                  <a:lnTo>
                    <a:pt x="74" y="4"/>
                  </a:lnTo>
                  <a:lnTo>
                    <a:pt x="70" y="5"/>
                  </a:lnTo>
                  <a:lnTo>
                    <a:pt x="67" y="9"/>
                  </a:lnTo>
                  <a:lnTo>
                    <a:pt x="65" y="9"/>
                  </a:lnTo>
                  <a:lnTo>
                    <a:pt x="65" y="11"/>
                  </a:lnTo>
                  <a:lnTo>
                    <a:pt x="65" y="11"/>
                  </a:lnTo>
                  <a:lnTo>
                    <a:pt x="63" y="13"/>
                  </a:lnTo>
                  <a:lnTo>
                    <a:pt x="63" y="15"/>
                  </a:lnTo>
                  <a:lnTo>
                    <a:pt x="61" y="17"/>
                  </a:lnTo>
                  <a:lnTo>
                    <a:pt x="59" y="19"/>
                  </a:lnTo>
                  <a:lnTo>
                    <a:pt x="57" y="21"/>
                  </a:lnTo>
                  <a:lnTo>
                    <a:pt x="53" y="21"/>
                  </a:lnTo>
                  <a:lnTo>
                    <a:pt x="48" y="23"/>
                  </a:lnTo>
                  <a:lnTo>
                    <a:pt x="46" y="24"/>
                  </a:lnTo>
                  <a:lnTo>
                    <a:pt x="46" y="26"/>
                  </a:lnTo>
                  <a:lnTo>
                    <a:pt x="44" y="28"/>
                  </a:lnTo>
                  <a:lnTo>
                    <a:pt x="36" y="34"/>
                  </a:lnTo>
                  <a:lnTo>
                    <a:pt x="34" y="36"/>
                  </a:lnTo>
                  <a:lnTo>
                    <a:pt x="34" y="36"/>
                  </a:lnTo>
                  <a:lnTo>
                    <a:pt x="32" y="36"/>
                  </a:lnTo>
                  <a:lnTo>
                    <a:pt x="30" y="34"/>
                  </a:lnTo>
                  <a:lnTo>
                    <a:pt x="30" y="32"/>
                  </a:lnTo>
                  <a:lnTo>
                    <a:pt x="30" y="32"/>
                  </a:lnTo>
                  <a:lnTo>
                    <a:pt x="28" y="32"/>
                  </a:lnTo>
                  <a:lnTo>
                    <a:pt x="27" y="32"/>
                  </a:lnTo>
                  <a:lnTo>
                    <a:pt x="25" y="30"/>
                  </a:lnTo>
                  <a:lnTo>
                    <a:pt x="25" y="30"/>
                  </a:lnTo>
                  <a:lnTo>
                    <a:pt x="23" y="32"/>
                  </a:lnTo>
                  <a:lnTo>
                    <a:pt x="21" y="32"/>
                  </a:lnTo>
                  <a:lnTo>
                    <a:pt x="21" y="34"/>
                  </a:lnTo>
                  <a:lnTo>
                    <a:pt x="21" y="34"/>
                  </a:lnTo>
                  <a:lnTo>
                    <a:pt x="21" y="36"/>
                  </a:lnTo>
                  <a:lnTo>
                    <a:pt x="21" y="38"/>
                  </a:lnTo>
                  <a:lnTo>
                    <a:pt x="23" y="40"/>
                  </a:lnTo>
                  <a:lnTo>
                    <a:pt x="25" y="42"/>
                  </a:lnTo>
                  <a:lnTo>
                    <a:pt x="27" y="43"/>
                  </a:lnTo>
                  <a:lnTo>
                    <a:pt x="27" y="45"/>
                  </a:lnTo>
                  <a:lnTo>
                    <a:pt x="28" y="45"/>
                  </a:lnTo>
                  <a:lnTo>
                    <a:pt x="28" y="47"/>
                  </a:lnTo>
                  <a:lnTo>
                    <a:pt x="30" y="49"/>
                  </a:lnTo>
                  <a:lnTo>
                    <a:pt x="30" y="49"/>
                  </a:lnTo>
                  <a:lnTo>
                    <a:pt x="30" y="51"/>
                  </a:lnTo>
                  <a:lnTo>
                    <a:pt x="30" y="51"/>
                  </a:lnTo>
                  <a:lnTo>
                    <a:pt x="30" y="53"/>
                  </a:lnTo>
                  <a:lnTo>
                    <a:pt x="30" y="57"/>
                  </a:lnTo>
                  <a:lnTo>
                    <a:pt x="30" y="59"/>
                  </a:lnTo>
                  <a:lnTo>
                    <a:pt x="32" y="63"/>
                  </a:lnTo>
                  <a:lnTo>
                    <a:pt x="32" y="64"/>
                  </a:lnTo>
                  <a:lnTo>
                    <a:pt x="32" y="64"/>
                  </a:lnTo>
                  <a:lnTo>
                    <a:pt x="32" y="66"/>
                  </a:lnTo>
                  <a:lnTo>
                    <a:pt x="30" y="66"/>
                  </a:lnTo>
                  <a:lnTo>
                    <a:pt x="30" y="68"/>
                  </a:lnTo>
                  <a:lnTo>
                    <a:pt x="28" y="68"/>
                  </a:lnTo>
                  <a:lnTo>
                    <a:pt x="27" y="72"/>
                  </a:lnTo>
                  <a:lnTo>
                    <a:pt x="27" y="74"/>
                  </a:lnTo>
                  <a:lnTo>
                    <a:pt x="25" y="76"/>
                  </a:lnTo>
                  <a:lnTo>
                    <a:pt x="25" y="78"/>
                  </a:lnTo>
                  <a:lnTo>
                    <a:pt x="25" y="78"/>
                  </a:lnTo>
                  <a:lnTo>
                    <a:pt x="27" y="80"/>
                  </a:lnTo>
                  <a:lnTo>
                    <a:pt x="27" y="80"/>
                  </a:lnTo>
                  <a:lnTo>
                    <a:pt x="30" y="87"/>
                  </a:lnTo>
                  <a:lnTo>
                    <a:pt x="30" y="87"/>
                  </a:lnTo>
                  <a:lnTo>
                    <a:pt x="30" y="89"/>
                  </a:lnTo>
                  <a:lnTo>
                    <a:pt x="30" y="89"/>
                  </a:lnTo>
                  <a:lnTo>
                    <a:pt x="25" y="91"/>
                  </a:lnTo>
                  <a:lnTo>
                    <a:pt x="19" y="97"/>
                  </a:lnTo>
                  <a:lnTo>
                    <a:pt x="15" y="101"/>
                  </a:lnTo>
                  <a:lnTo>
                    <a:pt x="13" y="102"/>
                  </a:lnTo>
                  <a:lnTo>
                    <a:pt x="11" y="104"/>
                  </a:lnTo>
                  <a:lnTo>
                    <a:pt x="9" y="104"/>
                  </a:lnTo>
                  <a:lnTo>
                    <a:pt x="4" y="106"/>
                  </a:lnTo>
                  <a:lnTo>
                    <a:pt x="4" y="106"/>
                  </a:lnTo>
                  <a:lnTo>
                    <a:pt x="4" y="106"/>
                  </a:lnTo>
                  <a:lnTo>
                    <a:pt x="2" y="108"/>
                  </a:lnTo>
                  <a:lnTo>
                    <a:pt x="2" y="110"/>
                  </a:lnTo>
                  <a:lnTo>
                    <a:pt x="2" y="112"/>
                  </a:lnTo>
                  <a:lnTo>
                    <a:pt x="4" y="112"/>
                  </a:lnTo>
                  <a:lnTo>
                    <a:pt x="4" y="114"/>
                  </a:lnTo>
                  <a:lnTo>
                    <a:pt x="4" y="114"/>
                  </a:lnTo>
                  <a:lnTo>
                    <a:pt x="6" y="114"/>
                  </a:lnTo>
                  <a:lnTo>
                    <a:pt x="6" y="112"/>
                  </a:lnTo>
                  <a:lnTo>
                    <a:pt x="6" y="112"/>
                  </a:lnTo>
                  <a:lnTo>
                    <a:pt x="8" y="112"/>
                  </a:lnTo>
                  <a:lnTo>
                    <a:pt x="8" y="112"/>
                  </a:lnTo>
                  <a:lnTo>
                    <a:pt x="8" y="114"/>
                  </a:lnTo>
                  <a:lnTo>
                    <a:pt x="8" y="116"/>
                  </a:lnTo>
                  <a:lnTo>
                    <a:pt x="6" y="116"/>
                  </a:lnTo>
                  <a:lnTo>
                    <a:pt x="6" y="118"/>
                  </a:lnTo>
                  <a:lnTo>
                    <a:pt x="0" y="123"/>
                  </a:lnTo>
                  <a:lnTo>
                    <a:pt x="0" y="125"/>
                  </a:lnTo>
                  <a:lnTo>
                    <a:pt x="0" y="125"/>
                  </a:lnTo>
                  <a:lnTo>
                    <a:pt x="0" y="125"/>
                  </a:lnTo>
                  <a:lnTo>
                    <a:pt x="2" y="127"/>
                  </a:lnTo>
                  <a:lnTo>
                    <a:pt x="8" y="127"/>
                  </a:lnTo>
                  <a:lnTo>
                    <a:pt x="9" y="129"/>
                  </a:lnTo>
                  <a:lnTo>
                    <a:pt x="11" y="127"/>
                  </a:lnTo>
                  <a:lnTo>
                    <a:pt x="11" y="129"/>
                  </a:lnTo>
                  <a:lnTo>
                    <a:pt x="15" y="131"/>
                  </a:lnTo>
                  <a:lnTo>
                    <a:pt x="21" y="133"/>
                  </a:lnTo>
                  <a:lnTo>
                    <a:pt x="27" y="137"/>
                  </a:lnTo>
                  <a:lnTo>
                    <a:pt x="27" y="137"/>
                  </a:lnTo>
                  <a:lnTo>
                    <a:pt x="28" y="139"/>
                  </a:lnTo>
                  <a:lnTo>
                    <a:pt x="32" y="144"/>
                  </a:lnTo>
                  <a:lnTo>
                    <a:pt x="36" y="150"/>
                  </a:lnTo>
                  <a:lnTo>
                    <a:pt x="36" y="152"/>
                  </a:lnTo>
                  <a:lnTo>
                    <a:pt x="36" y="152"/>
                  </a:lnTo>
                  <a:lnTo>
                    <a:pt x="34" y="152"/>
                  </a:lnTo>
                  <a:lnTo>
                    <a:pt x="34" y="152"/>
                  </a:lnTo>
                  <a:lnTo>
                    <a:pt x="32" y="152"/>
                  </a:lnTo>
                  <a:lnTo>
                    <a:pt x="32" y="152"/>
                  </a:lnTo>
                  <a:lnTo>
                    <a:pt x="32" y="152"/>
                  </a:lnTo>
                  <a:lnTo>
                    <a:pt x="32" y="154"/>
                  </a:lnTo>
                  <a:lnTo>
                    <a:pt x="30" y="154"/>
                  </a:lnTo>
                  <a:lnTo>
                    <a:pt x="32" y="156"/>
                  </a:lnTo>
                  <a:lnTo>
                    <a:pt x="34" y="160"/>
                  </a:lnTo>
                  <a:lnTo>
                    <a:pt x="46" y="180"/>
                  </a:lnTo>
                  <a:lnTo>
                    <a:pt x="49" y="196"/>
                  </a:lnTo>
                  <a:lnTo>
                    <a:pt x="51" y="201"/>
                  </a:lnTo>
                  <a:lnTo>
                    <a:pt x="51" y="203"/>
                  </a:lnTo>
                  <a:lnTo>
                    <a:pt x="53" y="205"/>
                  </a:lnTo>
                  <a:lnTo>
                    <a:pt x="55" y="207"/>
                  </a:lnTo>
                  <a:lnTo>
                    <a:pt x="57" y="209"/>
                  </a:lnTo>
                  <a:lnTo>
                    <a:pt x="59" y="209"/>
                  </a:lnTo>
                  <a:lnTo>
                    <a:pt x="59" y="207"/>
                  </a:lnTo>
                  <a:lnTo>
                    <a:pt x="61" y="207"/>
                  </a:lnTo>
                  <a:lnTo>
                    <a:pt x="63" y="209"/>
                  </a:lnTo>
                  <a:lnTo>
                    <a:pt x="63" y="209"/>
                  </a:lnTo>
                  <a:lnTo>
                    <a:pt x="65" y="209"/>
                  </a:lnTo>
                  <a:lnTo>
                    <a:pt x="65" y="209"/>
                  </a:lnTo>
                  <a:lnTo>
                    <a:pt x="65" y="207"/>
                  </a:lnTo>
                  <a:lnTo>
                    <a:pt x="65" y="205"/>
                  </a:lnTo>
                  <a:lnTo>
                    <a:pt x="67" y="205"/>
                  </a:lnTo>
                  <a:lnTo>
                    <a:pt x="67" y="203"/>
                  </a:lnTo>
                  <a:lnTo>
                    <a:pt x="69" y="205"/>
                  </a:lnTo>
                  <a:lnTo>
                    <a:pt x="69" y="203"/>
                  </a:lnTo>
                  <a:lnTo>
                    <a:pt x="69" y="203"/>
                  </a:lnTo>
                  <a:lnTo>
                    <a:pt x="69" y="199"/>
                  </a:lnTo>
                  <a:lnTo>
                    <a:pt x="69" y="198"/>
                  </a:lnTo>
                  <a:lnTo>
                    <a:pt x="70" y="198"/>
                  </a:lnTo>
                  <a:lnTo>
                    <a:pt x="70" y="198"/>
                  </a:lnTo>
                  <a:lnTo>
                    <a:pt x="70" y="196"/>
                  </a:lnTo>
                  <a:lnTo>
                    <a:pt x="72" y="196"/>
                  </a:lnTo>
                  <a:lnTo>
                    <a:pt x="72" y="196"/>
                  </a:lnTo>
                  <a:lnTo>
                    <a:pt x="72" y="198"/>
                  </a:lnTo>
                  <a:lnTo>
                    <a:pt x="76" y="203"/>
                  </a:lnTo>
                  <a:lnTo>
                    <a:pt x="78" y="207"/>
                  </a:lnTo>
                  <a:lnTo>
                    <a:pt x="80" y="209"/>
                  </a:lnTo>
                  <a:lnTo>
                    <a:pt x="80" y="211"/>
                  </a:lnTo>
                  <a:lnTo>
                    <a:pt x="80" y="211"/>
                  </a:lnTo>
                  <a:lnTo>
                    <a:pt x="82" y="209"/>
                  </a:lnTo>
                  <a:lnTo>
                    <a:pt x="82" y="209"/>
                  </a:lnTo>
                  <a:lnTo>
                    <a:pt x="82" y="209"/>
                  </a:lnTo>
                  <a:lnTo>
                    <a:pt x="82" y="209"/>
                  </a:lnTo>
                  <a:lnTo>
                    <a:pt x="84" y="211"/>
                  </a:lnTo>
                  <a:lnTo>
                    <a:pt x="84" y="211"/>
                  </a:lnTo>
                  <a:lnTo>
                    <a:pt x="84" y="211"/>
                  </a:lnTo>
                  <a:lnTo>
                    <a:pt x="84" y="211"/>
                  </a:lnTo>
                  <a:lnTo>
                    <a:pt x="86" y="211"/>
                  </a:lnTo>
                  <a:lnTo>
                    <a:pt x="86" y="211"/>
                  </a:lnTo>
                  <a:lnTo>
                    <a:pt x="86" y="211"/>
                  </a:lnTo>
                  <a:lnTo>
                    <a:pt x="86" y="211"/>
                  </a:lnTo>
                  <a:lnTo>
                    <a:pt x="88" y="211"/>
                  </a:lnTo>
                  <a:lnTo>
                    <a:pt x="88" y="213"/>
                  </a:lnTo>
                  <a:lnTo>
                    <a:pt x="88" y="213"/>
                  </a:lnTo>
                  <a:lnTo>
                    <a:pt x="88" y="215"/>
                  </a:lnTo>
                  <a:lnTo>
                    <a:pt x="89" y="215"/>
                  </a:lnTo>
                  <a:lnTo>
                    <a:pt x="89" y="215"/>
                  </a:lnTo>
                  <a:lnTo>
                    <a:pt x="89" y="215"/>
                  </a:lnTo>
                  <a:lnTo>
                    <a:pt x="89" y="213"/>
                  </a:lnTo>
                  <a:lnTo>
                    <a:pt x="89" y="213"/>
                  </a:lnTo>
                  <a:lnTo>
                    <a:pt x="91" y="213"/>
                  </a:lnTo>
                  <a:lnTo>
                    <a:pt x="91" y="213"/>
                  </a:lnTo>
                  <a:lnTo>
                    <a:pt x="91" y="213"/>
                  </a:lnTo>
                  <a:lnTo>
                    <a:pt x="91" y="213"/>
                  </a:lnTo>
                  <a:lnTo>
                    <a:pt x="93" y="215"/>
                  </a:lnTo>
                  <a:lnTo>
                    <a:pt x="93" y="215"/>
                  </a:lnTo>
                  <a:lnTo>
                    <a:pt x="91" y="217"/>
                  </a:lnTo>
                  <a:lnTo>
                    <a:pt x="91" y="218"/>
                  </a:lnTo>
                  <a:lnTo>
                    <a:pt x="93" y="218"/>
                  </a:lnTo>
                  <a:lnTo>
                    <a:pt x="95" y="217"/>
                  </a:lnTo>
                  <a:lnTo>
                    <a:pt x="95" y="218"/>
                  </a:lnTo>
                  <a:lnTo>
                    <a:pt x="97" y="218"/>
                  </a:lnTo>
                  <a:lnTo>
                    <a:pt x="95" y="220"/>
                  </a:lnTo>
                  <a:lnTo>
                    <a:pt x="95" y="220"/>
                  </a:lnTo>
                  <a:lnTo>
                    <a:pt x="93" y="222"/>
                  </a:lnTo>
                  <a:lnTo>
                    <a:pt x="93" y="222"/>
                  </a:lnTo>
                  <a:lnTo>
                    <a:pt x="93" y="228"/>
                  </a:lnTo>
                  <a:lnTo>
                    <a:pt x="93" y="228"/>
                  </a:lnTo>
                  <a:lnTo>
                    <a:pt x="95" y="230"/>
                  </a:lnTo>
                  <a:lnTo>
                    <a:pt x="95" y="230"/>
                  </a:lnTo>
                  <a:lnTo>
                    <a:pt x="95" y="232"/>
                  </a:lnTo>
                  <a:lnTo>
                    <a:pt x="95" y="234"/>
                  </a:lnTo>
                  <a:lnTo>
                    <a:pt x="95" y="234"/>
                  </a:lnTo>
                  <a:lnTo>
                    <a:pt x="95" y="236"/>
                  </a:lnTo>
                  <a:lnTo>
                    <a:pt x="95" y="236"/>
                  </a:lnTo>
                  <a:lnTo>
                    <a:pt x="95" y="237"/>
                  </a:lnTo>
                  <a:lnTo>
                    <a:pt x="95" y="239"/>
                  </a:lnTo>
                  <a:lnTo>
                    <a:pt x="97" y="239"/>
                  </a:lnTo>
                  <a:lnTo>
                    <a:pt x="99" y="241"/>
                  </a:lnTo>
                  <a:lnTo>
                    <a:pt x="103" y="247"/>
                  </a:lnTo>
                  <a:lnTo>
                    <a:pt x="105" y="249"/>
                  </a:lnTo>
                  <a:lnTo>
                    <a:pt x="109" y="253"/>
                  </a:lnTo>
                  <a:lnTo>
                    <a:pt x="110" y="251"/>
                  </a:lnTo>
                  <a:lnTo>
                    <a:pt x="110" y="251"/>
                  </a:lnTo>
                  <a:lnTo>
                    <a:pt x="112" y="249"/>
                  </a:lnTo>
                  <a:lnTo>
                    <a:pt x="112" y="249"/>
                  </a:lnTo>
                  <a:lnTo>
                    <a:pt x="114" y="249"/>
                  </a:lnTo>
                  <a:lnTo>
                    <a:pt x="114" y="249"/>
                  </a:lnTo>
                  <a:lnTo>
                    <a:pt x="114" y="249"/>
                  </a:lnTo>
                  <a:lnTo>
                    <a:pt x="114" y="251"/>
                  </a:lnTo>
                  <a:lnTo>
                    <a:pt x="116" y="253"/>
                  </a:lnTo>
                  <a:lnTo>
                    <a:pt x="116" y="253"/>
                  </a:lnTo>
                  <a:lnTo>
                    <a:pt x="118" y="253"/>
                  </a:lnTo>
                  <a:lnTo>
                    <a:pt x="120" y="253"/>
                  </a:lnTo>
                  <a:lnTo>
                    <a:pt x="120" y="253"/>
                  </a:lnTo>
                  <a:lnTo>
                    <a:pt x="122" y="253"/>
                  </a:lnTo>
                  <a:lnTo>
                    <a:pt x="124" y="255"/>
                  </a:lnTo>
                  <a:lnTo>
                    <a:pt x="126" y="257"/>
                  </a:lnTo>
                  <a:lnTo>
                    <a:pt x="126" y="257"/>
                  </a:lnTo>
                  <a:lnTo>
                    <a:pt x="126" y="258"/>
                  </a:lnTo>
                  <a:lnTo>
                    <a:pt x="126" y="260"/>
                  </a:lnTo>
                  <a:lnTo>
                    <a:pt x="128" y="262"/>
                  </a:lnTo>
                  <a:lnTo>
                    <a:pt x="128" y="262"/>
                  </a:lnTo>
                  <a:lnTo>
                    <a:pt x="129" y="262"/>
                  </a:lnTo>
                  <a:lnTo>
                    <a:pt x="129" y="262"/>
                  </a:lnTo>
                  <a:lnTo>
                    <a:pt x="129" y="264"/>
                  </a:lnTo>
                  <a:lnTo>
                    <a:pt x="131" y="264"/>
                  </a:lnTo>
                  <a:lnTo>
                    <a:pt x="131" y="266"/>
                  </a:lnTo>
                  <a:lnTo>
                    <a:pt x="131" y="266"/>
                  </a:lnTo>
                  <a:lnTo>
                    <a:pt x="131" y="266"/>
                  </a:lnTo>
                  <a:lnTo>
                    <a:pt x="135" y="268"/>
                  </a:lnTo>
                  <a:lnTo>
                    <a:pt x="139" y="270"/>
                  </a:lnTo>
                  <a:lnTo>
                    <a:pt x="141" y="272"/>
                  </a:lnTo>
                  <a:lnTo>
                    <a:pt x="143" y="274"/>
                  </a:lnTo>
                  <a:lnTo>
                    <a:pt x="145" y="276"/>
                  </a:lnTo>
                  <a:lnTo>
                    <a:pt x="145" y="277"/>
                  </a:lnTo>
                  <a:lnTo>
                    <a:pt x="145" y="277"/>
                  </a:lnTo>
                  <a:lnTo>
                    <a:pt x="145" y="281"/>
                  </a:lnTo>
                  <a:lnTo>
                    <a:pt x="145" y="283"/>
                  </a:lnTo>
                  <a:lnTo>
                    <a:pt x="145" y="285"/>
                  </a:lnTo>
                  <a:lnTo>
                    <a:pt x="143" y="287"/>
                  </a:lnTo>
                  <a:lnTo>
                    <a:pt x="143" y="289"/>
                  </a:lnTo>
                  <a:lnTo>
                    <a:pt x="143" y="291"/>
                  </a:lnTo>
                  <a:lnTo>
                    <a:pt x="145" y="291"/>
                  </a:lnTo>
                  <a:lnTo>
                    <a:pt x="149" y="296"/>
                  </a:lnTo>
                  <a:lnTo>
                    <a:pt x="150" y="296"/>
                  </a:lnTo>
                  <a:lnTo>
                    <a:pt x="150" y="298"/>
                  </a:lnTo>
                  <a:lnTo>
                    <a:pt x="150" y="298"/>
                  </a:lnTo>
                  <a:lnTo>
                    <a:pt x="150" y="298"/>
                  </a:lnTo>
                  <a:lnTo>
                    <a:pt x="152" y="296"/>
                  </a:lnTo>
                  <a:lnTo>
                    <a:pt x="156" y="298"/>
                  </a:lnTo>
                  <a:lnTo>
                    <a:pt x="158" y="300"/>
                  </a:lnTo>
                  <a:lnTo>
                    <a:pt x="158" y="300"/>
                  </a:lnTo>
                  <a:lnTo>
                    <a:pt x="164" y="300"/>
                  </a:lnTo>
                  <a:lnTo>
                    <a:pt x="164" y="300"/>
                  </a:lnTo>
                  <a:lnTo>
                    <a:pt x="164" y="302"/>
                  </a:lnTo>
                  <a:lnTo>
                    <a:pt x="166" y="302"/>
                  </a:lnTo>
                  <a:lnTo>
                    <a:pt x="166" y="304"/>
                  </a:lnTo>
                  <a:lnTo>
                    <a:pt x="168" y="304"/>
                  </a:lnTo>
                  <a:lnTo>
                    <a:pt x="170" y="302"/>
                  </a:lnTo>
                  <a:lnTo>
                    <a:pt x="171" y="300"/>
                  </a:lnTo>
                  <a:lnTo>
                    <a:pt x="173" y="300"/>
                  </a:lnTo>
                  <a:lnTo>
                    <a:pt x="173" y="300"/>
                  </a:lnTo>
                  <a:lnTo>
                    <a:pt x="173" y="302"/>
                  </a:lnTo>
                  <a:lnTo>
                    <a:pt x="171" y="304"/>
                  </a:lnTo>
                  <a:lnTo>
                    <a:pt x="171" y="304"/>
                  </a:lnTo>
                  <a:lnTo>
                    <a:pt x="171" y="304"/>
                  </a:lnTo>
                  <a:lnTo>
                    <a:pt x="173" y="304"/>
                  </a:lnTo>
                  <a:lnTo>
                    <a:pt x="175" y="304"/>
                  </a:lnTo>
                  <a:lnTo>
                    <a:pt x="175" y="304"/>
                  </a:lnTo>
                  <a:lnTo>
                    <a:pt x="177" y="304"/>
                  </a:lnTo>
                  <a:lnTo>
                    <a:pt x="179" y="304"/>
                  </a:lnTo>
                  <a:lnTo>
                    <a:pt x="181" y="306"/>
                  </a:lnTo>
                  <a:lnTo>
                    <a:pt x="185" y="308"/>
                  </a:lnTo>
                  <a:lnTo>
                    <a:pt x="185" y="308"/>
                  </a:lnTo>
                  <a:lnTo>
                    <a:pt x="185" y="308"/>
                  </a:lnTo>
                  <a:lnTo>
                    <a:pt x="183" y="306"/>
                  </a:lnTo>
                  <a:lnTo>
                    <a:pt x="183" y="304"/>
                  </a:lnTo>
                  <a:lnTo>
                    <a:pt x="185" y="304"/>
                  </a:lnTo>
                  <a:lnTo>
                    <a:pt x="187" y="302"/>
                  </a:lnTo>
                  <a:lnTo>
                    <a:pt x="189" y="302"/>
                  </a:lnTo>
                  <a:lnTo>
                    <a:pt x="190" y="302"/>
                  </a:lnTo>
                  <a:lnTo>
                    <a:pt x="192" y="302"/>
                  </a:lnTo>
                  <a:lnTo>
                    <a:pt x="194" y="300"/>
                  </a:lnTo>
                  <a:lnTo>
                    <a:pt x="202" y="296"/>
                  </a:lnTo>
                  <a:lnTo>
                    <a:pt x="204" y="295"/>
                  </a:lnTo>
                  <a:lnTo>
                    <a:pt x="206" y="295"/>
                  </a:lnTo>
                  <a:lnTo>
                    <a:pt x="206" y="293"/>
                  </a:lnTo>
                  <a:lnTo>
                    <a:pt x="206" y="293"/>
                  </a:lnTo>
                  <a:lnTo>
                    <a:pt x="206" y="291"/>
                  </a:lnTo>
                  <a:lnTo>
                    <a:pt x="206" y="291"/>
                  </a:lnTo>
                  <a:lnTo>
                    <a:pt x="206" y="291"/>
                  </a:lnTo>
                  <a:lnTo>
                    <a:pt x="204" y="291"/>
                  </a:lnTo>
                  <a:lnTo>
                    <a:pt x="204" y="291"/>
                  </a:lnTo>
                  <a:lnTo>
                    <a:pt x="202" y="289"/>
                  </a:lnTo>
                  <a:lnTo>
                    <a:pt x="202" y="289"/>
                  </a:lnTo>
                  <a:lnTo>
                    <a:pt x="200" y="285"/>
                  </a:lnTo>
                  <a:lnTo>
                    <a:pt x="200" y="285"/>
                  </a:lnTo>
                  <a:lnTo>
                    <a:pt x="202" y="283"/>
                  </a:lnTo>
                  <a:lnTo>
                    <a:pt x="202" y="283"/>
                  </a:lnTo>
                  <a:lnTo>
                    <a:pt x="202" y="281"/>
                  </a:lnTo>
                  <a:lnTo>
                    <a:pt x="202" y="279"/>
                  </a:lnTo>
                  <a:lnTo>
                    <a:pt x="202" y="277"/>
                  </a:lnTo>
                  <a:lnTo>
                    <a:pt x="200" y="276"/>
                  </a:lnTo>
                  <a:lnTo>
                    <a:pt x="200" y="274"/>
                  </a:lnTo>
                  <a:lnTo>
                    <a:pt x="200" y="272"/>
                  </a:lnTo>
                  <a:lnTo>
                    <a:pt x="198" y="270"/>
                  </a:lnTo>
                  <a:lnTo>
                    <a:pt x="196" y="268"/>
                  </a:lnTo>
                  <a:lnTo>
                    <a:pt x="196" y="266"/>
                  </a:lnTo>
                  <a:lnTo>
                    <a:pt x="196" y="264"/>
                  </a:lnTo>
                  <a:lnTo>
                    <a:pt x="198" y="260"/>
                  </a:lnTo>
                  <a:lnTo>
                    <a:pt x="200" y="257"/>
                  </a:lnTo>
                  <a:lnTo>
                    <a:pt x="200" y="255"/>
                  </a:lnTo>
                  <a:lnTo>
                    <a:pt x="202" y="255"/>
                  </a:lnTo>
                  <a:lnTo>
                    <a:pt x="202" y="255"/>
                  </a:lnTo>
                  <a:lnTo>
                    <a:pt x="202" y="257"/>
                  </a:lnTo>
                  <a:lnTo>
                    <a:pt x="204" y="257"/>
                  </a:lnTo>
                  <a:lnTo>
                    <a:pt x="204" y="253"/>
                  </a:lnTo>
                  <a:lnTo>
                    <a:pt x="204" y="251"/>
                  </a:lnTo>
                  <a:lnTo>
                    <a:pt x="204" y="249"/>
                  </a:lnTo>
                  <a:lnTo>
                    <a:pt x="204" y="249"/>
                  </a:lnTo>
                  <a:lnTo>
                    <a:pt x="202" y="249"/>
                  </a:lnTo>
                  <a:lnTo>
                    <a:pt x="202" y="247"/>
                  </a:lnTo>
                  <a:lnTo>
                    <a:pt x="200" y="245"/>
                  </a:lnTo>
                  <a:lnTo>
                    <a:pt x="200" y="245"/>
                  </a:lnTo>
                  <a:lnTo>
                    <a:pt x="200" y="243"/>
                  </a:lnTo>
                  <a:lnTo>
                    <a:pt x="202" y="243"/>
                  </a:lnTo>
                  <a:lnTo>
                    <a:pt x="202" y="245"/>
                  </a:lnTo>
                  <a:lnTo>
                    <a:pt x="204" y="245"/>
                  </a:lnTo>
                  <a:lnTo>
                    <a:pt x="204" y="243"/>
                  </a:lnTo>
                  <a:lnTo>
                    <a:pt x="206" y="243"/>
                  </a:lnTo>
                  <a:lnTo>
                    <a:pt x="206" y="241"/>
                  </a:lnTo>
                  <a:lnTo>
                    <a:pt x="206" y="241"/>
                  </a:lnTo>
                  <a:lnTo>
                    <a:pt x="204" y="239"/>
                  </a:lnTo>
                  <a:lnTo>
                    <a:pt x="204" y="237"/>
                  </a:lnTo>
                  <a:lnTo>
                    <a:pt x="206" y="237"/>
                  </a:lnTo>
                  <a:lnTo>
                    <a:pt x="211" y="232"/>
                  </a:lnTo>
                  <a:lnTo>
                    <a:pt x="213" y="228"/>
                  </a:lnTo>
                  <a:lnTo>
                    <a:pt x="217" y="224"/>
                  </a:lnTo>
                  <a:lnTo>
                    <a:pt x="217" y="224"/>
                  </a:lnTo>
                  <a:lnTo>
                    <a:pt x="219" y="222"/>
                  </a:lnTo>
                  <a:lnTo>
                    <a:pt x="219" y="222"/>
                  </a:lnTo>
                  <a:lnTo>
                    <a:pt x="225" y="224"/>
                  </a:lnTo>
                  <a:lnTo>
                    <a:pt x="227" y="224"/>
                  </a:lnTo>
                  <a:lnTo>
                    <a:pt x="227" y="224"/>
                  </a:lnTo>
                  <a:lnTo>
                    <a:pt x="230" y="222"/>
                  </a:lnTo>
                  <a:lnTo>
                    <a:pt x="234" y="218"/>
                  </a:lnTo>
                  <a:lnTo>
                    <a:pt x="240" y="215"/>
                  </a:lnTo>
                  <a:lnTo>
                    <a:pt x="246" y="215"/>
                  </a:lnTo>
                  <a:lnTo>
                    <a:pt x="250" y="211"/>
                  </a:lnTo>
                  <a:lnTo>
                    <a:pt x="251" y="211"/>
                  </a:lnTo>
                  <a:lnTo>
                    <a:pt x="251" y="211"/>
                  </a:lnTo>
                  <a:lnTo>
                    <a:pt x="255" y="211"/>
                  </a:lnTo>
                  <a:lnTo>
                    <a:pt x="257" y="211"/>
                  </a:lnTo>
                  <a:lnTo>
                    <a:pt x="259" y="211"/>
                  </a:lnTo>
                  <a:lnTo>
                    <a:pt x="259" y="211"/>
                  </a:lnTo>
                  <a:lnTo>
                    <a:pt x="259" y="213"/>
                  </a:lnTo>
                  <a:lnTo>
                    <a:pt x="261" y="213"/>
                  </a:lnTo>
                  <a:lnTo>
                    <a:pt x="261" y="213"/>
                  </a:lnTo>
                  <a:lnTo>
                    <a:pt x="263" y="213"/>
                  </a:lnTo>
                  <a:lnTo>
                    <a:pt x="263" y="213"/>
                  </a:lnTo>
                  <a:lnTo>
                    <a:pt x="265" y="215"/>
                  </a:lnTo>
                  <a:lnTo>
                    <a:pt x="267" y="217"/>
                  </a:lnTo>
                  <a:lnTo>
                    <a:pt x="269" y="218"/>
                  </a:lnTo>
                  <a:lnTo>
                    <a:pt x="269" y="218"/>
                  </a:lnTo>
                  <a:lnTo>
                    <a:pt x="270" y="218"/>
                  </a:lnTo>
                  <a:lnTo>
                    <a:pt x="272" y="218"/>
                  </a:lnTo>
                  <a:lnTo>
                    <a:pt x="276" y="217"/>
                  </a:lnTo>
                  <a:lnTo>
                    <a:pt x="278" y="217"/>
                  </a:lnTo>
                  <a:lnTo>
                    <a:pt x="280" y="218"/>
                  </a:lnTo>
                  <a:lnTo>
                    <a:pt x="282" y="218"/>
                  </a:lnTo>
                  <a:lnTo>
                    <a:pt x="284" y="218"/>
                  </a:lnTo>
                  <a:lnTo>
                    <a:pt x="284" y="218"/>
                  </a:lnTo>
                  <a:lnTo>
                    <a:pt x="286" y="218"/>
                  </a:lnTo>
                  <a:lnTo>
                    <a:pt x="290" y="218"/>
                  </a:lnTo>
                  <a:lnTo>
                    <a:pt x="293" y="220"/>
                  </a:lnTo>
                  <a:lnTo>
                    <a:pt x="295" y="220"/>
                  </a:lnTo>
                  <a:lnTo>
                    <a:pt x="297" y="220"/>
                  </a:lnTo>
                  <a:lnTo>
                    <a:pt x="297" y="220"/>
                  </a:lnTo>
                  <a:lnTo>
                    <a:pt x="299" y="224"/>
                  </a:lnTo>
                  <a:lnTo>
                    <a:pt x="301" y="226"/>
                  </a:lnTo>
                  <a:lnTo>
                    <a:pt x="301" y="228"/>
                  </a:lnTo>
                  <a:lnTo>
                    <a:pt x="303" y="228"/>
                  </a:lnTo>
                  <a:lnTo>
                    <a:pt x="309" y="230"/>
                  </a:lnTo>
                  <a:lnTo>
                    <a:pt x="311" y="230"/>
                  </a:lnTo>
                  <a:lnTo>
                    <a:pt x="312" y="228"/>
                  </a:lnTo>
                  <a:lnTo>
                    <a:pt x="314" y="228"/>
                  </a:lnTo>
                  <a:lnTo>
                    <a:pt x="314" y="226"/>
                  </a:lnTo>
                  <a:lnTo>
                    <a:pt x="314" y="2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1" name="Freeform 53">
              <a:extLst>
                <a:ext uri="{FF2B5EF4-FFF2-40B4-BE49-F238E27FC236}">
                  <a16:creationId xmlns:a16="http://schemas.microsoft.com/office/drawing/2014/main" id="{656AF9D3-8063-D00B-B024-CA8A48B9E318}"/>
                </a:ext>
              </a:extLst>
            </p:cNvPr>
            <p:cNvSpPr>
              <a:spLocks/>
            </p:cNvSpPr>
            <p:nvPr/>
          </p:nvSpPr>
          <p:spPr bwMode="auto">
            <a:xfrm>
              <a:off x="4867275" y="2083601"/>
              <a:ext cx="498475" cy="488950"/>
            </a:xfrm>
            <a:custGeom>
              <a:avLst/>
              <a:gdLst>
                <a:gd name="T0" fmla="*/ 301 w 314"/>
                <a:gd name="T1" fmla="*/ 211 h 308"/>
                <a:gd name="T2" fmla="*/ 293 w 314"/>
                <a:gd name="T3" fmla="*/ 198 h 308"/>
                <a:gd name="T4" fmla="*/ 293 w 314"/>
                <a:gd name="T5" fmla="*/ 171 h 308"/>
                <a:gd name="T6" fmla="*/ 288 w 314"/>
                <a:gd name="T7" fmla="*/ 163 h 308"/>
                <a:gd name="T8" fmla="*/ 291 w 314"/>
                <a:gd name="T9" fmla="*/ 139 h 308"/>
                <a:gd name="T10" fmla="*/ 267 w 314"/>
                <a:gd name="T11" fmla="*/ 110 h 308"/>
                <a:gd name="T12" fmla="*/ 263 w 314"/>
                <a:gd name="T13" fmla="*/ 91 h 308"/>
                <a:gd name="T14" fmla="*/ 251 w 314"/>
                <a:gd name="T15" fmla="*/ 83 h 308"/>
                <a:gd name="T16" fmla="*/ 251 w 314"/>
                <a:gd name="T17" fmla="*/ 70 h 308"/>
                <a:gd name="T18" fmla="*/ 259 w 314"/>
                <a:gd name="T19" fmla="*/ 57 h 308"/>
                <a:gd name="T20" fmla="*/ 253 w 314"/>
                <a:gd name="T21" fmla="*/ 51 h 308"/>
                <a:gd name="T22" fmla="*/ 246 w 314"/>
                <a:gd name="T23" fmla="*/ 59 h 308"/>
                <a:gd name="T24" fmla="*/ 232 w 314"/>
                <a:gd name="T25" fmla="*/ 63 h 308"/>
                <a:gd name="T26" fmla="*/ 223 w 314"/>
                <a:gd name="T27" fmla="*/ 64 h 308"/>
                <a:gd name="T28" fmla="*/ 213 w 314"/>
                <a:gd name="T29" fmla="*/ 45 h 308"/>
                <a:gd name="T30" fmla="*/ 194 w 314"/>
                <a:gd name="T31" fmla="*/ 24 h 308"/>
                <a:gd name="T32" fmla="*/ 185 w 314"/>
                <a:gd name="T33" fmla="*/ 32 h 308"/>
                <a:gd name="T34" fmla="*/ 166 w 314"/>
                <a:gd name="T35" fmla="*/ 38 h 308"/>
                <a:gd name="T36" fmla="*/ 126 w 314"/>
                <a:gd name="T37" fmla="*/ 21 h 308"/>
                <a:gd name="T38" fmla="*/ 95 w 314"/>
                <a:gd name="T39" fmla="*/ 4 h 308"/>
                <a:gd name="T40" fmla="*/ 65 w 314"/>
                <a:gd name="T41" fmla="*/ 11 h 308"/>
                <a:gd name="T42" fmla="*/ 46 w 314"/>
                <a:gd name="T43" fmla="*/ 26 h 308"/>
                <a:gd name="T44" fmla="*/ 28 w 314"/>
                <a:gd name="T45" fmla="*/ 32 h 308"/>
                <a:gd name="T46" fmla="*/ 21 w 314"/>
                <a:gd name="T47" fmla="*/ 38 h 308"/>
                <a:gd name="T48" fmla="*/ 30 w 314"/>
                <a:gd name="T49" fmla="*/ 51 h 308"/>
                <a:gd name="T50" fmla="*/ 30 w 314"/>
                <a:gd name="T51" fmla="*/ 66 h 308"/>
                <a:gd name="T52" fmla="*/ 27 w 314"/>
                <a:gd name="T53" fmla="*/ 80 h 308"/>
                <a:gd name="T54" fmla="*/ 11 w 314"/>
                <a:gd name="T55" fmla="*/ 104 h 308"/>
                <a:gd name="T56" fmla="*/ 4 w 314"/>
                <a:gd name="T57" fmla="*/ 114 h 308"/>
                <a:gd name="T58" fmla="*/ 6 w 314"/>
                <a:gd name="T59" fmla="*/ 116 h 308"/>
                <a:gd name="T60" fmla="*/ 11 w 314"/>
                <a:gd name="T61" fmla="*/ 127 h 308"/>
                <a:gd name="T62" fmla="*/ 36 w 314"/>
                <a:gd name="T63" fmla="*/ 152 h 308"/>
                <a:gd name="T64" fmla="*/ 32 w 314"/>
                <a:gd name="T65" fmla="*/ 156 h 308"/>
                <a:gd name="T66" fmla="*/ 59 w 314"/>
                <a:gd name="T67" fmla="*/ 209 h 308"/>
                <a:gd name="T68" fmla="*/ 67 w 314"/>
                <a:gd name="T69" fmla="*/ 205 h 308"/>
                <a:gd name="T70" fmla="*/ 70 w 314"/>
                <a:gd name="T71" fmla="*/ 196 h 308"/>
                <a:gd name="T72" fmla="*/ 82 w 314"/>
                <a:gd name="T73" fmla="*/ 209 h 308"/>
                <a:gd name="T74" fmla="*/ 86 w 314"/>
                <a:gd name="T75" fmla="*/ 211 h 308"/>
                <a:gd name="T76" fmla="*/ 89 w 314"/>
                <a:gd name="T77" fmla="*/ 215 h 308"/>
                <a:gd name="T78" fmla="*/ 91 w 314"/>
                <a:gd name="T79" fmla="*/ 217 h 308"/>
                <a:gd name="T80" fmla="*/ 93 w 314"/>
                <a:gd name="T81" fmla="*/ 222 h 308"/>
                <a:gd name="T82" fmla="*/ 95 w 314"/>
                <a:gd name="T83" fmla="*/ 236 h 308"/>
                <a:gd name="T84" fmla="*/ 110 w 314"/>
                <a:gd name="T85" fmla="*/ 251 h 308"/>
                <a:gd name="T86" fmla="*/ 118 w 314"/>
                <a:gd name="T87" fmla="*/ 253 h 308"/>
                <a:gd name="T88" fmla="*/ 128 w 314"/>
                <a:gd name="T89" fmla="*/ 262 h 308"/>
                <a:gd name="T90" fmla="*/ 135 w 314"/>
                <a:gd name="T91" fmla="*/ 268 h 308"/>
                <a:gd name="T92" fmla="*/ 145 w 314"/>
                <a:gd name="T93" fmla="*/ 285 h 308"/>
                <a:gd name="T94" fmla="*/ 150 w 314"/>
                <a:gd name="T95" fmla="*/ 298 h 308"/>
                <a:gd name="T96" fmla="*/ 166 w 314"/>
                <a:gd name="T97" fmla="*/ 304 h 308"/>
                <a:gd name="T98" fmla="*/ 171 w 314"/>
                <a:gd name="T99" fmla="*/ 304 h 308"/>
                <a:gd name="T100" fmla="*/ 185 w 314"/>
                <a:gd name="T101" fmla="*/ 308 h 308"/>
                <a:gd name="T102" fmla="*/ 202 w 314"/>
                <a:gd name="T103" fmla="*/ 296 h 308"/>
                <a:gd name="T104" fmla="*/ 204 w 314"/>
                <a:gd name="T105" fmla="*/ 291 h 308"/>
                <a:gd name="T106" fmla="*/ 202 w 314"/>
                <a:gd name="T107" fmla="*/ 277 h 308"/>
                <a:gd name="T108" fmla="*/ 200 w 314"/>
                <a:gd name="T109" fmla="*/ 257 h 308"/>
                <a:gd name="T110" fmla="*/ 204 w 314"/>
                <a:gd name="T111" fmla="*/ 249 h 308"/>
                <a:gd name="T112" fmla="*/ 204 w 314"/>
                <a:gd name="T113" fmla="*/ 243 h 308"/>
                <a:gd name="T114" fmla="*/ 217 w 314"/>
                <a:gd name="T115" fmla="*/ 224 h 308"/>
                <a:gd name="T116" fmla="*/ 240 w 314"/>
                <a:gd name="T117" fmla="*/ 215 h 308"/>
                <a:gd name="T118" fmla="*/ 259 w 314"/>
                <a:gd name="T119" fmla="*/ 213 h 308"/>
                <a:gd name="T120" fmla="*/ 270 w 314"/>
                <a:gd name="T121" fmla="*/ 218 h 308"/>
                <a:gd name="T122" fmla="*/ 290 w 314"/>
                <a:gd name="T123" fmla="*/ 218 h 308"/>
                <a:gd name="T124" fmla="*/ 309 w 314"/>
                <a:gd name="T125" fmla="*/ 23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308">
                  <a:moveTo>
                    <a:pt x="314" y="224"/>
                  </a:moveTo>
                  <a:lnTo>
                    <a:pt x="312" y="220"/>
                  </a:lnTo>
                  <a:lnTo>
                    <a:pt x="311" y="217"/>
                  </a:lnTo>
                  <a:lnTo>
                    <a:pt x="307" y="213"/>
                  </a:lnTo>
                  <a:lnTo>
                    <a:pt x="307" y="213"/>
                  </a:lnTo>
                  <a:lnTo>
                    <a:pt x="305" y="209"/>
                  </a:lnTo>
                  <a:lnTo>
                    <a:pt x="305" y="211"/>
                  </a:lnTo>
                  <a:lnTo>
                    <a:pt x="303" y="211"/>
                  </a:lnTo>
                  <a:lnTo>
                    <a:pt x="301" y="211"/>
                  </a:lnTo>
                  <a:lnTo>
                    <a:pt x="299" y="211"/>
                  </a:lnTo>
                  <a:lnTo>
                    <a:pt x="297" y="211"/>
                  </a:lnTo>
                  <a:lnTo>
                    <a:pt x="295" y="211"/>
                  </a:lnTo>
                  <a:lnTo>
                    <a:pt x="293" y="209"/>
                  </a:lnTo>
                  <a:lnTo>
                    <a:pt x="291" y="209"/>
                  </a:lnTo>
                  <a:lnTo>
                    <a:pt x="291" y="207"/>
                  </a:lnTo>
                  <a:lnTo>
                    <a:pt x="291" y="205"/>
                  </a:lnTo>
                  <a:lnTo>
                    <a:pt x="291" y="201"/>
                  </a:lnTo>
                  <a:lnTo>
                    <a:pt x="293" y="198"/>
                  </a:lnTo>
                  <a:lnTo>
                    <a:pt x="293" y="194"/>
                  </a:lnTo>
                  <a:lnTo>
                    <a:pt x="291" y="192"/>
                  </a:lnTo>
                  <a:lnTo>
                    <a:pt x="288" y="190"/>
                  </a:lnTo>
                  <a:lnTo>
                    <a:pt x="288" y="186"/>
                  </a:lnTo>
                  <a:lnTo>
                    <a:pt x="297" y="180"/>
                  </a:lnTo>
                  <a:lnTo>
                    <a:pt x="299" y="179"/>
                  </a:lnTo>
                  <a:lnTo>
                    <a:pt x="299" y="177"/>
                  </a:lnTo>
                  <a:lnTo>
                    <a:pt x="297" y="173"/>
                  </a:lnTo>
                  <a:lnTo>
                    <a:pt x="293" y="171"/>
                  </a:lnTo>
                  <a:lnTo>
                    <a:pt x="291" y="171"/>
                  </a:lnTo>
                  <a:lnTo>
                    <a:pt x="291" y="169"/>
                  </a:lnTo>
                  <a:lnTo>
                    <a:pt x="290" y="169"/>
                  </a:lnTo>
                  <a:lnTo>
                    <a:pt x="290" y="169"/>
                  </a:lnTo>
                  <a:lnTo>
                    <a:pt x="290" y="167"/>
                  </a:lnTo>
                  <a:lnTo>
                    <a:pt x="288" y="165"/>
                  </a:lnTo>
                  <a:lnTo>
                    <a:pt x="288" y="165"/>
                  </a:lnTo>
                  <a:lnTo>
                    <a:pt x="288" y="163"/>
                  </a:lnTo>
                  <a:lnTo>
                    <a:pt x="288" y="163"/>
                  </a:lnTo>
                  <a:lnTo>
                    <a:pt x="288" y="161"/>
                  </a:lnTo>
                  <a:lnTo>
                    <a:pt x="286" y="160"/>
                  </a:lnTo>
                  <a:lnTo>
                    <a:pt x="286" y="158"/>
                  </a:lnTo>
                  <a:lnTo>
                    <a:pt x="288" y="154"/>
                  </a:lnTo>
                  <a:lnTo>
                    <a:pt x="288" y="152"/>
                  </a:lnTo>
                  <a:lnTo>
                    <a:pt x="290" y="146"/>
                  </a:lnTo>
                  <a:lnTo>
                    <a:pt x="290" y="144"/>
                  </a:lnTo>
                  <a:lnTo>
                    <a:pt x="291" y="140"/>
                  </a:lnTo>
                  <a:lnTo>
                    <a:pt x="291" y="139"/>
                  </a:lnTo>
                  <a:lnTo>
                    <a:pt x="291" y="135"/>
                  </a:lnTo>
                  <a:lnTo>
                    <a:pt x="290" y="135"/>
                  </a:lnTo>
                  <a:lnTo>
                    <a:pt x="286" y="133"/>
                  </a:lnTo>
                  <a:lnTo>
                    <a:pt x="284" y="129"/>
                  </a:lnTo>
                  <a:lnTo>
                    <a:pt x="274" y="118"/>
                  </a:lnTo>
                  <a:lnTo>
                    <a:pt x="272" y="114"/>
                  </a:lnTo>
                  <a:lnTo>
                    <a:pt x="270" y="112"/>
                  </a:lnTo>
                  <a:lnTo>
                    <a:pt x="267" y="110"/>
                  </a:lnTo>
                  <a:lnTo>
                    <a:pt x="267" y="110"/>
                  </a:lnTo>
                  <a:lnTo>
                    <a:pt x="267" y="110"/>
                  </a:lnTo>
                  <a:lnTo>
                    <a:pt x="265" y="108"/>
                  </a:lnTo>
                  <a:lnTo>
                    <a:pt x="265" y="108"/>
                  </a:lnTo>
                  <a:lnTo>
                    <a:pt x="267" y="106"/>
                  </a:lnTo>
                  <a:lnTo>
                    <a:pt x="267" y="102"/>
                  </a:lnTo>
                  <a:lnTo>
                    <a:pt x="263" y="93"/>
                  </a:lnTo>
                  <a:lnTo>
                    <a:pt x="263" y="93"/>
                  </a:lnTo>
                  <a:lnTo>
                    <a:pt x="263" y="93"/>
                  </a:lnTo>
                  <a:lnTo>
                    <a:pt x="263" y="91"/>
                  </a:lnTo>
                  <a:lnTo>
                    <a:pt x="265" y="89"/>
                  </a:lnTo>
                  <a:lnTo>
                    <a:pt x="265" y="89"/>
                  </a:lnTo>
                  <a:lnTo>
                    <a:pt x="265" y="89"/>
                  </a:lnTo>
                  <a:lnTo>
                    <a:pt x="265" y="87"/>
                  </a:lnTo>
                  <a:lnTo>
                    <a:pt x="261" y="82"/>
                  </a:lnTo>
                  <a:lnTo>
                    <a:pt x="259" y="76"/>
                  </a:lnTo>
                  <a:lnTo>
                    <a:pt x="257" y="78"/>
                  </a:lnTo>
                  <a:lnTo>
                    <a:pt x="251" y="83"/>
                  </a:lnTo>
                  <a:lnTo>
                    <a:pt x="251" y="83"/>
                  </a:lnTo>
                  <a:lnTo>
                    <a:pt x="250" y="82"/>
                  </a:lnTo>
                  <a:lnTo>
                    <a:pt x="250" y="82"/>
                  </a:lnTo>
                  <a:lnTo>
                    <a:pt x="248" y="80"/>
                  </a:lnTo>
                  <a:lnTo>
                    <a:pt x="248" y="80"/>
                  </a:lnTo>
                  <a:lnTo>
                    <a:pt x="248" y="78"/>
                  </a:lnTo>
                  <a:lnTo>
                    <a:pt x="250" y="76"/>
                  </a:lnTo>
                  <a:lnTo>
                    <a:pt x="250" y="74"/>
                  </a:lnTo>
                  <a:lnTo>
                    <a:pt x="250" y="72"/>
                  </a:lnTo>
                  <a:lnTo>
                    <a:pt x="251" y="70"/>
                  </a:lnTo>
                  <a:lnTo>
                    <a:pt x="251" y="68"/>
                  </a:lnTo>
                  <a:lnTo>
                    <a:pt x="251" y="68"/>
                  </a:lnTo>
                  <a:lnTo>
                    <a:pt x="253" y="66"/>
                  </a:lnTo>
                  <a:lnTo>
                    <a:pt x="257" y="64"/>
                  </a:lnTo>
                  <a:lnTo>
                    <a:pt x="257" y="64"/>
                  </a:lnTo>
                  <a:lnTo>
                    <a:pt x="257" y="63"/>
                  </a:lnTo>
                  <a:lnTo>
                    <a:pt x="257" y="63"/>
                  </a:lnTo>
                  <a:lnTo>
                    <a:pt x="259" y="61"/>
                  </a:lnTo>
                  <a:lnTo>
                    <a:pt x="259" y="57"/>
                  </a:lnTo>
                  <a:lnTo>
                    <a:pt x="259" y="57"/>
                  </a:lnTo>
                  <a:lnTo>
                    <a:pt x="259" y="55"/>
                  </a:lnTo>
                  <a:lnTo>
                    <a:pt x="257" y="51"/>
                  </a:lnTo>
                  <a:lnTo>
                    <a:pt x="257" y="51"/>
                  </a:lnTo>
                  <a:lnTo>
                    <a:pt x="257" y="51"/>
                  </a:lnTo>
                  <a:lnTo>
                    <a:pt x="257" y="51"/>
                  </a:lnTo>
                  <a:lnTo>
                    <a:pt x="255" y="49"/>
                  </a:lnTo>
                  <a:lnTo>
                    <a:pt x="253" y="51"/>
                  </a:lnTo>
                  <a:lnTo>
                    <a:pt x="253" y="51"/>
                  </a:lnTo>
                  <a:lnTo>
                    <a:pt x="253" y="51"/>
                  </a:lnTo>
                  <a:lnTo>
                    <a:pt x="251" y="51"/>
                  </a:lnTo>
                  <a:lnTo>
                    <a:pt x="253" y="53"/>
                  </a:lnTo>
                  <a:lnTo>
                    <a:pt x="251" y="53"/>
                  </a:lnTo>
                  <a:lnTo>
                    <a:pt x="251" y="55"/>
                  </a:lnTo>
                  <a:lnTo>
                    <a:pt x="250" y="55"/>
                  </a:lnTo>
                  <a:lnTo>
                    <a:pt x="248" y="57"/>
                  </a:lnTo>
                  <a:lnTo>
                    <a:pt x="246" y="59"/>
                  </a:lnTo>
                  <a:lnTo>
                    <a:pt x="246" y="59"/>
                  </a:lnTo>
                  <a:lnTo>
                    <a:pt x="244" y="59"/>
                  </a:lnTo>
                  <a:lnTo>
                    <a:pt x="242" y="59"/>
                  </a:lnTo>
                  <a:lnTo>
                    <a:pt x="240" y="59"/>
                  </a:lnTo>
                  <a:lnTo>
                    <a:pt x="240" y="59"/>
                  </a:lnTo>
                  <a:lnTo>
                    <a:pt x="238" y="61"/>
                  </a:lnTo>
                  <a:lnTo>
                    <a:pt x="236" y="61"/>
                  </a:lnTo>
                  <a:lnTo>
                    <a:pt x="234" y="61"/>
                  </a:lnTo>
                  <a:lnTo>
                    <a:pt x="232" y="63"/>
                  </a:lnTo>
                  <a:lnTo>
                    <a:pt x="232" y="63"/>
                  </a:lnTo>
                  <a:lnTo>
                    <a:pt x="232" y="63"/>
                  </a:lnTo>
                  <a:lnTo>
                    <a:pt x="230" y="64"/>
                  </a:lnTo>
                  <a:lnTo>
                    <a:pt x="230" y="64"/>
                  </a:lnTo>
                  <a:lnTo>
                    <a:pt x="230" y="64"/>
                  </a:lnTo>
                  <a:lnTo>
                    <a:pt x="229" y="66"/>
                  </a:lnTo>
                  <a:lnTo>
                    <a:pt x="227" y="68"/>
                  </a:lnTo>
                  <a:lnTo>
                    <a:pt x="225" y="68"/>
                  </a:lnTo>
                  <a:lnTo>
                    <a:pt x="223" y="66"/>
                  </a:lnTo>
                  <a:lnTo>
                    <a:pt x="223" y="64"/>
                  </a:lnTo>
                  <a:lnTo>
                    <a:pt x="221" y="63"/>
                  </a:lnTo>
                  <a:lnTo>
                    <a:pt x="221" y="63"/>
                  </a:lnTo>
                  <a:lnTo>
                    <a:pt x="219" y="59"/>
                  </a:lnTo>
                  <a:lnTo>
                    <a:pt x="217" y="59"/>
                  </a:lnTo>
                  <a:lnTo>
                    <a:pt x="217" y="57"/>
                  </a:lnTo>
                  <a:lnTo>
                    <a:pt x="217" y="51"/>
                  </a:lnTo>
                  <a:lnTo>
                    <a:pt x="215" y="49"/>
                  </a:lnTo>
                  <a:lnTo>
                    <a:pt x="215" y="47"/>
                  </a:lnTo>
                  <a:lnTo>
                    <a:pt x="213" y="45"/>
                  </a:lnTo>
                  <a:lnTo>
                    <a:pt x="210" y="38"/>
                  </a:lnTo>
                  <a:lnTo>
                    <a:pt x="208" y="34"/>
                  </a:lnTo>
                  <a:lnTo>
                    <a:pt x="202" y="28"/>
                  </a:lnTo>
                  <a:lnTo>
                    <a:pt x="200" y="26"/>
                  </a:lnTo>
                  <a:lnTo>
                    <a:pt x="198" y="24"/>
                  </a:lnTo>
                  <a:lnTo>
                    <a:pt x="198" y="23"/>
                  </a:lnTo>
                  <a:lnTo>
                    <a:pt x="196" y="23"/>
                  </a:lnTo>
                  <a:lnTo>
                    <a:pt x="196" y="23"/>
                  </a:lnTo>
                  <a:lnTo>
                    <a:pt x="194" y="24"/>
                  </a:lnTo>
                  <a:lnTo>
                    <a:pt x="192" y="24"/>
                  </a:lnTo>
                  <a:lnTo>
                    <a:pt x="192" y="24"/>
                  </a:lnTo>
                  <a:lnTo>
                    <a:pt x="192" y="26"/>
                  </a:lnTo>
                  <a:lnTo>
                    <a:pt x="190" y="26"/>
                  </a:lnTo>
                  <a:lnTo>
                    <a:pt x="190" y="28"/>
                  </a:lnTo>
                  <a:lnTo>
                    <a:pt x="189" y="28"/>
                  </a:lnTo>
                  <a:lnTo>
                    <a:pt x="189" y="28"/>
                  </a:lnTo>
                  <a:lnTo>
                    <a:pt x="187" y="28"/>
                  </a:lnTo>
                  <a:lnTo>
                    <a:pt x="185" y="32"/>
                  </a:lnTo>
                  <a:lnTo>
                    <a:pt x="183" y="32"/>
                  </a:lnTo>
                  <a:lnTo>
                    <a:pt x="183" y="34"/>
                  </a:lnTo>
                  <a:lnTo>
                    <a:pt x="181" y="34"/>
                  </a:lnTo>
                  <a:lnTo>
                    <a:pt x="177" y="34"/>
                  </a:lnTo>
                  <a:lnTo>
                    <a:pt x="175" y="36"/>
                  </a:lnTo>
                  <a:lnTo>
                    <a:pt x="171" y="36"/>
                  </a:lnTo>
                  <a:lnTo>
                    <a:pt x="168" y="36"/>
                  </a:lnTo>
                  <a:lnTo>
                    <a:pt x="168" y="38"/>
                  </a:lnTo>
                  <a:lnTo>
                    <a:pt x="166" y="38"/>
                  </a:lnTo>
                  <a:lnTo>
                    <a:pt x="166" y="38"/>
                  </a:lnTo>
                  <a:lnTo>
                    <a:pt x="166" y="40"/>
                  </a:lnTo>
                  <a:lnTo>
                    <a:pt x="164" y="40"/>
                  </a:lnTo>
                  <a:lnTo>
                    <a:pt x="150" y="36"/>
                  </a:lnTo>
                  <a:lnTo>
                    <a:pt x="143" y="32"/>
                  </a:lnTo>
                  <a:lnTo>
                    <a:pt x="139" y="30"/>
                  </a:lnTo>
                  <a:lnTo>
                    <a:pt x="131" y="24"/>
                  </a:lnTo>
                  <a:lnTo>
                    <a:pt x="128" y="23"/>
                  </a:lnTo>
                  <a:lnTo>
                    <a:pt x="126" y="21"/>
                  </a:lnTo>
                  <a:lnTo>
                    <a:pt x="124" y="19"/>
                  </a:lnTo>
                  <a:lnTo>
                    <a:pt x="122" y="17"/>
                  </a:lnTo>
                  <a:lnTo>
                    <a:pt x="116" y="11"/>
                  </a:lnTo>
                  <a:lnTo>
                    <a:pt x="114" y="11"/>
                  </a:lnTo>
                  <a:lnTo>
                    <a:pt x="110" y="4"/>
                  </a:lnTo>
                  <a:lnTo>
                    <a:pt x="109" y="4"/>
                  </a:lnTo>
                  <a:lnTo>
                    <a:pt x="107" y="4"/>
                  </a:lnTo>
                  <a:lnTo>
                    <a:pt x="97" y="4"/>
                  </a:lnTo>
                  <a:lnTo>
                    <a:pt x="95" y="4"/>
                  </a:lnTo>
                  <a:lnTo>
                    <a:pt x="89" y="0"/>
                  </a:lnTo>
                  <a:lnTo>
                    <a:pt x="89" y="0"/>
                  </a:lnTo>
                  <a:lnTo>
                    <a:pt x="86" y="2"/>
                  </a:lnTo>
                  <a:lnTo>
                    <a:pt x="74" y="4"/>
                  </a:lnTo>
                  <a:lnTo>
                    <a:pt x="70" y="5"/>
                  </a:lnTo>
                  <a:lnTo>
                    <a:pt x="67" y="9"/>
                  </a:lnTo>
                  <a:lnTo>
                    <a:pt x="65" y="9"/>
                  </a:lnTo>
                  <a:lnTo>
                    <a:pt x="65" y="11"/>
                  </a:lnTo>
                  <a:lnTo>
                    <a:pt x="65" y="11"/>
                  </a:lnTo>
                  <a:lnTo>
                    <a:pt x="63" y="13"/>
                  </a:lnTo>
                  <a:lnTo>
                    <a:pt x="63" y="15"/>
                  </a:lnTo>
                  <a:lnTo>
                    <a:pt x="61" y="17"/>
                  </a:lnTo>
                  <a:lnTo>
                    <a:pt x="59" y="19"/>
                  </a:lnTo>
                  <a:lnTo>
                    <a:pt x="57" y="21"/>
                  </a:lnTo>
                  <a:lnTo>
                    <a:pt x="53" y="21"/>
                  </a:lnTo>
                  <a:lnTo>
                    <a:pt x="48" y="23"/>
                  </a:lnTo>
                  <a:lnTo>
                    <a:pt x="46" y="24"/>
                  </a:lnTo>
                  <a:lnTo>
                    <a:pt x="46" y="26"/>
                  </a:lnTo>
                  <a:lnTo>
                    <a:pt x="44" y="28"/>
                  </a:lnTo>
                  <a:lnTo>
                    <a:pt x="36" y="34"/>
                  </a:lnTo>
                  <a:lnTo>
                    <a:pt x="34" y="36"/>
                  </a:lnTo>
                  <a:lnTo>
                    <a:pt x="34" y="36"/>
                  </a:lnTo>
                  <a:lnTo>
                    <a:pt x="32" y="36"/>
                  </a:lnTo>
                  <a:lnTo>
                    <a:pt x="30" y="34"/>
                  </a:lnTo>
                  <a:lnTo>
                    <a:pt x="30" y="32"/>
                  </a:lnTo>
                  <a:lnTo>
                    <a:pt x="30" y="32"/>
                  </a:lnTo>
                  <a:lnTo>
                    <a:pt x="28" y="32"/>
                  </a:lnTo>
                  <a:lnTo>
                    <a:pt x="27" y="32"/>
                  </a:lnTo>
                  <a:lnTo>
                    <a:pt x="25" y="30"/>
                  </a:lnTo>
                  <a:lnTo>
                    <a:pt x="25" y="30"/>
                  </a:lnTo>
                  <a:lnTo>
                    <a:pt x="23" y="32"/>
                  </a:lnTo>
                  <a:lnTo>
                    <a:pt x="21" y="32"/>
                  </a:lnTo>
                  <a:lnTo>
                    <a:pt x="21" y="34"/>
                  </a:lnTo>
                  <a:lnTo>
                    <a:pt x="21" y="34"/>
                  </a:lnTo>
                  <a:lnTo>
                    <a:pt x="21" y="36"/>
                  </a:lnTo>
                  <a:lnTo>
                    <a:pt x="21" y="38"/>
                  </a:lnTo>
                  <a:lnTo>
                    <a:pt x="23" y="40"/>
                  </a:lnTo>
                  <a:lnTo>
                    <a:pt x="25" y="42"/>
                  </a:lnTo>
                  <a:lnTo>
                    <a:pt x="27" y="43"/>
                  </a:lnTo>
                  <a:lnTo>
                    <a:pt x="27" y="45"/>
                  </a:lnTo>
                  <a:lnTo>
                    <a:pt x="28" y="45"/>
                  </a:lnTo>
                  <a:lnTo>
                    <a:pt x="28" y="47"/>
                  </a:lnTo>
                  <a:lnTo>
                    <a:pt x="30" y="49"/>
                  </a:lnTo>
                  <a:lnTo>
                    <a:pt x="30" y="49"/>
                  </a:lnTo>
                  <a:lnTo>
                    <a:pt x="30" y="51"/>
                  </a:lnTo>
                  <a:lnTo>
                    <a:pt x="30" y="51"/>
                  </a:lnTo>
                  <a:lnTo>
                    <a:pt x="30" y="53"/>
                  </a:lnTo>
                  <a:lnTo>
                    <a:pt x="30" y="57"/>
                  </a:lnTo>
                  <a:lnTo>
                    <a:pt x="30" y="59"/>
                  </a:lnTo>
                  <a:lnTo>
                    <a:pt x="32" y="63"/>
                  </a:lnTo>
                  <a:lnTo>
                    <a:pt x="32" y="64"/>
                  </a:lnTo>
                  <a:lnTo>
                    <a:pt x="32" y="64"/>
                  </a:lnTo>
                  <a:lnTo>
                    <a:pt x="32" y="66"/>
                  </a:lnTo>
                  <a:lnTo>
                    <a:pt x="30" y="66"/>
                  </a:lnTo>
                  <a:lnTo>
                    <a:pt x="30" y="68"/>
                  </a:lnTo>
                  <a:lnTo>
                    <a:pt x="28" y="68"/>
                  </a:lnTo>
                  <a:lnTo>
                    <a:pt x="27" y="72"/>
                  </a:lnTo>
                  <a:lnTo>
                    <a:pt x="27" y="74"/>
                  </a:lnTo>
                  <a:lnTo>
                    <a:pt x="25" y="76"/>
                  </a:lnTo>
                  <a:lnTo>
                    <a:pt x="25" y="78"/>
                  </a:lnTo>
                  <a:lnTo>
                    <a:pt x="25" y="78"/>
                  </a:lnTo>
                  <a:lnTo>
                    <a:pt x="27" y="80"/>
                  </a:lnTo>
                  <a:lnTo>
                    <a:pt x="27" y="80"/>
                  </a:lnTo>
                  <a:lnTo>
                    <a:pt x="30" y="87"/>
                  </a:lnTo>
                  <a:lnTo>
                    <a:pt x="30" y="87"/>
                  </a:lnTo>
                  <a:lnTo>
                    <a:pt x="30" y="89"/>
                  </a:lnTo>
                  <a:lnTo>
                    <a:pt x="30" y="89"/>
                  </a:lnTo>
                  <a:lnTo>
                    <a:pt x="25" y="91"/>
                  </a:lnTo>
                  <a:lnTo>
                    <a:pt x="19" y="97"/>
                  </a:lnTo>
                  <a:lnTo>
                    <a:pt x="15" y="101"/>
                  </a:lnTo>
                  <a:lnTo>
                    <a:pt x="13" y="102"/>
                  </a:lnTo>
                  <a:lnTo>
                    <a:pt x="11" y="104"/>
                  </a:lnTo>
                  <a:lnTo>
                    <a:pt x="9" y="104"/>
                  </a:lnTo>
                  <a:lnTo>
                    <a:pt x="4" y="106"/>
                  </a:lnTo>
                  <a:lnTo>
                    <a:pt x="4" y="106"/>
                  </a:lnTo>
                  <a:lnTo>
                    <a:pt x="4" y="106"/>
                  </a:lnTo>
                  <a:lnTo>
                    <a:pt x="2" y="108"/>
                  </a:lnTo>
                  <a:lnTo>
                    <a:pt x="2" y="110"/>
                  </a:lnTo>
                  <a:lnTo>
                    <a:pt x="2" y="112"/>
                  </a:lnTo>
                  <a:lnTo>
                    <a:pt x="4" y="112"/>
                  </a:lnTo>
                  <a:lnTo>
                    <a:pt x="4" y="114"/>
                  </a:lnTo>
                  <a:lnTo>
                    <a:pt x="4" y="114"/>
                  </a:lnTo>
                  <a:lnTo>
                    <a:pt x="6" y="114"/>
                  </a:lnTo>
                  <a:lnTo>
                    <a:pt x="6" y="112"/>
                  </a:lnTo>
                  <a:lnTo>
                    <a:pt x="6" y="112"/>
                  </a:lnTo>
                  <a:lnTo>
                    <a:pt x="8" y="112"/>
                  </a:lnTo>
                  <a:lnTo>
                    <a:pt x="8" y="112"/>
                  </a:lnTo>
                  <a:lnTo>
                    <a:pt x="8" y="114"/>
                  </a:lnTo>
                  <a:lnTo>
                    <a:pt x="8" y="116"/>
                  </a:lnTo>
                  <a:lnTo>
                    <a:pt x="6" y="116"/>
                  </a:lnTo>
                  <a:lnTo>
                    <a:pt x="6" y="118"/>
                  </a:lnTo>
                  <a:lnTo>
                    <a:pt x="0" y="123"/>
                  </a:lnTo>
                  <a:lnTo>
                    <a:pt x="0" y="125"/>
                  </a:lnTo>
                  <a:lnTo>
                    <a:pt x="0" y="125"/>
                  </a:lnTo>
                  <a:lnTo>
                    <a:pt x="0" y="125"/>
                  </a:lnTo>
                  <a:lnTo>
                    <a:pt x="2" y="127"/>
                  </a:lnTo>
                  <a:lnTo>
                    <a:pt x="8" y="127"/>
                  </a:lnTo>
                  <a:lnTo>
                    <a:pt x="9" y="129"/>
                  </a:lnTo>
                  <a:lnTo>
                    <a:pt x="11" y="127"/>
                  </a:lnTo>
                  <a:lnTo>
                    <a:pt x="11" y="129"/>
                  </a:lnTo>
                  <a:lnTo>
                    <a:pt x="15" y="131"/>
                  </a:lnTo>
                  <a:lnTo>
                    <a:pt x="21" y="133"/>
                  </a:lnTo>
                  <a:lnTo>
                    <a:pt x="27" y="137"/>
                  </a:lnTo>
                  <a:lnTo>
                    <a:pt x="27" y="137"/>
                  </a:lnTo>
                  <a:lnTo>
                    <a:pt x="28" y="139"/>
                  </a:lnTo>
                  <a:lnTo>
                    <a:pt x="32" y="144"/>
                  </a:lnTo>
                  <a:lnTo>
                    <a:pt x="36" y="150"/>
                  </a:lnTo>
                  <a:lnTo>
                    <a:pt x="36" y="152"/>
                  </a:lnTo>
                  <a:lnTo>
                    <a:pt x="36" y="152"/>
                  </a:lnTo>
                  <a:lnTo>
                    <a:pt x="34" y="152"/>
                  </a:lnTo>
                  <a:lnTo>
                    <a:pt x="34" y="152"/>
                  </a:lnTo>
                  <a:lnTo>
                    <a:pt x="32" y="152"/>
                  </a:lnTo>
                  <a:lnTo>
                    <a:pt x="32" y="152"/>
                  </a:lnTo>
                  <a:lnTo>
                    <a:pt x="32" y="152"/>
                  </a:lnTo>
                  <a:lnTo>
                    <a:pt x="32" y="154"/>
                  </a:lnTo>
                  <a:lnTo>
                    <a:pt x="30" y="154"/>
                  </a:lnTo>
                  <a:lnTo>
                    <a:pt x="32" y="156"/>
                  </a:lnTo>
                  <a:lnTo>
                    <a:pt x="34" y="160"/>
                  </a:lnTo>
                  <a:lnTo>
                    <a:pt x="46" y="180"/>
                  </a:lnTo>
                  <a:lnTo>
                    <a:pt x="49" y="196"/>
                  </a:lnTo>
                  <a:lnTo>
                    <a:pt x="51" y="201"/>
                  </a:lnTo>
                  <a:lnTo>
                    <a:pt x="51" y="203"/>
                  </a:lnTo>
                  <a:lnTo>
                    <a:pt x="53" y="205"/>
                  </a:lnTo>
                  <a:lnTo>
                    <a:pt x="55" y="207"/>
                  </a:lnTo>
                  <a:lnTo>
                    <a:pt x="57" y="209"/>
                  </a:lnTo>
                  <a:lnTo>
                    <a:pt x="59" y="209"/>
                  </a:lnTo>
                  <a:lnTo>
                    <a:pt x="59" y="207"/>
                  </a:lnTo>
                  <a:lnTo>
                    <a:pt x="61" y="207"/>
                  </a:lnTo>
                  <a:lnTo>
                    <a:pt x="63" y="209"/>
                  </a:lnTo>
                  <a:lnTo>
                    <a:pt x="63" y="209"/>
                  </a:lnTo>
                  <a:lnTo>
                    <a:pt x="65" y="209"/>
                  </a:lnTo>
                  <a:lnTo>
                    <a:pt x="65" y="209"/>
                  </a:lnTo>
                  <a:lnTo>
                    <a:pt x="65" y="207"/>
                  </a:lnTo>
                  <a:lnTo>
                    <a:pt x="65" y="205"/>
                  </a:lnTo>
                  <a:lnTo>
                    <a:pt x="67" y="205"/>
                  </a:lnTo>
                  <a:lnTo>
                    <a:pt x="67" y="203"/>
                  </a:lnTo>
                  <a:lnTo>
                    <a:pt x="69" y="205"/>
                  </a:lnTo>
                  <a:lnTo>
                    <a:pt x="69" y="203"/>
                  </a:lnTo>
                  <a:lnTo>
                    <a:pt x="69" y="203"/>
                  </a:lnTo>
                  <a:lnTo>
                    <a:pt x="69" y="199"/>
                  </a:lnTo>
                  <a:lnTo>
                    <a:pt x="69" y="198"/>
                  </a:lnTo>
                  <a:lnTo>
                    <a:pt x="70" y="198"/>
                  </a:lnTo>
                  <a:lnTo>
                    <a:pt x="70" y="198"/>
                  </a:lnTo>
                  <a:lnTo>
                    <a:pt x="70" y="196"/>
                  </a:lnTo>
                  <a:lnTo>
                    <a:pt x="72" y="196"/>
                  </a:lnTo>
                  <a:lnTo>
                    <a:pt x="72" y="196"/>
                  </a:lnTo>
                  <a:lnTo>
                    <a:pt x="72" y="198"/>
                  </a:lnTo>
                  <a:lnTo>
                    <a:pt x="76" y="203"/>
                  </a:lnTo>
                  <a:lnTo>
                    <a:pt x="78" y="207"/>
                  </a:lnTo>
                  <a:lnTo>
                    <a:pt x="80" y="209"/>
                  </a:lnTo>
                  <a:lnTo>
                    <a:pt x="80" y="211"/>
                  </a:lnTo>
                  <a:lnTo>
                    <a:pt x="80" y="211"/>
                  </a:lnTo>
                  <a:lnTo>
                    <a:pt x="82" y="209"/>
                  </a:lnTo>
                  <a:lnTo>
                    <a:pt x="82" y="209"/>
                  </a:lnTo>
                  <a:lnTo>
                    <a:pt x="82" y="209"/>
                  </a:lnTo>
                  <a:lnTo>
                    <a:pt x="82" y="209"/>
                  </a:lnTo>
                  <a:lnTo>
                    <a:pt x="84" y="211"/>
                  </a:lnTo>
                  <a:lnTo>
                    <a:pt x="84" y="211"/>
                  </a:lnTo>
                  <a:lnTo>
                    <a:pt x="84" y="211"/>
                  </a:lnTo>
                  <a:lnTo>
                    <a:pt x="84" y="211"/>
                  </a:lnTo>
                  <a:lnTo>
                    <a:pt x="86" y="211"/>
                  </a:lnTo>
                  <a:lnTo>
                    <a:pt x="86" y="211"/>
                  </a:lnTo>
                  <a:lnTo>
                    <a:pt x="86" y="211"/>
                  </a:lnTo>
                  <a:lnTo>
                    <a:pt x="86" y="211"/>
                  </a:lnTo>
                  <a:lnTo>
                    <a:pt x="88" y="211"/>
                  </a:lnTo>
                  <a:lnTo>
                    <a:pt x="88" y="213"/>
                  </a:lnTo>
                  <a:lnTo>
                    <a:pt x="88" y="213"/>
                  </a:lnTo>
                  <a:lnTo>
                    <a:pt x="88" y="215"/>
                  </a:lnTo>
                  <a:lnTo>
                    <a:pt x="89" y="215"/>
                  </a:lnTo>
                  <a:lnTo>
                    <a:pt x="89" y="215"/>
                  </a:lnTo>
                  <a:lnTo>
                    <a:pt x="89" y="215"/>
                  </a:lnTo>
                  <a:lnTo>
                    <a:pt x="89" y="213"/>
                  </a:lnTo>
                  <a:lnTo>
                    <a:pt x="89" y="213"/>
                  </a:lnTo>
                  <a:lnTo>
                    <a:pt x="91" y="213"/>
                  </a:lnTo>
                  <a:lnTo>
                    <a:pt x="91" y="213"/>
                  </a:lnTo>
                  <a:lnTo>
                    <a:pt x="91" y="213"/>
                  </a:lnTo>
                  <a:lnTo>
                    <a:pt x="91" y="213"/>
                  </a:lnTo>
                  <a:lnTo>
                    <a:pt x="93" y="215"/>
                  </a:lnTo>
                  <a:lnTo>
                    <a:pt x="93" y="215"/>
                  </a:lnTo>
                  <a:lnTo>
                    <a:pt x="91" y="217"/>
                  </a:lnTo>
                  <a:lnTo>
                    <a:pt x="91" y="218"/>
                  </a:lnTo>
                  <a:lnTo>
                    <a:pt x="93" y="218"/>
                  </a:lnTo>
                  <a:lnTo>
                    <a:pt x="95" y="217"/>
                  </a:lnTo>
                  <a:lnTo>
                    <a:pt x="95" y="218"/>
                  </a:lnTo>
                  <a:lnTo>
                    <a:pt x="97" y="218"/>
                  </a:lnTo>
                  <a:lnTo>
                    <a:pt x="95" y="220"/>
                  </a:lnTo>
                  <a:lnTo>
                    <a:pt x="95" y="220"/>
                  </a:lnTo>
                  <a:lnTo>
                    <a:pt x="93" y="222"/>
                  </a:lnTo>
                  <a:lnTo>
                    <a:pt x="93" y="222"/>
                  </a:lnTo>
                  <a:lnTo>
                    <a:pt x="93" y="228"/>
                  </a:lnTo>
                  <a:lnTo>
                    <a:pt x="93" y="228"/>
                  </a:lnTo>
                  <a:lnTo>
                    <a:pt x="95" y="230"/>
                  </a:lnTo>
                  <a:lnTo>
                    <a:pt x="95" y="230"/>
                  </a:lnTo>
                  <a:lnTo>
                    <a:pt x="95" y="232"/>
                  </a:lnTo>
                  <a:lnTo>
                    <a:pt x="95" y="234"/>
                  </a:lnTo>
                  <a:lnTo>
                    <a:pt x="95" y="234"/>
                  </a:lnTo>
                  <a:lnTo>
                    <a:pt x="95" y="236"/>
                  </a:lnTo>
                  <a:lnTo>
                    <a:pt x="95" y="236"/>
                  </a:lnTo>
                  <a:lnTo>
                    <a:pt x="95" y="237"/>
                  </a:lnTo>
                  <a:lnTo>
                    <a:pt x="95" y="239"/>
                  </a:lnTo>
                  <a:lnTo>
                    <a:pt x="97" y="239"/>
                  </a:lnTo>
                  <a:lnTo>
                    <a:pt x="99" y="241"/>
                  </a:lnTo>
                  <a:lnTo>
                    <a:pt x="103" y="247"/>
                  </a:lnTo>
                  <a:lnTo>
                    <a:pt x="105" y="249"/>
                  </a:lnTo>
                  <a:lnTo>
                    <a:pt x="109" y="253"/>
                  </a:lnTo>
                  <a:lnTo>
                    <a:pt x="110" y="251"/>
                  </a:lnTo>
                  <a:lnTo>
                    <a:pt x="110" y="251"/>
                  </a:lnTo>
                  <a:lnTo>
                    <a:pt x="112" y="249"/>
                  </a:lnTo>
                  <a:lnTo>
                    <a:pt x="112" y="249"/>
                  </a:lnTo>
                  <a:lnTo>
                    <a:pt x="114" y="249"/>
                  </a:lnTo>
                  <a:lnTo>
                    <a:pt x="114" y="249"/>
                  </a:lnTo>
                  <a:lnTo>
                    <a:pt x="114" y="249"/>
                  </a:lnTo>
                  <a:lnTo>
                    <a:pt x="114" y="251"/>
                  </a:lnTo>
                  <a:lnTo>
                    <a:pt x="116" y="253"/>
                  </a:lnTo>
                  <a:lnTo>
                    <a:pt x="116" y="253"/>
                  </a:lnTo>
                  <a:lnTo>
                    <a:pt x="118" y="253"/>
                  </a:lnTo>
                  <a:lnTo>
                    <a:pt x="120" y="253"/>
                  </a:lnTo>
                  <a:lnTo>
                    <a:pt x="120" y="253"/>
                  </a:lnTo>
                  <a:lnTo>
                    <a:pt x="122" y="253"/>
                  </a:lnTo>
                  <a:lnTo>
                    <a:pt x="124" y="255"/>
                  </a:lnTo>
                  <a:lnTo>
                    <a:pt x="126" y="257"/>
                  </a:lnTo>
                  <a:lnTo>
                    <a:pt x="126" y="257"/>
                  </a:lnTo>
                  <a:lnTo>
                    <a:pt x="126" y="258"/>
                  </a:lnTo>
                  <a:lnTo>
                    <a:pt x="126" y="260"/>
                  </a:lnTo>
                  <a:lnTo>
                    <a:pt x="128" y="262"/>
                  </a:lnTo>
                  <a:lnTo>
                    <a:pt x="128" y="262"/>
                  </a:lnTo>
                  <a:lnTo>
                    <a:pt x="129" y="262"/>
                  </a:lnTo>
                  <a:lnTo>
                    <a:pt x="129" y="262"/>
                  </a:lnTo>
                  <a:lnTo>
                    <a:pt x="129" y="264"/>
                  </a:lnTo>
                  <a:lnTo>
                    <a:pt x="131" y="264"/>
                  </a:lnTo>
                  <a:lnTo>
                    <a:pt x="131" y="266"/>
                  </a:lnTo>
                  <a:lnTo>
                    <a:pt x="131" y="266"/>
                  </a:lnTo>
                  <a:lnTo>
                    <a:pt x="131" y="266"/>
                  </a:lnTo>
                  <a:lnTo>
                    <a:pt x="135" y="268"/>
                  </a:lnTo>
                  <a:lnTo>
                    <a:pt x="139" y="270"/>
                  </a:lnTo>
                  <a:lnTo>
                    <a:pt x="141" y="272"/>
                  </a:lnTo>
                  <a:lnTo>
                    <a:pt x="143" y="274"/>
                  </a:lnTo>
                  <a:lnTo>
                    <a:pt x="145" y="276"/>
                  </a:lnTo>
                  <a:lnTo>
                    <a:pt x="145" y="277"/>
                  </a:lnTo>
                  <a:lnTo>
                    <a:pt x="145" y="277"/>
                  </a:lnTo>
                  <a:lnTo>
                    <a:pt x="145" y="281"/>
                  </a:lnTo>
                  <a:lnTo>
                    <a:pt x="145" y="283"/>
                  </a:lnTo>
                  <a:lnTo>
                    <a:pt x="145" y="285"/>
                  </a:lnTo>
                  <a:lnTo>
                    <a:pt x="143" y="287"/>
                  </a:lnTo>
                  <a:lnTo>
                    <a:pt x="143" y="289"/>
                  </a:lnTo>
                  <a:lnTo>
                    <a:pt x="143" y="291"/>
                  </a:lnTo>
                  <a:lnTo>
                    <a:pt x="145" y="291"/>
                  </a:lnTo>
                  <a:lnTo>
                    <a:pt x="149" y="296"/>
                  </a:lnTo>
                  <a:lnTo>
                    <a:pt x="150" y="296"/>
                  </a:lnTo>
                  <a:lnTo>
                    <a:pt x="150" y="298"/>
                  </a:lnTo>
                  <a:lnTo>
                    <a:pt x="150" y="298"/>
                  </a:lnTo>
                  <a:lnTo>
                    <a:pt x="150" y="298"/>
                  </a:lnTo>
                  <a:lnTo>
                    <a:pt x="152" y="296"/>
                  </a:lnTo>
                  <a:lnTo>
                    <a:pt x="156" y="298"/>
                  </a:lnTo>
                  <a:lnTo>
                    <a:pt x="158" y="300"/>
                  </a:lnTo>
                  <a:lnTo>
                    <a:pt x="158" y="300"/>
                  </a:lnTo>
                  <a:lnTo>
                    <a:pt x="164" y="300"/>
                  </a:lnTo>
                  <a:lnTo>
                    <a:pt x="164" y="300"/>
                  </a:lnTo>
                  <a:lnTo>
                    <a:pt x="164" y="302"/>
                  </a:lnTo>
                  <a:lnTo>
                    <a:pt x="166" y="302"/>
                  </a:lnTo>
                  <a:lnTo>
                    <a:pt x="166" y="304"/>
                  </a:lnTo>
                  <a:lnTo>
                    <a:pt x="168" y="304"/>
                  </a:lnTo>
                  <a:lnTo>
                    <a:pt x="170" y="302"/>
                  </a:lnTo>
                  <a:lnTo>
                    <a:pt x="171" y="300"/>
                  </a:lnTo>
                  <a:lnTo>
                    <a:pt x="173" y="300"/>
                  </a:lnTo>
                  <a:lnTo>
                    <a:pt x="173" y="300"/>
                  </a:lnTo>
                  <a:lnTo>
                    <a:pt x="173" y="302"/>
                  </a:lnTo>
                  <a:lnTo>
                    <a:pt x="171" y="304"/>
                  </a:lnTo>
                  <a:lnTo>
                    <a:pt x="171" y="304"/>
                  </a:lnTo>
                  <a:lnTo>
                    <a:pt x="171" y="304"/>
                  </a:lnTo>
                  <a:lnTo>
                    <a:pt x="173" y="304"/>
                  </a:lnTo>
                  <a:lnTo>
                    <a:pt x="175" y="304"/>
                  </a:lnTo>
                  <a:lnTo>
                    <a:pt x="175" y="304"/>
                  </a:lnTo>
                  <a:lnTo>
                    <a:pt x="177" y="304"/>
                  </a:lnTo>
                  <a:lnTo>
                    <a:pt x="179" y="304"/>
                  </a:lnTo>
                  <a:lnTo>
                    <a:pt x="181" y="306"/>
                  </a:lnTo>
                  <a:lnTo>
                    <a:pt x="185" y="308"/>
                  </a:lnTo>
                  <a:lnTo>
                    <a:pt x="185" y="308"/>
                  </a:lnTo>
                  <a:lnTo>
                    <a:pt x="185" y="308"/>
                  </a:lnTo>
                  <a:lnTo>
                    <a:pt x="183" y="306"/>
                  </a:lnTo>
                  <a:lnTo>
                    <a:pt x="183" y="304"/>
                  </a:lnTo>
                  <a:lnTo>
                    <a:pt x="185" y="304"/>
                  </a:lnTo>
                  <a:lnTo>
                    <a:pt x="187" y="302"/>
                  </a:lnTo>
                  <a:lnTo>
                    <a:pt x="189" y="302"/>
                  </a:lnTo>
                  <a:lnTo>
                    <a:pt x="190" y="302"/>
                  </a:lnTo>
                  <a:lnTo>
                    <a:pt x="192" y="302"/>
                  </a:lnTo>
                  <a:lnTo>
                    <a:pt x="194" y="300"/>
                  </a:lnTo>
                  <a:lnTo>
                    <a:pt x="202" y="296"/>
                  </a:lnTo>
                  <a:lnTo>
                    <a:pt x="204" y="295"/>
                  </a:lnTo>
                  <a:lnTo>
                    <a:pt x="206" y="295"/>
                  </a:lnTo>
                  <a:lnTo>
                    <a:pt x="206" y="293"/>
                  </a:lnTo>
                  <a:lnTo>
                    <a:pt x="206" y="293"/>
                  </a:lnTo>
                  <a:lnTo>
                    <a:pt x="206" y="291"/>
                  </a:lnTo>
                  <a:lnTo>
                    <a:pt x="206" y="291"/>
                  </a:lnTo>
                  <a:lnTo>
                    <a:pt x="206" y="291"/>
                  </a:lnTo>
                  <a:lnTo>
                    <a:pt x="204" y="291"/>
                  </a:lnTo>
                  <a:lnTo>
                    <a:pt x="204" y="291"/>
                  </a:lnTo>
                  <a:lnTo>
                    <a:pt x="202" y="289"/>
                  </a:lnTo>
                  <a:lnTo>
                    <a:pt x="202" y="289"/>
                  </a:lnTo>
                  <a:lnTo>
                    <a:pt x="200" y="285"/>
                  </a:lnTo>
                  <a:lnTo>
                    <a:pt x="200" y="285"/>
                  </a:lnTo>
                  <a:lnTo>
                    <a:pt x="202" y="283"/>
                  </a:lnTo>
                  <a:lnTo>
                    <a:pt x="202" y="283"/>
                  </a:lnTo>
                  <a:lnTo>
                    <a:pt x="202" y="281"/>
                  </a:lnTo>
                  <a:lnTo>
                    <a:pt x="202" y="279"/>
                  </a:lnTo>
                  <a:lnTo>
                    <a:pt x="202" y="277"/>
                  </a:lnTo>
                  <a:lnTo>
                    <a:pt x="200" y="276"/>
                  </a:lnTo>
                  <a:lnTo>
                    <a:pt x="200" y="274"/>
                  </a:lnTo>
                  <a:lnTo>
                    <a:pt x="200" y="272"/>
                  </a:lnTo>
                  <a:lnTo>
                    <a:pt x="198" y="270"/>
                  </a:lnTo>
                  <a:lnTo>
                    <a:pt x="196" y="268"/>
                  </a:lnTo>
                  <a:lnTo>
                    <a:pt x="196" y="266"/>
                  </a:lnTo>
                  <a:lnTo>
                    <a:pt x="196" y="264"/>
                  </a:lnTo>
                  <a:lnTo>
                    <a:pt x="198" y="260"/>
                  </a:lnTo>
                  <a:lnTo>
                    <a:pt x="200" y="257"/>
                  </a:lnTo>
                  <a:lnTo>
                    <a:pt x="200" y="255"/>
                  </a:lnTo>
                  <a:lnTo>
                    <a:pt x="202" y="255"/>
                  </a:lnTo>
                  <a:lnTo>
                    <a:pt x="202" y="255"/>
                  </a:lnTo>
                  <a:lnTo>
                    <a:pt x="202" y="257"/>
                  </a:lnTo>
                  <a:lnTo>
                    <a:pt x="204" y="257"/>
                  </a:lnTo>
                  <a:lnTo>
                    <a:pt x="204" y="253"/>
                  </a:lnTo>
                  <a:lnTo>
                    <a:pt x="204" y="251"/>
                  </a:lnTo>
                  <a:lnTo>
                    <a:pt x="204" y="249"/>
                  </a:lnTo>
                  <a:lnTo>
                    <a:pt x="204" y="249"/>
                  </a:lnTo>
                  <a:lnTo>
                    <a:pt x="202" y="249"/>
                  </a:lnTo>
                  <a:lnTo>
                    <a:pt x="202" y="247"/>
                  </a:lnTo>
                  <a:lnTo>
                    <a:pt x="200" y="245"/>
                  </a:lnTo>
                  <a:lnTo>
                    <a:pt x="200" y="245"/>
                  </a:lnTo>
                  <a:lnTo>
                    <a:pt x="200" y="243"/>
                  </a:lnTo>
                  <a:lnTo>
                    <a:pt x="202" y="243"/>
                  </a:lnTo>
                  <a:lnTo>
                    <a:pt x="202" y="245"/>
                  </a:lnTo>
                  <a:lnTo>
                    <a:pt x="204" y="245"/>
                  </a:lnTo>
                  <a:lnTo>
                    <a:pt x="204" y="243"/>
                  </a:lnTo>
                  <a:lnTo>
                    <a:pt x="206" y="243"/>
                  </a:lnTo>
                  <a:lnTo>
                    <a:pt x="206" y="241"/>
                  </a:lnTo>
                  <a:lnTo>
                    <a:pt x="206" y="241"/>
                  </a:lnTo>
                  <a:lnTo>
                    <a:pt x="204" y="239"/>
                  </a:lnTo>
                  <a:lnTo>
                    <a:pt x="204" y="237"/>
                  </a:lnTo>
                  <a:lnTo>
                    <a:pt x="206" y="237"/>
                  </a:lnTo>
                  <a:lnTo>
                    <a:pt x="211" y="232"/>
                  </a:lnTo>
                  <a:lnTo>
                    <a:pt x="213" y="228"/>
                  </a:lnTo>
                  <a:lnTo>
                    <a:pt x="217" y="224"/>
                  </a:lnTo>
                  <a:lnTo>
                    <a:pt x="217" y="224"/>
                  </a:lnTo>
                  <a:lnTo>
                    <a:pt x="219" y="222"/>
                  </a:lnTo>
                  <a:lnTo>
                    <a:pt x="219" y="222"/>
                  </a:lnTo>
                  <a:lnTo>
                    <a:pt x="225" y="224"/>
                  </a:lnTo>
                  <a:lnTo>
                    <a:pt x="227" y="224"/>
                  </a:lnTo>
                  <a:lnTo>
                    <a:pt x="227" y="224"/>
                  </a:lnTo>
                  <a:lnTo>
                    <a:pt x="230" y="222"/>
                  </a:lnTo>
                  <a:lnTo>
                    <a:pt x="234" y="218"/>
                  </a:lnTo>
                  <a:lnTo>
                    <a:pt x="240" y="215"/>
                  </a:lnTo>
                  <a:lnTo>
                    <a:pt x="246" y="215"/>
                  </a:lnTo>
                  <a:lnTo>
                    <a:pt x="250" y="211"/>
                  </a:lnTo>
                  <a:lnTo>
                    <a:pt x="251" y="211"/>
                  </a:lnTo>
                  <a:lnTo>
                    <a:pt x="251" y="211"/>
                  </a:lnTo>
                  <a:lnTo>
                    <a:pt x="255" y="211"/>
                  </a:lnTo>
                  <a:lnTo>
                    <a:pt x="257" y="211"/>
                  </a:lnTo>
                  <a:lnTo>
                    <a:pt x="259" y="211"/>
                  </a:lnTo>
                  <a:lnTo>
                    <a:pt x="259" y="211"/>
                  </a:lnTo>
                  <a:lnTo>
                    <a:pt x="259" y="213"/>
                  </a:lnTo>
                  <a:lnTo>
                    <a:pt x="261" y="213"/>
                  </a:lnTo>
                  <a:lnTo>
                    <a:pt x="261" y="213"/>
                  </a:lnTo>
                  <a:lnTo>
                    <a:pt x="263" y="213"/>
                  </a:lnTo>
                  <a:lnTo>
                    <a:pt x="263" y="213"/>
                  </a:lnTo>
                  <a:lnTo>
                    <a:pt x="265" y="215"/>
                  </a:lnTo>
                  <a:lnTo>
                    <a:pt x="267" y="217"/>
                  </a:lnTo>
                  <a:lnTo>
                    <a:pt x="269" y="218"/>
                  </a:lnTo>
                  <a:lnTo>
                    <a:pt x="269" y="218"/>
                  </a:lnTo>
                  <a:lnTo>
                    <a:pt x="270" y="218"/>
                  </a:lnTo>
                  <a:lnTo>
                    <a:pt x="272" y="218"/>
                  </a:lnTo>
                  <a:lnTo>
                    <a:pt x="276" y="217"/>
                  </a:lnTo>
                  <a:lnTo>
                    <a:pt x="278" y="217"/>
                  </a:lnTo>
                  <a:lnTo>
                    <a:pt x="280" y="218"/>
                  </a:lnTo>
                  <a:lnTo>
                    <a:pt x="282" y="218"/>
                  </a:lnTo>
                  <a:lnTo>
                    <a:pt x="284" y="218"/>
                  </a:lnTo>
                  <a:lnTo>
                    <a:pt x="284" y="218"/>
                  </a:lnTo>
                  <a:lnTo>
                    <a:pt x="286" y="218"/>
                  </a:lnTo>
                  <a:lnTo>
                    <a:pt x="290" y="218"/>
                  </a:lnTo>
                  <a:lnTo>
                    <a:pt x="293" y="220"/>
                  </a:lnTo>
                  <a:lnTo>
                    <a:pt x="295" y="220"/>
                  </a:lnTo>
                  <a:lnTo>
                    <a:pt x="297" y="220"/>
                  </a:lnTo>
                  <a:lnTo>
                    <a:pt x="297" y="220"/>
                  </a:lnTo>
                  <a:lnTo>
                    <a:pt x="299" y="224"/>
                  </a:lnTo>
                  <a:lnTo>
                    <a:pt x="301" y="226"/>
                  </a:lnTo>
                  <a:lnTo>
                    <a:pt x="301" y="228"/>
                  </a:lnTo>
                  <a:lnTo>
                    <a:pt x="303" y="228"/>
                  </a:lnTo>
                  <a:lnTo>
                    <a:pt x="309" y="230"/>
                  </a:lnTo>
                  <a:lnTo>
                    <a:pt x="311" y="230"/>
                  </a:lnTo>
                  <a:lnTo>
                    <a:pt x="312" y="228"/>
                  </a:lnTo>
                  <a:lnTo>
                    <a:pt x="314" y="228"/>
                  </a:lnTo>
                  <a:lnTo>
                    <a:pt x="314" y="226"/>
                  </a:lnTo>
                  <a:lnTo>
                    <a:pt x="314" y="2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2" name="Freeform 54">
              <a:extLst>
                <a:ext uri="{FF2B5EF4-FFF2-40B4-BE49-F238E27FC236}">
                  <a16:creationId xmlns:a16="http://schemas.microsoft.com/office/drawing/2014/main" id="{143E1E39-2FFA-6F21-CEBC-34FE92A402AB}"/>
                </a:ext>
              </a:extLst>
            </p:cNvPr>
            <p:cNvSpPr>
              <a:spLocks/>
            </p:cNvSpPr>
            <p:nvPr/>
          </p:nvSpPr>
          <p:spPr bwMode="auto">
            <a:xfrm>
              <a:off x="4703763" y="2478888"/>
              <a:ext cx="457200" cy="546100"/>
            </a:xfrm>
            <a:custGeom>
              <a:avLst/>
              <a:gdLst>
                <a:gd name="T0" fmla="*/ 269 w 288"/>
                <a:gd name="T1" fmla="*/ 53 h 344"/>
                <a:gd name="T2" fmla="*/ 248 w 288"/>
                <a:gd name="T3" fmla="*/ 28 h 344"/>
                <a:gd name="T4" fmla="*/ 227 w 288"/>
                <a:gd name="T5" fmla="*/ 6 h 344"/>
                <a:gd name="T6" fmla="*/ 215 w 288"/>
                <a:gd name="T7" fmla="*/ 9 h 344"/>
                <a:gd name="T8" fmla="*/ 219 w 288"/>
                <a:gd name="T9" fmla="*/ 27 h 344"/>
                <a:gd name="T10" fmla="*/ 225 w 288"/>
                <a:gd name="T11" fmla="*/ 46 h 344"/>
                <a:gd name="T12" fmla="*/ 213 w 288"/>
                <a:gd name="T13" fmla="*/ 55 h 344"/>
                <a:gd name="T14" fmla="*/ 194 w 288"/>
                <a:gd name="T15" fmla="*/ 72 h 344"/>
                <a:gd name="T16" fmla="*/ 198 w 288"/>
                <a:gd name="T17" fmla="*/ 76 h 344"/>
                <a:gd name="T18" fmla="*/ 181 w 288"/>
                <a:gd name="T19" fmla="*/ 87 h 344"/>
                <a:gd name="T20" fmla="*/ 173 w 288"/>
                <a:gd name="T21" fmla="*/ 85 h 344"/>
                <a:gd name="T22" fmla="*/ 160 w 288"/>
                <a:gd name="T23" fmla="*/ 87 h 344"/>
                <a:gd name="T24" fmla="*/ 158 w 288"/>
                <a:gd name="T25" fmla="*/ 103 h 344"/>
                <a:gd name="T26" fmla="*/ 145 w 288"/>
                <a:gd name="T27" fmla="*/ 125 h 344"/>
                <a:gd name="T28" fmla="*/ 116 w 288"/>
                <a:gd name="T29" fmla="*/ 122 h 344"/>
                <a:gd name="T30" fmla="*/ 84 w 288"/>
                <a:gd name="T31" fmla="*/ 129 h 344"/>
                <a:gd name="T32" fmla="*/ 72 w 288"/>
                <a:gd name="T33" fmla="*/ 146 h 344"/>
                <a:gd name="T34" fmla="*/ 65 w 288"/>
                <a:gd name="T35" fmla="*/ 133 h 344"/>
                <a:gd name="T36" fmla="*/ 71 w 288"/>
                <a:gd name="T37" fmla="*/ 125 h 344"/>
                <a:gd name="T38" fmla="*/ 61 w 288"/>
                <a:gd name="T39" fmla="*/ 120 h 344"/>
                <a:gd name="T40" fmla="*/ 57 w 288"/>
                <a:gd name="T41" fmla="*/ 108 h 344"/>
                <a:gd name="T42" fmla="*/ 44 w 288"/>
                <a:gd name="T43" fmla="*/ 108 h 344"/>
                <a:gd name="T44" fmla="*/ 23 w 288"/>
                <a:gd name="T45" fmla="*/ 103 h 344"/>
                <a:gd name="T46" fmla="*/ 6 w 288"/>
                <a:gd name="T47" fmla="*/ 118 h 344"/>
                <a:gd name="T48" fmla="*/ 10 w 288"/>
                <a:gd name="T49" fmla="*/ 125 h 344"/>
                <a:gd name="T50" fmla="*/ 13 w 288"/>
                <a:gd name="T51" fmla="*/ 156 h 344"/>
                <a:gd name="T52" fmla="*/ 15 w 288"/>
                <a:gd name="T53" fmla="*/ 171 h 344"/>
                <a:gd name="T54" fmla="*/ 36 w 288"/>
                <a:gd name="T55" fmla="*/ 163 h 344"/>
                <a:gd name="T56" fmla="*/ 53 w 288"/>
                <a:gd name="T57" fmla="*/ 177 h 344"/>
                <a:gd name="T58" fmla="*/ 74 w 288"/>
                <a:gd name="T59" fmla="*/ 179 h 344"/>
                <a:gd name="T60" fmla="*/ 86 w 288"/>
                <a:gd name="T61" fmla="*/ 179 h 344"/>
                <a:gd name="T62" fmla="*/ 86 w 288"/>
                <a:gd name="T63" fmla="*/ 194 h 344"/>
                <a:gd name="T64" fmla="*/ 95 w 288"/>
                <a:gd name="T65" fmla="*/ 219 h 344"/>
                <a:gd name="T66" fmla="*/ 120 w 288"/>
                <a:gd name="T67" fmla="*/ 262 h 344"/>
                <a:gd name="T68" fmla="*/ 149 w 288"/>
                <a:gd name="T69" fmla="*/ 293 h 344"/>
                <a:gd name="T70" fmla="*/ 139 w 288"/>
                <a:gd name="T71" fmla="*/ 302 h 344"/>
                <a:gd name="T72" fmla="*/ 139 w 288"/>
                <a:gd name="T73" fmla="*/ 310 h 344"/>
                <a:gd name="T74" fmla="*/ 141 w 288"/>
                <a:gd name="T75" fmla="*/ 327 h 344"/>
                <a:gd name="T76" fmla="*/ 156 w 288"/>
                <a:gd name="T77" fmla="*/ 308 h 344"/>
                <a:gd name="T78" fmla="*/ 173 w 288"/>
                <a:gd name="T79" fmla="*/ 304 h 344"/>
                <a:gd name="T80" fmla="*/ 170 w 288"/>
                <a:gd name="T81" fmla="*/ 289 h 344"/>
                <a:gd name="T82" fmla="*/ 185 w 288"/>
                <a:gd name="T83" fmla="*/ 298 h 344"/>
                <a:gd name="T84" fmla="*/ 191 w 288"/>
                <a:gd name="T85" fmla="*/ 306 h 344"/>
                <a:gd name="T86" fmla="*/ 200 w 288"/>
                <a:gd name="T87" fmla="*/ 304 h 344"/>
                <a:gd name="T88" fmla="*/ 219 w 288"/>
                <a:gd name="T89" fmla="*/ 287 h 344"/>
                <a:gd name="T90" fmla="*/ 229 w 288"/>
                <a:gd name="T91" fmla="*/ 314 h 344"/>
                <a:gd name="T92" fmla="*/ 227 w 288"/>
                <a:gd name="T93" fmla="*/ 342 h 344"/>
                <a:gd name="T94" fmla="*/ 236 w 288"/>
                <a:gd name="T95" fmla="*/ 333 h 344"/>
                <a:gd name="T96" fmla="*/ 255 w 288"/>
                <a:gd name="T97" fmla="*/ 333 h 344"/>
                <a:gd name="T98" fmla="*/ 278 w 288"/>
                <a:gd name="T99" fmla="*/ 319 h 344"/>
                <a:gd name="T100" fmla="*/ 280 w 288"/>
                <a:gd name="T101" fmla="*/ 289 h 344"/>
                <a:gd name="T102" fmla="*/ 276 w 288"/>
                <a:gd name="T103" fmla="*/ 266 h 344"/>
                <a:gd name="T104" fmla="*/ 265 w 288"/>
                <a:gd name="T105" fmla="*/ 257 h 344"/>
                <a:gd name="T106" fmla="*/ 242 w 288"/>
                <a:gd name="T107" fmla="*/ 259 h 344"/>
                <a:gd name="T108" fmla="*/ 219 w 288"/>
                <a:gd name="T109" fmla="*/ 251 h 344"/>
                <a:gd name="T110" fmla="*/ 229 w 288"/>
                <a:gd name="T111" fmla="*/ 224 h 344"/>
                <a:gd name="T112" fmla="*/ 250 w 288"/>
                <a:gd name="T113" fmla="*/ 209 h 344"/>
                <a:gd name="T114" fmla="*/ 246 w 288"/>
                <a:gd name="T115" fmla="*/ 169 h 344"/>
                <a:gd name="T116" fmla="*/ 240 w 288"/>
                <a:gd name="T117" fmla="*/ 148 h 344"/>
                <a:gd name="T118" fmla="*/ 246 w 288"/>
                <a:gd name="T119" fmla="*/ 125 h 344"/>
                <a:gd name="T120" fmla="*/ 263 w 288"/>
                <a:gd name="T121" fmla="*/ 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8" h="344">
                  <a:moveTo>
                    <a:pt x="288" y="59"/>
                  </a:moveTo>
                  <a:lnTo>
                    <a:pt x="288" y="59"/>
                  </a:lnTo>
                  <a:lnTo>
                    <a:pt x="288" y="59"/>
                  </a:lnTo>
                  <a:lnTo>
                    <a:pt x="284" y="57"/>
                  </a:lnTo>
                  <a:lnTo>
                    <a:pt x="282" y="55"/>
                  </a:lnTo>
                  <a:lnTo>
                    <a:pt x="280" y="55"/>
                  </a:lnTo>
                  <a:lnTo>
                    <a:pt x="278" y="55"/>
                  </a:lnTo>
                  <a:lnTo>
                    <a:pt x="278" y="55"/>
                  </a:lnTo>
                  <a:lnTo>
                    <a:pt x="276" y="55"/>
                  </a:lnTo>
                  <a:lnTo>
                    <a:pt x="274" y="55"/>
                  </a:lnTo>
                  <a:lnTo>
                    <a:pt x="274" y="55"/>
                  </a:lnTo>
                  <a:lnTo>
                    <a:pt x="274" y="55"/>
                  </a:lnTo>
                  <a:lnTo>
                    <a:pt x="276" y="53"/>
                  </a:lnTo>
                  <a:lnTo>
                    <a:pt x="276" y="51"/>
                  </a:lnTo>
                  <a:lnTo>
                    <a:pt x="276" y="51"/>
                  </a:lnTo>
                  <a:lnTo>
                    <a:pt x="274" y="51"/>
                  </a:lnTo>
                  <a:lnTo>
                    <a:pt x="273" y="53"/>
                  </a:lnTo>
                  <a:lnTo>
                    <a:pt x="271" y="55"/>
                  </a:lnTo>
                  <a:lnTo>
                    <a:pt x="269" y="55"/>
                  </a:lnTo>
                  <a:lnTo>
                    <a:pt x="269" y="53"/>
                  </a:lnTo>
                  <a:lnTo>
                    <a:pt x="267" y="53"/>
                  </a:lnTo>
                  <a:lnTo>
                    <a:pt x="267" y="51"/>
                  </a:lnTo>
                  <a:lnTo>
                    <a:pt x="267" y="51"/>
                  </a:lnTo>
                  <a:lnTo>
                    <a:pt x="261" y="51"/>
                  </a:lnTo>
                  <a:lnTo>
                    <a:pt x="261" y="51"/>
                  </a:lnTo>
                  <a:lnTo>
                    <a:pt x="259" y="49"/>
                  </a:lnTo>
                  <a:lnTo>
                    <a:pt x="255" y="47"/>
                  </a:lnTo>
                  <a:lnTo>
                    <a:pt x="253" y="49"/>
                  </a:lnTo>
                  <a:lnTo>
                    <a:pt x="253" y="49"/>
                  </a:lnTo>
                  <a:lnTo>
                    <a:pt x="253" y="49"/>
                  </a:lnTo>
                  <a:lnTo>
                    <a:pt x="253" y="47"/>
                  </a:lnTo>
                  <a:lnTo>
                    <a:pt x="252" y="47"/>
                  </a:lnTo>
                  <a:lnTo>
                    <a:pt x="248" y="42"/>
                  </a:lnTo>
                  <a:lnTo>
                    <a:pt x="246" y="42"/>
                  </a:lnTo>
                  <a:lnTo>
                    <a:pt x="246" y="40"/>
                  </a:lnTo>
                  <a:lnTo>
                    <a:pt x="246" y="38"/>
                  </a:lnTo>
                  <a:lnTo>
                    <a:pt x="248" y="36"/>
                  </a:lnTo>
                  <a:lnTo>
                    <a:pt x="248" y="34"/>
                  </a:lnTo>
                  <a:lnTo>
                    <a:pt x="248" y="32"/>
                  </a:lnTo>
                  <a:lnTo>
                    <a:pt x="248" y="28"/>
                  </a:lnTo>
                  <a:lnTo>
                    <a:pt x="248" y="28"/>
                  </a:lnTo>
                  <a:lnTo>
                    <a:pt x="248" y="27"/>
                  </a:lnTo>
                  <a:lnTo>
                    <a:pt x="246" y="25"/>
                  </a:lnTo>
                  <a:lnTo>
                    <a:pt x="244" y="23"/>
                  </a:lnTo>
                  <a:lnTo>
                    <a:pt x="242" y="21"/>
                  </a:lnTo>
                  <a:lnTo>
                    <a:pt x="238" y="19"/>
                  </a:lnTo>
                  <a:lnTo>
                    <a:pt x="234" y="17"/>
                  </a:lnTo>
                  <a:lnTo>
                    <a:pt x="234" y="17"/>
                  </a:lnTo>
                  <a:lnTo>
                    <a:pt x="234" y="17"/>
                  </a:lnTo>
                  <a:lnTo>
                    <a:pt x="234" y="15"/>
                  </a:lnTo>
                  <a:lnTo>
                    <a:pt x="232" y="15"/>
                  </a:lnTo>
                  <a:lnTo>
                    <a:pt x="232" y="13"/>
                  </a:lnTo>
                  <a:lnTo>
                    <a:pt x="232" y="13"/>
                  </a:lnTo>
                  <a:lnTo>
                    <a:pt x="231" y="13"/>
                  </a:lnTo>
                  <a:lnTo>
                    <a:pt x="231" y="13"/>
                  </a:lnTo>
                  <a:lnTo>
                    <a:pt x="229" y="11"/>
                  </a:lnTo>
                  <a:lnTo>
                    <a:pt x="229" y="9"/>
                  </a:lnTo>
                  <a:lnTo>
                    <a:pt x="229" y="8"/>
                  </a:lnTo>
                  <a:lnTo>
                    <a:pt x="229" y="8"/>
                  </a:lnTo>
                  <a:lnTo>
                    <a:pt x="227" y="6"/>
                  </a:lnTo>
                  <a:lnTo>
                    <a:pt x="225" y="4"/>
                  </a:lnTo>
                  <a:lnTo>
                    <a:pt x="223" y="4"/>
                  </a:lnTo>
                  <a:lnTo>
                    <a:pt x="223" y="4"/>
                  </a:lnTo>
                  <a:lnTo>
                    <a:pt x="221" y="4"/>
                  </a:lnTo>
                  <a:lnTo>
                    <a:pt x="219" y="4"/>
                  </a:lnTo>
                  <a:lnTo>
                    <a:pt x="219" y="4"/>
                  </a:lnTo>
                  <a:lnTo>
                    <a:pt x="217" y="2"/>
                  </a:lnTo>
                  <a:lnTo>
                    <a:pt x="217" y="0"/>
                  </a:lnTo>
                  <a:lnTo>
                    <a:pt x="217" y="0"/>
                  </a:lnTo>
                  <a:lnTo>
                    <a:pt x="217" y="0"/>
                  </a:lnTo>
                  <a:lnTo>
                    <a:pt x="215" y="0"/>
                  </a:lnTo>
                  <a:lnTo>
                    <a:pt x="215" y="0"/>
                  </a:lnTo>
                  <a:lnTo>
                    <a:pt x="213" y="2"/>
                  </a:lnTo>
                  <a:lnTo>
                    <a:pt x="213" y="2"/>
                  </a:lnTo>
                  <a:lnTo>
                    <a:pt x="212" y="4"/>
                  </a:lnTo>
                  <a:lnTo>
                    <a:pt x="213" y="4"/>
                  </a:lnTo>
                  <a:lnTo>
                    <a:pt x="213" y="6"/>
                  </a:lnTo>
                  <a:lnTo>
                    <a:pt x="215" y="8"/>
                  </a:lnTo>
                  <a:lnTo>
                    <a:pt x="215" y="9"/>
                  </a:lnTo>
                  <a:lnTo>
                    <a:pt x="215" y="9"/>
                  </a:lnTo>
                  <a:lnTo>
                    <a:pt x="217" y="9"/>
                  </a:lnTo>
                  <a:lnTo>
                    <a:pt x="217" y="9"/>
                  </a:lnTo>
                  <a:lnTo>
                    <a:pt x="219" y="9"/>
                  </a:lnTo>
                  <a:lnTo>
                    <a:pt x="219" y="11"/>
                  </a:lnTo>
                  <a:lnTo>
                    <a:pt x="219" y="11"/>
                  </a:lnTo>
                  <a:lnTo>
                    <a:pt x="219" y="11"/>
                  </a:lnTo>
                  <a:lnTo>
                    <a:pt x="217" y="13"/>
                  </a:lnTo>
                  <a:lnTo>
                    <a:pt x="217" y="15"/>
                  </a:lnTo>
                  <a:lnTo>
                    <a:pt x="217" y="17"/>
                  </a:lnTo>
                  <a:lnTo>
                    <a:pt x="217" y="17"/>
                  </a:lnTo>
                  <a:lnTo>
                    <a:pt x="217" y="19"/>
                  </a:lnTo>
                  <a:lnTo>
                    <a:pt x="217" y="21"/>
                  </a:lnTo>
                  <a:lnTo>
                    <a:pt x="217" y="21"/>
                  </a:lnTo>
                  <a:lnTo>
                    <a:pt x="217" y="21"/>
                  </a:lnTo>
                  <a:lnTo>
                    <a:pt x="217" y="23"/>
                  </a:lnTo>
                  <a:lnTo>
                    <a:pt x="217" y="25"/>
                  </a:lnTo>
                  <a:lnTo>
                    <a:pt x="217" y="27"/>
                  </a:lnTo>
                  <a:lnTo>
                    <a:pt x="219" y="28"/>
                  </a:lnTo>
                  <a:lnTo>
                    <a:pt x="219" y="27"/>
                  </a:lnTo>
                  <a:lnTo>
                    <a:pt x="219" y="27"/>
                  </a:lnTo>
                  <a:lnTo>
                    <a:pt x="219" y="27"/>
                  </a:lnTo>
                  <a:lnTo>
                    <a:pt x="221" y="27"/>
                  </a:lnTo>
                  <a:lnTo>
                    <a:pt x="221" y="28"/>
                  </a:lnTo>
                  <a:lnTo>
                    <a:pt x="221" y="28"/>
                  </a:lnTo>
                  <a:lnTo>
                    <a:pt x="221" y="30"/>
                  </a:lnTo>
                  <a:lnTo>
                    <a:pt x="221" y="32"/>
                  </a:lnTo>
                  <a:lnTo>
                    <a:pt x="223" y="32"/>
                  </a:lnTo>
                  <a:lnTo>
                    <a:pt x="223" y="32"/>
                  </a:lnTo>
                  <a:lnTo>
                    <a:pt x="223" y="32"/>
                  </a:lnTo>
                  <a:lnTo>
                    <a:pt x="223" y="32"/>
                  </a:lnTo>
                  <a:lnTo>
                    <a:pt x="225" y="34"/>
                  </a:lnTo>
                  <a:lnTo>
                    <a:pt x="225" y="36"/>
                  </a:lnTo>
                  <a:lnTo>
                    <a:pt x="225" y="36"/>
                  </a:lnTo>
                  <a:lnTo>
                    <a:pt x="225" y="36"/>
                  </a:lnTo>
                  <a:lnTo>
                    <a:pt x="225" y="40"/>
                  </a:lnTo>
                  <a:lnTo>
                    <a:pt x="225" y="42"/>
                  </a:lnTo>
                  <a:lnTo>
                    <a:pt x="225" y="44"/>
                  </a:lnTo>
                  <a:lnTo>
                    <a:pt x="225" y="44"/>
                  </a:lnTo>
                  <a:lnTo>
                    <a:pt x="225" y="44"/>
                  </a:lnTo>
                  <a:lnTo>
                    <a:pt x="225" y="46"/>
                  </a:lnTo>
                  <a:lnTo>
                    <a:pt x="225" y="46"/>
                  </a:lnTo>
                  <a:lnTo>
                    <a:pt x="225" y="47"/>
                  </a:lnTo>
                  <a:lnTo>
                    <a:pt x="225" y="47"/>
                  </a:lnTo>
                  <a:lnTo>
                    <a:pt x="225" y="47"/>
                  </a:lnTo>
                  <a:lnTo>
                    <a:pt x="225" y="51"/>
                  </a:lnTo>
                  <a:lnTo>
                    <a:pt x="225" y="53"/>
                  </a:lnTo>
                  <a:lnTo>
                    <a:pt x="225" y="57"/>
                  </a:lnTo>
                  <a:lnTo>
                    <a:pt x="225" y="57"/>
                  </a:lnTo>
                  <a:lnTo>
                    <a:pt x="225" y="59"/>
                  </a:lnTo>
                  <a:lnTo>
                    <a:pt x="225" y="61"/>
                  </a:lnTo>
                  <a:lnTo>
                    <a:pt x="223" y="61"/>
                  </a:lnTo>
                  <a:lnTo>
                    <a:pt x="223" y="63"/>
                  </a:lnTo>
                  <a:lnTo>
                    <a:pt x="221" y="61"/>
                  </a:lnTo>
                  <a:lnTo>
                    <a:pt x="221" y="61"/>
                  </a:lnTo>
                  <a:lnTo>
                    <a:pt x="221" y="57"/>
                  </a:lnTo>
                  <a:lnTo>
                    <a:pt x="219" y="55"/>
                  </a:lnTo>
                  <a:lnTo>
                    <a:pt x="219" y="55"/>
                  </a:lnTo>
                  <a:lnTo>
                    <a:pt x="217" y="55"/>
                  </a:lnTo>
                  <a:lnTo>
                    <a:pt x="215" y="55"/>
                  </a:lnTo>
                  <a:lnTo>
                    <a:pt x="213" y="55"/>
                  </a:lnTo>
                  <a:lnTo>
                    <a:pt x="212" y="53"/>
                  </a:lnTo>
                  <a:lnTo>
                    <a:pt x="212" y="53"/>
                  </a:lnTo>
                  <a:lnTo>
                    <a:pt x="210" y="55"/>
                  </a:lnTo>
                  <a:lnTo>
                    <a:pt x="208" y="55"/>
                  </a:lnTo>
                  <a:lnTo>
                    <a:pt x="208" y="57"/>
                  </a:lnTo>
                  <a:lnTo>
                    <a:pt x="208" y="59"/>
                  </a:lnTo>
                  <a:lnTo>
                    <a:pt x="208" y="61"/>
                  </a:lnTo>
                  <a:lnTo>
                    <a:pt x="208" y="61"/>
                  </a:lnTo>
                  <a:lnTo>
                    <a:pt x="208" y="61"/>
                  </a:lnTo>
                  <a:lnTo>
                    <a:pt x="210" y="61"/>
                  </a:lnTo>
                  <a:lnTo>
                    <a:pt x="210" y="61"/>
                  </a:lnTo>
                  <a:lnTo>
                    <a:pt x="210" y="61"/>
                  </a:lnTo>
                  <a:lnTo>
                    <a:pt x="210" y="63"/>
                  </a:lnTo>
                  <a:lnTo>
                    <a:pt x="210" y="63"/>
                  </a:lnTo>
                  <a:lnTo>
                    <a:pt x="208" y="65"/>
                  </a:lnTo>
                  <a:lnTo>
                    <a:pt x="202" y="68"/>
                  </a:lnTo>
                  <a:lnTo>
                    <a:pt x="200" y="68"/>
                  </a:lnTo>
                  <a:lnTo>
                    <a:pt x="198" y="70"/>
                  </a:lnTo>
                  <a:lnTo>
                    <a:pt x="198" y="70"/>
                  </a:lnTo>
                  <a:lnTo>
                    <a:pt x="194" y="72"/>
                  </a:lnTo>
                  <a:lnTo>
                    <a:pt x="192" y="72"/>
                  </a:lnTo>
                  <a:lnTo>
                    <a:pt x="191" y="74"/>
                  </a:lnTo>
                  <a:lnTo>
                    <a:pt x="191" y="74"/>
                  </a:lnTo>
                  <a:lnTo>
                    <a:pt x="191" y="76"/>
                  </a:lnTo>
                  <a:lnTo>
                    <a:pt x="191" y="76"/>
                  </a:lnTo>
                  <a:lnTo>
                    <a:pt x="192" y="76"/>
                  </a:lnTo>
                  <a:lnTo>
                    <a:pt x="192" y="76"/>
                  </a:lnTo>
                  <a:lnTo>
                    <a:pt x="192" y="76"/>
                  </a:lnTo>
                  <a:lnTo>
                    <a:pt x="192" y="76"/>
                  </a:lnTo>
                  <a:lnTo>
                    <a:pt x="194" y="74"/>
                  </a:lnTo>
                  <a:lnTo>
                    <a:pt x="194" y="74"/>
                  </a:lnTo>
                  <a:lnTo>
                    <a:pt x="196" y="74"/>
                  </a:lnTo>
                  <a:lnTo>
                    <a:pt x="196" y="74"/>
                  </a:lnTo>
                  <a:lnTo>
                    <a:pt x="196" y="74"/>
                  </a:lnTo>
                  <a:lnTo>
                    <a:pt x="196" y="74"/>
                  </a:lnTo>
                  <a:lnTo>
                    <a:pt x="196" y="74"/>
                  </a:lnTo>
                  <a:lnTo>
                    <a:pt x="196" y="76"/>
                  </a:lnTo>
                  <a:lnTo>
                    <a:pt x="196" y="76"/>
                  </a:lnTo>
                  <a:lnTo>
                    <a:pt x="198" y="76"/>
                  </a:lnTo>
                  <a:lnTo>
                    <a:pt x="198" y="76"/>
                  </a:lnTo>
                  <a:lnTo>
                    <a:pt x="198" y="78"/>
                  </a:lnTo>
                  <a:lnTo>
                    <a:pt x="200" y="78"/>
                  </a:lnTo>
                  <a:lnTo>
                    <a:pt x="200" y="78"/>
                  </a:lnTo>
                  <a:lnTo>
                    <a:pt x="200" y="78"/>
                  </a:lnTo>
                  <a:lnTo>
                    <a:pt x="200" y="78"/>
                  </a:lnTo>
                  <a:lnTo>
                    <a:pt x="200" y="80"/>
                  </a:lnTo>
                  <a:lnTo>
                    <a:pt x="200" y="80"/>
                  </a:lnTo>
                  <a:lnTo>
                    <a:pt x="200" y="80"/>
                  </a:lnTo>
                  <a:lnTo>
                    <a:pt x="200" y="82"/>
                  </a:lnTo>
                  <a:lnTo>
                    <a:pt x="200" y="84"/>
                  </a:lnTo>
                  <a:lnTo>
                    <a:pt x="200" y="84"/>
                  </a:lnTo>
                  <a:lnTo>
                    <a:pt x="200" y="85"/>
                  </a:lnTo>
                  <a:lnTo>
                    <a:pt x="196" y="87"/>
                  </a:lnTo>
                  <a:lnTo>
                    <a:pt x="191" y="91"/>
                  </a:lnTo>
                  <a:lnTo>
                    <a:pt x="187" y="91"/>
                  </a:lnTo>
                  <a:lnTo>
                    <a:pt x="187" y="91"/>
                  </a:lnTo>
                  <a:lnTo>
                    <a:pt x="185" y="89"/>
                  </a:lnTo>
                  <a:lnTo>
                    <a:pt x="183" y="89"/>
                  </a:lnTo>
                  <a:lnTo>
                    <a:pt x="183" y="89"/>
                  </a:lnTo>
                  <a:lnTo>
                    <a:pt x="181" y="87"/>
                  </a:lnTo>
                  <a:lnTo>
                    <a:pt x="181" y="85"/>
                  </a:lnTo>
                  <a:lnTo>
                    <a:pt x="181" y="82"/>
                  </a:lnTo>
                  <a:lnTo>
                    <a:pt x="179" y="80"/>
                  </a:lnTo>
                  <a:lnTo>
                    <a:pt x="179" y="80"/>
                  </a:lnTo>
                  <a:lnTo>
                    <a:pt x="179" y="80"/>
                  </a:lnTo>
                  <a:lnTo>
                    <a:pt x="177" y="80"/>
                  </a:lnTo>
                  <a:lnTo>
                    <a:pt x="177" y="82"/>
                  </a:lnTo>
                  <a:lnTo>
                    <a:pt x="177" y="82"/>
                  </a:lnTo>
                  <a:lnTo>
                    <a:pt x="177" y="82"/>
                  </a:lnTo>
                  <a:lnTo>
                    <a:pt x="177" y="84"/>
                  </a:lnTo>
                  <a:lnTo>
                    <a:pt x="177" y="84"/>
                  </a:lnTo>
                  <a:lnTo>
                    <a:pt x="177" y="84"/>
                  </a:lnTo>
                  <a:lnTo>
                    <a:pt x="177" y="85"/>
                  </a:lnTo>
                  <a:lnTo>
                    <a:pt x="177" y="87"/>
                  </a:lnTo>
                  <a:lnTo>
                    <a:pt x="177" y="87"/>
                  </a:lnTo>
                  <a:lnTo>
                    <a:pt x="175" y="87"/>
                  </a:lnTo>
                  <a:lnTo>
                    <a:pt x="175" y="87"/>
                  </a:lnTo>
                  <a:lnTo>
                    <a:pt x="175" y="87"/>
                  </a:lnTo>
                  <a:lnTo>
                    <a:pt x="175" y="87"/>
                  </a:lnTo>
                  <a:lnTo>
                    <a:pt x="173" y="85"/>
                  </a:lnTo>
                  <a:lnTo>
                    <a:pt x="173" y="85"/>
                  </a:lnTo>
                  <a:lnTo>
                    <a:pt x="172" y="85"/>
                  </a:lnTo>
                  <a:lnTo>
                    <a:pt x="172" y="85"/>
                  </a:lnTo>
                  <a:lnTo>
                    <a:pt x="172" y="85"/>
                  </a:lnTo>
                  <a:lnTo>
                    <a:pt x="172" y="87"/>
                  </a:lnTo>
                  <a:lnTo>
                    <a:pt x="172" y="87"/>
                  </a:lnTo>
                  <a:lnTo>
                    <a:pt x="172" y="87"/>
                  </a:lnTo>
                  <a:lnTo>
                    <a:pt x="172" y="89"/>
                  </a:lnTo>
                  <a:lnTo>
                    <a:pt x="170" y="89"/>
                  </a:lnTo>
                  <a:lnTo>
                    <a:pt x="170" y="89"/>
                  </a:lnTo>
                  <a:lnTo>
                    <a:pt x="168" y="87"/>
                  </a:lnTo>
                  <a:lnTo>
                    <a:pt x="168" y="87"/>
                  </a:lnTo>
                  <a:lnTo>
                    <a:pt x="166" y="87"/>
                  </a:lnTo>
                  <a:lnTo>
                    <a:pt x="166" y="87"/>
                  </a:lnTo>
                  <a:lnTo>
                    <a:pt x="162" y="85"/>
                  </a:lnTo>
                  <a:lnTo>
                    <a:pt x="162" y="85"/>
                  </a:lnTo>
                  <a:lnTo>
                    <a:pt x="162" y="85"/>
                  </a:lnTo>
                  <a:lnTo>
                    <a:pt x="160" y="85"/>
                  </a:lnTo>
                  <a:lnTo>
                    <a:pt x="160" y="87"/>
                  </a:lnTo>
                  <a:lnTo>
                    <a:pt x="160" y="87"/>
                  </a:lnTo>
                  <a:lnTo>
                    <a:pt x="160" y="87"/>
                  </a:lnTo>
                  <a:lnTo>
                    <a:pt x="162" y="89"/>
                  </a:lnTo>
                  <a:lnTo>
                    <a:pt x="162" y="89"/>
                  </a:lnTo>
                  <a:lnTo>
                    <a:pt x="164" y="89"/>
                  </a:lnTo>
                  <a:lnTo>
                    <a:pt x="164" y="89"/>
                  </a:lnTo>
                  <a:lnTo>
                    <a:pt x="166" y="91"/>
                  </a:lnTo>
                  <a:lnTo>
                    <a:pt x="164" y="91"/>
                  </a:lnTo>
                  <a:lnTo>
                    <a:pt x="162" y="91"/>
                  </a:lnTo>
                  <a:lnTo>
                    <a:pt x="162" y="91"/>
                  </a:lnTo>
                  <a:lnTo>
                    <a:pt x="162" y="91"/>
                  </a:lnTo>
                  <a:lnTo>
                    <a:pt x="162" y="93"/>
                  </a:lnTo>
                  <a:lnTo>
                    <a:pt x="162" y="93"/>
                  </a:lnTo>
                  <a:lnTo>
                    <a:pt x="162" y="93"/>
                  </a:lnTo>
                  <a:lnTo>
                    <a:pt x="162" y="95"/>
                  </a:lnTo>
                  <a:lnTo>
                    <a:pt x="162" y="95"/>
                  </a:lnTo>
                  <a:lnTo>
                    <a:pt x="162" y="95"/>
                  </a:lnTo>
                  <a:lnTo>
                    <a:pt x="162" y="95"/>
                  </a:lnTo>
                  <a:lnTo>
                    <a:pt x="160" y="97"/>
                  </a:lnTo>
                  <a:lnTo>
                    <a:pt x="160" y="97"/>
                  </a:lnTo>
                  <a:lnTo>
                    <a:pt x="158" y="103"/>
                  </a:lnTo>
                  <a:lnTo>
                    <a:pt x="158" y="104"/>
                  </a:lnTo>
                  <a:lnTo>
                    <a:pt x="158" y="106"/>
                  </a:lnTo>
                  <a:lnTo>
                    <a:pt x="158" y="106"/>
                  </a:lnTo>
                  <a:lnTo>
                    <a:pt x="158" y="108"/>
                  </a:lnTo>
                  <a:lnTo>
                    <a:pt x="158" y="108"/>
                  </a:lnTo>
                  <a:lnTo>
                    <a:pt x="158" y="110"/>
                  </a:lnTo>
                  <a:lnTo>
                    <a:pt x="160" y="110"/>
                  </a:lnTo>
                  <a:lnTo>
                    <a:pt x="160" y="110"/>
                  </a:lnTo>
                  <a:lnTo>
                    <a:pt x="162" y="112"/>
                  </a:lnTo>
                  <a:lnTo>
                    <a:pt x="162" y="112"/>
                  </a:lnTo>
                  <a:lnTo>
                    <a:pt x="162" y="114"/>
                  </a:lnTo>
                  <a:lnTo>
                    <a:pt x="162" y="116"/>
                  </a:lnTo>
                  <a:lnTo>
                    <a:pt x="158" y="116"/>
                  </a:lnTo>
                  <a:lnTo>
                    <a:pt x="156" y="118"/>
                  </a:lnTo>
                  <a:lnTo>
                    <a:pt x="154" y="120"/>
                  </a:lnTo>
                  <a:lnTo>
                    <a:pt x="152" y="120"/>
                  </a:lnTo>
                  <a:lnTo>
                    <a:pt x="149" y="122"/>
                  </a:lnTo>
                  <a:lnTo>
                    <a:pt x="147" y="125"/>
                  </a:lnTo>
                  <a:lnTo>
                    <a:pt x="145" y="125"/>
                  </a:lnTo>
                  <a:lnTo>
                    <a:pt x="145" y="125"/>
                  </a:lnTo>
                  <a:lnTo>
                    <a:pt x="141" y="125"/>
                  </a:lnTo>
                  <a:lnTo>
                    <a:pt x="141" y="125"/>
                  </a:lnTo>
                  <a:lnTo>
                    <a:pt x="139" y="127"/>
                  </a:lnTo>
                  <a:lnTo>
                    <a:pt x="137" y="127"/>
                  </a:lnTo>
                  <a:lnTo>
                    <a:pt x="135" y="127"/>
                  </a:lnTo>
                  <a:lnTo>
                    <a:pt x="133" y="127"/>
                  </a:lnTo>
                  <a:lnTo>
                    <a:pt x="131" y="127"/>
                  </a:lnTo>
                  <a:lnTo>
                    <a:pt x="130" y="125"/>
                  </a:lnTo>
                  <a:lnTo>
                    <a:pt x="130" y="125"/>
                  </a:lnTo>
                  <a:lnTo>
                    <a:pt x="128" y="122"/>
                  </a:lnTo>
                  <a:lnTo>
                    <a:pt x="128" y="122"/>
                  </a:lnTo>
                  <a:lnTo>
                    <a:pt x="126" y="120"/>
                  </a:lnTo>
                  <a:lnTo>
                    <a:pt x="126" y="118"/>
                  </a:lnTo>
                  <a:lnTo>
                    <a:pt x="124" y="118"/>
                  </a:lnTo>
                  <a:lnTo>
                    <a:pt x="122" y="118"/>
                  </a:lnTo>
                  <a:lnTo>
                    <a:pt x="122" y="118"/>
                  </a:lnTo>
                  <a:lnTo>
                    <a:pt x="120" y="118"/>
                  </a:lnTo>
                  <a:lnTo>
                    <a:pt x="116" y="120"/>
                  </a:lnTo>
                  <a:lnTo>
                    <a:pt x="116" y="122"/>
                  </a:lnTo>
                  <a:lnTo>
                    <a:pt x="116" y="122"/>
                  </a:lnTo>
                  <a:lnTo>
                    <a:pt x="116" y="124"/>
                  </a:lnTo>
                  <a:lnTo>
                    <a:pt x="116" y="124"/>
                  </a:lnTo>
                  <a:lnTo>
                    <a:pt x="114" y="124"/>
                  </a:lnTo>
                  <a:lnTo>
                    <a:pt x="114" y="125"/>
                  </a:lnTo>
                  <a:lnTo>
                    <a:pt x="111" y="124"/>
                  </a:lnTo>
                  <a:lnTo>
                    <a:pt x="109" y="124"/>
                  </a:lnTo>
                  <a:lnTo>
                    <a:pt x="107" y="125"/>
                  </a:lnTo>
                  <a:lnTo>
                    <a:pt x="105" y="125"/>
                  </a:lnTo>
                  <a:lnTo>
                    <a:pt x="103" y="125"/>
                  </a:lnTo>
                  <a:lnTo>
                    <a:pt x="99" y="124"/>
                  </a:lnTo>
                  <a:lnTo>
                    <a:pt x="99" y="122"/>
                  </a:lnTo>
                  <a:lnTo>
                    <a:pt x="99" y="124"/>
                  </a:lnTo>
                  <a:lnTo>
                    <a:pt x="97" y="122"/>
                  </a:lnTo>
                  <a:lnTo>
                    <a:pt x="93" y="122"/>
                  </a:lnTo>
                  <a:lnTo>
                    <a:pt x="91" y="120"/>
                  </a:lnTo>
                  <a:lnTo>
                    <a:pt x="91" y="120"/>
                  </a:lnTo>
                  <a:lnTo>
                    <a:pt x="90" y="120"/>
                  </a:lnTo>
                  <a:lnTo>
                    <a:pt x="90" y="124"/>
                  </a:lnTo>
                  <a:lnTo>
                    <a:pt x="88" y="125"/>
                  </a:lnTo>
                  <a:lnTo>
                    <a:pt x="84" y="129"/>
                  </a:lnTo>
                  <a:lnTo>
                    <a:pt x="84" y="131"/>
                  </a:lnTo>
                  <a:lnTo>
                    <a:pt x="82" y="133"/>
                  </a:lnTo>
                  <a:lnTo>
                    <a:pt x="82" y="133"/>
                  </a:lnTo>
                  <a:lnTo>
                    <a:pt x="82" y="135"/>
                  </a:lnTo>
                  <a:lnTo>
                    <a:pt x="82" y="135"/>
                  </a:lnTo>
                  <a:lnTo>
                    <a:pt x="80" y="135"/>
                  </a:lnTo>
                  <a:lnTo>
                    <a:pt x="80" y="137"/>
                  </a:lnTo>
                  <a:lnTo>
                    <a:pt x="80" y="135"/>
                  </a:lnTo>
                  <a:lnTo>
                    <a:pt x="78" y="135"/>
                  </a:lnTo>
                  <a:lnTo>
                    <a:pt x="78" y="137"/>
                  </a:lnTo>
                  <a:lnTo>
                    <a:pt x="76" y="139"/>
                  </a:lnTo>
                  <a:lnTo>
                    <a:pt x="76" y="141"/>
                  </a:lnTo>
                  <a:lnTo>
                    <a:pt x="76" y="141"/>
                  </a:lnTo>
                  <a:lnTo>
                    <a:pt x="76" y="143"/>
                  </a:lnTo>
                  <a:lnTo>
                    <a:pt x="76" y="143"/>
                  </a:lnTo>
                  <a:lnTo>
                    <a:pt x="78" y="144"/>
                  </a:lnTo>
                  <a:lnTo>
                    <a:pt x="76" y="144"/>
                  </a:lnTo>
                  <a:lnTo>
                    <a:pt x="76" y="144"/>
                  </a:lnTo>
                  <a:lnTo>
                    <a:pt x="74" y="146"/>
                  </a:lnTo>
                  <a:lnTo>
                    <a:pt x="72" y="146"/>
                  </a:lnTo>
                  <a:lnTo>
                    <a:pt x="71" y="146"/>
                  </a:lnTo>
                  <a:lnTo>
                    <a:pt x="71" y="144"/>
                  </a:lnTo>
                  <a:lnTo>
                    <a:pt x="71" y="143"/>
                  </a:lnTo>
                  <a:lnTo>
                    <a:pt x="71" y="143"/>
                  </a:lnTo>
                  <a:lnTo>
                    <a:pt x="69" y="143"/>
                  </a:lnTo>
                  <a:lnTo>
                    <a:pt x="69" y="141"/>
                  </a:lnTo>
                  <a:lnTo>
                    <a:pt x="69" y="141"/>
                  </a:lnTo>
                  <a:lnTo>
                    <a:pt x="69" y="141"/>
                  </a:lnTo>
                  <a:lnTo>
                    <a:pt x="69" y="139"/>
                  </a:lnTo>
                  <a:lnTo>
                    <a:pt x="67" y="139"/>
                  </a:lnTo>
                  <a:lnTo>
                    <a:pt x="67" y="137"/>
                  </a:lnTo>
                  <a:lnTo>
                    <a:pt x="67" y="137"/>
                  </a:lnTo>
                  <a:lnTo>
                    <a:pt x="67" y="137"/>
                  </a:lnTo>
                  <a:lnTo>
                    <a:pt x="67" y="137"/>
                  </a:lnTo>
                  <a:lnTo>
                    <a:pt x="67" y="137"/>
                  </a:lnTo>
                  <a:lnTo>
                    <a:pt x="67" y="135"/>
                  </a:lnTo>
                  <a:lnTo>
                    <a:pt x="65" y="135"/>
                  </a:lnTo>
                  <a:lnTo>
                    <a:pt x="65" y="133"/>
                  </a:lnTo>
                  <a:lnTo>
                    <a:pt x="65" y="133"/>
                  </a:lnTo>
                  <a:lnTo>
                    <a:pt x="65" y="133"/>
                  </a:lnTo>
                  <a:lnTo>
                    <a:pt x="67" y="133"/>
                  </a:lnTo>
                  <a:lnTo>
                    <a:pt x="67" y="133"/>
                  </a:lnTo>
                  <a:lnTo>
                    <a:pt x="67" y="131"/>
                  </a:lnTo>
                  <a:lnTo>
                    <a:pt x="69" y="131"/>
                  </a:lnTo>
                  <a:lnTo>
                    <a:pt x="69" y="131"/>
                  </a:lnTo>
                  <a:lnTo>
                    <a:pt x="69" y="131"/>
                  </a:lnTo>
                  <a:lnTo>
                    <a:pt x="69" y="129"/>
                  </a:lnTo>
                  <a:lnTo>
                    <a:pt x="69" y="127"/>
                  </a:lnTo>
                  <a:lnTo>
                    <a:pt x="69" y="127"/>
                  </a:lnTo>
                  <a:lnTo>
                    <a:pt x="69" y="127"/>
                  </a:lnTo>
                  <a:lnTo>
                    <a:pt x="69" y="127"/>
                  </a:lnTo>
                  <a:lnTo>
                    <a:pt x="69" y="127"/>
                  </a:lnTo>
                  <a:lnTo>
                    <a:pt x="69" y="127"/>
                  </a:lnTo>
                  <a:lnTo>
                    <a:pt x="69" y="127"/>
                  </a:lnTo>
                  <a:lnTo>
                    <a:pt x="71" y="127"/>
                  </a:lnTo>
                  <a:lnTo>
                    <a:pt x="71" y="127"/>
                  </a:lnTo>
                  <a:lnTo>
                    <a:pt x="71" y="127"/>
                  </a:lnTo>
                  <a:lnTo>
                    <a:pt x="71" y="127"/>
                  </a:lnTo>
                  <a:lnTo>
                    <a:pt x="71" y="127"/>
                  </a:lnTo>
                  <a:lnTo>
                    <a:pt x="71" y="125"/>
                  </a:lnTo>
                  <a:lnTo>
                    <a:pt x="71" y="125"/>
                  </a:lnTo>
                  <a:lnTo>
                    <a:pt x="71" y="125"/>
                  </a:lnTo>
                  <a:lnTo>
                    <a:pt x="69" y="124"/>
                  </a:lnTo>
                  <a:lnTo>
                    <a:pt x="69" y="122"/>
                  </a:lnTo>
                  <a:lnTo>
                    <a:pt x="69" y="120"/>
                  </a:lnTo>
                  <a:lnTo>
                    <a:pt x="67" y="120"/>
                  </a:lnTo>
                  <a:lnTo>
                    <a:pt x="67" y="118"/>
                  </a:lnTo>
                  <a:lnTo>
                    <a:pt x="67" y="118"/>
                  </a:lnTo>
                  <a:lnTo>
                    <a:pt x="67" y="118"/>
                  </a:lnTo>
                  <a:lnTo>
                    <a:pt x="67" y="118"/>
                  </a:lnTo>
                  <a:lnTo>
                    <a:pt x="65" y="118"/>
                  </a:lnTo>
                  <a:lnTo>
                    <a:pt x="65" y="118"/>
                  </a:lnTo>
                  <a:lnTo>
                    <a:pt x="63" y="120"/>
                  </a:lnTo>
                  <a:lnTo>
                    <a:pt x="63" y="120"/>
                  </a:lnTo>
                  <a:lnTo>
                    <a:pt x="63" y="122"/>
                  </a:lnTo>
                  <a:lnTo>
                    <a:pt x="63" y="122"/>
                  </a:lnTo>
                  <a:lnTo>
                    <a:pt x="63" y="122"/>
                  </a:lnTo>
                  <a:lnTo>
                    <a:pt x="63" y="122"/>
                  </a:lnTo>
                  <a:lnTo>
                    <a:pt x="63" y="122"/>
                  </a:lnTo>
                  <a:lnTo>
                    <a:pt x="61" y="120"/>
                  </a:lnTo>
                  <a:lnTo>
                    <a:pt x="61" y="120"/>
                  </a:lnTo>
                  <a:lnTo>
                    <a:pt x="59" y="120"/>
                  </a:lnTo>
                  <a:lnTo>
                    <a:pt x="59" y="118"/>
                  </a:lnTo>
                  <a:lnTo>
                    <a:pt x="59" y="118"/>
                  </a:lnTo>
                  <a:lnTo>
                    <a:pt x="59" y="116"/>
                  </a:lnTo>
                  <a:lnTo>
                    <a:pt x="59" y="116"/>
                  </a:lnTo>
                  <a:lnTo>
                    <a:pt x="59" y="114"/>
                  </a:lnTo>
                  <a:lnTo>
                    <a:pt x="57" y="114"/>
                  </a:lnTo>
                  <a:lnTo>
                    <a:pt x="57" y="114"/>
                  </a:lnTo>
                  <a:lnTo>
                    <a:pt x="57" y="114"/>
                  </a:lnTo>
                  <a:lnTo>
                    <a:pt x="57" y="114"/>
                  </a:lnTo>
                  <a:lnTo>
                    <a:pt x="59" y="114"/>
                  </a:lnTo>
                  <a:lnTo>
                    <a:pt x="59" y="112"/>
                  </a:lnTo>
                  <a:lnTo>
                    <a:pt x="59" y="112"/>
                  </a:lnTo>
                  <a:lnTo>
                    <a:pt x="59" y="112"/>
                  </a:lnTo>
                  <a:lnTo>
                    <a:pt x="59" y="110"/>
                  </a:lnTo>
                  <a:lnTo>
                    <a:pt x="59" y="110"/>
                  </a:lnTo>
                  <a:lnTo>
                    <a:pt x="59" y="108"/>
                  </a:lnTo>
                  <a:lnTo>
                    <a:pt x="59" y="108"/>
                  </a:lnTo>
                  <a:lnTo>
                    <a:pt x="57" y="108"/>
                  </a:lnTo>
                  <a:lnTo>
                    <a:pt x="57" y="108"/>
                  </a:lnTo>
                  <a:lnTo>
                    <a:pt x="57" y="108"/>
                  </a:lnTo>
                  <a:lnTo>
                    <a:pt x="57" y="108"/>
                  </a:lnTo>
                  <a:lnTo>
                    <a:pt x="57" y="110"/>
                  </a:lnTo>
                  <a:lnTo>
                    <a:pt x="57" y="110"/>
                  </a:lnTo>
                  <a:lnTo>
                    <a:pt x="57" y="110"/>
                  </a:lnTo>
                  <a:lnTo>
                    <a:pt x="55" y="112"/>
                  </a:lnTo>
                  <a:lnTo>
                    <a:pt x="55" y="112"/>
                  </a:lnTo>
                  <a:lnTo>
                    <a:pt x="55" y="112"/>
                  </a:lnTo>
                  <a:lnTo>
                    <a:pt x="53" y="112"/>
                  </a:lnTo>
                  <a:lnTo>
                    <a:pt x="51" y="114"/>
                  </a:lnTo>
                  <a:lnTo>
                    <a:pt x="50" y="114"/>
                  </a:lnTo>
                  <a:lnTo>
                    <a:pt x="50" y="114"/>
                  </a:lnTo>
                  <a:lnTo>
                    <a:pt x="48" y="112"/>
                  </a:lnTo>
                  <a:lnTo>
                    <a:pt x="48" y="112"/>
                  </a:lnTo>
                  <a:lnTo>
                    <a:pt x="48" y="112"/>
                  </a:lnTo>
                  <a:lnTo>
                    <a:pt x="46" y="112"/>
                  </a:lnTo>
                  <a:lnTo>
                    <a:pt x="44" y="110"/>
                  </a:lnTo>
                  <a:lnTo>
                    <a:pt x="44" y="110"/>
                  </a:lnTo>
                  <a:lnTo>
                    <a:pt x="44" y="108"/>
                  </a:lnTo>
                  <a:lnTo>
                    <a:pt x="44" y="108"/>
                  </a:lnTo>
                  <a:lnTo>
                    <a:pt x="44" y="106"/>
                  </a:lnTo>
                  <a:lnTo>
                    <a:pt x="42" y="106"/>
                  </a:lnTo>
                  <a:lnTo>
                    <a:pt x="42" y="106"/>
                  </a:lnTo>
                  <a:lnTo>
                    <a:pt x="42" y="106"/>
                  </a:lnTo>
                  <a:lnTo>
                    <a:pt x="42" y="104"/>
                  </a:lnTo>
                  <a:lnTo>
                    <a:pt x="40" y="104"/>
                  </a:lnTo>
                  <a:lnTo>
                    <a:pt x="36" y="104"/>
                  </a:lnTo>
                  <a:lnTo>
                    <a:pt x="34" y="104"/>
                  </a:lnTo>
                  <a:lnTo>
                    <a:pt x="34" y="103"/>
                  </a:lnTo>
                  <a:lnTo>
                    <a:pt x="34" y="103"/>
                  </a:lnTo>
                  <a:lnTo>
                    <a:pt x="32" y="103"/>
                  </a:lnTo>
                  <a:lnTo>
                    <a:pt x="32" y="101"/>
                  </a:lnTo>
                  <a:lnTo>
                    <a:pt x="32" y="101"/>
                  </a:lnTo>
                  <a:lnTo>
                    <a:pt x="30" y="101"/>
                  </a:lnTo>
                  <a:lnTo>
                    <a:pt x="29" y="103"/>
                  </a:lnTo>
                  <a:lnTo>
                    <a:pt x="25" y="103"/>
                  </a:lnTo>
                  <a:lnTo>
                    <a:pt x="25" y="103"/>
                  </a:lnTo>
                  <a:lnTo>
                    <a:pt x="23" y="103"/>
                  </a:lnTo>
                  <a:lnTo>
                    <a:pt x="23" y="103"/>
                  </a:lnTo>
                  <a:lnTo>
                    <a:pt x="19" y="106"/>
                  </a:lnTo>
                  <a:lnTo>
                    <a:pt x="19" y="106"/>
                  </a:lnTo>
                  <a:lnTo>
                    <a:pt x="19" y="106"/>
                  </a:lnTo>
                  <a:lnTo>
                    <a:pt x="17" y="108"/>
                  </a:lnTo>
                  <a:lnTo>
                    <a:pt x="17" y="108"/>
                  </a:lnTo>
                  <a:lnTo>
                    <a:pt x="17" y="108"/>
                  </a:lnTo>
                  <a:lnTo>
                    <a:pt x="15" y="108"/>
                  </a:lnTo>
                  <a:lnTo>
                    <a:pt x="10" y="106"/>
                  </a:lnTo>
                  <a:lnTo>
                    <a:pt x="4" y="106"/>
                  </a:lnTo>
                  <a:lnTo>
                    <a:pt x="4" y="108"/>
                  </a:lnTo>
                  <a:lnTo>
                    <a:pt x="4" y="110"/>
                  </a:lnTo>
                  <a:lnTo>
                    <a:pt x="6" y="110"/>
                  </a:lnTo>
                  <a:lnTo>
                    <a:pt x="6" y="110"/>
                  </a:lnTo>
                  <a:lnTo>
                    <a:pt x="8" y="112"/>
                  </a:lnTo>
                  <a:lnTo>
                    <a:pt x="8" y="112"/>
                  </a:lnTo>
                  <a:lnTo>
                    <a:pt x="8" y="114"/>
                  </a:lnTo>
                  <a:lnTo>
                    <a:pt x="8" y="114"/>
                  </a:lnTo>
                  <a:lnTo>
                    <a:pt x="8" y="116"/>
                  </a:lnTo>
                  <a:lnTo>
                    <a:pt x="6" y="116"/>
                  </a:lnTo>
                  <a:lnTo>
                    <a:pt x="6" y="118"/>
                  </a:lnTo>
                  <a:lnTo>
                    <a:pt x="2" y="118"/>
                  </a:lnTo>
                  <a:lnTo>
                    <a:pt x="2" y="118"/>
                  </a:lnTo>
                  <a:lnTo>
                    <a:pt x="2" y="118"/>
                  </a:lnTo>
                  <a:lnTo>
                    <a:pt x="0" y="120"/>
                  </a:lnTo>
                  <a:lnTo>
                    <a:pt x="0" y="122"/>
                  </a:lnTo>
                  <a:lnTo>
                    <a:pt x="0" y="124"/>
                  </a:lnTo>
                  <a:lnTo>
                    <a:pt x="0" y="125"/>
                  </a:lnTo>
                  <a:lnTo>
                    <a:pt x="0" y="125"/>
                  </a:lnTo>
                  <a:lnTo>
                    <a:pt x="0" y="127"/>
                  </a:lnTo>
                  <a:lnTo>
                    <a:pt x="2" y="127"/>
                  </a:lnTo>
                  <a:lnTo>
                    <a:pt x="2" y="127"/>
                  </a:lnTo>
                  <a:lnTo>
                    <a:pt x="4" y="127"/>
                  </a:lnTo>
                  <a:lnTo>
                    <a:pt x="4" y="127"/>
                  </a:lnTo>
                  <a:lnTo>
                    <a:pt x="4" y="127"/>
                  </a:lnTo>
                  <a:lnTo>
                    <a:pt x="6" y="127"/>
                  </a:lnTo>
                  <a:lnTo>
                    <a:pt x="6" y="127"/>
                  </a:lnTo>
                  <a:lnTo>
                    <a:pt x="8" y="125"/>
                  </a:lnTo>
                  <a:lnTo>
                    <a:pt x="8" y="125"/>
                  </a:lnTo>
                  <a:lnTo>
                    <a:pt x="10" y="125"/>
                  </a:lnTo>
                  <a:lnTo>
                    <a:pt x="10" y="125"/>
                  </a:lnTo>
                  <a:lnTo>
                    <a:pt x="10" y="125"/>
                  </a:lnTo>
                  <a:lnTo>
                    <a:pt x="10" y="125"/>
                  </a:lnTo>
                  <a:lnTo>
                    <a:pt x="10" y="125"/>
                  </a:lnTo>
                  <a:lnTo>
                    <a:pt x="11" y="124"/>
                  </a:lnTo>
                  <a:lnTo>
                    <a:pt x="11" y="125"/>
                  </a:lnTo>
                  <a:lnTo>
                    <a:pt x="11" y="125"/>
                  </a:lnTo>
                  <a:lnTo>
                    <a:pt x="13" y="125"/>
                  </a:lnTo>
                  <a:lnTo>
                    <a:pt x="13" y="127"/>
                  </a:lnTo>
                  <a:lnTo>
                    <a:pt x="13" y="129"/>
                  </a:lnTo>
                  <a:lnTo>
                    <a:pt x="11" y="133"/>
                  </a:lnTo>
                  <a:lnTo>
                    <a:pt x="11" y="135"/>
                  </a:lnTo>
                  <a:lnTo>
                    <a:pt x="10" y="144"/>
                  </a:lnTo>
                  <a:lnTo>
                    <a:pt x="10" y="144"/>
                  </a:lnTo>
                  <a:lnTo>
                    <a:pt x="11" y="146"/>
                  </a:lnTo>
                  <a:lnTo>
                    <a:pt x="13" y="148"/>
                  </a:lnTo>
                  <a:lnTo>
                    <a:pt x="13" y="150"/>
                  </a:lnTo>
                  <a:lnTo>
                    <a:pt x="13" y="150"/>
                  </a:lnTo>
                  <a:lnTo>
                    <a:pt x="13" y="154"/>
                  </a:lnTo>
                  <a:lnTo>
                    <a:pt x="13" y="156"/>
                  </a:lnTo>
                  <a:lnTo>
                    <a:pt x="13" y="156"/>
                  </a:lnTo>
                  <a:lnTo>
                    <a:pt x="11" y="156"/>
                  </a:lnTo>
                  <a:lnTo>
                    <a:pt x="11" y="156"/>
                  </a:lnTo>
                  <a:lnTo>
                    <a:pt x="8" y="156"/>
                  </a:lnTo>
                  <a:lnTo>
                    <a:pt x="8" y="156"/>
                  </a:lnTo>
                  <a:lnTo>
                    <a:pt x="8" y="158"/>
                  </a:lnTo>
                  <a:lnTo>
                    <a:pt x="6" y="158"/>
                  </a:lnTo>
                  <a:lnTo>
                    <a:pt x="6" y="160"/>
                  </a:lnTo>
                  <a:lnTo>
                    <a:pt x="8" y="160"/>
                  </a:lnTo>
                  <a:lnTo>
                    <a:pt x="8" y="160"/>
                  </a:lnTo>
                  <a:lnTo>
                    <a:pt x="8" y="162"/>
                  </a:lnTo>
                  <a:lnTo>
                    <a:pt x="10" y="163"/>
                  </a:lnTo>
                  <a:lnTo>
                    <a:pt x="10" y="163"/>
                  </a:lnTo>
                  <a:lnTo>
                    <a:pt x="11" y="165"/>
                  </a:lnTo>
                  <a:lnTo>
                    <a:pt x="11" y="167"/>
                  </a:lnTo>
                  <a:lnTo>
                    <a:pt x="11" y="169"/>
                  </a:lnTo>
                  <a:lnTo>
                    <a:pt x="13" y="171"/>
                  </a:lnTo>
                  <a:lnTo>
                    <a:pt x="13" y="171"/>
                  </a:lnTo>
                  <a:lnTo>
                    <a:pt x="15" y="171"/>
                  </a:lnTo>
                  <a:lnTo>
                    <a:pt x="15" y="171"/>
                  </a:lnTo>
                  <a:lnTo>
                    <a:pt x="15" y="171"/>
                  </a:lnTo>
                  <a:lnTo>
                    <a:pt x="15" y="169"/>
                  </a:lnTo>
                  <a:lnTo>
                    <a:pt x="17" y="169"/>
                  </a:lnTo>
                  <a:lnTo>
                    <a:pt x="17" y="167"/>
                  </a:lnTo>
                  <a:lnTo>
                    <a:pt x="17" y="167"/>
                  </a:lnTo>
                  <a:lnTo>
                    <a:pt x="17" y="167"/>
                  </a:lnTo>
                  <a:lnTo>
                    <a:pt x="17" y="167"/>
                  </a:lnTo>
                  <a:lnTo>
                    <a:pt x="19" y="167"/>
                  </a:lnTo>
                  <a:lnTo>
                    <a:pt x="21" y="167"/>
                  </a:lnTo>
                  <a:lnTo>
                    <a:pt x="23" y="167"/>
                  </a:lnTo>
                  <a:lnTo>
                    <a:pt x="25" y="167"/>
                  </a:lnTo>
                  <a:lnTo>
                    <a:pt x="27" y="167"/>
                  </a:lnTo>
                  <a:lnTo>
                    <a:pt x="29" y="167"/>
                  </a:lnTo>
                  <a:lnTo>
                    <a:pt x="29" y="167"/>
                  </a:lnTo>
                  <a:lnTo>
                    <a:pt x="29" y="165"/>
                  </a:lnTo>
                  <a:lnTo>
                    <a:pt x="30" y="165"/>
                  </a:lnTo>
                  <a:lnTo>
                    <a:pt x="32" y="163"/>
                  </a:lnTo>
                  <a:lnTo>
                    <a:pt x="32" y="163"/>
                  </a:lnTo>
                  <a:lnTo>
                    <a:pt x="34" y="163"/>
                  </a:lnTo>
                  <a:lnTo>
                    <a:pt x="34" y="163"/>
                  </a:lnTo>
                  <a:lnTo>
                    <a:pt x="36" y="163"/>
                  </a:lnTo>
                  <a:lnTo>
                    <a:pt x="36" y="165"/>
                  </a:lnTo>
                  <a:lnTo>
                    <a:pt x="38" y="165"/>
                  </a:lnTo>
                  <a:lnTo>
                    <a:pt x="40" y="165"/>
                  </a:lnTo>
                  <a:lnTo>
                    <a:pt x="40" y="165"/>
                  </a:lnTo>
                  <a:lnTo>
                    <a:pt x="42" y="167"/>
                  </a:lnTo>
                  <a:lnTo>
                    <a:pt x="42" y="167"/>
                  </a:lnTo>
                  <a:lnTo>
                    <a:pt x="44" y="169"/>
                  </a:lnTo>
                  <a:lnTo>
                    <a:pt x="44" y="169"/>
                  </a:lnTo>
                  <a:lnTo>
                    <a:pt x="44" y="171"/>
                  </a:lnTo>
                  <a:lnTo>
                    <a:pt x="46" y="175"/>
                  </a:lnTo>
                  <a:lnTo>
                    <a:pt x="46" y="175"/>
                  </a:lnTo>
                  <a:lnTo>
                    <a:pt x="46" y="177"/>
                  </a:lnTo>
                  <a:lnTo>
                    <a:pt x="48" y="177"/>
                  </a:lnTo>
                  <a:lnTo>
                    <a:pt x="48" y="177"/>
                  </a:lnTo>
                  <a:lnTo>
                    <a:pt x="50" y="177"/>
                  </a:lnTo>
                  <a:lnTo>
                    <a:pt x="50" y="177"/>
                  </a:lnTo>
                  <a:lnTo>
                    <a:pt x="51" y="175"/>
                  </a:lnTo>
                  <a:lnTo>
                    <a:pt x="51" y="175"/>
                  </a:lnTo>
                  <a:lnTo>
                    <a:pt x="53" y="175"/>
                  </a:lnTo>
                  <a:lnTo>
                    <a:pt x="53" y="177"/>
                  </a:lnTo>
                  <a:lnTo>
                    <a:pt x="55" y="177"/>
                  </a:lnTo>
                  <a:lnTo>
                    <a:pt x="55" y="181"/>
                  </a:lnTo>
                  <a:lnTo>
                    <a:pt x="55" y="181"/>
                  </a:lnTo>
                  <a:lnTo>
                    <a:pt x="57" y="181"/>
                  </a:lnTo>
                  <a:lnTo>
                    <a:pt x="57" y="181"/>
                  </a:lnTo>
                  <a:lnTo>
                    <a:pt x="59" y="181"/>
                  </a:lnTo>
                  <a:lnTo>
                    <a:pt x="59" y="181"/>
                  </a:lnTo>
                  <a:lnTo>
                    <a:pt x="61" y="181"/>
                  </a:lnTo>
                  <a:lnTo>
                    <a:pt x="61" y="179"/>
                  </a:lnTo>
                  <a:lnTo>
                    <a:pt x="63" y="179"/>
                  </a:lnTo>
                  <a:lnTo>
                    <a:pt x="65" y="179"/>
                  </a:lnTo>
                  <a:lnTo>
                    <a:pt x="65" y="177"/>
                  </a:lnTo>
                  <a:lnTo>
                    <a:pt x="67" y="177"/>
                  </a:lnTo>
                  <a:lnTo>
                    <a:pt x="67" y="177"/>
                  </a:lnTo>
                  <a:lnTo>
                    <a:pt x="67" y="179"/>
                  </a:lnTo>
                  <a:lnTo>
                    <a:pt x="69" y="179"/>
                  </a:lnTo>
                  <a:lnTo>
                    <a:pt x="71" y="179"/>
                  </a:lnTo>
                  <a:lnTo>
                    <a:pt x="72" y="179"/>
                  </a:lnTo>
                  <a:lnTo>
                    <a:pt x="74" y="179"/>
                  </a:lnTo>
                  <a:lnTo>
                    <a:pt x="74" y="179"/>
                  </a:lnTo>
                  <a:lnTo>
                    <a:pt x="74" y="177"/>
                  </a:lnTo>
                  <a:lnTo>
                    <a:pt x="74" y="177"/>
                  </a:lnTo>
                  <a:lnTo>
                    <a:pt x="74" y="177"/>
                  </a:lnTo>
                  <a:lnTo>
                    <a:pt x="74" y="177"/>
                  </a:lnTo>
                  <a:lnTo>
                    <a:pt x="78" y="175"/>
                  </a:lnTo>
                  <a:lnTo>
                    <a:pt x="78" y="175"/>
                  </a:lnTo>
                  <a:lnTo>
                    <a:pt x="80" y="175"/>
                  </a:lnTo>
                  <a:lnTo>
                    <a:pt x="80" y="175"/>
                  </a:lnTo>
                  <a:lnTo>
                    <a:pt x="80" y="177"/>
                  </a:lnTo>
                  <a:lnTo>
                    <a:pt x="80" y="179"/>
                  </a:lnTo>
                  <a:lnTo>
                    <a:pt x="78" y="179"/>
                  </a:lnTo>
                  <a:lnTo>
                    <a:pt x="80" y="181"/>
                  </a:lnTo>
                  <a:lnTo>
                    <a:pt x="80" y="181"/>
                  </a:lnTo>
                  <a:lnTo>
                    <a:pt x="80" y="181"/>
                  </a:lnTo>
                  <a:lnTo>
                    <a:pt x="80" y="181"/>
                  </a:lnTo>
                  <a:lnTo>
                    <a:pt x="82" y="181"/>
                  </a:lnTo>
                  <a:lnTo>
                    <a:pt x="82" y="181"/>
                  </a:lnTo>
                  <a:lnTo>
                    <a:pt x="82" y="179"/>
                  </a:lnTo>
                  <a:lnTo>
                    <a:pt x="84" y="179"/>
                  </a:lnTo>
                  <a:lnTo>
                    <a:pt x="86" y="179"/>
                  </a:lnTo>
                  <a:lnTo>
                    <a:pt x="86" y="179"/>
                  </a:lnTo>
                  <a:lnTo>
                    <a:pt x="86" y="181"/>
                  </a:lnTo>
                  <a:lnTo>
                    <a:pt x="88" y="182"/>
                  </a:lnTo>
                  <a:lnTo>
                    <a:pt x="88" y="184"/>
                  </a:lnTo>
                  <a:lnTo>
                    <a:pt x="88" y="184"/>
                  </a:lnTo>
                  <a:lnTo>
                    <a:pt x="88" y="184"/>
                  </a:lnTo>
                  <a:lnTo>
                    <a:pt x="88" y="186"/>
                  </a:lnTo>
                  <a:lnTo>
                    <a:pt x="86" y="186"/>
                  </a:lnTo>
                  <a:lnTo>
                    <a:pt x="86" y="186"/>
                  </a:lnTo>
                  <a:lnTo>
                    <a:pt x="86" y="186"/>
                  </a:lnTo>
                  <a:lnTo>
                    <a:pt x="84" y="186"/>
                  </a:lnTo>
                  <a:lnTo>
                    <a:pt x="84" y="188"/>
                  </a:lnTo>
                  <a:lnTo>
                    <a:pt x="84" y="188"/>
                  </a:lnTo>
                  <a:lnTo>
                    <a:pt x="84" y="188"/>
                  </a:lnTo>
                  <a:lnTo>
                    <a:pt x="84" y="190"/>
                  </a:lnTo>
                  <a:lnTo>
                    <a:pt x="86" y="190"/>
                  </a:lnTo>
                  <a:lnTo>
                    <a:pt x="86" y="192"/>
                  </a:lnTo>
                  <a:lnTo>
                    <a:pt x="86" y="192"/>
                  </a:lnTo>
                  <a:lnTo>
                    <a:pt x="86" y="192"/>
                  </a:lnTo>
                  <a:lnTo>
                    <a:pt x="86" y="194"/>
                  </a:lnTo>
                  <a:lnTo>
                    <a:pt x="86" y="194"/>
                  </a:lnTo>
                  <a:lnTo>
                    <a:pt x="86" y="196"/>
                  </a:lnTo>
                  <a:lnTo>
                    <a:pt x="88" y="198"/>
                  </a:lnTo>
                  <a:lnTo>
                    <a:pt x="88" y="200"/>
                  </a:lnTo>
                  <a:lnTo>
                    <a:pt x="91" y="203"/>
                  </a:lnTo>
                  <a:lnTo>
                    <a:pt x="91" y="203"/>
                  </a:lnTo>
                  <a:lnTo>
                    <a:pt x="95" y="205"/>
                  </a:lnTo>
                  <a:lnTo>
                    <a:pt x="97" y="205"/>
                  </a:lnTo>
                  <a:lnTo>
                    <a:pt x="97" y="205"/>
                  </a:lnTo>
                  <a:lnTo>
                    <a:pt x="97" y="207"/>
                  </a:lnTo>
                  <a:lnTo>
                    <a:pt x="97" y="209"/>
                  </a:lnTo>
                  <a:lnTo>
                    <a:pt x="97" y="209"/>
                  </a:lnTo>
                  <a:lnTo>
                    <a:pt x="97" y="211"/>
                  </a:lnTo>
                  <a:lnTo>
                    <a:pt x="95" y="211"/>
                  </a:lnTo>
                  <a:lnTo>
                    <a:pt x="95" y="211"/>
                  </a:lnTo>
                  <a:lnTo>
                    <a:pt x="95" y="213"/>
                  </a:lnTo>
                  <a:lnTo>
                    <a:pt x="93" y="213"/>
                  </a:lnTo>
                  <a:lnTo>
                    <a:pt x="93" y="213"/>
                  </a:lnTo>
                  <a:lnTo>
                    <a:pt x="95" y="215"/>
                  </a:lnTo>
                  <a:lnTo>
                    <a:pt x="95" y="219"/>
                  </a:lnTo>
                  <a:lnTo>
                    <a:pt x="95" y="221"/>
                  </a:lnTo>
                  <a:lnTo>
                    <a:pt x="97" y="222"/>
                  </a:lnTo>
                  <a:lnTo>
                    <a:pt x="97" y="224"/>
                  </a:lnTo>
                  <a:lnTo>
                    <a:pt x="97" y="226"/>
                  </a:lnTo>
                  <a:lnTo>
                    <a:pt x="99" y="228"/>
                  </a:lnTo>
                  <a:lnTo>
                    <a:pt x="99" y="232"/>
                  </a:lnTo>
                  <a:lnTo>
                    <a:pt x="103" y="241"/>
                  </a:lnTo>
                  <a:lnTo>
                    <a:pt x="105" y="243"/>
                  </a:lnTo>
                  <a:lnTo>
                    <a:pt x="105" y="245"/>
                  </a:lnTo>
                  <a:lnTo>
                    <a:pt x="107" y="247"/>
                  </a:lnTo>
                  <a:lnTo>
                    <a:pt x="109" y="251"/>
                  </a:lnTo>
                  <a:lnTo>
                    <a:pt x="111" y="251"/>
                  </a:lnTo>
                  <a:lnTo>
                    <a:pt x="111" y="251"/>
                  </a:lnTo>
                  <a:lnTo>
                    <a:pt x="111" y="253"/>
                  </a:lnTo>
                  <a:lnTo>
                    <a:pt x="114" y="257"/>
                  </a:lnTo>
                  <a:lnTo>
                    <a:pt x="118" y="260"/>
                  </a:lnTo>
                  <a:lnTo>
                    <a:pt x="120" y="260"/>
                  </a:lnTo>
                  <a:lnTo>
                    <a:pt x="120" y="262"/>
                  </a:lnTo>
                  <a:lnTo>
                    <a:pt x="120" y="262"/>
                  </a:lnTo>
                  <a:lnTo>
                    <a:pt x="120" y="262"/>
                  </a:lnTo>
                  <a:lnTo>
                    <a:pt x="120" y="264"/>
                  </a:lnTo>
                  <a:lnTo>
                    <a:pt x="120" y="266"/>
                  </a:lnTo>
                  <a:lnTo>
                    <a:pt x="122" y="266"/>
                  </a:lnTo>
                  <a:lnTo>
                    <a:pt x="122" y="266"/>
                  </a:lnTo>
                  <a:lnTo>
                    <a:pt x="124" y="266"/>
                  </a:lnTo>
                  <a:lnTo>
                    <a:pt x="124" y="266"/>
                  </a:lnTo>
                  <a:lnTo>
                    <a:pt x="124" y="266"/>
                  </a:lnTo>
                  <a:lnTo>
                    <a:pt x="126" y="266"/>
                  </a:lnTo>
                  <a:lnTo>
                    <a:pt x="128" y="268"/>
                  </a:lnTo>
                  <a:lnTo>
                    <a:pt x="130" y="268"/>
                  </a:lnTo>
                  <a:lnTo>
                    <a:pt x="131" y="268"/>
                  </a:lnTo>
                  <a:lnTo>
                    <a:pt x="133" y="270"/>
                  </a:lnTo>
                  <a:lnTo>
                    <a:pt x="137" y="276"/>
                  </a:lnTo>
                  <a:lnTo>
                    <a:pt x="145" y="283"/>
                  </a:lnTo>
                  <a:lnTo>
                    <a:pt x="145" y="285"/>
                  </a:lnTo>
                  <a:lnTo>
                    <a:pt x="147" y="287"/>
                  </a:lnTo>
                  <a:lnTo>
                    <a:pt x="147" y="289"/>
                  </a:lnTo>
                  <a:lnTo>
                    <a:pt x="147" y="289"/>
                  </a:lnTo>
                  <a:lnTo>
                    <a:pt x="149" y="291"/>
                  </a:lnTo>
                  <a:lnTo>
                    <a:pt x="149" y="293"/>
                  </a:lnTo>
                  <a:lnTo>
                    <a:pt x="149" y="293"/>
                  </a:lnTo>
                  <a:lnTo>
                    <a:pt x="149" y="295"/>
                  </a:lnTo>
                  <a:lnTo>
                    <a:pt x="147" y="295"/>
                  </a:lnTo>
                  <a:lnTo>
                    <a:pt x="147" y="293"/>
                  </a:lnTo>
                  <a:lnTo>
                    <a:pt x="145" y="291"/>
                  </a:lnTo>
                  <a:lnTo>
                    <a:pt x="145" y="291"/>
                  </a:lnTo>
                  <a:lnTo>
                    <a:pt x="145" y="291"/>
                  </a:lnTo>
                  <a:lnTo>
                    <a:pt x="143" y="293"/>
                  </a:lnTo>
                  <a:lnTo>
                    <a:pt x="143" y="295"/>
                  </a:lnTo>
                  <a:lnTo>
                    <a:pt x="141" y="295"/>
                  </a:lnTo>
                  <a:lnTo>
                    <a:pt x="141" y="295"/>
                  </a:lnTo>
                  <a:lnTo>
                    <a:pt x="139" y="297"/>
                  </a:lnTo>
                  <a:lnTo>
                    <a:pt x="137" y="297"/>
                  </a:lnTo>
                  <a:lnTo>
                    <a:pt x="137" y="297"/>
                  </a:lnTo>
                  <a:lnTo>
                    <a:pt x="137" y="297"/>
                  </a:lnTo>
                  <a:lnTo>
                    <a:pt x="135" y="298"/>
                  </a:lnTo>
                  <a:lnTo>
                    <a:pt x="137" y="298"/>
                  </a:lnTo>
                  <a:lnTo>
                    <a:pt x="137" y="300"/>
                  </a:lnTo>
                  <a:lnTo>
                    <a:pt x="139" y="302"/>
                  </a:lnTo>
                  <a:lnTo>
                    <a:pt x="139" y="302"/>
                  </a:lnTo>
                  <a:lnTo>
                    <a:pt x="141" y="302"/>
                  </a:lnTo>
                  <a:lnTo>
                    <a:pt x="141" y="300"/>
                  </a:lnTo>
                  <a:lnTo>
                    <a:pt x="141" y="300"/>
                  </a:lnTo>
                  <a:lnTo>
                    <a:pt x="141" y="300"/>
                  </a:lnTo>
                  <a:lnTo>
                    <a:pt x="143" y="298"/>
                  </a:lnTo>
                  <a:lnTo>
                    <a:pt x="143" y="298"/>
                  </a:lnTo>
                  <a:lnTo>
                    <a:pt x="143" y="298"/>
                  </a:lnTo>
                  <a:lnTo>
                    <a:pt x="145" y="300"/>
                  </a:lnTo>
                  <a:lnTo>
                    <a:pt x="145" y="300"/>
                  </a:lnTo>
                  <a:lnTo>
                    <a:pt x="145" y="302"/>
                  </a:lnTo>
                  <a:lnTo>
                    <a:pt x="143" y="304"/>
                  </a:lnTo>
                  <a:lnTo>
                    <a:pt x="141" y="306"/>
                  </a:lnTo>
                  <a:lnTo>
                    <a:pt x="141" y="306"/>
                  </a:lnTo>
                  <a:lnTo>
                    <a:pt x="141" y="308"/>
                  </a:lnTo>
                  <a:lnTo>
                    <a:pt x="139" y="308"/>
                  </a:lnTo>
                  <a:lnTo>
                    <a:pt x="139" y="310"/>
                  </a:lnTo>
                  <a:lnTo>
                    <a:pt x="139" y="310"/>
                  </a:lnTo>
                  <a:lnTo>
                    <a:pt x="139" y="310"/>
                  </a:lnTo>
                  <a:lnTo>
                    <a:pt x="139" y="310"/>
                  </a:lnTo>
                  <a:lnTo>
                    <a:pt x="139" y="310"/>
                  </a:lnTo>
                  <a:lnTo>
                    <a:pt x="139" y="312"/>
                  </a:lnTo>
                  <a:lnTo>
                    <a:pt x="139" y="312"/>
                  </a:lnTo>
                  <a:lnTo>
                    <a:pt x="141" y="314"/>
                  </a:lnTo>
                  <a:lnTo>
                    <a:pt x="141" y="314"/>
                  </a:lnTo>
                  <a:lnTo>
                    <a:pt x="139" y="314"/>
                  </a:lnTo>
                  <a:lnTo>
                    <a:pt x="139" y="316"/>
                  </a:lnTo>
                  <a:lnTo>
                    <a:pt x="139" y="316"/>
                  </a:lnTo>
                  <a:lnTo>
                    <a:pt x="137" y="316"/>
                  </a:lnTo>
                  <a:lnTo>
                    <a:pt x="135" y="316"/>
                  </a:lnTo>
                  <a:lnTo>
                    <a:pt x="135" y="316"/>
                  </a:lnTo>
                  <a:lnTo>
                    <a:pt x="135" y="318"/>
                  </a:lnTo>
                  <a:lnTo>
                    <a:pt x="135" y="319"/>
                  </a:lnTo>
                  <a:lnTo>
                    <a:pt x="139" y="321"/>
                  </a:lnTo>
                  <a:lnTo>
                    <a:pt x="139" y="321"/>
                  </a:lnTo>
                  <a:lnTo>
                    <a:pt x="139" y="323"/>
                  </a:lnTo>
                  <a:lnTo>
                    <a:pt x="139" y="323"/>
                  </a:lnTo>
                  <a:lnTo>
                    <a:pt x="139" y="325"/>
                  </a:lnTo>
                  <a:lnTo>
                    <a:pt x="139" y="325"/>
                  </a:lnTo>
                  <a:lnTo>
                    <a:pt x="141" y="327"/>
                  </a:lnTo>
                  <a:lnTo>
                    <a:pt x="141" y="327"/>
                  </a:lnTo>
                  <a:lnTo>
                    <a:pt x="151" y="325"/>
                  </a:lnTo>
                  <a:lnTo>
                    <a:pt x="152" y="327"/>
                  </a:lnTo>
                  <a:lnTo>
                    <a:pt x="154" y="329"/>
                  </a:lnTo>
                  <a:lnTo>
                    <a:pt x="158" y="331"/>
                  </a:lnTo>
                  <a:lnTo>
                    <a:pt x="160" y="329"/>
                  </a:lnTo>
                  <a:lnTo>
                    <a:pt x="162" y="327"/>
                  </a:lnTo>
                  <a:lnTo>
                    <a:pt x="162" y="327"/>
                  </a:lnTo>
                  <a:lnTo>
                    <a:pt x="162" y="327"/>
                  </a:lnTo>
                  <a:lnTo>
                    <a:pt x="160" y="325"/>
                  </a:lnTo>
                  <a:lnTo>
                    <a:pt x="160" y="325"/>
                  </a:lnTo>
                  <a:lnTo>
                    <a:pt x="160" y="323"/>
                  </a:lnTo>
                  <a:lnTo>
                    <a:pt x="160" y="323"/>
                  </a:lnTo>
                  <a:lnTo>
                    <a:pt x="160" y="321"/>
                  </a:lnTo>
                  <a:lnTo>
                    <a:pt x="158" y="321"/>
                  </a:lnTo>
                  <a:lnTo>
                    <a:pt x="158" y="319"/>
                  </a:lnTo>
                  <a:lnTo>
                    <a:pt x="158" y="319"/>
                  </a:lnTo>
                  <a:lnTo>
                    <a:pt x="158" y="318"/>
                  </a:lnTo>
                  <a:lnTo>
                    <a:pt x="158" y="316"/>
                  </a:lnTo>
                  <a:lnTo>
                    <a:pt x="156" y="312"/>
                  </a:lnTo>
                  <a:lnTo>
                    <a:pt x="156" y="308"/>
                  </a:lnTo>
                  <a:lnTo>
                    <a:pt x="156" y="308"/>
                  </a:lnTo>
                  <a:lnTo>
                    <a:pt x="156" y="306"/>
                  </a:lnTo>
                  <a:lnTo>
                    <a:pt x="156" y="304"/>
                  </a:lnTo>
                  <a:lnTo>
                    <a:pt x="156" y="304"/>
                  </a:lnTo>
                  <a:lnTo>
                    <a:pt x="158" y="304"/>
                  </a:lnTo>
                  <a:lnTo>
                    <a:pt x="158" y="302"/>
                  </a:lnTo>
                  <a:lnTo>
                    <a:pt x="158" y="302"/>
                  </a:lnTo>
                  <a:lnTo>
                    <a:pt x="158" y="302"/>
                  </a:lnTo>
                  <a:lnTo>
                    <a:pt x="160" y="304"/>
                  </a:lnTo>
                  <a:lnTo>
                    <a:pt x="162" y="304"/>
                  </a:lnTo>
                  <a:lnTo>
                    <a:pt x="162" y="304"/>
                  </a:lnTo>
                  <a:lnTo>
                    <a:pt x="164" y="304"/>
                  </a:lnTo>
                  <a:lnTo>
                    <a:pt x="164" y="302"/>
                  </a:lnTo>
                  <a:lnTo>
                    <a:pt x="164" y="302"/>
                  </a:lnTo>
                  <a:lnTo>
                    <a:pt x="166" y="302"/>
                  </a:lnTo>
                  <a:lnTo>
                    <a:pt x="166" y="302"/>
                  </a:lnTo>
                  <a:lnTo>
                    <a:pt x="170" y="306"/>
                  </a:lnTo>
                  <a:lnTo>
                    <a:pt x="172" y="306"/>
                  </a:lnTo>
                  <a:lnTo>
                    <a:pt x="172" y="306"/>
                  </a:lnTo>
                  <a:lnTo>
                    <a:pt x="173" y="304"/>
                  </a:lnTo>
                  <a:lnTo>
                    <a:pt x="173" y="302"/>
                  </a:lnTo>
                  <a:lnTo>
                    <a:pt x="173" y="302"/>
                  </a:lnTo>
                  <a:lnTo>
                    <a:pt x="173" y="300"/>
                  </a:lnTo>
                  <a:lnTo>
                    <a:pt x="172" y="300"/>
                  </a:lnTo>
                  <a:lnTo>
                    <a:pt x="170" y="300"/>
                  </a:lnTo>
                  <a:lnTo>
                    <a:pt x="170" y="298"/>
                  </a:lnTo>
                  <a:lnTo>
                    <a:pt x="170" y="298"/>
                  </a:lnTo>
                  <a:lnTo>
                    <a:pt x="170" y="298"/>
                  </a:lnTo>
                  <a:lnTo>
                    <a:pt x="172" y="298"/>
                  </a:lnTo>
                  <a:lnTo>
                    <a:pt x="172" y="297"/>
                  </a:lnTo>
                  <a:lnTo>
                    <a:pt x="173" y="297"/>
                  </a:lnTo>
                  <a:lnTo>
                    <a:pt x="173" y="297"/>
                  </a:lnTo>
                  <a:lnTo>
                    <a:pt x="173" y="295"/>
                  </a:lnTo>
                  <a:lnTo>
                    <a:pt x="172" y="295"/>
                  </a:lnTo>
                  <a:lnTo>
                    <a:pt x="170" y="295"/>
                  </a:lnTo>
                  <a:lnTo>
                    <a:pt x="170" y="293"/>
                  </a:lnTo>
                  <a:lnTo>
                    <a:pt x="170" y="293"/>
                  </a:lnTo>
                  <a:lnTo>
                    <a:pt x="170" y="291"/>
                  </a:lnTo>
                  <a:lnTo>
                    <a:pt x="170" y="289"/>
                  </a:lnTo>
                  <a:lnTo>
                    <a:pt x="170" y="289"/>
                  </a:lnTo>
                  <a:lnTo>
                    <a:pt x="172" y="291"/>
                  </a:lnTo>
                  <a:lnTo>
                    <a:pt x="172" y="291"/>
                  </a:lnTo>
                  <a:lnTo>
                    <a:pt x="173" y="291"/>
                  </a:lnTo>
                  <a:lnTo>
                    <a:pt x="173" y="291"/>
                  </a:lnTo>
                  <a:lnTo>
                    <a:pt x="173" y="293"/>
                  </a:lnTo>
                  <a:lnTo>
                    <a:pt x="173" y="293"/>
                  </a:lnTo>
                  <a:lnTo>
                    <a:pt x="173" y="293"/>
                  </a:lnTo>
                  <a:lnTo>
                    <a:pt x="175" y="295"/>
                  </a:lnTo>
                  <a:lnTo>
                    <a:pt x="175" y="295"/>
                  </a:lnTo>
                  <a:lnTo>
                    <a:pt x="175" y="295"/>
                  </a:lnTo>
                  <a:lnTo>
                    <a:pt x="179" y="293"/>
                  </a:lnTo>
                  <a:lnTo>
                    <a:pt x="181" y="293"/>
                  </a:lnTo>
                  <a:lnTo>
                    <a:pt x="183" y="293"/>
                  </a:lnTo>
                  <a:lnTo>
                    <a:pt x="183" y="293"/>
                  </a:lnTo>
                  <a:lnTo>
                    <a:pt x="185" y="297"/>
                  </a:lnTo>
                  <a:lnTo>
                    <a:pt x="187" y="298"/>
                  </a:lnTo>
                  <a:lnTo>
                    <a:pt x="187" y="298"/>
                  </a:lnTo>
                  <a:lnTo>
                    <a:pt x="187" y="298"/>
                  </a:lnTo>
                  <a:lnTo>
                    <a:pt x="185" y="298"/>
                  </a:lnTo>
                  <a:lnTo>
                    <a:pt x="185" y="298"/>
                  </a:lnTo>
                  <a:lnTo>
                    <a:pt x="183" y="298"/>
                  </a:lnTo>
                  <a:lnTo>
                    <a:pt x="183" y="298"/>
                  </a:lnTo>
                  <a:lnTo>
                    <a:pt x="183" y="298"/>
                  </a:lnTo>
                  <a:lnTo>
                    <a:pt x="183" y="298"/>
                  </a:lnTo>
                  <a:lnTo>
                    <a:pt x="183" y="298"/>
                  </a:lnTo>
                  <a:lnTo>
                    <a:pt x="183" y="300"/>
                  </a:lnTo>
                  <a:lnTo>
                    <a:pt x="185" y="300"/>
                  </a:lnTo>
                  <a:lnTo>
                    <a:pt x="185" y="302"/>
                  </a:lnTo>
                  <a:lnTo>
                    <a:pt x="185" y="302"/>
                  </a:lnTo>
                  <a:lnTo>
                    <a:pt x="185" y="302"/>
                  </a:lnTo>
                  <a:lnTo>
                    <a:pt x="185" y="302"/>
                  </a:lnTo>
                  <a:lnTo>
                    <a:pt x="183" y="302"/>
                  </a:lnTo>
                  <a:lnTo>
                    <a:pt x="183" y="304"/>
                  </a:lnTo>
                  <a:lnTo>
                    <a:pt x="183" y="304"/>
                  </a:lnTo>
                  <a:lnTo>
                    <a:pt x="183" y="304"/>
                  </a:lnTo>
                  <a:lnTo>
                    <a:pt x="187" y="306"/>
                  </a:lnTo>
                  <a:lnTo>
                    <a:pt x="187" y="306"/>
                  </a:lnTo>
                  <a:lnTo>
                    <a:pt x="189" y="306"/>
                  </a:lnTo>
                  <a:lnTo>
                    <a:pt x="189" y="306"/>
                  </a:lnTo>
                  <a:lnTo>
                    <a:pt x="191" y="306"/>
                  </a:lnTo>
                  <a:lnTo>
                    <a:pt x="191" y="308"/>
                  </a:lnTo>
                  <a:lnTo>
                    <a:pt x="191" y="312"/>
                  </a:lnTo>
                  <a:lnTo>
                    <a:pt x="191" y="312"/>
                  </a:lnTo>
                  <a:lnTo>
                    <a:pt x="192" y="314"/>
                  </a:lnTo>
                  <a:lnTo>
                    <a:pt x="192" y="314"/>
                  </a:lnTo>
                  <a:lnTo>
                    <a:pt x="192" y="314"/>
                  </a:lnTo>
                  <a:lnTo>
                    <a:pt x="194" y="314"/>
                  </a:lnTo>
                  <a:lnTo>
                    <a:pt x="196" y="312"/>
                  </a:lnTo>
                  <a:lnTo>
                    <a:pt x="196" y="310"/>
                  </a:lnTo>
                  <a:lnTo>
                    <a:pt x="196" y="310"/>
                  </a:lnTo>
                  <a:lnTo>
                    <a:pt x="198" y="310"/>
                  </a:lnTo>
                  <a:lnTo>
                    <a:pt x="198" y="310"/>
                  </a:lnTo>
                  <a:lnTo>
                    <a:pt x="200" y="310"/>
                  </a:lnTo>
                  <a:lnTo>
                    <a:pt x="202" y="310"/>
                  </a:lnTo>
                  <a:lnTo>
                    <a:pt x="202" y="308"/>
                  </a:lnTo>
                  <a:lnTo>
                    <a:pt x="202" y="308"/>
                  </a:lnTo>
                  <a:lnTo>
                    <a:pt x="202" y="308"/>
                  </a:lnTo>
                  <a:lnTo>
                    <a:pt x="202" y="306"/>
                  </a:lnTo>
                  <a:lnTo>
                    <a:pt x="200" y="304"/>
                  </a:lnTo>
                  <a:lnTo>
                    <a:pt x="200" y="304"/>
                  </a:lnTo>
                  <a:lnTo>
                    <a:pt x="200" y="302"/>
                  </a:lnTo>
                  <a:lnTo>
                    <a:pt x="200" y="302"/>
                  </a:lnTo>
                  <a:lnTo>
                    <a:pt x="202" y="302"/>
                  </a:lnTo>
                  <a:lnTo>
                    <a:pt x="202" y="300"/>
                  </a:lnTo>
                  <a:lnTo>
                    <a:pt x="202" y="300"/>
                  </a:lnTo>
                  <a:lnTo>
                    <a:pt x="204" y="300"/>
                  </a:lnTo>
                  <a:lnTo>
                    <a:pt x="204" y="298"/>
                  </a:lnTo>
                  <a:lnTo>
                    <a:pt x="206" y="298"/>
                  </a:lnTo>
                  <a:lnTo>
                    <a:pt x="206" y="298"/>
                  </a:lnTo>
                  <a:lnTo>
                    <a:pt x="208" y="297"/>
                  </a:lnTo>
                  <a:lnTo>
                    <a:pt x="210" y="297"/>
                  </a:lnTo>
                  <a:lnTo>
                    <a:pt x="210" y="295"/>
                  </a:lnTo>
                  <a:lnTo>
                    <a:pt x="212" y="295"/>
                  </a:lnTo>
                  <a:lnTo>
                    <a:pt x="213" y="291"/>
                  </a:lnTo>
                  <a:lnTo>
                    <a:pt x="215" y="289"/>
                  </a:lnTo>
                  <a:lnTo>
                    <a:pt x="215" y="289"/>
                  </a:lnTo>
                  <a:lnTo>
                    <a:pt x="215" y="287"/>
                  </a:lnTo>
                  <a:lnTo>
                    <a:pt x="217" y="287"/>
                  </a:lnTo>
                  <a:lnTo>
                    <a:pt x="219" y="287"/>
                  </a:lnTo>
                  <a:lnTo>
                    <a:pt x="219" y="287"/>
                  </a:lnTo>
                  <a:lnTo>
                    <a:pt x="219" y="287"/>
                  </a:lnTo>
                  <a:lnTo>
                    <a:pt x="221" y="287"/>
                  </a:lnTo>
                  <a:lnTo>
                    <a:pt x="221" y="287"/>
                  </a:lnTo>
                  <a:lnTo>
                    <a:pt x="221" y="287"/>
                  </a:lnTo>
                  <a:lnTo>
                    <a:pt x="223" y="289"/>
                  </a:lnTo>
                  <a:lnTo>
                    <a:pt x="223" y="291"/>
                  </a:lnTo>
                  <a:lnTo>
                    <a:pt x="227" y="293"/>
                  </a:lnTo>
                  <a:lnTo>
                    <a:pt x="229" y="295"/>
                  </a:lnTo>
                  <a:lnTo>
                    <a:pt x="229" y="295"/>
                  </a:lnTo>
                  <a:lnTo>
                    <a:pt x="229" y="297"/>
                  </a:lnTo>
                  <a:lnTo>
                    <a:pt x="229" y="298"/>
                  </a:lnTo>
                  <a:lnTo>
                    <a:pt x="227" y="304"/>
                  </a:lnTo>
                  <a:lnTo>
                    <a:pt x="227" y="306"/>
                  </a:lnTo>
                  <a:lnTo>
                    <a:pt x="227" y="308"/>
                  </a:lnTo>
                  <a:lnTo>
                    <a:pt x="227" y="310"/>
                  </a:lnTo>
                  <a:lnTo>
                    <a:pt x="227" y="312"/>
                  </a:lnTo>
                  <a:lnTo>
                    <a:pt x="229" y="312"/>
                  </a:lnTo>
                  <a:lnTo>
                    <a:pt x="229" y="312"/>
                  </a:lnTo>
                  <a:lnTo>
                    <a:pt x="229" y="314"/>
                  </a:lnTo>
                  <a:lnTo>
                    <a:pt x="229" y="314"/>
                  </a:lnTo>
                  <a:lnTo>
                    <a:pt x="229" y="316"/>
                  </a:lnTo>
                  <a:lnTo>
                    <a:pt x="229" y="316"/>
                  </a:lnTo>
                  <a:lnTo>
                    <a:pt x="229" y="318"/>
                  </a:lnTo>
                  <a:lnTo>
                    <a:pt x="229" y="319"/>
                  </a:lnTo>
                  <a:lnTo>
                    <a:pt x="229" y="319"/>
                  </a:lnTo>
                  <a:lnTo>
                    <a:pt x="229" y="321"/>
                  </a:lnTo>
                  <a:lnTo>
                    <a:pt x="229" y="325"/>
                  </a:lnTo>
                  <a:lnTo>
                    <a:pt x="229" y="325"/>
                  </a:lnTo>
                  <a:lnTo>
                    <a:pt x="229" y="327"/>
                  </a:lnTo>
                  <a:lnTo>
                    <a:pt x="229" y="327"/>
                  </a:lnTo>
                  <a:lnTo>
                    <a:pt x="227" y="329"/>
                  </a:lnTo>
                  <a:lnTo>
                    <a:pt x="227" y="331"/>
                  </a:lnTo>
                  <a:lnTo>
                    <a:pt x="225" y="337"/>
                  </a:lnTo>
                  <a:lnTo>
                    <a:pt x="225" y="338"/>
                  </a:lnTo>
                  <a:lnTo>
                    <a:pt x="225" y="338"/>
                  </a:lnTo>
                  <a:lnTo>
                    <a:pt x="225" y="340"/>
                  </a:lnTo>
                  <a:lnTo>
                    <a:pt x="227" y="340"/>
                  </a:lnTo>
                  <a:lnTo>
                    <a:pt x="227" y="340"/>
                  </a:lnTo>
                  <a:lnTo>
                    <a:pt x="227" y="340"/>
                  </a:lnTo>
                  <a:lnTo>
                    <a:pt x="227" y="342"/>
                  </a:lnTo>
                  <a:lnTo>
                    <a:pt x="225" y="342"/>
                  </a:lnTo>
                  <a:lnTo>
                    <a:pt x="225" y="342"/>
                  </a:lnTo>
                  <a:lnTo>
                    <a:pt x="223" y="342"/>
                  </a:lnTo>
                  <a:lnTo>
                    <a:pt x="223" y="344"/>
                  </a:lnTo>
                  <a:lnTo>
                    <a:pt x="225" y="344"/>
                  </a:lnTo>
                  <a:lnTo>
                    <a:pt x="225" y="344"/>
                  </a:lnTo>
                  <a:lnTo>
                    <a:pt x="225" y="344"/>
                  </a:lnTo>
                  <a:lnTo>
                    <a:pt x="229" y="344"/>
                  </a:lnTo>
                  <a:lnTo>
                    <a:pt x="231" y="344"/>
                  </a:lnTo>
                  <a:lnTo>
                    <a:pt x="232" y="342"/>
                  </a:lnTo>
                  <a:lnTo>
                    <a:pt x="232" y="340"/>
                  </a:lnTo>
                  <a:lnTo>
                    <a:pt x="234" y="338"/>
                  </a:lnTo>
                  <a:lnTo>
                    <a:pt x="236" y="338"/>
                  </a:lnTo>
                  <a:lnTo>
                    <a:pt x="240" y="338"/>
                  </a:lnTo>
                  <a:lnTo>
                    <a:pt x="240" y="337"/>
                  </a:lnTo>
                  <a:lnTo>
                    <a:pt x="240" y="337"/>
                  </a:lnTo>
                  <a:lnTo>
                    <a:pt x="240" y="337"/>
                  </a:lnTo>
                  <a:lnTo>
                    <a:pt x="238" y="335"/>
                  </a:lnTo>
                  <a:lnTo>
                    <a:pt x="236" y="333"/>
                  </a:lnTo>
                  <a:lnTo>
                    <a:pt x="236" y="333"/>
                  </a:lnTo>
                  <a:lnTo>
                    <a:pt x="238" y="331"/>
                  </a:lnTo>
                  <a:lnTo>
                    <a:pt x="238" y="331"/>
                  </a:lnTo>
                  <a:lnTo>
                    <a:pt x="240" y="331"/>
                  </a:lnTo>
                  <a:lnTo>
                    <a:pt x="244" y="333"/>
                  </a:lnTo>
                  <a:lnTo>
                    <a:pt x="244" y="333"/>
                  </a:lnTo>
                  <a:lnTo>
                    <a:pt x="246" y="333"/>
                  </a:lnTo>
                  <a:lnTo>
                    <a:pt x="248" y="331"/>
                  </a:lnTo>
                  <a:lnTo>
                    <a:pt x="248" y="329"/>
                  </a:lnTo>
                  <a:lnTo>
                    <a:pt x="250" y="329"/>
                  </a:lnTo>
                  <a:lnTo>
                    <a:pt x="250" y="331"/>
                  </a:lnTo>
                  <a:lnTo>
                    <a:pt x="250" y="331"/>
                  </a:lnTo>
                  <a:lnTo>
                    <a:pt x="250" y="331"/>
                  </a:lnTo>
                  <a:lnTo>
                    <a:pt x="252" y="331"/>
                  </a:lnTo>
                  <a:lnTo>
                    <a:pt x="252" y="331"/>
                  </a:lnTo>
                  <a:lnTo>
                    <a:pt x="252" y="329"/>
                  </a:lnTo>
                  <a:lnTo>
                    <a:pt x="253" y="329"/>
                  </a:lnTo>
                  <a:lnTo>
                    <a:pt x="253" y="331"/>
                  </a:lnTo>
                  <a:lnTo>
                    <a:pt x="253" y="331"/>
                  </a:lnTo>
                  <a:lnTo>
                    <a:pt x="255" y="333"/>
                  </a:lnTo>
                  <a:lnTo>
                    <a:pt x="255" y="333"/>
                  </a:lnTo>
                  <a:lnTo>
                    <a:pt x="255" y="333"/>
                  </a:lnTo>
                  <a:lnTo>
                    <a:pt x="255" y="333"/>
                  </a:lnTo>
                  <a:lnTo>
                    <a:pt x="257" y="331"/>
                  </a:lnTo>
                  <a:lnTo>
                    <a:pt x="259" y="331"/>
                  </a:lnTo>
                  <a:lnTo>
                    <a:pt x="263" y="329"/>
                  </a:lnTo>
                  <a:lnTo>
                    <a:pt x="263" y="327"/>
                  </a:lnTo>
                  <a:lnTo>
                    <a:pt x="263" y="327"/>
                  </a:lnTo>
                  <a:lnTo>
                    <a:pt x="265" y="327"/>
                  </a:lnTo>
                  <a:lnTo>
                    <a:pt x="265" y="327"/>
                  </a:lnTo>
                  <a:lnTo>
                    <a:pt x="265" y="327"/>
                  </a:lnTo>
                  <a:lnTo>
                    <a:pt x="267" y="325"/>
                  </a:lnTo>
                  <a:lnTo>
                    <a:pt x="271" y="325"/>
                  </a:lnTo>
                  <a:lnTo>
                    <a:pt x="271" y="325"/>
                  </a:lnTo>
                  <a:lnTo>
                    <a:pt x="273" y="321"/>
                  </a:lnTo>
                  <a:lnTo>
                    <a:pt x="274" y="321"/>
                  </a:lnTo>
                  <a:lnTo>
                    <a:pt x="274" y="321"/>
                  </a:lnTo>
                  <a:lnTo>
                    <a:pt x="276" y="323"/>
                  </a:lnTo>
                  <a:lnTo>
                    <a:pt x="276" y="323"/>
                  </a:lnTo>
                  <a:lnTo>
                    <a:pt x="278" y="321"/>
                  </a:lnTo>
                  <a:lnTo>
                    <a:pt x="278" y="319"/>
                  </a:lnTo>
                  <a:lnTo>
                    <a:pt x="280" y="318"/>
                  </a:lnTo>
                  <a:lnTo>
                    <a:pt x="280" y="318"/>
                  </a:lnTo>
                  <a:lnTo>
                    <a:pt x="282" y="316"/>
                  </a:lnTo>
                  <a:lnTo>
                    <a:pt x="282" y="314"/>
                  </a:lnTo>
                  <a:lnTo>
                    <a:pt x="282" y="310"/>
                  </a:lnTo>
                  <a:lnTo>
                    <a:pt x="280" y="308"/>
                  </a:lnTo>
                  <a:lnTo>
                    <a:pt x="280" y="308"/>
                  </a:lnTo>
                  <a:lnTo>
                    <a:pt x="278" y="306"/>
                  </a:lnTo>
                  <a:lnTo>
                    <a:pt x="276" y="306"/>
                  </a:lnTo>
                  <a:lnTo>
                    <a:pt x="278" y="302"/>
                  </a:lnTo>
                  <a:lnTo>
                    <a:pt x="278" y="300"/>
                  </a:lnTo>
                  <a:lnTo>
                    <a:pt x="276" y="298"/>
                  </a:lnTo>
                  <a:lnTo>
                    <a:pt x="280" y="300"/>
                  </a:lnTo>
                  <a:lnTo>
                    <a:pt x="280" y="298"/>
                  </a:lnTo>
                  <a:lnTo>
                    <a:pt x="280" y="295"/>
                  </a:lnTo>
                  <a:lnTo>
                    <a:pt x="280" y="293"/>
                  </a:lnTo>
                  <a:lnTo>
                    <a:pt x="284" y="291"/>
                  </a:lnTo>
                  <a:lnTo>
                    <a:pt x="282" y="291"/>
                  </a:lnTo>
                  <a:lnTo>
                    <a:pt x="280" y="291"/>
                  </a:lnTo>
                  <a:lnTo>
                    <a:pt x="280" y="289"/>
                  </a:lnTo>
                  <a:lnTo>
                    <a:pt x="280" y="289"/>
                  </a:lnTo>
                  <a:lnTo>
                    <a:pt x="280" y="289"/>
                  </a:lnTo>
                  <a:lnTo>
                    <a:pt x="282" y="287"/>
                  </a:lnTo>
                  <a:lnTo>
                    <a:pt x="282" y="287"/>
                  </a:lnTo>
                  <a:lnTo>
                    <a:pt x="282" y="287"/>
                  </a:lnTo>
                  <a:lnTo>
                    <a:pt x="282" y="285"/>
                  </a:lnTo>
                  <a:lnTo>
                    <a:pt x="284" y="285"/>
                  </a:lnTo>
                  <a:lnTo>
                    <a:pt x="284" y="285"/>
                  </a:lnTo>
                  <a:lnTo>
                    <a:pt x="282" y="283"/>
                  </a:lnTo>
                  <a:lnTo>
                    <a:pt x="280" y="283"/>
                  </a:lnTo>
                  <a:lnTo>
                    <a:pt x="280" y="283"/>
                  </a:lnTo>
                  <a:lnTo>
                    <a:pt x="278" y="281"/>
                  </a:lnTo>
                  <a:lnTo>
                    <a:pt x="278" y="281"/>
                  </a:lnTo>
                  <a:lnTo>
                    <a:pt x="278" y="279"/>
                  </a:lnTo>
                  <a:lnTo>
                    <a:pt x="276" y="278"/>
                  </a:lnTo>
                  <a:lnTo>
                    <a:pt x="278" y="276"/>
                  </a:lnTo>
                  <a:lnTo>
                    <a:pt x="280" y="270"/>
                  </a:lnTo>
                  <a:lnTo>
                    <a:pt x="278" y="270"/>
                  </a:lnTo>
                  <a:lnTo>
                    <a:pt x="276" y="270"/>
                  </a:lnTo>
                  <a:lnTo>
                    <a:pt x="276" y="266"/>
                  </a:lnTo>
                  <a:lnTo>
                    <a:pt x="276" y="266"/>
                  </a:lnTo>
                  <a:lnTo>
                    <a:pt x="276" y="266"/>
                  </a:lnTo>
                  <a:lnTo>
                    <a:pt x="274" y="266"/>
                  </a:lnTo>
                  <a:lnTo>
                    <a:pt x="273" y="266"/>
                  </a:lnTo>
                  <a:lnTo>
                    <a:pt x="273" y="264"/>
                  </a:lnTo>
                  <a:lnTo>
                    <a:pt x="273" y="264"/>
                  </a:lnTo>
                  <a:lnTo>
                    <a:pt x="273" y="262"/>
                  </a:lnTo>
                  <a:lnTo>
                    <a:pt x="273" y="262"/>
                  </a:lnTo>
                  <a:lnTo>
                    <a:pt x="273" y="262"/>
                  </a:lnTo>
                  <a:lnTo>
                    <a:pt x="271" y="262"/>
                  </a:lnTo>
                  <a:lnTo>
                    <a:pt x="271" y="262"/>
                  </a:lnTo>
                  <a:lnTo>
                    <a:pt x="269" y="262"/>
                  </a:lnTo>
                  <a:lnTo>
                    <a:pt x="269" y="262"/>
                  </a:lnTo>
                  <a:lnTo>
                    <a:pt x="269" y="262"/>
                  </a:lnTo>
                  <a:lnTo>
                    <a:pt x="269" y="260"/>
                  </a:lnTo>
                  <a:lnTo>
                    <a:pt x="269" y="260"/>
                  </a:lnTo>
                  <a:lnTo>
                    <a:pt x="267" y="260"/>
                  </a:lnTo>
                  <a:lnTo>
                    <a:pt x="267" y="259"/>
                  </a:lnTo>
                  <a:lnTo>
                    <a:pt x="265" y="259"/>
                  </a:lnTo>
                  <a:lnTo>
                    <a:pt x="265" y="257"/>
                  </a:lnTo>
                  <a:lnTo>
                    <a:pt x="265" y="257"/>
                  </a:lnTo>
                  <a:lnTo>
                    <a:pt x="259" y="257"/>
                  </a:lnTo>
                  <a:lnTo>
                    <a:pt x="257" y="259"/>
                  </a:lnTo>
                  <a:lnTo>
                    <a:pt x="255" y="259"/>
                  </a:lnTo>
                  <a:lnTo>
                    <a:pt x="255" y="260"/>
                  </a:lnTo>
                  <a:lnTo>
                    <a:pt x="255" y="260"/>
                  </a:lnTo>
                  <a:lnTo>
                    <a:pt x="255" y="262"/>
                  </a:lnTo>
                  <a:lnTo>
                    <a:pt x="255" y="262"/>
                  </a:lnTo>
                  <a:lnTo>
                    <a:pt x="255" y="262"/>
                  </a:lnTo>
                  <a:lnTo>
                    <a:pt x="255" y="264"/>
                  </a:lnTo>
                  <a:lnTo>
                    <a:pt x="255" y="264"/>
                  </a:lnTo>
                  <a:lnTo>
                    <a:pt x="255" y="264"/>
                  </a:lnTo>
                  <a:lnTo>
                    <a:pt x="255" y="264"/>
                  </a:lnTo>
                  <a:lnTo>
                    <a:pt x="252" y="266"/>
                  </a:lnTo>
                  <a:lnTo>
                    <a:pt x="248" y="264"/>
                  </a:lnTo>
                  <a:lnTo>
                    <a:pt x="246" y="262"/>
                  </a:lnTo>
                  <a:lnTo>
                    <a:pt x="244" y="262"/>
                  </a:lnTo>
                  <a:lnTo>
                    <a:pt x="244" y="260"/>
                  </a:lnTo>
                  <a:lnTo>
                    <a:pt x="242" y="260"/>
                  </a:lnTo>
                  <a:lnTo>
                    <a:pt x="242" y="259"/>
                  </a:lnTo>
                  <a:lnTo>
                    <a:pt x="242" y="257"/>
                  </a:lnTo>
                  <a:lnTo>
                    <a:pt x="240" y="257"/>
                  </a:lnTo>
                  <a:lnTo>
                    <a:pt x="240" y="255"/>
                  </a:lnTo>
                  <a:lnTo>
                    <a:pt x="234" y="253"/>
                  </a:lnTo>
                  <a:lnTo>
                    <a:pt x="234" y="253"/>
                  </a:lnTo>
                  <a:lnTo>
                    <a:pt x="232" y="253"/>
                  </a:lnTo>
                  <a:lnTo>
                    <a:pt x="232" y="253"/>
                  </a:lnTo>
                  <a:lnTo>
                    <a:pt x="232" y="255"/>
                  </a:lnTo>
                  <a:lnTo>
                    <a:pt x="232" y="255"/>
                  </a:lnTo>
                  <a:lnTo>
                    <a:pt x="231" y="255"/>
                  </a:lnTo>
                  <a:lnTo>
                    <a:pt x="225" y="255"/>
                  </a:lnTo>
                  <a:lnTo>
                    <a:pt x="223" y="257"/>
                  </a:lnTo>
                  <a:lnTo>
                    <a:pt x="221" y="255"/>
                  </a:lnTo>
                  <a:lnTo>
                    <a:pt x="221" y="255"/>
                  </a:lnTo>
                  <a:lnTo>
                    <a:pt x="221" y="255"/>
                  </a:lnTo>
                  <a:lnTo>
                    <a:pt x="221" y="253"/>
                  </a:lnTo>
                  <a:lnTo>
                    <a:pt x="221" y="253"/>
                  </a:lnTo>
                  <a:lnTo>
                    <a:pt x="219" y="251"/>
                  </a:lnTo>
                  <a:lnTo>
                    <a:pt x="219" y="251"/>
                  </a:lnTo>
                  <a:lnTo>
                    <a:pt x="219" y="251"/>
                  </a:lnTo>
                  <a:lnTo>
                    <a:pt x="219" y="249"/>
                  </a:lnTo>
                  <a:lnTo>
                    <a:pt x="221" y="247"/>
                  </a:lnTo>
                  <a:lnTo>
                    <a:pt x="221" y="245"/>
                  </a:lnTo>
                  <a:lnTo>
                    <a:pt x="223" y="245"/>
                  </a:lnTo>
                  <a:lnTo>
                    <a:pt x="223" y="245"/>
                  </a:lnTo>
                  <a:lnTo>
                    <a:pt x="225" y="243"/>
                  </a:lnTo>
                  <a:lnTo>
                    <a:pt x="225" y="243"/>
                  </a:lnTo>
                  <a:lnTo>
                    <a:pt x="227" y="243"/>
                  </a:lnTo>
                  <a:lnTo>
                    <a:pt x="227" y="241"/>
                  </a:lnTo>
                  <a:lnTo>
                    <a:pt x="227" y="240"/>
                  </a:lnTo>
                  <a:lnTo>
                    <a:pt x="229" y="240"/>
                  </a:lnTo>
                  <a:lnTo>
                    <a:pt x="229" y="238"/>
                  </a:lnTo>
                  <a:lnTo>
                    <a:pt x="229" y="236"/>
                  </a:lnTo>
                  <a:lnTo>
                    <a:pt x="229" y="236"/>
                  </a:lnTo>
                  <a:lnTo>
                    <a:pt x="229" y="234"/>
                  </a:lnTo>
                  <a:lnTo>
                    <a:pt x="229" y="234"/>
                  </a:lnTo>
                  <a:lnTo>
                    <a:pt x="229" y="228"/>
                  </a:lnTo>
                  <a:lnTo>
                    <a:pt x="229" y="226"/>
                  </a:lnTo>
                  <a:lnTo>
                    <a:pt x="229" y="226"/>
                  </a:lnTo>
                  <a:lnTo>
                    <a:pt x="229" y="224"/>
                  </a:lnTo>
                  <a:lnTo>
                    <a:pt x="231" y="222"/>
                  </a:lnTo>
                  <a:lnTo>
                    <a:pt x="232" y="222"/>
                  </a:lnTo>
                  <a:lnTo>
                    <a:pt x="234" y="221"/>
                  </a:lnTo>
                  <a:lnTo>
                    <a:pt x="236" y="221"/>
                  </a:lnTo>
                  <a:lnTo>
                    <a:pt x="238" y="221"/>
                  </a:lnTo>
                  <a:lnTo>
                    <a:pt x="240" y="219"/>
                  </a:lnTo>
                  <a:lnTo>
                    <a:pt x="240" y="219"/>
                  </a:lnTo>
                  <a:lnTo>
                    <a:pt x="240" y="219"/>
                  </a:lnTo>
                  <a:lnTo>
                    <a:pt x="246" y="219"/>
                  </a:lnTo>
                  <a:lnTo>
                    <a:pt x="246" y="221"/>
                  </a:lnTo>
                  <a:lnTo>
                    <a:pt x="248" y="221"/>
                  </a:lnTo>
                  <a:lnTo>
                    <a:pt x="248" y="221"/>
                  </a:lnTo>
                  <a:lnTo>
                    <a:pt x="252" y="219"/>
                  </a:lnTo>
                  <a:lnTo>
                    <a:pt x="253" y="217"/>
                  </a:lnTo>
                  <a:lnTo>
                    <a:pt x="253" y="215"/>
                  </a:lnTo>
                  <a:lnTo>
                    <a:pt x="253" y="215"/>
                  </a:lnTo>
                  <a:lnTo>
                    <a:pt x="253" y="215"/>
                  </a:lnTo>
                  <a:lnTo>
                    <a:pt x="253" y="213"/>
                  </a:lnTo>
                  <a:lnTo>
                    <a:pt x="253" y="211"/>
                  </a:lnTo>
                  <a:lnTo>
                    <a:pt x="250" y="209"/>
                  </a:lnTo>
                  <a:lnTo>
                    <a:pt x="250" y="207"/>
                  </a:lnTo>
                  <a:lnTo>
                    <a:pt x="252" y="207"/>
                  </a:lnTo>
                  <a:lnTo>
                    <a:pt x="252" y="205"/>
                  </a:lnTo>
                  <a:lnTo>
                    <a:pt x="250" y="201"/>
                  </a:lnTo>
                  <a:lnTo>
                    <a:pt x="248" y="196"/>
                  </a:lnTo>
                  <a:lnTo>
                    <a:pt x="248" y="196"/>
                  </a:lnTo>
                  <a:lnTo>
                    <a:pt x="248" y="194"/>
                  </a:lnTo>
                  <a:lnTo>
                    <a:pt x="246" y="194"/>
                  </a:lnTo>
                  <a:lnTo>
                    <a:pt x="246" y="194"/>
                  </a:lnTo>
                  <a:lnTo>
                    <a:pt x="246" y="194"/>
                  </a:lnTo>
                  <a:lnTo>
                    <a:pt x="246" y="194"/>
                  </a:lnTo>
                  <a:lnTo>
                    <a:pt x="248" y="192"/>
                  </a:lnTo>
                  <a:lnTo>
                    <a:pt x="248" y="192"/>
                  </a:lnTo>
                  <a:lnTo>
                    <a:pt x="246" y="177"/>
                  </a:lnTo>
                  <a:lnTo>
                    <a:pt x="246" y="175"/>
                  </a:lnTo>
                  <a:lnTo>
                    <a:pt x="248" y="175"/>
                  </a:lnTo>
                  <a:lnTo>
                    <a:pt x="248" y="173"/>
                  </a:lnTo>
                  <a:lnTo>
                    <a:pt x="248" y="171"/>
                  </a:lnTo>
                  <a:lnTo>
                    <a:pt x="246" y="171"/>
                  </a:lnTo>
                  <a:lnTo>
                    <a:pt x="246" y="169"/>
                  </a:lnTo>
                  <a:lnTo>
                    <a:pt x="246" y="167"/>
                  </a:lnTo>
                  <a:lnTo>
                    <a:pt x="246" y="165"/>
                  </a:lnTo>
                  <a:lnTo>
                    <a:pt x="246" y="165"/>
                  </a:lnTo>
                  <a:lnTo>
                    <a:pt x="248" y="163"/>
                  </a:lnTo>
                  <a:lnTo>
                    <a:pt x="248" y="163"/>
                  </a:lnTo>
                  <a:lnTo>
                    <a:pt x="248" y="162"/>
                  </a:lnTo>
                  <a:lnTo>
                    <a:pt x="246" y="162"/>
                  </a:lnTo>
                  <a:lnTo>
                    <a:pt x="244" y="162"/>
                  </a:lnTo>
                  <a:lnTo>
                    <a:pt x="240" y="162"/>
                  </a:lnTo>
                  <a:lnTo>
                    <a:pt x="240" y="162"/>
                  </a:lnTo>
                  <a:lnTo>
                    <a:pt x="240" y="160"/>
                  </a:lnTo>
                  <a:lnTo>
                    <a:pt x="244" y="156"/>
                  </a:lnTo>
                  <a:lnTo>
                    <a:pt x="246" y="154"/>
                  </a:lnTo>
                  <a:lnTo>
                    <a:pt x="244" y="154"/>
                  </a:lnTo>
                  <a:lnTo>
                    <a:pt x="240" y="154"/>
                  </a:lnTo>
                  <a:lnTo>
                    <a:pt x="240" y="152"/>
                  </a:lnTo>
                  <a:lnTo>
                    <a:pt x="240" y="152"/>
                  </a:lnTo>
                  <a:lnTo>
                    <a:pt x="240" y="152"/>
                  </a:lnTo>
                  <a:lnTo>
                    <a:pt x="240" y="150"/>
                  </a:lnTo>
                  <a:lnTo>
                    <a:pt x="240" y="148"/>
                  </a:lnTo>
                  <a:lnTo>
                    <a:pt x="240" y="148"/>
                  </a:lnTo>
                  <a:lnTo>
                    <a:pt x="240" y="146"/>
                  </a:lnTo>
                  <a:lnTo>
                    <a:pt x="240" y="146"/>
                  </a:lnTo>
                  <a:lnTo>
                    <a:pt x="242" y="144"/>
                  </a:lnTo>
                  <a:lnTo>
                    <a:pt x="242" y="144"/>
                  </a:lnTo>
                  <a:lnTo>
                    <a:pt x="244" y="144"/>
                  </a:lnTo>
                  <a:lnTo>
                    <a:pt x="242" y="143"/>
                  </a:lnTo>
                  <a:lnTo>
                    <a:pt x="242" y="141"/>
                  </a:lnTo>
                  <a:lnTo>
                    <a:pt x="242" y="141"/>
                  </a:lnTo>
                  <a:lnTo>
                    <a:pt x="242" y="139"/>
                  </a:lnTo>
                  <a:lnTo>
                    <a:pt x="242" y="137"/>
                  </a:lnTo>
                  <a:lnTo>
                    <a:pt x="244" y="133"/>
                  </a:lnTo>
                  <a:lnTo>
                    <a:pt x="244" y="131"/>
                  </a:lnTo>
                  <a:lnTo>
                    <a:pt x="246" y="131"/>
                  </a:lnTo>
                  <a:lnTo>
                    <a:pt x="246" y="129"/>
                  </a:lnTo>
                  <a:lnTo>
                    <a:pt x="248" y="129"/>
                  </a:lnTo>
                  <a:lnTo>
                    <a:pt x="246" y="127"/>
                  </a:lnTo>
                  <a:lnTo>
                    <a:pt x="246" y="127"/>
                  </a:lnTo>
                  <a:lnTo>
                    <a:pt x="246" y="125"/>
                  </a:lnTo>
                  <a:lnTo>
                    <a:pt x="246" y="125"/>
                  </a:lnTo>
                  <a:lnTo>
                    <a:pt x="248" y="124"/>
                  </a:lnTo>
                  <a:lnTo>
                    <a:pt x="248" y="124"/>
                  </a:lnTo>
                  <a:lnTo>
                    <a:pt x="248" y="125"/>
                  </a:lnTo>
                  <a:lnTo>
                    <a:pt x="250" y="124"/>
                  </a:lnTo>
                  <a:lnTo>
                    <a:pt x="250" y="122"/>
                  </a:lnTo>
                  <a:lnTo>
                    <a:pt x="253" y="108"/>
                  </a:lnTo>
                  <a:lnTo>
                    <a:pt x="253" y="104"/>
                  </a:lnTo>
                  <a:lnTo>
                    <a:pt x="255" y="103"/>
                  </a:lnTo>
                  <a:lnTo>
                    <a:pt x="255" y="103"/>
                  </a:lnTo>
                  <a:lnTo>
                    <a:pt x="259" y="99"/>
                  </a:lnTo>
                  <a:lnTo>
                    <a:pt x="259" y="97"/>
                  </a:lnTo>
                  <a:lnTo>
                    <a:pt x="259" y="97"/>
                  </a:lnTo>
                  <a:lnTo>
                    <a:pt x="259" y="97"/>
                  </a:lnTo>
                  <a:lnTo>
                    <a:pt x="261" y="95"/>
                  </a:lnTo>
                  <a:lnTo>
                    <a:pt x="261" y="95"/>
                  </a:lnTo>
                  <a:lnTo>
                    <a:pt x="261" y="97"/>
                  </a:lnTo>
                  <a:lnTo>
                    <a:pt x="263" y="95"/>
                  </a:lnTo>
                  <a:lnTo>
                    <a:pt x="263" y="95"/>
                  </a:lnTo>
                  <a:lnTo>
                    <a:pt x="263" y="95"/>
                  </a:lnTo>
                  <a:lnTo>
                    <a:pt x="263" y="95"/>
                  </a:lnTo>
                  <a:lnTo>
                    <a:pt x="263" y="95"/>
                  </a:lnTo>
                  <a:lnTo>
                    <a:pt x="263" y="93"/>
                  </a:lnTo>
                  <a:lnTo>
                    <a:pt x="263" y="93"/>
                  </a:lnTo>
                  <a:lnTo>
                    <a:pt x="265" y="93"/>
                  </a:lnTo>
                  <a:lnTo>
                    <a:pt x="269" y="89"/>
                  </a:lnTo>
                  <a:lnTo>
                    <a:pt x="271" y="87"/>
                  </a:lnTo>
                  <a:lnTo>
                    <a:pt x="271" y="85"/>
                  </a:lnTo>
                  <a:lnTo>
                    <a:pt x="273" y="84"/>
                  </a:lnTo>
                  <a:lnTo>
                    <a:pt x="274" y="82"/>
                  </a:lnTo>
                  <a:lnTo>
                    <a:pt x="280" y="76"/>
                  </a:lnTo>
                  <a:lnTo>
                    <a:pt x="284" y="72"/>
                  </a:lnTo>
                  <a:lnTo>
                    <a:pt x="286" y="70"/>
                  </a:lnTo>
                  <a:lnTo>
                    <a:pt x="288" y="65"/>
                  </a:lnTo>
                  <a:lnTo>
                    <a:pt x="288" y="61"/>
                  </a:lnTo>
                  <a:lnTo>
                    <a:pt x="288" y="5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3" name="Freeform 55">
              <a:extLst>
                <a:ext uri="{FF2B5EF4-FFF2-40B4-BE49-F238E27FC236}">
                  <a16:creationId xmlns:a16="http://schemas.microsoft.com/office/drawing/2014/main" id="{4A20F3B9-EDDB-7AD4-2225-4A3854535DA8}"/>
                </a:ext>
              </a:extLst>
            </p:cNvPr>
            <p:cNvSpPr>
              <a:spLocks/>
            </p:cNvSpPr>
            <p:nvPr/>
          </p:nvSpPr>
          <p:spPr bwMode="auto">
            <a:xfrm>
              <a:off x="4703763" y="2478888"/>
              <a:ext cx="457200" cy="546100"/>
            </a:xfrm>
            <a:custGeom>
              <a:avLst/>
              <a:gdLst>
                <a:gd name="T0" fmla="*/ 269 w 288"/>
                <a:gd name="T1" fmla="*/ 53 h 344"/>
                <a:gd name="T2" fmla="*/ 248 w 288"/>
                <a:gd name="T3" fmla="*/ 28 h 344"/>
                <a:gd name="T4" fmla="*/ 227 w 288"/>
                <a:gd name="T5" fmla="*/ 6 h 344"/>
                <a:gd name="T6" fmla="*/ 215 w 288"/>
                <a:gd name="T7" fmla="*/ 9 h 344"/>
                <a:gd name="T8" fmla="*/ 219 w 288"/>
                <a:gd name="T9" fmla="*/ 27 h 344"/>
                <a:gd name="T10" fmla="*/ 225 w 288"/>
                <a:gd name="T11" fmla="*/ 46 h 344"/>
                <a:gd name="T12" fmla="*/ 213 w 288"/>
                <a:gd name="T13" fmla="*/ 55 h 344"/>
                <a:gd name="T14" fmla="*/ 194 w 288"/>
                <a:gd name="T15" fmla="*/ 72 h 344"/>
                <a:gd name="T16" fmla="*/ 198 w 288"/>
                <a:gd name="T17" fmla="*/ 76 h 344"/>
                <a:gd name="T18" fmla="*/ 181 w 288"/>
                <a:gd name="T19" fmla="*/ 87 h 344"/>
                <a:gd name="T20" fmla="*/ 173 w 288"/>
                <a:gd name="T21" fmla="*/ 85 h 344"/>
                <a:gd name="T22" fmla="*/ 160 w 288"/>
                <a:gd name="T23" fmla="*/ 87 h 344"/>
                <a:gd name="T24" fmla="*/ 158 w 288"/>
                <a:gd name="T25" fmla="*/ 103 h 344"/>
                <a:gd name="T26" fmla="*/ 145 w 288"/>
                <a:gd name="T27" fmla="*/ 125 h 344"/>
                <a:gd name="T28" fmla="*/ 116 w 288"/>
                <a:gd name="T29" fmla="*/ 122 h 344"/>
                <a:gd name="T30" fmla="*/ 84 w 288"/>
                <a:gd name="T31" fmla="*/ 129 h 344"/>
                <a:gd name="T32" fmla="*/ 72 w 288"/>
                <a:gd name="T33" fmla="*/ 146 h 344"/>
                <a:gd name="T34" fmla="*/ 65 w 288"/>
                <a:gd name="T35" fmla="*/ 133 h 344"/>
                <a:gd name="T36" fmla="*/ 71 w 288"/>
                <a:gd name="T37" fmla="*/ 125 h 344"/>
                <a:gd name="T38" fmla="*/ 61 w 288"/>
                <a:gd name="T39" fmla="*/ 120 h 344"/>
                <a:gd name="T40" fmla="*/ 57 w 288"/>
                <a:gd name="T41" fmla="*/ 108 h 344"/>
                <a:gd name="T42" fmla="*/ 44 w 288"/>
                <a:gd name="T43" fmla="*/ 108 h 344"/>
                <a:gd name="T44" fmla="*/ 23 w 288"/>
                <a:gd name="T45" fmla="*/ 103 h 344"/>
                <a:gd name="T46" fmla="*/ 6 w 288"/>
                <a:gd name="T47" fmla="*/ 118 h 344"/>
                <a:gd name="T48" fmla="*/ 10 w 288"/>
                <a:gd name="T49" fmla="*/ 125 h 344"/>
                <a:gd name="T50" fmla="*/ 13 w 288"/>
                <a:gd name="T51" fmla="*/ 156 h 344"/>
                <a:gd name="T52" fmla="*/ 15 w 288"/>
                <a:gd name="T53" fmla="*/ 171 h 344"/>
                <a:gd name="T54" fmla="*/ 36 w 288"/>
                <a:gd name="T55" fmla="*/ 163 h 344"/>
                <a:gd name="T56" fmla="*/ 53 w 288"/>
                <a:gd name="T57" fmla="*/ 177 h 344"/>
                <a:gd name="T58" fmla="*/ 74 w 288"/>
                <a:gd name="T59" fmla="*/ 179 h 344"/>
                <a:gd name="T60" fmla="*/ 86 w 288"/>
                <a:gd name="T61" fmla="*/ 179 h 344"/>
                <a:gd name="T62" fmla="*/ 86 w 288"/>
                <a:gd name="T63" fmla="*/ 194 h 344"/>
                <a:gd name="T64" fmla="*/ 95 w 288"/>
                <a:gd name="T65" fmla="*/ 219 h 344"/>
                <a:gd name="T66" fmla="*/ 120 w 288"/>
                <a:gd name="T67" fmla="*/ 262 h 344"/>
                <a:gd name="T68" fmla="*/ 149 w 288"/>
                <a:gd name="T69" fmla="*/ 293 h 344"/>
                <a:gd name="T70" fmla="*/ 139 w 288"/>
                <a:gd name="T71" fmla="*/ 302 h 344"/>
                <a:gd name="T72" fmla="*/ 139 w 288"/>
                <a:gd name="T73" fmla="*/ 310 h 344"/>
                <a:gd name="T74" fmla="*/ 141 w 288"/>
                <a:gd name="T75" fmla="*/ 327 h 344"/>
                <a:gd name="T76" fmla="*/ 156 w 288"/>
                <a:gd name="T77" fmla="*/ 308 h 344"/>
                <a:gd name="T78" fmla="*/ 173 w 288"/>
                <a:gd name="T79" fmla="*/ 304 h 344"/>
                <a:gd name="T80" fmla="*/ 170 w 288"/>
                <a:gd name="T81" fmla="*/ 289 h 344"/>
                <a:gd name="T82" fmla="*/ 185 w 288"/>
                <a:gd name="T83" fmla="*/ 298 h 344"/>
                <a:gd name="T84" fmla="*/ 191 w 288"/>
                <a:gd name="T85" fmla="*/ 306 h 344"/>
                <a:gd name="T86" fmla="*/ 200 w 288"/>
                <a:gd name="T87" fmla="*/ 304 h 344"/>
                <a:gd name="T88" fmla="*/ 219 w 288"/>
                <a:gd name="T89" fmla="*/ 287 h 344"/>
                <a:gd name="T90" fmla="*/ 229 w 288"/>
                <a:gd name="T91" fmla="*/ 314 h 344"/>
                <a:gd name="T92" fmla="*/ 227 w 288"/>
                <a:gd name="T93" fmla="*/ 342 h 344"/>
                <a:gd name="T94" fmla="*/ 236 w 288"/>
                <a:gd name="T95" fmla="*/ 333 h 344"/>
                <a:gd name="T96" fmla="*/ 255 w 288"/>
                <a:gd name="T97" fmla="*/ 333 h 344"/>
                <a:gd name="T98" fmla="*/ 278 w 288"/>
                <a:gd name="T99" fmla="*/ 319 h 344"/>
                <a:gd name="T100" fmla="*/ 280 w 288"/>
                <a:gd name="T101" fmla="*/ 289 h 344"/>
                <a:gd name="T102" fmla="*/ 276 w 288"/>
                <a:gd name="T103" fmla="*/ 266 h 344"/>
                <a:gd name="T104" fmla="*/ 265 w 288"/>
                <a:gd name="T105" fmla="*/ 257 h 344"/>
                <a:gd name="T106" fmla="*/ 242 w 288"/>
                <a:gd name="T107" fmla="*/ 259 h 344"/>
                <a:gd name="T108" fmla="*/ 219 w 288"/>
                <a:gd name="T109" fmla="*/ 251 h 344"/>
                <a:gd name="T110" fmla="*/ 229 w 288"/>
                <a:gd name="T111" fmla="*/ 224 h 344"/>
                <a:gd name="T112" fmla="*/ 250 w 288"/>
                <a:gd name="T113" fmla="*/ 209 h 344"/>
                <a:gd name="T114" fmla="*/ 246 w 288"/>
                <a:gd name="T115" fmla="*/ 169 h 344"/>
                <a:gd name="T116" fmla="*/ 240 w 288"/>
                <a:gd name="T117" fmla="*/ 148 h 344"/>
                <a:gd name="T118" fmla="*/ 246 w 288"/>
                <a:gd name="T119" fmla="*/ 125 h 344"/>
                <a:gd name="T120" fmla="*/ 263 w 288"/>
                <a:gd name="T121" fmla="*/ 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8" h="344">
                  <a:moveTo>
                    <a:pt x="288" y="59"/>
                  </a:moveTo>
                  <a:lnTo>
                    <a:pt x="288" y="59"/>
                  </a:lnTo>
                  <a:lnTo>
                    <a:pt x="288" y="59"/>
                  </a:lnTo>
                  <a:lnTo>
                    <a:pt x="284" y="57"/>
                  </a:lnTo>
                  <a:lnTo>
                    <a:pt x="282" y="55"/>
                  </a:lnTo>
                  <a:lnTo>
                    <a:pt x="280" y="55"/>
                  </a:lnTo>
                  <a:lnTo>
                    <a:pt x="278" y="55"/>
                  </a:lnTo>
                  <a:lnTo>
                    <a:pt x="278" y="55"/>
                  </a:lnTo>
                  <a:lnTo>
                    <a:pt x="276" y="55"/>
                  </a:lnTo>
                  <a:lnTo>
                    <a:pt x="274" y="55"/>
                  </a:lnTo>
                  <a:lnTo>
                    <a:pt x="274" y="55"/>
                  </a:lnTo>
                  <a:lnTo>
                    <a:pt x="274" y="55"/>
                  </a:lnTo>
                  <a:lnTo>
                    <a:pt x="276" y="53"/>
                  </a:lnTo>
                  <a:lnTo>
                    <a:pt x="276" y="51"/>
                  </a:lnTo>
                  <a:lnTo>
                    <a:pt x="276" y="51"/>
                  </a:lnTo>
                  <a:lnTo>
                    <a:pt x="274" y="51"/>
                  </a:lnTo>
                  <a:lnTo>
                    <a:pt x="273" y="53"/>
                  </a:lnTo>
                  <a:lnTo>
                    <a:pt x="271" y="55"/>
                  </a:lnTo>
                  <a:lnTo>
                    <a:pt x="269" y="55"/>
                  </a:lnTo>
                  <a:lnTo>
                    <a:pt x="269" y="53"/>
                  </a:lnTo>
                  <a:lnTo>
                    <a:pt x="267" y="53"/>
                  </a:lnTo>
                  <a:lnTo>
                    <a:pt x="267" y="51"/>
                  </a:lnTo>
                  <a:lnTo>
                    <a:pt x="267" y="51"/>
                  </a:lnTo>
                  <a:lnTo>
                    <a:pt x="261" y="51"/>
                  </a:lnTo>
                  <a:lnTo>
                    <a:pt x="261" y="51"/>
                  </a:lnTo>
                  <a:lnTo>
                    <a:pt x="259" y="49"/>
                  </a:lnTo>
                  <a:lnTo>
                    <a:pt x="255" y="47"/>
                  </a:lnTo>
                  <a:lnTo>
                    <a:pt x="253" y="49"/>
                  </a:lnTo>
                  <a:lnTo>
                    <a:pt x="253" y="49"/>
                  </a:lnTo>
                  <a:lnTo>
                    <a:pt x="253" y="49"/>
                  </a:lnTo>
                  <a:lnTo>
                    <a:pt x="253" y="47"/>
                  </a:lnTo>
                  <a:lnTo>
                    <a:pt x="252" y="47"/>
                  </a:lnTo>
                  <a:lnTo>
                    <a:pt x="248" y="42"/>
                  </a:lnTo>
                  <a:lnTo>
                    <a:pt x="246" y="42"/>
                  </a:lnTo>
                  <a:lnTo>
                    <a:pt x="246" y="40"/>
                  </a:lnTo>
                  <a:lnTo>
                    <a:pt x="246" y="38"/>
                  </a:lnTo>
                  <a:lnTo>
                    <a:pt x="248" y="36"/>
                  </a:lnTo>
                  <a:lnTo>
                    <a:pt x="248" y="34"/>
                  </a:lnTo>
                  <a:lnTo>
                    <a:pt x="248" y="32"/>
                  </a:lnTo>
                  <a:lnTo>
                    <a:pt x="248" y="28"/>
                  </a:lnTo>
                  <a:lnTo>
                    <a:pt x="248" y="28"/>
                  </a:lnTo>
                  <a:lnTo>
                    <a:pt x="248" y="27"/>
                  </a:lnTo>
                  <a:lnTo>
                    <a:pt x="246" y="25"/>
                  </a:lnTo>
                  <a:lnTo>
                    <a:pt x="244" y="23"/>
                  </a:lnTo>
                  <a:lnTo>
                    <a:pt x="242" y="21"/>
                  </a:lnTo>
                  <a:lnTo>
                    <a:pt x="238" y="19"/>
                  </a:lnTo>
                  <a:lnTo>
                    <a:pt x="234" y="17"/>
                  </a:lnTo>
                  <a:lnTo>
                    <a:pt x="234" y="17"/>
                  </a:lnTo>
                  <a:lnTo>
                    <a:pt x="234" y="17"/>
                  </a:lnTo>
                  <a:lnTo>
                    <a:pt x="234" y="15"/>
                  </a:lnTo>
                  <a:lnTo>
                    <a:pt x="232" y="15"/>
                  </a:lnTo>
                  <a:lnTo>
                    <a:pt x="232" y="13"/>
                  </a:lnTo>
                  <a:lnTo>
                    <a:pt x="232" y="13"/>
                  </a:lnTo>
                  <a:lnTo>
                    <a:pt x="231" y="13"/>
                  </a:lnTo>
                  <a:lnTo>
                    <a:pt x="231" y="13"/>
                  </a:lnTo>
                  <a:lnTo>
                    <a:pt x="229" y="11"/>
                  </a:lnTo>
                  <a:lnTo>
                    <a:pt x="229" y="9"/>
                  </a:lnTo>
                  <a:lnTo>
                    <a:pt x="229" y="8"/>
                  </a:lnTo>
                  <a:lnTo>
                    <a:pt x="229" y="8"/>
                  </a:lnTo>
                  <a:lnTo>
                    <a:pt x="227" y="6"/>
                  </a:lnTo>
                  <a:lnTo>
                    <a:pt x="225" y="4"/>
                  </a:lnTo>
                  <a:lnTo>
                    <a:pt x="223" y="4"/>
                  </a:lnTo>
                  <a:lnTo>
                    <a:pt x="223" y="4"/>
                  </a:lnTo>
                  <a:lnTo>
                    <a:pt x="221" y="4"/>
                  </a:lnTo>
                  <a:lnTo>
                    <a:pt x="219" y="4"/>
                  </a:lnTo>
                  <a:lnTo>
                    <a:pt x="219" y="4"/>
                  </a:lnTo>
                  <a:lnTo>
                    <a:pt x="217" y="2"/>
                  </a:lnTo>
                  <a:lnTo>
                    <a:pt x="217" y="0"/>
                  </a:lnTo>
                  <a:lnTo>
                    <a:pt x="217" y="0"/>
                  </a:lnTo>
                  <a:lnTo>
                    <a:pt x="217" y="0"/>
                  </a:lnTo>
                  <a:lnTo>
                    <a:pt x="215" y="0"/>
                  </a:lnTo>
                  <a:lnTo>
                    <a:pt x="215" y="0"/>
                  </a:lnTo>
                  <a:lnTo>
                    <a:pt x="213" y="2"/>
                  </a:lnTo>
                  <a:lnTo>
                    <a:pt x="213" y="2"/>
                  </a:lnTo>
                  <a:lnTo>
                    <a:pt x="212" y="4"/>
                  </a:lnTo>
                  <a:lnTo>
                    <a:pt x="213" y="4"/>
                  </a:lnTo>
                  <a:lnTo>
                    <a:pt x="213" y="6"/>
                  </a:lnTo>
                  <a:lnTo>
                    <a:pt x="215" y="8"/>
                  </a:lnTo>
                  <a:lnTo>
                    <a:pt x="215" y="9"/>
                  </a:lnTo>
                  <a:lnTo>
                    <a:pt x="215" y="9"/>
                  </a:lnTo>
                  <a:lnTo>
                    <a:pt x="217" y="9"/>
                  </a:lnTo>
                  <a:lnTo>
                    <a:pt x="217" y="9"/>
                  </a:lnTo>
                  <a:lnTo>
                    <a:pt x="219" y="9"/>
                  </a:lnTo>
                  <a:lnTo>
                    <a:pt x="219" y="11"/>
                  </a:lnTo>
                  <a:lnTo>
                    <a:pt x="219" y="11"/>
                  </a:lnTo>
                  <a:lnTo>
                    <a:pt x="219" y="11"/>
                  </a:lnTo>
                  <a:lnTo>
                    <a:pt x="217" y="13"/>
                  </a:lnTo>
                  <a:lnTo>
                    <a:pt x="217" y="15"/>
                  </a:lnTo>
                  <a:lnTo>
                    <a:pt x="217" y="17"/>
                  </a:lnTo>
                  <a:lnTo>
                    <a:pt x="217" y="17"/>
                  </a:lnTo>
                  <a:lnTo>
                    <a:pt x="217" y="19"/>
                  </a:lnTo>
                  <a:lnTo>
                    <a:pt x="217" y="21"/>
                  </a:lnTo>
                  <a:lnTo>
                    <a:pt x="217" y="21"/>
                  </a:lnTo>
                  <a:lnTo>
                    <a:pt x="217" y="21"/>
                  </a:lnTo>
                  <a:lnTo>
                    <a:pt x="217" y="23"/>
                  </a:lnTo>
                  <a:lnTo>
                    <a:pt x="217" y="25"/>
                  </a:lnTo>
                  <a:lnTo>
                    <a:pt x="217" y="27"/>
                  </a:lnTo>
                  <a:lnTo>
                    <a:pt x="219" y="28"/>
                  </a:lnTo>
                  <a:lnTo>
                    <a:pt x="219" y="27"/>
                  </a:lnTo>
                  <a:lnTo>
                    <a:pt x="219" y="27"/>
                  </a:lnTo>
                  <a:lnTo>
                    <a:pt x="219" y="27"/>
                  </a:lnTo>
                  <a:lnTo>
                    <a:pt x="221" y="27"/>
                  </a:lnTo>
                  <a:lnTo>
                    <a:pt x="221" y="28"/>
                  </a:lnTo>
                  <a:lnTo>
                    <a:pt x="221" y="28"/>
                  </a:lnTo>
                  <a:lnTo>
                    <a:pt x="221" y="30"/>
                  </a:lnTo>
                  <a:lnTo>
                    <a:pt x="221" y="32"/>
                  </a:lnTo>
                  <a:lnTo>
                    <a:pt x="223" y="32"/>
                  </a:lnTo>
                  <a:lnTo>
                    <a:pt x="223" y="32"/>
                  </a:lnTo>
                  <a:lnTo>
                    <a:pt x="223" y="32"/>
                  </a:lnTo>
                  <a:lnTo>
                    <a:pt x="223" y="32"/>
                  </a:lnTo>
                  <a:lnTo>
                    <a:pt x="225" y="34"/>
                  </a:lnTo>
                  <a:lnTo>
                    <a:pt x="225" y="36"/>
                  </a:lnTo>
                  <a:lnTo>
                    <a:pt x="225" y="36"/>
                  </a:lnTo>
                  <a:lnTo>
                    <a:pt x="225" y="36"/>
                  </a:lnTo>
                  <a:lnTo>
                    <a:pt x="225" y="40"/>
                  </a:lnTo>
                  <a:lnTo>
                    <a:pt x="225" y="42"/>
                  </a:lnTo>
                  <a:lnTo>
                    <a:pt x="225" y="44"/>
                  </a:lnTo>
                  <a:lnTo>
                    <a:pt x="225" y="44"/>
                  </a:lnTo>
                  <a:lnTo>
                    <a:pt x="225" y="44"/>
                  </a:lnTo>
                  <a:lnTo>
                    <a:pt x="225" y="46"/>
                  </a:lnTo>
                  <a:lnTo>
                    <a:pt x="225" y="46"/>
                  </a:lnTo>
                  <a:lnTo>
                    <a:pt x="225" y="47"/>
                  </a:lnTo>
                  <a:lnTo>
                    <a:pt x="225" y="47"/>
                  </a:lnTo>
                  <a:lnTo>
                    <a:pt x="225" y="47"/>
                  </a:lnTo>
                  <a:lnTo>
                    <a:pt x="225" y="51"/>
                  </a:lnTo>
                  <a:lnTo>
                    <a:pt x="225" y="53"/>
                  </a:lnTo>
                  <a:lnTo>
                    <a:pt x="225" y="57"/>
                  </a:lnTo>
                  <a:lnTo>
                    <a:pt x="225" y="57"/>
                  </a:lnTo>
                  <a:lnTo>
                    <a:pt x="225" y="59"/>
                  </a:lnTo>
                  <a:lnTo>
                    <a:pt x="225" y="61"/>
                  </a:lnTo>
                  <a:lnTo>
                    <a:pt x="223" y="61"/>
                  </a:lnTo>
                  <a:lnTo>
                    <a:pt x="223" y="63"/>
                  </a:lnTo>
                  <a:lnTo>
                    <a:pt x="221" y="61"/>
                  </a:lnTo>
                  <a:lnTo>
                    <a:pt x="221" y="61"/>
                  </a:lnTo>
                  <a:lnTo>
                    <a:pt x="221" y="57"/>
                  </a:lnTo>
                  <a:lnTo>
                    <a:pt x="219" y="55"/>
                  </a:lnTo>
                  <a:lnTo>
                    <a:pt x="219" y="55"/>
                  </a:lnTo>
                  <a:lnTo>
                    <a:pt x="217" y="55"/>
                  </a:lnTo>
                  <a:lnTo>
                    <a:pt x="215" y="55"/>
                  </a:lnTo>
                  <a:lnTo>
                    <a:pt x="213" y="55"/>
                  </a:lnTo>
                  <a:lnTo>
                    <a:pt x="212" y="53"/>
                  </a:lnTo>
                  <a:lnTo>
                    <a:pt x="212" y="53"/>
                  </a:lnTo>
                  <a:lnTo>
                    <a:pt x="210" y="55"/>
                  </a:lnTo>
                  <a:lnTo>
                    <a:pt x="208" y="55"/>
                  </a:lnTo>
                  <a:lnTo>
                    <a:pt x="208" y="57"/>
                  </a:lnTo>
                  <a:lnTo>
                    <a:pt x="208" y="59"/>
                  </a:lnTo>
                  <a:lnTo>
                    <a:pt x="208" y="61"/>
                  </a:lnTo>
                  <a:lnTo>
                    <a:pt x="208" y="61"/>
                  </a:lnTo>
                  <a:lnTo>
                    <a:pt x="208" y="61"/>
                  </a:lnTo>
                  <a:lnTo>
                    <a:pt x="210" y="61"/>
                  </a:lnTo>
                  <a:lnTo>
                    <a:pt x="210" y="61"/>
                  </a:lnTo>
                  <a:lnTo>
                    <a:pt x="210" y="61"/>
                  </a:lnTo>
                  <a:lnTo>
                    <a:pt x="210" y="63"/>
                  </a:lnTo>
                  <a:lnTo>
                    <a:pt x="210" y="63"/>
                  </a:lnTo>
                  <a:lnTo>
                    <a:pt x="208" y="65"/>
                  </a:lnTo>
                  <a:lnTo>
                    <a:pt x="202" y="68"/>
                  </a:lnTo>
                  <a:lnTo>
                    <a:pt x="200" y="68"/>
                  </a:lnTo>
                  <a:lnTo>
                    <a:pt x="198" y="70"/>
                  </a:lnTo>
                  <a:lnTo>
                    <a:pt x="198" y="70"/>
                  </a:lnTo>
                  <a:lnTo>
                    <a:pt x="194" y="72"/>
                  </a:lnTo>
                  <a:lnTo>
                    <a:pt x="192" y="72"/>
                  </a:lnTo>
                  <a:lnTo>
                    <a:pt x="191" y="74"/>
                  </a:lnTo>
                  <a:lnTo>
                    <a:pt x="191" y="74"/>
                  </a:lnTo>
                  <a:lnTo>
                    <a:pt x="191" y="76"/>
                  </a:lnTo>
                  <a:lnTo>
                    <a:pt x="191" y="76"/>
                  </a:lnTo>
                  <a:lnTo>
                    <a:pt x="192" y="76"/>
                  </a:lnTo>
                  <a:lnTo>
                    <a:pt x="192" y="76"/>
                  </a:lnTo>
                  <a:lnTo>
                    <a:pt x="192" y="76"/>
                  </a:lnTo>
                  <a:lnTo>
                    <a:pt x="192" y="76"/>
                  </a:lnTo>
                  <a:lnTo>
                    <a:pt x="194" y="74"/>
                  </a:lnTo>
                  <a:lnTo>
                    <a:pt x="194" y="74"/>
                  </a:lnTo>
                  <a:lnTo>
                    <a:pt x="196" y="74"/>
                  </a:lnTo>
                  <a:lnTo>
                    <a:pt x="196" y="74"/>
                  </a:lnTo>
                  <a:lnTo>
                    <a:pt x="196" y="74"/>
                  </a:lnTo>
                  <a:lnTo>
                    <a:pt x="196" y="74"/>
                  </a:lnTo>
                  <a:lnTo>
                    <a:pt x="196" y="74"/>
                  </a:lnTo>
                  <a:lnTo>
                    <a:pt x="196" y="76"/>
                  </a:lnTo>
                  <a:lnTo>
                    <a:pt x="196" y="76"/>
                  </a:lnTo>
                  <a:lnTo>
                    <a:pt x="198" y="76"/>
                  </a:lnTo>
                  <a:lnTo>
                    <a:pt x="198" y="76"/>
                  </a:lnTo>
                  <a:lnTo>
                    <a:pt x="198" y="78"/>
                  </a:lnTo>
                  <a:lnTo>
                    <a:pt x="200" y="78"/>
                  </a:lnTo>
                  <a:lnTo>
                    <a:pt x="200" y="78"/>
                  </a:lnTo>
                  <a:lnTo>
                    <a:pt x="200" y="78"/>
                  </a:lnTo>
                  <a:lnTo>
                    <a:pt x="200" y="78"/>
                  </a:lnTo>
                  <a:lnTo>
                    <a:pt x="200" y="80"/>
                  </a:lnTo>
                  <a:lnTo>
                    <a:pt x="200" y="80"/>
                  </a:lnTo>
                  <a:lnTo>
                    <a:pt x="200" y="80"/>
                  </a:lnTo>
                  <a:lnTo>
                    <a:pt x="200" y="82"/>
                  </a:lnTo>
                  <a:lnTo>
                    <a:pt x="200" y="84"/>
                  </a:lnTo>
                  <a:lnTo>
                    <a:pt x="200" y="84"/>
                  </a:lnTo>
                  <a:lnTo>
                    <a:pt x="200" y="85"/>
                  </a:lnTo>
                  <a:lnTo>
                    <a:pt x="196" y="87"/>
                  </a:lnTo>
                  <a:lnTo>
                    <a:pt x="191" y="91"/>
                  </a:lnTo>
                  <a:lnTo>
                    <a:pt x="187" y="91"/>
                  </a:lnTo>
                  <a:lnTo>
                    <a:pt x="187" y="91"/>
                  </a:lnTo>
                  <a:lnTo>
                    <a:pt x="185" y="89"/>
                  </a:lnTo>
                  <a:lnTo>
                    <a:pt x="183" y="89"/>
                  </a:lnTo>
                  <a:lnTo>
                    <a:pt x="183" y="89"/>
                  </a:lnTo>
                  <a:lnTo>
                    <a:pt x="181" y="87"/>
                  </a:lnTo>
                  <a:lnTo>
                    <a:pt x="181" y="85"/>
                  </a:lnTo>
                  <a:lnTo>
                    <a:pt x="181" y="82"/>
                  </a:lnTo>
                  <a:lnTo>
                    <a:pt x="179" y="80"/>
                  </a:lnTo>
                  <a:lnTo>
                    <a:pt x="179" y="80"/>
                  </a:lnTo>
                  <a:lnTo>
                    <a:pt x="179" y="80"/>
                  </a:lnTo>
                  <a:lnTo>
                    <a:pt x="177" y="80"/>
                  </a:lnTo>
                  <a:lnTo>
                    <a:pt x="177" y="82"/>
                  </a:lnTo>
                  <a:lnTo>
                    <a:pt x="177" y="82"/>
                  </a:lnTo>
                  <a:lnTo>
                    <a:pt x="177" y="82"/>
                  </a:lnTo>
                  <a:lnTo>
                    <a:pt x="177" y="84"/>
                  </a:lnTo>
                  <a:lnTo>
                    <a:pt x="177" y="84"/>
                  </a:lnTo>
                  <a:lnTo>
                    <a:pt x="177" y="84"/>
                  </a:lnTo>
                  <a:lnTo>
                    <a:pt x="177" y="85"/>
                  </a:lnTo>
                  <a:lnTo>
                    <a:pt x="177" y="87"/>
                  </a:lnTo>
                  <a:lnTo>
                    <a:pt x="177" y="87"/>
                  </a:lnTo>
                  <a:lnTo>
                    <a:pt x="175" y="87"/>
                  </a:lnTo>
                  <a:lnTo>
                    <a:pt x="175" y="87"/>
                  </a:lnTo>
                  <a:lnTo>
                    <a:pt x="175" y="87"/>
                  </a:lnTo>
                  <a:lnTo>
                    <a:pt x="175" y="87"/>
                  </a:lnTo>
                  <a:lnTo>
                    <a:pt x="173" y="85"/>
                  </a:lnTo>
                  <a:lnTo>
                    <a:pt x="173" y="85"/>
                  </a:lnTo>
                  <a:lnTo>
                    <a:pt x="172" y="85"/>
                  </a:lnTo>
                  <a:lnTo>
                    <a:pt x="172" y="85"/>
                  </a:lnTo>
                  <a:lnTo>
                    <a:pt x="172" y="85"/>
                  </a:lnTo>
                  <a:lnTo>
                    <a:pt x="172" y="87"/>
                  </a:lnTo>
                  <a:lnTo>
                    <a:pt x="172" y="87"/>
                  </a:lnTo>
                  <a:lnTo>
                    <a:pt x="172" y="87"/>
                  </a:lnTo>
                  <a:lnTo>
                    <a:pt x="172" y="89"/>
                  </a:lnTo>
                  <a:lnTo>
                    <a:pt x="170" y="89"/>
                  </a:lnTo>
                  <a:lnTo>
                    <a:pt x="170" y="89"/>
                  </a:lnTo>
                  <a:lnTo>
                    <a:pt x="168" y="87"/>
                  </a:lnTo>
                  <a:lnTo>
                    <a:pt x="168" y="87"/>
                  </a:lnTo>
                  <a:lnTo>
                    <a:pt x="166" y="87"/>
                  </a:lnTo>
                  <a:lnTo>
                    <a:pt x="166" y="87"/>
                  </a:lnTo>
                  <a:lnTo>
                    <a:pt x="162" y="85"/>
                  </a:lnTo>
                  <a:lnTo>
                    <a:pt x="162" y="85"/>
                  </a:lnTo>
                  <a:lnTo>
                    <a:pt x="162" y="85"/>
                  </a:lnTo>
                  <a:lnTo>
                    <a:pt x="160" y="85"/>
                  </a:lnTo>
                  <a:lnTo>
                    <a:pt x="160" y="87"/>
                  </a:lnTo>
                  <a:lnTo>
                    <a:pt x="160" y="87"/>
                  </a:lnTo>
                  <a:lnTo>
                    <a:pt x="160" y="87"/>
                  </a:lnTo>
                  <a:lnTo>
                    <a:pt x="162" y="89"/>
                  </a:lnTo>
                  <a:lnTo>
                    <a:pt x="162" y="89"/>
                  </a:lnTo>
                  <a:lnTo>
                    <a:pt x="164" y="89"/>
                  </a:lnTo>
                  <a:lnTo>
                    <a:pt x="164" y="89"/>
                  </a:lnTo>
                  <a:lnTo>
                    <a:pt x="166" y="91"/>
                  </a:lnTo>
                  <a:lnTo>
                    <a:pt x="164" y="91"/>
                  </a:lnTo>
                  <a:lnTo>
                    <a:pt x="162" y="91"/>
                  </a:lnTo>
                  <a:lnTo>
                    <a:pt x="162" y="91"/>
                  </a:lnTo>
                  <a:lnTo>
                    <a:pt x="162" y="91"/>
                  </a:lnTo>
                  <a:lnTo>
                    <a:pt x="162" y="93"/>
                  </a:lnTo>
                  <a:lnTo>
                    <a:pt x="162" y="93"/>
                  </a:lnTo>
                  <a:lnTo>
                    <a:pt x="162" y="93"/>
                  </a:lnTo>
                  <a:lnTo>
                    <a:pt x="162" y="95"/>
                  </a:lnTo>
                  <a:lnTo>
                    <a:pt x="162" y="95"/>
                  </a:lnTo>
                  <a:lnTo>
                    <a:pt x="162" y="95"/>
                  </a:lnTo>
                  <a:lnTo>
                    <a:pt x="162" y="95"/>
                  </a:lnTo>
                  <a:lnTo>
                    <a:pt x="160" y="97"/>
                  </a:lnTo>
                  <a:lnTo>
                    <a:pt x="160" y="97"/>
                  </a:lnTo>
                  <a:lnTo>
                    <a:pt x="158" y="103"/>
                  </a:lnTo>
                  <a:lnTo>
                    <a:pt x="158" y="104"/>
                  </a:lnTo>
                  <a:lnTo>
                    <a:pt x="158" y="106"/>
                  </a:lnTo>
                  <a:lnTo>
                    <a:pt x="158" y="106"/>
                  </a:lnTo>
                  <a:lnTo>
                    <a:pt x="158" y="108"/>
                  </a:lnTo>
                  <a:lnTo>
                    <a:pt x="158" y="108"/>
                  </a:lnTo>
                  <a:lnTo>
                    <a:pt x="158" y="110"/>
                  </a:lnTo>
                  <a:lnTo>
                    <a:pt x="160" y="110"/>
                  </a:lnTo>
                  <a:lnTo>
                    <a:pt x="160" y="110"/>
                  </a:lnTo>
                  <a:lnTo>
                    <a:pt x="162" y="112"/>
                  </a:lnTo>
                  <a:lnTo>
                    <a:pt x="162" y="112"/>
                  </a:lnTo>
                  <a:lnTo>
                    <a:pt x="162" y="114"/>
                  </a:lnTo>
                  <a:lnTo>
                    <a:pt x="162" y="116"/>
                  </a:lnTo>
                  <a:lnTo>
                    <a:pt x="158" y="116"/>
                  </a:lnTo>
                  <a:lnTo>
                    <a:pt x="156" y="118"/>
                  </a:lnTo>
                  <a:lnTo>
                    <a:pt x="154" y="120"/>
                  </a:lnTo>
                  <a:lnTo>
                    <a:pt x="152" y="120"/>
                  </a:lnTo>
                  <a:lnTo>
                    <a:pt x="149" y="122"/>
                  </a:lnTo>
                  <a:lnTo>
                    <a:pt x="147" y="125"/>
                  </a:lnTo>
                  <a:lnTo>
                    <a:pt x="145" y="125"/>
                  </a:lnTo>
                  <a:lnTo>
                    <a:pt x="145" y="125"/>
                  </a:lnTo>
                  <a:lnTo>
                    <a:pt x="141" y="125"/>
                  </a:lnTo>
                  <a:lnTo>
                    <a:pt x="141" y="125"/>
                  </a:lnTo>
                  <a:lnTo>
                    <a:pt x="139" y="127"/>
                  </a:lnTo>
                  <a:lnTo>
                    <a:pt x="137" y="127"/>
                  </a:lnTo>
                  <a:lnTo>
                    <a:pt x="135" y="127"/>
                  </a:lnTo>
                  <a:lnTo>
                    <a:pt x="133" y="127"/>
                  </a:lnTo>
                  <a:lnTo>
                    <a:pt x="131" y="127"/>
                  </a:lnTo>
                  <a:lnTo>
                    <a:pt x="130" y="125"/>
                  </a:lnTo>
                  <a:lnTo>
                    <a:pt x="130" y="125"/>
                  </a:lnTo>
                  <a:lnTo>
                    <a:pt x="128" y="122"/>
                  </a:lnTo>
                  <a:lnTo>
                    <a:pt x="128" y="122"/>
                  </a:lnTo>
                  <a:lnTo>
                    <a:pt x="126" y="120"/>
                  </a:lnTo>
                  <a:lnTo>
                    <a:pt x="126" y="118"/>
                  </a:lnTo>
                  <a:lnTo>
                    <a:pt x="124" y="118"/>
                  </a:lnTo>
                  <a:lnTo>
                    <a:pt x="122" y="118"/>
                  </a:lnTo>
                  <a:lnTo>
                    <a:pt x="122" y="118"/>
                  </a:lnTo>
                  <a:lnTo>
                    <a:pt x="120" y="118"/>
                  </a:lnTo>
                  <a:lnTo>
                    <a:pt x="116" y="120"/>
                  </a:lnTo>
                  <a:lnTo>
                    <a:pt x="116" y="122"/>
                  </a:lnTo>
                  <a:lnTo>
                    <a:pt x="116" y="122"/>
                  </a:lnTo>
                  <a:lnTo>
                    <a:pt x="116" y="124"/>
                  </a:lnTo>
                  <a:lnTo>
                    <a:pt x="116" y="124"/>
                  </a:lnTo>
                  <a:lnTo>
                    <a:pt x="114" y="124"/>
                  </a:lnTo>
                  <a:lnTo>
                    <a:pt x="114" y="125"/>
                  </a:lnTo>
                  <a:lnTo>
                    <a:pt x="111" y="124"/>
                  </a:lnTo>
                  <a:lnTo>
                    <a:pt x="109" y="124"/>
                  </a:lnTo>
                  <a:lnTo>
                    <a:pt x="107" y="125"/>
                  </a:lnTo>
                  <a:lnTo>
                    <a:pt x="105" y="125"/>
                  </a:lnTo>
                  <a:lnTo>
                    <a:pt x="103" y="125"/>
                  </a:lnTo>
                  <a:lnTo>
                    <a:pt x="99" y="124"/>
                  </a:lnTo>
                  <a:lnTo>
                    <a:pt x="99" y="122"/>
                  </a:lnTo>
                  <a:lnTo>
                    <a:pt x="99" y="124"/>
                  </a:lnTo>
                  <a:lnTo>
                    <a:pt x="97" y="122"/>
                  </a:lnTo>
                  <a:lnTo>
                    <a:pt x="93" y="122"/>
                  </a:lnTo>
                  <a:lnTo>
                    <a:pt x="91" y="120"/>
                  </a:lnTo>
                  <a:lnTo>
                    <a:pt x="91" y="120"/>
                  </a:lnTo>
                  <a:lnTo>
                    <a:pt x="90" y="120"/>
                  </a:lnTo>
                  <a:lnTo>
                    <a:pt x="90" y="124"/>
                  </a:lnTo>
                  <a:lnTo>
                    <a:pt x="88" y="125"/>
                  </a:lnTo>
                  <a:lnTo>
                    <a:pt x="84" y="129"/>
                  </a:lnTo>
                  <a:lnTo>
                    <a:pt x="84" y="131"/>
                  </a:lnTo>
                  <a:lnTo>
                    <a:pt x="82" y="133"/>
                  </a:lnTo>
                  <a:lnTo>
                    <a:pt x="82" y="133"/>
                  </a:lnTo>
                  <a:lnTo>
                    <a:pt x="82" y="135"/>
                  </a:lnTo>
                  <a:lnTo>
                    <a:pt x="82" y="135"/>
                  </a:lnTo>
                  <a:lnTo>
                    <a:pt x="80" y="135"/>
                  </a:lnTo>
                  <a:lnTo>
                    <a:pt x="80" y="137"/>
                  </a:lnTo>
                  <a:lnTo>
                    <a:pt x="80" y="135"/>
                  </a:lnTo>
                  <a:lnTo>
                    <a:pt x="78" y="135"/>
                  </a:lnTo>
                  <a:lnTo>
                    <a:pt x="78" y="137"/>
                  </a:lnTo>
                  <a:lnTo>
                    <a:pt x="76" y="139"/>
                  </a:lnTo>
                  <a:lnTo>
                    <a:pt x="76" y="141"/>
                  </a:lnTo>
                  <a:lnTo>
                    <a:pt x="76" y="141"/>
                  </a:lnTo>
                  <a:lnTo>
                    <a:pt x="76" y="143"/>
                  </a:lnTo>
                  <a:lnTo>
                    <a:pt x="76" y="143"/>
                  </a:lnTo>
                  <a:lnTo>
                    <a:pt x="78" y="144"/>
                  </a:lnTo>
                  <a:lnTo>
                    <a:pt x="76" y="144"/>
                  </a:lnTo>
                  <a:lnTo>
                    <a:pt x="76" y="144"/>
                  </a:lnTo>
                  <a:lnTo>
                    <a:pt x="74" y="146"/>
                  </a:lnTo>
                  <a:lnTo>
                    <a:pt x="72" y="146"/>
                  </a:lnTo>
                  <a:lnTo>
                    <a:pt x="71" y="146"/>
                  </a:lnTo>
                  <a:lnTo>
                    <a:pt x="71" y="144"/>
                  </a:lnTo>
                  <a:lnTo>
                    <a:pt x="71" y="143"/>
                  </a:lnTo>
                  <a:lnTo>
                    <a:pt x="71" y="143"/>
                  </a:lnTo>
                  <a:lnTo>
                    <a:pt x="69" y="143"/>
                  </a:lnTo>
                  <a:lnTo>
                    <a:pt x="69" y="141"/>
                  </a:lnTo>
                  <a:lnTo>
                    <a:pt x="69" y="141"/>
                  </a:lnTo>
                  <a:lnTo>
                    <a:pt x="69" y="141"/>
                  </a:lnTo>
                  <a:lnTo>
                    <a:pt x="69" y="139"/>
                  </a:lnTo>
                  <a:lnTo>
                    <a:pt x="67" y="139"/>
                  </a:lnTo>
                  <a:lnTo>
                    <a:pt x="67" y="137"/>
                  </a:lnTo>
                  <a:lnTo>
                    <a:pt x="67" y="137"/>
                  </a:lnTo>
                  <a:lnTo>
                    <a:pt x="67" y="137"/>
                  </a:lnTo>
                  <a:lnTo>
                    <a:pt x="67" y="137"/>
                  </a:lnTo>
                  <a:lnTo>
                    <a:pt x="67" y="137"/>
                  </a:lnTo>
                  <a:lnTo>
                    <a:pt x="67" y="135"/>
                  </a:lnTo>
                  <a:lnTo>
                    <a:pt x="65" y="135"/>
                  </a:lnTo>
                  <a:lnTo>
                    <a:pt x="65" y="133"/>
                  </a:lnTo>
                  <a:lnTo>
                    <a:pt x="65" y="133"/>
                  </a:lnTo>
                  <a:lnTo>
                    <a:pt x="65" y="133"/>
                  </a:lnTo>
                  <a:lnTo>
                    <a:pt x="67" y="133"/>
                  </a:lnTo>
                  <a:lnTo>
                    <a:pt x="67" y="133"/>
                  </a:lnTo>
                  <a:lnTo>
                    <a:pt x="67" y="131"/>
                  </a:lnTo>
                  <a:lnTo>
                    <a:pt x="69" y="131"/>
                  </a:lnTo>
                  <a:lnTo>
                    <a:pt x="69" y="131"/>
                  </a:lnTo>
                  <a:lnTo>
                    <a:pt x="69" y="131"/>
                  </a:lnTo>
                  <a:lnTo>
                    <a:pt x="69" y="129"/>
                  </a:lnTo>
                  <a:lnTo>
                    <a:pt x="69" y="127"/>
                  </a:lnTo>
                  <a:lnTo>
                    <a:pt x="69" y="127"/>
                  </a:lnTo>
                  <a:lnTo>
                    <a:pt x="69" y="127"/>
                  </a:lnTo>
                  <a:lnTo>
                    <a:pt x="69" y="127"/>
                  </a:lnTo>
                  <a:lnTo>
                    <a:pt x="69" y="127"/>
                  </a:lnTo>
                  <a:lnTo>
                    <a:pt x="69" y="127"/>
                  </a:lnTo>
                  <a:lnTo>
                    <a:pt x="69" y="127"/>
                  </a:lnTo>
                  <a:lnTo>
                    <a:pt x="71" y="127"/>
                  </a:lnTo>
                  <a:lnTo>
                    <a:pt x="71" y="127"/>
                  </a:lnTo>
                  <a:lnTo>
                    <a:pt x="71" y="127"/>
                  </a:lnTo>
                  <a:lnTo>
                    <a:pt x="71" y="127"/>
                  </a:lnTo>
                  <a:lnTo>
                    <a:pt x="71" y="127"/>
                  </a:lnTo>
                  <a:lnTo>
                    <a:pt x="71" y="125"/>
                  </a:lnTo>
                  <a:lnTo>
                    <a:pt x="71" y="125"/>
                  </a:lnTo>
                  <a:lnTo>
                    <a:pt x="71" y="125"/>
                  </a:lnTo>
                  <a:lnTo>
                    <a:pt x="69" y="124"/>
                  </a:lnTo>
                  <a:lnTo>
                    <a:pt x="69" y="122"/>
                  </a:lnTo>
                  <a:lnTo>
                    <a:pt x="69" y="120"/>
                  </a:lnTo>
                  <a:lnTo>
                    <a:pt x="67" y="120"/>
                  </a:lnTo>
                  <a:lnTo>
                    <a:pt x="67" y="118"/>
                  </a:lnTo>
                  <a:lnTo>
                    <a:pt x="67" y="118"/>
                  </a:lnTo>
                  <a:lnTo>
                    <a:pt x="67" y="118"/>
                  </a:lnTo>
                  <a:lnTo>
                    <a:pt x="67" y="118"/>
                  </a:lnTo>
                  <a:lnTo>
                    <a:pt x="65" y="118"/>
                  </a:lnTo>
                  <a:lnTo>
                    <a:pt x="65" y="118"/>
                  </a:lnTo>
                  <a:lnTo>
                    <a:pt x="63" y="120"/>
                  </a:lnTo>
                  <a:lnTo>
                    <a:pt x="63" y="120"/>
                  </a:lnTo>
                  <a:lnTo>
                    <a:pt x="63" y="122"/>
                  </a:lnTo>
                  <a:lnTo>
                    <a:pt x="63" y="122"/>
                  </a:lnTo>
                  <a:lnTo>
                    <a:pt x="63" y="122"/>
                  </a:lnTo>
                  <a:lnTo>
                    <a:pt x="63" y="122"/>
                  </a:lnTo>
                  <a:lnTo>
                    <a:pt x="63" y="122"/>
                  </a:lnTo>
                  <a:lnTo>
                    <a:pt x="61" y="120"/>
                  </a:lnTo>
                  <a:lnTo>
                    <a:pt x="61" y="120"/>
                  </a:lnTo>
                  <a:lnTo>
                    <a:pt x="59" y="120"/>
                  </a:lnTo>
                  <a:lnTo>
                    <a:pt x="59" y="118"/>
                  </a:lnTo>
                  <a:lnTo>
                    <a:pt x="59" y="118"/>
                  </a:lnTo>
                  <a:lnTo>
                    <a:pt x="59" y="116"/>
                  </a:lnTo>
                  <a:lnTo>
                    <a:pt x="59" y="116"/>
                  </a:lnTo>
                  <a:lnTo>
                    <a:pt x="59" y="114"/>
                  </a:lnTo>
                  <a:lnTo>
                    <a:pt x="57" y="114"/>
                  </a:lnTo>
                  <a:lnTo>
                    <a:pt x="57" y="114"/>
                  </a:lnTo>
                  <a:lnTo>
                    <a:pt x="57" y="114"/>
                  </a:lnTo>
                  <a:lnTo>
                    <a:pt x="57" y="114"/>
                  </a:lnTo>
                  <a:lnTo>
                    <a:pt x="59" y="114"/>
                  </a:lnTo>
                  <a:lnTo>
                    <a:pt x="59" y="112"/>
                  </a:lnTo>
                  <a:lnTo>
                    <a:pt x="59" y="112"/>
                  </a:lnTo>
                  <a:lnTo>
                    <a:pt x="59" y="112"/>
                  </a:lnTo>
                  <a:lnTo>
                    <a:pt x="59" y="110"/>
                  </a:lnTo>
                  <a:lnTo>
                    <a:pt x="59" y="110"/>
                  </a:lnTo>
                  <a:lnTo>
                    <a:pt x="59" y="108"/>
                  </a:lnTo>
                  <a:lnTo>
                    <a:pt x="59" y="108"/>
                  </a:lnTo>
                  <a:lnTo>
                    <a:pt x="57" y="108"/>
                  </a:lnTo>
                  <a:lnTo>
                    <a:pt x="57" y="108"/>
                  </a:lnTo>
                  <a:lnTo>
                    <a:pt x="57" y="108"/>
                  </a:lnTo>
                  <a:lnTo>
                    <a:pt x="57" y="108"/>
                  </a:lnTo>
                  <a:lnTo>
                    <a:pt x="57" y="110"/>
                  </a:lnTo>
                  <a:lnTo>
                    <a:pt x="57" y="110"/>
                  </a:lnTo>
                  <a:lnTo>
                    <a:pt x="57" y="110"/>
                  </a:lnTo>
                  <a:lnTo>
                    <a:pt x="55" y="112"/>
                  </a:lnTo>
                  <a:lnTo>
                    <a:pt x="55" y="112"/>
                  </a:lnTo>
                  <a:lnTo>
                    <a:pt x="55" y="112"/>
                  </a:lnTo>
                  <a:lnTo>
                    <a:pt x="53" y="112"/>
                  </a:lnTo>
                  <a:lnTo>
                    <a:pt x="51" y="114"/>
                  </a:lnTo>
                  <a:lnTo>
                    <a:pt x="50" y="114"/>
                  </a:lnTo>
                  <a:lnTo>
                    <a:pt x="50" y="114"/>
                  </a:lnTo>
                  <a:lnTo>
                    <a:pt x="48" y="112"/>
                  </a:lnTo>
                  <a:lnTo>
                    <a:pt x="48" y="112"/>
                  </a:lnTo>
                  <a:lnTo>
                    <a:pt x="48" y="112"/>
                  </a:lnTo>
                  <a:lnTo>
                    <a:pt x="46" y="112"/>
                  </a:lnTo>
                  <a:lnTo>
                    <a:pt x="44" y="110"/>
                  </a:lnTo>
                  <a:lnTo>
                    <a:pt x="44" y="110"/>
                  </a:lnTo>
                  <a:lnTo>
                    <a:pt x="44" y="108"/>
                  </a:lnTo>
                  <a:lnTo>
                    <a:pt x="44" y="108"/>
                  </a:lnTo>
                  <a:lnTo>
                    <a:pt x="44" y="106"/>
                  </a:lnTo>
                  <a:lnTo>
                    <a:pt x="42" y="106"/>
                  </a:lnTo>
                  <a:lnTo>
                    <a:pt x="42" y="106"/>
                  </a:lnTo>
                  <a:lnTo>
                    <a:pt x="42" y="106"/>
                  </a:lnTo>
                  <a:lnTo>
                    <a:pt x="42" y="104"/>
                  </a:lnTo>
                  <a:lnTo>
                    <a:pt x="40" y="104"/>
                  </a:lnTo>
                  <a:lnTo>
                    <a:pt x="36" y="104"/>
                  </a:lnTo>
                  <a:lnTo>
                    <a:pt x="34" y="104"/>
                  </a:lnTo>
                  <a:lnTo>
                    <a:pt x="34" y="103"/>
                  </a:lnTo>
                  <a:lnTo>
                    <a:pt x="34" y="103"/>
                  </a:lnTo>
                  <a:lnTo>
                    <a:pt x="32" y="103"/>
                  </a:lnTo>
                  <a:lnTo>
                    <a:pt x="32" y="101"/>
                  </a:lnTo>
                  <a:lnTo>
                    <a:pt x="32" y="101"/>
                  </a:lnTo>
                  <a:lnTo>
                    <a:pt x="30" y="101"/>
                  </a:lnTo>
                  <a:lnTo>
                    <a:pt x="29" y="103"/>
                  </a:lnTo>
                  <a:lnTo>
                    <a:pt x="25" y="103"/>
                  </a:lnTo>
                  <a:lnTo>
                    <a:pt x="25" y="103"/>
                  </a:lnTo>
                  <a:lnTo>
                    <a:pt x="23" y="103"/>
                  </a:lnTo>
                  <a:lnTo>
                    <a:pt x="23" y="103"/>
                  </a:lnTo>
                  <a:lnTo>
                    <a:pt x="19" y="106"/>
                  </a:lnTo>
                  <a:lnTo>
                    <a:pt x="19" y="106"/>
                  </a:lnTo>
                  <a:lnTo>
                    <a:pt x="19" y="106"/>
                  </a:lnTo>
                  <a:lnTo>
                    <a:pt x="17" y="108"/>
                  </a:lnTo>
                  <a:lnTo>
                    <a:pt x="17" y="108"/>
                  </a:lnTo>
                  <a:lnTo>
                    <a:pt x="17" y="108"/>
                  </a:lnTo>
                  <a:lnTo>
                    <a:pt x="15" y="108"/>
                  </a:lnTo>
                  <a:lnTo>
                    <a:pt x="10" y="106"/>
                  </a:lnTo>
                  <a:lnTo>
                    <a:pt x="4" y="106"/>
                  </a:lnTo>
                  <a:lnTo>
                    <a:pt x="4" y="108"/>
                  </a:lnTo>
                  <a:lnTo>
                    <a:pt x="4" y="110"/>
                  </a:lnTo>
                  <a:lnTo>
                    <a:pt x="6" y="110"/>
                  </a:lnTo>
                  <a:lnTo>
                    <a:pt x="6" y="110"/>
                  </a:lnTo>
                  <a:lnTo>
                    <a:pt x="8" y="112"/>
                  </a:lnTo>
                  <a:lnTo>
                    <a:pt x="8" y="112"/>
                  </a:lnTo>
                  <a:lnTo>
                    <a:pt x="8" y="114"/>
                  </a:lnTo>
                  <a:lnTo>
                    <a:pt x="8" y="114"/>
                  </a:lnTo>
                  <a:lnTo>
                    <a:pt x="8" y="116"/>
                  </a:lnTo>
                  <a:lnTo>
                    <a:pt x="6" y="116"/>
                  </a:lnTo>
                  <a:lnTo>
                    <a:pt x="6" y="118"/>
                  </a:lnTo>
                  <a:lnTo>
                    <a:pt x="2" y="118"/>
                  </a:lnTo>
                  <a:lnTo>
                    <a:pt x="2" y="118"/>
                  </a:lnTo>
                  <a:lnTo>
                    <a:pt x="2" y="118"/>
                  </a:lnTo>
                  <a:lnTo>
                    <a:pt x="0" y="120"/>
                  </a:lnTo>
                  <a:lnTo>
                    <a:pt x="0" y="122"/>
                  </a:lnTo>
                  <a:lnTo>
                    <a:pt x="0" y="124"/>
                  </a:lnTo>
                  <a:lnTo>
                    <a:pt x="0" y="125"/>
                  </a:lnTo>
                  <a:lnTo>
                    <a:pt x="0" y="125"/>
                  </a:lnTo>
                  <a:lnTo>
                    <a:pt x="0" y="127"/>
                  </a:lnTo>
                  <a:lnTo>
                    <a:pt x="2" y="127"/>
                  </a:lnTo>
                  <a:lnTo>
                    <a:pt x="2" y="127"/>
                  </a:lnTo>
                  <a:lnTo>
                    <a:pt x="4" y="127"/>
                  </a:lnTo>
                  <a:lnTo>
                    <a:pt x="4" y="127"/>
                  </a:lnTo>
                  <a:lnTo>
                    <a:pt x="4" y="127"/>
                  </a:lnTo>
                  <a:lnTo>
                    <a:pt x="6" y="127"/>
                  </a:lnTo>
                  <a:lnTo>
                    <a:pt x="6" y="127"/>
                  </a:lnTo>
                  <a:lnTo>
                    <a:pt x="8" y="125"/>
                  </a:lnTo>
                  <a:lnTo>
                    <a:pt x="8" y="125"/>
                  </a:lnTo>
                  <a:lnTo>
                    <a:pt x="10" y="125"/>
                  </a:lnTo>
                  <a:lnTo>
                    <a:pt x="10" y="125"/>
                  </a:lnTo>
                  <a:lnTo>
                    <a:pt x="10" y="125"/>
                  </a:lnTo>
                  <a:lnTo>
                    <a:pt x="10" y="125"/>
                  </a:lnTo>
                  <a:lnTo>
                    <a:pt x="10" y="125"/>
                  </a:lnTo>
                  <a:lnTo>
                    <a:pt x="11" y="124"/>
                  </a:lnTo>
                  <a:lnTo>
                    <a:pt x="11" y="125"/>
                  </a:lnTo>
                  <a:lnTo>
                    <a:pt x="11" y="125"/>
                  </a:lnTo>
                  <a:lnTo>
                    <a:pt x="13" y="125"/>
                  </a:lnTo>
                  <a:lnTo>
                    <a:pt x="13" y="127"/>
                  </a:lnTo>
                  <a:lnTo>
                    <a:pt x="13" y="129"/>
                  </a:lnTo>
                  <a:lnTo>
                    <a:pt x="11" y="133"/>
                  </a:lnTo>
                  <a:lnTo>
                    <a:pt x="11" y="135"/>
                  </a:lnTo>
                  <a:lnTo>
                    <a:pt x="10" y="144"/>
                  </a:lnTo>
                  <a:lnTo>
                    <a:pt x="10" y="144"/>
                  </a:lnTo>
                  <a:lnTo>
                    <a:pt x="11" y="146"/>
                  </a:lnTo>
                  <a:lnTo>
                    <a:pt x="13" y="148"/>
                  </a:lnTo>
                  <a:lnTo>
                    <a:pt x="13" y="150"/>
                  </a:lnTo>
                  <a:lnTo>
                    <a:pt x="13" y="150"/>
                  </a:lnTo>
                  <a:lnTo>
                    <a:pt x="13" y="154"/>
                  </a:lnTo>
                  <a:lnTo>
                    <a:pt x="13" y="156"/>
                  </a:lnTo>
                  <a:lnTo>
                    <a:pt x="13" y="156"/>
                  </a:lnTo>
                  <a:lnTo>
                    <a:pt x="11" y="156"/>
                  </a:lnTo>
                  <a:lnTo>
                    <a:pt x="11" y="156"/>
                  </a:lnTo>
                  <a:lnTo>
                    <a:pt x="8" y="156"/>
                  </a:lnTo>
                  <a:lnTo>
                    <a:pt x="8" y="156"/>
                  </a:lnTo>
                  <a:lnTo>
                    <a:pt x="8" y="158"/>
                  </a:lnTo>
                  <a:lnTo>
                    <a:pt x="6" y="158"/>
                  </a:lnTo>
                  <a:lnTo>
                    <a:pt x="6" y="160"/>
                  </a:lnTo>
                  <a:lnTo>
                    <a:pt x="8" y="160"/>
                  </a:lnTo>
                  <a:lnTo>
                    <a:pt x="8" y="160"/>
                  </a:lnTo>
                  <a:lnTo>
                    <a:pt x="8" y="162"/>
                  </a:lnTo>
                  <a:lnTo>
                    <a:pt x="10" y="163"/>
                  </a:lnTo>
                  <a:lnTo>
                    <a:pt x="10" y="163"/>
                  </a:lnTo>
                  <a:lnTo>
                    <a:pt x="11" y="165"/>
                  </a:lnTo>
                  <a:lnTo>
                    <a:pt x="11" y="167"/>
                  </a:lnTo>
                  <a:lnTo>
                    <a:pt x="11" y="169"/>
                  </a:lnTo>
                  <a:lnTo>
                    <a:pt x="13" y="171"/>
                  </a:lnTo>
                  <a:lnTo>
                    <a:pt x="13" y="171"/>
                  </a:lnTo>
                  <a:lnTo>
                    <a:pt x="15" y="171"/>
                  </a:lnTo>
                  <a:lnTo>
                    <a:pt x="15" y="171"/>
                  </a:lnTo>
                  <a:lnTo>
                    <a:pt x="15" y="171"/>
                  </a:lnTo>
                  <a:lnTo>
                    <a:pt x="15" y="169"/>
                  </a:lnTo>
                  <a:lnTo>
                    <a:pt x="17" y="169"/>
                  </a:lnTo>
                  <a:lnTo>
                    <a:pt x="17" y="167"/>
                  </a:lnTo>
                  <a:lnTo>
                    <a:pt x="17" y="167"/>
                  </a:lnTo>
                  <a:lnTo>
                    <a:pt x="17" y="167"/>
                  </a:lnTo>
                  <a:lnTo>
                    <a:pt x="17" y="167"/>
                  </a:lnTo>
                  <a:lnTo>
                    <a:pt x="19" y="167"/>
                  </a:lnTo>
                  <a:lnTo>
                    <a:pt x="21" y="167"/>
                  </a:lnTo>
                  <a:lnTo>
                    <a:pt x="23" y="167"/>
                  </a:lnTo>
                  <a:lnTo>
                    <a:pt x="25" y="167"/>
                  </a:lnTo>
                  <a:lnTo>
                    <a:pt x="27" y="167"/>
                  </a:lnTo>
                  <a:lnTo>
                    <a:pt x="29" y="167"/>
                  </a:lnTo>
                  <a:lnTo>
                    <a:pt x="29" y="167"/>
                  </a:lnTo>
                  <a:lnTo>
                    <a:pt x="29" y="165"/>
                  </a:lnTo>
                  <a:lnTo>
                    <a:pt x="30" y="165"/>
                  </a:lnTo>
                  <a:lnTo>
                    <a:pt x="32" y="163"/>
                  </a:lnTo>
                  <a:lnTo>
                    <a:pt x="32" y="163"/>
                  </a:lnTo>
                  <a:lnTo>
                    <a:pt x="34" y="163"/>
                  </a:lnTo>
                  <a:lnTo>
                    <a:pt x="34" y="163"/>
                  </a:lnTo>
                  <a:lnTo>
                    <a:pt x="36" y="163"/>
                  </a:lnTo>
                  <a:lnTo>
                    <a:pt x="36" y="165"/>
                  </a:lnTo>
                  <a:lnTo>
                    <a:pt x="38" y="165"/>
                  </a:lnTo>
                  <a:lnTo>
                    <a:pt x="40" y="165"/>
                  </a:lnTo>
                  <a:lnTo>
                    <a:pt x="40" y="165"/>
                  </a:lnTo>
                  <a:lnTo>
                    <a:pt x="42" y="167"/>
                  </a:lnTo>
                  <a:lnTo>
                    <a:pt x="42" y="167"/>
                  </a:lnTo>
                  <a:lnTo>
                    <a:pt x="44" y="169"/>
                  </a:lnTo>
                  <a:lnTo>
                    <a:pt x="44" y="169"/>
                  </a:lnTo>
                  <a:lnTo>
                    <a:pt x="44" y="171"/>
                  </a:lnTo>
                  <a:lnTo>
                    <a:pt x="46" y="175"/>
                  </a:lnTo>
                  <a:lnTo>
                    <a:pt x="46" y="175"/>
                  </a:lnTo>
                  <a:lnTo>
                    <a:pt x="46" y="177"/>
                  </a:lnTo>
                  <a:lnTo>
                    <a:pt x="48" y="177"/>
                  </a:lnTo>
                  <a:lnTo>
                    <a:pt x="48" y="177"/>
                  </a:lnTo>
                  <a:lnTo>
                    <a:pt x="50" y="177"/>
                  </a:lnTo>
                  <a:lnTo>
                    <a:pt x="50" y="177"/>
                  </a:lnTo>
                  <a:lnTo>
                    <a:pt x="51" y="175"/>
                  </a:lnTo>
                  <a:lnTo>
                    <a:pt x="51" y="175"/>
                  </a:lnTo>
                  <a:lnTo>
                    <a:pt x="53" y="175"/>
                  </a:lnTo>
                  <a:lnTo>
                    <a:pt x="53" y="177"/>
                  </a:lnTo>
                  <a:lnTo>
                    <a:pt x="55" y="177"/>
                  </a:lnTo>
                  <a:lnTo>
                    <a:pt x="55" y="181"/>
                  </a:lnTo>
                  <a:lnTo>
                    <a:pt x="55" y="181"/>
                  </a:lnTo>
                  <a:lnTo>
                    <a:pt x="57" y="181"/>
                  </a:lnTo>
                  <a:lnTo>
                    <a:pt x="57" y="181"/>
                  </a:lnTo>
                  <a:lnTo>
                    <a:pt x="59" y="181"/>
                  </a:lnTo>
                  <a:lnTo>
                    <a:pt x="59" y="181"/>
                  </a:lnTo>
                  <a:lnTo>
                    <a:pt x="61" y="181"/>
                  </a:lnTo>
                  <a:lnTo>
                    <a:pt x="61" y="179"/>
                  </a:lnTo>
                  <a:lnTo>
                    <a:pt x="63" y="179"/>
                  </a:lnTo>
                  <a:lnTo>
                    <a:pt x="65" y="179"/>
                  </a:lnTo>
                  <a:lnTo>
                    <a:pt x="65" y="177"/>
                  </a:lnTo>
                  <a:lnTo>
                    <a:pt x="67" y="177"/>
                  </a:lnTo>
                  <a:lnTo>
                    <a:pt x="67" y="177"/>
                  </a:lnTo>
                  <a:lnTo>
                    <a:pt x="67" y="179"/>
                  </a:lnTo>
                  <a:lnTo>
                    <a:pt x="69" y="179"/>
                  </a:lnTo>
                  <a:lnTo>
                    <a:pt x="71" y="179"/>
                  </a:lnTo>
                  <a:lnTo>
                    <a:pt x="72" y="179"/>
                  </a:lnTo>
                  <a:lnTo>
                    <a:pt x="74" y="179"/>
                  </a:lnTo>
                  <a:lnTo>
                    <a:pt x="74" y="179"/>
                  </a:lnTo>
                  <a:lnTo>
                    <a:pt x="74" y="177"/>
                  </a:lnTo>
                  <a:lnTo>
                    <a:pt x="74" y="177"/>
                  </a:lnTo>
                  <a:lnTo>
                    <a:pt x="74" y="177"/>
                  </a:lnTo>
                  <a:lnTo>
                    <a:pt x="74" y="177"/>
                  </a:lnTo>
                  <a:lnTo>
                    <a:pt x="78" y="175"/>
                  </a:lnTo>
                  <a:lnTo>
                    <a:pt x="78" y="175"/>
                  </a:lnTo>
                  <a:lnTo>
                    <a:pt x="80" y="175"/>
                  </a:lnTo>
                  <a:lnTo>
                    <a:pt x="80" y="175"/>
                  </a:lnTo>
                  <a:lnTo>
                    <a:pt x="80" y="177"/>
                  </a:lnTo>
                  <a:lnTo>
                    <a:pt x="80" y="179"/>
                  </a:lnTo>
                  <a:lnTo>
                    <a:pt x="78" y="179"/>
                  </a:lnTo>
                  <a:lnTo>
                    <a:pt x="80" y="181"/>
                  </a:lnTo>
                  <a:lnTo>
                    <a:pt x="80" y="181"/>
                  </a:lnTo>
                  <a:lnTo>
                    <a:pt x="80" y="181"/>
                  </a:lnTo>
                  <a:lnTo>
                    <a:pt x="80" y="181"/>
                  </a:lnTo>
                  <a:lnTo>
                    <a:pt x="82" y="181"/>
                  </a:lnTo>
                  <a:lnTo>
                    <a:pt x="82" y="181"/>
                  </a:lnTo>
                  <a:lnTo>
                    <a:pt x="82" y="179"/>
                  </a:lnTo>
                  <a:lnTo>
                    <a:pt x="84" y="179"/>
                  </a:lnTo>
                  <a:lnTo>
                    <a:pt x="86" y="179"/>
                  </a:lnTo>
                  <a:lnTo>
                    <a:pt x="86" y="179"/>
                  </a:lnTo>
                  <a:lnTo>
                    <a:pt x="86" y="181"/>
                  </a:lnTo>
                  <a:lnTo>
                    <a:pt x="88" y="182"/>
                  </a:lnTo>
                  <a:lnTo>
                    <a:pt x="88" y="184"/>
                  </a:lnTo>
                  <a:lnTo>
                    <a:pt x="88" y="184"/>
                  </a:lnTo>
                  <a:lnTo>
                    <a:pt x="88" y="184"/>
                  </a:lnTo>
                  <a:lnTo>
                    <a:pt x="88" y="186"/>
                  </a:lnTo>
                  <a:lnTo>
                    <a:pt x="86" y="186"/>
                  </a:lnTo>
                  <a:lnTo>
                    <a:pt x="86" y="186"/>
                  </a:lnTo>
                  <a:lnTo>
                    <a:pt x="86" y="186"/>
                  </a:lnTo>
                  <a:lnTo>
                    <a:pt x="84" y="186"/>
                  </a:lnTo>
                  <a:lnTo>
                    <a:pt x="84" y="188"/>
                  </a:lnTo>
                  <a:lnTo>
                    <a:pt x="84" y="188"/>
                  </a:lnTo>
                  <a:lnTo>
                    <a:pt x="84" y="188"/>
                  </a:lnTo>
                  <a:lnTo>
                    <a:pt x="84" y="190"/>
                  </a:lnTo>
                  <a:lnTo>
                    <a:pt x="86" y="190"/>
                  </a:lnTo>
                  <a:lnTo>
                    <a:pt x="86" y="192"/>
                  </a:lnTo>
                  <a:lnTo>
                    <a:pt x="86" y="192"/>
                  </a:lnTo>
                  <a:lnTo>
                    <a:pt x="86" y="192"/>
                  </a:lnTo>
                  <a:lnTo>
                    <a:pt x="86" y="194"/>
                  </a:lnTo>
                  <a:lnTo>
                    <a:pt x="86" y="194"/>
                  </a:lnTo>
                  <a:lnTo>
                    <a:pt x="86" y="196"/>
                  </a:lnTo>
                  <a:lnTo>
                    <a:pt x="88" y="198"/>
                  </a:lnTo>
                  <a:lnTo>
                    <a:pt x="88" y="200"/>
                  </a:lnTo>
                  <a:lnTo>
                    <a:pt x="91" y="203"/>
                  </a:lnTo>
                  <a:lnTo>
                    <a:pt x="91" y="203"/>
                  </a:lnTo>
                  <a:lnTo>
                    <a:pt x="95" y="205"/>
                  </a:lnTo>
                  <a:lnTo>
                    <a:pt x="97" y="205"/>
                  </a:lnTo>
                  <a:lnTo>
                    <a:pt x="97" y="205"/>
                  </a:lnTo>
                  <a:lnTo>
                    <a:pt x="97" y="207"/>
                  </a:lnTo>
                  <a:lnTo>
                    <a:pt x="97" y="209"/>
                  </a:lnTo>
                  <a:lnTo>
                    <a:pt x="97" y="209"/>
                  </a:lnTo>
                  <a:lnTo>
                    <a:pt x="97" y="211"/>
                  </a:lnTo>
                  <a:lnTo>
                    <a:pt x="95" y="211"/>
                  </a:lnTo>
                  <a:lnTo>
                    <a:pt x="95" y="211"/>
                  </a:lnTo>
                  <a:lnTo>
                    <a:pt x="95" y="213"/>
                  </a:lnTo>
                  <a:lnTo>
                    <a:pt x="93" y="213"/>
                  </a:lnTo>
                  <a:lnTo>
                    <a:pt x="93" y="213"/>
                  </a:lnTo>
                  <a:lnTo>
                    <a:pt x="95" y="215"/>
                  </a:lnTo>
                  <a:lnTo>
                    <a:pt x="95" y="219"/>
                  </a:lnTo>
                  <a:lnTo>
                    <a:pt x="95" y="221"/>
                  </a:lnTo>
                  <a:lnTo>
                    <a:pt x="97" y="222"/>
                  </a:lnTo>
                  <a:lnTo>
                    <a:pt x="97" y="224"/>
                  </a:lnTo>
                  <a:lnTo>
                    <a:pt x="97" y="226"/>
                  </a:lnTo>
                  <a:lnTo>
                    <a:pt x="99" y="228"/>
                  </a:lnTo>
                  <a:lnTo>
                    <a:pt x="99" y="232"/>
                  </a:lnTo>
                  <a:lnTo>
                    <a:pt x="103" y="241"/>
                  </a:lnTo>
                  <a:lnTo>
                    <a:pt x="105" y="243"/>
                  </a:lnTo>
                  <a:lnTo>
                    <a:pt x="105" y="245"/>
                  </a:lnTo>
                  <a:lnTo>
                    <a:pt x="107" y="247"/>
                  </a:lnTo>
                  <a:lnTo>
                    <a:pt x="109" y="251"/>
                  </a:lnTo>
                  <a:lnTo>
                    <a:pt x="111" y="251"/>
                  </a:lnTo>
                  <a:lnTo>
                    <a:pt x="111" y="251"/>
                  </a:lnTo>
                  <a:lnTo>
                    <a:pt x="111" y="253"/>
                  </a:lnTo>
                  <a:lnTo>
                    <a:pt x="114" y="257"/>
                  </a:lnTo>
                  <a:lnTo>
                    <a:pt x="118" y="260"/>
                  </a:lnTo>
                  <a:lnTo>
                    <a:pt x="120" y="260"/>
                  </a:lnTo>
                  <a:lnTo>
                    <a:pt x="120" y="262"/>
                  </a:lnTo>
                  <a:lnTo>
                    <a:pt x="120" y="262"/>
                  </a:lnTo>
                  <a:lnTo>
                    <a:pt x="120" y="262"/>
                  </a:lnTo>
                  <a:lnTo>
                    <a:pt x="120" y="264"/>
                  </a:lnTo>
                  <a:lnTo>
                    <a:pt x="120" y="266"/>
                  </a:lnTo>
                  <a:lnTo>
                    <a:pt x="122" y="266"/>
                  </a:lnTo>
                  <a:lnTo>
                    <a:pt x="122" y="266"/>
                  </a:lnTo>
                  <a:lnTo>
                    <a:pt x="124" y="266"/>
                  </a:lnTo>
                  <a:lnTo>
                    <a:pt x="124" y="266"/>
                  </a:lnTo>
                  <a:lnTo>
                    <a:pt x="124" y="266"/>
                  </a:lnTo>
                  <a:lnTo>
                    <a:pt x="126" y="266"/>
                  </a:lnTo>
                  <a:lnTo>
                    <a:pt x="128" y="268"/>
                  </a:lnTo>
                  <a:lnTo>
                    <a:pt x="130" y="268"/>
                  </a:lnTo>
                  <a:lnTo>
                    <a:pt x="131" y="268"/>
                  </a:lnTo>
                  <a:lnTo>
                    <a:pt x="133" y="270"/>
                  </a:lnTo>
                  <a:lnTo>
                    <a:pt x="137" y="276"/>
                  </a:lnTo>
                  <a:lnTo>
                    <a:pt x="145" y="283"/>
                  </a:lnTo>
                  <a:lnTo>
                    <a:pt x="145" y="285"/>
                  </a:lnTo>
                  <a:lnTo>
                    <a:pt x="147" y="287"/>
                  </a:lnTo>
                  <a:lnTo>
                    <a:pt x="147" y="289"/>
                  </a:lnTo>
                  <a:lnTo>
                    <a:pt x="147" y="289"/>
                  </a:lnTo>
                  <a:lnTo>
                    <a:pt x="149" y="291"/>
                  </a:lnTo>
                  <a:lnTo>
                    <a:pt x="149" y="293"/>
                  </a:lnTo>
                  <a:lnTo>
                    <a:pt x="149" y="293"/>
                  </a:lnTo>
                  <a:lnTo>
                    <a:pt x="149" y="295"/>
                  </a:lnTo>
                  <a:lnTo>
                    <a:pt x="147" y="295"/>
                  </a:lnTo>
                  <a:lnTo>
                    <a:pt x="147" y="293"/>
                  </a:lnTo>
                  <a:lnTo>
                    <a:pt x="145" y="291"/>
                  </a:lnTo>
                  <a:lnTo>
                    <a:pt x="145" y="291"/>
                  </a:lnTo>
                  <a:lnTo>
                    <a:pt x="145" y="291"/>
                  </a:lnTo>
                  <a:lnTo>
                    <a:pt x="143" y="293"/>
                  </a:lnTo>
                  <a:lnTo>
                    <a:pt x="143" y="295"/>
                  </a:lnTo>
                  <a:lnTo>
                    <a:pt x="141" y="295"/>
                  </a:lnTo>
                  <a:lnTo>
                    <a:pt x="141" y="295"/>
                  </a:lnTo>
                  <a:lnTo>
                    <a:pt x="139" y="297"/>
                  </a:lnTo>
                  <a:lnTo>
                    <a:pt x="137" y="297"/>
                  </a:lnTo>
                  <a:lnTo>
                    <a:pt x="137" y="297"/>
                  </a:lnTo>
                  <a:lnTo>
                    <a:pt x="137" y="297"/>
                  </a:lnTo>
                  <a:lnTo>
                    <a:pt x="135" y="298"/>
                  </a:lnTo>
                  <a:lnTo>
                    <a:pt x="137" y="298"/>
                  </a:lnTo>
                  <a:lnTo>
                    <a:pt x="137" y="300"/>
                  </a:lnTo>
                  <a:lnTo>
                    <a:pt x="139" y="302"/>
                  </a:lnTo>
                  <a:lnTo>
                    <a:pt x="139" y="302"/>
                  </a:lnTo>
                  <a:lnTo>
                    <a:pt x="141" y="302"/>
                  </a:lnTo>
                  <a:lnTo>
                    <a:pt x="141" y="300"/>
                  </a:lnTo>
                  <a:lnTo>
                    <a:pt x="141" y="300"/>
                  </a:lnTo>
                  <a:lnTo>
                    <a:pt x="141" y="300"/>
                  </a:lnTo>
                  <a:lnTo>
                    <a:pt x="143" y="298"/>
                  </a:lnTo>
                  <a:lnTo>
                    <a:pt x="143" y="298"/>
                  </a:lnTo>
                  <a:lnTo>
                    <a:pt x="143" y="298"/>
                  </a:lnTo>
                  <a:lnTo>
                    <a:pt x="145" y="300"/>
                  </a:lnTo>
                  <a:lnTo>
                    <a:pt x="145" y="300"/>
                  </a:lnTo>
                  <a:lnTo>
                    <a:pt x="145" y="302"/>
                  </a:lnTo>
                  <a:lnTo>
                    <a:pt x="143" y="304"/>
                  </a:lnTo>
                  <a:lnTo>
                    <a:pt x="141" y="306"/>
                  </a:lnTo>
                  <a:lnTo>
                    <a:pt x="141" y="306"/>
                  </a:lnTo>
                  <a:lnTo>
                    <a:pt x="141" y="308"/>
                  </a:lnTo>
                  <a:lnTo>
                    <a:pt x="139" y="308"/>
                  </a:lnTo>
                  <a:lnTo>
                    <a:pt x="139" y="310"/>
                  </a:lnTo>
                  <a:lnTo>
                    <a:pt x="139" y="310"/>
                  </a:lnTo>
                  <a:lnTo>
                    <a:pt x="139" y="310"/>
                  </a:lnTo>
                  <a:lnTo>
                    <a:pt x="139" y="310"/>
                  </a:lnTo>
                  <a:lnTo>
                    <a:pt x="139" y="310"/>
                  </a:lnTo>
                  <a:lnTo>
                    <a:pt x="139" y="312"/>
                  </a:lnTo>
                  <a:lnTo>
                    <a:pt x="139" y="312"/>
                  </a:lnTo>
                  <a:lnTo>
                    <a:pt x="141" y="314"/>
                  </a:lnTo>
                  <a:lnTo>
                    <a:pt x="141" y="314"/>
                  </a:lnTo>
                  <a:lnTo>
                    <a:pt x="139" y="314"/>
                  </a:lnTo>
                  <a:lnTo>
                    <a:pt x="139" y="316"/>
                  </a:lnTo>
                  <a:lnTo>
                    <a:pt x="139" y="316"/>
                  </a:lnTo>
                  <a:lnTo>
                    <a:pt x="137" y="316"/>
                  </a:lnTo>
                  <a:lnTo>
                    <a:pt x="135" y="316"/>
                  </a:lnTo>
                  <a:lnTo>
                    <a:pt x="135" y="316"/>
                  </a:lnTo>
                  <a:lnTo>
                    <a:pt x="135" y="318"/>
                  </a:lnTo>
                  <a:lnTo>
                    <a:pt x="135" y="319"/>
                  </a:lnTo>
                  <a:lnTo>
                    <a:pt x="139" y="321"/>
                  </a:lnTo>
                  <a:lnTo>
                    <a:pt x="139" y="321"/>
                  </a:lnTo>
                  <a:lnTo>
                    <a:pt x="139" y="323"/>
                  </a:lnTo>
                  <a:lnTo>
                    <a:pt x="139" y="323"/>
                  </a:lnTo>
                  <a:lnTo>
                    <a:pt x="139" y="325"/>
                  </a:lnTo>
                  <a:lnTo>
                    <a:pt x="139" y="325"/>
                  </a:lnTo>
                  <a:lnTo>
                    <a:pt x="141" y="327"/>
                  </a:lnTo>
                  <a:lnTo>
                    <a:pt x="141" y="327"/>
                  </a:lnTo>
                  <a:lnTo>
                    <a:pt x="151" y="325"/>
                  </a:lnTo>
                  <a:lnTo>
                    <a:pt x="152" y="327"/>
                  </a:lnTo>
                  <a:lnTo>
                    <a:pt x="154" y="329"/>
                  </a:lnTo>
                  <a:lnTo>
                    <a:pt x="158" y="331"/>
                  </a:lnTo>
                  <a:lnTo>
                    <a:pt x="160" y="329"/>
                  </a:lnTo>
                  <a:lnTo>
                    <a:pt x="162" y="327"/>
                  </a:lnTo>
                  <a:lnTo>
                    <a:pt x="162" y="327"/>
                  </a:lnTo>
                  <a:lnTo>
                    <a:pt x="162" y="327"/>
                  </a:lnTo>
                  <a:lnTo>
                    <a:pt x="160" y="325"/>
                  </a:lnTo>
                  <a:lnTo>
                    <a:pt x="160" y="325"/>
                  </a:lnTo>
                  <a:lnTo>
                    <a:pt x="160" y="323"/>
                  </a:lnTo>
                  <a:lnTo>
                    <a:pt x="160" y="323"/>
                  </a:lnTo>
                  <a:lnTo>
                    <a:pt x="160" y="321"/>
                  </a:lnTo>
                  <a:lnTo>
                    <a:pt x="158" y="321"/>
                  </a:lnTo>
                  <a:lnTo>
                    <a:pt x="158" y="319"/>
                  </a:lnTo>
                  <a:lnTo>
                    <a:pt x="158" y="319"/>
                  </a:lnTo>
                  <a:lnTo>
                    <a:pt x="158" y="318"/>
                  </a:lnTo>
                  <a:lnTo>
                    <a:pt x="158" y="316"/>
                  </a:lnTo>
                  <a:lnTo>
                    <a:pt x="156" y="312"/>
                  </a:lnTo>
                  <a:lnTo>
                    <a:pt x="156" y="308"/>
                  </a:lnTo>
                  <a:lnTo>
                    <a:pt x="156" y="308"/>
                  </a:lnTo>
                  <a:lnTo>
                    <a:pt x="156" y="306"/>
                  </a:lnTo>
                  <a:lnTo>
                    <a:pt x="156" y="304"/>
                  </a:lnTo>
                  <a:lnTo>
                    <a:pt x="156" y="304"/>
                  </a:lnTo>
                  <a:lnTo>
                    <a:pt x="158" y="304"/>
                  </a:lnTo>
                  <a:lnTo>
                    <a:pt x="158" y="302"/>
                  </a:lnTo>
                  <a:lnTo>
                    <a:pt x="158" y="302"/>
                  </a:lnTo>
                  <a:lnTo>
                    <a:pt x="158" y="302"/>
                  </a:lnTo>
                  <a:lnTo>
                    <a:pt x="160" y="304"/>
                  </a:lnTo>
                  <a:lnTo>
                    <a:pt x="162" y="304"/>
                  </a:lnTo>
                  <a:lnTo>
                    <a:pt x="162" y="304"/>
                  </a:lnTo>
                  <a:lnTo>
                    <a:pt x="164" y="304"/>
                  </a:lnTo>
                  <a:lnTo>
                    <a:pt x="164" y="302"/>
                  </a:lnTo>
                  <a:lnTo>
                    <a:pt x="164" y="302"/>
                  </a:lnTo>
                  <a:lnTo>
                    <a:pt x="166" y="302"/>
                  </a:lnTo>
                  <a:lnTo>
                    <a:pt x="166" y="302"/>
                  </a:lnTo>
                  <a:lnTo>
                    <a:pt x="170" y="306"/>
                  </a:lnTo>
                  <a:lnTo>
                    <a:pt x="172" y="306"/>
                  </a:lnTo>
                  <a:lnTo>
                    <a:pt x="172" y="306"/>
                  </a:lnTo>
                  <a:lnTo>
                    <a:pt x="173" y="304"/>
                  </a:lnTo>
                  <a:lnTo>
                    <a:pt x="173" y="302"/>
                  </a:lnTo>
                  <a:lnTo>
                    <a:pt x="173" y="302"/>
                  </a:lnTo>
                  <a:lnTo>
                    <a:pt x="173" y="300"/>
                  </a:lnTo>
                  <a:lnTo>
                    <a:pt x="172" y="300"/>
                  </a:lnTo>
                  <a:lnTo>
                    <a:pt x="170" y="300"/>
                  </a:lnTo>
                  <a:lnTo>
                    <a:pt x="170" y="298"/>
                  </a:lnTo>
                  <a:lnTo>
                    <a:pt x="170" y="298"/>
                  </a:lnTo>
                  <a:lnTo>
                    <a:pt x="170" y="298"/>
                  </a:lnTo>
                  <a:lnTo>
                    <a:pt x="172" y="298"/>
                  </a:lnTo>
                  <a:lnTo>
                    <a:pt x="172" y="297"/>
                  </a:lnTo>
                  <a:lnTo>
                    <a:pt x="173" y="297"/>
                  </a:lnTo>
                  <a:lnTo>
                    <a:pt x="173" y="297"/>
                  </a:lnTo>
                  <a:lnTo>
                    <a:pt x="173" y="295"/>
                  </a:lnTo>
                  <a:lnTo>
                    <a:pt x="172" y="295"/>
                  </a:lnTo>
                  <a:lnTo>
                    <a:pt x="170" y="295"/>
                  </a:lnTo>
                  <a:lnTo>
                    <a:pt x="170" y="293"/>
                  </a:lnTo>
                  <a:lnTo>
                    <a:pt x="170" y="293"/>
                  </a:lnTo>
                  <a:lnTo>
                    <a:pt x="170" y="291"/>
                  </a:lnTo>
                  <a:lnTo>
                    <a:pt x="170" y="289"/>
                  </a:lnTo>
                  <a:lnTo>
                    <a:pt x="170" y="289"/>
                  </a:lnTo>
                  <a:lnTo>
                    <a:pt x="172" y="291"/>
                  </a:lnTo>
                  <a:lnTo>
                    <a:pt x="172" y="291"/>
                  </a:lnTo>
                  <a:lnTo>
                    <a:pt x="173" y="291"/>
                  </a:lnTo>
                  <a:lnTo>
                    <a:pt x="173" y="291"/>
                  </a:lnTo>
                  <a:lnTo>
                    <a:pt x="173" y="293"/>
                  </a:lnTo>
                  <a:lnTo>
                    <a:pt x="173" y="293"/>
                  </a:lnTo>
                  <a:lnTo>
                    <a:pt x="173" y="293"/>
                  </a:lnTo>
                  <a:lnTo>
                    <a:pt x="175" y="295"/>
                  </a:lnTo>
                  <a:lnTo>
                    <a:pt x="175" y="295"/>
                  </a:lnTo>
                  <a:lnTo>
                    <a:pt x="175" y="295"/>
                  </a:lnTo>
                  <a:lnTo>
                    <a:pt x="179" y="293"/>
                  </a:lnTo>
                  <a:lnTo>
                    <a:pt x="181" y="293"/>
                  </a:lnTo>
                  <a:lnTo>
                    <a:pt x="183" y="293"/>
                  </a:lnTo>
                  <a:lnTo>
                    <a:pt x="183" y="293"/>
                  </a:lnTo>
                  <a:lnTo>
                    <a:pt x="185" y="297"/>
                  </a:lnTo>
                  <a:lnTo>
                    <a:pt x="187" y="298"/>
                  </a:lnTo>
                  <a:lnTo>
                    <a:pt x="187" y="298"/>
                  </a:lnTo>
                  <a:lnTo>
                    <a:pt x="187" y="298"/>
                  </a:lnTo>
                  <a:lnTo>
                    <a:pt x="185" y="298"/>
                  </a:lnTo>
                  <a:lnTo>
                    <a:pt x="185" y="298"/>
                  </a:lnTo>
                  <a:lnTo>
                    <a:pt x="183" y="298"/>
                  </a:lnTo>
                  <a:lnTo>
                    <a:pt x="183" y="298"/>
                  </a:lnTo>
                  <a:lnTo>
                    <a:pt x="183" y="298"/>
                  </a:lnTo>
                  <a:lnTo>
                    <a:pt x="183" y="298"/>
                  </a:lnTo>
                  <a:lnTo>
                    <a:pt x="183" y="298"/>
                  </a:lnTo>
                  <a:lnTo>
                    <a:pt x="183" y="300"/>
                  </a:lnTo>
                  <a:lnTo>
                    <a:pt x="185" y="300"/>
                  </a:lnTo>
                  <a:lnTo>
                    <a:pt x="185" y="302"/>
                  </a:lnTo>
                  <a:lnTo>
                    <a:pt x="185" y="302"/>
                  </a:lnTo>
                  <a:lnTo>
                    <a:pt x="185" y="302"/>
                  </a:lnTo>
                  <a:lnTo>
                    <a:pt x="185" y="302"/>
                  </a:lnTo>
                  <a:lnTo>
                    <a:pt x="183" y="302"/>
                  </a:lnTo>
                  <a:lnTo>
                    <a:pt x="183" y="304"/>
                  </a:lnTo>
                  <a:lnTo>
                    <a:pt x="183" y="304"/>
                  </a:lnTo>
                  <a:lnTo>
                    <a:pt x="183" y="304"/>
                  </a:lnTo>
                  <a:lnTo>
                    <a:pt x="187" y="306"/>
                  </a:lnTo>
                  <a:lnTo>
                    <a:pt x="187" y="306"/>
                  </a:lnTo>
                  <a:lnTo>
                    <a:pt x="189" y="306"/>
                  </a:lnTo>
                  <a:lnTo>
                    <a:pt x="189" y="306"/>
                  </a:lnTo>
                  <a:lnTo>
                    <a:pt x="191" y="306"/>
                  </a:lnTo>
                  <a:lnTo>
                    <a:pt x="191" y="308"/>
                  </a:lnTo>
                  <a:lnTo>
                    <a:pt x="191" y="312"/>
                  </a:lnTo>
                  <a:lnTo>
                    <a:pt x="191" y="312"/>
                  </a:lnTo>
                  <a:lnTo>
                    <a:pt x="192" y="314"/>
                  </a:lnTo>
                  <a:lnTo>
                    <a:pt x="192" y="314"/>
                  </a:lnTo>
                  <a:lnTo>
                    <a:pt x="192" y="314"/>
                  </a:lnTo>
                  <a:lnTo>
                    <a:pt x="194" y="314"/>
                  </a:lnTo>
                  <a:lnTo>
                    <a:pt x="196" y="312"/>
                  </a:lnTo>
                  <a:lnTo>
                    <a:pt x="196" y="310"/>
                  </a:lnTo>
                  <a:lnTo>
                    <a:pt x="196" y="310"/>
                  </a:lnTo>
                  <a:lnTo>
                    <a:pt x="198" y="310"/>
                  </a:lnTo>
                  <a:lnTo>
                    <a:pt x="198" y="310"/>
                  </a:lnTo>
                  <a:lnTo>
                    <a:pt x="200" y="310"/>
                  </a:lnTo>
                  <a:lnTo>
                    <a:pt x="202" y="310"/>
                  </a:lnTo>
                  <a:lnTo>
                    <a:pt x="202" y="308"/>
                  </a:lnTo>
                  <a:lnTo>
                    <a:pt x="202" y="308"/>
                  </a:lnTo>
                  <a:lnTo>
                    <a:pt x="202" y="308"/>
                  </a:lnTo>
                  <a:lnTo>
                    <a:pt x="202" y="306"/>
                  </a:lnTo>
                  <a:lnTo>
                    <a:pt x="200" y="304"/>
                  </a:lnTo>
                  <a:lnTo>
                    <a:pt x="200" y="304"/>
                  </a:lnTo>
                  <a:lnTo>
                    <a:pt x="200" y="302"/>
                  </a:lnTo>
                  <a:lnTo>
                    <a:pt x="200" y="302"/>
                  </a:lnTo>
                  <a:lnTo>
                    <a:pt x="202" y="302"/>
                  </a:lnTo>
                  <a:lnTo>
                    <a:pt x="202" y="300"/>
                  </a:lnTo>
                  <a:lnTo>
                    <a:pt x="202" y="300"/>
                  </a:lnTo>
                  <a:lnTo>
                    <a:pt x="204" y="300"/>
                  </a:lnTo>
                  <a:lnTo>
                    <a:pt x="204" y="298"/>
                  </a:lnTo>
                  <a:lnTo>
                    <a:pt x="206" y="298"/>
                  </a:lnTo>
                  <a:lnTo>
                    <a:pt x="206" y="298"/>
                  </a:lnTo>
                  <a:lnTo>
                    <a:pt x="208" y="297"/>
                  </a:lnTo>
                  <a:lnTo>
                    <a:pt x="210" y="297"/>
                  </a:lnTo>
                  <a:lnTo>
                    <a:pt x="210" y="295"/>
                  </a:lnTo>
                  <a:lnTo>
                    <a:pt x="212" y="295"/>
                  </a:lnTo>
                  <a:lnTo>
                    <a:pt x="213" y="291"/>
                  </a:lnTo>
                  <a:lnTo>
                    <a:pt x="215" y="289"/>
                  </a:lnTo>
                  <a:lnTo>
                    <a:pt x="215" y="289"/>
                  </a:lnTo>
                  <a:lnTo>
                    <a:pt x="215" y="287"/>
                  </a:lnTo>
                  <a:lnTo>
                    <a:pt x="217" y="287"/>
                  </a:lnTo>
                  <a:lnTo>
                    <a:pt x="219" y="287"/>
                  </a:lnTo>
                  <a:lnTo>
                    <a:pt x="219" y="287"/>
                  </a:lnTo>
                  <a:lnTo>
                    <a:pt x="219" y="287"/>
                  </a:lnTo>
                  <a:lnTo>
                    <a:pt x="221" y="287"/>
                  </a:lnTo>
                  <a:lnTo>
                    <a:pt x="221" y="287"/>
                  </a:lnTo>
                  <a:lnTo>
                    <a:pt x="221" y="287"/>
                  </a:lnTo>
                  <a:lnTo>
                    <a:pt x="223" y="289"/>
                  </a:lnTo>
                  <a:lnTo>
                    <a:pt x="223" y="291"/>
                  </a:lnTo>
                  <a:lnTo>
                    <a:pt x="227" y="293"/>
                  </a:lnTo>
                  <a:lnTo>
                    <a:pt x="229" y="295"/>
                  </a:lnTo>
                  <a:lnTo>
                    <a:pt x="229" y="295"/>
                  </a:lnTo>
                  <a:lnTo>
                    <a:pt x="229" y="297"/>
                  </a:lnTo>
                  <a:lnTo>
                    <a:pt x="229" y="298"/>
                  </a:lnTo>
                  <a:lnTo>
                    <a:pt x="227" y="304"/>
                  </a:lnTo>
                  <a:lnTo>
                    <a:pt x="227" y="306"/>
                  </a:lnTo>
                  <a:lnTo>
                    <a:pt x="227" y="308"/>
                  </a:lnTo>
                  <a:lnTo>
                    <a:pt x="227" y="310"/>
                  </a:lnTo>
                  <a:lnTo>
                    <a:pt x="227" y="312"/>
                  </a:lnTo>
                  <a:lnTo>
                    <a:pt x="229" y="312"/>
                  </a:lnTo>
                  <a:lnTo>
                    <a:pt x="229" y="312"/>
                  </a:lnTo>
                  <a:lnTo>
                    <a:pt x="229" y="314"/>
                  </a:lnTo>
                  <a:lnTo>
                    <a:pt x="229" y="314"/>
                  </a:lnTo>
                  <a:lnTo>
                    <a:pt x="229" y="316"/>
                  </a:lnTo>
                  <a:lnTo>
                    <a:pt x="229" y="316"/>
                  </a:lnTo>
                  <a:lnTo>
                    <a:pt x="229" y="318"/>
                  </a:lnTo>
                  <a:lnTo>
                    <a:pt x="229" y="319"/>
                  </a:lnTo>
                  <a:lnTo>
                    <a:pt x="229" y="319"/>
                  </a:lnTo>
                  <a:lnTo>
                    <a:pt x="229" y="321"/>
                  </a:lnTo>
                  <a:lnTo>
                    <a:pt x="229" y="325"/>
                  </a:lnTo>
                  <a:lnTo>
                    <a:pt x="229" y="325"/>
                  </a:lnTo>
                  <a:lnTo>
                    <a:pt x="229" y="327"/>
                  </a:lnTo>
                  <a:lnTo>
                    <a:pt x="229" y="327"/>
                  </a:lnTo>
                  <a:lnTo>
                    <a:pt x="227" y="329"/>
                  </a:lnTo>
                  <a:lnTo>
                    <a:pt x="227" y="331"/>
                  </a:lnTo>
                  <a:lnTo>
                    <a:pt x="225" y="337"/>
                  </a:lnTo>
                  <a:lnTo>
                    <a:pt x="225" y="338"/>
                  </a:lnTo>
                  <a:lnTo>
                    <a:pt x="225" y="338"/>
                  </a:lnTo>
                  <a:lnTo>
                    <a:pt x="225" y="340"/>
                  </a:lnTo>
                  <a:lnTo>
                    <a:pt x="227" y="340"/>
                  </a:lnTo>
                  <a:lnTo>
                    <a:pt x="227" y="340"/>
                  </a:lnTo>
                  <a:lnTo>
                    <a:pt x="227" y="340"/>
                  </a:lnTo>
                  <a:lnTo>
                    <a:pt x="227" y="342"/>
                  </a:lnTo>
                  <a:lnTo>
                    <a:pt x="225" y="342"/>
                  </a:lnTo>
                  <a:lnTo>
                    <a:pt x="225" y="342"/>
                  </a:lnTo>
                  <a:lnTo>
                    <a:pt x="223" y="342"/>
                  </a:lnTo>
                  <a:lnTo>
                    <a:pt x="223" y="344"/>
                  </a:lnTo>
                  <a:lnTo>
                    <a:pt x="225" y="344"/>
                  </a:lnTo>
                  <a:lnTo>
                    <a:pt x="225" y="344"/>
                  </a:lnTo>
                  <a:lnTo>
                    <a:pt x="225" y="344"/>
                  </a:lnTo>
                  <a:lnTo>
                    <a:pt x="229" y="344"/>
                  </a:lnTo>
                  <a:lnTo>
                    <a:pt x="231" y="344"/>
                  </a:lnTo>
                  <a:lnTo>
                    <a:pt x="232" y="342"/>
                  </a:lnTo>
                  <a:lnTo>
                    <a:pt x="232" y="340"/>
                  </a:lnTo>
                  <a:lnTo>
                    <a:pt x="234" y="338"/>
                  </a:lnTo>
                  <a:lnTo>
                    <a:pt x="236" y="338"/>
                  </a:lnTo>
                  <a:lnTo>
                    <a:pt x="240" y="338"/>
                  </a:lnTo>
                  <a:lnTo>
                    <a:pt x="240" y="337"/>
                  </a:lnTo>
                  <a:lnTo>
                    <a:pt x="240" y="337"/>
                  </a:lnTo>
                  <a:lnTo>
                    <a:pt x="240" y="337"/>
                  </a:lnTo>
                  <a:lnTo>
                    <a:pt x="238" y="335"/>
                  </a:lnTo>
                  <a:lnTo>
                    <a:pt x="236" y="333"/>
                  </a:lnTo>
                  <a:lnTo>
                    <a:pt x="236" y="333"/>
                  </a:lnTo>
                  <a:lnTo>
                    <a:pt x="238" y="331"/>
                  </a:lnTo>
                  <a:lnTo>
                    <a:pt x="238" y="331"/>
                  </a:lnTo>
                  <a:lnTo>
                    <a:pt x="240" y="331"/>
                  </a:lnTo>
                  <a:lnTo>
                    <a:pt x="244" y="333"/>
                  </a:lnTo>
                  <a:lnTo>
                    <a:pt x="244" y="333"/>
                  </a:lnTo>
                  <a:lnTo>
                    <a:pt x="246" y="333"/>
                  </a:lnTo>
                  <a:lnTo>
                    <a:pt x="248" y="331"/>
                  </a:lnTo>
                  <a:lnTo>
                    <a:pt x="248" y="329"/>
                  </a:lnTo>
                  <a:lnTo>
                    <a:pt x="250" y="329"/>
                  </a:lnTo>
                  <a:lnTo>
                    <a:pt x="250" y="331"/>
                  </a:lnTo>
                  <a:lnTo>
                    <a:pt x="250" y="331"/>
                  </a:lnTo>
                  <a:lnTo>
                    <a:pt x="250" y="331"/>
                  </a:lnTo>
                  <a:lnTo>
                    <a:pt x="252" y="331"/>
                  </a:lnTo>
                  <a:lnTo>
                    <a:pt x="252" y="331"/>
                  </a:lnTo>
                  <a:lnTo>
                    <a:pt x="252" y="329"/>
                  </a:lnTo>
                  <a:lnTo>
                    <a:pt x="253" y="329"/>
                  </a:lnTo>
                  <a:lnTo>
                    <a:pt x="253" y="331"/>
                  </a:lnTo>
                  <a:lnTo>
                    <a:pt x="253" y="331"/>
                  </a:lnTo>
                  <a:lnTo>
                    <a:pt x="255" y="333"/>
                  </a:lnTo>
                  <a:lnTo>
                    <a:pt x="255" y="333"/>
                  </a:lnTo>
                  <a:lnTo>
                    <a:pt x="255" y="333"/>
                  </a:lnTo>
                  <a:lnTo>
                    <a:pt x="255" y="333"/>
                  </a:lnTo>
                  <a:lnTo>
                    <a:pt x="257" y="331"/>
                  </a:lnTo>
                  <a:lnTo>
                    <a:pt x="259" y="331"/>
                  </a:lnTo>
                  <a:lnTo>
                    <a:pt x="263" y="329"/>
                  </a:lnTo>
                  <a:lnTo>
                    <a:pt x="263" y="327"/>
                  </a:lnTo>
                  <a:lnTo>
                    <a:pt x="263" y="327"/>
                  </a:lnTo>
                  <a:lnTo>
                    <a:pt x="265" y="327"/>
                  </a:lnTo>
                  <a:lnTo>
                    <a:pt x="265" y="327"/>
                  </a:lnTo>
                  <a:lnTo>
                    <a:pt x="265" y="327"/>
                  </a:lnTo>
                  <a:lnTo>
                    <a:pt x="267" y="325"/>
                  </a:lnTo>
                  <a:lnTo>
                    <a:pt x="271" y="325"/>
                  </a:lnTo>
                  <a:lnTo>
                    <a:pt x="271" y="325"/>
                  </a:lnTo>
                  <a:lnTo>
                    <a:pt x="273" y="321"/>
                  </a:lnTo>
                  <a:lnTo>
                    <a:pt x="274" y="321"/>
                  </a:lnTo>
                  <a:lnTo>
                    <a:pt x="274" y="321"/>
                  </a:lnTo>
                  <a:lnTo>
                    <a:pt x="276" y="323"/>
                  </a:lnTo>
                  <a:lnTo>
                    <a:pt x="276" y="323"/>
                  </a:lnTo>
                  <a:lnTo>
                    <a:pt x="278" y="321"/>
                  </a:lnTo>
                  <a:lnTo>
                    <a:pt x="278" y="319"/>
                  </a:lnTo>
                  <a:lnTo>
                    <a:pt x="280" y="318"/>
                  </a:lnTo>
                  <a:lnTo>
                    <a:pt x="280" y="318"/>
                  </a:lnTo>
                  <a:lnTo>
                    <a:pt x="282" y="316"/>
                  </a:lnTo>
                  <a:lnTo>
                    <a:pt x="282" y="314"/>
                  </a:lnTo>
                  <a:lnTo>
                    <a:pt x="282" y="310"/>
                  </a:lnTo>
                  <a:lnTo>
                    <a:pt x="280" y="308"/>
                  </a:lnTo>
                  <a:lnTo>
                    <a:pt x="280" y="308"/>
                  </a:lnTo>
                  <a:lnTo>
                    <a:pt x="278" y="306"/>
                  </a:lnTo>
                  <a:lnTo>
                    <a:pt x="276" y="306"/>
                  </a:lnTo>
                  <a:lnTo>
                    <a:pt x="278" y="302"/>
                  </a:lnTo>
                  <a:lnTo>
                    <a:pt x="278" y="300"/>
                  </a:lnTo>
                  <a:lnTo>
                    <a:pt x="276" y="298"/>
                  </a:lnTo>
                  <a:lnTo>
                    <a:pt x="280" y="300"/>
                  </a:lnTo>
                  <a:lnTo>
                    <a:pt x="280" y="298"/>
                  </a:lnTo>
                  <a:lnTo>
                    <a:pt x="280" y="295"/>
                  </a:lnTo>
                  <a:lnTo>
                    <a:pt x="280" y="293"/>
                  </a:lnTo>
                  <a:lnTo>
                    <a:pt x="284" y="291"/>
                  </a:lnTo>
                  <a:lnTo>
                    <a:pt x="282" y="291"/>
                  </a:lnTo>
                  <a:lnTo>
                    <a:pt x="280" y="291"/>
                  </a:lnTo>
                  <a:lnTo>
                    <a:pt x="280" y="289"/>
                  </a:lnTo>
                  <a:lnTo>
                    <a:pt x="280" y="289"/>
                  </a:lnTo>
                  <a:lnTo>
                    <a:pt x="280" y="289"/>
                  </a:lnTo>
                  <a:lnTo>
                    <a:pt x="282" y="287"/>
                  </a:lnTo>
                  <a:lnTo>
                    <a:pt x="282" y="287"/>
                  </a:lnTo>
                  <a:lnTo>
                    <a:pt x="282" y="287"/>
                  </a:lnTo>
                  <a:lnTo>
                    <a:pt x="282" y="285"/>
                  </a:lnTo>
                  <a:lnTo>
                    <a:pt x="284" y="285"/>
                  </a:lnTo>
                  <a:lnTo>
                    <a:pt x="284" y="285"/>
                  </a:lnTo>
                  <a:lnTo>
                    <a:pt x="282" y="283"/>
                  </a:lnTo>
                  <a:lnTo>
                    <a:pt x="280" y="283"/>
                  </a:lnTo>
                  <a:lnTo>
                    <a:pt x="280" y="283"/>
                  </a:lnTo>
                  <a:lnTo>
                    <a:pt x="278" y="281"/>
                  </a:lnTo>
                  <a:lnTo>
                    <a:pt x="278" y="281"/>
                  </a:lnTo>
                  <a:lnTo>
                    <a:pt x="278" y="279"/>
                  </a:lnTo>
                  <a:lnTo>
                    <a:pt x="276" y="278"/>
                  </a:lnTo>
                  <a:lnTo>
                    <a:pt x="278" y="276"/>
                  </a:lnTo>
                  <a:lnTo>
                    <a:pt x="280" y="270"/>
                  </a:lnTo>
                  <a:lnTo>
                    <a:pt x="278" y="270"/>
                  </a:lnTo>
                  <a:lnTo>
                    <a:pt x="276" y="270"/>
                  </a:lnTo>
                  <a:lnTo>
                    <a:pt x="276" y="266"/>
                  </a:lnTo>
                  <a:lnTo>
                    <a:pt x="276" y="266"/>
                  </a:lnTo>
                  <a:lnTo>
                    <a:pt x="276" y="266"/>
                  </a:lnTo>
                  <a:lnTo>
                    <a:pt x="274" y="266"/>
                  </a:lnTo>
                  <a:lnTo>
                    <a:pt x="273" y="266"/>
                  </a:lnTo>
                  <a:lnTo>
                    <a:pt x="273" y="264"/>
                  </a:lnTo>
                  <a:lnTo>
                    <a:pt x="273" y="264"/>
                  </a:lnTo>
                  <a:lnTo>
                    <a:pt x="273" y="262"/>
                  </a:lnTo>
                  <a:lnTo>
                    <a:pt x="273" y="262"/>
                  </a:lnTo>
                  <a:lnTo>
                    <a:pt x="273" y="262"/>
                  </a:lnTo>
                  <a:lnTo>
                    <a:pt x="271" y="262"/>
                  </a:lnTo>
                  <a:lnTo>
                    <a:pt x="271" y="262"/>
                  </a:lnTo>
                  <a:lnTo>
                    <a:pt x="269" y="262"/>
                  </a:lnTo>
                  <a:lnTo>
                    <a:pt x="269" y="262"/>
                  </a:lnTo>
                  <a:lnTo>
                    <a:pt x="269" y="262"/>
                  </a:lnTo>
                  <a:lnTo>
                    <a:pt x="269" y="260"/>
                  </a:lnTo>
                  <a:lnTo>
                    <a:pt x="269" y="260"/>
                  </a:lnTo>
                  <a:lnTo>
                    <a:pt x="267" y="260"/>
                  </a:lnTo>
                  <a:lnTo>
                    <a:pt x="267" y="259"/>
                  </a:lnTo>
                  <a:lnTo>
                    <a:pt x="265" y="259"/>
                  </a:lnTo>
                  <a:lnTo>
                    <a:pt x="265" y="257"/>
                  </a:lnTo>
                  <a:lnTo>
                    <a:pt x="265" y="257"/>
                  </a:lnTo>
                  <a:lnTo>
                    <a:pt x="259" y="257"/>
                  </a:lnTo>
                  <a:lnTo>
                    <a:pt x="257" y="259"/>
                  </a:lnTo>
                  <a:lnTo>
                    <a:pt x="255" y="259"/>
                  </a:lnTo>
                  <a:lnTo>
                    <a:pt x="255" y="260"/>
                  </a:lnTo>
                  <a:lnTo>
                    <a:pt x="255" y="260"/>
                  </a:lnTo>
                  <a:lnTo>
                    <a:pt x="255" y="262"/>
                  </a:lnTo>
                  <a:lnTo>
                    <a:pt x="255" y="262"/>
                  </a:lnTo>
                  <a:lnTo>
                    <a:pt x="255" y="262"/>
                  </a:lnTo>
                  <a:lnTo>
                    <a:pt x="255" y="264"/>
                  </a:lnTo>
                  <a:lnTo>
                    <a:pt x="255" y="264"/>
                  </a:lnTo>
                  <a:lnTo>
                    <a:pt x="255" y="264"/>
                  </a:lnTo>
                  <a:lnTo>
                    <a:pt x="255" y="264"/>
                  </a:lnTo>
                  <a:lnTo>
                    <a:pt x="252" y="266"/>
                  </a:lnTo>
                  <a:lnTo>
                    <a:pt x="248" y="264"/>
                  </a:lnTo>
                  <a:lnTo>
                    <a:pt x="246" y="262"/>
                  </a:lnTo>
                  <a:lnTo>
                    <a:pt x="244" y="262"/>
                  </a:lnTo>
                  <a:lnTo>
                    <a:pt x="244" y="260"/>
                  </a:lnTo>
                  <a:lnTo>
                    <a:pt x="242" y="260"/>
                  </a:lnTo>
                  <a:lnTo>
                    <a:pt x="242" y="259"/>
                  </a:lnTo>
                  <a:lnTo>
                    <a:pt x="242" y="257"/>
                  </a:lnTo>
                  <a:lnTo>
                    <a:pt x="240" y="257"/>
                  </a:lnTo>
                  <a:lnTo>
                    <a:pt x="240" y="255"/>
                  </a:lnTo>
                  <a:lnTo>
                    <a:pt x="234" y="253"/>
                  </a:lnTo>
                  <a:lnTo>
                    <a:pt x="234" y="253"/>
                  </a:lnTo>
                  <a:lnTo>
                    <a:pt x="232" y="253"/>
                  </a:lnTo>
                  <a:lnTo>
                    <a:pt x="232" y="253"/>
                  </a:lnTo>
                  <a:lnTo>
                    <a:pt x="232" y="255"/>
                  </a:lnTo>
                  <a:lnTo>
                    <a:pt x="232" y="255"/>
                  </a:lnTo>
                  <a:lnTo>
                    <a:pt x="231" y="255"/>
                  </a:lnTo>
                  <a:lnTo>
                    <a:pt x="225" y="255"/>
                  </a:lnTo>
                  <a:lnTo>
                    <a:pt x="223" y="257"/>
                  </a:lnTo>
                  <a:lnTo>
                    <a:pt x="221" y="255"/>
                  </a:lnTo>
                  <a:lnTo>
                    <a:pt x="221" y="255"/>
                  </a:lnTo>
                  <a:lnTo>
                    <a:pt x="221" y="255"/>
                  </a:lnTo>
                  <a:lnTo>
                    <a:pt x="221" y="253"/>
                  </a:lnTo>
                  <a:lnTo>
                    <a:pt x="221" y="253"/>
                  </a:lnTo>
                  <a:lnTo>
                    <a:pt x="219" y="251"/>
                  </a:lnTo>
                  <a:lnTo>
                    <a:pt x="219" y="251"/>
                  </a:lnTo>
                  <a:lnTo>
                    <a:pt x="219" y="251"/>
                  </a:lnTo>
                  <a:lnTo>
                    <a:pt x="219" y="249"/>
                  </a:lnTo>
                  <a:lnTo>
                    <a:pt x="221" y="247"/>
                  </a:lnTo>
                  <a:lnTo>
                    <a:pt x="221" y="245"/>
                  </a:lnTo>
                  <a:lnTo>
                    <a:pt x="223" y="245"/>
                  </a:lnTo>
                  <a:lnTo>
                    <a:pt x="223" y="245"/>
                  </a:lnTo>
                  <a:lnTo>
                    <a:pt x="225" y="243"/>
                  </a:lnTo>
                  <a:lnTo>
                    <a:pt x="225" y="243"/>
                  </a:lnTo>
                  <a:lnTo>
                    <a:pt x="227" y="243"/>
                  </a:lnTo>
                  <a:lnTo>
                    <a:pt x="227" y="241"/>
                  </a:lnTo>
                  <a:lnTo>
                    <a:pt x="227" y="240"/>
                  </a:lnTo>
                  <a:lnTo>
                    <a:pt x="229" y="240"/>
                  </a:lnTo>
                  <a:lnTo>
                    <a:pt x="229" y="238"/>
                  </a:lnTo>
                  <a:lnTo>
                    <a:pt x="229" y="236"/>
                  </a:lnTo>
                  <a:lnTo>
                    <a:pt x="229" y="236"/>
                  </a:lnTo>
                  <a:lnTo>
                    <a:pt x="229" y="234"/>
                  </a:lnTo>
                  <a:lnTo>
                    <a:pt x="229" y="234"/>
                  </a:lnTo>
                  <a:lnTo>
                    <a:pt x="229" y="228"/>
                  </a:lnTo>
                  <a:lnTo>
                    <a:pt x="229" y="226"/>
                  </a:lnTo>
                  <a:lnTo>
                    <a:pt x="229" y="226"/>
                  </a:lnTo>
                  <a:lnTo>
                    <a:pt x="229" y="224"/>
                  </a:lnTo>
                  <a:lnTo>
                    <a:pt x="231" y="222"/>
                  </a:lnTo>
                  <a:lnTo>
                    <a:pt x="232" y="222"/>
                  </a:lnTo>
                  <a:lnTo>
                    <a:pt x="234" y="221"/>
                  </a:lnTo>
                  <a:lnTo>
                    <a:pt x="236" y="221"/>
                  </a:lnTo>
                  <a:lnTo>
                    <a:pt x="238" y="221"/>
                  </a:lnTo>
                  <a:lnTo>
                    <a:pt x="240" y="219"/>
                  </a:lnTo>
                  <a:lnTo>
                    <a:pt x="240" y="219"/>
                  </a:lnTo>
                  <a:lnTo>
                    <a:pt x="240" y="219"/>
                  </a:lnTo>
                  <a:lnTo>
                    <a:pt x="246" y="219"/>
                  </a:lnTo>
                  <a:lnTo>
                    <a:pt x="246" y="221"/>
                  </a:lnTo>
                  <a:lnTo>
                    <a:pt x="248" y="221"/>
                  </a:lnTo>
                  <a:lnTo>
                    <a:pt x="248" y="221"/>
                  </a:lnTo>
                  <a:lnTo>
                    <a:pt x="252" y="219"/>
                  </a:lnTo>
                  <a:lnTo>
                    <a:pt x="253" y="217"/>
                  </a:lnTo>
                  <a:lnTo>
                    <a:pt x="253" y="215"/>
                  </a:lnTo>
                  <a:lnTo>
                    <a:pt x="253" y="215"/>
                  </a:lnTo>
                  <a:lnTo>
                    <a:pt x="253" y="215"/>
                  </a:lnTo>
                  <a:lnTo>
                    <a:pt x="253" y="213"/>
                  </a:lnTo>
                  <a:lnTo>
                    <a:pt x="253" y="211"/>
                  </a:lnTo>
                  <a:lnTo>
                    <a:pt x="250" y="209"/>
                  </a:lnTo>
                  <a:lnTo>
                    <a:pt x="250" y="207"/>
                  </a:lnTo>
                  <a:lnTo>
                    <a:pt x="252" y="207"/>
                  </a:lnTo>
                  <a:lnTo>
                    <a:pt x="252" y="205"/>
                  </a:lnTo>
                  <a:lnTo>
                    <a:pt x="250" y="201"/>
                  </a:lnTo>
                  <a:lnTo>
                    <a:pt x="248" y="196"/>
                  </a:lnTo>
                  <a:lnTo>
                    <a:pt x="248" y="196"/>
                  </a:lnTo>
                  <a:lnTo>
                    <a:pt x="248" y="194"/>
                  </a:lnTo>
                  <a:lnTo>
                    <a:pt x="246" y="194"/>
                  </a:lnTo>
                  <a:lnTo>
                    <a:pt x="246" y="194"/>
                  </a:lnTo>
                  <a:lnTo>
                    <a:pt x="246" y="194"/>
                  </a:lnTo>
                  <a:lnTo>
                    <a:pt x="246" y="194"/>
                  </a:lnTo>
                  <a:lnTo>
                    <a:pt x="248" y="192"/>
                  </a:lnTo>
                  <a:lnTo>
                    <a:pt x="248" y="192"/>
                  </a:lnTo>
                  <a:lnTo>
                    <a:pt x="246" y="177"/>
                  </a:lnTo>
                  <a:lnTo>
                    <a:pt x="246" y="175"/>
                  </a:lnTo>
                  <a:lnTo>
                    <a:pt x="248" y="175"/>
                  </a:lnTo>
                  <a:lnTo>
                    <a:pt x="248" y="173"/>
                  </a:lnTo>
                  <a:lnTo>
                    <a:pt x="248" y="171"/>
                  </a:lnTo>
                  <a:lnTo>
                    <a:pt x="246" y="171"/>
                  </a:lnTo>
                  <a:lnTo>
                    <a:pt x="246" y="169"/>
                  </a:lnTo>
                  <a:lnTo>
                    <a:pt x="246" y="167"/>
                  </a:lnTo>
                  <a:lnTo>
                    <a:pt x="246" y="165"/>
                  </a:lnTo>
                  <a:lnTo>
                    <a:pt x="246" y="165"/>
                  </a:lnTo>
                  <a:lnTo>
                    <a:pt x="248" y="163"/>
                  </a:lnTo>
                  <a:lnTo>
                    <a:pt x="248" y="163"/>
                  </a:lnTo>
                  <a:lnTo>
                    <a:pt x="248" y="162"/>
                  </a:lnTo>
                  <a:lnTo>
                    <a:pt x="246" y="162"/>
                  </a:lnTo>
                  <a:lnTo>
                    <a:pt x="244" y="162"/>
                  </a:lnTo>
                  <a:lnTo>
                    <a:pt x="240" y="162"/>
                  </a:lnTo>
                  <a:lnTo>
                    <a:pt x="240" y="162"/>
                  </a:lnTo>
                  <a:lnTo>
                    <a:pt x="240" y="160"/>
                  </a:lnTo>
                  <a:lnTo>
                    <a:pt x="244" y="156"/>
                  </a:lnTo>
                  <a:lnTo>
                    <a:pt x="246" y="154"/>
                  </a:lnTo>
                  <a:lnTo>
                    <a:pt x="244" y="154"/>
                  </a:lnTo>
                  <a:lnTo>
                    <a:pt x="240" y="154"/>
                  </a:lnTo>
                  <a:lnTo>
                    <a:pt x="240" y="152"/>
                  </a:lnTo>
                  <a:lnTo>
                    <a:pt x="240" y="152"/>
                  </a:lnTo>
                  <a:lnTo>
                    <a:pt x="240" y="152"/>
                  </a:lnTo>
                  <a:lnTo>
                    <a:pt x="240" y="150"/>
                  </a:lnTo>
                  <a:lnTo>
                    <a:pt x="240" y="148"/>
                  </a:lnTo>
                  <a:lnTo>
                    <a:pt x="240" y="148"/>
                  </a:lnTo>
                  <a:lnTo>
                    <a:pt x="240" y="146"/>
                  </a:lnTo>
                  <a:lnTo>
                    <a:pt x="240" y="146"/>
                  </a:lnTo>
                  <a:lnTo>
                    <a:pt x="242" y="144"/>
                  </a:lnTo>
                  <a:lnTo>
                    <a:pt x="242" y="144"/>
                  </a:lnTo>
                  <a:lnTo>
                    <a:pt x="244" y="144"/>
                  </a:lnTo>
                  <a:lnTo>
                    <a:pt x="242" y="143"/>
                  </a:lnTo>
                  <a:lnTo>
                    <a:pt x="242" y="141"/>
                  </a:lnTo>
                  <a:lnTo>
                    <a:pt x="242" y="141"/>
                  </a:lnTo>
                  <a:lnTo>
                    <a:pt x="242" y="139"/>
                  </a:lnTo>
                  <a:lnTo>
                    <a:pt x="242" y="137"/>
                  </a:lnTo>
                  <a:lnTo>
                    <a:pt x="244" y="133"/>
                  </a:lnTo>
                  <a:lnTo>
                    <a:pt x="244" y="131"/>
                  </a:lnTo>
                  <a:lnTo>
                    <a:pt x="246" y="131"/>
                  </a:lnTo>
                  <a:lnTo>
                    <a:pt x="246" y="129"/>
                  </a:lnTo>
                  <a:lnTo>
                    <a:pt x="248" y="129"/>
                  </a:lnTo>
                  <a:lnTo>
                    <a:pt x="246" y="127"/>
                  </a:lnTo>
                  <a:lnTo>
                    <a:pt x="246" y="127"/>
                  </a:lnTo>
                  <a:lnTo>
                    <a:pt x="246" y="125"/>
                  </a:lnTo>
                  <a:lnTo>
                    <a:pt x="246" y="125"/>
                  </a:lnTo>
                  <a:lnTo>
                    <a:pt x="248" y="124"/>
                  </a:lnTo>
                  <a:lnTo>
                    <a:pt x="248" y="124"/>
                  </a:lnTo>
                  <a:lnTo>
                    <a:pt x="248" y="125"/>
                  </a:lnTo>
                  <a:lnTo>
                    <a:pt x="250" y="124"/>
                  </a:lnTo>
                  <a:lnTo>
                    <a:pt x="250" y="122"/>
                  </a:lnTo>
                  <a:lnTo>
                    <a:pt x="253" y="108"/>
                  </a:lnTo>
                  <a:lnTo>
                    <a:pt x="253" y="104"/>
                  </a:lnTo>
                  <a:lnTo>
                    <a:pt x="255" y="103"/>
                  </a:lnTo>
                  <a:lnTo>
                    <a:pt x="255" y="103"/>
                  </a:lnTo>
                  <a:lnTo>
                    <a:pt x="259" y="99"/>
                  </a:lnTo>
                  <a:lnTo>
                    <a:pt x="259" y="97"/>
                  </a:lnTo>
                  <a:lnTo>
                    <a:pt x="259" y="97"/>
                  </a:lnTo>
                  <a:lnTo>
                    <a:pt x="259" y="97"/>
                  </a:lnTo>
                  <a:lnTo>
                    <a:pt x="261" y="95"/>
                  </a:lnTo>
                  <a:lnTo>
                    <a:pt x="261" y="95"/>
                  </a:lnTo>
                  <a:lnTo>
                    <a:pt x="261" y="97"/>
                  </a:lnTo>
                  <a:lnTo>
                    <a:pt x="263" y="95"/>
                  </a:lnTo>
                  <a:lnTo>
                    <a:pt x="263" y="95"/>
                  </a:lnTo>
                  <a:lnTo>
                    <a:pt x="263" y="95"/>
                  </a:lnTo>
                  <a:lnTo>
                    <a:pt x="263" y="95"/>
                  </a:lnTo>
                  <a:lnTo>
                    <a:pt x="263" y="95"/>
                  </a:lnTo>
                  <a:lnTo>
                    <a:pt x="263" y="93"/>
                  </a:lnTo>
                  <a:lnTo>
                    <a:pt x="263" y="93"/>
                  </a:lnTo>
                  <a:lnTo>
                    <a:pt x="265" y="93"/>
                  </a:lnTo>
                  <a:lnTo>
                    <a:pt x="269" y="89"/>
                  </a:lnTo>
                  <a:lnTo>
                    <a:pt x="271" y="87"/>
                  </a:lnTo>
                  <a:lnTo>
                    <a:pt x="271" y="85"/>
                  </a:lnTo>
                  <a:lnTo>
                    <a:pt x="273" y="84"/>
                  </a:lnTo>
                  <a:lnTo>
                    <a:pt x="274" y="82"/>
                  </a:lnTo>
                  <a:lnTo>
                    <a:pt x="280" y="76"/>
                  </a:lnTo>
                  <a:lnTo>
                    <a:pt x="284" y="72"/>
                  </a:lnTo>
                  <a:lnTo>
                    <a:pt x="286" y="70"/>
                  </a:lnTo>
                  <a:lnTo>
                    <a:pt x="288" y="65"/>
                  </a:lnTo>
                  <a:lnTo>
                    <a:pt x="288" y="61"/>
                  </a:lnTo>
                  <a:lnTo>
                    <a:pt x="288" y="5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4" name="Freeform 56">
              <a:extLst>
                <a:ext uri="{FF2B5EF4-FFF2-40B4-BE49-F238E27FC236}">
                  <a16:creationId xmlns:a16="http://schemas.microsoft.com/office/drawing/2014/main" id="{7EA8683E-71DD-DEDC-56F5-1881B61F6DC4}"/>
                </a:ext>
              </a:extLst>
            </p:cNvPr>
            <p:cNvSpPr>
              <a:spLocks/>
            </p:cNvSpPr>
            <p:nvPr/>
          </p:nvSpPr>
          <p:spPr bwMode="auto">
            <a:xfrm>
              <a:off x="3778250" y="3507588"/>
              <a:ext cx="925513" cy="735013"/>
            </a:xfrm>
            <a:custGeom>
              <a:avLst/>
              <a:gdLst>
                <a:gd name="T0" fmla="*/ 553 w 583"/>
                <a:gd name="T1" fmla="*/ 158 h 463"/>
                <a:gd name="T2" fmla="*/ 513 w 583"/>
                <a:gd name="T3" fmla="*/ 132 h 463"/>
                <a:gd name="T4" fmla="*/ 493 w 583"/>
                <a:gd name="T5" fmla="*/ 103 h 463"/>
                <a:gd name="T6" fmla="*/ 484 w 583"/>
                <a:gd name="T7" fmla="*/ 71 h 463"/>
                <a:gd name="T8" fmla="*/ 457 w 583"/>
                <a:gd name="T9" fmla="*/ 44 h 463"/>
                <a:gd name="T10" fmla="*/ 457 w 583"/>
                <a:gd name="T11" fmla="*/ 29 h 463"/>
                <a:gd name="T12" fmla="*/ 444 w 583"/>
                <a:gd name="T13" fmla="*/ 35 h 463"/>
                <a:gd name="T14" fmla="*/ 400 w 583"/>
                <a:gd name="T15" fmla="*/ 29 h 463"/>
                <a:gd name="T16" fmla="*/ 381 w 583"/>
                <a:gd name="T17" fmla="*/ 16 h 463"/>
                <a:gd name="T18" fmla="*/ 349 w 583"/>
                <a:gd name="T19" fmla="*/ 6 h 463"/>
                <a:gd name="T20" fmla="*/ 305 w 583"/>
                <a:gd name="T21" fmla="*/ 4 h 463"/>
                <a:gd name="T22" fmla="*/ 261 w 583"/>
                <a:gd name="T23" fmla="*/ 25 h 463"/>
                <a:gd name="T24" fmla="*/ 221 w 583"/>
                <a:gd name="T25" fmla="*/ 37 h 463"/>
                <a:gd name="T26" fmla="*/ 93 w 583"/>
                <a:gd name="T27" fmla="*/ 48 h 463"/>
                <a:gd name="T28" fmla="*/ 21 w 583"/>
                <a:gd name="T29" fmla="*/ 77 h 463"/>
                <a:gd name="T30" fmla="*/ 6 w 583"/>
                <a:gd name="T31" fmla="*/ 84 h 463"/>
                <a:gd name="T32" fmla="*/ 2 w 583"/>
                <a:gd name="T33" fmla="*/ 111 h 463"/>
                <a:gd name="T34" fmla="*/ 49 w 583"/>
                <a:gd name="T35" fmla="*/ 90 h 463"/>
                <a:gd name="T36" fmla="*/ 30 w 583"/>
                <a:gd name="T37" fmla="*/ 111 h 463"/>
                <a:gd name="T38" fmla="*/ 28 w 583"/>
                <a:gd name="T39" fmla="*/ 132 h 463"/>
                <a:gd name="T40" fmla="*/ 38 w 583"/>
                <a:gd name="T41" fmla="*/ 141 h 463"/>
                <a:gd name="T42" fmla="*/ 122 w 583"/>
                <a:gd name="T43" fmla="*/ 194 h 463"/>
                <a:gd name="T44" fmla="*/ 183 w 583"/>
                <a:gd name="T45" fmla="*/ 175 h 463"/>
                <a:gd name="T46" fmla="*/ 204 w 583"/>
                <a:gd name="T47" fmla="*/ 179 h 463"/>
                <a:gd name="T48" fmla="*/ 215 w 583"/>
                <a:gd name="T49" fmla="*/ 177 h 463"/>
                <a:gd name="T50" fmla="*/ 156 w 583"/>
                <a:gd name="T51" fmla="*/ 227 h 463"/>
                <a:gd name="T52" fmla="*/ 129 w 583"/>
                <a:gd name="T53" fmla="*/ 236 h 463"/>
                <a:gd name="T54" fmla="*/ 95 w 583"/>
                <a:gd name="T55" fmla="*/ 238 h 463"/>
                <a:gd name="T56" fmla="*/ 74 w 583"/>
                <a:gd name="T57" fmla="*/ 236 h 463"/>
                <a:gd name="T58" fmla="*/ 131 w 583"/>
                <a:gd name="T59" fmla="*/ 309 h 463"/>
                <a:gd name="T60" fmla="*/ 244 w 583"/>
                <a:gd name="T61" fmla="*/ 402 h 463"/>
                <a:gd name="T62" fmla="*/ 314 w 583"/>
                <a:gd name="T63" fmla="*/ 375 h 463"/>
                <a:gd name="T64" fmla="*/ 366 w 583"/>
                <a:gd name="T65" fmla="*/ 343 h 463"/>
                <a:gd name="T66" fmla="*/ 373 w 583"/>
                <a:gd name="T67" fmla="*/ 297 h 463"/>
                <a:gd name="T68" fmla="*/ 360 w 583"/>
                <a:gd name="T69" fmla="*/ 286 h 463"/>
                <a:gd name="T70" fmla="*/ 362 w 583"/>
                <a:gd name="T71" fmla="*/ 276 h 463"/>
                <a:gd name="T72" fmla="*/ 383 w 583"/>
                <a:gd name="T73" fmla="*/ 267 h 463"/>
                <a:gd name="T74" fmla="*/ 387 w 583"/>
                <a:gd name="T75" fmla="*/ 240 h 463"/>
                <a:gd name="T76" fmla="*/ 423 w 583"/>
                <a:gd name="T77" fmla="*/ 248 h 463"/>
                <a:gd name="T78" fmla="*/ 413 w 583"/>
                <a:gd name="T79" fmla="*/ 251 h 463"/>
                <a:gd name="T80" fmla="*/ 421 w 583"/>
                <a:gd name="T81" fmla="*/ 274 h 463"/>
                <a:gd name="T82" fmla="*/ 432 w 583"/>
                <a:gd name="T83" fmla="*/ 305 h 463"/>
                <a:gd name="T84" fmla="*/ 423 w 583"/>
                <a:gd name="T85" fmla="*/ 318 h 463"/>
                <a:gd name="T86" fmla="*/ 410 w 583"/>
                <a:gd name="T87" fmla="*/ 339 h 463"/>
                <a:gd name="T88" fmla="*/ 419 w 583"/>
                <a:gd name="T89" fmla="*/ 356 h 463"/>
                <a:gd name="T90" fmla="*/ 431 w 583"/>
                <a:gd name="T91" fmla="*/ 373 h 463"/>
                <a:gd name="T92" fmla="*/ 438 w 583"/>
                <a:gd name="T93" fmla="*/ 398 h 463"/>
                <a:gd name="T94" fmla="*/ 425 w 583"/>
                <a:gd name="T95" fmla="*/ 444 h 463"/>
                <a:gd name="T96" fmla="*/ 442 w 583"/>
                <a:gd name="T97" fmla="*/ 457 h 463"/>
                <a:gd name="T98" fmla="*/ 453 w 583"/>
                <a:gd name="T99" fmla="*/ 438 h 463"/>
                <a:gd name="T100" fmla="*/ 457 w 583"/>
                <a:gd name="T101" fmla="*/ 457 h 463"/>
                <a:gd name="T102" fmla="*/ 484 w 583"/>
                <a:gd name="T103" fmla="*/ 451 h 463"/>
                <a:gd name="T104" fmla="*/ 486 w 583"/>
                <a:gd name="T105" fmla="*/ 411 h 463"/>
                <a:gd name="T106" fmla="*/ 505 w 583"/>
                <a:gd name="T107" fmla="*/ 415 h 463"/>
                <a:gd name="T108" fmla="*/ 524 w 583"/>
                <a:gd name="T109" fmla="*/ 371 h 463"/>
                <a:gd name="T110" fmla="*/ 511 w 583"/>
                <a:gd name="T111" fmla="*/ 356 h 463"/>
                <a:gd name="T112" fmla="*/ 545 w 583"/>
                <a:gd name="T113" fmla="*/ 326 h 463"/>
                <a:gd name="T114" fmla="*/ 553 w 583"/>
                <a:gd name="T115" fmla="*/ 316 h 463"/>
                <a:gd name="T116" fmla="*/ 522 w 583"/>
                <a:gd name="T117" fmla="*/ 299 h 463"/>
                <a:gd name="T118" fmla="*/ 545 w 583"/>
                <a:gd name="T119" fmla="*/ 251 h 463"/>
                <a:gd name="T120" fmla="*/ 551 w 583"/>
                <a:gd name="T121" fmla="*/ 232 h 463"/>
                <a:gd name="T122" fmla="*/ 581 w 583"/>
                <a:gd name="T123" fmla="*/ 189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 h="463">
                  <a:moveTo>
                    <a:pt x="581" y="189"/>
                  </a:moveTo>
                  <a:lnTo>
                    <a:pt x="579" y="187"/>
                  </a:lnTo>
                  <a:lnTo>
                    <a:pt x="577" y="185"/>
                  </a:lnTo>
                  <a:lnTo>
                    <a:pt x="577" y="185"/>
                  </a:lnTo>
                  <a:lnTo>
                    <a:pt x="575" y="185"/>
                  </a:lnTo>
                  <a:lnTo>
                    <a:pt x="575" y="187"/>
                  </a:lnTo>
                  <a:lnTo>
                    <a:pt x="575" y="187"/>
                  </a:lnTo>
                  <a:lnTo>
                    <a:pt x="573" y="187"/>
                  </a:lnTo>
                  <a:lnTo>
                    <a:pt x="573" y="187"/>
                  </a:lnTo>
                  <a:lnTo>
                    <a:pt x="573" y="185"/>
                  </a:lnTo>
                  <a:lnTo>
                    <a:pt x="573" y="183"/>
                  </a:lnTo>
                  <a:lnTo>
                    <a:pt x="572" y="175"/>
                  </a:lnTo>
                  <a:lnTo>
                    <a:pt x="570" y="170"/>
                  </a:lnTo>
                  <a:lnTo>
                    <a:pt x="570" y="168"/>
                  </a:lnTo>
                  <a:lnTo>
                    <a:pt x="568" y="166"/>
                  </a:lnTo>
                  <a:lnTo>
                    <a:pt x="568" y="166"/>
                  </a:lnTo>
                  <a:lnTo>
                    <a:pt x="568" y="166"/>
                  </a:lnTo>
                  <a:lnTo>
                    <a:pt x="566" y="164"/>
                  </a:lnTo>
                  <a:lnTo>
                    <a:pt x="566" y="164"/>
                  </a:lnTo>
                  <a:lnTo>
                    <a:pt x="564" y="162"/>
                  </a:lnTo>
                  <a:lnTo>
                    <a:pt x="564" y="160"/>
                  </a:lnTo>
                  <a:lnTo>
                    <a:pt x="562" y="158"/>
                  </a:lnTo>
                  <a:lnTo>
                    <a:pt x="562" y="158"/>
                  </a:lnTo>
                  <a:lnTo>
                    <a:pt x="558" y="156"/>
                  </a:lnTo>
                  <a:lnTo>
                    <a:pt x="558" y="156"/>
                  </a:lnTo>
                  <a:lnTo>
                    <a:pt x="556" y="156"/>
                  </a:lnTo>
                  <a:lnTo>
                    <a:pt x="556" y="156"/>
                  </a:lnTo>
                  <a:lnTo>
                    <a:pt x="554" y="156"/>
                  </a:lnTo>
                  <a:lnTo>
                    <a:pt x="554" y="158"/>
                  </a:lnTo>
                  <a:lnTo>
                    <a:pt x="553" y="158"/>
                  </a:lnTo>
                  <a:lnTo>
                    <a:pt x="553" y="156"/>
                  </a:lnTo>
                  <a:lnTo>
                    <a:pt x="551" y="156"/>
                  </a:lnTo>
                  <a:lnTo>
                    <a:pt x="551" y="154"/>
                  </a:lnTo>
                  <a:lnTo>
                    <a:pt x="551" y="153"/>
                  </a:lnTo>
                  <a:lnTo>
                    <a:pt x="551" y="151"/>
                  </a:lnTo>
                  <a:lnTo>
                    <a:pt x="551" y="151"/>
                  </a:lnTo>
                  <a:lnTo>
                    <a:pt x="551" y="149"/>
                  </a:lnTo>
                  <a:lnTo>
                    <a:pt x="549" y="147"/>
                  </a:lnTo>
                  <a:lnTo>
                    <a:pt x="547" y="147"/>
                  </a:lnTo>
                  <a:lnTo>
                    <a:pt x="543" y="143"/>
                  </a:lnTo>
                  <a:lnTo>
                    <a:pt x="539" y="141"/>
                  </a:lnTo>
                  <a:lnTo>
                    <a:pt x="535" y="137"/>
                  </a:lnTo>
                  <a:lnTo>
                    <a:pt x="535" y="137"/>
                  </a:lnTo>
                  <a:lnTo>
                    <a:pt x="533" y="137"/>
                  </a:lnTo>
                  <a:lnTo>
                    <a:pt x="533" y="137"/>
                  </a:lnTo>
                  <a:lnTo>
                    <a:pt x="533" y="139"/>
                  </a:lnTo>
                  <a:lnTo>
                    <a:pt x="533" y="139"/>
                  </a:lnTo>
                  <a:lnTo>
                    <a:pt x="533" y="139"/>
                  </a:lnTo>
                  <a:lnTo>
                    <a:pt x="532" y="139"/>
                  </a:lnTo>
                  <a:lnTo>
                    <a:pt x="532" y="139"/>
                  </a:lnTo>
                  <a:lnTo>
                    <a:pt x="532" y="139"/>
                  </a:lnTo>
                  <a:lnTo>
                    <a:pt x="530" y="139"/>
                  </a:lnTo>
                  <a:lnTo>
                    <a:pt x="530" y="139"/>
                  </a:lnTo>
                  <a:lnTo>
                    <a:pt x="526" y="135"/>
                  </a:lnTo>
                  <a:lnTo>
                    <a:pt x="524" y="132"/>
                  </a:lnTo>
                  <a:lnTo>
                    <a:pt x="522" y="130"/>
                  </a:lnTo>
                  <a:lnTo>
                    <a:pt x="522" y="130"/>
                  </a:lnTo>
                  <a:lnTo>
                    <a:pt x="520" y="130"/>
                  </a:lnTo>
                  <a:lnTo>
                    <a:pt x="513" y="132"/>
                  </a:lnTo>
                  <a:lnTo>
                    <a:pt x="513" y="132"/>
                  </a:lnTo>
                  <a:lnTo>
                    <a:pt x="511" y="130"/>
                  </a:lnTo>
                  <a:lnTo>
                    <a:pt x="509" y="130"/>
                  </a:lnTo>
                  <a:lnTo>
                    <a:pt x="505" y="130"/>
                  </a:lnTo>
                  <a:lnTo>
                    <a:pt x="505" y="128"/>
                  </a:lnTo>
                  <a:lnTo>
                    <a:pt x="505" y="126"/>
                  </a:lnTo>
                  <a:lnTo>
                    <a:pt x="507" y="124"/>
                  </a:lnTo>
                  <a:lnTo>
                    <a:pt x="505" y="124"/>
                  </a:lnTo>
                  <a:lnTo>
                    <a:pt x="505" y="122"/>
                  </a:lnTo>
                  <a:lnTo>
                    <a:pt x="505" y="120"/>
                  </a:lnTo>
                  <a:lnTo>
                    <a:pt x="505" y="118"/>
                  </a:lnTo>
                  <a:lnTo>
                    <a:pt x="505" y="116"/>
                  </a:lnTo>
                  <a:lnTo>
                    <a:pt x="505" y="115"/>
                  </a:lnTo>
                  <a:lnTo>
                    <a:pt x="505" y="113"/>
                  </a:lnTo>
                  <a:lnTo>
                    <a:pt x="503" y="111"/>
                  </a:lnTo>
                  <a:lnTo>
                    <a:pt x="501" y="109"/>
                  </a:lnTo>
                  <a:lnTo>
                    <a:pt x="499" y="109"/>
                  </a:lnTo>
                  <a:lnTo>
                    <a:pt x="499" y="111"/>
                  </a:lnTo>
                  <a:lnTo>
                    <a:pt x="497" y="113"/>
                  </a:lnTo>
                  <a:lnTo>
                    <a:pt x="495" y="113"/>
                  </a:lnTo>
                  <a:lnTo>
                    <a:pt x="495" y="113"/>
                  </a:lnTo>
                  <a:lnTo>
                    <a:pt x="493" y="113"/>
                  </a:lnTo>
                  <a:lnTo>
                    <a:pt x="493" y="113"/>
                  </a:lnTo>
                  <a:lnTo>
                    <a:pt x="493" y="111"/>
                  </a:lnTo>
                  <a:lnTo>
                    <a:pt x="493" y="109"/>
                  </a:lnTo>
                  <a:lnTo>
                    <a:pt x="493" y="107"/>
                  </a:lnTo>
                  <a:lnTo>
                    <a:pt x="493" y="107"/>
                  </a:lnTo>
                  <a:lnTo>
                    <a:pt x="495" y="105"/>
                  </a:lnTo>
                  <a:lnTo>
                    <a:pt x="495" y="105"/>
                  </a:lnTo>
                  <a:lnTo>
                    <a:pt x="495" y="103"/>
                  </a:lnTo>
                  <a:lnTo>
                    <a:pt x="493" y="103"/>
                  </a:lnTo>
                  <a:lnTo>
                    <a:pt x="493" y="103"/>
                  </a:lnTo>
                  <a:lnTo>
                    <a:pt x="493" y="101"/>
                  </a:lnTo>
                  <a:lnTo>
                    <a:pt x="490" y="101"/>
                  </a:lnTo>
                  <a:lnTo>
                    <a:pt x="490" y="101"/>
                  </a:lnTo>
                  <a:lnTo>
                    <a:pt x="488" y="99"/>
                  </a:lnTo>
                  <a:lnTo>
                    <a:pt x="488" y="99"/>
                  </a:lnTo>
                  <a:lnTo>
                    <a:pt x="486" y="97"/>
                  </a:lnTo>
                  <a:lnTo>
                    <a:pt x="486" y="96"/>
                  </a:lnTo>
                  <a:lnTo>
                    <a:pt x="486" y="96"/>
                  </a:lnTo>
                  <a:lnTo>
                    <a:pt x="484" y="96"/>
                  </a:lnTo>
                  <a:lnTo>
                    <a:pt x="484" y="94"/>
                  </a:lnTo>
                  <a:lnTo>
                    <a:pt x="480" y="96"/>
                  </a:lnTo>
                  <a:lnTo>
                    <a:pt x="480" y="94"/>
                  </a:lnTo>
                  <a:lnTo>
                    <a:pt x="480" y="94"/>
                  </a:lnTo>
                  <a:lnTo>
                    <a:pt x="482" y="90"/>
                  </a:lnTo>
                  <a:lnTo>
                    <a:pt x="482" y="88"/>
                  </a:lnTo>
                  <a:lnTo>
                    <a:pt x="482" y="86"/>
                  </a:lnTo>
                  <a:lnTo>
                    <a:pt x="482" y="84"/>
                  </a:lnTo>
                  <a:lnTo>
                    <a:pt x="482" y="82"/>
                  </a:lnTo>
                  <a:lnTo>
                    <a:pt x="482" y="82"/>
                  </a:lnTo>
                  <a:lnTo>
                    <a:pt x="484" y="80"/>
                  </a:lnTo>
                  <a:lnTo>
                    <a:pt x="486" y="80"/>
                  </a:lnTo>
                  <a:lnTo>
                    <a:pt x="486" y="80"/>
                  </a:lnTo>
                  <a:lnTo>
                    <a:pt x="486" y="78"/>
                  </a:lnTo>
                  <a:lnTo>
                    <a:pt x="486" y="77"/>
                  </a:lnTo>
                  <a:lnTo>
                    <a:pt x="486" y="75"/>
                  </a:lnTo>
                  <a:lnTo>
                    <a:pt x="484" y="73"/>
                  </a:lnTo>
                  <a:lnTo>
                    <a:pt x="484" y="73"/>
                  </a:lnTo>
                  <a:lnTo>
                    <a:pt x="484" y="73"/>
                  </a:lnTo>
                  <a:lnTo>
                    <a:pt x="484" y="71"/>
                  </a:lnTo>
                  <a:lnTo>
                    <a:pt x="484" y="69"/>
                  </a:lnTo>
                  <a:lnTo>
                    <a:pt x="484" y="67"/>
                  </a:lnTo>
                  <a:lnTo>
                    <a:pt x="480" y="63"/>
                  </a:lnTo>
                  <a:lnTo>
                    <a:pt x="480" y="61"/>
                  </a:lnTo>
                  <a:lnTo>
                    <a:pt x="478" y="63"/>
                  </a:lnTo>
                  <a:lnTo>
                    <a:pt x="478" y="63"/>
                  </a:lnTo>
                  <a:lnTo>
                    <a:pt x="476" y="67"/>
                  </a:lnTo>
                  <a:lnTo>
                    <a:pt x="476" y="67"/>
                  </a:lnTo>
                  <a:lnTo>
                    <a:pt x="476" y="69"/>
                  </a:lnTo>
                  <a:lnTo>
                    <a:pt x="474" y="69"/>
                  </a:lnTo>
                  <a:lnTo>
                    <a:pt x="471" y="71"/>
                  </a:lnTo>
                  <a:lnTo>
                    <a:pt x="471" y="71"/>
                  </a:lnTo>
                  <a:lnTo>
                    <a:pt x="469" y="71"/>
                  </a:lnTo>
                  <a:lnTo>
                    <a:pt x="467" y="67"/>
                  </a:lnTo>
                  <a:lnTo>
                    <a:pt x="467" y="67"/>
                  </a:lnTo>
                  <a:lnTo>
                    <a:pt x="467" y="65"/>
                  </a:lnTo>
                  <a:lnTo>
                    <a:pt x="465" y="65"/>
                  </a:lnTo>
                  <a:lnTo>
                    <a:pt x="465" y="63"/>
                  </a:lnTo>
                  <a:lnTo>
                    <a:pt x="463" y="63"/>
                  </a:lnTo>
                  <a:lnTo>
                    <a:pt x="463" y="61"/>
                  </a:lnTo>
                  <a:lnTo>
                    <a:pt x="461" y="61"/>
                  </a:lnTo>
                  <a:lnTo>
                    <a:pt x="461" y="59"/>
                  </a:lnTo>
                  <a:lnTo>
                    <a:pt x="459" y="59"/>
                  </a:lnTo>
                  <a:lnTo>
                    <a:pt x="457" y="57"/>
                  </a:lnTo>
                  <a:lnTo>
                    <a:pt x="457" y="57"/>
                  </a:lnTo>
                  <a:lnTo>
                    <a:pt x="457" y="56"/>
                  </a:lnTo>
                  <a:lnTo>
                    <a:pt x="455" y="52"/>
                  </a:lnTo>
                  <a:lnTo>
                    <a:pt x="455" y="52"/>
                  </a:lnTo>
                  <a:lnTo>
                    <a:pt x="455" y="50"/>
                  </a:lnTo>
                  <a:lnTo>
                    <a:pt x="457" y="44"/>
                  </a:lnTo>
                  <a:lnTo>
                    <a:pt x="457" y="42"/>
                  </a:lnTo>
                  <a:lnTo>
                    <a:pt x="459" y="42"/>
                  </a:lnTo>
                  <a:lnTo>
                    <a:pt x="459" y="40"/>
                  </a:lnTo>
                  <a:lnTo>
                    <a:pt x="459" y="40"/>
                  </a:lnTo>
                  <a:lnTo>
                    <a:pt x="459" y="40"/>
                  </a:lnTo>
                  <a:lnTo>
                    <a:pt x="461" y="38"/>
                  </a:lnTo>
                  <a:lnTo>
                    <a:pt x="461" y="38"/>
                  </a:lnTo>
                  <a:lnTo>
                    <a:pt x="461" y="38"/>
                  </a:lnTo>
                  <a:lnTo>
                    <a:pt x="463" y="38"/>
                  </a:lnTo>
                  <a:lnTo>
                    <a:pt x="465" y="38"/>
                  </a:lnTo>
                  <a:lnTo>
                    <a:pt x="465" y="38"/>
                  </a:lnTo>
                  <a:lnTo>
                    <a:pt x="467" y="38"/>
                  </a:lnTo>
                  <a:lnTo>
                    <a:pt x="467" y="38"/>
                  </a:lnTo>
                  <a:lnTo>
                    <a:pt x="467" y="37"/>
                  </a:lnTo>
                  <a:lnTo>
                    <a:pt x="467" y="35"/>
                  </a:lnTo>
                  <a:lnTo>
                    <a:pt x="467" y="35"/>
                  </a:lnTo>
                  <a:lnTo>
                    <a:pt x="467" y="35"/>
                  </a:lnTo>
                  <a:lnTo>
                    <a:pt x="467" y="33"/>
                  </a:lnTo>
                  <a:lnTo>
                    <a:pt x="465" y="33"/>
                  </a:lnTo>
                  <a:lnTo>
                    <a:pt x="465" y="35"/>
                  </a:lnTo>
                  <a:lnTo>
                    <a:pt x="465" y="35"/>
                  </a:lnTo>
                  <a:lnTo>
                    <a:pt x="463" y="35"/>
                  </a:lnTo>
                  <a:lnTo>
                    <a:pt x="463" y="35"/>
                  </a:lnTo>
                  <a:lnTo>
                    <a:pt x="459" y="33"/>
                  </a:lnTo>
                  <a:lnTo>
                    <a:pt x="457" y="33"/>
                  </a:lnTo>
                  <a:lnTo>
                    <a:pt x="457" y="33"/>
                  </a:lnTo>
                  <a:lnTo>
                    <a:pt x="455" y="31"/>
                  </a:lnTo>
                  <a:lnTo>
                    <a:pt x="455" y="31"/>
                  </a:lnTo>
                  <a:lnTo>
                    <a:pt x="455" y="31"/>
                  </a:lnTo>
                  <a:lnTo>
                    <a:pt x="457" y="29"/>
                  </a:lnTo>
                  <a:lnTo>
                    <a:pt x="457" y="25"/>
                  </a:lnTo>
                  <a:lnTo>
                    <a:pt x="457" y="23"/>
                  </a:lnTo>
                  <a:lnTo>
                    <a:pt x="457" y="23"/>
                  </a:lnTo>
                  <a:lnTo>
                    <a:pt x="457" y="23"/>
                  </a:lnTo>
                  <a:lnTo>
                    <a:pt x="457" y="21"/>
                  </a:lnTo>
                  <a:lnTo>
                    <a:pt x="457" y="21"/>
                  </a:lnTo>
                  <a:lnTo>
                    <a:pt x="455" y="21"/>
                  </a:lnTo>
                  <a:lnTo>
                    <a:pt x="455" y="21"/>
                  </a:lnTo>
                  <a:lnTo>
                    <a:pt x="453" y="21"/>
                  </a:lnTo>
                  <a:lnTo>
                    <a:pt x="450" y="23"/>
                  </a:lnTo>
                  <a:lnTo>
                    <a:pt x="450" y="23"/>
                  </a:lnTo>
                  <a:lnTo>
                    <a:pt x="448" y="23"/>
                  </a:lnTo>
                  <a:lnTo>
                    <a:pt x="448" y="23"/>
                  </a:lnTo>
                  <a:lnTo>
                    <a:pt x="448" y="23"/>
                  </a:lnTo>
                  <a:lnTo>
                    <a:pt x="446" y="25"/>
                  </a:lnTo>
                  <a:lnTo>
                    <a:pt x="446" y="25"/>
                  </a:lnTo>
                  <a:lnTo>
                    <a:pt x="446" y="25"/>
                  </a:lnTo>
                  <a:lnTo>
                    <a:pt x="446" y="27"/>
                  </a:lnTo>
                  <a:lnTo>
                    <a:pt x="446" y="27"/>
                  </a:lnTo>
                  <a:lnTo>
                    <a:pt x="446" y="29"/>
                  </a:lnTo>
                  <a:lnTo>
                    <a:pt x="446" y="29"/>
                  </a:lnTo>
                  <a:lnTo>
                    <a:pt x="444" y="29"/>
                  </a:lnTo>
                  <a:lnTo>
                    <a:pt x="444" y="31"/>
                  </a:lnTo>
                  <a:lnTo>
                    <a:pt x="444" y="31"/>
                  </a:lnTo>
                  <a:lnTo>
                    <a:pt x="444" y="31"/>
                  </a:lnTo>
                  <a:lnTo>
                    <a:pt x="444" y="31"/>
                  </a:lnTo>
                  <a:lnTo>
                    <a:pt x="444" y="33"/>
                  </a:lnTo>
                  <a:lnTo>
                    <a:pt x="444" y="33"/>
                  </a:lnTo>
                  <a:lnTo>
                    <a:pt x="444" y="33"/>
                  </a:lnTo>
                  <a:lnTo>
                    <a:pt x="444" y="35"/>
                  </a:lnTo>
                  <a:lnTo>
                    <a:pt x="442" y="35"/>
                  </a:lnTo>
                  <a:lnTo>
                    <a:pt x="440" y="37"/>
                  </a:lnTo>
                  <a:lnTo>
                    <a:pt x="440" y="37"/>
                  </a:lnTo>
                  <a:lnTo>
                    <a:pt x="438" y="37"/>
                  </a:lnTo>
                  <a:lnTo>
                    <a:pt x="434" y="35"/>
                  </a:lnTo>
                  <a:lnTo>
                    <a:pt x="432" y="35"/>
                  </a:lnTo>
                  <a:lnTo>
                    <a:pt x="429" y="35"/>
                  </a:lnTo>
                  <a:lnTo>
                    <a:pt x="425" y="35"/>
                  </a:lnTo>
                  <a:lnTo>
                    <a:pt x="423" y="35"/>
                  </a:lnTo>
                  <a:lnTo>
                    <a:pt x="421" y="33"/>
                  </a:lnTo>
                  <a:lnTo>
                    <a:pt x="421" y="33"/>
                  </a:lnTo>
                  <a:lnTo>
                    <a:pt x="419" y="31"/>
                  </a:lnTo>
                  <a:lnTo>
                    <a:pt x="419" y="31"/>
                  </a:lnTo>
                  <a:lnTo>
                    <a:pt x="417" y="27"/>
                  </a:lnTo>
                  <a:lnTo>
                    <a:pt x="417" y="27"/>
                  </a:lnTo>
                  <a:lnTo>
                    <a:pt x="417" y="27"/>
                  </a:lnTo>
                  <a:lnTo>
                    <a:pt x="415" y="25"/>
                  </a:lnTo>
                  <a:lnTo>
                    <a:pt x="415" y="25"/>
                  </a:lnTo>
                  <a:lnTo>
                    <a:pt x="413" y="25"/>
                  </a:lnTo>
                  <a:lnTo>
                    <a:pt x="412" y="25"/>
                  </a:lnTo>
                  <a:lnTo>
                    <a:pt x="412" y="25"/>
                  </a:lnTo>
                  <a:lnTo>
                    <a:pt x="406" y="21"/>
                  </a:lnTo>
                  <a:lnTo>
                    <a:pt x="406" y="21"/>
                  </a:lnTo>
                  <a:lnTo>
                    <a:pt x="404" y="21"/>
                  </a:lnTo>
                  <a:lnTo>
                    <a:pt x="402" y="21"/>
                  </a:lnTo>
                  <a:lnTo>
                    <a:pt x="402" y="21"/>
                  </a:lnTo>
                  <a:lnTo>
                    <a:pt x="402" y="21"/>
                  </a:lnTo>
                  <a:lnTo>
                    <a:pt x="402" y="21"/>
                  </a:lnTo>
                  <a:lnTo>
                    <a:pt x="402" y="23"/>
                  </a:lnTo>
                  <a:lnTo>
                    <a:pt x="400" y="29"/>
                  </a:lnTo>
                  <a:lnTo>
                    <a:pt x="400" y="29"/>
                  </a:lnTo>
                  <a:lnTo>
                    <a:pt x="400" y="29"/>
                  </a:lnTo>
                  <a:lnTo>
                    <a:pt x="400" y="29"/>
                  </a:lnTo>
                  <a:lnTo>
                    <a:pt x="398" y="29"/>
                  </a:lnTo>
                  <a:lnTo>
                    <a:pt x="398" y="29"/>
                  </a:lnTo>
                  <a:lnTo>
                    <a:pt x="398" y="29"/>
                  </a:lnTo>
                  <a:lnTo>
                    <a:pt x="396" y="29"/>
                  </a:lnTo>
                  <a:lnTo>
                    <a:pt x="396" y="27"/>
                  </a:lnTo>
                  <a:lnTo>
                    <a:pt x="394" y="25"/>
                  </a:lnTo>
                  <a:lnTo>
                    <a:pt x="394" y="25"/>
                  </a:lnTo>
                  <a:lnTo>
                    <a:pt x="394" y="23"/>
                  </a:lnTo>
                  <a:lnTo>
                    <a:pt x="394" y="23"/>
                  </a:lnTo>
                  <a:lnTo>
                    <a:pt x="394" y="21"/>
                  </a:lnTo>
                  <a:lnTo>
                    <a:pt x="394" y="21"/>
                  </a:lnTo>
                  <a:lnTo>
                    <a:pt x="394" y="21"/>
                  </a:lnTo>
                  <a:lnTo>
                    <a:pt x="394" y="19"/>
                  </a:lnTo>
                  <a:lnTo>
                    <a:pt x="392" y="19"/>
                  </a:lnTo>
                  <a:lnTo>
                    <a:pt x="391" y="19"/>
                  </a:lnTo>
                  <a:lnTo>
                    <a:pt x="391" y="19"/>
                  </a:lnTo>
                  <a:lnTo>
                    <a:pt x="389" y="19"/>
                  </a:lnTo>
                  <a:lnTo>
                    <a:pt x="389" y="19"/>
                  </a:lnTo>
                  <a:lnTo>
                    <a:pt x="387" y="19"/>
                  </a:lnTo>
                  <a:lnTo>
                    <a:pt x="387" y="18"/>
                  </a:lnTo>
                  <a:lnTo>
                    <a:pt x="387" y="18"/>
                  </a:lnTo>
                  <a:lnTo>
                    <a:pt x="387" y="18"/>
                  </a:lnTo>
                  <a:lnTo>
                    <a:pt x="387" y="18"/>
                  </a:lnTo>
                  <a:lnTo>
                    <a:pt x="385" y="16"/>
                  </a:lnTo>
                  <a:lnTo>
                    <a:pt x="383" y="16"/>
                  </a:lnTo>
                  <a:lnTo>
                    <a:pt x="381" y="16"/>
                  </a:lnTo>
                  <a:lnTo>
                    <a:pt x="381" y="16"/>
                  </a:lnTo>
                  <a:lnTo>
                    <a:pt x="379" y="14"/>
                  </a:lnTo>
                  <a:lnTo>
                    <a:pt x="379" y="14"/>
                  </a:lnTo>
                  <a:lnTo>
                    <a:pt x="377" y="12"/>
                  </a:lnTo>
                  <a:lnTo>
                    <a:pt x="379" y="12"/>
                  </a:lnTo>
                  <a:lnTo>
                    <a:pt x="379" y="12"/>
                  </a:lnTo>
                  <a:lnTo>
                    <a:pt x="379" y="12"/>
                  </a:lnTo>
                  <a:lnTo>
                    <a:pt x="383" y="12"/>
                  </a:lnTo>
                  <a:lnTo>
                    <a:pt x="385" y="10"/>
                  </a:lnTo>
                  <a:lnTo>
                    <a:pt x="385" y="10"/>
                  </a:lnTo>
                  <a:lnTo>
                    <a:pt x="387" y="10"/>
                  </a:lnTo>
                  <a:lnTo>
                    <a:pt x="387" y="10"/>
                  </a:lnTo>
                  <a:lnTo>
                    <a:pt x="387" y="8"/>
                  </a:lnTo>
                  <a:lnTo>
                    <a:pt x="385" y="8"/>
                  </a:lnTo>
                  <a:lnTo>
                    <a:pt x="385" y="8"/>
                  </a:lnTo>
                  <a:lnTo>
                    <a:pt x="383" y="8"/>
                  </a:lnTo>
                  <a:lnTo>
                    <a:pt x="379" y="8"/>
                  </a:lnTo>
                  <a:lnTo>
                    <a:pt x="373" y="10"/>
                  </a:lnTo>
                  <a:lnTo>
                    <a:pt x="371" y="8"/>
                  </a:lnTo>
                  <a:lnTo>
                    <a:pt x="364" y="6"/>
                  </a:lnTo>
                  <a:lnTo>
                    <a:pt x="362" y="6"/>
                  </a:lnTo>
                  <a:lnTo>
                    <a:pt x="362" y="2"/>
                  </a:lnTo>
                  <a:lnTo>
                    <a:pt x="360" y="2"/>
                  </a:lnTo>
                  <a:lnTo>
                    <a:pt x="360" y="0"/>
                  </a:lnTo>
                  <a:lnTo>
                    <a:pt x="358" y="2"/>
                  </a:lnTo>
                  <a:lnTo>
                    <a:pt x="354" y="2"/>
                  </a:lnTo>
                  <a:lnTo>
                    <a:pt x="352" y="2"/>
                  </a:lnTo>
                  <a:lnTo>
                    <a:pt x="352" y="4"/>
                  </a:lnTo>
                  <a:lnTo>
                    <a:pt x="351" y="4"/>
                  </a:lnTo>
                  <a:lnTo>
                    <a:pt x="351" y="6"/>
                  </a:lnTo>
                  <a:lnTo>
                    <a:pt x="349" y="6"/>
                  </a:lnTo>
                  <a:lnTo>
                    <a:pt x="349" y="6"/>
                  </a:lnTo>
                  <a:lnTo>
                    <a:pt x="347" y="6"/>
                  </a:lnTo>
                  <a:lnTo>
                    <a:pt x="345" y="6"/>
                  </a:lnTo>
                  <a:lnTo>
                    <a:pt x="345" y="4"/>
                  </a:lnTo>
                  <a:lnTo>
                    <a:pt x="345" y="4"/>
                  </a:lnTo>
                  <a:lnTo>
                    <a:pt x="343" y="4"/>
                  </a:lnTo>
                  <a:lnTo>
                    <a:pt x="343" y="4"/>
                  </a:lnTo>
                  <a:lnTo>
                    <a:pt x="341" y="4"/>
                  </a:lnTo>
                  <a:lnTo>
                    <a:pt x="339" y="4"/>
                  </a:lnTo>
                  <a:lnTo>
                    <a:pt x="339" y="6"/>
                  </a:lnTo>
                  <a:lnTo>
                    <a:pt x="339" y="6"/>
                  </a:lnTo>
                  <a:lnTo>
                    <a:pt x="339" y="8"/>
                  </a:lnTo>
                  <a:lnTo>
                    <a:pt x="339" y="8"/>
                  </a:lnTo>
                  <a:lnTo>
                    <a:pt x="339" y="8"/>
                  </a:lnTo>
                  <a:lnTo>
                    <a:pt x="337" y="8"/>
                  </a:lnTo>
                  <a:lnTo>
                    <a:pt x="335" y="8"/>
                  </a:lnTo>
                  <a:lnTo>
                    <a:pt x="335" y="8"/>
                  </a:lnTo>
                  <a:lnTo>
                    <a:pt x="333" y="6"/>
                  </a:lnTo>
                  <a:lnTo>
                    <a:pt x="333" y="4"/>
                  </a:lnTo>
                  <a:lnTo>
                    <a:pt x="333" y="4"/>
                  </a:lnTo>
                  <a:lnTo>
                    <a:pt x="331" y="4"/>
                  </a:lnTo>
                  <a:lnTo>
                    <a:pt x="324" y="6"/>
                  </a:lnTo>
                  <a:lnTo>
                    <a:pt x="322" y="6"/>
                  </a:lnTo>
                  <a:lnTo>
                    <a:pt x="320" y="6"/>
                  </a:lnTo>
                  <a:lnTo>
                    <a:pt x="320" y="6"/>
                  </a:lnTo>
                  <a:lnTo>
                    <a:pt x="318" y="4"/>
                  </a:lnTo>
                  <a:lnTo>
                    <a:pt x="316" y="4"/>
                  </a:lnTo>
                  <a:lnTo>
                    <a:pt x="312" y="4"/>
                  </a:lnTo>
                  <a:lnTo>
                    <a:pt x="307" y="4"/>
                  </a:lnTo>
                  <a:lnTo>
                    <a:pt x="305" y="4"/>
                  </a:lnTo>
                  <a:lnTo>
                    <a:pt x="303" y="4"/>
                  </a:lnTo>
                  <a:lnTo>
                    <a:pt x="301" y="6"/>
                  </a:lnTo>
                  <a:lnTo>
                    <a:pt x="299" y="8"/>
                  </a:lnTo>
                  <a:lnTo>
                    <a:pt x="297" y="8"/>
                  </a:lnTo>
                  <a:lnTo>
                    <a:pt x="295" y="8"/>
                  </a:lnTo>
                  <a:lnTo>
                    <a:pt x="293" y="6"/>
                  </a:lnTo>
                  <a:lnTo>
                    <a:pt x="293" y="6"/>
                  </a:lnTo>
                  <a:lnTo>
                    <a:pt x="290" y="6"/>
                  </a:lnTo>
                  <a:lnTo>
                    <a:pt x="290" y="6"/>
                  </a:lnTo>
                  <a:lnTo>
                    <a:pt x="288" y="8"/>
                  </a:lnTo>
                  <a:lnTo>
                    <a:pt x="286" y="8"/>
                  </a:lnTo>
                  <a:lnTo>
                    <a:pt x="284" y="8"/>
                  </a:lnTo>
                  <a:lnTo>
                    <a:pt x="284" y="8"/>
                  </a:lnTo>
                  <a:lnTo>
                    <a:pt x="274" y="6"/>
                  </a:lnTo>
                  <a:lnTo>
                    <a:pt x="270" y="4"/>
                  </a:lnTo>
                  <a:lnTo>
                    <a:pt x="269" y="2"/>
                  </a:lnTo>
                  <a:lnTo>
                    <a:pt x="269" y="4"/>
                  </a:lnTo>
                  <a:lnTo>
                    <a:pt x="267" y="6"/>
                  </a:lnTo>
                  <a:lnTo>
                    <a:pt x="261" y="8"/>
                  </a:lnTo>
                  <a:lnTo>
                    <a:pt x="259" y="10"/>
                  </a:lnTo>
                  <a:lnTo>
                    <a:pt x="259" y="14"/>
                  </a:lnTo>
                  <a:lnTo>
                    <a:pt x="259" y="18"/>
                  </a:lnTo>
                  <a:lnTo>
                    <a:pt x="261" y="18"/>
                  </a:lnTo>
                  <a:lnTo>
                    <a:pt x="261" y="19"/>
                  </a:lnTo>
                  <a:lnTo>
                    <a:pt x="261" y="19"/>
                  </a:lnTo>
                  <a:lnTo>
                    <a:pt x="261" y="19"/>
                  </a:lnTo>
                  <a:lnTo>
                    <a:pt x="261" y="21"/>
                  </a:lnTo>
                  <a:lnTo>
                    <a:pt x="261" y="23"/>
                  </a:lnTo>
                  <a:lnTo>
                    <a:pt x="261" y="23"/>
                  </a:lnTo>
                  <a:lnTo>
                    <a:pt x="261" y="25"/>
                  </a:lnTo>
                  <a:lnTo>
                    <a:pt x="261" y="25"/>
                  </a:lnTo>
                  <a:lnTo>
                    <a:pt x="261" y="25"/>
                  </a:lnTo>
                  <a:lnTo>
                    <a:pt x="263" y="27"/>
                  </a:lnTo>
                  <a:lnTo>
                    <a:pt x="267" y="27"/>
                  </a:lnTo>
                  <a:lnTo>
                    <a:pt x="270" y="29"/>
                  </a:lnTo>
                  <a:lnTo>
                    <a:pt x="270" y="31"/>
                  </a:lnTo>
                  <a:lnTo>
                    <a:pt x="270" y="33"/>
                  </a:lnTo>
                  <a:lnTo>
                    <a:pt x="265" y="35"/>
                  </a:lnTo>
                  <a:lnTo>
                    <a:pt x="265" y="35"/>
                  </a:lnTo>
                  <a:lnTo>
                    <a:pt x="263" y="37"/>
                  </a:lnTo>
                  <a:lnTo>
                    <a:pt x="263" y="37"/>
                  </a:lnTo>
                  <a:lnTo>
                    <a:pt x="261" y="37"/>
                  </a:lnTo>
                  <a:lnTo>
                    <a:pt x="259" y="37"/>
                  </a:lnTo>
                  <a:lnTo>
                    <a:pt x="257" y="37"/>
                  </a:lnTo>
                  <a:lnTo>
                    <a:pt x="255" y="37"/>
                  </a:lnTo>
                  <a:lnTo>
                    <a:pt x="250" y="40"/>
                  </a:lnTo>
                  <a:lnTo>
                    <a:pt x="248" y="42"/>
                  </a:lnTo>
                  <a:lnTo>
                    <a:pt x="250" y="44"/>
                  </a:lnTo>
                  <a:lnTo>
                    <a:pt x="250" y="46"/>
                  </a:lnTo>
                  <a:lnTo>
                    <a:pt x="250" y="46"/>
                  </a:lnTo>
                  <a:lnTo>
                    <a:pt x="248" y="46"/>
                  </a:lnTo>
                  <a:lnTo>
                    <a:pt x="246" y="48"/>
                  </a:lnTo>
                  <a:lnTo>
                    <a:pt x="242" y="50"/>
                  </a:lnTo>
                  <a:lnTo>
                    <a:pt x="240" y="50"/>
                  </a:lnTo>
                  <a:lnTo>
                    <a:pt x="229" y="48"/>
                  </a:lnTo>
                  <a:lnTo>
                    <a:pt x="225" y="46"/>
                  </a:lnTo>
                  <a:lnTo>
                    <a:pt x="223" y="46"/>
                  </a:lnTo>
                  <a:lnTo>
                    <a:pt x="223" y="44"/>
                  </a:lnTo>
                  <a:lnTo>
                    <a:pt x="221" y="40"/>
                  </a:lnTo>
                  <a:lnTo>
                    <a:pt x="221" y="37"/>
                  </a:lnTo>
                  <a:lnTo>
                    <a:pt x="221" y="35"/>
                  </a:lnTo>
                  <a:lnTo>
                    <a:pt x="221" y="35"/>
                  </a:lnTo>
                  <a:lnTo>
                    <a:pt x="223" y="33"/>
                  </a:lnTo>
                  <a:lnTo>
                    <a:pt x="223" y="33"/>
                  </a:lnTo>
                  <a:lnTo>
                    <a:pt x="223" y="31"/>
                  </a:lnTo>
                  <a:lnTo>
                    <a:pt x="219" y="31"/>
                  </a:lnTo>
                  <a:lnTo>
                    <a:pt x="210" y="33"/>
                  </a:lnTo>
                  <a:lnTo>
                    <a:pt x="206" y="35"/>
                  </a:lnTo>
                  <a:lnTo>
                    <a:pt x="204" y="37"/>
                  </a:lnTo>
                  <a:lnTo>
                    <a:pt x="198" y="37"/>
                  </a:lnTo>
                  <a:lnTo>
                    <a:pt x="196" y="37"/>
                  </a:lnTo>
                  <a:lnTo>
                    <a:pt x="192" y="40"/>
                  </a:lnTo>
                  <a:lnTo>
                    <a:pt x="190" y="40"/>
                  </a:lnTo>
                  <a:lnTo>
                    <a:pt x="189" y="40"/>
                  </a:lnTo>
                  <a:lnTo>
                    <a:pt x="185" y="42"/>
                  </a:lnTo>
                  <a:lnTo>
                    <a:pt x="181" y="42"/>
                  </a:lnTo>
                  <a:lnTo>
                    <a:pt x="179" y="42"/>
                  </a:lnTo>
                  <a:lnTo>
                    <a:pt x="179" y="44"/>
                  </a:lnTo>
                  <a:lnTo>
                    <a:pt x="177" y="50"/>
                  </a:lnTo>
                  <a:lnTo>
                    <a:pt x="175" y="52"/>
                  </a:lnTo>
                  <a:lnTo>
                    <a:pt x="171" y="56"/>
                  </a:lnTo>
                  <a:lnTo>
                    <a:pt x="168" y="56"/>
                  </a:lnTo>
                  <a:lnTo>
                    <a:pt x="149" y="56"/>
                  </a:lnTo>
                  <a:lnTo>
                    <a:pt x="145" y="56"/>
                  </a:lnTo>
                  <a:lnTo>
                    <a:pt x="141" y="54"/>
                  </a:lnTo>
                  <a:lnTo>
                    <a:pt x="133" y="46"/>
                  </a:lnTo>
                  <a:lnTo>
                    <a:pt x="129" y="44"/>
                  </a:lnTo>
                  <a:lnTo>
                    <a:pt x="105" y="44"/>
                  </a:lnTo>
                  <a:lnTo>
                    <a:pt x="97" y="46"/>
                  </a:lnTo>
                  <a:lnTo>
                    <a:pt x="93" y="48"/>
                  </a:lnTo>
                  <a:lnTo>
                    <a:pt x="91" y="46"/>
                  </a:lnTo>
                  <a:lnTo>
                    <a:pt x="88" y="44"/>
                  </a:lnTo>
                  <a:lnTo>
                    <a:pt x="84" y="44"/>
                  </a:lnTo>
                  <a:lnTo>
                    <a:pt x="82" y="44"/>
                  </a:lnTo>
                  <a:lnTo>
                    <a:pt x="80" y="46"/>
                  </a:lnTo>
                  <a:lnTo>
                    <a:pt x="76" y="48"/>
                  </a:lnTo>
                  <a:lnTo>
                    <a:pt x="74" y="46"/>
                  </a:lnTo>
                  <a:lnTo>
                    <a:pt x="74" y="46"/>
                  </a:lnTo>
                  <a:lnTo>
                    <a:pt x="72" y="42"/>
                  </a:lnTo>
                  <a:lnTo>
                    <a:pt x="70" y="42"/>
                  </a:lnTo>
                  <a:lnTo>
                    <a:pt x="70" y="40"/>
                  </a:lnTo>
                  <a:lnTo>
                    <a:pt x="69" y="40"/>
                  </a:lnTo>
                  <a:lnTo>
                    <a:pt x="69" y="40"/>
                  </a:lnTo>
                  <a:lnTo>
                    <a:pt x="69" y="40"/>
                  </a:lnTo>
                  <a:lnTo>
                    <a:pt x="67" y="42"/>
                  </a:lnTo>
                  <a:lnTo>
                    <a:pt x="67" y="42"/>
                  </a:lnTo>
                  <a:lnTo>
                    <a:pt x="65" y="48"/>
                  </a:lnTo>
                  <a:lnTo>
                    <a:pt x="63" y="50"/>
                  </a:lnTo>
                  <a:lnTo>
                    <a:pt x="61" y="48"/>
                  </a:lnTo>
                  <a:lnTo>
                    <a:pt x="61" y="42"/>
                  </a:lnTo>
                  <a:lnTo>
                    <a:pt x="59" y="40"/>
                  </a:lnTo>
                  <a:lnTo>
                    <a:pt x="55" y="40"/>
                  </a:lnTo>
                  <a:lnTo>
                    <a:pt x="53" y="44"/>
                  </a:lnTo>
                  <a:lnTo>
                    <a:pt x="53" y="52"/>
                  </a:lnTo>
                  <a:lnTo>
                    <a:pt x="53" y="63"/>
                  </a:lnTo>
                  <a:lnTo>
                    <a:pt x="53" y="77"/>
                  </a:lnTo>
                  <a:lnTo>
                    <a:pt x="46" y="77"/>
                  </a:lnTo>
                  <a:lnTo>
                    <a:pt x="36" y="77"/>
                  </a:lnTo>
                  <a:lnTo>
                    <a:pt x="27" y="77"/>
                  </a:lnTo>
                  <a:lnTo>
                    <a:pt x="21" y="77"/>
                  </a:lnTo>
                  <a:lnTo>
                    <a:pt x="19" y="78"/>
                  </a:lnTo>
                  <a:lnTo>
                    <a:pt x="19" y="78"/>
                  </a:lnTo>
                  <a:lnTo>
                    <a:pt x="19" y="77"/>
                  </a:lnTo>
                  <a:lnTo>
                    <a:pt x="19" y="77"/>
                  </a:lnTo>
                  <a:lnTo>
                    <a:pt x="17" y="77"/>
                  </a:lnTo>
                  <a:lnTo>
                    <a:pt x="17" y="77"/>
                  </a:lnTo>
                  <a:lnTo>
                    <a:pt x="17" y="77"/>
                  </a:lnTo>
                  <a:lnTo>
                    <a:pt x="17" y="78"/>
                  </a:lnTo>
                  <a:lnTo>
                    <a:pt x="17" y="78"/>
                  </a:lnTo>
                  <a:lnTo>
                    <a:pt x="15" y="80"/>
                  </a:lnTo>
                  <a:lnTo>
                    <a:pt x="15" y="82"/>
                  </a:lnTo>
                  <a:lnTo>
                    <a:pt x="13" y="82"/>
                  </a:lnTo>
                  <a:lnTo>
                    <a:pt x="13" y="82"/>
                  </a:lnTo>
                  <a:lnTo>
                    <a:pt x="11" y="80"/>
                  </a:lnTo>
                  <a:lnTo>
                    <a:pt x="11" y="80"/>
                  </a:lnTo>
                  <a:lnTo>
                    <a:pt x="11" y="78"/>
                  </a:lnTo>
                  <a:lnTo>
                    <a:pt x="9" y="78"/>
                  </a:lnTo>
                  <a:lnTo>
                    <a:pt x="9" y="80"/>
                  </a:lnTo>
                  <a:lnTo>
                    <a:pt x="9" y="80"/>
                  </a:lnTo>
                  <a:lnTo>
                    <a:pt x="9" y="82"/>
                  </a:lnTo>
                  <a:lnTo>
                    <a:pt x="9" y="82"/>
                  </a:lnTo>
                  <a:lnTo>
                    <a:pt x="9" y="82"/>
                  </a:lnTo>
                  <a:lnTo>
                    <a:pt x="9" y="82"/>
                  </a:lnTo>
                  <a:lnTo>
                    <a:pt x="9" y="84"/>
                  </a:lnTo>
                  <a:lnTo>
                    <a:pt x="9" y="84"/>
                  </a:lnTo>
                  <a:lnTo>
                    <a:pt x="9" y="84"/>
                  </a:lnTo>
                  <a:lnTo>
                    <a:pt x="8" y="84"/>
                  </a:lnTo>
                  <a:lnTo>
                    <a:pt x="8" y="84"/>
                  </a:lnTo>
                  <a:lnTo>
                    <a:pt x="8" y="84"/>
                  </a:lnTo>
                  <a:lnTo>
                    <a:pt x="6" y="84"/>
                  </a:lnTo>
                  <a:lnTo>
                    <a:pt x="6" y="86"/>
                  </a:lnTo>
                  <a:lnTo>
                    <a:pt x="4" y="88"/>
                  </a:lnTo>
                  <a:lnTo>
                    <a:pt x="4" y="88"/>
                  </a:lnTo>
                  <a:lnTo>
                    <a:pt x="4" y="90"/>
                  </a:lnTo>
                  <a:lnTo>
                    <a:pt x="2" y="90"/>
                  </a:lnTo>
                  <a:lnTo>
                    <a:pt x="2" y="94"/>
                  </a:lnTo>
                  <a:lnTo>
                    <a:pt x="2" y="96"/>
                  </a:lnTo>
                  <a:lnTo>
                    <a:pt x="2" y="97"/>
                  </a:lnTo>
                  <a:lnTo>
                    <a:pt x="2" y="97"/>
                  </a:lnTo>
                  <a:lnTo>
                    <a:pt x="2" y="97"/>
                  </a:lnTo>
                  <a:lnTo>
                    <a:pt x="4" y="96"/>
                  </a:lnTo>
                  <a:lnTo>
                    <a:pt x="4" y="97"/>
                  </a:lnTo>
                  <a:lnTo>
                    <a:pt x="4" y="99"/>
                  </a:lnTo>
                  <a:lnTo>
                    <a:pt x="4" y="101"/>
                  </a:lnTo>
                  <a:lnTo>
                    <a:pt x="6" y="103"/>
                  </a:lnTo>
                  <a:lnTo>
                    <a:pt x="8" y="105"/>
                  </a:lnTo>
                  <a:lnTo>
                    <a:pt x="8" y="105"/>
                  </a:lnTo>
                  <a:lnTo>
                    <a:pt x="9" y="105"/>
                  </a:lnTo>
                  <a:lnTo>
                    <a:pt x="11" y="105"/>
                  </a:lnTo>
                  <a:lnTo>
                    <a:pt x="11" y="107"/>
                  </a:lnTo>
                  <a:lnTo>
                    <a:pt x="9" y="107"/>
                  </a:lnTo>
                  <a:lnTo>
                    <a:pt x="9" y="107"/>
                  </a:lnTo>
                  <a:lnTo>
                    <a:pt x="8" y="109"/>
                  </a:lnTo>
                  <a:lnTo>
                    <a:pt x="6" y="107"/>
                  </a:lnTo>
                  <a:lnTo>
                    <a:pt x="6" y="107"/>
                  </a:lnTo>
                  <a:lnTo>
                    <a:pt x="4" y="107"/>
                  </a:lnTo>
                  <a:lnTo>
                    <a:pt x="4" y="109"/>
                  </a:lnTo>
                  <a:lnTo>
                    <a:pt x="4" y="109"/>
                  </a:lnTo>
                  <a:lnTo>
                    <a:pt x="2" y="109"/>
                  </a:lnTo>
                  <a:lnTo>
                    <a:pt x="2" y="111"/>
                  </a:lnTo>
                  <a:lnTo>
                    <a:pt x="0" y="111"/>
                  </a:lnTo>
                  <a:lnTo>
                    <a:pt x="0" y="111"/>
                  </a:lnTo>
                  <a:lnTo>
                    <a:pt x="0" y="113"/>
                  </a:lnTo>
                  <a:lnTo>
                    <a:pt x="0" y="113"/>
                  </a:lnTo>
                  <a:lnTo>
                    <a:pt x="2" y="115"/>
                  </a:lnTo>
                  <a:lnTo>
                    <a:pt x="8" y="115"/>
                  </a:lnTo>
                  <a:lnTo>
                    <a:pt x="13" y="115"/>
                  </a:lnTo>
                  <a:lnTo>
                    <a:pt x="15" y="115"/>
                  </a:lnTo>
                  <a:lnTo>
                    <a:pt x="15" y="115"/>
                  </a:lnTo>
                  <a:lnTo>
                    <a:pt x="17" y="115"/>
                  </a:lnTo>
                  <a:lnTo>
                    <a:pt x="17" y="113"/>
                  </a:lnTo>
                  <a:lnTo>
                    <a:pt x="19" y="113"/>
                  </a:lnTo>
                  <a:lnTo>
                    <a:pt x="19" y="113"/>
                  </a:lnTo>
                  <a:lnTo>
                    <a:pt x="19" y="111"/>
                  </a:lnTo>
                  <a:lnTo>
                    <a:pt x="17" y="111"/>
                  </a:lnTo>
                  <a:lnTo>
                    <a:pt x="25" y="103"/>
                  </a:lnTo>
                  <a:lnTo>
                    <a:pt x="25" y="101"/>
                  </a:lnTo>
                  <a:lnTo>
                    <a:pt x="27" y="101"/>
                  </a:lnTo>
                  <a:lnTo>
                    <a:pt x="30" y="99"/>
                  </a:lnTo>
                  <a:lnTo>
                    <a:pt x="32" y="99"/>
                  </a:lnTo>
                  <a:lnTo>
                    <a:pt x="34" y="97"/>
                  </a:lnTo>
                  <a:lnTo>
                    <a:pt x="36" y="97"/>
                  </a:lnTo>
                  <a:lnTo>
                    <a:pt x="38" y="96"/>
                  </a:lnTo>
                  <a:lnTo>
                    <a:pt x="40" y="96"/>
                  </a:lnTo>
                  <a:lnTo>
                    <a:pt x="42" y="96"/>
                  </a:lnTo>
                  <a:lnTo>
                    <a:pt x="42" y="94"/>
                  </a:lnTo>
                  <a:lnTo>
                    <a:pt x="44" y="90"/>
                  </a:lnTo>
                  <a:lnTo>
                    <a:pt x="44" y="90"/>
                  </a:lnTo>
                  <a:lnTo>
                    <a:pt x="46" y="90"/>
                  </a:lnTo>
                  <a:lnTo>
                    <a:pt x="49" y="90"/>
                  </a:lnTo>
                  <a:lnTo>
                    <a:pt x="51" y="90"/>
                  </a:lnTo>
                  <a:lnTo>
                    <a:pt x="55" y="88"/>
                  </a:lnTo>
                  <a:lnTo>
                    <a:pt x="57" y="86"/>
                  </a:lnTo>
                  <a:lnTo>
                    <a:pt x="57" y="86"/>
                  </a:lnTo>
                  <a:lnTo>
                    <a:pt x="61" y="84"/>
                  </a:lnTo>
                  <a:lnTo>
                    <a:pt x="61" y="86"/>
                  </a:lnTo>
                  <a:lnTo>
                    <a:pt x="57" y="90"/>
                  </a:lnTo>
                  <a:lnTo>
                    <a:pt x="55" y="90"/>
                  </a:lnTo>
                  <a:lnTo>
                    <a:pt x="55" y="90"/>
                  </a:lnTo>
                  <a:lnTo>
                    <a:pt x="53" y="92"/>
                  </a:lnTo>
                  <a:lnTo>
                    <a:pt x="51" y="92"/>
                  </a:lnTo>
                  <a:lnTo>
                    <a:pt x="49" y="92"/>
                  </a:lnTo>
                  <a:lnTo>
                    <a:pt x="48" y="92"/>
                  </a:lnTo>
                  <a:lnTo>
                    <a:pt x="46" y="94"/>
                  </a:lnTo>
                  <a:lnTo>
                    <a:pt x="46" y="97"/>
                  </a:lnTo>
                  <a:lnTo>
                    <a:pt x="42" y="97"/>
                  </a:lnTo>
                  <a:lnTo>
                    <a:pt x="40" y="99"/>
                  </a:lnTo>
                  <a:lnTo>
                    <a:pt x="38" y="103"/>
                  </a:lnTo>
                  <a:lnTo>
                    <a:pt x="36" y="105"/>
                  </a:lnTo>
                  <a:lnTo>
                    <a:pt x="36" y="105"/>
                  </a:lnTo>
                  <a:lnTo>
                    <a:pt x="34" y="105"/>
                  </a:lnTo>
                  <a:lnTo>
                    <a:pt x="32" y="105"/>
                  </a:lnTo>
                  <a:lnTo>
                    <a:pt x="30" y="107"/>
                  </a:lnTo>
                  <a:lnTo>
                    <a:pt x="28" y="107"/>
                  </a:lnTo>
                  <a:lnTo>
                    <a:pt x="28" y="107"/>
                  </a:lnTo>
                  <a:lnTo>
                    <a:pt x="28" y="109"/>
                  </a:lnTo>
                  <a:lnTo>
                    <a:pt x="30" y="109"/>
                  </a:lnTo>
                  <a:lnTo>
                    <a:pt x="30" y="109"/>
                  </a:lnTo>
                  <a:lnTo>
                    <a:pt x="32" y="109"/>
                  </a:lnTo>
                  <a:lnTo>
                    <a:pt x="30" y="111"/>
                  </a:lnTo>
                  <a:lnTo>
                    <a:pt x="30" y="111"/>
                  </a:lnTo>
                  <a:lnTo>
                    <a:pt x="25" y="111"/>
                  </a:lnTo>
                  <a:lnTo>
                    <a:pt x="23" y="111"/>
                  </a:lnTo>
                  <a:lnTo>
                    <a:pt x="23" y="113"/>
                  </a:lnTo>
                  <a:lnTo>
                    <a:pt x="25" y="118"/>
                  </a:lnTo>
                  <a:lnTo>
                    <a:pt x="23" y="122"/>
                  </a:lnTo>
                  <a:lnTo>
                    <a:pt x="25" y="124"/>
                  </a:lnTo>
                  <a:lnTo>
                    <a:pt x="27" y="124"/>
                  </a:lnTo>
                  <a:lnTo>
                    <a:pt x="27" y="122"/>
                  </a:lnTo>
                  <a:lnTo>
                    <a:pt x="27" y="122"/>
                  </a:lnTo>
                  <a:lnTo>
                    <a:pt x="27" y="120"/>
                  </a:lnTo>
                  <a:lnTo>
                    <a:pt x="27" y="118"/>
                  </a:lnTo>
                  <a:lnTo>
                    <a:pt x="27" y="118"/>
                  </a:lnTo>
                  <a:lnTo>
                    <a:pt x="28" y="120"/>
                  </a:lnTo>
                  <a:lnTo>
                    <a:pt x="28" y="120"/>
                  </a:lnTo>
                  <a:lnTo>
                    <a:pt x="28" y="122"/>
                  </a:lnTo>
                  <a:lnTo>
                    <a:pt x="30" y="120"/>
                  </a:lnTo>
                  <a:lnTo>
                    <a:pt x="30" y="120"/>
                  </a:lnTo>
                  <a:lnTo>
                    <a:pt x="30" y="122"/>
                  </a:lnTo>
                  <a:lnTo>
                    <a:pt x="28" y="122"/>
                  </a:lnTo>
                  <a:lnTo>
                    <a:pt x="27" y="124"/>
                  </a:lnTo>
                  <a:lnTo>
                    <a:pt x="27" y="126"/>
                  </a:lnTo>
                  <a:lnTo>
                    <a:pt x="25" y="128"/>
                  </a:lnTo>
                  <a:lnTo>
                    <a:pt x="27" y="130"/>
                  </a:lnTo>
                  <a:lnTo>
                    <a:pt x="27" y="130"/>
                  </a:lnTo>
                  <a:lnTo>
                    <a:pt x="28" y="130"/>
                  </a:lnTo>
                  <a:lnTo>
                    <a:pt x="28" y="128"/>
                  </a:lnTo>
                  <a:lnTo>
                    <a:pt x="28" y="130"/>
                  </a:lnTo>
                  <a:lnTo>
                    <a:pt x="28" y="132"/>
                  </a:lnTo>
                  <a:lnTo>
                    <a:pt x="28" y="132"/>
                  </a:lnTo>
                  <a:lnTo>
                    <a:pt x="30" y="134"/>
                  </a:lnTo>
                  <a:lnTo>
                    <a:pt x="30" y="132"/>
                  </a:lnTo>
                  <a:lnTo>
                    <a:pt x="32" y="132"/>
                  </a:lnTo>
                  <a:lnTo>
                    <a:pt x="32" y="132"/>
                  </a:lnTo>
                  <a:lnTo>
                    <a:pt x="34" y="132"/>
                  </a:lnTo>
                  <a:lnTo>
                    <a:pt x="34" y="132"/>
                  </a:lnTo>
                  <a:lnTo>
                    <a:pt x="34" y="130"/>
                  </a:lnTo>
                  <a:lnTo>
                    <a:pt x="36" y="132"/>
                  </a:lnTo>
                  <a:lnTo>
                    <a:pt x="36" y="132"/>
                  </a:lnTo>
                  <a:lnTo>
                    <a:pt x="34" y="132"/>
                  </a:lnTo>
                  <a:lnTo>
                    <a:pt x="34" y="132"/>
                  </a:lnTo>
                  <a:lnTo>
                    <a:pt x="34" y="134"/>
                  </a:lnTo>
                  <a:lnTo>
                    <a:pt x="34" y="134"/>
                  </a:lnTo>
                  <a:lnTo>
                    <a:pt x="34" y="135"/>
                  </a:lnTo>
                  <a:lnTo>
                    <a:pt x="34" y="135"/>
                  </a:lnTo>
                  <a:lnTo>
                    <a:pt x="34" y="137"/>
                  </a:lnTo>
                  <a:lnTo>
                    <a:pt x="36" y="137"/>
                  </a:lnTo>
                  <a:lnTo>
                    <a:pt x="36" y="137"/>
                  </a:lnTo>
                  <a:lnTo>
                    <a:pt x="36" y="137"/>
                  </a:lnTo>
                  <a:lnTo>
                    <a:pt x="38" y="137"/>
                  </a:lnTo>
                  <a:lnTo>
                    <a:pt x="38" y="137"/>
                  </a:lnTo>
                  <a:lnTo>
                    <a:pt x="38" y="137"/>
                  </a:lnTo>
                  <a:lnTo>
                    <a:pt x="38" y="137"/>
                  </a:lnTo>
                  <a:lnTo>
                    <a:pt x="38" y="139"/>
                  </a:lnTo>
                  <a:lnTo>
                    <a:pt x="40" y="139"/>
                  </a:lnTo>
                  <a:lnTo>
                    <a:pt x="40" y="139"/>
                  </a:lnTo>
                  <a:lnTo>
                    <a:pt x="42" y="139"/>
                  </a:lnTo>
                  <a:lnTo>
                    <a:pt x="42" y="141"/>
                  </a:lnTo>
                  <a:lnTo>
                    <a:pt x="42" y="141"/>
                  </a:lnTo>
                  <a:lnTo>
                    <a:pt x="38" y="141"/>
                  </a:lnTo>
                  <a:lnTo>
                    <a:pt x="38" y="141"/>
                  </a:lnTo>
                  <a:lnTo>
                    <a:pt x="36" y="145"/>
                  </a:lnTo>
                  <a:lnTo>
                    <a:pt x="36" y="147"/>
                  </a:lnTo>
                  <a:lnTo>
                    <a:pt x="40" y="147"/>
                  </a:lnTo>
                  <a:lnTo>
                    <a:pt x="42" y="147"/>
                  </a:lnTo>
                  <a:lnTo>
                    <a:pt x="44" y="147"/>
                  </a:lnTo>
                  <a:lnTo>
                    <a:pt x="44" y="147"/>
                  </a:lnTo>
                  <a:lnTo>
                    <a:pt x="44" y="149"/>
                  </a:lnTo>
                  <a:lnTo>
                    <a:pt x="42" y="151"/>
                  </a:lnTo>
                  <a:lnTo>
                    <a:pt x="42" y="149"/>
                  </a:lnTo>
                  <a:lnTo>
                    <a:pt x="42" y="149"/>
                  </a:lnTo>
                  <a:lnTo>
                    <a:pt x="42" y="151"/>
                  </a:lnTo>
                  <a:lnTo>
                    <a:pt x="42" y="153"/>
                  </a:lnTo>
                  <a:lnTo>
                    <a:pt x="44" y="154"/>
                  </a:lnTo>
                  <a:lnTo>
                    <a:pt x="46" y="154"/>
                  </a:lnTo>
                  <a:lnTo>
                    <a:pt x="46" y="156"/>
                  </a:lnTo>
                  <a:lnTo>
                    <a:pt x="46" y="156"/>
                  </a:lnTo>
                  <a:lnTo>
                    <a:pt x="46" y="158"/>
                  </a:lnTo>
                  <a:lnTo>
                    <a:pt x="48" y="158"/>
                  </a:lnTo>
                  <a:lnTo>
                    <a:pt x="49" y="160"/>
                  </a:lnTo>
                  <a:lnTo>
                    <a:pt x="67" y="172"/>
                  </a:lnTo>
                  <a:lnTo>
                    <a:pt x="82" y="179"/>
                  </a:lnTo>
                  <a:lnTo>
                    <a:pt x="91" y="185"/>
                  </a:lnTo>
                  <a:lnTo>
                    <a:pt x="97" y="189"/>
                  </a:lnTo>
                  <a:lnTo>
                    <a:pt x="101" y="189"/>
                  </a:lnTo>
                  <a:lnTo>
                    <a:pt x="110" y="191"/>
                  </a:lnTo>
                  <a:lnTo>
                    <a:pt x="112" y="191"/>
                  </a:lnTo>
                  <a:lnTo>
                    <a:pt x="116" y="193"/>
                  </a:lnTo>
                  <a:lnTo>
                    <a:pt x="118" y="193"/>
                  </a:lnTo>
                  <a:lnTo>
                    <a:pt x="122" y="194"/>
                  </a:lnTo>
                  <a:lnTo>
                    <a:pt x="122" y="194"/>
                  </a:lnTo>
                  <a:lnTo>
                    <a:pt x="124" y="194"/>
                  </a:lnTo>
                  <a:lnTo>
                    <a:pt x="124" y="194"/>
                  </a:lnTo>
                  <a:lnTo>
                    <a:pt x="124" y="194"/>
                  </a:lnTo>
                  <a:lnTo>
                    <a:pt x="126" y="194"/>
                  </a:lnTo>
                  <a:lnTo>
                    <a:pt x="129" y="194"/>
                  </a:lnTo>
                  <a:lnTo>
                    <a:pt x="129" y="196"/>
                  </a:lnTo>
                  <a:lnTo>
                    <a:pt x="131" y="196"/>
                  </a:lnTo>
                  <a:lnTo>
                    <a:pt x="133" y="196"/>
                  </a:lnTo>
                  <a:lnTo>
                    <a:pt x="139" y="198"/>
                  </a:lnTo>
                  <a:lnTo>
                    <a:pt x="143" y="198"/>
                  </a:lnTo>
                  <a:lnTo>
                    <a:pt x="145" y="198"/>
                  </a:lnTo>
                  <a:lnTo>
                    <a:pt x="145" y="198"/>
                  </a:lnTo>
                  <a:lnTo>
                    <a:pt x="149" y="193"/>
                  </a:lnTo>
                  <a:lnTo>
                    <a:pt x="150" y="191"/>
                  </a:lnTo>
                  <a:lnTo>
                    <a:pt x="152" y="189"/>
                  </a:lnTo>
                  <a:lnTo>
                    <a:pt x="156" y="187"/>
                  </a:lnTo>
                  <a:lnTo>
                    <a:pt x="156" y="187"/>
                  </a:lnTo>
                  <a:lnTo>
                    <a:pt x="160" y="187"/>
                  </a:lnTo>
                  <a:lnTo>
                    <a:pt x="166" y="185"/>
                  </a:lnTo>
                  <a:lnTo>
                    <a:pt x="170" y="185"/>
                  </a:lnTo>
                  <a:lnTo>
                    <a:pt x="177" y="181"/>
                  </a:lnTo>
                  <a:lnTo>
                    <a:pt x="181" y="181"/>
                  </a:lnTo>
                  <a:lnTo>
                    <a:pt x="183" y="181"/>
                  </a:lnTo>
                  <a:lnTo>
                    <a:pt x="183" y="179"/>
                  </a:lnTo>
                  <a:lnTo>
                    <a:pt x="181" y="177"/>
                  </a:lnTo>
                  <a:lnTo>
                    <a:pt x="181" y="177"/>
                  </a:lnTo>
                  <a:lnTo>
                    <a:pt x="183" y="173"/>
                  </a:lnTo>
                  <a:lnTo>
                    <a:pt x="183" y="175"/>
                  </a:lnTo>
                  <a:lnTo>
                    <a:pt x="183" y="175"/>
                  </a:lnTo>
                  <a:lnTo>
                    <a:pt x="183" y="177"/>
                  </a:lnTo>
                  <a:lnTo>
                    <a:pt x="183" y="177"/>
                  </a:lnTo>
                  <a:lnTo>
                    <a:pt x="185" y="177"/>
                  </a:lnTo>
                  <a:lnTo>
                    <a:pt x="185" y="177"/>
                  </a:lnTo>
                  <a:lnTo>
                    <a:pt x="185" y="177"/>
                  </a:lnTo>
                  <a:lnTo>
                    <a:pt x="185" y="177"/>
                  </a:lnTo>
                  <a:lnTo>
                    <a:pt x="185" y="179"/>
                  </a:lnTo>
                  <a:lnTo>
                    <a:pt x="187" y="179"/>
                  </a:lnTo>
                  <a:lnTo>
                    <a:pt x="187" y="177"/>
                  </a:lnTo>
                  <a:lnTo>
                    <a:pt x="187" y="177"/>
                  </a:lnTo>
                  <a:lnTo>
                    <a:pt x="189" y="177"/>
                  </a:lnTo>
                  <a:lnTo>
                    <a:pt x="190" y="177"/>
                  </a:lnTo>
                  <a:lnTo>
                    <a:pt x="192" y="175"/>
                  </a:lnTo>
                  <a:lnTo>
                    <a:pt x="192" y="173"/>
                  </a:lnTo>
                  <a:lnTo>
                    <a:pt x="194" y="175"/>
                  </a:lnTo>
                  <a:lnTo>
                    <a:pt x="194" y="175"/>
                  </a:lnTo>
                  <a:lnTo>
                    <a:pt x="196" y="177"/>
                  </a:lnTo>
                  <a:lnTo>
                    <a:pt x="198" y="177"/>
                  </a:lnTo>
                  <a:lnTo>
                    <a:pt x="198" y="177"/>
                  </a:lnTo>
                  <a:lnTo>
                    <a:pt x="198" y="179"/>
                  </a:lnTo>
                  <a:lnTo>
                    <a:pt x="198" y="179"/>
                  </a:lnTo>
                  <a:lnTo>
                    <a:pt x="200" y="179"/>
                  </a:lnTo>
                  <a:lnTo>
                    <a:pt x="200" y="179"/>
                  </a:lnTo>
                  <a:lnTo>
                    <a:pt x="200" y="179"/>
                  </a:lnTo>
                  <a:lnTo>
                    <a:pt x="200" y="179"/>
                  </a:lnTo>
                  <a:lnTo>
                    <a:pt x="202" y="179"/>
                  </a:lnTo>
                  <a:lnTo>
                    <a:pt x="202" y="179"/>
                  </a:lnTo>
                  <a:lnTo>
                    <a:pt x="202" y="179"/>
                  </a:lnTo>
                  <a:lnTo>
                    <a:pt x="202" y="181"/>
                  </a:lnTo>
                  <a:lnTo>
                    <a:pt x="204" y="179"/>
                  </a:lnTo>
                  <a:lnTo>
                    <a:pt x="204" y="179"/>
                  </a:lnTo>
                  <a:lnTo>
                    <a:pt x="204" y="179"/>
                  </a:lnTo>
                  <a:lnTo>
                    <a:pt x="206" y="179"/>
                  </a:lnTo>
                  <a:lnTo>
                    <a:pt x="208" y="179"/>
                  </a:lnTo>
                  <a:lnTo>
                    <a:pt x="208" y="179"/>
                  </a:lnTo>
                  <a:lnTo>
                    <a:pt x="208" y="177"/>
                  </a:lnTo>
                  <a:lnTo>
                    <a:pt x="208" y="177"/>
                  </a:lnTo>
                  <a:lnTo>
                    <a:pt x="208" y="175"/>
                  </a:lnTo>
                  <a:lnTo>
                    <a:pt x="208" y="173"/>
                  </a:lnTo>
                  <a:lnTo>
                    <a:pt x="208" y="173"/>
                  </a:lnTo>
                  <a:lnTo>
                    <a:pt x="208" y="172"/>
                  </a:lnTo>
                  <a:lnTo>
                    <a:pt x="208" y="170"/>
                  </a:lnTo>
                  <a:lnTo>
                    <a:pt x="208" y="170"/>
                  </a:lnTo>
                  <a:lnTo>
                    <a:pt x="208" y="168"/>
                  </a:lnTo>
                  <a:lnTo>
                    <a:pt x="208" y="166"/>
                  </a:lnTo>
                  <a:lnTo>
                    <a:pt x="208" y="164"/>
                  </a:lnTo>
                  <a:lnTo>
                    <a:pt x="211" y="162"/>
                  </a:lnTo>
                  <a:lnTo>
                    <a:pt x="213" y="162"/>
                  </a:lnTo>
                  <a:lnTo>
                    <a:pt x="213" y="160"/>
                  </a:lnTo>
                  <a:lnTo>
                    <a:pt x="215" y="160"/>
                  </a:lnTo>
                  <a:lnTo>
                    <a:pt x="217" y="162"/>
                  </a:lnTo>
                  <a:lnTo>
                    <a:pt x="219" y="164"/>
                  </a:lnTo>
                  <a:lnTo>
                    <a:pt x="219" y="166"/>
                  </a:lnTo>
                  <a:lnTo>
                    <a:pt x="219" y="168"/>
                  </a:lnTo>
                  <a:lnTo>
                    <a:pt x="219" y="172"/>
                  </a:lnTo>
                  <a:lnTo>
                    <a:pt x="219" y="173"/>
                  </a:lnTo>
                  <a:lnTo>
                    <a:pt x="217" y="173"/>
                  </a:lnTo>
                  <a:lnTo>
                    <a:pt x="217" y="175"/>
                  </a:lnTo>
                  <a:lnTo>
                    <a:pt x="217" y="177"/>
                  </a:lnTo>
                  <a:lnTo>
                    <a:pt x="215" y="177"/>
                  </a:lnTo>
                  <a:lnTo>
                    <a:pt x="215" y="177"/>
                  </a:lnTo>
                  <a:lnTo>
                    <a:pt x="213" y="177"/>
                  </a:lnTo>
                  <a:lnTo>
                    <a:pt x="213" y="177"/>
                  </a:lnTo>
                  <a:lnTo>
                    <a:pt x="211" y="177"/>
                  </a:lnTo>
                  <a:lnTo>
                    <a:pt x="208" y="181"/>
                  </a:lnTo>
                  <a:lnTo>
                    <a:pt x="206" y="183"/>
                  </a:lnTo>
                  <a:lnTo>
                    <a:pt x="206" y="183"/>
                  </a:lnTo>
                  <a:lnTo>
                    <a:pt x="202" y="189"/>
                  </a:lnTo>
                  <a:lnTo>
                    <a:pt x="200" y="191"/>
                  </a:lnTo>
                  <a:lnTo>
                    <a:pt x="200" y="191"/>
                  </a:lnTo>
                  <a:lnTo>
                    <a:pt x="200" y="193"/>
                  </a:lnTo>
                  <a:lnTo>
                    <a:pt x="200" y="194"/>
                  </a:lnTo>
                  <a:lnTo>
                    <a:pt x="200" y="196"/>
                  </a:lnTo>
                  <a:lnTo>
                    <a:pt x="196" y="202"/>
                  </a:lnTo>
                  <a:lnTo>
                    <a:pt x="192" y="208"/>
                  </a:lnTo>
                  <a:lnTo>
                    <a:pt x="190" y="212"/>
                  </a:lnTo>
                  <a:lnTo>
                    <a:pt x="189" y="215"/>
                  </a:lnTo>
                  <a:lnTo>
                    <a:pt x="187" y="217"/>
                  </a:lnTo>
                  <a:lnTo>
                    <a:pt x="185" y="219"/>
                  </a:lnTo>
                  <a:lnTo>
                    <a:pt x="175" y="217"/>
                  </a:lnTo>
                  <a:lnTo>
                    <a:pt x="173" y="217"/>
                  </a:lnTo>
                  <a:lnTo>
                    <a:pt x="171" y="219"/>
                  </a:lnTo>
                  <a:lnTo>
                    <a:pt x="170" y="219"/>
                  </a:lnTo>
                  <a:lnTo>
                    <a:pt x="168" y="219"/>
                  </a:lnTo>
                  <a:lnTo>
                    <a:pt x="168" y="219"/>
                  </a:lnTo>
                  <a:lnTo>
                    <a:pt x="168" y="219"/>
                  </a:lnTo>
                  <a:lnTo>
                    <a:pt x="162" y="225"/>
                  </a:lnTo>
                  <a:lnTo>
                    <a:pt x="160" y="227"/>
                  </a:lnTo>
                  <a:lnTo>
                    <a:pt x="158" y="227"/>
                  </a:lnTo>
                  <a:lnTo>
                    <a:pt x="156" y="227"/>
                  </a:lnTo>
                  <a:lnTo>
                    <a:pt x="156" y="227"/>
                  </a:lnTo>
                  <a:lnTo>
                    <a:pt x="156" y="227"/>
                  </a:lnTo>
                  <a:lnTo>
                    <a:pt x="154" y="229"/>
                  </a:lnTo>
                  <a:lnTo>
                    <a:pt x="154" y="229"/>
                  </a:lnTo>
                  <a:lnTo>
                    <a:pt x="154" y="231"/>
                  </a:lnTo>
                  <a:lnTo>
                    <a:pt x="152" y="231"/>
                  </a:lnTo>
                  <a:lnTo>
                    <a:pt x="152" y="231"/>
                  </a:lnTo>
                  <a:lnTo>
                    <a:pt x="150" y="231"/>
                  </a:lnTo>
                  <a:lnTo>
                    <a:pt x="147" y="227"/>
                  </a:lnTo>
                  <a:lnTo>
                    <a:pt x="147" y="225"/>
                  </a:lnTo>
                  <a:lnTo>
                    <a:pt x="145" y="227"/>
                  </a:lnTo>
                  <a:lnTo>
                    <a:pt x="143" y="231"/>
                  </a:lnTo>
                  <a:lnTo>
                    <a:pt x="143" y="232"/>
                  </a:lnTo>
                  <a:lnTo>
                    <a:pt x="143" y="232"/>
                  </a:lnTo>
                  <a:lnTo>
                    <a:pt x="141" y="232"/>
                  </a:lnTo>
                  <a:lnTo>
                    <a:pt x="141" y="232"/>
                  </a:lnTo>
                  <a:lnTo>
                    <a:pt x="141" y="232"/>
                  </a:lnTo>
                  <a:lnTo>
                    <a:pt x="139" y="232"/>
                  </a:lnTo>
                  <a:lnTo>
                    <a:pt x="139" y="232"/>
                  </a:lnTo>
                  <a:lnTo>
                    <a:pt x="139" y="234"/>
                  </a:lnTo>
                  <a:lnTo>
                    <a:pt x="139" y="234"/>
                  </a:lnTo>
                  <a:lnTo>
                    <a:pt x="137" y="234"/>
                  </a:lnTo>
                  <a:lnTo>
                    <a:pt x="137" y="236"/>
                  </a:lnTo>
                  <a:lnTo>
                    <a:pt x="137" y="234"/>
                  </a:lnTo>
                  <a:lnTo>
                    <a:pt x="135" y="236"/>
                  </a:lnTo>
                  <a:lnTo>
                    <a:pt x="135" y="236"/>
                  </a:lnTo>
                  <a:lnTo>
                    <a:pt x="135" y="238"/>
                  </a:lnTo>
                  <a:lnTo>
                    <a:pt x="133" y="236"/>
                  </a:lnTo>
                  <a:lnTo>
                    <a:pt x="131" y="236"/>
                  </a:lnTo>
                  <a:lnTo>
                    <a:pt x="129" y="236"/>
                  </a:lnTo>
                  <a:lnTo>
                    <a:pt x="129" y="234"/>
                  </a:lnTo>
                  <a:lnTo>
                    <a:pt x="129" y="232"/>
                  </a:lnTo>
                  <a:lnTo>
                    <a:pt x="129" y="229"/>
                  </a:lnTo>
                  <a:lnTo>
                    <a:pt x="128" y="229"/>
                  </a:lnTo>
                  <a:lnTo>
                    <a:pt x="128" y="229"/>
                  </a:lnTo>
                  <a:lnTo>
                    <a:pt x="126" y="229"/>
                  </a:lnTo>
                  <a:lnTo>
                    <a:pt x="126" y="229"/>
                  </a:lnTo>
                  <a:lnTo>
                    <a:pt x="126" y="231"/>
                  </a:lnTo>
                  <a:lnTo>
                    <a:pt x="126" y="232"/>
                  </a:lnTo>
                  <a:lnTo>
                    <a:pt x="126" y="232"/>
                  </a:lnTo>
                  <a:lnTo>
                    <a:pt x="128" y="234"/>
                  </a:lnTo>
                  <a:lnTo>
                    <a:pt x="126" y="236"/>
                  </a:lnTo>
                  <a:lnTo>
                    <a:pt x="126" y="236"/>
                  </a:lnTo>
                  <a:lnTo>
                    <a:pt x="126" y="236"/>
                  </a:lnTo>
                  <a:lnTo>
                    <a:pt x="124" y="236"/>
                  </a:lnTo>
                  <a:lnTo>
                    <a:pt x="124" y="236"/>
                  </a:lnTo>
                  <a:lnTo>
                    <a:pt x="124" y="238"/>
                  </a:lnTo>
                  <a:lnTo>
                    <a:pt x="122" y="238"/>
                  </a:lnTo>
                  <a:lnTo>
                    <a:pt x="122" y="240"/>
                  </a:lnTo>
                  <a:lnTo>
                    <a:pt x="118" y="240"/>
                  </a:lnTo>
                  <a:lnTo>
                    <a:pt x="112" y="240"/>
                  </a:lnTo>
                  <a:lnTo>
                    <a:pt x="110" y="240"/>
                  </a:lnTo>
                  <a:lnTo>
                    <a:pt x="109" y="242"/>
                  </a:lnTo>
                  <a:lnTo>
                    <a:pt x="105" y="244"/>
                  </a:lnTo>
                  <a:lnTo>
                    <a:pt x="97" y="246"/>
                  </a:lnTo>
                  <a:lnTo>
                    <a:pt x="97" y="246"/>
                  </a:lnTo>
                  <a:lnTo>
                    <a:pt x="95" y="244"/>
                  </a:lnTo>
                  <a:lnTo>
                    <a:pt x="95" y="242"/>
                  </a:lnTo>
                  <a:lnTo>
                    <a:pt x="93" y="240"/>
                  </a:lnTo>
                  <a:lnTo>
                    <a:pt x="95" y="238"/>
                  </a:lnTo>
                  <a:lnTo>
                    <a:pt x="95" y="236"/>
                  </a:lnTo>
                  <a:lnTo>
                    <a:pt x="97" y="234"/>
                  </a:lnTo>
                  <a:lnTo>
                    <a:pt x="97" y="232"/>
                  </a:lnTo>
                  <a:lnTo>
                    <a:pt x="95" y="231"/>
                  </a:lnTo>
                  <a:lnTo>
                    <a:pt x="95" y="231"/>
                  </a:lnTo>
                  <a:lnTo>
                    <a:pt x="93" y="231"/>
                  </a:lnTo>
                  <a:lnTo>
                    <a:pt x="93" y="232"/>
                  </a:lnTo>
                  <a:lnTo>
                    <a:pt x="91" y="232"/>
                  </a:lnTo>
                  <a:lnTo>
                    <a:pt x="91" y="232"/>
                  </a:lnTo>
                  <a:lnTo>
                    <a:pt x="91" y="232"/>
                  </a:lnTo>
                  <a:lnTo>
                    <a:pt x="89" y="232"/>
                  </a:lnTo>
                  <a:lnTo>
                    <a:pt x="89" y="232"/>
                  </a:lnTo>
                  <a:lnTo>
                    <a:pt x="88" y="234"/>
                  </a:lnTo>
                  <a:lnTo>
                    <a:pt x="86" y="234"/>
                  </a:lnTo>
                  <a:lnTo>
                    <a:pt x="86" y="232"/>
                  </a:lnTo>
                  <a:lnTo>
                    <a:pt x="84" y="232"/>
                  </a:lnTo>
                  <a:lnTo>
                    <a:pt x="82" y="231"/>
                  </a:lnTo>
                  <a:lnTo>
                    <a:pt x="84" y="229"/>
                  </a:lnTo>
                  <a:lnTo>
                    <a:pt x="86" y="229"/>
                  </a:lnTo>
                  <a:lnTo>
                    <a:pt x="86" y="227"/>
                  </a:lnTo>
                  <a:lnTo>
                    <a:pt x="86" y="227"/>
                  </a:lnTo>
                  <a:lnTo>
                    <a:pt x="86" y="225"/>
                  </a:lnTo>
                  <a:lnTo>
                    <a:pt x="86" y="225"/>
                  </a:lnTo>
                  <a:lnTo>
                    <a:pt x="82" y="227"/>
                  </a:lnTo>
                  <a:lnTo>
                    <a:pt x="80" y="229"/>
                  </a:lnTo>
                  <a:lnTo>
                    <a:pt x="78" y="231"/>
                  </a:lnTo>
                  <a:lnTo>
                    <a:pt x="76" y="231"/>
                  </a:lnTo>
                  <a:lnTo>
                    <a:pt x="76" y="232"/>
                  </a:lnTo>
                  <a:lnTo>
                    <a:pt x="76" y="234"/>
                  </a:lnTo>
                  <a:lnTo>
                    <a:pt x="74" y="236"/>
                  </a:lnTo>
                  <a:lnTo>
                    <a:pt x="74" y="238"/>
                  </a:lnTo>
                  <a:lnTo>
                    <a:pt x="74" y="240"/>
                  </a:lnTo>
                  <a:lnTo>
                    <a:pt x="72" y="242"/>
                  </a:lnTo>
                  <a:lnTo>
                    <a:pt x="72" y="244"/>
                  </a:lnTo>
                  <a:lnTo>
                    <a:pt x="74" y="246"/>
                  </a:lnTo>
                  <a:lnTo>
                    <a:pt x="76" y="250"/>
                  </a:lnTo>
                  <a:lnTo>
                    <a:pt x="78" y="253"/>
                  </a:lnTo>
                  <a:lnTo>
                    <a:pt x="80" y="255"/>
                  </a:lnTo>
                  <a:lnTo>
                    <a:pt x="82" y="257"/>
                  </a:lnTo>
                  <a:lnTo>
                    <a:pt x="88" y="263"/>
                  </a:lnTo>
                  <a:lnTo>
                    <a:pt x="88" y="265"/>
                  </a:lnTo>
                  <a:lnTo>
                    <a:pt x="89" y="267"/>
                  </a:lnTo>
                  <a:lnTo>
                    <a:pt x="91" y="269"/>
                  </a:lnTo>
                  <a:lnTo>
                    <a:pt x="97" y="274"/>
                  </a:lnTo>
                  <a:lnTo>
                    <a:pt x="97" y="276"/>
                  </a:lnTo>
                  <a:lnTo>
                    <a:pt x="101" y="278"/>
                  </a:lnTo>
                  <a:lnTo>
                    <a:pt x="109" y="288"/>
                  </a:lnTo>
                  <a:lnTo>
                    <a:pt x="110" y="288"/>
                  </a:lnTo>
                  <a:lnTo>
                    <a:pt x="112" y="288"/>
                  </a:lnTo>
                  <a:lnTo>
                    <a:pt x="114" y="286"/>
                  </a:lnTo>
                  <a:lnTo>
                    <a:pt x="114" y="288"/>
                  </a:lnTo>
                  <a:lnTo>
                    <a:pt x="114" y="290"/>
                  </a:lnTo>
                  <a:lnTo>
                    <a:pt x="114" y="291"/>
                  </a:lnTo>
                  <a:lnTo>
                    <a:pt x="118" y="295"/>
                  </a:lnTo>
                  <a:lnTo>
                    <a:pt x="120" y="297"/>
                  </a:lnTo>
                  <a:lnTo>
                    <a:pt x="122" y="297"/>
                  </a:lnTo>
                  <a:lnTo>
                    <a:pt x="124" y="301"/>
                  </a:lnTo>
                  <a:lnTo>
                    <a:pt x="126" y="303"/>
                  </a:lnTo>
                  <a:lnTo>
                    <a:pt x="129" y="307"/>
                  </a:lnTo>
                  <a:lnTo>
                    <a:pt x="131" y="309"/>
                  </a:lnTo>
                  <a:lnTo>
                    <a:pt x="137" y="310"/>
                  </a:lnTo>
                  <a:lnTo>
                    <a:pt x="149" y="324"/>
                  </a:lnTo>
                  <a:lnTo>
                    <a:pt x="150" y="326"/>
                  </a:lnTo>
                  <a:lnTo>
                    <a:pt x="150" y="326"/>
                  </a:lnTo>
                  <a:lnTo>
                    <a:pt x="152" y="326"/>
                  </a:lnTo>
                  <a:lnTo>
                    <a:pt x="154" y="329"/>
                  </a:lnTo>
                  <a:lnTo>
                    <a:pt x="156" y="333"/>
                  </a:lnTo>
                  <a:lnTo>
                    <a:pt x="162" y="341"/>
                  </a:lnTo>
                  <a:lnTo>
                    <a:pt x="168" y="345"/>
                  </a:lnTo>
                  <a:lnTo>
                    <a:pt x="168" y="347"/>
                  </a:lnTo>
                  <a:lnTo>
                    <a:pt x="168" y="347"/>
                  </a:lnTo>
                  <a:lnTo>
                    <a:pt x="175" y="358"/>
                  </a:lnTo>
                  <a:lnTo>
                    <a:pt x="185" y="364"/>
                  </a:lnTo>
                  <a:lnTo>
                    <a:pt x="194" y="373"/>
                  </a:lnTo>
                  <a:lnTo>
                    <a:pt x="198" y="377"/>
                  </a:lnTo>
                  <a:lnTo>
                    <a:pt x="202" y="379"/>
                  </a:lnTo>
                  <a:lnTo>
                    <a:pt x="208" y="381"/>
                  </a:lnTo>
                  <a:lnTo>
                    <a:pt x="210" y="383"/>
                  </a:lnTo>
                  <a:lnTo>
                    <a:pt x="211" y="387"/>
                  </a:lnTo>
                  <a:lnTo>
                    <a:pt x="213" y="387"/>
                  </a:lnTo>
                  <a:lnTo>
                    <a:pt x="215" y="388"/>
                  </a:lnTo>
                  <a:lnTo>
                    <a:pt x="221" y="390"/>
                  </a:lnTo>
                  <a:lnTo>
                    <a:pt x="234" y="398"/>
                  </a:lnTo>
                  <a:lnTo>
                    <a:pt x="238" y="400"/>
                  </a:lnTo>
                  <a:lnTo>
                    <a:pt x="238" y="400"/>
                  </a:lnTo>
                  <a:lnTo>
                    <a:pt x="240" y="400"/>
                  </a:lnTo>
                  <a:lnTo>
                    <a:pt x="242" y="400"/>
                  </a:lnTo>
                  <a:lnTo>
                    <a:pt x="242" y="400"/>
                  </a:lnTo>
                  <a:lnTo>
                    <a:pt x="244" y="400"/>
                  </a:lnTo>
                  <a:lnTo>
                    <a:pt x="244" y="402"/>
                  </a:lnTo>
                  <a:lnTo>
                    <a:pt x="246" y="402"/>
                  </a:lnTo>
                  <a:lnTo>
                    <a:pt x="248" y="402"/>
                  </a:lnTo>
                  <a:lnTo>
                    <a:pt x="261" y="402"/>
                  </a:lnTo>
                  <a:lnTo>
                    <a:pt x="261" y="400"/>
                  </a:lnTo>
                  <a:lnTo>
                    <a:pt x="261" y="400"/>
                  </a:lnTo>
                  <a:lnTo>
                    <a:pt x="261" y="398"/>
                  </a:lnTo>
                  <a:lnTo>
                    <a:pt x="261" y="398"/>
                  </a:lnTo>
                  <a:lnTo>
                    <a:pt x="263" y="398"/>
                  </a:lnTo>
                  <a:lnTo>
                    <a:pt x="263" y="398"/>
                  </a:lnTo>
                  <a:lnTo>
                    <a:pt x="263" y="398"/>
                  </a:lnTo>
                  <a:lnTo>
                    <a:pt x="263" y="398"/>
                  </a:lnTo>
                  <a:lnTo>
                    <a:pt x="265" y="398"/>
                  </a:lnTo>
                  <a:lnTo>
                    <a:pt x="267" y="398"/>
                  </a:lnTo>
                  <a:lnTo>
                    <a:pt x="269" y="398"/>
                  </a:lnTo>
                  <a:lnTo>
                    <a:pt x="270" y="398"/>
                  </a:lnTo>
                  <a:lnTo>
                    <a:pt x="270" y="396"/>
                  </a:lnTo>
                  <a:lnTo>
                    <a:pt x="272" y="396"/>
                  </a:lnTo>
                  <a:lnTo>
                    <a:pt x="272" y="396"/>
                  </a:lnTo>
                  <a:lnTo>
                    <a:pt x="274" y="396"/>
                  </a:lnTo>
                  <a:lnTo>
                    <a:pt x="276" y="396"/>
                  </a:lnTo>
                  <a:lnTo>
                    <a:pt x="291" y="387"/>
                  </a:lnTo>
                  <a:lnTo>
                    <a:pt x="297" y="387"/>
                  </a:lnTo>
                  <a:lnTo>
                    <a:pt x="305" y="383"/>
                  </a:lnTo>
                  <a:lnTo>
                    <a:pt x="307" y="383"/>
                  </a:lnTo>
                  <a:lnTo>
                    <a:pt x="309" y="381"/>
                  </a:lnTo>
                  <a:lnTo>
                    <a:pt x="309" y="379"/>
                  </a:lnTo>
                  <a:lnTo>
                    <a:pt x="312" y="375"/>
                  </a:lnTo>
                  <a:lnTo>
                    <a:pt x="314" y="375"/>
                  </a:lnTo>
                  <a:lnTo>
                    <a:pt x="316" y="375"/>
                  </a:lnTo>
                  <a:lnTo>
                    <a:pt x="314" y="375"/>
                  </a:lnTo>
                  <a:lnTo>
                    <a:pt x="314" y="375"/>
                  </a:lnTo>
                  <a:lnTo>
                    <a:pt x="314" y="377"/>
                  </a:lnTo>
                  <a:lnTo>
                    <a:pt x="316" y="377"/>
                  </a:lnTo>
                  <a:lnTo>
                    <a:pt x="322" y="373"/>
                  </a:lnTo>
                  <a:lnTo>
                    <a:pt x="326" y="371"/>
                  </a:lnTo>
                  <a:lnTo>
                    <a:pt x="330" y="369"/>
                  </a:lnTo>
                  <a:lnTo>
                    <a:pt x="330" y="369"/>
                  </a:lnTo>
                  <a:lnTo>
                    <a:pt x="331" y="369"/>
                  </a:lnTo>
                  <a:lnTo>
                    <a:pt x="333" y="369"/>
                  </a:lnTo>
                  <a:lnTo>
                    <a:pt x="335" y="367"/>
                  </a:lnTo>
                  <a:lnTo>
                    <a:pt x="337" y="366"/>
                  </a:lnTo>
                  <a:lnTo>
                    <a:pt x="349" y="360"/>
                  </a:lnTo>
                  <a:lnTo>
                    <a:pt x="352" y="360"/>
                  </a:lnTo>
                  <a:lnTo>
                    <a:pt x="354" y="358"/>
                  </a:lnTo>
                  <a:lnTo>
                    <a:pt x="360" y="356"/>
                  </a:lnTo>
                  <a:lnTo>
                    <a:pt x="362" y="354"/>
                  </a:lnTo>
                  <a:lnTo>
                    <a:pt x="362" y="354"/>
                  </a:lnTo>
                  <a:lnTo>
                    <a:pt x="362" y="354"/>
                  </a:lnTo>
                  <a:lnTo>
                    <a:pt x="364" y="354"/>
                  </a:lnTo>
                  <a:lnTo>
                    <a:pt x="364" y="354"/>
                  </a:lnTo>
                  <a:lnTo>
                    <a:pt x="366" y="352"/>
                  </a:lnTo>
                  <a:lnTo>
                    <a:pt x="366" y="350"/>
                  </a:lnTo>
                  <a:lnTo>
                    <a:pt x="364" y="348"/>
                  </a:lnTo>
                  <a:lnTo>
                    <a:pt x="364" y="347"/>
                  </a:lnTo>
                  <a:lnTo>
                    <a:pt x="364" y="347"/>
                  </a:lnTo>
                  <a:lnTo>
                    <a:pt x="364" y="347"/>
                  </a:lnTo>
                  <a:lnTo>
                    <a:pt x="364" y="345"/>
                  </a:lnTo>
                  <a:lnTo>
                    <a:pt x="364" y="345"/>
                  </a:lnTo>
                  <a:lnTo>
                    <a:pt x="366" y="343"/>
                  </a:lnTo>
                  <a:lnTo>
                    <a:pt x="366" y="343"/>
                  </a:lnTo>
                  <a:lnTo>
                    <a:pt x="366" y="343"/>
                  </a:lnTo>
                  <a:lnTo>
                    <a:pt x="366" y="341"/>
                  </a:lnTo>
                  <a:lnTo>
                    <a:pt x="366" y="341"/>
                  </a:lnTo>
                  <a:lnTo>
                    <a:pt x="370" y="337"/>
                  </a:lnTo>
                  <a:lnTo>
                    <a:pt x="370" y="335"/>
                  </a:lnTo>
                  <a:lnTo>
                    <a:pt x="371" y="333"/>
                  </a:lnTo>
                  <a:lnTo>
                    <a:pt x="375" y="328"/>
                  </a:lnTo>
                  <a:lnTo>
                    <a:pt x="377" y="324"/>
                  </a:lnTo>
                  <a:lnTo>
                    <a:pt x="381" y="312"/>
                  </a:lnTo>
                  <a:lnTo>
                    <a:pt x="381" y="312"/>
                  </a:lnTo>
                  <a:lnTo>
                    <a:pt x="383" y="312"/>
                  </a:lnTo>
                  <a:lnTo>
                    <a:pt x="383" y="310"/>
                  </a:lnTo>
                  <a:lnTo>
                    <a:pt x="383" y="310"/>
                  </a:lnTo>
                  <a:lnTo>
                    <a:pt x="383" y="309"/>
                  </a:lnTo>
                  <a:lnTo>
                    <a:pt x="383" y="309"/>
                  </a:lnTo>
                  <a:lnTo>
                    <a:pt x="383" y="307"/>
                  </a:lnTo>
                  <a:lnTo>
                    <a:pt x="383" y="307"/>
                  </a:lnTo>
                  <a:lnTo>
                    <a:pt x="381" y="307"/>
                  </a:lnTo>
                  <a:lnTo>
                    <a:pt x="381" y="305"/>
                  </a:lnTo>
                  <a:lnTo>
                    <a:pt x="381" y="305"/>
                  </a:lnTo>
                  <a:lnTo>
                    <a:pt x="379" y="303"/>
                  </a:lnTo>
                  <a:lnTo>
                    <a:pt x="379" y="305"/>
                  </a:lnTo>
                  <a:lnTo>
                    <a:pt x="377" y="303"/>
                  </a:lnTo>
                  <a:lnTo>
                    <a:pt x="377" y="303"/>
                  </a:lnTo>
                  <a:lnTo>
                    <a:pt x="375" y="303"/>
                  </a:lnTo>
                  <a:lnTo>
                    <a:pt x="375" y="303"/>
                  </a:lnTo>
                  <a:lnTo>
                    <a:pt x="375" y="301"/>
                  </a:lnTo>
                  <a:lnTo>
                    <a:pt x="373" y="299"/>
                  </a:lnTo>
                  <a:lnTo>
                    <a:pt x="373" y="297"/>
                  </a:lnTo>
                  <a:lnTo>
                    <a:pt x="373" y="297"/>
                  </a:lnTo>
                  <a:lnTo>
                    <a:pt x="371" y="297"/>
                  </a:lnTo>
                  <a:lnTo>
                    <a:pt x="371" y="295"/>
                  </a:lnTo>
                  <a:lnTo>
                    <a:pt x="371" y="293"/>
                  </a:lnTo>
                  <a:lnTo>
                    <a:pt x="371" y="293"/>
                  </a:lnTo>
                  <a:lnTo>
                    <a:pt x="366" y="295"/>
                  </a:lnTo>
                  <a:lnTo>
                    <a:pt x="364" y="295"/>
                  </a:lnTo>
                  <a:lnTo>
                    <a:pt x="364" y="295"/>
                  </a:lnTo>
                  <a:lnTo>
                    <a:pt x="362" y="293"/>
                  </a:lnTo>
                  <a:lnTo>
                    <a:pt x="360" y="295"/>
                  </a:lnTo>
                  <a:lnTo>
                    <a:pt x="358" y="295"/>
                  </a:lnTo>
                  <a:lnTo>
                    <a:pt x="358" y="295"/>
                  </a:lnTo>
                  <a:lnTo>
                    <a:pt x="358" y="293"/>
                  </a:lnTo>
                  <a:lnTo>
                    <a:pt x="358" y="293"/>
                  </a:lnTo>
                  <a:lnTo>
                    <a:pt x="356" y="293"/>
                  </a:lnTo>
                  <a:lnTo>
                    <a:pt x="356" y="293"/>
                  </a:lnTo>
                  <a:lnTo>
                    <a:pt x="356" y="293"/>
                  </a:lnTo>
                  <a:lnTo>
                    <a:pt x="354" y="293"/>
                  </a:lnTo>
                  <a:lnTo>
                    <a:pt x="354" y="291"/>
                  </a:lnTo>
                  <a:lnTo>
                    <a:pt x="354" y="290"/>
                  </a:lnTo>
                  <a:lnTo>
                    <a:pt x="354" y="288"/>
                  </a:lnTo>
                  <a:lnTo>
                    <a:pt x="356" y="288"/>
                  </a:lnTo>
                  <a:lnTo>
                    <a:pt x="362" y="290"/>
                  </a:lnTo>
                  <a:lnTo>
                    <a:pt x="364" y="290"/>
                  </a:lnTo>
                  <a:lnTo>
                    <a:pt x="366" y="290"/>
                  </a:lnTo>
                  <a:lnTo>
                    <a:pt x="364" y="286"/>
                  </a:lnTo>
                  <a:lnTo>
                    <a:pt x="362" y="286"/>
                  </a:lnTo>
                  <a:lnTo>
                    <a:pt x="362" y="286"/>
                  </a:lnTo>
                  <a:lnTo>
                    <a:pt x="360" y="286"/>
                  </a:lnTo>
                  <a:lnTo>
                    <a:pt x="360" y="286"/>
                  </a:lnTo>
                  <a:lnTo>
                    <a:pt x="360" y="286"/>
                  </a:lnTo>
                  <a:lnTo>
                    <a:pt x="360" y="284"/>
                  </a:lnTo>
                  <a:lnTo>
                    <a:pt x="362" y="284"/>
                  </a:lnTo>
                  <a:lnTo>
                    <a:pt x="364" y="286"/>
                  </a:lnTo>
                  <a:lnTo>
                    <a:pt x="366" y="286"/>
                  </a:lnTo>
                  <a:lnTo>
                    <a:pt x="366" y="288"/>
                  </a:lnTo>
                  <a:lnTo>
                    <a:pt x="368" y="288"/>
                  </a:lnTo>
                  <a:lnTo>
                    <a:pt x="370" y="290"/>
                  </a:lnTo>
                  <a:lnTo>
                    <a:pt x="371" y="290"/>
                  </a:lnTo>
                  <a:lnTo>
                    <a:pt x="370" y="288"/>
                  </a:lnTo>
                  <a:lnTo>
                    <a:pt x="370" y="286"/>
                  </a:lnTo>
                  <a:lnTo>
                    <a:pt x="371" y="286"/>
                  </a:lnTo>
                  <a:lnTo>
                    <a:pt x="371" y="284"/>
                  </a:lnTo>
                  <a:lnTo>
                    <a:pt x="370" y="284"/>
                  </a:lnTo>
                  <a:lnTo>
                    <a:pt x="370" y="282"/>
                  </a:lnTo>
                  <a:lnTo>
                    <a:pt x="370" y="282"/>
                  </a:lnTo>
                  <a:lnTo>
                    <a:pt x="370" y="282"/>
                  </a:lnTo>
                  <a:lnTo>
                    <a:pt x="370" y="280"/>
                  </a:lnTo>
                  <a:lnTo>
                    <a:pt x="368" y="280"/>
                  </a:lnTo>
                  <a:lnTo>
                    <a:pt x="366" y="282"/>
                  </a:lnTo>
                  <a:lnTo>
                    <a:pt x="364" y="282"/>
                  </a:lnTo>
                  <a:lnTo>
                    <a:pt x="358" y="280"/>
                  </a:lnTo>
                  <a:lnTo>
                    <a:pt x="358" y="278"/>
                  </a:lnTo>
                  <a:lnTo>
                    <a:pt x="360" y="278"/>
                  </a:lnTo>
                  <a:lnTo>
                    <a:pt x="362" y="278"/>
                  </a:lnTo>
                  <a:lnTo>
                    <a:pt x="364" y="278"/>
                  </a:lnTo>
                  <a:lnTo>
                    <a:pt x="364" y="278"/>
                  </a:lnTo>
                  <a:lnTo>
                    <a:pt x="364" y="278"/>
                  </a:lnTo>
                  <a:lnTo>
                    <a:pt x="366" y="278"/>
                  </a:lnTo>
                  <a:lnTo>
                    <a:pt x="366" y="278"/>
                  </a:lnTo>
                  <a:lnTo>
                    <a:pt x="362" y="276"/>
                  </a:lnTo>
                  <a:lnTo>
                    <a:pt x="362" y="274"/>
                  </a:lnTo>
                  <a:lnTo>
                    <a:pt x="366" y="276"/>
                  </a:lnTo>
                  <a:lnTo>
                    <a:pt x="368" y="276"/>
                  </a:lnTo>
                  <a:lnTo>
                    <a:pt x="368" y="274"/>
                  </a:lnTo>
                  <a:lnTo>
                    <a:pt x="366" y="274"/>
                  </a:lnTo>
                  <a:lnTo>
                    <a:pt x="364" y="272"/>
                  </a:lnTo>
                  <a:lnTo>
                    <a:pt x="366" y="272"/>
                  </a:lnTo>
                  <a:lnTo>
                    <a:pt x="368" y="272"/>
                  </a:lnTo>
                  <a:lnTo>
                    <a:pt x="370" y="274"/>
                  </a:lnTo>
                  <a:lnTo>
                    <a:pt x="370" y="274"/>
                  </a:lnTo>
                  <a:lnTo>
                    <a:pt x="370" y="276"/>
                  </a:lnTo>
                  <a:lnTo>
                    <a:pt x="371" y="276"/>
                  </a:lnTo>
                  <a:lnTo>
                    <a:pt x="371" y="274"/>
                  </a:lnTo>
                  <a:lnTo>
                    <a:pt x="373" y="274"/>
                  </a:lnTo>
                  <a:lnTo>
                    <a:pt x="373" y="274"/>
                  </a:lnTo>
                  <a:lnTo>
                    <a:pt x="373" y="272"/>
                  </a:lnTo>
                  <a:lnTo>
                    <a:pt x="373" y="272"/>
                  </a:lnTo>
                  <a:lnTo>
                    <a:pt x="373" y="274"/>
                  </a:lnTo>
                  <a:lnTo>
                    <a:pt x="375" y="274"/>
                  </a:lnTo>
                  <a:lnTo>
                    <a:pt x="375" y="272"/>
                  </a:lnTo>
                  <a:lnTo>
                    <a:pt x="375" y="272"/>
                  </a:lnTo>
                  <a:lnTo>
                    <a:pt x="377" y="272"/>
                  </a:lnTo>
                  <a:lnTo>
                    <a:pt x="379" y="272"/>
                  </a:lnTo>
                  <a:lnTo>
                    <a:pt x="379" y="272"/>
                  </a:lnTo>
                  <a:lnTo>
                    <a:pt x="381" y="270"/>
                  </a:lnTo>
                  <a:lnTo>
                    <a:pt x="381" y="270"/>
                  </a:lnTo>
                  <a:lnTo>
                    <a:pt x="381" y="269"/>
                  </a:lnTo>
                  <a:lnTo>
                    <a:pt x="383" y="269"/>
                  </a:lnTo>
                  <a:lnTo>
                    <a:pt x="383" y="269"/>
                  </a:lnTo>
                  <a:lnTo>
                    <a:pt x="383" y="267"/>
                  </a:lnTo>
                  <a:lnTo>
                    <a:pt x="383" y="265"/>
                  </a:lnTo>
                  <a:lnTo>
                    <a:pt x="385" y="255"/>
                  </a:lnTo>
                  <a:lnTo>
                    <a:pt x="383" y="250"/>
                  </a:lnTo>
                  <a:lnTo>
                    <a:pt x="379" y="251"/>
                  </a:lnTo>
                  <a:lnTo>
                    <a:pt x="377" y="250"/>
                  </a:lnTo>
                  <a:lnTo>
                    <a:pt x="377" y="250"/>
                  </a:lnTo>
                  <a:lnTo>
                    <a:pt x="377" y="248"/>
                  </a:lnTo>
                  <a:lnTo>
                    <a:pt x="377" y="246"/>
                  </a:lnTo>
                  <a:lnTo>
                    <a:pt x="377" y="246"/>
                  </a:lnTo>
                  <a:lnTo>
                    <a:pt x="377" y="244"/>
                  </a:lnTo>
                  <a:lnTo>
                    <a:pt x="375" y="248"/>
                  </a:lnTo>
                  <a:lnTo>
                    <a:pt x="373" y="248"/>
                  </a:lnTo>
                  <a:lnTo>
                    <a:pt x="371" y="248"/>
                  </a:lnTo>
                  <a:lnTo>
                    <a:pt x="370" y="246"/>
                  </a:lnTo>
                  <a:lnTo>
                    <a:pt x="370" y="246"/>
                  </a:lnTo>
                  <a:lnTo>
                    <a:pt x="373" y="246"/>
                  </a:lnTo>
                  <a:lnTo>
                    <a:pt x="373" y="244"/>
                  </a:lnTo>
                  <a:lnTo>
                    <a:pt x="375" y="244"/>
                  </a:lnTo>
                  <a:lnTo>
                    <a:pt x="375" y="244"/>
                  </a:lnTo>
                  <a:lnTo>
                    <a:pt x="377" y="244"/>
                  </a:lnTo>
                  <a:lnTo>
                    <a:pt x="379" y="244"/>
                  </a:lnTo>
                  <a:lnTo>
                    <a:pt x="379" y="244"/>
                  </a:lnTo>
                  <a:lnTo>
                    <a:pt x="379" y="246"/>
                  </a:lnTo>
                  <a:lnTo>
                    <a:pt x="381" y="248"/>
                  </a:lnTo>
                  <a:lnTo>
                    <a:pt x="381" y="248"/>
                  </a:lnTo>
                  <a:lnTo>
                    <a:pt x="383" y="248"/>
                  </a:lnTo>
                  <a:lnTo>
                    <a:pt x="385" y="248"/>
                  </a:lnTo>
                  <a:lnTo>
                    <a:pt x="387" y="244"/>
                  </a:lnTo>
                  <a:lnTo>
                    <a:pt x="387" y="244"/>
                  </a:lnTo>
                  <a:lnTo>
                    <a:pt x="387" y="240"/>
                  </a:lnTo>
                  <a:lnTo>
                    <a:pt x="389" y="238"/>
                  </a:lnTo>
                  <a:lnTo>
                    <a:pt x="389" y="238"/>
                  </a:lnTo>
                  <a:lnTo>
                    <a:pt x="392" y="236"/>
                  </a:lnTo>
                  <a:lnTo>
                    <a:pt x="392" y="238"/>
                  </a:lnTo>
                  <a:lnTo>
                    <a:pt x="392" y="240"/>
                  </a:lnTo>
                  <a:lnTo>
                    <a:pt x="391" y="242"/>
                  </a:lnTo>
                  <a:lnTo>
                    <a:pt x="391" y="242"/>
                  </a:lnTo>
                  <a:lnTo>
                    <a:pt x="391" y="244"/>
                  </a:lnTo>
                  <a:lnTo>
                    <a:pt x="391" y="246"/>
                  </a:lnTo>
                  <a:lnTo>
                    <a:pt x="391" y="248"/>
                  </a:lnTo>
                  <a:lnTo>
                    <a:pt x="394" y="248"/>
                  </a:lnTo>
                  <a:lnTo>
                    <a:pt x="394" y="248"/>
                  </a:lnTo>
                  <a:lnTo>
                    <a:pt x="396" y="246"/>
                  </a:lnTo>
                  <a:lnTo>
                    <a:pt x="398" y="248"/>
                  </a:lnTo>
                  <a:lnTo>
                    <a:pt x="398" y="248"/>
                  </a:lnTo>
                  <a:lnTo>
                    <a:pt x="398" y="250"/>
                  </a:lnTo>
                  <a:lnTo>
                    <a:pt x="398" y="250"/>
                  </a:lnTo>
                  <a:lnTo>
                    <a:pt x="398" y="250"/>
                  </a:lnTo>
                  <a:lnTo>
                    <a:pt x="400" y="250"/>
                  </a:lnTo>
                  <a:lnTo>
                    <a:pt x="402" y="250"/>
                  </a:lnTo>
                  <a:lnTo>
                    <a:pt x="404" y="248"/>
                  </a:lnTo>
                  <a:lnTo>
                    <a:pt x="406" y="246"/>
                  </a:lnTo>
                  <a:lnTo>
                    <a:pt x="408" y="244"/>
                  </a:lnTo>
                  <a:lnTo>
                    <a:pt x="410" y="244"/>
                  </a:lnTo>
                  <a:lnTo>
                    <a:pt x="412" y="246"/>
                  </a:lnTo>
                  <a:lnTo>
                    <a:pt x="413" y="246"/>
                  </a:lnTo>
                  <a:lnTo>
                    <a:pt x="413" y="246"/>
                  </a:lnTo>
                  <a:lnTo>
                    <a:pt x="415" y="246"/>
                  </a:lnTo>
                  <a:lnTo>
                    <a:pt x="415" y="246"/>
                  </a:lnTo>
                  <a:lnTo>
                    <a:pt x="423" y="248"/>
                  </a:lnTo>
                  <a:lnTo>
                    <a:pt x="425" y="250"/>
                  </a:lnTo>
                  <a:lnTo>
                    <a:pt x="429" y="248"/>
                  </a:lnTo>
                  <a:lnTo>
                    <a:pt x="429" y="246"/>
                  </a:lnTo>
                  <a:lnTo>
                    <a:pt x="431" y="246"/>
                  </a:lnTo>
                  <a:lnTo>
                    <a:pt x="432" y="246"/>
                  </a:lnTo>
                  <a:lnTo>
                    <a:pt x="434" y="246"/>
                  </a:lnTo>
                  <a:lnTo>
                    <a:pt x="436" y="248"/>
                  </a:lnTo>
                  <a:lnTo>
                    <a:pt x="436" y="248"/>
                  </a:lnTo>
                  <a:lnTo>
                    <a:pt x="438" y="246"/>
                  </a:lnTo>
                  <a:lnTo>
                    <a:pt x="438" y="246"/>
                  </a:lnTo>
                  <a:lnTo>
                    <a:pt x="440" y="246"/>
                  </a:lnTo>
                  <a:lnTo>
                    <a:pt x="440" y="248"/>
                  </a:lnTo>
                  <a:lnTo>
                    <a:pt x="440" y="250"/>
                  </a:lnTo>
                  <a:lnTo>
                    <a:pt x="440" y="251"/>
                  </a:lnTo>
                  <a:lnTo>
                    <a:pt x="438" y="251"/>
                  </a:lnTo>
                  <a:lnTo>
                    <a:pt x="436" y="251"/>
                  </a:lnTo>
                  <a:lnTo>
                    <a:pt x="434" y="250"/>
                  </a:lnTo>
                  <a:lnTo>
                    <a:pt x="434" y="250"/>
                  </a:lnTo>
                  <a:lnTo>
                    <a:pt x="431" y="250"/>
                  </a:lnTo>
                  <a:lnTo>
                    <a:pt x="429" y="251"/>
                  </a:lnTo>
                  <a:lnTo>
                    <a:pt x="425" y="257"/>
                  </a:lnTo>
                  <a:lnTo>
                    <a:pt x="423" y="255"/>
                  </a:lnTo>
                  <a:lnTo>
                    <a:pt x="421" y="255"/>
                  </a:lnTo>
                  <a:lnTo>
                    <a:pt x="421" y="255"/>
                  </a:lnTo>
                  <a:lnTo>
                    <a:pt x="419" y="255"/>
                  </a:lnTo>
                  <a:lnTo>
                    <a:pt x="419" y="255"/>
                  </a:lnTo>
                  <a:lnTo>
                    <a:pt x="419" y="255"/>
                  </a:lnTo>
                  <a:lnTo>
                    <a:pt x="417" y="253"/>
                  </a:lnTo>
                  <a:lnTo>
                    <a:pt x="415" y="253"/>
                  </a:lnTo>
                  <a:lnTo>
                    <a:pt x="413" y="251"/>
                  </a:lnTo>
                  <a:lnTo>
                    <a:pt x="412" y="251"/>
                  </a:lnTo>
                  <a:lnTo>
                    <a:pt x="410" y="253"/>
                  </a:lnTo>
                  <a:lnTo>
                    <a:pt x="408" y="253"/>
                  </a:lnTo>
                  <a:lnTo>
                    <a:pt x="406" y="255"/>
                  </a:lnTo>
                  <a:lnTo>
                    <a:pt x="406" y="257"/>
                  </a:lnTo>
                  <a:lnTo>
                    <a:pt x="404" y="259"/>
                  </a:lnTo>
                  <a:lnTo>
                    <a:pt x="404" y="261"/>
                  </a:lnTo>
                  <a:lnTo>
                    <a:pt x="404" y="263"/>
                  </a:lnTo>
                  <a:lnTo>
                    <a:pt x="404" y="265"/>
                  </a:lnTo>
                  <a:lnTo>
                    <a:pt x="404" y="265"/>
                  </a:lnTo>
                  <a:lnTo>
                    <a:pt x="404" y="267"/>
                  </a:lnTo>
                  <a:lnTo>
                    <a:pt x="404" y="269"/>
                  </a:lnTo>
                  <a:lnTo>
                    <a:pt x="404" y="270"/>
                  </a:lnTo>
                  <a:lnTo>
                    <a:pt x="402" y="274"/>
                  </a:lnTo>
                  <a:lnTo>
                    <a:pt x="402" y="276"/>
                  </a:lnTo>
                  <a:lnTo>
                    <a:pt x="402" y="276"/>
                  </a:lnTo>
                  <a:lnTo>
                    <a:pt x="404" y="282"/>
                  </a:lnTo>
                  <a:lnTo>
                    <a:pt x="406" y="282"/>
                  </a:lnTo>
                  <a:lnTo>
                    <a:pt x="408" y="282"/>
                  </a:lnTo>
                  <a:lnTo>
                    <a:pt x="410" y="280"/>
                  </a:lnTo>
                  <a:lnTo>
                    <a:pt x="412" y="278"/>
                  </a:lnTo>
                  <a:lnTo>
                    <a:pt x="412" y="278"/>
                  </a:lnTo>
                  <a:lnTo>
                    <a:pt x="413" y="276"/>
                  </a:lnTo>
                  <a:lnTo>
                    <a:pt x="419" y="276"/>
                  </a:lnTo>
                  <a:lnTo>
                    <a:pt x="419" y="276"/>
                  </a:lnTo>
                  <a:lnTo>
                    <a:pt x="419" y="274"/>
                  </a:lnTo>
                  <a:lnTo>
                    <a:pt x="419" y="274"/>
                  </a:lnTo>
                  <a:lnTo>
                    <a:pt x="421" y="274"/>
                  </a:lnTo>
                  <a:lnTo>
                    <a:pt x="421" y="274"/>
                  </a:lnTo>
                  <a:lnTo>
                    <a:pt x="421" y="274"/>
                  </a:lnTo>
                  <a:lnTo>
                    <a:pt x="423" y="274"/>
                  </a:lnTo>
                  <a:lnTo>
                    <a:pt x="423" y="274"/>
                  </a:lnTo>
                  <a:lnTo>
                    <a:pt x="423" y="274"/>
                  </a:lnTo>
                  <a:lnTo>
                    <a:pt x="421" y="274"/>
                  </a:lnTo>
                  <a:lnTo>
                    <a:pt x="421" y="276"/>
                  </a:lnTo>
                  <a:lnTo>
                    <a:pt x="421" y="278"/>
                  </a:lnTo>
                  <a:lnTo>
                    <a:pt x="419" y="280"/>
                  </a:lnTo>
                  <a:lnTo>
                    <a:pt x="415" y="278"/>
                  </a:lnTo>
                  <a:lnTo>
                    <a:pt x="413" y="280"/>
                  </a:lnTo>
                  <a:lnTo>
                    <a:pt x="412" y="280"/>
                  </a:lnTo>
                  <a:lnTo>
                    <a:pt x="410" y="286"/>
                  </a:lnTo>
                  <a:lnTo>
                    <a:pt x="410" y="288"/>
                  </a:lnTo>
                  <a:lnTo>
                    <a:pt x="408" y="288"/>
                  </a:lnTo>
                  <a:lnTo>
                    <a:pt x="408" y="290"/>
                  </a:lnTo>
                  <a:lnTo>
                    <a:pt x="406" y="295"/>
                  </a:lnTo>
                  <a:lnTo>
                    <a:pt x="406" y="297"/>
                  </a:lnTo>
                  <a:lnTo>
                    <a:pt x="404" y="301"/>
                  </a:lnTo>
                  <a:lnTo>
                    <a:pt x="404" y="303"/>
                  </a:lnTo>
                  <a:lnTo>
                    <a:pt x="404" y="305"/>
                  </a:lnTo>
                  <a:lnTo>
                    <a:pt x="406" y="307"/>
                  </a:lnTo>
                  <a:lnTo>
                    <a:pt x="408" y="307"/>
                  </a:lnTo>
                  <a:lnTo>
                    <a:pt x="412" y="305"/>
                  </a:lnTo>
                  <a:lnTo>
                    <a:pt x="413" y="305"/>
                  </a:lnTo>
                  <a:lnTo>
                    <a:pt x="415" y="305"/>
                  </a:lnTo>
                  <a:lnTo>
                    <a:pt x="417" y="305"/>
                  </a:lnTo>
                  <a:lnTo>
                    <a:pt x="423" y="305"/>
                  </a:lnTo>
                  <a:lnTo>
                    <a:pt x="425" y="305"/>
                  </a:lnTo>
                  <a:lnTo>
                    <a:pt x="429" y="305"/>
                  </a:lnTo>
                  <a:lnTo>
                    <a:pt x="431" y="305"/>
                  </a:lnTo>
                  <a:lnTo>
                    <a:pt x="432" y="305"/>
                  </a:lnTo>
                  <a:lnTo>
                    <a:pt x="434" y="303"/>
                  </a:lnTo>
                  <a:lnTo>
                    <a:pt x="436" y="303"/>
                  </a:lnTo>
                  <a:lnTo>
                    <a:pt x="440" y="305"/>
                  </a:lnTo>
                  <a:lnTo>
                    <a:pt x="444" y="305"/>
                  </a:lnTo>
                  <a:lnTo>
                    <a:pt x="448" y="303"/>
                  </a:lnTo>
                  <a:lnTo>
                    <a:pt x="450" y="301"/>
                  </a:lnTo>
                  <a:lnTo>
                    <a:pt x="450" y="301"/>
                  </a:lnTo>
                  <a:lnTo>
                    <a:pt x="452" y="299"/>
                  </a:lnTo>
                  <a:lnTo>
                    <a:pt x="452" y="299"/>
                  </a:lnTo>
                  <a:lnTo>
                    <a:pt x="455" y="299"/>
                  </a:lnTo>
                  <a:lnTo>
                    <a:pt x="459" y="297"/>
                  </a:lnTo>
                  <a:lnTo>
                    <a:pt x="459" y="297"/>
                  </a:lnTo>
                  <a:lnTo>
                    <a:pt x="459" y="297"/>
                  </a:lnTo>
                  <a:lnTo>
                    <a:pt x="459" y="299"/>
                  </a:lnTo>
                  <a:lnTo>
                    <a:pt x="459" y="299"/>
                  </a:lnTo>
                  <a:lnTo>
                    <a:pt x="457" y="299"/>
                  </a:lnTo>
                  <a:lnTo>
                    <a:pt x="455" y="299"/>
                  </a:lnTo>
                  <a:lnTo>
                    <a:pt x="450" y="303"/>
                  </a:lnTo>
                  <a:lnTo>
                    <a:pt x="444" y="305"/>
                  </a:lnTo>
                  <a:lnTo>
                    <a:pt x="442" y="307"/>
                  </a:lnTo>
                  <a:lnTo>
                    <a:pt x="438" y="309"/>
                  </a:lnTo>
                  <a:lnTo>
                    <a:pt x="436" y="309"/>
                  </a:lnTo>
                  <a:lnTo>
                    <a:pt x="434" y="309"/>
                  </a:lnTo>
                  <a:lnTo>
                    <a:pt x="432" y="309"/>
                  </a:lnTo>
                  <a:lnTo>
                    <a:pt x="431" y="309"/>
                  </a:lnTo>
                  <a:lnTo>
                    <a:pt x="431" y="309"/>
                  </a:lnTo>
                  <a:lnTo>
                    <a:pt x="429" y="312"/>
                  </a:lnTo>
                  <a:lnTo>
                    <a:pt x="427" y="314"/>
                  </a:lnTo>
                  <a:lnTo>
                    <a:pt x="425" y="316"/>
                  </a:lnTo>
                  <a:lnTo>
                    <a:pt x="423" y="318"/>
                  </a:lnTo>
                  <a:lnTo>
                    <a:pt x="421" y="318"/>
                  </a:lnTo>
                  <a:lnTo>
                    <a:pt x="419" y="318"/>
                  </a:lnTo>
                  <a:lnTo>
                    <a:pt x="415" y="322"/>
                  </a:lnTo>
                  <a:lnTo>
                    <a:pt x="413" y="322"/>
                  </a:lnTo>
                  <a:lnTo>
                    <a:pt x="413" y="324"/>
                  </a:lnTo>
                  <a:lnTo>
                    <a:pt x="410" y="329"/>
                  </a:lnTo>
                  <a:lnTo>
                    <a:pt x="410" y="331"/>
                  </a:lnTo>
                  <a:lnTo>
                    <a:pt x="412" y="331"/>
                  </a:lnTo>
                  <a:lnTo>
                    <a:pt x="417" y="328"/>
                  </a:lnTo>
                  <a:lnTo>
                    <a:pt x="419" y="326"/>
                  </a:lnTo>
                  <a:lnTo>
                    <a:pt x="423" y="324"/>
                  </a:lnTo>
                  <a:lnTo>
                    <a:pt x="425" y="326"/>
                  </a:lnTo>
                  <a:lnTo>
                    <a:pt x="425" y="326"/>
                  </a:lnTo>
                  <a:lnTo>
                    <a:pt x="425" y="328"/>
                  </a:lnTo>
                  <a:lnTo>
                    <a:pt x="423" y="326"/>
                  </a:lnTo>
                  <a:lnTo>
                    <a:pt x="417" y="329"/>
                  </a:lnTo>
                  <a:lnTo>
                    <a:pt x="417" y="329"/>
                  </a:lnTo>
                  <a:lnTo>
                    <a:pt x="413" y="331"/>
                  </a:lnTo>
                  <a:lnTo>
                    <a:pt x="408" y="333"/>
                  </a:lnTo>
                  <a:lnTo>
                    <a:pt x="408" y="333"/>
                  </a:lnTo>
                  <a:lnTo>
                    <a:pt x="408" y="335"/>
                  </a:lnTo>
                  <a:lnTo>
                    <a:pt x="410" y="335"/>
                  </a:lnTo>
                  <a:lnTo>
                    <a:pt x="410" y="337"/>
                  </a:lnTo>
                  <a:lnTo>
                    <a:pt x="413" y="335"/>
                  </a:lnTo>
                  <a:lnTo>
                    <a:pt x="413" y="335"/>
                  </a:lnTo>
                  <a:lnTo>
                    <a:pt x="415" y="337"/>
                  </a:lnTo>
                  <a:lnTo>
                    <a:pt x="413" y="337"/>
                  </a:lnTo>
                  <a:lnTo>
                    <a:pt x="412" y="337"/>
                  </a:lnTo>
                  <a:lnTo>
                    <a:pt x="410" y="337"/>
                  </a:lnTo>
                  <a:lnTo>
                    <a:pt x="410" y="339"/>
                  </a:lnTo>
                  <a:lnTo>
                    <a:pt x="410" y="339"/>
                  </a:lnTo>
                  <a:lnTo>
                    <a:pt x="410" y="341"/>
                  </a:lnTo>
                  <a:lnTo>
                    <a:pt x="412" y="345"/>
                  </a:lnTo>
                  <a:lnTo>
                    <a:pt x="412" y="347"/>
                  </a:lnTo>
                  <a:lnTo>
                    <a:pt x="412" y="347"/>
                  </a:lnTo>
                  <a:lnTo>
                    <a:pt x="413" y="347"/>
                  </a:lnTo>
                  <a:lnTo>
                    <a:pt x="415" y="345"/>
                  </a:lnTo>
                  <a:lnTo>
                    <a:pt x="415" y="347"/>
                  </a:lnTo>
                  <a:lnTo>
                    <a:pt x="415" y="348"/>
                  </a:lnTo>
                  <a:lnTo>
                    <a:pt x="417" y="348"/>
                  </a:lnTo>
                  <a:lnTo>
                    <a:pt x="417" y="350"/>
                  </a:lnTo>
                  <a:lnTo>
                    <a:pt x="419" y="350"/>
                  </a:lnTo>
                  <a:lnTo>
                    <a:pt x="423" y="352"/>
                  </a:lnTo>
                  <a:lnTo>
                    <a:pt x="423" y="352"/>
                  </a:lnTo>
                  <a:lnTo>
                    <a:pt x="421" y="352"/>
                  </a:lnTo>
                  <a:lnTo>
                    <a:pt x="421" y="352"/>
                  </a:lnTo>
                  <a:lnTo>
                    <a:pt x="419" y="354"/>
                  </a:lnTo>
                  <a:lnTo>
                    <a:pt x="413" y="358"/>
                  </a:lnTo>
                  <a:lnTo>
                    <a:pt x="412" y="360"/>
                  </a:lnTo>
                  <a:lnTo>
                    <a:pt x="412" y="362"/>
                  </a:lnTo>
                  <a:lnTo>
                    <a:pt x="413" y="364"/>
                  </a:lnTo>
                  <a:lnTo>
                    <a:pt x="413" y="364"/>
                  </a:lnTo>
                  <a:lnTo>
                    <a:pt x="415" y="362"/>
                  </a:lnTo>
                  <a:lnTo>
                    <a:pt x="417" y="362"/>
                  </a:lnTo>
                  <a:lnTo>
                    <a:pt x="417" y="362"/>
                  </a:lnTo>
                  <a:lnTo>
                    <a:pt x="417" y="362"/>
                  </a:lnTo>
                  <a:lnTo>
                    <a:pt x="417" y="358"/>
                  </a:lnTo>
                  <a:lnTo>
                    <a:pt x="417" y="358"/>
                  </a:lnTo>
                  <a:lnTo>
                    <a:pt x="417" y="356"/>
                  </a:lnTo>
                  <a:lnTo>
                    <a:pt x="419" y="356"/>
                  </a:lnTo>
                  <a:lnTo>
                    <a:pt x="421" y="356"/>
                  </a:lnTo>
                  <a:lnTo>
                    <a:pt x="421" y="356"/>
                  </a:lnTo>
                  <a:lnTo>
                    <a:pt x="423" y="358"/>
                  </a:lnTo>
                  <a:lnTo>
                    <a:pt x="421" y="360"/>
                  </a:lnTo>
                  <a:lnTo>
                    <a:pt x="421" y="362"/>
                  </a:lnTo>
                  <a:lnTo>
                    <a:pt x="419" y="366"/>
                  </a:lnTo>
                  <a:lnTo>
                    <a:pt x="423" y="364"/>
                  </a:lnTo>
                  <a:lnTo>
                    <a:pt x="423" y="364"/>
                  </a:lnTo>
                  <a:lnTo>
                    <a:pt x="423" y="362"/>
                  </a:lnTo>
                  <a:lnTo>
                    <a:pt x="423" y="360"/>
                  </a:lnTo>
                  <a:lnTo>
                    <a:pt x="423" y="360"/>
                  </a:lnTo>
                  <a:lnTo>
                    <a:pt x="425" y="360"/>
                  </a:lnTo>
                  <a:lnTo>
                    <a:pt x="425" y="362"/>
                  </a:lnTo>
                  <a:lnTo>
                    <a:pt x="425" y="362"/>
                  </a:lnTo>
                  <a:lnTo>
                    <a:pt x="429" y="360"/>
                  </a:lnTo>
                  <a:lnTo>
                    <a:pt x="431" y="360"/>
                  </a:lnTo>
                  <a:lnTo>
                    <a:pt x="431" y="360"/>
                  </a:lnTo>
                  <a:lnTo>
                    <a:pt x="434" y="367"/>
                  </a:lnTo>
                  <a:lnTo>
                    <a:pt x="432" y="367"/>
                  </a:lnTo>
                  <a:lnTo>
                    <a:pt x="431" y="369"/>
                  </a:lnTo>
                  <a:lnTo>
                    <a:pt x="427" y="367"/>
                  </a:lnTo>
                  <a:lnTo>
                    <a:pt x="427" y="367"/>
                  </a:lnTo>
                  <a:lnTo>
                    <a:pt x="427" y="369"/>
                  </a:lnTo>
                  <a:lnTo>
                    <a:pt x="427" y="371"/>
                  </a:lnTo>
                  <a:lnTo>
                    <a:pt x="429" y="371"/>
                  </a:lnTo>
                  <a:lnTo>
                    <a:pt x="429" y="371"/>
                  </a:lnTo>
                  <a:lnTo>
                    <a:pt x="431" y="371"/>
                  </a:lnTo>
                  <a:lnTo>
                    <a:pt x="431" y="371"/>
                  </a:lnTo>
                  <a:lnTo>
                    <a:pt x="431" y="373"/>
                  </a:lnTo>
                  <a:lnTo>
                    <a:pt x="431" y="373"/>
                  </a:lnTo>
                  <a:lnTo>
                    <a:pt x="432" y="375"/>
                  </a:lnTo>
                  <a:lnTo>
                    <a:pt x="434" y="375"/>
                  </a:lnTo>
                  <a:lnTo>
                    <a:pt x="436" y="373"/>
                  </a:lnTo>
                  <a:lnTo>
                    <a:pt x="438" y="373"/>
                  </a:lnTo>
                  <a:lnTo>
                    <a:pt x="436" y="375"/>
                  </a:lnTo>
                  <a:lnTo>
                    <a:pt x="434" y="377"/>
                  </a:lnTo>
                  <a:lnTo>
                    <a:pt x="432" y="379"/>
                  </a:lnTo>
                  <a:lnTo>
                    <a:pt x="434" y="383"/>
                  </a:lnTo>
                  <a:lnTo>
                    <a:pt x="434" y="383"/>
                  </a:lnTo>
                  <a:lnTo>
                    <a:pt x="432" y="387"/>
                  </a:lnTo>
                  <a:lnTo>
                    <a:pt x="432" y="388"/>
                  </a:lnTo>
                  <a:lnTo>
                    <a:pt x="436" y="387"/>
                  </a:lnTo>
                  <a:lnTo>
                    <a:pt x="436" y="385"/>
                  </a:lnTo>
                  <a:lnTo>
                    <a:pt x="438" y="385"/>
                  </a:lnTo>
                  <a:lnTo>
                    <a:pt x="438" y="385"/>
                  </a:lnTo>
                  <a:lnTo>
                    <a:pt x="438" y="387"/>
                  </a:lnTo>
                  <a:lnTo>
                    <a:pt x="436" y="388"/>
                  </a:lnTo>
                  <a:lnTo>
                    <a:pt x="436" y="390"/>
                  </a:lnTo>
                  <a:lnTo>
                    <a:pt x="438" y="392"/>
                  </a:lnTo>
                  <a:lnTo>
                    <a:pt x="440" y="390"/>
                  </a:lnTo>
                  <a:lnTo>
                    <a:pt x="440" y="390"/>
                  </a:lnTo>
                  <a:lnTo>
                    <a:pt x="440" y="392"/>
                  </a:lnTo>
                  <a:lnTo>
                    <a:pt x="440" y="392"/>
                  </a:lnTo>
                  <a:lnTo>
                    <a:pt x="440" y="392"/>
                  </a:lnTo>
                  <a:lnTo>
                    <a:pt x="440" y="394"/>
                  </a:lnTo>
                  <a:lnTo>
                    <a:pt x="442" y="394"/>
                  </a:lnTo>
                  <a:lnTo>
                    <a:pt x="442" y="394"/>
                  </a:lnTo>
                  <a:lnTo>
                    <a:pt x="442" y="396"/>
                  </a:lnTo>
                  <a:lnTo>
                    <a:pt x="442" y="396"/>
                  </a:lnTo>
                  <a:lnTo>
                    <a:pt x="438" y="398"/>
                  </a:lnTo>
                  <a:lnTo>
                    <a:pt x="438" y="400"/>
                  </a:lnTo>
                  <a:lnTo>
                    <a:pt x="440" y="402"/>
                  </a:lnTo>
                  <a:lnTo>
                    <a:pt x="438" y="406"/>
                  </a:lnTo>
                  <a:lnTo>
                    <a:pt x="438" y="407"/>
                  </a:lnTo>
                  <a:lnTo>
                    <a:pt x="438" y="409"/>
                  </a:lnTo>
                  <a:lnTo>
                    <a:pt x="436" y="409"/>
                  </a:lnTo>
                  <a:lnTo>
                    <a:pt x="436" y="411"/>
                  </a:lnTo>
                  <a:lnTo>
                    <a:pt x="438" y="413"/>
                  </a:lnTo>
                  <a:lnTo>
                    <a:pt x="438" y="413"/>
                  </a:lnTo>
                  <a:lnTo>
                    <a:pt x="438" y="417"/>
                  </a:lnTo>
                  <a:lnTo>
                    <a:pt x="436" y="419"/>
                  </a:lnTo>
                  <a:lnTo>
                    <a:pt x="436" y="421"/>
                  </a:lnTo>
                  <a:lnTo>
                    <a:pt x="434" y="425"/>
                  </a:lnTo>
                  <a:lnTo>
                    <a:pt x="434" y="425"/>
                  </a:lnTo>
                  <a:lnTo>
                    <a:pt x="436" y="426"/>
                  </a:lnTo>
                  <a:lnTo>
                    <a:pt x="436" y="430"/>
                  </a:lnTo>
                  <a:lnTo>
                    <a:pt x="436" y="432"/>
                  </a:lnTo>
                  <a:lnTo>
                    <a:pt x="434" y="434"/>
                  </a:lnTo>
                  <a:lnTo>
                    <a:pt x="432" y="434"/>
                  </a:lnTo>
                  <a:lnTo>
                    <a:pt x="431" y="434"/>
                  </a:lnTo>
                  <a:lnTo>
                    <a:pt x="431" y="434"/>
                  </a:lnTo>
                  <a:lnTo>
                    <a:pt x="431" y="434"/>
                  </a:lnTo>
                  <a:lnTo>
                    <a:pt x="431" y="434"/>
                  </a:lnTo>
                  <a:lnTo>
                    <a:pt x="429" y="436"/>
                  </a:lnTo>
                  <a:lnTo>
                    <a:pt x="429" y="436"/>
                  </a:lnTo>
                  <a:lnTo>
                    <a:pt x="427" y="436"/>
                  </a:lnTo>
                  <a:lnTo>
                    <a:pt x="427" y="438"/>
                  </a:lnTo>
                  <a:lnTo>
                    <a:pt x="427" y="440"/>
                  </a:lnTo>
                  <a:lnTo>
                    <a:pt x="425" y="442"/>
                  </a:lnTo>
                  <a:lnTo>
                    <a:pt x="425" y="444"/>
                  </a:lnTo>
                  <a:lnTo>
                    <a:pt x="423" y="445"/>
                  </a:lnTo>
                  <a:lnTo>
                    <a:pt x="423" y="447"/>
                  </a:lnTo>
                  <a:lnTo>
                    <a:pt x="423" y="449"/>
                  </a:lnTo>
                  <a:lnTo>
                    <a:pt x="425" y="449"/>
                  </a:lnTo>
                  <a:lnTo>
                    <a:pt x="425" y="449"/>
                  </a:lnTo>
                  <a:lnTo>
                    <a:pt x="425" y="449"/>
                  </a:lnTo>
                  <a:lnTo>
                    <a:pt x="425" y="449"/>
                  </a:lnTo>
                  <a:lnTo>
                    <a:pt x="425" y="451"/>
                  </a:lnTo>
                  <a:lnTo>
                    <a:pt x="423" y="453"/>
                  </a:lnTo>
                  <a:lnTo>
                    <a:pt x="423" y="453"/>
                  </a:lnTo>
                  <a:lnTo>
                    <a:pt x="423" y="457"/>
                  </a:lnTo>
                  <a:lnTo>
                    <a:pt x="421" y="463"/>
                  </a:lnTo>
                  <a:lnTo>
                    <a:pt x="421" y="463"/>
                  </a:lnTo>
                  <a:lnTo>
                    <a:pt x="421" y="463"/>
                  </a:lnTo>
                  <a:lnTo>
                    <a:pt x="423" y="463"/>
                  </a:lnTo>
                  <a:lnTo>
                    <a:pt x="425" y="463"/>
                  </a:lnTo>
                  <a:lnTo>
                    <a:pt x="425" y="461"/>
                  </a:lnTo>
                  <a:lnTo>
                    <a:pt x="427" y="461"/>
                  </a:lnTo>
                  <a:lnTo>
                    <a:pt x="427" y="461"/>
                  </a:lnTo>
                  <a:lnTo>
                    <a:pt x="427" y="461"/>
                  </a:lnTo>
                  <a:lnTo>
                    <a:pt x="431" y="461"/>
                  </a:lnTo>
                  <a:lnTo>
                    <a:pt x="431" y="461"/>
                  </a:lnTo>
                  <a:lnTo>
                    <a:pt x="431" y="461"/>
                  </a:lnTo>
                  <a:lnTo>
                    <a:pt x="431" y="461"/>
                  </a:lnTo>
                  <a:lnTo>
                    <a:pt x="432" y="461"/>
                  </a:lnTo>
                  <a:lnTo>
                    <a:pt x="434" y="461"/>
                  </a:lnTo>
                  <a:lnTo>
                    <a:pt x="436" y="461"/>
                  </a:lnTo>
                  <a:lnTo>
                    <a:pt x="438" y="461"/>
                  </a:lnTo>
                  <a:lnTo>
                    <a:pt x="442" y="459"/>
                  </a:lnTo>
                  <a:lnTo>
                    <a:pt x="442" y="457"/>
                  </a:lnTo>
                  <a:lnTo>
                    <a:pt x="442" y="453"/>
                  </a:lnTo>
                  <a:lnTo>
                    <a:pt x="442" y="453"/>
                  </a:lnTo>
                  <a:lnTo>
                    <a:pt x="442" y="451"/>
                  </a:lnTo>
                  <a:lnTo>
                    <a:pt x="442" y="451"/>
                  </a:lnTo>
                  <a:lnTo>
                    <a:pt x="440" y="451"/>
                  </a:lnTo>
                  <a:lnTo>
                    <a:pt x="438" y="449"/>
                  </a:lnTo>
                  <a:lnTo>
                    <a:pt x="438" y="449"/>
                  </a:lnTo>
                  <a:lnTo>
                    <a:pt x="438" y="447"/>
                  </a:lnTo>
                  <a:lnTo>
                    <a:pt x="438" y="447"/>
                  </a:lnTo>
                  <a:lnTo>
                    <a:pt x="438" y="447"/>
                  </a:lnTo>
                  <a:lnTo>
                    <a:pt x="438" y="447"/>
                  </a:lnTo>
                  <a:lnTo>
                    <a:pt x="438" y="445"/>
                  </a:lnTo>
                  <a:lnTo>
                    <a:pt x="438" y="445"/>
                  </a:lnTo>
                  <a:lnTo>
                    <a:pt x="438" y="445"/>
                  </a:lnTo>
                  <a:lnTo>
                    <a:pt x="440" y="445"/>
                  </a:lnTo>
                  <a:lnTo>
                    <a:pt x="440" y="445"/>
                  </a:lnTo>
                  <a:lnTo>
                    <a:pt x="442" y="445"/>
                  </a:lnTo>
                  <a:lnTo>
                    <a:pt x="442" y="445"/>
                  </a:lnTo>
                  <a:lnTo>
                    <a:pt x="442" y="445"/>
                  </a:lnTo>
                  <a:lnTo>
                    <a:pt x="444" y="442"/>
                  </a:lnTo>
                  <a:lnTo>
                    <a:pt x="444" y="442"/>
                  </a:lnTo>
                  <a:lnTo>
                    <a:pt x="444" y="442"/>
                  </a:lnTo>
                  <a:lnTo>
                    <a:pt x="446" y="442"/>
                  </a:lnTo>
                  <a:lnTo>
                    <a:pt x="446" y="442"/>
                  </a:lnTo>
                  <a:lnTo>
                    <a:pt x="448" y="442"/>
                  </a:lnTo>
                  <a:lnTo>
                    <a:pt x="448" y="442"/>
                  </a:lnTo>
                  <a:lnTo>
                    <a:pt x="450" y="440"/>
                  </a:lnTo>
                  <a:lnTo>
                    <a:pt x="452" y="438"/>
                  </a:lnTo>
                  <a:lnTo>
                    <a:pt x="453" y="438"/>
                  </a:lnTo>
                  <a:lnTo>
                    <a:pt x="453" y="438"/>
                  </a:lnTo>
                  <a:lnTo>
                    <a:pt x="453" y="438"/>
                  </a:lnTo>
                  <a:lnTo>
                    <a:pt x="455" y="438"/>
                  </a:lnTo>
                  <a:lnTo>
                    <a:pt x="455" y="440"/>
                  </a:lnTo>
                  <a:lnTo>
                    <a:pt x="453" y="440"/>
                  </a:lnTo>
                  <a:lnTo>
                    <a:pt x="453" y="442"/>
                  </a:lnTo>
                  <a:lnTo>
                    <a:pt x="455" y="442"/>
                  </a:lnTo>
                  <a:lnTo>
                    <a:pt x="455" y="442"/>
                  </a:lnTo>
                  <a:lnTo>
                    <a:pt x="455" y="442"/>
                  </a:lnTo>
                  <a:lnTo>
                    <a:pt x="457" y="442"/>
                  </a:lnTo>
                  <a:lnTo>
                    <a:pt x="457" y="442"/>
                  </a:lnTo>
                  <a:lnTo>
                    <a:pt x="459" y="442"/>
                  </a:lnTo>
                  <a:lnTo>
                    <a:pt x="459" y="444"/>
                  </a:lnTo>
                  <a:lnTo>
                    <a:pt x="459" y="444"/>
                  </a:lnTo>
                  <a:lnTo>
                    <a:pt x="459" y="444"/>
                  </a:lnTo>
                  <a:lnTo>
                    <a:pt x="459" y="445"/>
                  </a:lnTo>
                  <a:lnTo>
                    <a:pt x="457" y="445"/>
                  </a:lnTo>
                  <a:lnTo>
                    <a:pt x="452" y="449"/>
                  </a:lnTo>
                  <a:lnTo>
                    <a:pt x="452" y="449"/>
                  </a:lnTo>
                  <a:lnTo>
                    <a:pt x="452" y="449"/>
                  </a:lnTo>
                  <a:lnTo>
                    <a:pt x="452" y="449"/>
                  </a:lnTo>
                  <a:lnTo>
                    <a:pt x="452" y="451"/>
                  </a:lnTo>
                  <a:lnTo>
                    <a:pt x="452" y="451"/>
                  </a:lnTo>
                  <a:lnTo>
                    <a:pt x="452" y="451"/>
                  </a:lnTo>
                  <a:lnTo>
                    <a:pt x="452" y="455"/>
                  </a:lnTo>
                  <a:lnTo>
                    <a:pt x="452" y="455"/>
                  </a:lnTo>
                  <a:lnTo>
                    <a:pt x="453" y="457"/>
                  </a:lnTo>
                  <a:lnTo>
                    <a:pt x="453" y="457"/>
                  </a:lnTo>
                  <a:lnTo>
                    <a:pt x="455" y="457"/>
                  </a:lnTo>
                  <a:lnTo>
                    <a:pt x="457" y="457"/>
                  </a:lnTo>
                  <a:lnTo>
                    <a:pt x="457" y="457"/>
                  </a:lnTo>
                  <a:lnTo>
                    <a:pt x="457" y="455"/>
                  </a:lnTo>
                  <a:lnTo>
                    <a:pt x="457" y="455"/>
                  </a:lnTo>
                  <a:lnTo>
                    <a:pt x="457" y="453"/>
                  </a:lnTo>
                  <a:lnTo>
                    <a:pt x="457" y="453"/>
                  </a:lnTo>
                  <a:lnTo>
                    <a:pt x="457" y="453"/>
                  </a:lnTo>
                  <a:lnTo>
                    <a:pt x="459" y="453"/>
                  </a:lnTo>
                  <a:lnTo>
                    <a:pt x="461" y="453"/>
                  </a:lnTo>
                  <a:lnTo>
                    <a:pt x="463" y="453"/>
                  </a:lnTo>
                  <a:lnTo>
                    <a:pt x="463" y="455"/>
                  </a:lnTo>
                  <a:lnTo>
                    <a:pt x="463" y="459"/>
                  </a:lnTo>
                  <a:lnTo>
                    <a:pt x="465" y="459"/>
                  </a:lnTo>
                  <a:lnTo>
                    <a:pt x="467" y="459"/>
                  </a:lnTo>
                  <a:lnTo>
                    <a:pt x="467" y="459"/>
                  </a:lnTo>
                  <a:lnTo>
                    <a:pt x="469" y="459"/>
                  </a:lnTo>
                  <a:lnTo>
                    <a:pt x="469" y="457"/>
                  </a:lnTo>
                  <a:lnTo>
                    <a:pt x="471" y="457"/>
                  </a:lnTo>
                  <a:lnTo>
                    <a:pt x="471" y="457"/>
                  </a:lnTo>
                  <a:lnTo>
                    <a:pt x="471" y="455"/>
                  </a:lnTo>
                  <a:lnTo>
                    <a:pt x="471" y="455"/>
                  </a:lnTo>
                  <a:lnTo>
                    <a:pt x="471" y="455"/>
                  </a:lnTo>
                  <a:lnTo>
                    <a:pt x="471" y="453"/>
                  </a:lnTo>
                  <a:lnTo>
                    <a:pt x="471" y="453"/>
                  </a:lnTo>
                  <a:lnTo>
                    <a:pt x="472" y="451"/>
                  </a:lnTo>
                  <a:lnTo>
                    <a:pt x="472" y="451"/>
                  </a:lnTo>
                  <a:lnTo>
                    <a:pt x="478" y="453"/>
                  </a:lnTo>
                  <a:lnTo>
                    <a:pt x="480" y="453"/>
                  </a:lnTo>
                  <a:lnTo>
                    <a:pt x="482" y="453"/>
                  </a:lnTo>
                  <a:lnTo>
                    <a:pt x="482" y="453"/>
                  </a:lnTo>
                  <a:lnTo>
                    <a:pt x="482" y="453"/>
                  </a:lnTo>
                  <a:lnTo>
                    <a:pt x="484" y="451"/>
                  </a:lnTo>
                  <a:lnTo>
                    <a:pt x="482" y="449"/>
                  </a:lnTo>
                  <a:lnTo>
                    <a:pt x="482" y="449"/>
                  </a:lnTo>
                  <a:lnTo>
                    <a:pt x="482" y="447"/>
                  </a:lnTo>
                  <a:lnTo>
                    <a:pt x="484" y="447"/>
                  </a:lnTo>
                  <a:lnTo>
                    <a:pt x="484" y="445"/>
                  </a:lnTo>
                  <a:lnTo>
                    <a:pt x="484" y="444"/>
                  </a:lnTo>
                  <a:lnTo>
                    <a:pt x="484" y="440"/>
                  </a:lnTo>
                  <a:lnTo>
                    <a:pt x="484" y="438"/>
                  </a:lnTo>
                  <a:lnTo>
                    <a:pt x="484" y="438"/>
                  </a:lnTo>
                  <a:lnTo>
                    <a:pt x="484" y="436"/>
                  </a:lnTo>
                  <a:lnTo>
                    <a:pt x="482" y="436"/>
                  </a:lnTo>
                  <a:lnTo>
                    <a:pt x="482" y="436"/>
                  </a:lnTo>
                  <a:lnTo>
                    <a:pt x="482" y="436"/>
                  </a:lnTo>
                  <a:lnTo>
                    <a:pt x="482" y="434"/>
                  </a:lnTo>
                  <a:lnTo>
                    <a:pt x="480" y="434"/>
                  </a:lnTo>
                  <a:lnTo>
                    <a:pt x="482" y="432"/>
                  </a:lnTo>
                  <a:lnTo>
                    <a:pt x="484" y="430"/>
                  </a:lnTo>
                  <a:lnTo>
                    <a:pt x="488" y="423"/>
                  </a:lnTo>
                  <a:lnTo>
                    <a:pt x="490" y="419"/>
                  </a:lnTo>
                  <a:lnTo>
                    <a:pt x="490" y="417"/>
                  </a:lnTo>
                  <a:lnTo>
                    <a:pt x="490" y="415"/>
                  </a:lnTo>
                  <a:lnTo>
                    <a:pt x="490" y="413"/>
                  </a:lnTo>
                  <a:lnTo>
                    <a:pt x="490" y="413"/>
                  </a:lnTo>
                  <a:lnTo>
                    <a:pt x="488" y="413"/>
                  </a:lnTo>
                  <a:lnTo>
                    <a:pt x="488" y="413"/>
                  </a:lnTo>
                  <a:lnTo>
                    <a:pt x="488" y="413"/>
                  </a:lnTo>
                  <a:lnTo>
                    <a:pt x="486" y="413"/>
                  </a:lnTo>
                  <a:lnTo>
                    <a:pt x="486" y="413"/>
                  </a:lnTo>
                  <a:lnTo>
                    <a:pt x="486" y="411"/>
                  </a:lnTo>
                  <a:lnTo>
                    <a:pt x="486" y="411"/>
                  </a:lnTo>
                  <a:lnTo>
                    <a:pt x="486" y="409"/>
                  </a:lnTo>
                  <a:lnTo>
                    <a:pt x="486" y="409"/>
                  </a:lnTo>
                  <a:lnTo>
                    <a:pt x="484" y="407"/>
                  </a:lnTo>
                  <a:lnTo>
                    <a:pt x="484" y="407"/>
                  </a:lnTo>
                  <a:lnTo>
                    <a:pt x="484" y="407"/>
                  </a:lnTo>
                  <a:lnTo>
                    <a:pt x="482" y="407"/>
                  </a:lnTo>
                  <a:lnTo>
                    <a:pt x="482" y="407"/>
                  </a:lnTo>
                  <a:lnTo>
                    <a:pt x="482" y="407"/>
                  </a:lnTo>
                  <a:lnTo>
                    <a:pt x="482" y="407"/>
                  </a:lnTo>
                  <a:lnTo>
                    <a:pt x="482" y="406"/>
                  </a:lnTo>
                  <a:lnTo>
                    <a:pt x="482" y="406"/>
                  </a:lnTo>
                  <a:lnTo>
                    <a:pt x="486" y="406"/>
                  </a:lnTo>
                  <a:lnTo>
                    <a:pt x="486" y="404"/>
                  </a:lnTo>
                  <a:lnTo>
                    <a:pt x="488" y="400"/>
                  </a:lnTo>
                  <a:lnTo>
                    <a:pt x="488" y="400"/>
                  </a:lnTo>
                  <a:lnTo>
                    <a:pt x="488" y="400"/>
                  </a:lnTo>
                  <a:lnTo>
                    <a:pt x="490" y="400"/>
                  </a:lnTo>
                  <a:lnTo>
                    <a:pt x="490" y="400"/>
                  </a:lnTo>
                  <a:lnTo>
                    <a:pt x="490" y="400"/>
                  </a:lnTo>
                  <a:lnTo>
                    <a:pt x="490" y="402"/>
                  </a:lnTo>
                  <a:lnTo>
                    <a:pt x="492" y="404"/>
                  </a:lnTo>
                  <a:lnTo>
                    <a:pt x="492" y="404"/>
                  </a:lnTo>
                  <a:lnTo>
                    <a:pt x="493" y="406"/>
                  </a:lnTo>
                  <a:lnTo>
                    <a:pt x="493" y="406"/>
                  </a:lnTo>
                  <a:lnTo>
                    <a:pt x="493" y="406"/>
                  </a:lnTo>
                  <a:lnTo>
                    <a:pt x="497" y="407"/>
                  </a:lnTo>
                  <a:lnTo>
                    <a:pt x="501" y="409"/>
                  </a:lnTo>
                  <a:lnTo>
                    <a:pt x="501" y="409"/>
                  </a:lnTo>
                  <a:lnTo>
                    <a:pt x="503" y="411"/>
                  </a:lnTo>
                  <a:lnTo>
                    <a:pt x="505" y="415"/>
                  </a:lnTo>
                  <a:lnTo>
                    <a:pt x="505" y="415"/>
                  </a:lnTo>
                  <a:lnTo>
                    <a:pt x="507" y="415"/>
                  </a:lnTo>
                  <a:lnTo>
                    <a:pt x="507" y="415"/>
                  </a:lnTo>
                  <a:lnTo>
                    <a:pt x="513" y="415"/>
                  </a:lnTo>
                  <a:lnTo>
                    <a:pt x="513" y="415"/>
                  </a:lnTo>
                  <a:lnTo>
                    <a:pt x="516" y="413"/>
                  </a:lnTo>
                  <a:lnTo>
                    <a:pt x="518" y="413"/>
                  </a:lnTo>
                  <a:lnTo>
                    <a:pt x="520" y="411"/>
                  </a:lnTo>
                  <a:lnTo>
                    <a:pt x="520" y="411"/>
                  </a:lnTo>
                  <a:lnTo>
                    <a:pt x="522" y="409"/>
                  </a:lnTo>
                  <a:lnTo>
                    <a:pt x="522" y="409"/>
                  </a:lnTo>
                  <a:lnTo>
                    <a:pt x="522" y="407"/>
                  </a:lnTo>
                  <a:lnTo>
                    <a:pt x="522" y="407"/>
                  </a:lnTo>
                  <a:lnTo>
                    <a:pt x="522" y="406"/>
                  </a:lnTo>
                  <a:lnTo>
                    <a:pt x="522" y="404"/>
                  </a:lnTo>
                  <a:lnTo>
                    <a:pt x="526" y="402"/>
                  </a:lnTo>
                  <a:lnTo>
                    <a:pt x="530" y="398"/>
                  </a:lnTo>
                  <a:lnTo>
                    <a:pt x="530" y="396"/>
                  </a:lnTo>
                  <a:lnTo>
                    <a:pt x="532" y="396"/>
                  </a:lnTo>
                  <a:lnTo>
                    <a:pt x="532" y="394"/>
                  </a:lnTo>
                  <a:lnTo>
                    <a:pt x="532" y="392"/>
                  </a:lnTo>
                  <a:lnTo>
                    <a:pt x="532" y="390"/>
                  </a:lnTo>
                  <a:lnTo>
                    <a:pt x="532" y="383"/>
                  </a:lnTo>
                  <a:lnTo>
                    <a:pt x="530" y="381"/>
                  </a:lnTo>
                  <a:lnTo>
                    <a:pt x="530" y="379"/>
                  </a:lnTo>
                  <a:lnTo>
                    <a:pt x="528" y="375"/>
                  </a:lnTo>
                  <a:lnTo>
                    <a:pt x="528" y="375"/>
                  </a:lnTo>
                  <a:lnTo>
                    <a:pt x="528" y="373"/>
                  </a:lnTo>
                  <a:lnTo>
                    <a:pt x="526" y="373"/>
                  </a:lnTo>
                  <a:lnTo>
                    <a:pt x="524" y="371"/>
                  </a:lnTo>
                  <a:lnTo>
                    <a:pt x="522" y="369"/>
                  </a:lnTo>
                  <a:lnTo>
                    <a:pt x="522" y="367"/>
                  </a:lnTo>
                  <a:lnTo>
                    <a:pt x="520" y="366"/>
                  </a:lnTo>
                  <a:lnTo>
                    <a:pt x="518" y="366"/>
                  </a:lnTo>
                  <a:lnTo>
                    <a:pt x="516" y="366"/>
                  </a:lnTo>
                  <a:lnTo>
                    <a:pt x="514" y="364"/>
                  </a:lnTo>
                  <a:lnTo>
                    <a:pt x="514" y="362"/>
                  </a:lnTo>
                  <a:lnTo>
                    <a:pt x="514" y="362"/>
                  </a:lnTo>
                  <a:lnTo>
                    <a:pt x="513" y="360"/>
                  </a:lnTo>
                  <a:lnTo>
                    <a:pt x="513" y="360"/>
                  </a:lnTo>
                  <a:lnTo>
                    <a:pt x="511" y="360"/>
                  </a:lnTo>
                  <a:lnTo>
                    <a:pt x="511" y="360"/>
                  </a:lnTo>
                  <a:lnTo>
                    <a:pt x="509" y="360"/>
                  </a:lnTo>
                  <a:lnTo>
                    <a:pt x="509" y="360"/>
                  </a:lnTo>
                  <a:lnTo>
                    <a:pt x="507" y="360"/>
                  </a:lnTo>
                  <a:lnTo>
                    <a:pt x="503" y="358"/>
                  </a:lnTo>
                  <a:lnTo>
                    <a:pt x="499" y="354"/>
                  </a:lnTo>
                  <a:lnTo>
                    <a:pt x="499" y="354"/>
                  </a:lnTo>
                  <a:lnTo>
                    <a:pt x="499" y="354"/>
                  </a:lnTo>
                  <a:lnTo>
                    <a:pt x="499" y="352"/>
                  </a:lnTo>
                  <a:lnTo>
                    <a:pt x="499" y="352"/>
                  </a:lnTo>
                  <a:lnTo>
                    <a:pt x="499" y="352"/>
                  </a:lnTo>
                  <a:lnTo>
                    <a:pt x="501" y="352"/>
                  </a:lnTo>
                  <a:lnTo>
                    <a:pt x="507" y="356"/>
                  </a:lnTo>
                  <a:lnTo>
                    <a:pt x="507" y="356"/>
                  </a:lnTo>
                  <a:lnTo>
                    <a:pt x="507" y="356"/>
                  </a:lnTo>
                  <a:lnTo>
                    <a:pt x="509" y="356"/>
                  </a:lnTo>
                  <a:lnTo>
                    <a:pt x="509" y="354"/>
                  </a:lnTo>
                  <a:lnTo>
                    <a:pt x="509" y="356"/>
                  </a:lnTo>
                  <a:lnTo>
                    <a:pt x="511" y="356"/>
                  </a:lnTo>
                  <a:lnTo>
                    <a:pt x="511" y="356"/>
                  </a:lnTo>
                  <a:lnTo>
                    <a:pt x="513" y="356"/>
                  </a:lnTo>
                  <a:lnTo>
                    <a:pt x="513" y="356"/>
                  </a:lnTo>
                  <a:lnTo>
                    <a:pt x="513" y="356"/>
                  </a:lnTo>
                  <a:lnTo>
                    <a:pt x="514" y="354"/>
                  </a:lnTo>
                  <a:lnTo>
                    <a:pt x="514" y="354"/>
                  </a:lnTo>
                  <a:lnTo>
                    <a:pt x="514" y="354"/>
                  </a:lnTo>
                  <a:lnTo>
                    <a:pt x="516" y="352"/>
                  </a:lnTo>
                  <a:lnTo>
                    <a:pt x="518" y="352"/>
                  </a:lnTo>
                  <a:lnTo>
                    <a:pt x="518" y="352"/>
                  </a:lnTo>
                  <a:lnTo>
                    <a:pt x="520" y="350"/>
                  </a:lnTo>
                  <a:lnTo>
                    <a:pt x="520" y="347"/>
                  </a:lnTo>
                  <a:lnTo>
                    <a:pt x="522" y="345"/>
                  </a:lnTo>
                  <a:lnTo>
                    <a:pt x="522" y="345"/>
                  </a:lnTo>
                  <a:lnTo>
                    <a:pt x="522" y="345"/>
                  </a:lnTo>
                  <a:lnTo>
                    <a:pt x="524" y="345"/>
                  </a:lnTo>
                  <a:lnTo>
                    <a:pt x="526" y="347"/>
                  </a:lnTo>
                  <a:lnTo>
                    <a:pt x="526" y="347"/>
                  </a:lnTo>
                  <a:lnTo>
                    <a:pt x="532" y="345"/>
                  </a:lnTo>
                  <a:lnTo>
                    <a:pt x="532" y="343"/>
                  </a:lnTo>
                  <a:lnTo>
                    <a:pt x="533" y="341"/>
                  </a:lnTo>
                  <a:lnTo>
                    <a:pt x="535" y="335"/>
                  </a:lnTo>
                  <a:lnTo>
                    <a:pt x="535" y="333"/>
                  </a:lnTo>
                  <a:lnTo>
                    <a:pt x="537" y="331"/>
                  </a:lnTo>
                  <a:lnTo>
                    <a:pt x="539" y="331"/>
                  </a:lnTo>
                  <a:lnTo>
                    <a:pt x="541" y="329"/>
                  </a:lnTo>
                  <a:lnTo>
                    <a:pt x="543" y="328"/>
                  </a:lnTo>
                  <a:lnTo>
                    <a:pt x="543" y="326"/>
                  </a:lnTo>
                  <a:lnTo>
                    <a:pt x="545" y="326"/>
                  </a:lnTo>
                  <a:lnTo>
                    <a:pt x="545" y="326"/>
                  </a:lnTo>
                  <a:lnTo>
                    <a:pt x="549" y="328"/>
                  </a:lnTo>
                  <a:lnTo>
                    <a:pt x="549" y="328"/>
                  </a:lnTo>
                  <a:lnTo>
                    <a:pt x="551" y="328"/>
                  </a:lnTo>
                  <a:lnTo>
                    <a:pt x="562" y="324"/>
                  </a:lnTo>
                  <a:lnTo>
                    <a:pt x="564" y="324"/>
                  </a:lnTo>
                  <a:lnTo>
                    <a:pt x="566" y="322"/>
                  </a:lnTo>
                  <a:lnTo>
                    <a:pt x="568" y="322"/>
                  </a:lnTo>
                  <a:lnTo>
                    <a:pt x="568" y="320"/>
                  </a:lnTo>
                  <a:lnTo>
                    <a:pt x="568" y="320"/>
                  </a:lnTo>
                  <a:lnTo>
                    <a:pt x="568" y="320"/>
                  </a:lnTo>
                  <a:lnTo>
                    <a:pt x="568" y="318"/>
                  </a:lnTo>
                  <a:lnTo>
                    <a:pt x="568" y="318"/>
                  </a:lnTo>
                  <a:lnTo>
                    <a:pt x="566" y="316"/>
                  </a:lnTo>
                  <a:lnTo>
                    <a:pt x="566" y="316"/>
                  </a:lnTo>
                  <a:lnTo>
                    <a:pt x="566" y="316"/>
                  </a:lnTo>
                  <a:lnTo>
                    <a:pt x="566" y="316"/>
                  </a:lnTo>
                  <a:lnTo>
                    <a:pt x="566" y="316"/>
                  </a:lnTo>
                  <a:lnTo>
                    <a:pt x="564" y="316"/>
                  </a:lnTo>
                  <a:lnTo>
                    <a:pt x="562" y="316"/>
                  </a:lnTo>
                  <a:lnTo>
                    <a:pt x="562" y="318"/>
                  </a:lnTo>
                  <a:lnTo>
                    <a:pt x="562" y="318"/>
                  </a:lnTo>
                  <a:lnTo>
                    <a:pt x="558" y="318"/>
                  </a:lnTo>
                  <a:lnTo>
                    <a:pt x="556" y="318"/>
                  </a:lnTo>
                  <a:lnTo>
                    <a:pt x="556" y="318"/>
                  </a:lnTo>
                  <a:lnTo>
                    <a:pt x="556" y="316"/>
                  </a:lnTo>
                  <a:lnTo>
                    <a:pt x="554" y="316"/>
                  </a:lnTo>
                  <a:lnTo>
                    <a:pt x="554" y="316"/>
                  </a:lnTo>
                  <a:lnTo>
                    <a:pt x="553" y="316"/>
                  </a:lnTo>
                  <a:lnTo>
                    <a:pt x="553" y="316"/>
                  </a:lnTo>
                  <a:lnTo>
                    <a:pt x="553" y="316"/>
                  </a:lnTo>
                  <a:lnTo>
                    <a:pt x="553" y="316"/>
                  </a:lnTo>
                  <a:lnTo>
                    <a:pt x="551" y="316"/>
                  </a:lnTo>
                  <a:lnTo>
                    <a:pt x="551" y="318"/>
                  </a:lnTo>
                  <a:lnTo>
                    <a:pt x="551" y="318"/>
                  </a:lnTo>
                  <a:lnTo>
                    <a:pt x="543" y="316"/>
                  </a:lnTo>
                  <a:lnTo>
                    <a:pt x="541" y="316"/>
                  </a:lnTo>
                  <a:lnTo>
                    <a:pt x="539" y="318"/>
                  </a:lnTo>
                  <a:lnTo>
                    <a:pt x="535" y="318"/>
                  </a:lnTo>
                  <a:lnTo>
                    <a:pt x="533" y="320"/>
                  </a:lnTo>
                  <a:lnTo>
                    <a:pt x="526" y="320"/>
                  </a:lnTo>
                  <a:lnTo>
                    <a:pt x="524" y="322"/>
                  </a:lnTo>
                  <a:lnTo>
                    <a:pt x="524" y="322"/>
                  </a:lnTo>
                  <a:lnTo>
                    <a:pt x="522" y="322"/>
                  </a:lnTo>
                  <a:lnTo>
                    <a:pt x="522" y="322"/>
                  </a:lnTo>
                  <a:lnTo>
                    <a:pt x="522" y="318"/>
                  </a:lnTo>
                  <a:lnTo>
                    <a:pt x="520" y="318"/>
                  </a:lnTo>
                  <a:lnTo>
                    <a:pt x="518" y="314"/>
                  </a:lnTo>
                  <a:lnTo>
                    <a:pt x="518" y="312"/>
                  </a:lnTo>
                  <a:lnTo>
                    <a:pt x="516" y="312"/>
                  </a:lnTo>
                  <a:lnTo>
                    <a:pt x="516" y="310"/>
                  </a:lnTo>
                  <a:lnTo>
                    <a:pt x="518" y="310"/>
                  </a:lnTo>
                  <a:lnTo>
                    <a:pt x="520" y="310"/>
                  </a:lnTo>
                  <a:lnTo>
                    <a:pt x="522" y="309"/>
                  </a:lnTo>
                  <a:lnTo>
                    <a:pt x="524" y="309"/>
                  </a:lnTo>
                  <a:lnTo>
                    <a:pt x="526" y="305"/>
                  </a:lnTo>
                  <a:lnTo>
                    <a:pt x="524" y="303"/>
                  </a:lnTo>
                  <a:lnTo>
                    <a:pt x="524" y="303"/>
                  </a:lnTo>
                  <a:lnTo>
                    <a:pt x="522" y="301"/>
                  </a:lnTo>
                  <a:lnTo>
                    <a:pt x="522" y="301"/>
                  </a:lnTo>
                  <a:lnTo>
                    <a:pt x="522" y="299"/>
                  </a:lnTo>
                  <a:lnTo>
                    <a:pt x="522" y="297"/>
                  </a:lnTo>
                  <a:lnTo>
                    <a:pt x="522" y="297"/>
                  </a:lnTo>
                  <a:lnTo>
                    <a:pt x="522" y="293"/>
                  </a:lnTo>
                  <a:lnTo>
                    <a:pt x="522" y="293"/>
                  </a:lnTo>
                  <a:lnTo>
                    <a:pt x="522" y="291"/>
                  </a:lnTo>
                  <a:lnTo>
                    <a:pt x="522" y="290"/>
                  </a:lnTo>
                  <a:lnTo>
                    <a:pt x="524" y="290"/>
                  </a:lnTo>
                  <a:lnTo>
                    <a:pt x="524" y="290"/>
                  </a:lnTo>
                  <a:lnTo>
                    <a:pt x="528" y="288"/>
                  </a:lnTo>
                  <a:lnTo>
                    <a:pt x="532" y="286"/>
                  </a:lnTo>
                  <a:lnTo>
                    <a:pt x="532" y="286"/>
                  </a:lnTo>
                  <a:lnTo>
                    <a:pt x="535" y="286"/>
                  </a:lnTo>
                  <a:lnTo>
                    <a:pt x="537" y="284"/>
                  </a:lnTo>
                  <a:lnTo>
                    <a:pt x="537" y="284"/>
                  </a:lnTo>
                  <a:lnTo>
                    <a:pt x="545" y="278"/>
                  </a:lnTo>
                  <a:lnTo>
                    <a:pt x="553" y="278"/>
                  </a:lnTo>
                  <a:lnTo>
                    <a:pt x="553" y="270"/>
                  </a:lnTo>
                  <a:lnTo>
                    <a:pt x="553" y="267"/>
                  </a:lnTo>
                  <a:lnTo>
                    <a:pt x="553" y="267"/>
                  </a:lnTo>
                  <a:lnTo>
                    <a:pt x="553" y="265"/>
                  </a:lnTo>
                  <a:lnTo>
                    <a:pt x="551" y="263"/>
                  </a:lnTo>
                  <a:lnTo>
                    <a:pt x="551" y="263"/>
                  </a:lnTo>
                  <a:lnTo>
                    <a:pt x="551" y="261"/>
                  </a:lnTo>
                  <a:lnTo>
                    <a:pt x="551" y="259"/>
                  </a:lnTo>
                  <a:lnTo>
                    <a:pt x="551" y="257"/>
                  </a:lnTo>
                  <a:lnTo>
                    <a:pt x="549" y="255"/>
                  </a:lnTo>
                  <a:lnTo>
                    <a:pt x="549" y="255"/>
                  </a:lnTo>
                  <a:lnTo>
                    <a:pt x="547" y="253"/>
                  </a:lnTo>
                  <a:lnTo>
                    <a:pt x="547" y="253"/>
                  </a:lnTo>
                  <a:lnTo>
                    <a:pt x="545" y="251"/>
                  </a:lnTo>
                  <a:lnTo>
                    <a:pt x="547" y="250"/>
                  </a:lnTo>
                  <a:lnTo>
                    <a:pt x="545" y="248"/>
                  </a:lnTo>
                  <a:lnTo>
                    <a:pt x="545" y="246"/>
                  </a:lnTo>
                  <a:lnTo>
                    <a:pt x="545" y="244"/>
                  </a:lnTo>
                  <a:lnTo>
                    <a:pt x="545" y="242"/>
                  </a:lnTo>
                  <a:lnTo>
                    <a:pt x="547" y="240"/>
                  </a:lnTo>
                  <a:lnTo>
                    <a:pt x="547" y="238"/>
                  </a:lnTo>
                  <a:lnTo>
                    <a:pt x="547" y="238"/>
                  </a:lnTo>
                  <a:lnTo>
                    <a:pt x="547" y="238"/>
                  </a:lnTo>
                  <a:lnTo>
                    <a:pt x="549" y="238"/>
                  </a:lnTo>
                  <a:lnTo>
                    <a:pt x="549" y="238"/>
                  </a:lnTo>
                  <a:lnTo>
                    <a:pt x="551" y="240"/>
                  </a:lnTo>
                  <a:lnTo>
                    <a:pt x="551" y="240"/>
                  </a:lnTo>
                  <a:lnTo>
                    <a:pt x="553" y="240"/>
                  </a:lnTo>
                  <a:lnTo>
                    <a:pt x="553" y="242"/>
                  </a:lnTo>
                  <a:lnTo>
                    <a:pt x="554" y="242"/>
                  </a:lnTo>
                  <a:lnTo>
                    <a:pt x="556" y="240"/>
                  </a:lnTo>
                  <a:lnTo>
                    <a:pt x="558" y="240"/>
                  </a:lnTo>
                  <a:lnTo>
                    <a:pt x="560" y="240"/>
                  </a:lnTo>
                  <a:lnTo>
                    <a:pt x="560" y="238"/>
                  </a:lnTo>
                  <a:lnTo>
                    <a:pt x="562" y="238"/>
                  </a:lnTo>
                  <a:lnTo>
                    <a:pt x="562" y="236"/>
                  </a:lnTo>
                  <a:lnTo>
                    <a:pt x="562" y="236"/>
                  </a:lnTo>
                  <a:lnTo>
                    <a:pt x="562" y="234"/>
                  </a:lnTo>
                  <a:lnTo>
                    <a:pt x="562" y="234"/>
                  </a:lnTo>
                  <a:lnTo>
                    <a:pt x="562" y="232"/>
                  </a:lnTo>
                  <a:lnTo>
                    <a:pt x="560" y="232"/>
                  </a:lnTo>
                  <a:lnTo>
                    <a:pt x="558" y="232"/>
                  </a:lnTo>
                  <a:lnTo>
                    <a:pt x="554" y="232"/>
                  </a:lnTo>
                  <a:lnTo>
                    <a:pt x="551" y="232"/>
                  </a:lnTo>
                  <a:lnTo>
                    <a:pt x="551" y="232"/>
                  </a:lnTo>
                  <a:lnTo>
                    <a:pt x="549" y="232"/>
                  </a:lnTo>
                  <a:lnTo>
                    <a:pt x="547" y="231"/>
                  </a:lnTo>
                  <a:lnTo>
                    <a:pt x="543" y="227"/>
                  </a:lnTo>
                  <a:lnTo>
                    <a:pt x="543" y="225"/>
                  </a:lnTo>
                  <a:lnTo>
                    <a:pt x="543" y="225"/>
                  </a:lnTo>
                  <a:lnTo>
                    <a:pt x="543" y="223"/>
                  </a:lnTo>
                  <a:lnTo>
                    <a:pt x="543" y="221"/>
                  </a:lnTo>
                  <a:lnTo>
                    <a:pt x="545" y="221"/>
                  </a:lnTo>
                  <a:lnTo>
                    <a:pt x="545" y="221"/>
                  </a:lnTo>
                  <a:lnTo>
                    <a:pt x="545" y="221"/>
                  </a:lnTo>
                  <a:lnTo>
                    <a:pt x="551" y="223"/>
                  </a:lnTo>
                  <a:lnTo>
                    <a:pt x="553" y="223"/>
                  </a:lnTo>
                  <a:lnTo>
                    <a:pt x="553" y="223"/>
                  </a:lnTo>
                  <a:lnTo>
                    <a:pt x="554" y="223"/>
                  </a:lnTo>
                  <a:lnTo>
                    <a:pt x="554" y="221"/>
                  </a:lnTo>
                  <a:lnTo>
                    <a:pt x="558" y="217"/>
                  </a:lnTo>
                  <a:lnTo>
                    <a:pt x="566" y="212"/>
                  </a:lnTo>
                  <a:lnTo>
                    <a:pt x="566" y="212"/>
                  </a:lnTo>
                  <a:lnTo>
                    <a:pt x="568" y="212"/>
                  </a:lnTo>
                  <a:lnTo>
                    <a:pt x="570" y="212"/>
                  </a:lnTo>
                  <a:lnTo>
                    <a:pt x="570" y="212"/>
                  </a:lnTo>
                  <a:lnTo>
                    <a:pt x="572" y="212"/>
                  </a:lnTo>
                  <a:lnTo>
                    <a:pt x="572" y="212"/>
                  </a:lnTo>
                  <a:lnTo>
                    <a:pt x="573" y="210"/>
                  </a:lnTo>
                  <a:lnTo>
                    <a:pt x="573" y="210"/>
                  </a:lnTo>
                  <a:lnTo>
                    <a:pt x="575" y="208"/>
                  </a:lnTo>
                  <a:lnTo>
                    <a:pt x="583" y="193"/>
                  </a:lnTo>
                  <a:lnTo>
                    <a:pt x="583" y="191"/>
                  </a:lnTo>
                  <a:lnTo>
                    <a:pt x="581" y="18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5" name="Freeform 57">
              <a:extLst>
                <a:ext uri="{FF2B5EF4-FFF2-40B4-BE49-F238E27FC236}">
                  <a16:creationId xmlns:a16="http://schemas.microsoft.com/office/drawing/2014/main" id="{DB992BE0-EC97-1EE6-FBB4-7C14E35AE670}"/>
                </a:ext>
              </a:extLst>
            </p:cNvPr>
            <p:cNvSpPr>
              <a:spLocks/>
            </p:cNvSpPr>
            <p:nvPr/>
          </p:nvSpPr>
          <p:spPr bwMode="auto">
            <a:xfrm>
              <a:off x="3778250" y="3507588"/>
              <a:ext cx="925513" cy="735013"/>
            </a:xfrm>
            <a:custGeom>
              <a:avLst/>
              <a:gdLst>
                <a:gd name="T0" fmla="*/ 553 w 583"/>
                <a:gd name="T1" fmla="*/ 158 h 463"/>
                <a:gd name="T2" fmla="*/ 513 w 583"/>
                <a:gd name="T3" fmla="*/ 132 h 463"/>
                <a:gd name="T4" fmla="*/ 493 w 583"/>
                <a:gd name="T5" fmla="*/ 103 h 463"/>
                <a:gd name="T6" fmla="*/ 484 w 583"/>
                <a:gd name="T7" fmla="*/ 71 h 463"/>
                <a:gd name="T8" fmla="*/ 457 w 583"/>
                <a:gd name="T9" fmla="*/ 44 h 463"/>
                <a:gd name="T10" fmla="*/ 457 w 583"/>
                <a:gd name="T11" fmla="*/ 29 h 463"/>
                <a:gd name="T12" fmla="*/ 444 w 583"/>
                <a:gd name="T13" fmla="*/ 35 h 463"/>
                <a:gd name="T14" fmla="*/ 400 w 583"/>
                <a:gd name="T15" fmla="*/ 29 h 463"/>
                <a:gd name="T16" fmla="*/ 381 w 583"/>
                <a:gd name="T17" fmla="*/ 16 h 463"/>
                <a:gd name="T18" fmla="*/ 349 w 583"/>
                <a:gd name="T19" fmla="*/ 6 h 463"/>
                <a:gd name="T20" fmla="*/ 305 w 583"/>
                <a:gd name="T21" fmla="*/ 4 h 463"/>
                <a:gd name="T22" fmla="*/ 261 w 583"/>
                <a:gd name="T23" fmla="*/ 25 h 463"/>
                <a:gd name="T24" fmla="*/ 221 w 583"/>
                <a:gd name="T25" fmla="*/ 37 h 463"/>
                <a:gd name="T26" fmla="*/ 93 w 583"/>
                <a:gd name="T27" fmla="*/ 48 h 463"/>
                <a:gd name="T28" fmla="*/ 21 w 583"/>
                <a:gd name="T29" fmla="*/ 77 h 463"/>
                <a:gd name="T30" fmla="*/ 6 w 583"/>
                <a:gd name="T31" fmla="*/ 84 h 463"/>
                <a:gd name="T32" fmla="*/ 2 w 583"/>
                <a:gd name="T33" fmla="*/ 111 h 463"/>
                <a:gd name="T34" fmla="*/ 49 w 583"/>
                <a:gd name="T35" fmla="*/ 90 h 463"/>
                <a:gd name="T36" fmla="*/ 30 w 583"/>
                <a:gd name="T37" fmla="*/ 111 h 463"/>
                <a:gd name="T38" fmla="*/ 28 w 583"/>
                <a:gd name="T39" fmla="*/ 132 h 463"/>
                <a:gd name="T40" fmla="*/ 38 w 583"/>
                <a:gd name="T41" fmla="*/ 141 h 463"/>
                <a:gd name="T42" fmla="*/ 122 w 583"/>
                <a:gd name="T43" fmla="*/ 194 h 463"/>
                <a:gd name="T44" fmla="*/ 183 w 583"/>
                <a:gd name="T45" fmla="*/ 175 h 463"/>
                <a:gd name="T46" fmla="*/ 204 w 583"/>
                <a:gd name="T47" fmla="*/ 179 h 463"/>
                <a:gd name="T48" fmla="*/ 215 w 583"/>
                <a:gd name="T49" fmla="*/ 177 h 463"/>
                <a:gd name="T50" fmla="*/ 156 w 583"/>
                <a:gd name="T51" fmla="*/ 227 h 463"/>
                <a:gd name="T52" fmla="*/ 129 w 583"/>
                <a:gd name="T53" fmla="*/ 236 h 463"/>
                <a:gd name="T54" fmla="*/ 95 w 583"/>
                <a:gd name="T55" fmla="*/ 238 h 463"/>
                <a:gd name="T56" fmla="*/ 74 w 583"/>
                <a:gd name="T57" fmla="*/ 236 h 463"/>
                <a:gd name="T58" fmla="*/ 131 w 583"/>
                <a:gd name="T59" fmla="*/ 309 h 463"/>
                <a:gd name="T60" fmla="*/ 244 w 583"/>
                <a:gd name="T61" fmla="*/ 402 h 463"/>
                <a:gd name="T62" fmla="*/ 314 w 583"/>
                <a:gd name="T63" fmla="*/ 375 h 463"/>
                <a:gd name="T64" fmla="*/ 366 w 583"/>
                <a:gd name="T65" fmla="*/ 343 h 463"/>
                <a:gd name="T66" fmla="*/ 373 w 583"/>
                <a:gd name="T67" fmla="*/ 297 h 463"/>
                <a:gd name="T68" fmla="*/ 360 w 583"/>
                <a:gd name="T69" fmla="*/ 286 h 463"/>
                <a:gd name="T70" fmla="*/ 362 w 583"/>
                <a:gd name="T71" fmla="*/ 276 h 463"/>
                <a:gd name="T72" fmla="*/ 383 w 583"/>
                <a:gd name="T73" fmla="*/ 267 h 463"/>
                <a:gd name="T74" fmla="*/ 387 w 583"/>
                <a:gd name="T75" fmla="*/ 240 h 463"/>
                <a:gd name="T76" fmla="*/ 423 w 583"/>
                <a:gd name="T77" fmla="*/ 248 h 463"/>
                <a:gd name="T78" fmla="*/ 413 w 583"/>
                <a:gd name="T79" fmla="*/ 251 h 463"/>
                <a:gd name="T80" fmla="*/ 421 w 583"/>
                <a:gd name="T81" fmla="*/ 274 h 463"/>
                <a:gd name="T82" fmla="*/ 432 w 583"/>
                <a:gd name="T83" fmla="*/ 305 h 463"/>
                <a:gd name="T84" fmla="*/ 423 w 583"/>
                <a:gd name="T85" fmla="*/ 318 h 463"/>
                <a:gd name="T86" fmla="*/ 410 w 583"/>
                <a:gd name="T87" fmla="*/ 339 h 463"/>
                <a:gd name="T88" fmla="*/ 419 w 583"/>
                <a:gd name="T89" fmla="*/ 356 h 463"/>
                <a:gd name="T90" fmla="*/ 431 w 583"/>
                <a:gd name="T91" fmla="*/ 373 h 463"/>
                <a:gd name="T92" fmla="*/ 438 w 583"/>
                <a:gd name="T93" fmla="*/ 398 h 463"/>
                <a:gd name="T94" fmla="*/ 425 w 583"/>
                <a:gd name="T95" fmla="*/ 444 h 463"/>
                <a:gd name="T96" fmla="*/ 442 w 583"/>
                <a:gd name="T97" fmla="*/ 457 h 463"/>
                <a:gd name="T98" fmla="*/ 453 w 583"/>
                <a:gd name="T99" fmla="*/ 438 h 463"/>
                <a:gd name="T100" fmla="*/ 457 w 583"/>
                <a:gd name="T101" fmla="*/ 457 h 463"/>
                <a:gd name="T102" fmla="*/ 484 w 583"/>
                <a:gd name="T103" fmla="*/ 451 h 463"/>
                <a:gd name="T104" fmla="*/ 486 w 583"/>
                <a:gd name="T105" fmla="*/ 411 h 463"/>
                <a:gd name="T106" fmla="*/ 505 w 583"/>
                <a:gd name="T107" fmla="*/ 415 h 463"/>
                <a:gd name="T108" fmla="*/ 524 w 583"/>
                <a:gd name="T109" fmla="*/ 371 h 463"/>
                <a:gd name="T110" fmla="*/ 511 w 583"/>
                <a:gd name="T111" fmla="*/ 356 h 463"/>
                <a:gd name="T112" fmla="*/ 545 w 583"/>
                <a:gd name="T113" fmla="*/ 326 h 463"/>
                <a:gd name="T114" fmla="*/ 553 w 583"/>
                <a:gd name="T115" fmla="*/ 316 h 463"/>
                <a:gd name="T116" fmla="*/ 522 w 583"/>
                <a:gd name="T117" fmla="*/ 299 h 463"/>
                <a:gd name="T118" fmla="*/ 545 w 583"/>
                <a:gd name="T119" fmla="*/ 251 h 463"/>
                <a:gd name="T120" fmla="*/ 551 w 583"/>
                <a:gd name="T121" fmla="*/ 232 h 463"/>
                <a:gd name="T122" fmla="*/ 581 w 583"/>
                <a:gd name="T123" fmla="*/ 189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 h="463">
                  <a:moveTo>
                    <a:pt x="581" y="189"/>
                  </a:moveTo>
                  <a:lnTo>
                    <a:pt x="579" y="187"/>
                  </a:lnTo>
                  <a:lnTo>
                    <a:pt x="577" y="185"/>
                  </a:lnTo>
                  <a:lnTo>
                    <a:pt x="577" y="185"/>
                  </a:lnTo>
                  <a:lnTo>
                    <a:pt x="575" y="185"/>
                  </a:lnTo>
                  <a:lnTo>
                    <a:pt x="575" y="187"/>
                  </a:lnTo>
                  <a:lnTo>
                    <a:pt x="575" y="187"/>
                  </a:lnTo>
                  <a:lnTo>
                    <a:pt x="573" y="187"/>
                  </a:lnTo>
                  <a:lnTo>
                    <a:pt x="573" y="187"/>
                  </a:lnTo>
                  <a:lnTo>
                    <a:pt x="573" y="185"/>
                  </a:lnTo>
                  <a:lnTo>
                    <a:pt x="573" y="183"/>
                  </a:lnTo>
                  <a:lnTo>
                    <a:pt x="572" y="175"/>
                  </a:lnTo>
                  <a:lnTo>
                    <a:pt x="570" y="170"/>
                  </a:lnTo>
                  <a:lnTo>
                    <a:pt x="570" y="168"/>
                  </a:lnTo>
                  <a:lnTo>
                    <a:pt x="568" y="166"/>
                  </a:lnTo>
                  <a:lnTo>
                    <a:pt x="568" y="166"/>
                  </a:lnTo>
                  <a:lnTo>
                    <a:pt x="568" y="166"/>
                  </a:lnTo>
                  <a:lnTo>
                    <a:pt x="566" y="164"/>
                  </a:lnTo>
                  <a:lnTo>
                    <a:pt x="566" y="164"/>
                  </a:lnTo>
                  <a:lnTo>
                    <a:pt x="564" y="162"/>
                  </a:lnTo>
                  <a:lnTo>
                    <a:pt x="564" y="160"/>
                  </a:lnTo>
                  <a:lnTo>
                    <a:pt x="562" y="158"/>
                  </a:lnTo>
                  <a:lnTo>
                    <a:pt x="562" y="158"/>
                  </a:lnTo>
                  <a:lnTo>
                    <a:pt x="558" y="156"/>
                  </a:lnTo>
                  <a:lnTo>
                    <a:pt x="558" y="156"/>
                  </a:lnTo>
                  <a:lnTo>
                    <a:pt x="556" y="156"/>
                  </a:lnTo>
                  <a:lnTo>
                    <a:pt x="556" y="156"/>
                  </a:lnTo>
                  <a:lnTo>
                    <a:pt x="554" y="156"/>
                  </a:lnTo>
                  <a:lnTo>
                    <a:pt x="554" y="158"/>
                  </a:lnTo>
                  <a:lnTo>
                    <a:pt x="553" y="158"/>
                  </a:lnTo>
                  <a:lnTo>
                    <a:pt x="553" y="156"/>
                  </a:lnTo>
                  <a:lnTo>
                    <a:pt x="551" y="156"/>
                  </a:lnTo>
                  <a:lnTo>
                    <a:pt x="551" y="154"/>
                  </a:lnTo>
                  <a:lnTo>
                    <a:pt x="551" y="153"/>
                  </a:lnTo>
                  <a:lnTo>
                    <a:pt x="551" y="151"/>
                  </a:lnTo>
                  <a:lnTo>
                    <a:pt x="551" y="151"/>
                  </a:lnTo>
                  <a:lnTo>
                    <a:pt x="551" y="149"/>
                  </a:lnTo>
                  <a:lnTo>
                    <a:pt x="549" y="147"/>
                  </a:lnTo>
                  <a:lnTo>
                    <a:pt x="547" y="147"/>
                  </a:lnTo>
                  <a:lnTo>
                    <a:pt x="543" y="143"/>
                  </a:lnTo>
                  <a:lnTo>
                    <a:pt x="539" y="141"/>
                  </a:lnTo>
                  <a:lnTo>
                    <a:pt x="535" y="137"/>
                  </a:lnTo>
                  <a:lnTo>
                    <a:pt x="535" y="137"/>
                  </a:lnTo>
                  <a:lnTo>
                    <a:pt x="533" y="137"/>
                  </a:lnTo>
                  <a:lnTo>
                    <a:pt x="533" y="137"/>
                  </a:lnTo>
                  <a:lnTo>
                    <a:pt x="533" y="139"/>
                  </a:lnTo>
                  <a:lnTo>
                    <a:pt x="533" y="139"/>
                  </a:lnTo>
                  <a:lnTo>
                    <a:pt x="533" y="139"/>
                  </a:lnTo>
                  <a:lnTo>
                    <a:pt x="532" y="139"/>
                  </a:lnTo>
                  <a:lnTo>
                    <a:pt x="532" y="139"/>
                  </a:lnTo>
                  <a:lnTo>
                    <a:pt x="532" y="139"/>
                  </a:lnTo>
                  <a:lnTo>
                    <a:pt x="530" y="139"/>
                  </a:lnTo>
                  <a:lnTo>
                    <a:pt x="530" y="139"/>
                  </a:lnTo>
                  <a:lnTo>
                    <a:pt x="526" y="135"/>
                  </a:lnTo>
                  <a:lnTo>
                    <a:pt x="524" y="132"/>
                  </a:lnTo>
                  <a:lnTo>
                    <a:pt x="522" y="130"/>
                  </a:lnTo>
                  <a:lnTo>
                    <a:pt x="522" y="130"/>
                  </a:lnTo>
                  <a:lnTo>
                    <a:pt x="520" y="130"/>
                  </a:lnTo>
                  <a:lnTo>
                    <a:pt x="513" y="132"/>
                  </a:lnTo>
                  <a:lnTo>
                    <a:pt x="513" y="132"/>
                  </a:lnTo>
                  <a:lnTo>
                    <a:pt x="511" y="130"/>
                  </a:lnTo>
                  <a:lnTo>
                    <a:pt x="509" y="130"/>
                  </a:lnTo>
                  <a:lnTo>
                    <a:pt x="505" y="130"/>
                  </a:lnTo>
                  <a:lnTo>
                    <a:pt x="505" y="128"/>
                  </a:lnTo>
                  <a:lnTo>
                    <a:pt x="505" y="126"/>
                  </a:lnTo>
                  <a:lnTo>
                    <a:pt x="507" y="124"/>
                  </a:lnTo>
                  <a:lnTo>
                    <a:pt x="505" y="124"/>
                  </a:lnTo>
                  <a:lnTo>
                    <a:pt x="505" y="122"/>
                  </a:lnTo>
                  <a:lnTo>
                    <a:pt x="505" y="120"/>
                  </a:lnTo>
                  <a:lnTo>
                    <a:pt x="505" y="118"/>
                  </a:lnTo>
                  <a:lnTo>
                    <a:pt x="505" y="116"/>
                  </a:lnTo>
                  <a:lnTo>
                    <a:pt x="505" y="115"/>
                  </a:lnTo>
                  <a:lnTo>
                    <a:pt x="505" y="113"/>
                  </a:lnTo>
                  <a:lnTo>
                    <a:pt x="503" y="111"/>
                  </a:lnTo>
                  <a:lnTo>
                    <a:pt x="501" y="109"/>
                  </a:lnTo>
                  <a:lnTo>
                    <a:pt x="499" y="109"/>
                  </a:lnTo>
                  <a:lnTo>
                    <a:pt x="499" y="111"/>
                  </a:lnTo>
                  <a:lnTo>
                    <a:pt x="497" y="113"/>
                  </a:lnTo>
                  <a:lnTo>
                    <a:pt x="495" y="113"/>
                  </a:lnTo>
                  <a:lnTo>
                    <a:pt x="495" y="113"/>
                  </a:lnTo>
                  <a:lnTo>
                    <a:pt x="493" y="113"/>
                  </a:lnTo>
                  <a:lnTo>
                    <a:pt x="493" y="113"/>
                  </a:lnTo>
                  <a:lnTo>
                    <a:pt x="493" y="111"/>
                  </a:lnTo>
                  <a:lnTo>
                    <a:pt x="493" y="109"/>
                  </a:lnTo>
                  <a:lnTo>
                    <a:pt x="493" y="107"/>
                  </a:lnTo>
                  <a:lnTo>
                    <a:pt x="493" y="107"/>
                  </a:lnTo>
                  <a:lnTo>
                    <a:pt x="495" y="105"/>
                  </a:lnTo>
                  <a:lnTo>
                    <a:pt x="495" y="105"/>
                  </a:lnTo>
                  <a:lnTo>
                    <a:pt x="495" y="103"/>
                  </a:lnTo>
                  <a:lnTo>
                    <a:pt x="493" y="103"/>
                  </a:lnTo>
                  <a:lnTo>
                    <a:pt x="493" y="103"/>
                  </a:lnTo>
                  <a:lnTo>
                    <a:pt x="493" y="101"/>
                  </a:lnTo>
                  <a:lnTo>
                    <a:pt x="490" y="101"/>
                  </a:lnTo>
                  <a:lnTo>
                    <a:pt x="490" y="101"/>
                  </a:lnTo>
                  <a:lnTo>
                    <a:pt x="488" y="99"/>
                  </a:lnTo>
                  <a:lnTo>
                    <a:pt x="488" y="99"/>
                  </a:lnTo>
                  <a:lnTo>
                    <a:pt x="486" y="97"/>
                  </a:lnTo>
                  <a:lnTo>
                    <a:pt x="486" y="96"/>
                  </a:lnTo>
                  <a:lnTo>
                    <a:pt x="486" y="96"/>
                  </a:lnTo>
                  <a:lnTo>
                    <a:pt x="484" y="96"/>
                  </a:lnTo>
                  <a:lnTo>
                    <a:pt x="484" y="94"/>
                  </a:lnTo>
                  <a:lnTo>
                    <a:pt x="480" y="96"/>
                  </a:lnTo>
                  <a:lnTo>
                    <a:pt x="480" y="94"/>
                  </a:lnTo>
                  <a:lnTo>
                    <a:pt x="480" y="94"/>
                  </a:lnTo>
                  <a:lnTo>
                    <a:pt x="482" y="90"/>
                  </a:lnTo>
                  <a:lnTo>
                    <a:pt x="482" y="88"/>
                  </a:lnTo>
                  <a:lnTo>
                    <a:pt x="482" y="86"/>
                  </a:lnTo>
                  <a:lnTo>
                    <a:pt x="482" y="84"/>
                  </a:lnTo>
                  <a:lnTo>
                    <a:pt x="482" y="82"/>
                  </a:lnTo>
                  <a:lnTo>
                    <a:pt x="482" y="82"/>
                  </a:lnTo>
                  <a:lnTo>
                    <a:pt x="484" y="80"/>
                  </a:lnTo>
                  <a:lnTo>
                    <a:pt x="486" y="80"/>
                  </a:lnTo>
                  <a:lnTo>
                    <a:pt x="486" y="80"/>
                  </a:lnTo>
                  <a:lnTo>
                    <a:pt x="486" y="78"/>
                  </a:lnTo>
                  <a:lnTo>
                    <a:pt x="486" y="77"/>
                  </a:lnTo>
                  <a:lnTo>
                    <a:pt x="486" y="75"/>
                  </a:lnTo>
                  <a:lnTo>
                    <a:pt x="484" y="73"/>
                  </a:lnTo>
                  <a:lnTo>
                    <a:pt x="484" y="73"/>
                  </a:lnTo>
                  <a:lnTo>
                    <a:pt x="484" y="73"/>
                  </a:lnTo>
                  <a:lnTo>
                    <a:pt x="484" y="71"/>
                  </a:lnTo>
                  <a:lnTo>
                    <a:pt x="484" y="69"/>
                  </a:lnTo>
                  <a:lnTo>
                    <a:pt x="484" y="67"/>
                  </a:lnTo>
                  <a:lnTo>
                    <a:pt x="480" y="63"/>
                  </a:lnTo>
                  <a:lnTo>
                    <a:pt x="480" y="61"/>
                  </a:lnTo>
                  <a:lnTo>
                    <a:pt x="478" y="63"/>
                  </a:lnTo>
                  <a:lnTo>
                    <a:pt x="478" y="63"/>
                  </a:lnTo>
                  <a:lnTo>
                    <a:pt x="476" y="67"/>
                  </a:lnTo>
                  <a:lnTo>
                    <a:pt x="476" y="67"/>
                  </a:lnTo>
                  <a:lnTo>
                    <a:pt x="476" y="69"/>
                  </a:lnTo>
                  <a:lnTo>
                    <a:pt x="474" y="69"/>
                  </a:lnTo>
                  <a:lnTo>
                    <a:pt x="471" y="71"/>
                  </a:lnTo>
                  <a:lnTo>
                    <a:pt x="471" y="71"/>
                  </a:lnTo>
                  <a:lnTo>
                    <a:pt x="469" y="71"/>
                  </a:lnTo>
                  <a:lnTo>
                    <a:pt x="467" y="67"/>
                  </a:lnTo>
                  <a:lnTo>
                    <a:pt x="467" y="67"/>
                  </a:lnTo>
                  <a:lnTo>
                    <a:pt x="467" y="65"/>
                  </a:lnTo>
                  <a:lnTo>
                    <a:pt x="465" y="65"/>
                  </a:lnTo>
                  <a:lnTo>
                    <a:pt x="465" y="63"/>
                  </a:lnTo>
                  <a:lnTo>
                    <a:pt x="463" y="63"/>
                  </a:lnTo>
                  <a:lnTo>
                    <a:pt x="463" y="61"/>
                  </a:lnTo>
                  <a:lnTo>
                    <a:pt x="461" y="61"/>
                  </a:lnTo>
                  <a:lnTo>
                    <a:pt x="461" y="59"/>
                  </a:lnTo>
                  <a:lnTo>
                    <a:pt x="459" y="59"/>
                  </a:lnTo>
                  <a:lnTo>
                    <a:pt x="457" y="57"/>
                  </a:lnTo>
                  <a:lnTo>
                    <a:pt x="457" y="57"/>
                  </a:lnTo>
                  <a:lnTo>
                    <a:pt x="457" y="56"/>
                  </a:lnTo>
                  <a:lnTo>
                    <a:pt x="455" y="52"/>
                  </a:lnTo>
                  <a:lnTo>
                    <a:pt x="455" y="52"/>
                  </a:lnTo>
                  <a:lnTo>
                    <a:pt x="455" y="50"/>
                  </a:lnTo>
                  <a:lnTo>
                    <a:pt x="457" y="44"/>
                  </a:lnTo>
                  <a:lnTo>
                    <a:pt x="457" y="42"/>
                  </a:lnTo>
                  <a:lnTo>
                    <a:pt x="459" y="42"/>
                  </a:lnTo>
                  <a:lnTo>
                    <a:pt x="459" y="40"/>
                  </a:lnTo>
                  <a:lnTo>
                    <a:pt x="459" y="40"/>
                  </a:lnTo>
                  <a:lnTo>
                    <a:pt x="459" y="40"/>
                  </a:lnTo>
                  <a:lnTo>
                    <a:pt x="461" y="38"/>
                  </a:lnTo>
                  <a:lnTo>
                    <a:pt x="461" y="38"/>
                  </a:lnTo>
                  <a:lnTo>
                    <a:pt x="461" y="38"/>
                  </a:lnTo>
                  <a:lnTo>
                    <a:pt x="463" y="38"/>
                  </a:lnTo>
                  <a:lnTo>
                    <a:pt x="465" y="38"/>
                  </a:lnTo>
                  <a:lnTo>
                    <a:pt x="465" y="38"/>
                  </a:lnTo>
                  <a:lnTo>
                    <a:pt x="467" y="38"/>
                  </a:lnTo>
                  <a:lnTo>
                    <a:pt x="467" y="38"/>
                  </a:lnTo>
                  <a:lnTo>
                    <a:pt x="467" y="37"/>
                  </a:lnTo>
                  <a:lnTo>
                    <a:pt x="467" y="35"/>
                  </a:lnTo>
                  <a:lnTo>
                    <a:pt x="467" y="35"/>
                  </a:lnTo>
                  <a:lnTo>
                    <a:pt x="467" y="35"/>
                  </a:lnTo>
                  <a:lnTo>
                    <a:pt x="467" y="33"/>
                  </a:lnTo>
                  <a:lnTo>
                    <a:pt x="465" y="33"/>
                  </a:lnTo>
                  <a:lnTo>
                    <a:pt x="465" y="35"/>
                  </a:lnTo>
                  <a:lnTo>
                    <a:pt x="465" y="35"/>
                  </a:lnTo>
                  <a:lnTo>
                    <a:pt x="463" y="35"/>
                  </a:lnTo>
                  <a:lnTo>
                    <a:pt x="463" y="35"/>
                  </a:lnTo>
                  <a:lnTo>
                    <a:pt x="459" y="33"/>
                  </a:lnTo>
                  <a:lnTo>
                    <a:pt x="457" y="33"/>
                  </a:lnTo>
                  <a:lnTo>
                    <a:pt x="457" y="33"/>
                  </a:lnTo>
                  <a:lnTo>
                    <a:pt x="455" y="31"/>
                  </a:lnTo>
                  <a:lnTo>
                    <a:pt x="455" y="31"/>
                  </a:lnTo>
                  <a:lnTo>
                    <a:pt x="455" y="31"/>
                  </a:lnTo>
                  <a:lnTo>
                    <a:pt x="457" y="29"/>
                  </a:lnTo>
                  <a:lnTo>
                    <a:pt x="457" y="25"/>
                  </a:lnTo>
                  <a:lnTo>
                    <a:pt x="457" y="23"/>
                  </a:lnTo>
                  <a:lnTo>
                    <a:pt x="457" y="23"/>
                  </a:lnTo>
                  <a:lnTo>
                    <a:pt x="457" y="23"/>
                  </a:lnTo>
                  <a:lnTo>
                    <a:pt x="457" y="21"/>
                  </a:lnTo>
                  <a:lnTo>
                    <a:pt x="457" y="21"/>
                  </a:lnTo>
                  <a:lnTo>
                    <a:pt x="455" y="21"/>
                  </a:lnTo>
                  <a:lnTo>
                    <a:pt x="455" y="21"/>
                  </a:lnTo>
                  <a:lnTo>
                    <a:pt x="453" y="21"/>
                  </a:lnTo>
                  <a:lnTo>
                    <a:pt x="450" y="23"/>
                  </a:lnTo>
                  <a:lnTo>
                    <a:pt x="450" y="23"/>
                  </a:lnTo>
                  <a:lnTo>
                    <a:pt x="448" y="23"/>
                  </a:lnTo>
                  <a:lnTo>
                    <a:pt x="448" y="23"/>
                  </a:lnTo>
                  <a:lnTo>
                    <a:pt x="448" y="23"/>
                  </a:lnTo>
                  <a:lnTo>
                    <a:pt x="446" y="25"/>
                  </a:lnTo>
                  <a:lnTo>
                    <a:pt x="446" y="25"/>
                  </a:lnTo>
                  <a:lnTo>
                    <a:pt x="446" y="25"/>
                  </a:lnTo>
                  <a:lnTo>
                    <a:pt x="446" y="27"/>
                  </a:lnTo>
                  <a:lnTo>
                    <a:pt x="446" y="27"/>
                  </a:lnTo>
                  <a:lnTo>
                    <a:pt x="446" y="29"/>
                  </a:lnTo>
                  <a:lnTo>
                    <a:pt x="446" y="29"/>
                  </a:lnTo>
                  <a:lnTo>
                    <a:pt x="444" y="29"/>
                  </a:lnTo>
                  <a:lnTo>
                    <a:pt x="444" y="31"/>
                  </a:lnTo>
                  <a:lnTo>
                    <a:pt x="444" y="31"/>
                  </a:lnTo>
                  <a:lnTo>
                    <a:pt x="444" y="31"/>
                  </a:lnTo>
                  <a:lnTo>
                    <a:pt x="444" y="31"/>
                  </a:lnTo>
                  <a:lnTo>
                    <a:pt x="444" y="33"/>
                  </a:lnTo>
                  <a:lnTo>
                    <a:pt x="444" y="33"/>
                  </a:lnTo>
                  <a:lnTo>
                    <a:pt x="444" y="33"/>
                  </a:lnTo>
                  <a:lnTo>
                    <a:pt x="444" y="35"/>
                  </a:lnTo>
                  <a:lnTo>
                    <a:pt x="442" y="35"/>
                  </a:lnTo>
                  <a:lnTo>
                    <a:pt x="440" y="37"/>
                  </a:lnTo>
                  <a:lnTo>
                    <a:pt x="440" y="37"/>
                  </a:lnTo>
                  <a:lnTo>
                    <a:pt x="438" y="37"/>
                  </a:lnTo>
                  <a:lnTo>
                    <a:pt x="434" y="35"/>
                  </a:lnTo>
                  <a:lnTo>
                    <a:pt x="432" y="35"/>
                  </a:lnTo>
                  <a:lnTo>
                    <a:pt x="429" y="35"/>
                  </a:lnTo>
                  <a:lnTo>
                    <a:pt x="425" y="35"/>
                  </a:lnTo>
                  <a:lnTo>
                    <a:pt x="423" y="35"/>
                  </a:lnTo>
                  <a:lnTo>
                    <a:pt x="421" y="33"/>
                  </a:lnTo>
                  <a:lnTo>
                    <a:pt x="421" y="33"/>
                  </a:lnTo>
                  <a:lnTo>
                    <a:pt x="419" y="31"/>
                  </a:lnTo>
                  <a:lnTo>
                    <a:pt x="419" y="31"/>
                  </a:lnTo>
                  <a:lnTo>
                    <a:pt x="417" y="27"/>
                  </a:lnTo>
                  <a:lnTo>
                    <a:pt x="417" y="27"/>
                  </a:lnTo>
                  <a:lnTo>
                    <a:pt x="417" y="27"/>
                  </a:lnTo>
                  <a:lnTo>
                    <a:pt x="415" y="25"/>
                  </a:lnTo>
                  <a:lnTo>
                    <a:pt x="415" y="25"/>
                  </a:lnTo>
                  <a:lnTo>
                    <a:pt x="413" y="25"/>
                  </a:lnTo>
                  <a:lnTo>
                    <a:pt x="412" y="25"/>
                  </a:lnTo>
                  <a:lnTo>
                    <a:pt x="412" y="25"/>
                  </a:lnTo>
                  <a:lnTo>
                    <a:pt x="406" y="21"/>
                  </a:lnTo>
                  <a:lnTo>
                    <a:pt x="406" y="21"/>
                  </a:lnTo>
                  <a:lnTo>
                    <a:pt x="404" y="21"/>
                  </a:lnTo>
                  <a:lnTo>
                    <a:pt x="402" y="21"/>
                  </a:lnTo>
                  <a:lnTo>
                    <a:pt x="402" y="21"/>
                  </a:lnTo>
                  <a:lnTo>
                    <a:pt x="402" y="21"/>
                  </a:lnTo>
                  <a:lnTo>
                    <a:pt x="402" y="21"/>
                  </a:lnTo>
                  <a:lnTo>
                    <a:pt x="402" y="23"/>
                  </a:lnTo>
                  <a:lnTo>
                    <a:pt x="400" y="29"/>
                  </a:lnTo>
                  <a:lnTo>
                    <a:pt x="400" y="29"/>
                  </a:lnTo>
                  <a:lnTo>
                    <a:pt x="400" y="29"/>
                  </a:lnTo>
                  <a:lnTo>
                    <a:pt x="400" y="29"/>
                  </a:lnTo>
                  <a:lnTo>
                    <a:pt x="398" y="29"/>
                  </a:lnTo>
                  <a:lnTo>
                    <a:pt x="398" y="29"/>
                  </a:lnTo>
                  <a:lnTo>
                    <a:pt x="398" y="29"/>
                  </a:lnTo>
                  <a:lnTo>
                    <a:pt x="396" y="29"/>
                  </a:lnTo>
                  <a:lnTo>
                    <a:pt x="396" y="27"/>
                  </a:lnTo>
                  <a:lnTo>
                    <a:pt x="394" y="25"/>
                  </a:lnTo>
                  <a:lnTo>
                    <a:pt x="394" y="25"/>
                  </a:lnTo>
                  <a:lnTo>
                    <a:pt x="394" y="23"/>
                  </a:lnTo>
                  <a:lnTo>
                    <a:pt x="394" y="23"/>
                  </a:lnTo>
                  <a:lnTo>
                    <a:pt x="394" y="21"/>
                  </a:lnTo>
                  <a:lnTo>
                    <a:pt x="394" y="21"/>
                  </a:lnTo>
                  <a:lnTo>
                    <a:pt x="394" y="21"/>
                  </a:lnTo>
                  <a:lnTo>
                    <a:pt x="394" y="19"/>
                  </a:lnTo>
                  <a:lnTo>
                    <a:pt x="392" y="19"/>
                  </a:lnTo>
                  <a:lnTo>
                    <a:pt x="391" y="19"/>
                  </a:lnTo>
                  <a:lnTo>
                    <a:pt x="391" y="19"/>
                  </a:lnTo>
                  <a:lnTo>
                    <a:pt x="389" y="19"/>
                  </a:lnTo>
                  <a:lnTo>
                    <a:pt x="389" y="19"/>
                  </a:lnTo>
                  <a:lnTo>
                    <a:pt x="387" y="19"/>
                  </a:lnTo>
                  <a:lnTo>
                    <a:pt x="387" y="18"/>
                  </a:lnTo>
                  <a:lnTo>
                    <a:pt x="387" y="18"/>
                  </a:lnTo>
                  <a:lnTo>
                    <a:pt x="387" y="18"/>
                  </a:lnTo>
                  <a:lnTo>
                    <a:pt x="387" y="18"/>
                  </a:lnTo>
                  <a:lnTo>
                    <a:pt x="385" y="16"/>
                  </a:lnTo>
                  <a:lnTo>
                    <a:pt x="383" y="16"/>
                  </a:lnTo>
                  <a:lnTo>
                    <a:pt x="381" y="16"/>
                  </a:lnTo>
                  <a:lnTo>
                    <a:pt x="381" y="16"/>
                  </a:lnTo>
                  <a:lnTo>
                    <a:pt x="379" y="14"/>
                  </a:lnTo>
                  <a:lnTo>
                    <a:pt x="379" y="14"/>
                  </a:lnTo>
                  <a:lnTo>
                    <a:pt x="377" y="12"/>
                  </a:lnTo>
                  <a:lnTo>
                    <a:pt x="379" y="12"/>
                  </a:lnTo>
                  <a:lnTo>
                    <a:pt x="379" y="12"/>
                  </a:lnTo>
                  <a:lnTo>
                    <a:pt x="379" y="12"/>
                  </a:lnTo>
                  <a:lnTo>
                    <a:pt x="383" y="12"/>
                  </a:lnTo>
                  <a:lnTo>
                    <a:pt x="385" y="10"/>
                  </a:lnTo>
                  <a:lnTo>
                    <a:pt x="385" y="10"/>
                  </a:lnTo>
                  <a:lnTo>
                    <a:pt x="387" y="10"/>
                  </a:lnTo>
                  <a:lnTo>
                    <a:pt x="387" y="10"/>
                  </a:lnTo>
                  <a:lnTo>
                    <a:pt x="387" y="8"/>
                  </a:lnTo>
                  <a:lnTo>
                    <a:pt x="385" y="8"/>
                  </a:lnTo>
                  <a:lnTo>
                    <a:pt x="385" y="8"/>
                  </a:lnTo>
                  <a:lnTo>
                    <a:pt x="383" y="8"/>
                  </a:lnTo>
                  <a:lnTo>
                    <a:pt x="379" y="8"/>
                  </a:lnTo>
                  <a:lnTo>
                    <a:pt x="373" y="10"/>
                  </a:lnTo>
                  <a:lnTo>
                    <a:pt x="371" y="8"/>
                  </a:lnTo>
                  <a:lnTo>
                    <a:pt x="364" y="6"/>
                  </a:lnTo>
                  <a:lnTo>
                    <a:pt x="362" y="6"/>
                  </a:lnTo>
                  <a:lnTo>
                    <a:pt x="362" y="2"/>
                  </a:lnTo>
                  <a:lnTo>
                    <a:pt x="360" y="2"/>
                  </a:lnTo>
                  <a:lnTo>
                    <a:pt x="360" y="0"/>
                  </a:lnTo>
                  <a:lnTo>
                    <a:pt x="358" y="2"/>
                  </a:lnTo>
                  <a:lnTo>
                    <a:pt x="354" y="2"/>
                  </a:lnTo>
                  <a:lnTo>
                    <a:pt x="352" y="2"/>
                  </a:lnTo>
                  <a:lnTo>
                    <a:pt x="352" y="4"/>
                  </a:lnTo>
                  <a:lnTo>
                    <a:pt x="351" y="4"/>
                  </a:lnTo>
                  <a:lnTo>
                    <a:pt x="351" y="6"/>
                  </a:lnTo>
                  <a:lnTo>
                    <a:pt x="349" y="6"/>
                  </a:lnTo>
                  <a:lnTo>
                    <a:pt x="349" y="6"/>
                  </a:lnTo>
                  <a:lnTo>
                    <a:pt x="347" y="6"/>
                  </a:lnTo>
                  <a:lnTo>
                    <a:pt x="345" y="6"/>
                  </a:lnTo>
                  <a:lnTo>
                    <a:pt x="345" y="4"/>
                  </a:lnTo>
                  <a:lnTo>
                    <a:pt x="345" y="4"/>
                  </a:lnTo>
                  <a:lnTo>
                    <a:pt x="343" y="4"/>
                  </a:lnTo>
                  <a:lnTo>
                    <a:pt x="343" y="4"/>
                  </a:lnTo>
                  <a:lnTo>
                    <a:pt x="341" y="4"/>
                  </a:lnTo>
                  <a:lnTo>
                    <a:pt x="339" y="4"/>
                  </a:lnTo>
                  <a:lnTo>
                    <a:pt x="339" y="6"/>
                  </a:lnTo>
                  <a:lnTo>
                    <a:pt x="339" y="6"/>
                  </a:lnTo>
                  <a:lnTo>
                    <a:pt x="339" y="8"/>
                  </a:lnTo>
                  <a:lnTo>
                    <a:pt x="339" y="8"/>
                  </a:lnTo>
                  <a:lnTo>
                    <a:pt x="339" y="8"/>
                  </a:lnTo>
                  <a:lnTo>
                    <a:pt x="337" y="8"/>
                  </a:lnTo>
                  <a:lnTo>
                    <a:pt x="335" y="8"/>
                  </a:lnTo>
                  <a:lnTo>
                    <a:pt x="335" y="8"/>
                  </a:lnTo>
                  <a:lnTo>
                    <a:pt x="333" y="6"/>
                  </a:lnTo>
                  <a:lnTo>
                    <a:pt x="333" y="4"/>
                  </a:lnTo>
                  <a:lnTo>
                    <a:pt x="333" y="4"/>
                  </a:lnTo>
                  <a:lnTo>
                    <a:pt x="331" y="4"/>
                  </a:lnTo>
                  <a:lnTo>
                    <a:pt x="324" y="6"/>
                  </a:lnTo>
                  <a:lnTo>
                    <a:pt x="322" y="6"/>
                  </a:lnTo>
                  <a:lnTo>
                    <a:pt x="320" y="6"/>
                  </a:lnTo>
                  <a:lnTo>
                    <a:pt x="320" y="6"/>
                  </a:lnTo>
                  <a:lnTo>
                    <a:pt x="318" y="4"/>
                  </a:lnTo>
                  <a:lnTo>
                    <a:pt x="316" y="4"/>
                  </a:lnTo>
                  <a:lnTo>
                    <a:pt x="312" y="4"/>
                  </a:lnTo>
                  <a:lnTo>
                    <a:pt x="307" y="4"/>
                  </a:lnTo>
                  <a:lnTo>
                    <a:pt x="305" y="4"/>
                  </a:lnTo>
                  <a:lnTo>
                    <a:pt x="303" y="4"/>
                  </a:lnTo>
                  <a:lnTo>
                    <a:pt x="301" y="6"/>
                  </a:lnTo>
                  <a:lnTo>
                    <a:pt x="299" y="8"/>
                  </a:lnTo>
                  <a:lnTo>
                    <a:pt x="297" y="8"/>
                  </a:lnTo>
                  <a:lnTo>
                    <a:pt x="295" y="8"/>
                  </a:lnTo>
                  <a:lnTo>
                    <a:pt x="293" y="6"/>
                  </a:lnTo>
                  <a:lnTo>
                    <a:pt x="293" y="6"/>
                  </a:lnTo>
                  <a:lnTo>
                    <a:pt x="290" y="6"/>
                  </a:lnTo>
                  <a:lnTo>
                    <a:pt x="290" y="6"/>
                  </a:lnTo>
                  <a:lnTo>
                    <a:pt x="288" y="8"/>
                  </a:lnTo>
                  <a:lnTo>
                    <a:pt x="286" y="8"/>
                  </a:lnTo>
                  <a:lnTo>
                    <a:pt x="284" y="8"/>
                  </a:lnTo>
                  <a:lnTo>
                    <a:pt x="284" y="8"/>
                  </a:lnTo>
                  <a:lnTo>
                    <a:pt x="274" y="6"/>
                  </a:lnTo>
                  <a:lnTo>
                    <a:pt x="270" y="4"/>
                  </a:lnTo>
                  <a:lnTo>
                    <a:pt x="269" y="2"/>
                  </a:lnTo>
                  <a:lnTo>
                    <a:pt x="269" y="4"/>
                  </a:lnTo>
                  <a:lnTo>
                    <a:pt x="267" y="6"/>
                  </a:lnTo>
                  <a:lnTo>
                    <a:pt x="261" y="8"/>
                  </a:lnTo>
                  <a:lnTo>
                    <a:pt x="259" y="10"/>
                  </a:lnTo>
                  <a:lnTo>
                    <a:pt x="259" y="14"/>
                  </a:lnTo>
                  <a:lnTo>
                    <a:pt x="259" y="18"/>
                  </a:lnTo>
                  <a:lnTo>
                    <a:pt x="261" y="18"/>
                  </a:lnTo>
                  <a:lnTo>
                    <a:pt x="261" y="19"/>
                  </a:lnTo>
                  <a:lnTo>
                    <a:pt x="261" y="19"/>
                  </a:lnTo>
                  <a:lnTo>
                    <a:pt x="261" y="19"/>
                  </a:lnTo>
                  <a:lnTo>
                    <a:pt x="261" y="21"/>
                  </a:lnTo>
                  <a:lnTo>
                    <a:pt x="261" y="23"/>
                  </a:lnTo>
                  <a:lnTo>
                    <a:pt x="261" y="23"/>
                  </a:lnTo>
                  <a:lnTo>
                    <a:pt x="261" y="25"/>
                  </a:lnTo>
                  <a:lnTo>
                    <a:pt x="261" y="25"/>
                  </a:lnTo>
                  <a:lnTo>
                    <a:pt x="261" y="25"/>
                  </a:lnTo>
                  <a:lnTo>
                    <a:pt x="263" y="27"/>
                  </a:lnTo>
                  <a:lnTo>
                    <a:pt x="267" y="27"/>
                  </a:lnTo>
                  <a:lnTo>
                    <a:pt x="270" y="29"/>
                  </a:lnTo>
                  <a:lnTo>
                    <a:pt x="270" y="31"/>
                  </a:lnTo>
                  <a:lnTo>
                    <a:pt x="270" y="33"/>
                  </a:lnTo>
                  <a:lnTo>
                    <a:pt x="265" y="35"/>
                  </a:lnTo>
                  <a:lnTo>
                    <a:pt x="265" y="35"/>
                  </a:lnTo>
                  <a:lnTo>
                    <a:pt x="263" y="37"/>
                  </a:lnTo>
                  <a:lnTo>
                    <a:pt x="263" y="37"/>
                  </a:lnTo>
                  <a:lnTo>
                    <a:pt x="261" y="37"/>
                  </a:lnTo>
                  <a:lnTo>
                    <a:pt x="259" y="37"/>
                  </a:lnTo>
                  <a:lnTo>
                    <a:pt x="257" y="37"/>
                  </a:lnTo>
                  <a:lnTo>
                    <a:pt x="255" y="37"/>
                  </a:lnTo>
                  <a:lnTo>
                    <a:pt x="250" y="40"/>
                  </a:lnTo>
                  <a:lnTo>
                    <a:pt x="248" y="42"/>
                  </a:lnTo>
                  <a:lnTo>
                    <a:pt x="250" y="44"/>
                  </a:lnTo>
                  <a:lnTo>
                    <a:pt x="250" y="46"/>
                  </a:lnTo>
                  <a:lnTo>
                    <a:pt x="250" y="46"/>
                  </a:lnTo>
                  <a:lnTo>
                    <a:pt x="248" y="46"/>
                  </a:lnTo>
                  <a:lnTo>
                    <a:pt x="246" y="48"/>
                  </a:lnTo>
                  <a:lnTo>
                    <a:pt x="242" y="50"/>
                  </a:lnTo>
                  <a:lnTo>
                    <a:pt x="240" y="50"/>
                  </a:lnTo>
                  <a:lnTo>
                    <a:pt x="229" y="48"/>
                  </a:lnTo>
                  <a:lnTo>
                    <a:pt x="225" y="46"/>
                  </a:lnTo>
                  <a:lnTo>
                    <a:pt x="223" y="46"/>
                  </a:lnTo>
                  <a:lnTo>
                    <a:pt x="223" y="44"/>
                  </a:lnTo>
                  <a:lnTo>
                    <a:pt x="221" y="40"/>
                  </a:lnTo>
                  <a:lnTo>
                    <a:pt x="221" y="37"/>
                  </a:lnTo>
                  <a:lnTo>
                    <a:pt x="221" y="35"/>
                  </a:lnTo>
                  <a:lnTo>
                    <a:pt x="221" y="35"/>
                  </a:lnTo>
                  <a:lnTo>
                    <a:pt x="223" y="33"/>
                  </a:lnTo>
                  <a:lnTo>
                    <a:pt x="223" y="33"/>
                  </a:lnTo>
                  <a:lnTo>
                    <a:pt x="223" y="31"/>
                  </a:lnTo>
                  <a:lnTo>
                    <a:pt x="219" y="31"/>
                  </a:lnTo>
                  <a:lnTo>
                    <a:pt x="210" y="33"/>
                  </a:lnTo>
                  <a:lnTo>
                    <a:pt x="206" y="35"/>
                  </a:lnTo>
                  <a:lnTo>
                    <a:pt x="204" y="37"/>
                  </a:lnTo>
                  <a:lnTo>
                    <a:pt x="198" y="37"/>
                  </a:lnTo>
                  <a:lnTo>
                    <a:pt x="196" y="37"/>
                  </a:lnTo>
                  <a:lnTo>
                    <a:pt x="192" y="40"/>
                  </a:lnTo>
                  <a:lnTo>
                    <a:pt x="190" y="40"/>
                  </a:lnTo>
                  <a:lnTo>
                    <a:pt x="189" y="40"/>
                  </a:lnTo>
                  <a:lnTo>
                    <a:pt x="185" y="42"/>
                  </a:lnTo>
                  <a:lnTo>
                    <a:pt x="181" y="42"/>
                  </a:lnTo>
                  <a:lnTo>
                    <a:pt x="179" y="42"/>
                  </a:lnTo>
                  <a:lnTo>
                    <a:pt x="179" y="44"/>
                  </a:lnTo>
                  <a:lnTo>
                    <a:pt x="177" y="50"/>
                  </a:lnTo>
                  <a:lnTo>
                    <a:pt x="175" y="52"/>
                  </a:lnTo>
                  <a:lnTo>
                    <a:pt x="171" y="56"/>
                  </a:lnTo>
                  <a:lnTo>
                    <a:pt x="168" y="56"/>
                  </a:lnTo>
                  <a:lnTo>
                    <a:pt x="149" y="56"/>
                  </a:lnTo>
                  <a:lnTo>
                    <a:pt x="145" y="56"/>
                  </a:lnTo>
                  <a:lnTo>
                    <a:pt x="141" y="54"/>
                  </a:lnTo>
                  <a:lnTo>
                    <a:pt x="133" y="46"/>
                  </a:lnTo>
                  <a:lnTo>
                    <a:pt x="129" y="44"/>
                  </a:lnTo>
                  <a:lnTo>
                    <a:pt x="105" y="44"/>
                  </a:lnTo>
                  <a:lnTo>
                    <a:pt x="97" y="46"/>
                  </a:lnTo>
                  <a:lnTo>
                    <a:pt x="93" y="48"/>
                  </a:lnTo>
                  <a:lnTo>
                    <a:pt x="91" y="46"/>
                  </a:lnTo>
                  <a:lnTo>
                    <a:pt x="88" y="44"/>
                  </a:lnTo>
                  <a:lnTo>
                    <a:pt x="84" y="44"/>
                  </a:lnTo>
                  <a:lnTo>
                    <a:pt x="82" y="44"/>
                  </a:lnTo>
                  <a:lnTo>
                    <a:pt x="80" y="46"/>
                  </a:lnTo>
                  <a:lnTo>
                    <a:pt x="76" y="48"/>
                  </a:lnTo>
                  <a:lnTo>
                    <a:pt x="74" y="46"/>
                  </a:lnTo>
                  <a:lnTo>
                    <a:pt x="74" y="46"/>
                  </a:lnTo>
                  <a:lnTo>
                    <a:pt x="72" y="42"/>
                  </a:lnTo>
                  <a:lnTo>
                    <a:pt x="70" y="42"/>
                  </a:lnTo>
                  <a:lnTo>
                    <a:pt x="70" y="40"/>
                  </a:lnTo>
                  <a:lnTo>
                    <a:pt x="69" y="40"/>
                  </a:lnTo>
                  <a:lnTo>
                    <a:pt x="69" y="40"/>
                  </a:lnTo>
                  <a:lnTo>
                    <a:pt x="69" y="40"/>
                  </a:lnTo>
                  <a:lnTo>
                    <a:pt x="67" y="42"/>
                  </a:lnTo>
                  <a:lnTo>
                    <a:pt x="67" y="42"/>
                  </a:lnTo>
                  <a:lnTo>
                    <a:pt x="65" y="48"/>
                  </a:lnTo>
                  <a:lnTo>
                    <a:pt x="63" y="50"/>
                  </a:lnTo>
                  <a:lnTo>
                    <a:pt x="61" y="48"/>
                  </a:lnTo>
                  <a:lnTo>
                    <a:pt x="61" y="42"/>
                  </a:lnTo>
                  <a:lnTo>
                    <a:pt x="59" y="40"/>
                  </a:lnTo>
                  <a:lnTo>
                    <a:pt x="55" y="40"/>
                  </a:lnTo>
                  <a:lnTo>
                    <a:pt x="53" y="44"/>
                  </a:lnTo>
                  <a:lnTo>
                    <a:pt x="53" y="52"/>
                  </a:lnTo>
                  <a:lnTo>
                    <a:pt x="53" y="63"/>
                  </a:lnTo>
                  <a:lnTo>
                    <a:pt x="53" y="77"/>
                  </a:lnTo>
                  <a:lnTo>
                    <a:pt x="46" y="77"/>
                  </a:lnTo>
                  <a:lnTo>
                    <a:pt x="36" y="77"/>
                  </a:lnTo>
                  <a:lnTo>
                    <a:pt x="27" y="77"/>
                  </a:lnTo>
                  <a:lnTo>
                    <a:pt x="21" y="77"/>
                  </a:lnTo>
                  <a:lnTo>
                    <a:pt x="19" y="78"/>
                  </a:lnTo>
                  <a:lnTo>
                    <a:pt x="19" y="78"/>
                  </a:lnTo>
                  <a:lnTo>
                    <a:pt x="19" y="77"/>
                  </a:lnTo>
                  <a:lnTo>
                    <a:pt x="19" y="77"/>
                  </a:lnTo>
                  <a:lnTo>
                    <a:pt x="17" y="77"/>
                  </a:lnTo>
                  <a:lnTo>
                    <a:pt x="17" y="77"/>
                  </a:lnTo>
                  <a:lnTo>
                    <a:pt x="17" y="77"/>
                  </a:lnTo>
                  <a:lnTo>
                    <a:pt x="17" y="78"/>
                  </a:lnTo>
                  <a:lnTo>
                    <a:pt x="17" y="78"/>
                  </a:lnTo>
                  <a:lnTo>
                    <a:pt x="15" y="80"/>
                  </a:lnTo>
                  <a:lnTo>
                    <a:pt x="15" y="82"/>
                  </a:lnTo>
                  <a:lnTo>
                    <a:pt x="13" y="82"/>
                  </a:lnTo>
                  <a:lnTo>
                    <a:pt x="13" y="82"/>
                  </a:lnTo>
                  <a:lnTo>
                    <a:pt x="11" y="80"/>
                  </a:lnTo>
                  <a:lnTo>
                    <a:pt x="11" y="80"/>
                  </a:lnTo>
                  <a:lnTo>
                    <a:pt x="11" y="78"/>
                  </a:lnTo>
                  <a:lnTo>
                    <a:pt x="9" y="78"/>
                  </a:lnTo>
                  <a:lnTo>
                    <a:pt x="9" y="80"/>
                  </a:lnTo>
                  <a:lnTo>
                    <a:pt x="9" y="80"/>
                  </a:lnTo>
                  <a:lnTo>
                    <a:pt x="9" y="82"/>
                  </a:lnTo>
                  <a:lnTo>
                    <a:pt x="9" y="82"/>
                  </a:lnTo>
                  <a:lnTo>
                    <a:pt x="9" y="82"/>
                  </a:lnTo>
                  <a:lnTo>
                    <a:pt x="9" y="82"/>
                  </a:lnTo>
                  <a:lnTo>
                    <a:pt x="9" y="84"/>
                  </a:lnTo>
                  <a:lnTo>
                    <a:pt x="9" y="84"/>
                  </a:lnTo>
                  <a:lnTo>
                    <a:pt x="9" y="84"/>
                  </a:lnTo>
                  <a:lnTo>
                    <a:pt x="8" y="84"/>
                  </a:lnTo>
                  <a:lnTo>
                    <a:pt x="8" y="84"/>
                  </a:lnTo>
                  <a:lnTo>
                    <a:pt x="8" y="84"/>
                  </a:lnTo>
                  <a:lnTo>
                    <a:pt x="6" y="84"/>
                  </a:lnTo>
                  <a:lnTo>
                    <a:pt x="6" y="86"/>
                  </a:lnTo>
                  <a:lnTo>
                    <a:pt x="4" y="88"/>
                  </a:lnTo>
                  <a:lnTo>
                    <a:pt x="4" y="88"/>
                  </a:lnTo>
                  <a:lnTo>
                    <a:pt x="4" y="90"/>
                  </a:lnTo>
                  <a:lnTo>
                    <a:pt x="2" y="90"/>
                  </a:lnTo>
                  <a:lnTo>
                    <a:pt x="2" y="94"/>
                  </a:lnTo>
                  <a:lnTo>
                    <a:pt x="2" y="96"/>
                  </a:lnTo>
                  <a:lnTo>
                    <a:pt x="2" y="97"/>
                  </a:lnTo>
                  <a:lnTo>
                    <a:pt x="2" y="97"/>
                  </a:lnTo>
                  <a:lnTo>
                    <a:pt x="2" y="97"/>
                  </a:lnTo>
                  <a:lnTo>
                    <a:pt x="4" y="96"/>
                  </a:lnTo>
                  <a:lnTo>
                    <a:pt x="4" y="97"/>
                  </a:lnTo>
                  <a:lnTo>
                    <a:pt x="4" y="99"/>
                  </a:lnTo>
                  <a:lnTo>
                    <a:pt x="4" y="101"/>
                  </a:lnTo>
                  <a:lnTo>
                    <a:pt x="6" y="103"/>
                  </a:lnTo>
                  <a:lnTo>
                    <a:pt x="8" y="105"/>
                  </a:lnTo>
                  <a:lnTo>
                    <a:pt x="8" y="105"/>
                  </a:lnTo>
                  <a:lnTo>
                    <a:pt x="9" y="105"/>
                  </a:lnTo>
                  <a:lnTo>
                    <a:pt x="11" y="105"/>
                  </a:lnTo>
                  <a:lnTo>
                    <a:pt x="11" y="107"/>
                  </a:lnTo>
                  <a:lnTo>
                    <a:pt x="9" y="107"/>
                  </a:lnTo>
                  <a:lnTo>
                    <a:pt x="9" y="107"/>
                  </a:lnTo>
                  <a:lnTo>
                    <a:pt x="8" y="109"/>
                  </a:lnTo>
                  <a:lnTo>
                    <a:pt x="6" y="107"/>
                  </a:lnTo>
                  <a:lnTo>
                    <a:pt x="6" y="107"/>
                  </a:lnTo>
                  <a:lnTo>
                    <a:pt x="4" y="107"/>
                  </a:lnTo>
                  <a:lnTo>
                    <a:pt x="4" y="109"/>
                  </a:lnTo>
                  <a:lnTo>
                    <a:pt x="4" y="109"/>
                  </a:lnTo>
                  <a:lnTo>
                    <a:pt x="2" y="109"/>
                  </a:lnTo>
                  <a:lnTo>
                    <a:pt x="2" y="111"/>
                  </a:lnTo>
                  <a:lnTo>
                    <a:pt x="0" y="111"/>
                  </a:lnTo>
                  <a:lnTo>
                    <a:pt x="0" y="111"/>
                  </a:lnTo>
                  <a:lnTo>
                    <a:pt x="0" y="113"/>
                  </a:lnTo>
                  <a:lnTo>
                    <a:pt x="0" y="113"/>
                  </a:lnTo>
                  <a:lnTo>
                    <a:pt x="2" y="115"/>
                  </a:lnTo>
                  <a:lnTo>
                    <a:pt x="8" y="115"/>
                  </a:lnTo>
                  <a:lnTo>
                    <a:pt x="13" y="115"/>
                  </a:lnTo>
                  <a:lnTo>
                    <a:pt x="15" y="115"/>
                  </a:lnTo>
                  <a:lnTo>
                    <a:pt x="15" y="115"/>
                  </a:lnTo>
                  <a:lnTo>
                    <a:pt x="17" y="115"/>
                  </a:lnTo>
                  <a:lnTo>
                    <a:pt x="17" y="113"/>
                  </a:lnTo>
                  <a:lnTo>
                    <a:pt x="19" y="113"/>
                  </a:lnTo>
                  <a:lnTo>
                    <a:pt x="19" y="113"/>
                  </a:lnTo>
                  <a:lnTo>
                    <a:pt x="19" y="111"/>
                  </a:lnTo>
                  <a:lnTo>
                    <a:pt x="17" y="111"/>
                  </a:lnTo>
                  <a:lnTo>
                    <a:pt x="25" y="103"/>
                  </a:lnTo>
                  <a:lnTo>
                    <a:pt x="25" y="101"/>
                  </a:lnTo>
                  <a:lnTo>
                    <a:pt x="27" y="101"/>
                  </a:lnTo>
                  <a:lnTo>
                    <a:pt x="30" y="99"/>
                  </a:lnTo>
                  <a:lnTo>
                    <a:pt x="32" y="99"/>
                  </a:lnTo>
                  <a:lnTo>
                    <a:pt x="34" y="97"/>
                  </a:lnTo>
                  <a:lnTo>
                    <a:pt x="36" y="97"/>
                  </a:lnTo>
                  <a:lnTo>
                    <a:pt x="38" y="96"/>
                  </a:lnTo>
                  <a:lnTo>
                    <a:pt x="40" y="96"/>
                  </a:lnTo>
                  <a:lnTo>
                    <a:pt x="42" y="96"/>
                  </a:lnTo>
                  <a:lnTo>
                    <a:pt x="42" y="94"/>
                  </a:lnTo>
                  <a:lnTo>
                    <a:pt x="44" y="90"/>
                  </a:lnTo>
                  <a:lnTo>
                    <a:pt x="44" y="90"/>
                  </a:lnTo>
                  <a:lnTo>
                    <a:pt x="46" y="90"/>
                  </a:lnTo>
                  <a:lnTo>
                    <a:pt x="49" y="90"/>
                  </a:lnTo>
                  <a:lnTo>
                    <a:pt x="51" y="90"/>
                  </a:lnTo>
                  <a:lnTo>
                    <a:pt x="55" y="88"/>
                  </a:lnTo>
                  <a:lnTo>
                    <a:pt x="57" y="86"/>
                  </a:lnTo>
                  <a:lnTo>
                    <a:pt x="57" y="86"/>
                  </a:lnTo>
                  <a:lnTo>
                    <a:pt x="61" y="84"/>
                  </a:lnTo>
                  <a:lnTo>
                    <a:pt x="61" y="86"/>
                  </a:lnTo>
                  <a:lnTo>
                    <a:pt x="57" y="90"/>
                  </a:lnTo>
                  <a:lnTo>
                    <a:pt x="55" y="90"/>
                  </a:lnTo>
                  <a:lnTo>
                    <a:pt x="55" y="90"/>
                  </a:lnTo>
                  <a:lnTo>
                    <a:pt x="53" y="92"/>
                  </a:lnTo>
                  <a:lnTo>
                    <a:pt x="51" y="92"/>
                  </a:lnTo>
                  <a:lnTo>
                    <a:pt x="49" y="92"/>
                  </a:lnTo>
                  <a:lnTo>
                    <a:pt x="48" y="92"/>
                  </a:lnTo>
                  <a:lnTo>
                    <a:pt x="46" y="94"/>
                  </a:lnTo>
                  <a:lnTo>
                    <a:pt x="46" y="97"/>
                  </a:lnTo>
                  <a:lnTo>
                    <a:pt x="42" y="97"/>
                  </a:lnTo>
                  <a:lnTo>
                    <a:pt x="40" y="99"/>
                  </a:lnTo>
                  <a:lnTo>
                    <a:pt x="38" y="103"/>
                  </a:lnTo>
                  <a:lnTo>
                    <a:pt x="36" y="105"/>
                  </a:lnTo>
                  <a:lnTo>
                    <a:pt x="36" y="105"/>
                  </a:lnTo>
                  <a:lnTo>
                    <a:pt x="34" y="105"/>
                  </a:lnTo>
                  <a:lnTo>
                    <a:pt x="32" y="105"/>
                  </a:lnTo>
                  <a:lnTo>
                    <a:pt x="30" y="107"/>
                  </a:lnTo>
                  <a:lnTo>
                    <a:pt x="28" y="107"/>
                  </a:lnTo>
                  <a:lnTo>
                    <a:pt x="28" y="107"/>
                  </a:lnTo>
                  <a:lnTo>
                    <a:pt x="28" y="109"/>
                  </a:lnTo>
                  <a:lnTo>
                    <a:pt x="30" y="109"/>
                  </a:lnTo>
                  <a:lnTo>
                    <a:pt x="30" y="109"/>
                  </a:lnTo>
                  <a:lnTo>
                    <a:pt x="32" y="109"/>
                  </a:lnTo>
                  <a:lnTo>
                    <a:pt x="30" y="111"/>
                  </a:lnTo>
                  <a:lnTo>
                    <a:pt x="30" y="111"/>
                  </a:lnTo>
                  <a:lnTo>
                    <a:pt x="25" y="111"/>
                  </a:lnTo>
                  <a:lnTo>
                    <a:pt x="23" y="111"/>
                  </a:lnTo>
                  <a:lnTo>
                    <a:pt x="23" y="113"/>
                  </a:lnTo>
                  <a:lnTo>
                    <a:pt x="25" y="118"/>
                  </a:lnTo>
                  <a:lnTo>
                    <a:pt x="23" y="122"/>
                  </a:lnTo>
                  <a:lnTo>
                    <a:pt x="25" y="124"/>
                  </a:lnTo>
                  <a:lnTo>
                    <a:pt x="27" y="124"/>
                  </a:lnTo>
                  <a:lnTo>
                    <a:pt x="27" y="122"/>
                  </a:lnTo>
                  <a:lnTo>
                    <a:pt x="27" y="122"/>
                  </a:lnTo>
                  <a:lnTo>
                    <a:pt x="27" y="120"/>
                  </a:lnTo>
                  <a:lnTo>
                    <a:pt x="27" y="118"/>
                  </a:lnTo>
                  <a:lnTo>
                    <a:pt x="27" y="118"/>
                  </a:lnTo>
                  <a:lnTo>
                    <a:pt x="28" y="120"/>
                  </a:lnTo>
                  <a:lnTo>
                    <a:pt x="28" y="120"/>
                  </a:lnTo>
                  <a:lnTo>
                    <a:pt x="28" y="122"/>
                  </a:lnTo>
                  <a:lnTo>
                    <a:pt x="30" y="120"/>
                  </a:lnTo>
                  <a:lnTo>
                    <a:pt x="30" y="120"/>
                  </a:lnTo>
                  <a:lnTo>
                    <a:pt x="30" y="122"/>
                  </a:lnTo>
                  <a:lnTo>
                    <a:pt x="28" y="122"/>
                  </a:lnTo>
                  <a:lnTo>
                    <a:pt x="27" y="124"/>
                  </a:lnTo>
                  <a:lnTo>
                    <a:pt x="27" y="126"/>
                  </a:lnTo>
                  <a:lnTo>
                    <a:pt x="25" y="128"/>
                  </a:lnTo>
                  <a:lnTo>
                    <a:pt x="27" y="130"/>
                  </a:lnTo>
                  <a:lnTo>
                    <a:pt x="27" y="130"/>
                  </a:lnTo>
                  <a:lnTo>
                    <a:pt x="28" y="130"/>
                  </a:lnTo>
                  <a:lnTo>
                    <a:pt x="28" y="128"/>
                  </a:lnTo>
                  <a:lnTo>
                    <a:pt x="28" y="130"/>
                  </a:lnTo>
                  <a:lnTo>
                    <a:pt x="28" y="132"/>
                  </a:lnTo>
                  <a:lnTo>
                    <a:pt x="28" y="132"/>
                  </a:lnTo>
                  <a:lnTo>
                    <a:pt x="30" y="134"/>
                  </a:lnTo>
                  <a:lnTo>
                    <a:pt x="30" y="132"/>
                  </a:lnTo>
                  <a:lnTo>
                    <a:pt x="32" y="132"/>
                  </a:lnTo>
                  <a:lnTo>
                    <a:pt x="32" y="132"/>
                  </a:lnTo>
                  <a:lnTo>
                    <a:pt x="34" y="132"/>
                  </a:lnTo>
                  <a:lnTo>
                    <a:pt x="34" y="132"/>
                  </a:lnTo>
                  <a:lnTo>
                    <a:pt x="34" y="130"/>
                  </a:lnTo>
                  <a:lnTo>
                    <a:pt x="36" y="132"/>
                  </a:lnTo>
                  <a:lnTo>
                    <a:pt x="36" y="132"/>
                  </a:lnTo>
                  <a:lnTo>
                    <a:pt x="34" y="132"/>
                  </a:lnTo>
                  <a:lnTo>
                    <a:pt x="34" y="132"/>
                  </a:lnTo>
                  <a:lnTo>
                    <a:pt x="34" y="134"/>
                  </a:lnTo>
                  <a:lnTo>
                    <a:pt x="34" y="134"/>
                  </a:lnTo>
                  <a:lnTo>
                    <a:pt x="34" y="135"/>
                  </a:lnTo>
                  <a:lnTo>
                    <a:pt x="34" y="135"/>
                  </a:lnTo>
                  <a:lnTo>
                    <a:pt x="34" y="137"/>
                  </a:lnTo>
                  <a:lnTo>
                    <a:pt x="36" y="137"/>
                  </a:lnTo>
                  <a:lnTo>
                    <a:pt x="36" y="137"/>
                  </a:lnTo>
                  <a:lnTo>
                    <a:pt x="36" y="137"/>
                  </a:lnTo>
                  <a:lnTo>
                    <a:pt x="38" y="137"/>
                  </a:lnTo>
                  <a:lnTo>
                    <a:pt x="38" y="137"/>
                  </a:lnTo>
                  <a:lnTo>
                    <a:pt x="38" y="137"/>
                  </a:lnTo>
                  <a:lnTo>
                    <a:pt x="38" y="137"/>
                  </a:lnTo>
                  <a:lnTo>
                    <a:pt x="38" y="139"/>
                  </a:lnTo>
                  <a:lnTo>
                    <a:pt x="40" y="139"/>
                  </a:lnTo>
                  <a:lnTo>
                    <a:pt x="40" y="139"/>
                  </a:lnTo>
                  <a:lnTo>
                    <a:pt x="42" y="139"/>
                  </a:lnTo>
                  <a:lnTo>
                    <a:pt x="42" y="141"/>
                  </a:lnTo>
                  <a:lnTo>
                    <a:pt x="42" y="141"/>
                  </a:lnTo>
                  <a:lnTo>
                    <a:pt x="38" y="141"/>
                  </a:lnTo>
                  <a:lnTo>
                    <a:pt x="38" y="141"/>
                  </a:lnTo>
                  <a:lnTo>
                    <a:pt x="36" y="145"/>
                  </a:lnTo>
                  <a:lnTo>
                    <a:pt x="36" y="147"/>
                  </a:lnTo>
                  <a:lnTo>
                    <a:pt x="40" y="147"/>
                  </a:lnTo>
                  <a:lnTo>
                    <a:pt x="42" y="147"/>
                  </a:lnTo>
                  <a:lnTo>
                    <a:pt x="44" y="147"/>
                  </a:lnTo>
                  <a:lnTo>
                    <a:pt x="44" y="147"/>
                  </a:lnTo>
                  <a:lnTo>
                    <a:pt x="44" y="149"/>
                  </a:lnTo>
                  <a:lnTo>
                    <a:pt x="42" y="151"/>
                  </a:lnTo>
                  <a:lnTo>
                    <a:pt x="42" y="149"/>
                  </a:lnTo>
                  <a:lnTo>
                    <a:pt x="42" y="149"/>
                  </a:lnTo>
                  <a:lnTo>
                    <a:pt x="42" y="151"/>
                  </a:lnTo>
                  <a:lnTo>
                    <a:pt x="42" y="153"/>
                  </a:lnTo>
                  <a:lnTo>
                    <a:pt x="44" y="154"/>
                  </a:lnTo>
                  <a:lnTo>
                    <a:pt x="46" y="154"/>
                  </a:lnTo>
                  <a:lnTo>
                    <a:pt x="46" y="156"/>
                  </a:lnTo>
                  <a:lnTo>
                    <a:pt x="46" y="156"/>
                  </a:lnTo>
                  <a:lnTo>
                    <a:pt x="46" y="158"/>
                  </a:lnTo>
                  <a:lnTo>
                    <a:pt x="48" y="158"/>
                  </a:lnTo>
                  <a:lnTo>
                    <a:pt x="49" y="160"/>
                  </a:lnTo>
                  <a:lnTo>
                    <a:pt x="67" y="172"/>
                  </a:lnTo>
                  <a:lnTo>
                    <a:pt x="82" y="179"/>
                  </a:lnTo>
                  <a:lnTo>
                    <a:pt x="91" y="185"/>
                  </a:lnTo>
                  <a:lnTo>
                    <a:pt x="97" y="189"/>
                  </a:lnTo>
                  <a:lnTo>
                    <a:pt x="101" y="189"/>
                  </a:lnTo>
                  <a:lnTo>
                    <a:pt x="110" y="191"/>
                  </a:lnTo>
                  <a:lnTo>
                    <a:pt x="112" y="191"/>
                  </a:lnTo>
                  <a:lnTo>
                    <a:pt x="116" y="193"/>
                  </a:lnTo>
                  <a:lnTo>
                    <a:pt x="118" y="193"/>
                  </a:lnTo>
                  <a:lnTo>
                    <a:pt x="122" y="194"/>
                  </a:lnTo>
                  <a:lnTo>
                    <a:pt x="122" y="194"/>
                  </a:lnTo>
                  <a:lnTo>
                    <a:pt x="124" y="194"/>
                  </a:lnTo>
                  <a:lnTo>
                    <a:pt x="124" y="194"/>
                  </a:lnTo>
                  <a:lnTo>
                    <a:pt x="124" y="194"/>
                  </a:lnTo>
                  <a:lnTo>
                    <a:pt x="126" y="194"/>
                  </a:lnTo>
                  <a:lnTo>
                    <a:pt x="129" y="194"/>
                  </a:lnTo>
                  <a:lnTo>
                    <a:pt x="129" y="196"/>
                  </a:lnTo>
                  <a:lnTo>
                    <a:pt x="131" y="196"/>
                  </a:lnTo>
                  <a:lnTo>
                    <a:pt x="133" y="196"/>
                  </a:lnTo>
                  <a:lnTo>
                    <a:pt x="139" y="198"/>
                  </a:lnTo>
                  <a:lnTo>
                    <a:pt x="143" y="198"/>
                  </a:lnTo>
                  <a:lnTo>
                    <a:pt x="145" y="198"/>
                  </a:lnTo>
                  <a:lnTo>
                    <a:pt x="145" y="198"/>
                  </a:lnTo>
                  <a:lnTo>
                    <a:pt x="149" y="193"/>
                  </a:lnTo>
                  <a:lnTo>
                    <a:pt x="150" y="191"/>
                  </a:lnTo>
                  <a:lnTo>
                    <a:pt x="152" y="189"/>
                  </a:lnTo>
                  <a:lnTo>
                    <a:pt x="156" y="187"/>
                  </a:lnTo>
                  <a:lnTo>
                    <a:pt x="156" y="187"/>
                  </a:lnTo>
                  <a:lnTo>
                    <a:pt x="160" y="187"/>
                  </a:lnTo>
                  <a:lnTo>
                    <a:pt x="166" y="185"/>
                  </a:lnTo>
                  <a:lnTo>
                    <a:pt x="170" y="185"/>
                  </a:lnTo>
                  <a:lnTo>
                    <a:pt x="177" y="181"/>
                  </a:lnTo>
                  <a:lnTo>
                    <a:pt x="181" y="181"/>
                  </a:lnTo>
                  <a:lnTo>
                    <a:pt x="183" y="181"/>
                  </a:lnTo>
                  <a:lnTo>
                    <a:pt x="183" y="179"/>
                  </a:lnTo>
                  <a:lnTo>
                    <a:pt x="181" y="177"/>
                  </a:lnTo>
                  <a:lnTo>
                    <a:pt x="181" y="177"/>
                  </a:lnTo>
                  <a:lnTo>
                    <a:pt x="183" y="173"/>
                  </a:lnTo>
                  <a:lnTo>
                    <a:pt x="183" y="175"/>
                  </a:lnTo>
                  <a:lnTo>
                    <a:pt x="183" y="175"/>
                  </a:lnTo>
                  <a:lnTo>
                    <a:pt x="183" y="177"/>
                  </a:lnTo>
                  <a:lnTo>
                    <a:pt x="183" y="177"/>
                  </a:lnTo>
                  <a:lnTo>
                    <a:pt x="185" y="177"/>
                  </a:lnTo>
                  <a:lnTo>
                    <a:pt x="185" y="177"/>
                  </a:lnTo>
                  <a:lnTo>
                    <a:pt x="185" y="177"/>
                  </a:lnTo>
                  <a:lnTo>
                    <a:pt x="185" y="177"/>
                  </a:lnTo>
                  <a:lnTo>
                    <a:pt x="185" y="179"/>
                  </a:lnTo>
                  <a:lnTo>
                    <a:pt x="187" y="179"/>
                  </a:lnTo>
                  <a:lnTo>
                    <a:pt x="187" y="177"/>
                  </a:lnTo>
                  <a:lnTo>
                    <a:pt x="187" y="177"/>
                  </a:lnTo>
                  <a:lnTo>
                    <a:pt x="189" y="177"/>
                  </a:lnTo>
                  <a:lnTo>
                    <a:pt x="190" y="177"/>
                  </a:lnTo>
                  <a:lnTo>
                    <a:pt x="192" y="175"/>
                  </a:lnTo>
                  <a:lnTo>
                    <a:pt x="192" y="173"/>
                  </a:lnTo>
                  <a:lnTo>
                    <a:pt x="194" y="175"/>
                  </a:lnTo>
                  <a:lnTo>
                    <a:pt x="194" y="175"/>
                  </a:lnTo>
                  <a:lnTo>
                    <a:pt x="196" y="177"/>
                  </a:lnTo>
                  <a:lnTo>
                    <a:pt x="198" y="177"/>
                  </a:lnTo>
                  <a:lnTo>
                    <a:pt x="198" y="177"/>
                  </a:lnTo>
                  <a:lnTo>
                    <a:pt x="198" y="179"/>
                  </a:lnTo>
                  <a:lnTo>
                    <a:pt x="198" y="179"/>
                  </a:lnTo>
                  <a:lnTo>
                    <a:pt x="200" y="179"/>
                  </a:lnTo>
                  <a:lnTo>
                    <a:pt x="200" y="179"/>
                  </a:lnTo>
                  <a:lnTo>
                    <a:pt x="200" y="179"/>
                  </a:lnTo>
                  <a:lnTo>
                    <a:pt x="200" y="179"/>
                  </a:lnTo>
                  <a:lnTo>
                    <a:pt x="202" y="179"/>
                  </a:lnTo>
                  <a:lnTo>
                    <a:pt x="202" y="179"/>
                  </a:lnTo>
                  <a:lnTo>
                    <a:pt x="202" y="179"/>
                  </a:lnTo>
                  <a:lnTo>
                    <a:pt x="202" y="181"/>
                  </a:lnTo>
                  <a:lnTo>
                    <a:pt x="204" y="179"/>
                  </a:lnTo>
                  <a:lnTo>
                    <a:pt x="204" y="179"/>
                  </a:lnTo>
                  <a:lnTo>
                    <a:pt x="204" y="179"/>
                  </a:lnTo>
                  <a:lnTo>
                    <a:pt x="206" y="179"/>
                  </a:lnTo>
                  <a:lnTo>
                    <a:pt x="208" y="179"/>
                  </a:lnTo>
                  <a:lnTo>
                    <a:pt x="208" y="179"/>
                  </a:lnTo>
                  <a:lnTo>
                    <a:pt x="208" y="177"/>
                  </a:lnTo>
                  <a:lnTo>
                    <a:pt x="208" y="177"/>
                  </a:lnTo>
                  <a:lnTo>
                    <a:pt x="208" y="175"/>
                  </a:lnTo>
                  <a:lnTo>
                    <a:pt x="208" y="173"/>
                  </a:lnTo>
                  <a:lnTo>
                    <a:pt x="208" y="173"/>
                  </a:lnTo>
                  <a:lnTo>
                    <a:pt x="208" y="172"/>
                  </a:lnTo>
                  <a:lnTo>
                    <a:pt x="208" y="170"/>
                  </a:lnTo>
                  <a:lnTo>
                    <a:pt x="208" y="170"/>
                  </a:lnTo>
                  <a:lnTo>
                    <a:pt x="208" y="168"/>
                  </a:lnTo>
                  <a:lnTo>
                    <a:pt x="208" y="166"/>
                  </a:lnTo>
                  <a:lnTo>
                    <a:pt x="208" y="164"/>
                  </a:lnTo>
                  <a:lnTo>
                    <a:pt x="211" y="162"/>
                  </a:lnTo>
                  <a:lnTo>
                    <a:pt x="213" y="162"/>
                  </a:lnTo>
                  <a:lnTo>
                    <a:pt x="213" y="160"/>
                  </a:lnTo>
                  <a:lnTo>
                    <a:pt x="215" y="160"/>
                  </a:lnTo>
                  <a:lnTo>
                    <a:pt x="217" y="162"/>
                  </a:lnTo>
                  <a:lnTo>
                    <a:pt x="219" y="164"/>
                  </a:lnTo>
                  <a:lnTo>
                    <a:pt x="219" y="166"/>
                  </a:lnTo>
                  <a:lnTo>
                    <a:pt x="219" y="168"/>
                  </a:lnTo>
                  <a:lnTo>
                    <a:pt x="219" y="172"/>
                  </a:lnTo>
                  <a:lnTo>
                    <a:pt x="219" y="173"/>
                  </a:lnTo>
                  <a:lnTo>
                    <a:pt x="217" y="173"/>
                  </a:lnTo>
                  <a:lnTo>
                    <a:pt x="217" y="175"/>
                  </a:lnTo>
                  <a:lnTo>
                    <a:pt x="217" y="177"/>
                  </a:lnTo>
                  <a:lnTo>
                    <a:pt x="215" y="177"/>
                  </a:lnTo>
                  <a:lnTo>
                    <a:pt x="215" y="177"/>
                  </a:lnTo>
                  <a:lnTo>
                    <a:pt x="213" y="177"/>
                  </a:lnTo>
                  <a:lnTo>
                    <a:pt x="213" y="177"/>
                  </a:lnTo>
                  <a:lnTo>
                    <a:pt x="211" y="177"/>
                  </a:lnTo>
                  <a:lnTo>
                    <a:pt x="208" y="181"/>
                  </a:lnTo>
                  <a:lnTo>
                    <a:pt x="206" y="183"/>
                  </a:lnTo>
                  <a:lnTo>
                    <a:pt x="206" y="183"/>
                  </a:lnTo>
                  <a:lnTo>
                    <a:pt x="202" y="189"/>
                  </a:lnTo>
                  <a:lnTo>
                    <a:pt x="200" y="191"/>
                  </a:lnTo>
                  <a:lnTo>
                    <a:pt x="200" y="191"/>
                  </a:lnTo>
                  <a:lnTo>
                    <a:pt x="200" y="193"/>
                  </a:lnTo>
                  <a:lnTo>
                    <a:pt x="200" y="194"/>
                  </a:lnTo>
                  <a:lnTo>
                    <a:pt x="200" y="196"/>
                  </a:lnTo>
                  <a:lnTo>
                    <a:pt x="196" y="202"/>
                  </a:lnTo>
                  <a:lnTo>
                    <a:pt x="192" y="208"/>
                  </a:lnTo>
                  <a:lnTo>
                    <a:pt x="190" y="212"/>
                  </a:lnTo>
                  <a:lnTo>
                    <a:pt x="189" y="215"/>
                  </a:lnTo>
                  <a:lnTo>
                    <a:pt x="187" y="217"/>
                  </a:lnTo>
                  <a:lnTo>
                    <a:pt x="185" y="219"/>
                  </a:lnTo>
                  <a:lnTo>
                    <a:pt x="175" y="217"/>
                  </a:lnTo>
                  <a:lnTo>
                    <a:pt x="173" y="217"/>
                  </a:lnTo>
                  <a:lnTo>
                    <a:pt x="171" y="219"/>
                  </a:lnTo>
                  <a:lnTo>
                    <a:pt x="170" y="219"/>
                  </a:lnTo>
                  <a:lnTo>
                    <a:pt x="168" y="219"/>
                  </a:lnTo>
                  <a:lnTo>
                    <a:pt x="168" y="219"/>
                  </a:lnTo>
                  <a:lnTo>
                    <a:pt x="168" y="219"/>
                  </a:lnTo>
                  <a:lnTo>
                    <a:pt x="162" y="225"/>
                  </a:lnTo>
                  <a:lnTo>
                    <a:pt x="160" y="227"/>
                  </a:lnTo>
                  <a:lnTo>
                    <a:pt x="158" y="227"/>
                  </a:lnTo>
                  <a:lnTo>
                    <a:pt x="156" y="227"/>
                  </a:lnTo>
                  <a:lnTo>
                    <a:pt x="156" y="227"/>
                  </a:lnTo>
                  <a:lnTo>
                    <a:pt x="156" y="227"/>
                  </a:lnTo>
                  <a:lnTo>
                    <a:pt x="154" y="229"/>
                  </a:lnTo>
                  <a:lnTo>
                    <a:pt x="154" y="229"/>
                  </a:lnTo>
                  <a:lnTo>
                    <a:pt x="154" y="231"/>
                  </a:lnTo>
                  <a:lnTo>
                    <a:pt x="152" y="231"/>
                  </a:lnTo>
                  <a:lnTo>
                    <a:pt x="152" y="231"/>
                  </a:lnTo>
                  <a:lnTo>
                    <a:pt x="150" y="231"/>
                  </a:lnTo>
                  <a:lnTo>
                    <a:pt x="147" y="227"/>
                  </a:lnTo>
                  <a:lnTo>
                    <a:pt x="147" y="225"/>
                  </a:lnTo>
                  <a:lnTo>
                    <a:pt x="145" y="227"/>
                  </a:lnTo>
                  <a:lnTo>
                    <a:pt x="143" y="231"/>
                  </a:lnTo>
                  <a:lnTo>
                    <a:pt x="143" y="232"/>
                  </a:lnTo>
                  <a:lnTo>
                    <a:pt x="143" y="232"/>
                  </a:lnTo>
                  <a:lnTo>
                    <a:pt x="141" y="232"/>
                  </a:lnTo>
                  <a:lnTo>
                    <a:pt x="141" y="232"/>
                  </a:lnTo>
                  <a:lnTo>
                    <a:pt x="141" y="232"/>
                  </a:lnTo>
                  <a:lnTo>
                    <a:pt x="139" y="232"/>
                  </a:lnTo>
                  <a:lnTo>
                    <a:pt x="139" y="232"/>
                  </a:lnTo>
                  <a:lnTo>
                    <a:pt x="139" y="234"/>
                  </a:lnTo>
                  <a:lnTo>
                    <a:pt x="139" y="234"/>
                  </a:lnTo>
                  <a:lnTo>
                    <a:pt x="137" y="234"/>
                  </a:lnTo>
                  <a:lnTo>
                    <a:pt x="137" y="236"/>
                  </a:lnTo>
                  <a:lnTo>
                    <a:pt x="137" y="234"/>
                  </a:lnTo>
                  <a:lnTo>
                    <a:pt x="135" y="236"/>
                  </a:lnTo>
                  <a:lnTo>
                    <a:pt x="135" y="236"/>
                  </a:lnTo>
                  <a:lnTo>
                    <a:pt x="135" y="238"/>
                  </a:lnTo>
                  <a:lnTo>
                    <a:pt x="133" y="236"/>
                  </a:lnTo>
                  <a:lnTo>
                    <a:pt x="131" y="236"/>
                  </a:lnTo>
                  <a:lnTo>
                    <a:pt x="129" y="236"/>
                  </a:lnTo>
                  <a:lnTo>
                    <a:pt x="129" y="234"/>
                  </a:lnTo>
                  <a:lnTo>
                    <a:pt x="129" y="232"/>
                  </a:lnTo>
                  <a:lnTo>
                    <a:pt x="129" y="229"/>
                  </a:lnTo>
                  <a:lnTo>
                    <a:pt x="128" y="229"/>
                  </a:lnTo>
                  <a:lnTo>
                    <a:pt x="128" y="229"/>
                  </a:lnTo>
                  <a:lnTo>
                    <a:pt x="126" y="229"/>
                  </a:lnTo>
                  <a:lnTo>
                    <a:pt x="126" y="229"/>
                  </a:lnTo>
                  <a:lnTo>
                    <a:pt x="126" y="231"/>
                  </a:lnTo>
                  <a:lnTo>
                    <a:pt x="126" y="232"/>
                  </a:lnTo>
                  <a:lnTo>
                    <a:pt x="126" y="232"/>
                  </a:lnTo>
                  <a:lnTo>
                    <a:pt x="128" y="234"/>
                  </a:lnTo>
                  <a:lnTo>
                    <a:pt x="126" y="236"/>
                  </a:lnTo>
                  <a:lnTo>
                    <a:pt x="126" y="236"/>
                  </a:lnTo>
                  <a:lnTo>
                    <a:pt x="126" y="236"/>
                  </a:lnTo>
                  <a:lnTo>
                    <a:pt x="124" y="236"/>
                  </a:lnTo>
                  <a:lnTo>
                    <a:pt x="124" y="236"/>
                  </a:lnTo>
                  <a:lnTo>
                    <a:pt x="124" y="238"/>
                  </a:lnTo>
                  <a:lnTo>
                    <a:pt x="122" y="238"/>
                  </a:lnTo>
                  <a:lnTo>
                    <a:pt x="122" y="240"/>
                  </a:lnTo>
                  <a:lnTo>
                    <a:pt x="118" y="240"/>
                  </a:lnTo>
                  <a:lnTo>
                    <a:pt x="112" y="240"/>
                  </a:lnTo>
                  <a:lnTo>
                    <a:pt x="110" y="240"/>
                  </a:lnTo>
                  <a:lnTo>
                    <a:pt x="109" y="242"/>
                  </a:lnTo>
                  <a:lnTo>
                    <a:pt x="105" y="244"/>
                  </a:lnTo>
                  <a:lnTo>
                    <a:pt x="97" y="246"/>
                  </a:lnTo>
                  <a:lnTo>
                    <a:pt x="97" y="246"/>
                  </a:lnTo>
                  <a:lnTo>
                    <a:pt x="95" y="244"/>
                  </a:lnTo>
                  <a:lnTo>
                    <a:pt x="95" y="242"/>
                  </a:lnTo>
                  <a:lnTo>
                    <a:pt x="93" y="240"/>
                  </a:lnTo>
                  <a:lnTo>
                    <a:pt x="95" y="238"/>
                  </a:lnTo>
                  <a:lnTo>
                    <a:pt x="95" y="236"/>
                  </a:lnTo>
                  <a:lnTo>
                    <a:pt x="97" y="234"/>
                  </a:lnTo>
                  <a:lnTo>
                    <a:pt x="97" y="232"/>
                  </a:lnTo>
                  <a:lnTo>
                    <a:pt x="95" y="231"/>
                  </a:lnTo>
                  <a:lnTo>
                    <a:pt x="95" y="231"/>
                  </a:lnTo>
                  <a:lnTo>
                    <a:pt x="93" y="231"/>
                  </a:lnTo>
                  <a:lnTo>
                    <a:pt x="93" y="232"/>
                  </a:lnTo>
                  <a:lnTo>
                    <a:pt x="91" y="232"/>
                  </a:lnTo>
                  <a:lnTo>
                    <a:pt x="91" y="232"/>
                  </a:lnTo>
                  <a:lnTo>
                    <a:pt x="91" y="232"/>
                  </a:lnTo>
                  <a:lnTo>
                    <a:pt x="89" y="232"/>
                  </a:lnTo>
                  <a:lnTo>
                    <a:pt x="89" y="232"/>
                  </a:lnTo>
                  <a:lnTo>
                    <a:pt x="88" y="234"/>
                  </a:lnTo>
                  <a:lnTo>
                    <a:pt x="86" y="234"/>
                  </a:lnTo>
                  <a:lnTo>
                    <a:pt x="86" y="232"/>
                  </a:lnTo>
                  <a:lnTo>
                    <a:pt x="84" y="232"/>
                  </a:lnTo>
                  <a:lnTo>
                    <a:pt x="82" y="231"/>
                  </a:lnTo>
                  <a:lnTo>
                    <a:pt x="84" y="229"/>
                  </a:lnTo>
                  <a:lnTo>
                    <a:pt x="86" y="229"/>
                  </a:lnTo>
                  <a:lnTo>
                    <a:pt x="86" y="227"/>
                  </a:lnTo>
                  <a:lnTo>
                    <a:pt x="86" y="227"/>
                  </a:lnTo>
                  <a:lnTo>
                    <a:pt x="86" y="225"/>
                  </a:lnTo>
                  <a:lnTo>
                    <a:pt x="86" y="225"/>
                  </a:lnTo>
                  <a:lnTo>
                    <a:pt x="82" y="227"/>
                  </a:lnTo>
                  <a:lnTo>
                    <a:pt x="80" y="229"/>
                  </a:lnTo>
                  <a:lnTo>
                    <a:pt x="78" y="231"/>
                  </a:lnTo>
                  <a:lnTo>
                    <a:pt x="76" y="231"/>
                  </a:lnTo>
                  <a:lnTo>
                    <a:pt x="76" y="232"/>
                  </a:lnTo>
                  <a:lnTo>
                    <a:pt x="76" y="234"/>
                  </a:lnTo>
                  <a:lnTo>
                    <a:pt x="74" y="236"/>
                  </a:lnTo>
                  <a:lnTo>
                    <a:pt x="74" y="238"/>
                  </a:lnTo>
                  <a:lnTo>
                    <a:pt x="74" y="240"/>
                  </a:lnTo>
                  <a:lnTo>
                    <a:pt x="72" y="242"/>
                  </a:lnTo>
                  <a:lnTo>
                    <a:pt x="72" y="244"/>
                  </a:lnTo>
                  <a:lnTo>
                    <a:pt x="74" y="246"/>
                  </a:lnTo>
                  <a:lnTo>
                    <a:pt x="76" y="250"/>
                  </a:lnTo>
                  <a:lnTo>
                    <a:pt x="78" y="253"/>
                  </a:lnTo>
                  <a:lnTo>
                    <a:pt x="80" y="255"/>
                  </a:lnTo>
                  <a:lnTo>
                    <a:pt x="82" y="257"/>
                  </a:lnTo>
                  <a:lnTo>
                    <a:pt x="88" y="263"/>
                  </a:lnTo>
                  <a:lnTo>
                    <a:pt x="88" y="265"/>
                  </a:lnTo>
                  <a:lnTo>
                    <a:pt x="89" y="267"/>
                  </a:lnTo>
                  <a:lnTo>
                    <a:pt x="91" y="269"/>
                  </a:lnTo>
                  <a:lnTo>
                    <a:pt x="97" y="274"/>
                  </a:lnTo>
                  <a:lnTo>
                    <a:pt x="97" y="276"/>
                  </a:lnTo>
                  <a:lnTo>
                    <a:pt x="101" y="278"/>
                  </a:lnTo>
                  <a:lnTo>
                    <a:pt x="109" y="288"/>
                  </a:lnTo>
                  <a:lnTo>
                    <a:pt x="110" y="288"/>
                  </a:lnTo>
                  <a:lnTo>
                    <a:pt x="112" y="288"/>
                  </a:lnTo>
                  <a:lnTo>
                    <a:pt x="114" y="286"/>
                  </a:lnTo>
                  <a:lnTo>
                    <a:pt x="114" y="288"/>
                  </a:lnTo>
                  <a:lnTo>
                    <a:pt x="114" y="290"/>
                  </a:lnTo>
                  <a:lnTo>
                    <a:pt x="114" y="291"/>
                  </a:lnTo>
                  <a:lnTo>
                    <a:pt x="118" y="295"/>
                  </a:lnTo>
                  <a:lnTo>
                    <a:pt x="120" y="297"/>
                  </a:lnTo>
                  <a:lnTo>
                    <a:pt x="122" y="297"/>
                  </a:lnTo>
                  <a:lnTo>
                    <a:pt x="124" y="301"/>
                  </a:lnTo>
                  <a:lnTo>
                    <a:pt x="126" y="303"/>
                  </a:lnTo>
                  <a:lnTo>
                    <a:pt x="129" y="307"/>
                  </a:lnTo>
                  <a:lnTo>
                    <a:pt x="131" y="309"/>
                  </a:lnTo>
                  <a:lnTo>
                    <a:pt x="137" y="310"/>
                  </a:lnTo>
                  <a:lnTo>
                    <a:pt x="149" y="324"/>
                  </a:lnTo>
                  <a:lnTo>
                    <a:pt x="150" y="326"/>
                  </a:lnTo>
                  <a:lnTo>
                    <a:pt x="150" y="326"/>
                  </a:lnTo>
                  <a:lnTo>
                    <a:pt x="152" y="326"/>
                  </a:lnTo>
                  <a:lnTo>
                    <a:pt x="154" y="329"/>
                  </a:lnTo>
                  <a:lnTo>
                    <a:pt x="156" y="333"/>
                  </a:lnTo>
                  <a:lnTo>
                    <a:pt x="162" y="341"/>
                  </a:lnTo>
                  <a:lnTo>
                    <a:pt x="168" y="345"/>
                  </a:lnTo>
                  <a:lnTo>
                    <a:pt x="168" y="347"/>
                  </a:lnTo>
                  <a:lnTo>
                    <a:pt x="168" y="347"/>
                  </a:lnTo>
                  <a:lnTo>
                    <a:pt x="175" y="358"/>
                  </a:lnTo>
                  <a:lnTo>
                    <a:pt x="185" y="364"/>
                  </a:lnTo>
                  <a:lnTo>
                    <a:pt x="194" y="373"/>
                  </a:lnTo>
                  <a:lnTo>
                    <a:pt x="198" y="377"/>
                  </a:lnTo>
                  <a:lnTo>
                    <a:pt x="202" y="379"/>
                  </a:lnTo>
                  <a:lnTo>
                    <a:pt x="208" y="381"/>
                  </a:lnTo>
                  <a:lnTo>
                    <a:pt x="210" y="383"/>
                  </a:lnTo>
                  <a:lnTo>
                    <a:pt x="211" y="387"/>
                  </a:lnTo>
                  <a:lnTo>
                    <a:pt x="213" y="387"/>
                  </a:lnTo>
                  <a:lnTo>
                    <a:pt x="215" y="388"/>
                  </a:lnTo>
                  <a:lnTo>
                    <a:pt x="221" y="390"/>
                  </a:lnTo>
                  <a:lnTo>
                    <a:pt x="234" y="398"/>
                  </a:lnTo>
                  <a:lnTo>
                    <a:pt x="238" y="400"/>
                  </a:lnTo>
                  <a:lnTo>
                    <a:pt x="238" y="400"/>
                  </a:lnTo>
                  <a:lnTo>
                    <a:pt x="240" y="400"/>
                  </a:lnTo>
                  <a:lnTo>
                    <a:pt x="242" y="400"/>
                  </a:lnTo>
                  <a:lnTo>
                    <a:pt x="242" y="400"/>
                  </a:lnTo>
                  <a:lnTo>
                    <a:pt x="244" y="400"/>
                  </a:lnTo>
                  <a:lnTo>
                    <a:pt x="244" y="402"/>
                  </a:lnTo>
                  <a:lnTo>
                    <a:pt x="246" y="402"/>
                  </a:lnTo>
                  <a:lnTo>
                    <a:pt x="248" y="402"/>
                  </a:lnTo>
                  <a:lnTo>
                    <a:pt x="261" y="402"/>
                  </a:lnTo>
                  <a:lnTo>
                    <a:pt x="261" y="400"/>
                  </a:lnTo>
                  <a:lnTo>
                    <a:pt x="261" y="400"/>
                  </a:lnTo>
                  <a:lnTo>
                    <a:pt x="261" y="398"/>
                  </a:lnTo>
                  <a:lnTo>
                    <a:pt x="261" y="398"/>
                  </a:lnTo>
                  <a:lnTo>
                    <a:pt x="263" y="398"/>
                  </a:lnTo>
                  <a:lnTo>
                    <a:pt x="263" y="398"/>
                  </a:lnTo>
                  <a:lnTo>
                    <a:pt x="263" y="398"/>
                  </a:lnTo>
                  <a:lnTo>
                    <a:pt x="263" y="398"/>
                  </a:lnTo>
                  <a:lnTo>
                    <a:pt x="265" y="398"/>
                  </a:lnTo>
                  <a:lnTo>
                    <a:pt x="267" y="398"/>
                  </a:lnTo>
                  <a:lnTo>
                    <a:pt x="269" y="398"/>
                  </a:lnTo>
                  <a:lnTo>
                    <a:pt x="270" y="398"/>
                  </a:lnTo>
                  <a:lnTo>
                    <a:pt x="270" y="396"/>
                  </a:lnTo>
                  <a:lnTo>
                    <a:pt x="272" y="396"/>
                  </a:lnTo>
                  <a:lnTo>
                    <a:pt x="272" y="396"/>
                  </a:lnTo>
                  <a:lnTo>
                    <a:pt x="274" y="396"/>
                  </a:lnTo>
                  <a:lnTo>
                    <a:pt x="276" y="396"/>
                  </a:lnTo>
                  <a:lnTo>
                    <a:pt x="291" y="387"/>
                  </a:lnTo>
                  <a:lnTo>
                    <a:pt x="297" y="387"/>
                  </a:lnTo>
                  <a:lnTo>
                    <a:pt x="305" y="383"/>
                  </a:lnTo>
                  <a:lnTo>
                    <a:pt x="307" y="383"/>
                  </a:lnTo>
                  <a:lnTo>
                    <a:pt x="309" y="381"/>
                  </a:lnTo>
                  <a:lnTo>
                    <a:pt x="309" y="379"/>
                  </a:lnTo>
                  <a:lnTo>
                    <a:pt x="312" y="375"/>
                  </a:lnTo>
                  <a:lnTo>
                    <a:pt x="314" y="375"/>
                  </a:lnTo>
                  <a:lnTo>
                    <a:pt x="316" y="375"/>
                  </a:lnTo>
                  <a:lnTo>
                    <a:pt x="314" y="375"/>
                  </a:lnTo>
                  <a:lnTo>
                    <a:pt x="314" y="375"/>
                  </a:lnTo>
                  <a:lnTo>
                    <a:pt x="314" y="377"/>
                  </a:lnTo>
                  <a:lnTo>
                    <a:pt x="316" y="377"/>
                  </a:lnTo>
                  <a:lnTo>
                    <a:pt x="322" y="373"/>
                  </a:lnTo>
                  <a:lnTo>
                    <a:pt x="326" y="371"/>
                  </a:lnTo>
                  <a:lnTo>
                    <a:pt x="330" y="369"/>
                  </a:lnTo>
                  <a:lnTo>
                    <a:pt x="330" y="369"/>
                  </a:lnTo>
                  <a:lnTo>
                    <a:pt x="331" y="369"/>
                  </a:lnTo>
                  <a:lnTo>
                    <a:pt x="333" y="369"/>
                  </a:lnTo>
                  <a:lnTo>
                    <a:pt x="335" y="367"/>
                  </a:lnTo>
                  <a:lnTo>
                    <a:pt x="337" y="366"/>
                  </a:lnTo>
                  <a:lnTo>
                    <a:pt x="349" y="360"/>
                  </a:lnTo>
                  <a:lnTo>
                    <a:pt x="352" y="360"/>
                  </a:lnTo>
                  <a:lnTo>
                    <a:pt x="354" y="358"/>
                  </a:lnTo>
                  <a:lnTo>
                    <a:pt x="360" y="356"/>
                  </a:lnTo>
                  <a:lnTo>
                    <a:pt x="362" y="354"/>
                  </a:lnTo>
                  <a:lnTo>
                    <a:pt x="362" y="354"/>
                  </a:lnTo>
                  <a:lnTo>
                    <a:pt x="362" y="354"/>
                  </a:lnTo>
                  <a:lnTo>
                    <a:pt x="364" y="354"/>
                  </a:lnTo>
                  <a:lnTo>
                    <a:pt x="364" y="354"/>
                  </a:lnTo>
                  <a:lnTo>
                    <a:pt x="366" y="352"/>
                  </a:lnTo>
                  <a:lnTo>
                    <a:pt x="366" y="350"/>
                  </a:lnTo>
                  <a:lnTo>
                    <a:pt x="364" y="348"/>
                  </a:lnTo>
                  <a:lnTo>
                    <a:pt x="364" y="347"/>
                  </a:lnTo>
                  <a:lnTo>
                    <a:pt x="364" y="347"/>
                  </a:lnTo>
                  <a:lnTo>
                    <a:pt x="364" y="347"/>
                  </a:lnTo>
                  <a:lnTo>
                    <a:pt x="364" y="345"/>
                  </a:lnTo>
                  <a:lnTo>
                    <a:pt x="364" y="345"/>
                  </a:lnTo>
                  <a:lnTo>
                    <a:pt x="366" y="343"/>
                  </a:lnTo>
                  <a:lnTo>
                    <a:pt x="366" y="343"/>
                  </a:lnTo>
                  <a:lnTo>
                    <a:pt x="366" y="343"/>
                  </a:lnTo>
                  <a:lnTo>
                    <a:pt x="366" y="341"/>
                  </a:lnTo>
                  <a:lnTo>
                    <a:pt x="366" y="341"/>
                  </a:lnTo>
                  <a:lnTo>
                    <a:pt x="370" y="337"/>
                  </a:lnTo>
                  <a:lnTo>
                    <a:pt x="370" y="335"/>
                  </a:lnTo>
                  <a:lnTo>
                    <a:pt x="371" y="333"/>
                  </a:lnTo>
                  <a:lnTo>
                    <a:pt x="375" y="328"/>
                  </a:lnTo>
                  <a:lnTo>
                    <a:pt x="377" y="324"/>
                  </a:lnTo>
                  <a:lnTo>
                    <a:pt x="381" y="312"/>
                  </a:lnTo>
                  <a:lnTo>
                    <a:pt x="381" y="312"/>
                  </a:lnTo>
                  <a:lnTo>
                    <a:pt x="383" y="312"/>
                  </a:lnTo>
                  <a:lnTo>
                    <a:pt x="383" y="310"/>
                  </a:lnTo>
                  <a:lnTo>
                    <a:pt x="383" y="310"/>
                  </a:lnTo>
                  <a:lnTo>
                    <a:pt x="383" y="309"/>
                  </a:lnTo>
                  <a:lnTo>
                    <a:pt x="383" y="309"/>
                  </a:lnTo>
                  <a:lnTo>
                    <a:pt x="383" y="307"/>
                  </a:lnTo>
                  <a:lnTo>
                    <a:pt x="383" y="307"/>
                  </a:lnTo>
                  <a:lnTo>
                    <a:pt x="381" y="307"/>
                  </a:lnTo>
                  <a:lnTo>
                    <a:pt x="381" y="305"/>
                  </a:lnTo>
                  <a:lnTo>
                    <a:pt x="381" y="305"/>
                  </a:lnTo>
                  <a:lnTo>
                    <a:pt x="379" y="303"/>
                  </a:lnTo>
                  <a:lnTo>
                    <a:pt x="379" y="305"/>
                  </a:lnTo>
                  <a:lnTo>
                    <a:pt x="377" y="303"/>
                  </a:lnTo>
                  <a:lnTo>
                    <a:pt x="377" y="303"/>
                  </a:lnTo>
                  <a:lnTo>
                    <a:pt x="375" y="303"/>
                  </a:lnTo>
                  <a:lnTo>
                    <a:pt x="375" y="303"/>
                  </a:lnTo>
                  <a:lnTo>
                    <a:pt x="375" y="301"/>
                  </a:lnTo>
                  <a:lnTo>
                    <a:pt x="373" y="299"/>
                  </a:lnTo>
                  <a:lnTo>
                    <a:pt x="373" y="297"/>
                  </a:lnTo>
                  <a:lnTo>
                    <a:pt x="373" y="297"/>
                  </a:lnTo>
                  <a:lnTo>
                    <a:pt x="371" y="297"/>
                  </a:lnTo>
                  <a:lnTo>
                    <a:pt x="371" y="295"/>
                  </a:lnTo>
                  <a:lnTo>
                    <a:pt x="371" y="293"/>
                  </a:lnTo>
                  <a:lnTo>
                    <a:pt x="371" y="293"/>
                  </a:lnTo>
                  <a:lnTo>
                    <a:pt x="366" y="295"/>
                  </a:lnTo>
                  <a:lnTo>
                    <a:pt x="364" y="295"/>
                  </a:lnTo>
                  <a:lnTo>
                    <a:pt x="364" y="295"/>
                  </a:lnTo>
                  <a:lnTo>
                    <a:pt x="362" y="293"/>
                  </a:lnTo>
                  <a:lnTo>
                    <a:pt x="360" y="295"/>
                  </a:lnTo>
                  <a:lnTo>
                    <a:pt x="358" y="295"/>
                  </a:lnTo>
                  <a:lnTo>
                    <a:pt x="358" y="295"/>
                  </a:lnTo>
                  <a:lnTo>
                    <a:pt x="358" y="293"/>
                  </a:lnTo>
                  <a:lnTo>
                    <a:pt x="358" y="293"/>
                  </a:lnTo>
                  <a:lnTo>
                    <a:pt x="356" y="293"/>
                  </a:lnTo>
                  <a:lnTo>
                    <a:pt x="356" y="293"/>
                  </a:lnTo>
                  <a:lnTo>
                    <a:pt x="356" y="293"/>
                  </a:lnTo>
                  <a:lnTo>
                    <a:pt x="354" y="293"/>
                  </a:lnTo>
                  <a:lnTo>
                    <a:pt x="354" y="291"/>
                  </a:lnTo>
                  <a:lnTo>
                    <a:pt x="354" y="290"/>
                  </a:lnTo>
                  <a:lnTo>
                    <a:pt x="354" y="288"/>
                  </a:lnTo>
                  <a:lnTo>
                    <a:pt x="356" y="288"/>
                  </a:lnTo>
                  <a:lnTo>
                    <a:pt x="362" y="290"/>
                  </a:lnTo>
                  <a:lnTo>
                    <a:pt x="364" y="290"/>
                  </a:lnTo>
                  <a:lnTo>
                    <a:pt x="366" y="290"/>
                  </a:lnTo>
                  <a:lnTo>
                    <a:pt x="364" y="286"/>
                  </a:lnTo>
                  <a:lnTo>
                    <a:pt x="362" y="286"/>
                  </a:lnTo>
                  <a:lnTo>
                    <a:pt x="362" y="286"/>
                  </a:lnTo>
                  <a:lnTo>
                    <a:pt x="360" y="286"/>
                  </a:lnTo>
                  <a:lnTo>
                    <a:pt x="360" y="286"/>
                  </a:lnTo>
                  <a:lnTo>
                    <a:pt x="360" y="286"/>
                  </a:lnTo>
                  <a:lnTo>
                    <a:pt x="360" y="284"/>
                  </a:lnTo>
                  <a:lnTo>
                    <a:pt x="362" y="284"/>
                  </a:lnTo>
                  <a:lnTo>
                    <a:pt x="364" y="286"/>
                  </a:lnTo>
                  <a:lnTo>
                    <a:pt x="366" y="286"/>
                  </a:lnTo>
                  <a:lnTo>
                    <a:pt x="366" y="288"/>
                  </a:lnTo>
                  <a:lnTo>
                    <a:pt x="368" y="288"/>
                  </a:lnTo>
                  <a:lnTo>
                    <a:pt x="370" y="290"/>
                  </a:lnTo>
                  <a:lnTo>
                    <a:pt x="371" y="290"/>
                  </a:lnTo>
                  <a:lnTo>
                    <a:pt x="370" y="288"/>
                  </a:lnTo>
                  <a:lnTo>
                    <a:pt x="370" y="286"/>
                  </a:lnTo>
                  <a:lnTo>
                    <a:pt x="371" y="286"/>
                  </a:lnTo>
                  <a:lnTo>
                    <a:pt x="371" y="284"/>
                  </a:lnTo>
                  <a:lnTo>
                    <a:pt x="370" y="284"/>
                  </a:lnTo>
                  <a:lnTo>
                    <a:pt x="370" y="282"/>
                  </a:lnTo>
                  <a:lnTo>
                    <a:pt x="370" y="282"/>
                  </a:lnTo>
                  <a:lnTo>
                    <a:pt x="370" y="282"/>
                  </a:lnTo>
                  <a:lnTo>
                    <a:pt x="370" y="280"/>
                  </a:lnTo>
                  <a:lnTo>
                    <a:pt x="368" y="280"/>
                  </a:lnTo>
                  <a:lnTo>
                    <a:pt x="366" y="282"/>
                  </a:lnTo>
                  <a:lnTo>
                    <a:pt x="364" y="282"/>
                  </a:lnTo>
                  <a:lnTo>
                    <a:pt x="358" y="280"/>
                  </a:lnTo>
                  <a:lnTo>
                    <a:pt x="358" y="278"/>
                  </a:lnTo>
                  <a:lnTo>
                    <a:pt x="360" y="278"/>
                  </a:lnTo>
                  <a:lnTo>
                    <a:pt x="362" y="278"/>
                  </a:lnTo>
                  <a:lnTo>
                    <a:pt x="364" y="278"/>
                  </a:lnTo>
                  <a:lnTo>
                    <a:pt x="364" y="278"/>
                  </a:lnTo>
                  <a:lnTo>
                    <a:pt x="364" y="278"/>
                  </a:lnTo>
                  <a:lnTo>
                    <a:pt x="366" y="278"/>
                  </a:lnTo>
                  <a:lnTo>
                    <a:pt x="366" y="278"/>
                  </a:lnTo>
                  <a:lnTo>
                    <a:pt x="362" y="276"/>
                  </a:lnTo>
                  <a:lnTo>
                    <a:pt x="362" y="274"/>
                  </a:lnTo>
                  <a:lnTo>
                    <a:pt x="366" y="276"/>
                  </a:lnTo>
                  <a:lnTo>
                    <a:pt x="368" y="276"/>
                  </a:lnTo>
                  <a:lnTo>
                    <a:pt x="368" y="274"/>
                  </a:lnTo>
                  <a:lnTo>
                    <a:pt x="366" y="274"/>
                  </a:lnTo>
                  <a:lnTo>
                    <a:pt x="364" y="272"/>
                  </a:lnTo>
                  <a:lnTo>
                    <a:pt x="366" y="272"/>
                  </a:lnTo>
                  <a:lnTo>
                    <a:pt x="368" y="272"/>
                  </a:lnTo>
                  <a:lnTo>
                    <a:pt x="370" y="274"/>
                  </a:lnTo>
                  <a:lnTo>
                    <a:pt x="370" y="274"/>
                  </a:lnTo>
                  <a:lnTo>
                    <a:pt x="370" y="276"/>
                  </a:lnTo>
                  <a:lnTo>
                    <a:pt x="371" y="276"/>
                  </a:lnTo>
                  <a:lnTo>
                    <a:pt x="371" y="274"/>
                  </a:lnTo>
                  <a:lnTo>
                    <a:pt x="373" y="274"/>
                  </a:lnTo>
                  <a:lnTo>
                    <a:pt x="373" y="274"/>
                  </a:lnTo>
                  <a:lnTo>
                    <a:pt x="373" y="272"/>
                  </a:lnTo>
                  <a:lnTo>
                    <a:pt x="373" y="272"/>
                  </a:lnTo>
                  <a:lnTo>
                    <a:pt x="373" y="274"/>
                  </a:lnTo>
                  <a:lnTo>
                    <a:pt x="375" y="274"/>
                  </a:lnTo>
                  <a:lnTo>
                    <a:pt x="375" y="272"/>
                  </a:lnTo>
                  <a:lnTo>
                    <a:pt x="375" y="272"/>
                  </a:lnTo>
                  <a:lnTo>
                    <a:pt x="377" y="272"/>
                  </a:lnTo>
                  <a:lnTo>
                    <a:pt x="379" y="272"/>
                  </a:lnTo>
                  <a:lnTo>
                    <a:pt x="379" y="272"/>
                  </a:lnTo>
                  <a:lnTo>
                    <a:pt x="381" y="270"/>
                  </a:lnTo>
                  <a:lnTo>
                    <a:pt x="381" y="270"/>
                  </a:lnTo>
                  <a:lnTo>
                    <a:pt x="381" y="269"/>
                  </a:lnTo>
                  <a:lnTo>
                    <a:pt x="383" y="269"/>
                  </a:lnTo>
                  <a:lnTo>
                    <a:pt x="383" y="269"/>
                  </a:lnTo>
                  <a:lnTo>
                    <a:pt x="383" y="267"/>
                  </a:lnTo>
                  <a:lnTo>
                    <a:pt x="383" y="265"/>
                  </a:lnTo>
                  <a:lnTo>
                    <a:pt x="385" y="255"/>
                  </a:lnTo>
                  <a:lnTo>
                    <a:pt x="383" y="250"/>
                  </a:lnTo>
                  <a:lnTo>
                    <a:pt x="379" y="251"/>
                  </a:lnTo>
                  <a:lnTo>
                    <a:pt x="377" y="250"/>
                  </a:lnTo>
                  <a:lnTo>
                    <a:pt x="377" y="250"/>
                  </a:lnTo>
                  <a:lnTo>
                    <a:pt x="377" y="248"/>
                  </a:lnTo>
                  <a:lnTo>
                    <a:pt x="377" y="246"/>
                  </a:lnTo>
                  <a:lnTo>
                    <a:pt x="377" y="246"/>
                  </a:lnTo>
                  <a:lnTo>
                    <a:pt x="377" y="244"/>
                  </a:lnTo>
                  <a:lnTo>
                    <a:pt x="375" y="248"/>
                  </a:lnTo>
                  <a:lnTo>
                    <a:pt x="373" y="248"/>
                  </a:lnTo>
                  <a:lnTo>
                    <a:pt x="371" y="248"/>
                  </a:lnTo>
                  <a:lnTo>
                    <a:pt x="370" y="246"/>
                  </a:lnTo>
                  <a:lnTo>
                    <a:pt x="370" y="246"/>
                  </a:lnTo>
                  <a:lnTo>
                    <a:pt x="373" y="246"/>
                  </a:lnTo>
                  <a:lnTo>
                    <a:pt x="373" y="244"/>
                  </a:lnTo>
                  <a:lnTo>
                    <a:pt x="375" y="244"/>
                  </a:lnTo>
                  <a:lnTo>
                    <a:pt x="375" y="244"/>
                  </a:lnTo>
                  <a:lnTo>
                    <a:pt x="377" y="244"/>
                  </a:lnTo>
                  <a:lnTo>
                    <a:pt x="379" y="244"/>
                  </a:lnTo>
                  <a:lnTo>
                    <a:pt x="379" y="244"/>
                  </a:lnTo>
                  <a:lnTo>
                    <a:pt x="379" y="246"/>
                  </a:lnTo>
                  <a:lnTo>
                    <a:pt x="381" y="248"/>
                  </a:lnTo>
                  <a:lnTo>
                    <a:pt x="381" y="248"/>
                  </a:lnTo>
                  <a:lnTo>
                    <a:pt x="383" y="248"/>
                  </a:lnTo>
                  <a:lnTo>
                    <a:pt x="385" y="248"/>
                  </a:lnTo>
                  <a:lnTo>
                    <a:pt x="387" y="244"/>
                  </a:lnTo>
                  <a:lnTo>
                    <a:pt x="387" y="244"/>
                  </a:lnTo>
                  <a:lnTo>
                    <a:pt x="387" y="240"/>
                  </a:lnTo>
                  <a:lnTo>
                    <a:pt x="389" y="238"/>
                  </a:lnTo>
                  <a:lnTo>
                    <a:pt x="389" y="238"/>
                  </a:lnTo>
                  <a:lnTo>
                    <a:pt x="392" y="236"/>
                  </a:lnTo>
                  <a:lnTo>
                    <a:pt x="392" y="238"/>
                  </a:lnTo>
                  <a:lnTo>
                    <a:pt x="392" y="240"/>
                  </a:lnTo>
                  <a:lnTo>
                    <a:pt x="391" y="242"/>
                  </a:lnTo>
                  <a:lnTo>
                    <a:pt x="391" y="242"/>
                  </a:lnTo>
                  <a:lnTo>
                    <a:pt x="391" y="244"/>
                  </a:lnTo>
                  <a:lnTo>
                    <a:pt x="391" y="246"/>
                  </a:lnTo>
                  <a:lnTo>
                    <a:pt x="391" y="248"/>
                  </a:lnTo>
                  <a:lnTo>
                    <a:pt x="394" y="248"/>
                  </a:lnTo>
                  <a:lnTo>
                    <a:pt x="394" y="248"/>
                  </a:lnTo>
                  <a:lnTo>
                    <a:pt x="396" y="246"/>
                  </a:lnTo>
                  <a:lnTo>
                    <a:pt x="398" y="248"/>
                  </a:lnTo>
                  <a:lnTo>
                    <a:pt x="398" y="248"/>
                  </a:lnTo>
                  <a:lnTo>
                    <a:pt x="398" y="250"/>
                  </a:lnTo>
                  <a:lnTo>
                    <a:pt x="398" y="250"/>
                  </a:lnTo>
                  <a:lnTo>
                    <a:pt x="398" y="250"/>
                  </a:lnTo>
                  <a:lnTo>
                    <a:pt x="400" y="250"/>
                  </a:lnTo>
                  <a:lnTo>
                    <a:pt x="402" y="250"/>
                  </a:lnTo>
                  <a:lnTo>
                    <a:pt x="404" y="248"/>
                  </a:lnTo>
                  <a:lnTo>
                    <a:pt x="406" y="246"/>
                  </a:lnTo>
                  <a:lnTo>
                    <a:pt x="408" y="244"/>
                  </a:lnTo>
                  <a:lnTo>
                    <a:pt x="410" y="244"/>
                  </a:lnTo>
                  <a:lnTo>
                    <a:pt x="412" y="246"/>
                  </a:lnTo>
                  <a:lnTo>
                    <a:pt x="413" y="246"/>
                  </a:lnTo>
                  <a:lnTo>
                    <a:pt x="413" y="246"/>
                  </a:lnTo>
                  <a:lnTo>
                    <a:pt x="415" y="246"/>
                  </a:lnTo>
                  <a:lnTo>
                    <a:pt x="415" y="246"/>
                  </a:lnTo>
                  <a:lnTo>
                    <a:pt x="423" y="248"/>
                  </a:lnTo>
                  <a:lnTo>
                    <a:pt x="425" y="250"/>
                  </a:lnTo>
                  <a:lnTo>
                    <a:pt x="429" y="248"/>
                  </a:lnTo>
                  <a:lnTo>
                    <a:pt x="429" y="246"/>
                  </a:lnTo>
                  <a:lnTo>
                    <a:pt x="431" y="246"/>
                  </a:lnTo>
                  <a:lnTo>
                    <a:pt x="432" y="246"/>
                  </a:lnTo>
                  <a:lnTo>
                    <a:pt x="434" y="246"/>
                  </a:lnTo>
                  <a:lnTo>
                    <a:pt x="436" y="248"/>
                  </a:lnTo>
                  <a:lnTo>
                    <a:pt x="436" y="248"/>
                  </a:lnTo>
                  <a:lnTo>
                    <a:pt x="438" y="246"/>
                  </a:lnTo>
                  <a:lnTo>
                    <a:pt x="438" y="246"/>
                  </a:lnTo>
                  <a:lnTo>
                    <a:pt x="440" y="246"/>
                  </a:lnTo>
                  <a:lnTo>
                    <a:pt x="440" y="248"/>
                  </a:lnTo>
                  <a:lnTo>
                    <a:pt x="440" y="250"/>
                  </a:lnTo>
                  <a:lnTo>
                    <a:pt x="440" y="251"/>
                  </a:lnTo>
                  <a:lnTo>
                    <a:pt x="438" y="251"/>
                  </a:lnTo>
                  <a:lnTo>
                    <a:pt x="436" y="251"/>
                  </a:lnTo>
                  <a:lnTo>
                    <a:pt x="434" y="250"/>
                  </a:lnTo>
                  <a:lnTo>
                    <a:pt x="434" y="250"/>
                  </a:lnTo>
                  <a:lnTo>
                    <a:pt x="431" y="250"/>
                  </a:lnTo>
                  <a:lnTo>
                    <a:pt x="429" y="251"/>
                  </a:lnTo>
                  <a:lnTo>
                    <a:pt x="425" y="257"/>
                  </a:lnTo>
                  <a:lnTo>
                    <a:pt x="423" y="255"/>
                  </a:lnTo>
                  <a:lnTo>
                    <a:pt x="421" y="255"/>
                  </a:lnTo>
                  <a:lnTo>
                    <a:pt x="421" y="255"/>
                  </a:lnTo>
                  <a:lnTo>
                    <a:pt x="419" y="255"/>
                  </a:lnTo>
                  <a:lnTo>
                    <a:pt x="419" y="255"/>
                  </a:lnTo>
                  <a:lnTo>
                    <a:pt x="419" y="255"/>
                  </a:lnTo>
                  <a:lnTo>
                    <a:pt x="417" y="253"/>
                  </a:lnTo>
                  <a:lnTo>
                    <a:pt x="415" y="253"/>
                  </a:lnTo>
                  <a:lnTo>
                    <a:pt x="413" y="251"/>
                  </a:lnTo>
                  <a:lnTo>
                    <a:pt x="412" y="251"/>
                  </a:lnTo>
                  <a:lnTo>
                    <a:pt x="410" y="253"/>
                  </a:lnTo>
                  <a:lnTo>
                    <a:pt x="408" y="253"/>
                  </a:lnTo>
                  <a:lnTo>
                    <a:pt x="406" y="255"/>
                  </a:lnTo>
                  <a:lnTo>
                    <a:pt x="406" y="257"/>
                  </a:lnTo>
                  <a:lnTo>
                    <a:pt x="404" y="259"/>
                  </a:lnTo>
                  <a:lnTo>
                    <a:pt x="404" y="261"/>
                  </a:lnTo>
                  <a:lnTo>
                    <a:pt x="404" y="263"/>
                  </a:lnTo>
                  <a:lnTo>
                    <a:pt x="404" y="265"/>
                  </a:lnTo>
                  <a:lnTo>
                    <a:pt x="404" y="265"/>
                  </a:lnTo>
                  <a:lnTo>
                    <a:pt x="404" y="267"/>
                  </a:lnTo>
                  <a:lnTo>
                    <a:pt x="404" y="269"/>
                  </a:lnTo>
                  <a:lnTo>
                    <a:pt x="404" y="270"/>
                  </a:lnTo>
                  <a:lnTo>
                    <a:pt x="402" y="274"/>
                  </a:lnTo>
                  <a:lnTo>
                    <a:pt x="402" y="276"/>
                  </a:lnTo>
                  <a:lnTo>
                    <a:pt x="402" y="276"/>
                  </a:lnTo>
                  <a:lnTo>
                    <a:pt x="404" y="282"/>
                  </a:lnTo>
                  <a:lnTo>
                    <a:pt x="406" y="282"/>
                  </a:lnTo>
                  <a:lnTo>
                    <a:pt x="408" y="282"/>
                  </a:lnTo>
                  <a:lnTo>
                    <a:pt x="410" y="280"/>
                  </a:lnTo>
                  <a:lnTo>
                    <a:pt x="412" y="278"/>
                  </a:lnTo>
                  <a:lnTo>
                    <a:pt x="412" y="278"/>
                  </a:lnTo>
                  <a:lnTo>
                    <a:pt x="413" y="276"/>
                  </a:lnTo>
                  <a:lnTo>
                    <a:pt x="419" y="276"/>
                  </a:lnTo>
                  <a:lnTo>
                    <a:pt x="419" y="276"/>
                  </a:lnTo>
                  <a:lnTo>
                    <a:pt x="419" y="274"/>
                  </a:lnTo>
                  <a:lnTo>
                    <a:pt x="419" y="274"/>
                  </a:lnTo>
                  <a:lnTo>
                    <a:pt x="421" y="274"/>
                  </a:lnTo>
                  <a:lnTo>
                    <a:pt x="421" y="274"/>
                  </a:lnTo>
                  <a:lnTo>
                    <a:pt x="421" y="274"/>
                  </a:lnTo>
                  <a:lnTo>
                    <a:pt x="423" y="274"/>
                  </a:lnTo>
                  <a:lnTo>
                    <a:pt x="423" y="274"/>
                  </a:lnTo>
                  <a:lnTo>
                    <a:pt x="423" y="274"/>
                  </a:lnTo>
                  <a:lnTo>
                    <a:pt x="421" y="274"/>
                  </a:lnTo>
                  <a:lnTo>
                    <a:pt x="421" y="276"/>
                  </a:lnTo>
                  <a:lnTo>
                    <a:pt x="421" y="278"/>
                  </a:lnTo>
                  <a:lnTo>
                    <a:pt x="419" y="280"/>
                  </a:lnTo>
                  <a:lnTo>
                    <a:pt x="415" y="278"/>
                  </a:lnTo>
                  <a:lnTo>
                    <a:pt x="413" y="280"/>
                  </a:lnTo>
                  <a:lnTo>
                    <a:pt x="412" y="280"/>
                  </a:lnTo>
                  <a:lnTo>
                    <a:pt x="410" y="286"/>
                  </a:lnTo>
                  <a:lnTo>
                    <a:pt x="410" y="288"/>
                  </a:lnTo>
                  <a:lnTo>
                    <a:pt x="408" y="288"/>
                  </a:lnTo>
                  <a:lnTo>
                    <a:pt x="408" y="290"/>
                  </a:lnTo>
                  <a:lnTo>
                    <a:pt x="406" y="295"/>
                  </a:lnTo>
                  <a:lnTo>
                    <a:pt x="406" y="297"/>
                  </a:lnTo>
                  <a:lnTo>
                    <a:pt x="404" y="301"/>
                  </a:lnTo>
                  <a:lnTo>
                    <a:pt x="404" y="303"/>
                  </a:lnTo>
                  <a:lnTo>
                    <a:pt x="404" y="305"/>
                  </a:lnTo>
                  <a:lnTo>
                    <a:pt x="406" y="307"/>
                  </a:lnTo>
                  <a:lnTo>
                    <a:pt x="408" y="307"/>
                  </a:lnTo>
                  <a:lnTo>
                    <a:pt x="412" y="305"/>
                  </a:lnTo>
                  <a:lnTo>
                    <a:pt x="413" y="305"/>
                  </a:lnTo>
                  <a:lnTo>
                    <a:pt x="415" y="305"/>
                  </a:lnTo>
                  <a:lnTo>
                    <a:pt x="417" y="305"/>
                  </a:lnTo>
                  <a:lnTo>
                    <a:pt x="423" y="305"/>
                  </a:lnTo>
                  <a:lnTo>
                    <a:pt x="425" y="305"/>
                  </a:lnTo>
                  <a:lnTo>
                    <a:pt x="429" y="305"/>
                  </a:lnTo>
                  <a:lnTo>
                    <a:pt x="431" y="305"/>
                  </a:lnTo>
                  <a:lnTo>
                    <a:pt x="432" y="305"/>
                  </a:lnTo>
                  <a:lnTo>
                    <a:pt x="434" y="303"/>
                  </a:lnTo>
                  <a:lnTo>
                    <a:pt x="436" y="303"/>
                  </a:lnTo>
                  <a:lnTo>
                    <a:pt x="440" y="305"/>
                  </a:lnTo>
                  <a:lnTo>
                    <a:pt x="444" y="305"/>
                  </a:lnTo>
                  <a:lnTo>
                    <a:pt x="448" y="303"/>
                  </a:lnTo>
                  <a:lnTo>
                    <a:pt x="450" y="301"/>
                  </a:lnTo>
                  <a:lnTo>
                    <a:pt x="450" y="301"/>
                  </a:lnTo>
                  <a:lnTo>
                    <a:pt x="452" y="299"/>
                  </a:lnTo>
                  <a:lnTo>
                    <a:pt x="452" y="299"/>
                  </a:lnTo>
                  <a:lnTo>
                    <a:pt x="455" y="299"/>
                  </a:lnTo>
                  <a:lnTo>
                    <a:pt x="459" y="297"/>
                  </a:lnTo>
                  <a:lnTo>
                    <a:pt x="459" y="297"/>
                  </a:lnTo>
                  <a:lnTo>
                    <a:pt x="459" y="297"/>
                  </a:lnTo>
                  <a:lnTo>
                    <a:pt x="459" y="299"/>
                  </a:lnTo>
                  <a:lnTo>
                    <a:pt x="459" y="299"/>
                  </a:lnTo>
                  <a:lnTo>
                    <a:pt x="457" y="299"/>
                  </a:lnTo>
                  <a:lnTo>
                    <a:pt x="455" y="299"/>
                  </a:lnTo>
                  <a:lnTo>
                    <a:pt x="450" y="303"/>
                  </a:lnTo>
                  <a:lnTo>
                    <a:pt x="444" y="305"/>
                  </a:lnTo>
                  <a:lnTo>
                    <a:pt x="442" y="307"/>
                  </a:lnTo>
                  <a:lnTo>
                    <a:pt x="438" y="309"/>
                  </a:lnTo>
                  <a:lnTo>
                    <a:pt x="436" y="309"/>
                  </a:lnTo>
                  <a:lnTo>
                    <a:pt x="434" y="309"/>
                  </a:lnTo>
                  <a:lnTo>
                    <a:pt x="432" y="309"/>
                  </a:lnTo>
                  <a:lnTo>
                    <a:pt x="431" y="309"/>
                  </a:lnTo>
                  <a:lnTo>
                    <a:pt x="431" y="309"/>
                  </a:lnTo>
                  <a:lnTo>
                    <a:pt x="429" y="312"/>
                  </a:lnTo>
                  <a:lnTo>
                    <a:pt x="427" y="314"/>
                  </a:lnTo>
                  <a:lnTo>
                    <a:pt x="425" y="316"/>
                  </a:lnTo>
                  <a:lnTo>
                    <a:pt x="423" y="318"/>
                  </a:lnTo>
                  <a:lnTo>
                    <a:pt x="421" y="318"/>
                  </a:lnTo>
                  <a:lnTo>
                    <a:pt x="419" y="318"/>
                  </a:lnTo>
                  <a:lnTo>
                    <a:pt x="415" y="322"/>
                  </a:lnTo>
                  <a:lnTo>
                    <a:pt x="413" y="322"/>
                  </a:lnTo>
                  <a:lnTo>
                    <a:pt x="413" y="324"/>
                  </a:lnTo>
                  <a:lnTo>
                    <a:pt x="410" y="329"/>
                  </a:lnTo>
                  <a:lnTo>
                    <a:pt x="410" y="331"/>
                  </a:lnTo>
                  <a:lnTo>
                    <a:pt x="412" y="331"/>
                  </a:lnTo>
                  <a:lnTo>
                    <a:pt x="417" y="328"/>
                  </a:lnTo>
                  <a:lnTo>
                    <a:pt x="419" y="326"/>
                  </a:lnTo>
                  <a:lnTo>
                    <a:pt x="423" y="324"/>
                  </a:lnTo>
                  <a:lnTo>
                    <a:pt x="425" y="326"/>
                  </a:lnTo>
                  <a:lnTo>
                    <a:pt x="425" y="326"/>
                  </a:lnTo>
                  <a:lnTo>
                    <a:pt x="425" y="328"/>
                  </a:lnTo>
                  <a:lnTo>
                    <a:pt x="423" y="326"/>
                  </a:lnTo>
                  <a:lnTo>
                    <a:pt x="417" y="329"/>
                  </a:lnTo>
                  <a:lnTo>
                    <a:pt x="417" y="329"/>
                  </a:lnTo>
                  <a:lnTo>
                    <a:pt x="413" y="331"/>
                  </a:lnTo>
                  <a:lnTo>
                    <a:pt x="408" y="333"/>
                  </a:lnTo>
                  <a:lnTo>
                    <a:pt x="408" y="333"/>
                  </a:lnTo>
                  <a:lnTo>
                    <a:pt x="408" y="335"/>
                  </a:lnTo>
                  <a:lnTo>
                    <a:pt x="410" y="335"/>
                  </a:lnTo>
                  <a:lnTo>
                    <a:pt x="410" y="337"/>
                  </a:lnTo>
                  <a:lnTo>
                    <a:pt x="413" y="335"/>
                  </a:lnTo>
                  <a:lnTo>
                    <a:pt x="413" y="335"/>
                  </a:lnTo>
                  <a:lnTo>
                    <a:pt x="415" y="337"/>
                  </a:lnTo>
                  <a:lnTo>
                    <a:pt x="413" y="337"/>
                  </a:lnTo>
                  <a:lnTo>
                    <a:pt x="412" y="337"/>
                  </a:lnTo>
                  <a:lnTo>
                    <a:pt x="410" y="337"/>
                  </a:lnTo>
                  <a:lnTo>
                    <a:pt x="410" y="339"/>
                  </a:lnTo>
                  <a:lnTo>
                    <a:pt x="410" y="339"/>
                  </a:lnTo>
                  <a:lnTo>
                    <a:pt x="410" y="341"/>
                  </a:lnTo>
                  <a:lnTo>
                    <a:pt x="412" y="345"/>
                  </a:lnTo>
                  <a:lnTo>
                    <a:pt x="412" y="347"/>
                  </a:lnTo>
                  <a:lnTo>
                    <a:pt x="412" y="347"/>
                  </a:lnTo>
                  <a:lnTo>
                    <a:pt x="413" y="347"/>
                  </a:lnTo>
                  <a:lnTo>
                    <a:pt x="415" y="345"/>
                  </a:lnTo>
                  <a:lnTo>
                    <a:pt x="415" y="347"/>
                  </a:lnTo>
                  <a:lnTo>
                    <a:pt x="415" y="348"/>
                  </a:lnTo>
                  <a:lnTo>
                    <a:pt x="417" y="348"/>
                  </a:lnTo>
                  <a:lnTo>
                    <a:pt x="417" y="350"/>
                  </a:lnTo>
                  <a:lnTo>
                    <a:pt x="419" y="350"/>
                  </a:lnTo>
                  <a:lnTo>
                    <a:pt x="423" y="352"/>
                  </a:lnTo>
                  <a:lnTo>
                    <a:pt x="423" y="352"/>
                  </a:lnTo>
                  <a:lnTo>
                    <a:pt x="421" y="352"/>
                  </a:lnTo>
                  <a:lnTo>
                    <a:pt x="421" y="352"/>
                  </a:lnTo>
                  <a:lnTo>
                    <a:pt x="419" y="354"/>
                  </a:lnTo>
                  <a:lnTo>
                    <a:pt x="413" y="358"/>
                  </a:lnTo>
                  <a:lnTo>
                    <a:pt x="412" y="360"/>
                  </a:lnTo>
                  <a:lnTo>
                    <a:pt x="412" y="362"/>
                  </a:lnTo>
                  <a:lnTo>
                    <a:pt x="413" y="364"/>
                  </a:lnTo>
                  <a:lnTo>
                    <a:pt x="413" y="364"/>
                  </a:lnTo>
                  <a:lnTo>
                    <a:pt x="415" y="362"/>
                  </a:lnTo>
                  <a:lnTo>
                    <a:pt x="417" y="362"/>
                  </a:lnTo>
                  <a:lnTo>
                    <a:pt x="417" y="362"/>
                  </a:lnTo>
                  <a:lnTo>
                    <a:pt x="417" y="362"/>
                  </a:lnTo>
                  <a:lnTo>
                    <a:pt x="417" y="358"/>
                  </a:lnTo>
                  <a:lnTo>
                    <a:pt x="417" y="358"/>
                  </a:lnTo>
                  <a:lnTo>
                    <a:pt x="417" y="356"/>
                  </a:lnTo>
                  <a:lnTo>
                    <a:pt x="419" y="356"/>
                  </a:lnTo>
                  <a:lnTo>
                    <a:pt x="421" y="356"/>
                  </a:lnTo>
                  <a:lnTo>
                    <a:pt x="421" y="356"/>
                  </a:lnTo>
                  <a:lnTo>
                    <a:pt x="423" y="358"/>
                  </a:lnTo>
                  <a:lnTo>
                    <a:pt x="421" y="360"/>
                  </a:lnTo>
                  <a:lnTo>
                    <a:pt x="421" y="362"/>
                  </a:lnTo>
                  <a:lnTo>
                    <a:pt x="419" y="366"/>
                  </a:lnTo>
                  <a:lnTo>
                    <a:pt x="423" y="364"/>
                  </a:lnTo>
                  <a:lnTo>
                    <a:pt x="423" y="364"/>
                  </a:lnTo>
                  <a:lnTo>
                    <a:pt x="423" y="362"/>
                  </a:lnTo>
                  <a:lnTo>
                    <a:pt x="423" y="360"/>
                  </a:lnTo>
                  <a:lnTo>
                    <a:pt x="423" y="360"/>
                  </a:lnTo>
                  <a:lnTo>
                    <a:pt x="425" y="360"/>
                  </a:lnTo>
                  <a:lnTo>
                    <a:pt x="425" y="362"/>
                  </a:lnTo>
                  <a:lnTo>
                    <a:pt x="425" y="362"/>
                  </a:lnTo>
                  <a:lnTo>
                    <a:pt x="429" y="360"/>
                  </a:lnTo>
                  <a:lnTo>
                    <a:pt x="431" y="360"/>
                  </a:lnTo>
                  <a:lnTo>
                    <a:pt x="431" y="360"/>
                  </a:lnTo>
                  <a:lnTo>
                    <a:pt x="434" y="367"/>
                  </a:lnTo>
                  <a:lnTo>
                    <a:pt x="432" y="367"/>
                  </a:lnTo>
                  <a:lnTo>
                    <a:pt x="431" y="369"/>
                  </a:lnTo>
                  <a:lnTo>
                    <a:pt x="427" y="367"/>
                  </a:lnTo>
                  <a:lnTo>
                    <a:pt x="427" y="367"/>
                  </a:lnTo>
                  <a:lnTo>
                    <a:pt x="427" y="369"/>
                  </a:lnTo>
                  <a:lnTo>
                    <a:pt x="427" y="371"/>
                  </a:lnTo>
                  <a:lnTo>
                    <a:pt x="429" y="371"/>
                  </a:lnTo>
                  <a:lnTo>
                    <a:pt x="429" y="371"/>
                  </a:lnTo>
                  <a:lnTo>
                    <a:pt x="431" y="371"/>
                  </a:lnTo>
                  <a:lnTo>
                    <a:pt x="431" y="371"/>
                  </a:lnTo>
                  <a:lnTo>
                    <a:pt x="431" y="373"/>
                  </a:lnTo>
                  <a:lnTo>
                    <a:pt x="431" y="373"/>
                  </a:lnTo>
                  <a:lnTo>
                    <a:pt x="432" y="375"/>
                  </a:lnTo>
                  <a:lnTo>
                    <a:pt x="434" y="375"/>
                  </a:lnTo>
                  <a:lnTo>
                    <a:pt x="436" y="373"/>
                  </a:lnTo>
                  <a:lnTo>
                    <a:pt x="438" y="373"/>
                  </a:lnTo>
                  <a:lnTo>
                    <a:pt x="436" y="375"/>
                  </a:lnTo>
                  <a:lnTo>
                    <a:pt x="434" y="377"/>
                  </a:lnTo>
                  <a:lnTo>
                    <a:pt x="432" y="379"/>
                  </a:lnTo>
                  <a:lnTo>
                    <a:pt x="434" y="383"/>
                  </a:lnTo>
                  <a:lnTo>
                    <a:pt x="434" y="383"/>
                  </a:lnTo>
                  <a:lnTo>
                    <a:pt x="432" y="387"/>
                  </a:lnTo>
                  <a:lnTo>
                    <a:pt x="432" y="388"/>
                  </a:lnTo>
                  <a:lnTo>
                    <a:pt x="436" y="387"/>
                  </a:lnTo>
                  <a:lnTo>
                    <a:pt x="436" y="385"/>
                  </a:lnTo>
                  <a:lnTo>
                    <a:pt x="438" y="385"/>
                  </a:lnTo>
                  <a:lnTo>
                    <a:pt x="438" y="385"/>
                  </a:lnTo>
                  <a:lnTo>
                    <a:pt x="438" y="387"/>
                  </a:lnTo>
                  <a:lnTo>
                    <a:pt x="436" y="388"/>
                  </a:lnTo>
                  <a:lnTo>
                    <a:pt x="436" y="390"/>
                  </a:lnTo>
                  <a:lnTo>
                    <a:pt x="438" y="392"/>
                  </a:lnTo>
                  <a:lnTo>
                    <a:pt x="440" y="390"/>
                  </a:lnTo>
                  <a:lnTo>
                    <a:pt x="440" y="390"/>
                  </a:lnTo>
                  <a:lnTo>
                    <a:pt x="440" y="392"/>
                  </a:lnTo>
                  <a:lnTo>
                    <a:pt x="440" y="392"/>
                  </a:lnTo>
                  <a:lnTo>
                    <a:pt x="440" y="392"/>
                  </a:lnTo>
                  <a:lnTo>
                    <a:pt x="440" y="394"/>
                  </a:lnTo>
                  <a:lnTo>
                    <a:pt x="442" y="394"/>
                  </a:lnTo>
                  <a:lnTo>
                    <a:pt x="442" y="394"/>
                  </a:lnTo>
                  <a:lnTo>
                    <a:pt x="442" y="396"/>
                  </a:lnTo>
                  <a:lnTo>
                    <a:pt x="442" y="396"/>
                  </a:lnTo>
                  <a:lnTo>
                    <a:pt x="438" y="398"/>
                  </a:lnTo>
                  <a:lnTo>
                    <a:pt x="438" y="400"/>
                  </a:lnTo>
                  <a:lnTo>
                    <a:pt x="440" y="402"/>
                  </a:lnTo>
                  <a:lnTo>
                    <a:pt x="438" y="406"/>
                  </a:lnTo>
                  <a:lnTo>
                    <a:pt x="438" y="407"/>
                  </a:lnTo>
                  <a:lnTo>
                    <a:pt x="438" y="409"/>
                  </a:lnTo>
                  <a:lnTo>
                    <a:pt x="436" y="409"/>
                  </a:lnTo>
                  <a:lnTo>
                    <a:pt x="436" y="411"/>
                  </a:lnTo>
                  <a:lnTo>
                    <a:pt x="438" y="413"/>
                  </a:lnTo>
                  <a:lnTo>
                    <a:pt x="438" y="413"/>
                  </a:lnTo>
                  <a:lnTo>
                    <a:pt x="438" y="417"/>
                  </a:lnTo>
                  <a:lnTo>
                    <a:pt x="436" y="419"/>
                  </a:lnTo>
                  <a:lnTo>
                    <a:pt x="436" y="421"/>
                  </a:lnTo>
                  <a:lnTo>
                    <a:pt x="434" y="425"/>
                  </a:lnTo>
                  <a:lnTo>
                    <a:pt x="434" y="425"/>
                  </a:lnTo>
                  <a:lnTo>
                    <a:pt x="436" y="426"/>
                  </a:lnTo>
                  <a:lnTo>
                    <a:pt x="436" y="430"/>
                  </a:lnTo>
                  <a:lnTo>
                    <a:pt x="436" y="432"/>
                  </a:lnTo>
                  <a:lnTo>
                    <a:pt x="434" y="434"/>
                  </a:lnTo>
                  <a:lnTo>
                    <a:pt x="432" y="434"/>
                  </a:lnTo>
                  <a:lnTo>
                    <a:pt x="431" y="434"/>
                  </a:lnTo>
                  <a:lnTo>
                    <a:pt x="431" y="434"/>
                  </a:lnTo>
                  <a:lnTo>
                    <a:pt x="431" y="434"/>
                  </a:lnTo>
                  <a:lnTo>
                    <a:pt x="431" y="434"/>
                  </a:lnTo>
                  <a:lnTo>
                    <a:pt x="429" y="436"/>
                  </a:lnTo>
                  <a:lnTo>
                    <a:pt x="429" y="436"/>
                  </a:lnTo>
                  <a:lnTo>
                    <a:pt x="427" y="436"/>
                  </a:lnTo>
                  <a:lnTo>
                    <a:pt x="427" y="438"/>
                  </a:lnTo>
                  <a:lnTo>
                    <a:pt x="427" y="440"/>
                  </a:lnTo>
                  <a:lnTo>
                    <a:pt x="425" y="442"/>
                  </a:lnTo>
                  <a:lnTo>
                    <a:pt x="425" y="444"/>
                  </a:lnTo>
                  <a:lnTo>
                    <a:pt x="423" y="445"/>
                  </a:lnTo>
                  <a:lnTo>
                    <a:pt x="423" y="447"/>
                  </a:lnTo>
                  <a:lnTo>
                    <a:pt x="423" y="449"/>
                  </a:lnTo>
                  <a:lnTo>
                    <a:pt x="425" y="449"/>
                  </a:lnTo>
                  <a:lnTo>
                    <a:pt x="425" y="449"/>
                  </a:lnTo>
                  <a:lnTo>
                    <a:pt x="425" y="449"/>
                  </a:lnTo>
                  <a:lnTo>
                    <a:pt x="425" y="449"/>
                  </a:lnTo>
                  <a:lnTo>
                    <a:pt x="425" y="451"/>
                  </a:lnTo>
                  <a:lnTo>
                    <a:pt x="423" y="453"/>
                  </a:lnTo>
                  <a:lnTo>
                    <a:pt x="423" y="453"/>
                  </a:lnTo>
                  <a:lnTo>
                    <a:pt x="423" y="457"/>
                  </a:lnTo>
                  <a:lnTo>
                    <a:pt x="421" y="463"/>
                  </a:lnTo>
                  <a:lnTo>
                    <a:pt x="421" y="463"/>
                  </a:lnTo>
                  <a:lnTo>
                    <a:pt x="421" y="463"/>
                  </a:lnTo>
                  <a:lnTo>
                    <a:pt x="423" y="463"/>
                  </a:lnTo>
                  <a:lnTo>
                    <a:pt x="425" y="463"/>
                  </a:lnTo>
                  <a:lnTo>
                    <a:pt x="425" y="461"/>
                  </a:lnTo>
                  <a:lnTo>
                    <a:pt x="427" y="461"/>
                  </a:lnTo>
                  <a:lnTo>
                    <a:pt x="427" y="461"/>
                  </a:lnTo>
                  <a:lnTo>
                    <a:pt x="427" y="461"/>
                  </a:lnTo>
                  <a:lnTo>
                    <a:pt x="431" y="461"/>
                  </a:lnTo>
                  <a:lnTo>
                    <a:pt x="431" y="461"/>
                  </a:lnTo>
                  <a:lnTo>
                    <a:pt x="431" y="461"/>
                  </a:lnTo>
                  <a:lnTo>
                    <a:pt x="431" y="461"/>
                  </a:lnTo>
                  <a:lnTo>
                    <a:pt x="432" y="461"/>
                  </a:lnTo>
                  <a:lnTo>
                    <a:pt x="434" y="461"/>
                  </a:lnTo>
                  <a:lnTo>
                    <a:pt x="436" y="461"/>
                  </a:lnTo>
                  <a:lnTo>
                    <a:pt x="438" y="461"/>
                  </a:lnTo>
                  <a:lnTo>
                    <a:pt x="442" y="459"/>
                  </a:lnTo>
                  <a:lnTo>
                    <a:pt x="442" y="457"/>
                  </a:lnTo>
                  <a:lnTo>
                    <a:pt x="442" y="453"/>
                  </a:lnTo>
                  <a:lnTo>
                    <a:pt x="442" y="453"/>
                  </a:lnTo>
                  <a:lnTo>
                    <a:pt x="442" y="451"/>
                  </a:lnTo>
                  <a:lnTo>
                    <a:pt x="442" y="451"/>
                  </a:lnTo>
                  <a:lnTo>
                    <a:pt x="440" y="451"/>
                  </a:lnTo>
                  <a:lnTo>
                    <a:pt x="438" y="449"/>
                  </a:lnTo>
                  <a:lnTo>
                    <a:pt x="438" y="449"/>
                  </a:lnTo>
                  <a:lnTo>
                    <a:pt x="438" y="447"/>
                  </a:lnTo>
                  <a:lnTo>
                    <a:pt x="438" y="447"/>
                  </a:lnTo>
                  <a:lnTo>
                    <a:pt x="438" y="447"/>
                  </a:lnTo>
                  <a:lnTo>
                    <a:pt x="438" y="447"/>
                  </a:lnTo>
                  <a:lnTo>
                    <a:pt x="438" y="445"/>
                  </a:lnTo>
                  <a:lnTo>
                    <a:pt x="438" y="445"/>
                  </a:lnTo>
                  <a:lnTo>
                    <a:pt x="438" y="445"/>
                  </a:lnTo>
                  <a:lnTo>
                    <a:pt x="440" y="445"/>
                  </a:lnTo>
                  <a:lnTo>
                    <a:pt x="440" y="445"/>
                  </a:lnTo>
                  <a:lnTo>
                    <a:pt x="442" y="445"/>
                  </a:lnTo>
                  <a:lnTo>
                    <a:pt x="442" y="445"/>
                  </a:lnTo>
                  <a:lnTo>
                    <a:pt x="442" y="445"/>
                  </a:lnTo>
                  <a:lnTo>
                    <a:pt x="444" y="442"/>
                  </a:lnTo>
                  <a:lnTo>
                    <a:pt x="444" y="442"/>
                  </a:lnTo>
                  <a:lnTo>
                    <a:pt x="444" y="442"/>
                  </a:lnTo>
                  <a:lnTo>
                    <a:pt x="446" y="442"/>
                  </a:lnTo>
                  <a:lnTo>
                    <a:pt x="446" y="442"/>
                  </a:lnTo>
                  <a:lnTo>
                    <a:pt x="448" y="442"/>
                  </a:lnTo>
                  <a:lnTo>
                    <a:pt x="448" y="442"/>
                  </a:lnTo>
                  <a:lnTo>
                    <a:pt x="450" y="440"/>
                  </a:lnTo>
                  <a:lnTo>
                    <a:pt x="452" y="438"/>
                  </a:lnTo>
                  <a:lnTo>
                    <a:pt x="453" y="438"/>
                  </a:lnTo>
                  <a:lnTo>
                    <a:pt x="453" y="438"/>
                  </a:lnTo>
                  <a:lnTo>
                    <a:pt x="453" y="438"/>
                  </a:lnTo>
                  <a:lnTo>
                    <a:pt x="455" y="438"/>
                  </a:lnTo>
                  <a:lnTo>
                    <a:pt x="455" y="440"/>
                  </a:lnTo>
                  <a:lnTo>
                    <a:pt x="453" y="440"/>
                  </a:lnTo>
                  <a:lnTo>
                    <a:pt x="453" y="442"/>
                  </a:lnTo>
                  <a:lnTo>
                    <a:pt x="455" y="442"/>
                  </a:lnTo>
                  <a:lnTo>
                    <a:pt x="455" y="442"/>
                  </a:lnTo>
                  <a:lnTo>
                    <a:pt x="455" y="442"/>
                  </a:lnTo>
                  <a:lnTo>
                    <a:pt x="457" y="442"/>
                  </a:lnTo>
                  <a:lnTo>
                    <a:pt x="457" y="442"/>
                  </a:lnTo>
                  <a:lnTo>
                    <a:pt x="459" y="442"/>
                  </a:lnTo>
                  <a:lnTo>
                    <a:pt x="459" y="444"/>
                  </a:lnTo>
                  <a:lnTo>
                    <a:pt x="459" y="444"/>
                  </a:lnTo>
                  <a:lnTo>
                    <a:pt x="459" y="444"/>
                  </a:lnTo>
                  <a:lnTo>
                    <a:pt x="459" y="445"/>
                  </a:lnTo>
                  <a:lnTo>
                    <a:pt x="457" y="445"/>
                  </a:lnTo>
                  <a:lnTo>
                    <a:pt x="452" y="449"/>
                  </a:lnTo>
                  <a:lnTo>
                    <a:pt x="452" y="449"/>
                  </a:lnTo>
                  <a:lnTo>
                    <a:pt x="452" y="449"/>
                  </a:lnTo>
                  <a:lnTo>
                    <a:pt x="452" y="449"/>
                  </a:lnTo>
                  <a:lnTo>
                    <a:pt x="452" y="451"/>
                  </a:lnTo>
                  <a:lnTo>
                    <a:pt x="452" y="451"/>
                  </a:lnTo>
                  <a:lnTo>
                    <a:pt x="452" y="451"/>
                  </a:lnTo>
                  <a:lnTo>
                    <a:pt x="452" y="455"/>
                  </a:lnTo>
                  <a:lnTo>
                    <a:pt x="452" y="455"/>
                  </a:lnTo>
                  <a:lnTo>
                    <a:pt x="453" y="457"/>
                  </a:lnTo>
                  <a:lnTo>
                    <a:pt x="453" y="457"/>
                  </a:lnTo>
                  <a:lnTo>
                    <a:pt x="455" y="457"/>
                  </a:lnTo>
                  <a:lnTo>
                    <a:pt x="457" y="457"/>
                  </a:lnTo>
                  <a:lnTo>
                    <a:pt x="457" y="457"/>
                  </a:lnTo>
                  <a:lnTo>
                    <a:pt x="457" y="455"/>
                  </a:lnTo>
                  <a:lnTo>
                    <a:pt x="457" y="455"/>
                  </a:lnTo>
                  <a:lnTo>
                    <a:pt x="457" y="453"/>
                  </a:lnTo>
                  <a:lnTo>
                    <a:pt x="457" y="453"/>
                  </a:lnTo>
                  <a:lnTo>
                    <a:pt x="457" y="453"/>
                  </a:lnTo>
                  <a:lnTo>
                    <a:pt x="459" y="453"/>
                  </a:lnTo>
                  <a:lnTo>
                    <a:pt x="461" y="453"/>
                  </a:lnTo>
                  <a:lnTo>
                    <a:pt x="463" y="453"/>
                  </a:lnTo>
                  <a:lnTo>
                    <a:pt x="463" y="455"/>
                  </a:lnTo>
                  <a:lnTo>
                    <a:pt x="463" y="459"/>
                  </a:lnTo>
                  <a:lnTo>
                    <a:pt x="465" y="459"/>
                  </a:lnTo>
                  <a:lnTo>
                    <a:pt x="467" y="459"/>
                  </a:lnTo>
                  <a:lnTo>
                    <a:pt x="467" y="459"/>
                  </a:lnTo>
                  <a:lnTo>
                    <a:pt x="469" y="459"/>
                  </a:lnTo>
                  <a:lnTo>
                    <a:pt x="469" y="457"/>
                  </a:lnTo>
                  <a:lnTo>
                    <a:pt x="471" y="457"/>
                  </a:lnTo>
                  <a:lnTo>
                    <a:pt x="471" y="457"/>
                  </a:lnTo>
                  <a:lnTo>
                    <a:pt x="471" y="455"/>
                  </a:lnTo>
                  <a:lnTo>
                    <a:pt x="471" y="455"/>
                  </a:lnTo>
                  <a:lnTo>
                    <a:pt x="471" y="455"/>
                  </a:lnTo>
                  <a:lnTo>
                    <a:pt x="471" y="453"/>
                  </a:lnTo>
                  <a:lnTo>
                    <a:pt x="471" y="453"/>
                  </a:lnTo>
                  <a:lnTo>
                    <a:pt x="472" y="451"/>
                  </a:lnTo>
                  <a:lnTo>
                    <a:pt x="472" y="451"/>
                  </a:lnTo>
                  <a:lnTo>
                    <a:pt x="478" y="453"/>
                  </a:lnTo>
                  <a:lnTo>
                    <a:pt x="480" y="453"/>
                  </a:lnTo>
                  <a:lnTo>
                    <a:pt x="482" y="453"/>
                  </a:lnTo>
                  <a:lnTo>
                    <a:pt x="482" y="453"/>
                  </a:lnTo>
                  <a:lnTo>
                    <a:pt x="482" y="453"/>
                  </a:lnTo>
                  <a:lnTo>
                    <a:pt x="484" y="451"/>
                  </a:lnTo>
                  <a:lnTo>
                    <a:pt x="482" y="449"/>
                  </a:lnTo>
                  <a:lnTo>
                    <a:pt x="482" y="449"/>
                  </a:lnTo>
                  <a:lnTo>
                    <a:pt x="482" y="447"/>
                  </a:lnTo>
                  <a:lnTo>
                    <a:pt x="484" y="447"/>
                  </a:lnTo>
                  <a:lnTo>
                    <a:pt x="484" y="445"/>
                  </a:lnTo>
                  <a:lnTo>
                    <a:pt x="484" y="444"/>
                  </a:lnTo>
                  <a:lnTo>
                    <a:pt x="484" y="440"/>
                  </a:lnTo>
                  <a:lnTo>
                    <a:pt x="484" y="438"/>
                  </a:lnTo>
                  <a:lnTo>
                    <a:pt x="484" y="438"/>
                  </a:lnTo>
                  <a:lnTo>
                    <a:pt x="484" y="436"/>
                  </a:lnTo>
                  <a:lnTo>
                    <a:pt x="482" y="436"/>
                  </a:lnTo>
                  <a:lnTo>
                    <a:pt x="482" y="436"/>
                  </a:lnTo>
                  <a:lnTo>
                    <a:pt x="482" y="436"/>
                  </a:lnTo>
                  <a:lnTo>
                    <a:pt x="482" y="434"/>
                  </a:lnTo>
                  <a:lnTo>
                    <a:pt x="480" y="434"/>
                  </a:lnTo>
                  <a:lnTo>
                    <a:pt x="482" y="432"/>
                  </a:lnTo>
                  <a:lnTo>
                    <a:pt x="484" y="430"/>
                  </a:lnTo>
                  <a:lnTo>
                    <a:pt x="488" y="423"/>
                  </a:lnTo>
                  <a:lnTo>
                    <a:pt x="490" y="419"/>
                  </a:lnTo>
                  <a:lnTo>
                    <a:pt x="490" y="417"/>
                  </a:lnTo>
                  <a:lnTo>
                    <a:pt x="490" y="415"/>
                  </a:lnTo>
                  <a:lnTo>
                    <a:pt x="490" y="413"/>
                  </a:lnTo>
                  <a:lnTo>
                    <a:pt x="490" y="413"/>
                  </a:lnTo>
                  <a:lnTo>
                    <a:pt x="488" y="413"/>
                  </a:lnTo>
                  <a:lnTo>
                    <a:pt x="488" y="413"/>
                  </a:lnTo>
                  <a:lnTo>
                    <a:pt x="488" y="413"/>
                  </a:lnTo>
                  <a:lnTo>
                    <a:pt x="486" y="413"/>
                  </a:lnTo>
                  <a:lnTo>
                    <a:pt x="486" y="413"/>
                  </a:lnTo>
                  <a:lnTo>
                    <a:pt x="486" y="411"/>
                  </a:lnTo>
                  <a:lnTo>
                    <a:pt x="486" y="411"/>
                  </a:lnTo>
                  <a:lnTo>
                    <a:pt x="486" y="409"/>
                  </a:lnTo>
                  <a:lnTo>
                    <a:pt x="486" y="409"/>
                  </a:lnTo>
                  <a:lnTo>
                    <a:pt x="484" y="407"/>
                  </a:lnTo>
                  <a:lnTo>
                    <a:pt x="484" y="407"/>
                  </a:lnTo>
                  <a:lnTo>
                    <a:pt x="484" y="407"/>
                  </a:lnTo>
                  <a:lnTo>
                    <a:pt x="482" y="407"/>
                  </a:lnTo>
                  <a:lnTo>
                    <a:pt x="482" y="407"/>
                  </a:lnTo>
                  <a:lnTo>
                    <a:pt x="482" y="407"/>
                  </a:lnTo>
                  <a:lnTo>
                    <a:pt x="482" y="407"/>
                  </a:lnTo>
                  <a:lnTo>
                    <a:pt x="482" y="406"/>
                  </a:lnTo>
                  <a:lnTo>
                    <a:pt x="482" y="406"/>
                  </a:lnTo>
                  <a:lnTo>
                    <a:pt x="486" y="406"/>
                  </a:lnTo>
                  <a:lnTo>
                    <a:pt x="486" y="404"/>
                  </a:lnTo>
                  <a:lnTo>
                    <a:pt x="488" y="400"/>
                  </a:lnTo>
                  <a:lnTo>
                    <a:pt x="488" y="400"/>
                  </a:lnTo>
                  <a:lnTo>
                    <a:pt x="488" y="400"/>
                  </a:lnTo>
                  <a:lnTo>
                    <a:pt x="490" y="400"/>
                  </a:lnTo>
                  <a:lnTo>
                    <a:pt x="490" y="400"/>
                  </a:lnTo>
                  <a:lnTo>
                    <a:pt x="490" y="400"/>
                  </a:lnTo>
                  <a:lnTo>
                    <a:pt x="490" y="402"/>
                  </a:lnTo>
                  <a:lnTo>
                    <a:pt x="492" y="404"/>
                  </a:lnTo>
                  <a:lnTo>
                    <a:pt x="492" y="404"/>
                  </a:lnTo>
                  <a:lnTo>
                    <a:pt x="493" y="406"/>
                  </a:lnTo>
                  <a:lnTo>
                    <a:pt x="493" y="406"/>
                  </a:lnTo>
                  <a:lnTo>
                    <a:pt x="493" y="406"/>
                  </a:lnTo>
                  <a:lnTo>
                    <a:pt x="497" y="407"/>
                  </a:lnTo>
                  <a:lnTo>
                    <a:pt x="501" y="409"/>
                  </a:lnTo>
                  <a:lnTo>
                    <a:pt x="501" y="409"/>
                  </a:lnTo>
                  <a:lnTo>
                    <a:pt x="503" y="411"/>
                  </a:lnTo>
                  <a:lnTo>
                    <a:pt x="505" y="415"/>
                  </a:lnTo>
                  <a:lnTo>
                    <a:pt x="505" y="415"/>
                  </a:lnTo>
                  <a:lnTo>
                    <a:pt x="507" y="415"/>
                  </a:lnTo>
                  <a:lnTo>
                    <a:pt x="507" y="415"/>
                  </a:lnTo>
                  <a:lnTo>
                    <a:pt x="513" y="415"/>
                  </a:lnTo>
                  <a:lnTo>
                    <a:pt x="513" y="415"/>
                  </a:lnTo>
                  <a:lnTo>
                    <a:pt x="516" y="413"/>
                  </a:lnTo>
                  <a:lnTo>
                    <a:pt x="518" y="413"/>
                  </a:lnTo>
                  <a:lnTo>
                    <a:pt x="520" y="411"/>
                  </a:lnTo>
                  <a:lnTo>
                    <a:pt x="520" y="411"/>
                  </a:lnTo>
                  <a:lnTo>
                    <a:pt x="522" y="409"/>
                  </a:lnTo>
                  <a:lnTo>
                    <a:pt x="522" y="409"/>
                  </a:lnTo>
                  <a:lnTo>
                    <a:pt x="522" y="407"/>
                  </a:lnTo>
                  <a:lnTo>
                    <a:pt x="522" y="407"/>
                  </a:lnTo>
                  <a:lnTo>
                    <a:pt x="522" y="406"/>
                  </a:lnTo>
                  <a:lnTo>
                    <a:pt x="522" y="404"/>
                  </a:lnTo>
                  <a:lnTo>
                    <a:pt x="526" y="402"/>
                  </a:lnTo>
                  <a:lnTo>
                    <a:pt x="530" y="398"/>
                  </a:lnTo>
                  <a:lnTo>
                    <a:pt x="530" y="396"/>
                  </a:lnTo>
                  <a:lnTo>
                    <a:pt x="532" y="396"/>
                  </a:lnTo>
                  <a:lnTo>
                    <a:pt x="532" y="394"/>
                  </a:lnTo>
                  <a:lnTo>
                    <a:pt x="532" y="392"/>
                  </a:lnTo>
                  <a:lnTo>
                    <a:pt x="532" y="390"/>
                  </a:lnTo>
                  <a:lnTo>
                    <a:pt x="532" y="383"/>
                  </a:lnTo>
                  <a:lnTo>
                    <a:pt x="530" y="381"/>
                  </a:lnTo>
                  <a:lnTo>
                    <a:pt x="530" y="379"/>
                  </a:lnTo>
                  <a:lnTo>
                    <a:pt x="528" y="375"/>
                  </a:lnTo>
                  <a:lnTo>
                    <a:pt x="528" y="375"/>
                  </a:lnTo>
                  <a:lnTo>
                    <a:pt x="528" y="373"/>
                  </a:lnTo>
                  <a:lnTo>
                    <a:pt x="526" y="373"/>
                  </a:lnTo>
                  <a:lnTo>
                    <a:pt x="524" y="371"/>
                  </a:lnTo>
                  <a:lnTo>
                    <a:pt x="522" y="369"/>
                  </a:lnTo>
                  <a:lnTo>
                    <a:pt x="522" y="367"/>
                  </a:lnTo>
                  <a:lnTo>
                    <a:pt x="520" y="366"/>
                  </a:lnTo>
                  <a:lnTo>
                    <a:pt x="518" y="366"/>
                  </a:lnTo>
                  <a:lnTo>
                    <a:pt x="516" y="366"/>
                  </a:lnTo>
                  <a:lnTo>
                    <a:pt x="514" y="364"/>
                  </a:lnTo>
                  <a:lnTo>
                    <a:pt x="514" y="362"/>
                  </a:lnTo>
                  <a:lnTo>
                    <a:pt x="514" y="362"/>
                  </a:lnTo>
                  <a:lnTo>
                    <a:pt x="513" y="360"/>
                  </a:lnTo>
                  <a:lnTo>
                    <a:pt x="513" y="360"/>
                  </a:lnTo>
                  <a:lnTo>
                    <a:pt x="511" y="360"/>
                  </a:lnTo>
                  <a:lnTo>
                    <a:pt x="511" y="360"/>
                  </a:lnTo>
                  <a:lnTo>
                    <a:pt x="509" y="360"/>
                  </a:lnTo>
                  <a:lnTo>
                    <a:pt x="509" y="360"/>
                  </a:lnTo>
                  <a:lnTo>
                    <a:pt x="507" y="360"/>
                  </a:lnTo>
                  <a:lnTo>
                    <a:pt x="503" y="358"/>
                  </a:lnTo>
                  <a:lnTo>
                    <a:pt x="499" y="354"/>
                  </a:lnTo>
                  <a:lnTo>
                    <a:pt x="499" y="354"/>
                  </a:lnTo>
                  <a:lnTo>
                    <a:pt x="499" y="354"/>
                  </a:lnTo>
                  <a:lnTo>
                    <a:pt x="499" y="352"/>
                  </a:lnTo>
                  <a:lnTo>
                    <a:pt x="499" y="352"/>
                  </a:lnTo>
                  <a:lnTo>
                    <a:pt x="499" y="352"/>
                  </a:lnTo>
                  <a:lnTo>
                    <a:pt x="501" y="352"/>
                  </a:lnTo>
                  <a:lnTo>
                    <a:pt x="507" y="356"/>
                  </a:lnTo>
                  <a:lnTo>
                    <a:pt x="507" y="356"/>
                  </a:lnTo>
                  <a:lnTo>
                    <a:pt x="507" y="356"/>
                  </a:lnTo>
                  <a:lnTo>
                    <a:pt x="509" y="356"/>
                  </a:lnTo>
                  <a:lnTo>
                    <a:pt x="509" y="354"/>
                  </a:lnTo>
                  <a:lnTo>
                    <a:pt x="509" y="356"/>
                  </a:lnTo>
                  <a:lnTo>
                    <a:pt x="511" y="356"/>
                  </a:lnTo>
                  <a:lnTo>
                    <a:pt x="511" y="356"/>
                  </a:lnTo>
                  <a:lnTo>
                    <a:pt x="513" y="356"/>
                  </a:lnTo>
                  <a:lnTo>
                    <a:pt x="513" y="356"/>
                  </a:lnTo>
                  <a:lnTo>
                    <a:pt x="513" y="356"/>
                  </a:lnTo>
                  <a:lnTo>
                    <a:pt x="514" y="354"/>
                  </a:lnTo>
                  <a:lnTo>
                    <a:pt x="514" y="354"/>
                  </a:lnTo>
                  <a:lnTo>
                    <a:pt x="514" y="354"/>
                  </a:lnTo>
                  <a:lnTo>
                    <a:pt x="516" y="352"/>
                  </a:lnTo>
                  <a:lnTo>
                    <a:pt x="518" y="352"/>
                  </a:lnTo>
                  <a:lnTo>
                    <a:pt x="518" y="352"/>
                  </a:lnTo>
                  <a:lnTo>
                    <a:pt x="520" y="350"/>
                  </a:lnTo>
                  <a:lnTo>
                    <a:pt x="520" y="347"/>
                  </a:lnTo>
                  <a:lnTo>
                    <a:pt x="522" y="345"/>
                  </a:lnTo>
                  <a:lnTo>
                    <a:pt x="522" y="345"/>
                  </a:lnTo>
                  <a:lnTo>
                    <a:pt x="522" y="345"/>
                  </a:lnTo>
                  <a:lnTo>
                    <a:pt x="524" y="345"/>
                  </a:lnTo>
                  <a:lnTo>
                    <a:pt x="526" y="347"/>
                  </a:lnTo>
                  <a:lnTo>
                    <a:pt x="526" y="347"/>
                  </a:lnTo>
                  <a:lnTo>
                    <a:pt x="532" y="345"/>
                  </a:lnTo>
                  <a:lnTo>
                    <a:pt x="532" y="343"/>
                  </a:lnTo>
                  <a:lnTo>
                    <a:pt x="533" y="341"/>
                  </a:lnTo>
                  <a:lnTo>
                    <a:pt x="535" y="335"/>
                  </a:lnTo>
                  <a:lnTo>
                    <a:pt x="535" y="333"/>
                  </a:lnTo>
                  <a:lnTo>
                    <a:pt x="537" y="331"/>
                  </a:lnTo>
                  <a:lnTo>
                    <a:pt x="539" y="331"/>
                  </a:lnTo>
                  <a:lnTo>
                    <a:pt x="541" y="329"/>
                  </a:lnTo>
                  <a:lnTo>
                    <a:pt x="543" y="328"/>
                  </a:lnTo>
                  <a:lnTo>
                    <a:pt x="543" y="326"/>
                  </a:lnTo>
                  <a:lnTo>
                    <a:pt x="545" y="326"/>
                  </a:lnTo>
                  <a:lnTo>
                    <a:pt x="545" y="326"/>
                  </a:lnTo>
                  <a:lnTo>
                    <a:pt x="549" y="328"/>
                  </a:lnTo>
                  <a:lnTo>
                    <a:pt x="549" y="328"/>
                  </a:lnTo>
                  <a:lnTo>
                    <a:pt x="551" y="328"/>
                  </a:lnTo>
                  <a:lnTo>
                    <a:pt x="562" y="324"/>
                  </a:lnTo>
                  <a:lnTo>
                    <a:pt x="564" y="324"/>
                  </a:lnTo>
                  <a:lnTo>
                    <a:pt x="566" y="322"/>
                  </a:lnTo>
                  <a:lnTo>
                    <a:pt x="568" y="322"/>
                  </a:lnTo>
                  <a:lnTo>
                    <a:pt x="568" y="320"/>
                  </a:lnTo>
                  <a:lnTo>
                    <a:pt x="568" y="320"/>
                  </a:lnTo>
                  <a:lnTo>
                    <a:pt x="568" y="320"/>
                  </a:lnTo>
                  <a:lnTo>
                    <a:pt x="568" y="318"/>
                  </a:lnTo>
                  <a:lnTo>
                    <a:pt x="568" y="318"/>
                  </a:lnTo>
                  <a:lnTo>
                    <a:pt x="566" y="316"/>
                  </a:lnTo>
                  <a:lnTo>
                    <a:pt x="566" y="316"/>
                  </a:lnTo>
                  <a:lnTo>
                    <a:pt x="566" y="316"/>
                  </a:lnTo>
                  <a:lnTo>
                    <a:pt x="566" y="316"/>
                  </a:lnTo>
                  <a:lnTo>
                    <a:pt x="566" y="316"/>
                  </a:lnTo>
                  <a:lnTo>
                    <a:pt x="564" y="316"/>
                  </a:lnTo>
                  <a:lnTo>
                    <a:pt x="562" y="316"/>
                  </a:lnTo>
                  <a:lnTo>
                    <a:pt x="562" y="318"/>
                  </a:lnTo>
                  <a:lnTo>
                    <a:pt x="562" y="318"/>
                  </a:lnTo>
                  <a:lnTo>
                    <a:pt x="558" y="318"/>
                  </a:lnTo>
                  <a:lnTo>
                    <a:pt x="556" y="318"/>
                  </a:lnTo>
                  <a:lnTo>
                    <a:pt x="556" y="318"/>
                  </a:lnTo>
                  <a:lnTo>
                    <a:pt x="556" y="316"/>
                  </a:lnTo>
                  <a:lnTo>
                    <a:pt x="554" y="316"/>
                  </a:lnTo>
                  <a:lnTo>
                    <a:pt x="554" y="316"/>
                  </a:lnTo>
                  <a:lnTo>
                    <a:pt x="553" y="316"/>
                  </a:lnTo>
                  <a:lnTo>
                    <a:pt x="553" y="316"/>
                  </a:lnTo>
                  <a:lnTo>
                    <a:pt x="553" y="316"/>
                  </a:lnTo>
                  <a:lnTo>
                    <a:pt x="553" y="316"/>
                  </a:lnTo>
                  <a:lnTo>
                    <a:pt x="551" y="316"/>
                  </a:lnTo>
                  <a:lnTo>
                    <a:pt x="551" y="318"/>
                  </a:lnTo>
                  <a:lnTo>
                    <a:pt x="551" y="318"/>
                  </a:lnTo>
                  <a:lnTo>
                    <a:pt x="543" y="316"/>
                  </a:lnTo>
                  <a:lnTo>
                    <a:pt x="541" y="316"/>
                  </a:lnTo>
                  <a:lnTo>
                    <a:pt x="539" y="318"/>
                  </a:lnTo>
                  <a:lnTo>
                    <a:pt x="535" y="318"/>
                  </a:lnTo>
                  <a:lnTo>
                    <a:pt x="533" y="320"/>
                  </a:lnTo>
                  <a:lnTo>
                    <a:pt x="526" y="320"/>
                  </a:lnTo>
                  <a:lnTo>
                    <a:pt x="524" y="322"/>
                  </a:lnTo>
                  <a:lnTo>
                    <a:pt x="524" y="322"/>
                  </a:lnTo>
                  <a:lnTo>
                    <a:pt x="522" y="322"/>
                  </a:lnTo>
                  <a:lnTo>
                    <a:pt x="522" y="322"/>
                  </a:lnTo>
                  <a:lnTo>
                    <a:pt x="522" y="318"/>
                  </a:lnTo>
                  <a:lnTo>
                    <a:pt x="520" y="318"/>
                  </a:lnTo>
                  <a:lnTo>
                    <a:pt x="518" y="314"/>
                  </a:lnTo>
                  <a:lnTo>
                    <a:pt x="518" y="312"/>
                  </a:lnTo>
                  <a:lnTo>
                    <a:pt x="516" y="312"/>
                  </a:lnTo>
                  <a:lnTo>
                    <a:pt x="516" y="310"/>
                  </a:lnTo>
                  <a:lnTo>
                    <a:pt x="518" y="310"/>
                  </a:lnTo>
                  <a:lnTo>
                    <a:pt x="520" y="310"/>
                  </a:lnTo>
                  <a:lnTo>
                    <a:pt x="522" y="309"/>
                  </a:lnTo>
                  <a:lnTo>
                    <a:pt x="524" y="309"/>
                  </a:lnTo>
                  <a:lnTo>
                    <a:pt x="526" y="305"/>
                  </a:lnTo>
                  <a:lnTo>
                    <a:pt x="524" y="303"/>
                  </a:lnTo>
                  <a:lnTo>
                    <a:pt x="524" y="303"/>
                  </a:lnTo>
                  <a:lnTo>
                    <a:pt x="522" y="301"/>
                  </a:lnTo>
                  <a:lnTo>
                    <a:pt x="522" y="301"/>
                  </a:lnTo>
                  <a:lnTo>
                    <a:pt x="522" y="299"/>
                  </a:lnTo>
                  <a:lnTo>
                    <a:pt x="522" y="297"/>
                  </a:lnTo>
                  <a:lnTo>
                    <a:pt x="522" y="297"/>
                  </a:lnTo>
                  <a:lnTo>
                    <a:pt x="522" y="293"/>
                  </a:lnTo>
                  <a:lnTo>
                    <a:pt x="522" y="293"/>
                  </a:lnTo>
                  <a:lnTo>
                    <a:pt x="522" y="291"/>
                  </a:lnTo>
                  <a:lnTo>
                    <a:pt x="522" y="290"/>
                  </a:lnTo>
                  <a:lnTo>
                    <a:pt x="524" y="290"/>
                  </a:lnTo>
                  <a:lnTo>
                    <a:pt x="524" y="290"/>
                  </a:lnTo>
                  <a:lnTo>
                    <a:pt x="528" y="288"/>
                  </a:lnTo>
                  <a:lnTo>
                    <a:pt x="532" y="286"/>
                  </a:lnTo>
                  <a:lnTo>
                    <a:pt x="532" y="286"/>
                  </a:lnTo>
                  <a:lnTo>
                    <a:pt x="535" y="286"/>
                  </a:lnTo>
                  <a:lnTo>
                    <a:pt x="537" y="284"/>
                  </a:lnTo>
                  <a:lnTo>
                    <a:pt x="537" y="284"/>
                  </a:lnTo>
                  <a:lnTo>
                    <a:pt x="545" y="278"/>
                  </a:lnTo>
                  <a:lnTo>
                    <a:pt x="553" y="278"/>
                  </a:lnTo>
                  <a:lnTo>
                    <a:pt x="553" y="270"/>
                  </a:lnTo>
                  <a:lnTo>
                    <a:pt x="553" y="267"/>
                  </a:lnTo>
                  <a:lnTo>
                    <a:pt x="553" y="267"/>
                  </a:lnTo>
                  <a:lnTo>
                    <a:pt x="553" y="265"/>
                  </a:lnTo>
                  <a:lnTo>
                    <a:pt x="551" y="263"/>
                  </a:lnTo>
                  <a:lnTo>
                    <a:pt x="551" y="263"/>
                  </a:lnTo>
                  <a:lnTo>
                    <a:pt x="551" y="261"/>
                  </a:lnTo>
                  <a:lnTo>
                    <a:pt x="551" y="259"/>
                  </a:lnTo>
                  <a:lnTo>
                    <a:pt x="551" y="257"/>
                  </a:lnTo>
                  <a:lnTo>
                    <a:pt x="549" y="255"/>
                  </a:lnTo>
                  <a:lnTo>
                    <a:pt x="549" y="255"/>
                  </a:lnTo>
                  <a:lnTo>
                    <a:pt x="547" y="253"/>
                  </a:lnTo>
                  <a:lnTo>
                    <a:pt x="547" y="253"/>
                  </a:lnTo>
                  <a:lnTo>
                    <a:pt x="545" y="251"/>
                  </a:lnTo>
                  <a:lnTo>
                    <a:pt x="547" y="250"/>
                  </a:lnTo>
                  <a:lnTo>
                    <a:pt x="545" y="248"/>
                  </a:lnTo>
                  <a:lnTo>
                    <a:pt x="545" y="246"/>
                  </a:lnTo>
                  <a:lnTo>
                    <a:pt x="545" y="244"/>
                  </a:lnTo>
                  <a:lnTo>
                    <a:pt x="545" y="242"/>
                  </a:lnTo>
                  <a:lnTo>
                    <a:pt x="547" y="240"/>
                  </a:lnTo>
                  <a:lnTo>
                    <a:pt x="547" y="238"/>
                  </a:lnTo>
                  <a:lnTo>
                    <a:pt x="547" y="238"/>
                  </a:lnTo>
                  <a:lnTo>
                    <a:pt x="547" y="238"/>
                  </a:lnTo>
                  <a:lnTo>
                    <a:pt x="549" y="238"/>
                  </a:lnTo>
                  <a:lnTo>
                    <a:pt x="549" y="238"/>
                  </a:lnTo>
                  <a:lnTo>
                    <a:pt x="551" y="240"/>
                  </a:lnTo>
                  <a:lnTo>
                    <a:pt x="551" y="240"/>
                  </a:lnTo>
                  <a:lnTo>
                    <a:pt x="553" y="240"/>
                  </a:lnTo>
                  <a:lnTo>
                    <a:pt x="553" y="242"/>
                  </a:lnTo>
                  <a:lnTo>
                    <a:pt x="554" y="242"/>
                  </a:lnTo>
                  <a:lnTo>
                    <a:pt x="556" y="240"/>
                  </a:lnTo>
                  <a:lnTo>
                    <a:pt x="558" y="240"/>
                  </a:lnTo>
                  <a:lnTo>
                    <a:pt x="560" y="240"/>
                  </a:lnTo>
                  <a:lnTo>
                    <a:pt x="560" y="238"/>
                  </a:lnTo>
                  <a:lnTo>
                    <a:pt x="562" y="238"/>
                  </a:lnTo>
                  <a:lnTo>
                    <a:pt x="562" y="236"/>
                  </a:lnTo>
                  <a:lnTo>
                    <a:pt x="562" y="236"/>
                  </a:lnTo>
                  <a:lnTo>
                    <a:pt x="562" y="234"/>
                  </a:lnTo>
                  <a:lnTo>
                    <a:pt x="562" y="234"/>
                  </a:lnTo>
                  <a:lnTo>
                    <a:pt x="562" y="232"/>
                  </a:lnTo>
                  <a:lnTo>
                    <a:pt x="560" y="232"/>
                  </a:lnTo>
                  <a:lnTo>
                    <a:pt x="558" y="232"/>
                  </a:lnTo>
                  <a:lnTo>
                    <a:pt x="554" y="232"/>
                  </a:lnTo>
                  <a:lnTo>
                    <a:pt x="551" y="232"/>
                  </a:lnTo>
                  <a:lnTo>
                    <a:pt x="551" y="232"/>
                  </a:lnTo>
                  <a:lnTo>
                    <a:pt x="549" y="232"/>
                  </a:lnTo>
                  <a:lnTo>
                    <a:pt x="547" y="231"/>
                  </a:lnTo>
                  <a:lnTo>
                    <a:pt x="543" y="227"/>
                  </a:lnTo>
                  <a:lnTo>
                    <a:pt x="543" y="225"/>
                  </a:lnTo>
                  <a:lnTo>
                    <a:pt x="543" y="225"/>
                  </a:lnTo>
                  <a:lnTo>
                    <a:pt x="543" y="223"/>
                  </a:lnTo>
                  <a:lnTo>
                    <a:pt x="543" y="221"/>
                  </a:lnTo>
                  <a:lnTo>
                    <a:pt x="545" y="221"/>
                  </a:lnTo>
                  <a:lnTo>
                    <a:pt x="545" y="221"/>
                  </a:lnTo>
                  <a:lnTo>
                    <a:pt x="545" y="221"/>
                  </a:lnTo>
                  <a:lnTo>
                    <a:pt x="551" y="223"/>
                  </a:lnTo>
                  <a:lnTo>
                    <a:pt x="553" y="223"/>
                  </a:lnTo>
                  <a:lnTo>
                    <a:pt x="553" y="223"/>
                  </a:lnTo>
                  <a:lnTo>
                    <a:pt x="554" y="223"/>
                  </a:lnTo>
                  <a:lnTo>
                    <a:pt x="554" y="221"/>
                  </a:lnTo>
                  <a:lnTo>
                    <a:pt x="558" y="217"/>
                  </a:lnTo>
                  <a:lnTo>
                    <a:pt x="566" y="212"/>
                  </a:lnTo>
                  <a:lnTo>
                    <a:pt x="566" y="212"/>
                  </a:lnTo>
                  <a:lnTo>
                    <a:pt x="568" y="212"/>
                  </a:lnTo>
                  <a:lnTo>
                    <a:pt x="570" y="212"/>
                  </a:lnTo>
                  <a:lnTo>
                    <a:pt x="570" y="212"/>
                  </a:lnTo>
                  <a:lnTo>
                    <a:pt x="572" y="212"/>
                  </a:lnTo>
                  <a:lnTo>
                    <a:pt x="572" y="212"/>
                  </a:lnTo>
                  <a:lnTo>
                    <a:pt x="573" y="210"/>
                  </a:lnTo>
                  <a:lnTo>
                    <a:pt x="573" y="210"/>
                  </a:lnTo>
                  <a:lnTo>
                    <a:pt x="575" y="208"/>
                  </a:lnTo>
                  <a:lnTo>
                    <a:pt x="583" y="193"/>
                  </a:lnTo>
                  <a:lnTo>
                    <a:pt x="583" y="191"/>
                  </a:lnTo>
                  <a:lnTo>
                    <a:pt x="581" y="189"/>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6" name="Freeform 58">
              <a:extLst>
                <a:ext uri="{FF2B5EF4-FFF2-40B4-BE49-F238E27FC236}">
                  <a16:creationId xmlns:a16="http://schemas.microsoft.com/office/drawing/2014/main" id="{70427EC4-2E4F-BFD2-C99D-667353269514}"/>
                </a:ext>
              </a:extLst>
            </p:cNvPr>
            <p:cNvSpPr>
              <a:spLocks/>
            </p:cNvSpPr>
            <p:nvPr/>
          </p:nvSpPr>
          <p:spPr bwMode="auto">
            <a:xfrm>
              <a:off x="4589463" y="4903001"/>
              <a:ext cx="90488" cy="136525"/>
            </a:xfrm>
            <a:custGeom>
              <a:avLst/>
              <a:gdLst>
                <a:gd name="T0" fmla="*/ 57 w 57"/>
                <a:gd name="T1" fmla="*/ 42 h 86"/>
                <a:gd name="T2" fmla="*/ 53 w 57"/>
                <a:gd name="T3" fmla="*/ 36 h 86"/>
                <a:gd name="T4" fmla="*/ 53 w 57"/>
                <a:gd name="T5" fmla="*/ 32 h 86"/>
                <a:gd name="T6" fmla="*/ 51 w 57"/>
                <a:gd name="T7" fmla="*/ 29 h 86"/>
                <a:gd name="T8" fmla="*/ 51 w 57"/>
                <a:gd name="T9" fmla="*/ 19 h 86"/>
                <a:gd name="T10" fmla="*/ 47 w 57"/>
                <a:gd name="T11" fmla="*/ 13 h 86"/>
                <a:gd name="T12" fmla="*/ 43 w 57"/>
                <a:gd name="T13" fmla="*/ 13 h 86"/>
                <a:gd name="T14" fmla="*/ 40 w 57"/>
                <a:gd name="T15" fmla="*/ 13 h 86"/>
                <a:gd name="T16" fmla="*/ 28 w 57"/>
                <a:gd name="T17" fmla="*/ 15 h 86"/>
                <a:gd name="T18" fmla="*/ 22 w 57"/>
                <a:gd name="T19" fmla="*/ 13 h 86"/>
                <a:gd name="T20" fmla="*/ 21 w 57"/>
                <a:gd name="T21" fmla="*/ 6 h 86"/>
                <a:gd name="T22" fmla="*/ 15 w 57"/>
                <a:gd name="T23" fmla="*/ 4 h 86"/>
                <a:gd name="T24" fmla="*/ 13 w 57"/>
                <a:gd name="T25" fmla="*/ 0 h 86"/>
                <a:gd name="T26" fmla="*/ 11 w 57"/>
                <a:gd name="T27" fmla="*/ 0 h 86"/>
                <a:gd name="T28" fmla="*/ 7 w 57"/>
                <a:gd name="T29" fmla="*/ 4 h 86"/>
                <a:gd name="T30" fmla="*/ 0 w 57"/>
                <a:gd name="T31" fmla="*/ 8 h 86"/>
                <a:gd name="T32" fmla="*/ 3 w 57"/>
                <a:gd name="T33" fmla="*/ 15 h 86"/>
                <a:gd name="T34" fmla="*/ 9 w 57"/>
                <a:gd name="T35" fmla="*/ 13 h 86"/>
                <a:gd name="T36" fmla="*/ 15 w 57"/>
                <a:gd name="T37" fmla="*/ 11 h 86"/>
                <a:gd name="T38" fmla="*/ 5 w 57"/>
                <a:gd name="T39" fmla="*/ 17 h 86"/>
                <a:gd name="T40" fmla="*/ 5 w 57"/>
                <a:gd name="T41" fmla="*/ 21 h 86"/>
                <a:gd name="T42" fmla="*/ 7 w 57"/>
                <a:gd name="T43" fmla="*/ 27 h 86"/>
                <a:gd name="T44" fmla="*/ 17 w 57"/>
                <a:gd name="T45" fmla="*/ 25 h 86"/>
                <a:gd name="T46" fmla="*/ 17 w 57"/>
                <a:gd name="T47" fmla="*/ 27 h 86"/>
                <a:gd name="T48" fmla="*/ 11 w 57"/>
                <a:gd name="T49" fmla="*/ 29 h 86"/>
                <a:gd name="T50" fmla="*/ 15 w 57"/>
                <a:gd name="T51" fmla="*/ 32 h 86"/>
                <a:gd name="T52" fmla="*/ 17 w 57"/>
                <a:gd name="T53" fmla="*/ 32 h 86"/>
                <a:gd name="T54" fmla="*/ 22 w 57"/>
                <a:gd name="T55" fmla="*/ 36 h 86"/>
                <a:gd name="T56" fmla="*/ 26 w 57"/>
                <a:gd name="T57" fmla="*/ 40 h 86"/>
                <a:gd name="T58" fmla="*/ 22 w 57"/>
                <a:gd name="T59" fmla="*/ 36 h 86"/>
                <a:gd name="T60" fmla="*/ 17 w 57"/>
                <a:gd name="T61" fmla="*/ 36 h 86"/>
                <a:gd name="T62" fmla="*/ 11 w 57"/>
                <a:gd name="T63" fmla="*/ 38 h 86"/>
                <a:gd name="T64" fmla="*/ 19 w 57"/>
                <a:gd name="T65" fmla="*/ 40 h 86"/>
                <a:gd name="T66" fmla="*/ 26 w 57"/>
                <a:gd name="T67" fmla="*/ 61 h 86"/>
                <a:gd name="T68" fmla="*/ 22 w 57"/>
                <a:gd name="T69" fmla="*/ 65 h 86"/>
                <a:gd name="T70" fmla="*/ 28 w 57"/>
                <a:gd name="T71" fmla="*/ 74 h 86"/>
                <a:gd name="T72" fmla="*/ 32 w 57"/>
                <a:gd name="T73" fmla="*/ 76 h 86"/>
                <a:gd name="T74" fmla="*/ 36 w 57"/>
                <a:gd name="T75" fmla="*/ 84 h 86"/>
                <a:gd name="T76" fmla="*/ 43 w 57"/>
                <a:gd name="T77" fmla="*/ 82 h 86"/>
                <a:gd name="T78" fmla="*/ 47 w 57"/>
                <a:gd name="T79" fmla="*/ 82 h 86"/>
                <a:gd name="T80" fmla="*/ 51 w 57"/>
                <a:gd name="T81" fmla="*/ 78 h 86"/>
                <a:gd name="T82" fmla="*/ 53 w 57"/>
                <a:gd name="T83" fmla="*/ 74 h 86"/>
                <a:gd name="T84" fmla="*/ 53 w 57"/>
                <a:gd name="T85" fmla="*/ 70 h 86"/>
                <a:gd name="T86" fmla="*/ 53 w 57"/>
                <a:gd name="T87" fmla="*/ 65 h 86"/>
                <a:gd name="T88" fmla="*/ 57 w 57"/>
                <a:gd name="T89" fmla="*/ 57 h 86"/>
                <a:gd name="T90" fmla="*/ 55 w 57"/>
                <a:gd name="T91" fmla="*/ 55 h 86"/>
                <a:gd name="T92" fmla="*/ 51 w 57"/>
                <a:gd name="T93" fmla="*/ 51 h 86"/>
                <a:gd name="T94" fmla="*/ 55 w 57"/>
                <a:gd name="T95" fmla="*/ 50 h 86"/>
                <a:gd name="T96" fmla="*/ 57 w 57"/>
                <a:gd name="T97"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86">
                  <a:moveTo>
                    <a:pt x="57" y="44"/>
                  </a:moveTo>
                  <a:lnTo>
                    <a:pt x="57" y="42"/>
                  </a:lnTo>
                  <a:lnTo>
                    <a:pt x="57" y="42"/>
                  </a:lnTo>
                  <a:lnTo>
                    <a:pt x="57" y="42"/>
                  </a:lnTo>
                  <a:lnTo>
                    <a:pt x="53" y="38"/>
                  </a:lnTo>
                  <a:lnTo>
                    <a:pt x="53" y="38"/>
                  </a:lnTo>
                  <a:lnTo>
                    <a:pt x="53" y="36"/>
                  </a:lnTo>
                  <a:lnTo>
                    <a:pt x="53" y="36"/>
                  </a:lnTo>
                  <a:lnTo>
                    <a:pt x="53" y="34"/>
                  </a:lnTo>
                  <a:lnTo>
                    <a:pt x="53" y="34"/>
                  </a:lnTo>
                  <a:lnTo>
                    <a:pt x="53" y="34"/>
                  </a:lnTo>
                  <a:lnTo>
                    <a:pt x="53" y="32"/>
                  </a:lnTo>
                  <a:lnTo>
                    <a:pt x="53" y="32"/>
                  </a:lnTo>
                  <a:lnTo>
                    <a:pt x="51" y="31"/>
                  </a:lnTo>
                  <a:lnTo>
                    <a:pt x="51" y="31"/>
                  </a:lnTo>
                  <a:lnTo>
                    <a:pt x="51" y="29"/>
                  </a:lnTo>
                  <a:lnTo>
                    <a:pt x="53" y="27"/>
                  </a:lnTo>
                  <a:lnTo>
                    <a:pt x="53" y="25"/>
                  </a:lnTo>
                  <a:lnTo>
                    <a:pt x="53" y="25"/>
                  </a:lnTo>
                  <a:lnTo>
                    <a:pt x="51" y="19"/>
                  </a:lnTo>
                  <a:lnTo>
                    <a:pt x="51" y="15"/>
                  </a:lnTo>
                  <a:lnTo>
                    <a:pt x="51" y="15"/>
                  </a:lnTo>
                  <a:lnTo>
                    <a:pt x="49" y="15"/>
                  </a:lnTo>
                  <a:lnTo>
                    <a:pt x="47" y="13"/>
                  </a:lnTo>
                  <a:lnTo>
                    <a:pt x="45" y="13"/>
                  </a:lnTo>
                  <a:lnTo>
                    <a:pt x="45" y="11"/>
                  </a:lnTo>
                  <a:lnTo>
                    <a:pt x="43" y="13"/>
                  </a:lnTo>
                  <a:lnTo>
                    <a:pt x="43" y="13"/>
                  </a:lnTo>
                  <a:lnTo>
                    <a:pt x="43" y="13"/>
                  </a:lnTo>
                  <a:lnTo>
                    <a:pt x="42" y="13"/>
                  </a:lnTo>
                  <a:lnTo>
                    <a:pt x="42" y="13"/>
                  </a:lnTo>
                  <a:lnTo>
                    <a:pt x="40" y="13"/>
                  </a:lnTo>
                  <a:lnTo>
                    <a:pt x="38" y="13"/>
                  </a:lnTo>
                  <a:lnTo>
                    <a:pt x="34" y="13"/>
                  </a:lnTo>
                  <a:lnTo>
                    <a:pt x="30" y="15"/>
                  </a:lnTo>
                  <a:lnTo>
                    <a:pt x="28" y="15"/>
                  </a:lnTo>
                  <a:lnTo>
                    <a:pt x="26" y="15"/>
                  </a:lnTo>
                  <a:lnTo>
                    <a:pt x="26" y="15"/>
                  </a:lnTo>
                  <a:lnTo>
                    <a:pt x="24" y="15"/>
                  </a:lnTo>
                  <a:lnTo>
                    <a:pt x="22" y="13"/>
                  </a:lnTo>
                  <a:lnTo>
                    <a:pt x="22" y="11"/>
                  </a:lnTo>
                  <a:lnTo>
                    <a:pt x="21" y="8"/>
                  </a:lnTo>
                  <a:lnTo>
                    <a:pt x="21" y="6"/>
                  </a:lnTo>
                  <a:lnTo>
                    <a:pt x="21" y="6"/>
                  </a:lnTo>
                  <a:lnTo>
                    <a:pt x="19" y="4"/>
                  </a:lnTo>
                  <a:lnTo>
                    <a:pt x="17" y="4"/>
                  </a:lnTo>
                  <a:lnTo>
                    <a:pt x="15" y="4"/>
                  </a:lnTo>
                  <a:lnTo>
                    <a:pt x="15" y="4"/>
                  </a:lnTo>
                  <a:lnTo>
                    <a:pt x="15" y="4"/>
                  </a:lnTo>
                  <a:lnTo>
                    <a:pt x="15" y="2"/>
                  </a:lnTo>
                  <a:lnTo>
                    <a:pt x="15" y="2"/>
                  </a:lnTo>
                  <a:lnTo>
                    <a:pt x="13" y="0"/>
                  </a:lnTo>
                  <a:lnTo>
                    <a:pt x="13" y="0"/>
                  </a:lnTo>
                  <a:lnTo>
                    <a:pt x="13" y="0"/>
                  </a:lnTo>
                  <a:lnTo>
                    <a:pt x="13" y="0"/>
                  </a:lnTo>
                  <a:lnTo>
                    <a:pt x="11" y="0"/>
                  </a:lnTo>
                  <a:lnTo>
                    <a:pt x="11" y="4"/>
                  </a:lnTo>
                  <a:lnTo>
                    <a:pt x="9" y="4"/>
                  </a:lnTo>
                  <a:lnTo>
                    <a:pt x="9" y="4"/>
                  </a:lnTo>
                  <a:lnTo>
                    <a:pt x="7" y="4"/>
                  </a:lnTo>
                  <a:lnTo>
                    <a:pt x="3" y="4"/>
                  </a:lnTo>
                  <a:lnTo>
                    <a:pt x="2" y="6"/>
                  </a:lnTo>
                  <a:lnTo>
                    <a:pt x="0" y="6"/>
                  </a:lnTo>
                  <a:lnTo>
                    <a:pt x="0" y="8"/>
                  </a:lnTo>
                  <a:lnTo>
                    <a:pt x="0" y="8"/>
                  </a:lnTo>
                  <a:lnTo>
                    <a:pt x="2" y="11"/>
                  </a:lnTo>
                  <a:lnTo>
                    <a:pt x="2" y="13"/>
                  </a:lnTo>
                  <a:lnTo>
                    <a:pt x="3" y="15"/>
                  </a:lnTo>
                  <a:lnTo>
                    <a:pt x="3" y="15"/>
                  </a:lnTo>
                  <a:lnTo>
                    <a:pt x="3" y="15"/>
                  </a:lnTo>
                  <a:lnTo>
                    <a:pt x="7" y="13"/>
                  </a:lnTo>
                  <a:lnTo>
                    <a:pt x="9" y="13"/>
                  </a:lnTo>
                  <a:lnTo>
                    <a:pt x="9" y="11"/>
                  </a:lnTo>
                  <a:lnTo>
                    <a:pt x="11" y="11"/>
                  </a:lnTo>
                  <a:lnTo>
                    <a:pt x="15" y="11"/>
                  </a:lnTo>
                  <a:lnTo>
                    <a:pt x="15" y="11"/>
                  </a:lnTo>
                  <a:lnTo>
                    <a:pt x="9" y="13"/>
                  </a:lnTo>
                  <a:lnTo>
                    <a:pt x="7" y="15"/>
                  </a:lnTo>
                  <a:lnTo>
                    <a:pt x="5" y="15"/>
                  </a:lnTo>
                  <a:lnTo>
                    <a:pt x="5" y="17"/>
                  </a:lnTo>
                  <a:lnTo>
                    <a:pt x="5" y="17"/>
                  </a:lnTo>
                  <a:lnTo>
                    <a:pt x="5" y="17"/>
                  </a:lnTo>
                  <a:lnTo>
                    <a:pt x="5" y="19"/>
                  </a:lnTo>
                  <a:lnTo>
                    <a:pt x="5" y="21"/>
                  </a:lnTo>
                  <a:lnTo>
                    <a:pt x="5" y="21"/>
                  </a:lnTo>
                  <a:lnTo>
                    <a:pt x="7" y="23"/>
                  </a:lnTo>
                  <a:lnTo>
                    <a:pt x="5" y="27"/>
                  </a:lnTo>
                  <a:lnTo>
                    <a:pt x="7" y="27"/>
                  </a:lnTo>
                  <a:lnTo>
                    <a:pt x="9" y="29"/>
                  </a:lnTo>
                  <a:lnTo>
                    <a:pt x="11" y="27"/>
                  </a:lnTo>
                  <a:lnTo>
                    <a:pt x="17" y="23"/>
                  </a:lnTo>
                  <a:lnTo>
                    <a:pt x="17" y="25"/>
                  </a:lnTo>
                  <a:lnTo>
                    <a:pt x="17" y="25"/>
                  </a:lnTo>
                  <a:lnTo>
                    <a:pt x="17" y="25"/>
                  </a:lnTo>
                  <a:lnTo>
                    <a:pt x="17" y="25"/>
                  </a:lnTo>
                  <a:lnTo>
                    <a:pt x="17" y="27"/>
                  </a:lnTo>
                  <a:lnTo>
                    <a:pt x="13" y="27"/>
                  </a:lnTo>
                  <a:lnTo>
                    <a:pt x="13" y="27"/>
                  </a:lnTo>
                  <a:lnTo>
                    <a:pt x="11" y="29"/>
                  </a:lnTo>
                  <a:lnTo>
                    <a:pt x="11" y="29"/>
                  </a:lnTo>
                  <a:lnTo>
                    <a:pt x="9" y="31"/>
                  </a:lnTo>
                  <a:lnTo>
                    <a:pt x="11" y="32"/>
                  </a:lnTo>
                  <a:lnTo>
                    <a:pt x="11" y="32"/>
                  </a:lnTo>
                  <a:lnTo>
                    <a:pt x="15" y="32"/>
                  </a:lnTo>
                  <a:lnTo>
                    <a:pt x="15" y="32"/>
                  </a:lnTo>
                  <a:lnTo>
                    <a:pt x="15" y="32"/>
                  </a:lnTo>
                  <a:lnTo>
                    <a:pt x="17" y="32"/>
                  </a:lnTo>
                  <a:lnTo>
                    <a:pt x="17" y="32"/>
                  </a:lnTo>
                  <a:lnTo>
                    <a:pt x="19" y="32"/>
                  </a:lnTo>
                  <a:lnTo>
                    <a:pt x="19" y="32"/>
                  </a:lnTo>
                  <a:lnTo>
                    <a:pt x="22" y="34"/>
                  </a:lnTo>
                  <a:lnTo>
                    <a:pt x="22" y="36"/>
                  </a:lnTo>
                  <a:lnTo>
                    <a:pt x="24" y="38"/>
                  </a:lnTo>
                  <a:lnTo>
                    <a:pt x="26" y="40"/>
                  </a:lnTo>
                  <a:lnTo>
                    <a:pt x="26" y="40"/>
                  </a:lnTo>
                  <a:lnTo>
                    <a:pt x="26" y="40"/>
                  </a:lnTo>
                  <a:lnTo>
                    <a:pt x="24" y="40"/>
                  </a:lnTo>
                  <a:lnTo>
                    <a:pt x="24" y="40"/>
                  </a:lnTo>
                  <a:lnTo>
                    <a:pt x="24" y="38"/>
                  </a:lnTo>
                  <a:lnTo>
                    <a:pt x="22" y="36"/>
                  </a:lnTo>
                  <a:lnTo>
                    <a:pt x="21" y="36"/>
                  </a:lnTo>
                  <a:lnTo>
                    <a:pt x="19" y="36"/>
                  </a:lnTo>
                  <a:lnTo>
                    <a:pt x="17" y="36"/>
                  </a:lnTo>
                  <a:lnTo>
                    <a:pt x="17" y="36"/>
                  </a:lnTo>
                  <a:lnTo>
                    <a:pt x="15" y="36"/>
                  </a:lnTo>
                  <a:lnTo>
                    <a:pt x="15" y="36"/>
                  </a:lnTo>
                  <a:lnTo>
                    <a:pt x="9" y="36"/>
                  </a:lnTo>
                  <a:lnTo>
                    <a:pt x="11" y="38"/>
                  </a:lnTo>
                  <a:lnTo>
                    <a:pt x="13" y="40"/>
                  </a:lnTo>
                  <a:lnTo>
                    <a:pt x="15" y="40"/>
                  </a:lnTo>
                  <a:lnTo>
                    <a:pt x="17" y="40"/>
                  </a:lnTo>
                  <a:lnTo>
                    <a:pt x="19" y="40"/>
                  </a:lnTo>
                  <a:lnTo>
                    <a:pt x="19" y="42"/>
                  </a:lnTo>
                  <a:lnTo>
                    <a:pt x="24" y="59"/>
                  </a:lnTo>
                  <a:lnTo>
                    <a:pt x="24" y="59"/>
                  </a:lnTo>
                  <a:lnTo>
                    <a:pt x="26" y="61"/>
                  </a:lnTo>
                  <a:lnTo>
                    <a:pt x="24" y="61"/>
                  </a:lnTo>
                  <a:lnTo>
                    <a:pt x="22" y="63"/>
                  </a:lnTo>
                  <a:lnTo>
                    <a:pt x="22" y="63"/>
                  </a:lnTo>
                  <a:lnTo>
                    <a:pt x="22" y="65"/>
                  </a:lnTo>
                  <a:lnTo>
                    <a:pt x="21" y="67"/>
                  </a:lnTo>
                  <a:lnTo>
                    <a:pt x="26" y="69"/>
                  </a:lnTo>
                  <a:lnTo>
                    <a:pt x="26" y="69"/>
                  </a:lnTo>
                  <a:lnTo>
                    <a:pt x="28" y="74"/>
                  </a:lnTo>
                  <a:lnTo>
                    <a:pt x="30" y="74"/>
                  </a:lnTo>
                  <a:lnTo>
                    <a:pt x="30" y="74"/>
                  </a:lnTo>
                  <a:lnTo>
                    <a:pt x="32" y="76"/>
                  </a:lnTo>
                  <a:lnTo>
                    <a:pt x="32" y="76"/>
                  </a:lnTo>
                  <a:lnTo>
                    <a:pt x="32" y="80"/>
                  </a:lnTo>
                  <a:lnTo>
                    <a:pt x="32" y="82"/>
                  </a:lnTo>
                  <a:lnTo>
                    <a:pt x="32" y="82"/>
                  </a:lnTo>
                  <a:lnTo>
                    <a:pt x="36" y="84"/>
                  </a:lnTo>
                  <a:lnTo>
                    <a:pt x="36" y="86"/>
                  </a:lnTo>
                  <a:lnTo>
                    <a:pt x="38" y="86"/>
                  </a:lnTo>
                  <a:lnTo>
                    <a:pt x="40" y="84"/>
                  </a:lnTo>
                  <a:lnTo>
                    <a:pt x="43" y="82"/>
                  </a:lnTo>
                  <a:lnTo>
                    <a:pt x="43" y="82"/>
                  </a:lnTo>
                  <a:lnTo>
                    <a:pt x="43" y="82"/>
                  </a:lnTo>
                  <a:lnTo>
                    <a:pt x="45" y="82"/>
                  </a:lnTo>
                  <a:lnTo>
                    <a:pt x="47" y="82"/>
                  </a:lnTo>
                  <a:lnTo>
                    <a:pt x="49" y="82"/>
                  </a:lnTo>
                  <a:lnTo>
                    <a:pt x="49" y="80"/>
                  </a:lnTo>
                  <a:lnTo>
                    <a:pt x="51" y="78"/>
                  </a:lnTo>
                  <a:lnTo>
                    <a:pt x="51" y="78"/>
                  </a:lnTo>
                  <a:lnTo>
                    <a:pt x="51" y="78"/>
                  </a:lnTo>
                  <a:lnTo>
                    <a:pt x="51" y="76"/>
                  </a:lnTo>
                  <a:lnTo>
                    <a:pt x="53" y="74"/>
                  </a:lnTo>
                  <a:lnTo>
                    <a:pt x="53" y="74"/>
                  </a:lnTo>
                  <a:lnTo>
                    <a:pt x="53" y="72"/>
                  </a:lnTo>
                  <a:lnTo>
                    <a:pt x="53" y="72"/>
                  </a:lnTo>
                  <a:lnTo>
                    <a:pt x="53" y="70"/>
                  </a:lnTo>
                  <a:lnTo>
                    <a:pt x="53" y="70"/>
                  </a:lnTo>
                  <a:lnTo>
                    <a:pt x="53" y="67"/>
                  </a:lnTo>
                  <a:lnTo>
                    <a:pt x="53" y="67"/>
                  </a:lnTo>
                  <a:lnTo>
                    <a:pt x="53" y="65"/>
                  </a:lnTo>
                  <a:lnTo>
                    <a:pt x="53" y="65"/>
                  </a:lnTo>
                  <a:lnTo>
                    <a:pt x="53" y="63"/>
                  </a:lnTo>
                  <a:lnTo>
                    <a:pt x="55" y="59"/>
                  </a:lnTo>
                  <a:lnTo>
                    <a:pt x="57" y="57"/>
                  </a:lnTo>
                  <a:lnTo>
                    <a:pt x="57" y="57"/>
                  </a:lnTo>
                  <a:lnTo>
                    <a:pt x="55" y="55"/>
                  </a:lnTo>
                  <a:lnTo>
                    <a:pt x="55" y="55"/>
                  </a:lnTo>
                  <a:lnTo>
                    <a:pt x="55" y="55"/>
                  </a:lnTo>
                  <a:lnTo>
                    <a:pt x="55" y="55"/>
                  </a:lnTo>
                  <a:lnTo>
                    <a:pt x="51" y="53"/>
                  </a:lnTo>
                  <a:lnTo>
                    <a:pt x="51" y="53"/>
                  </a:lnTo>
                  <a:lnTo>
                    <a:pt x="51" y="51"/>
                  </a:lnTo>
                  <a:lnTo>
                    <a:pt x="51" y="51"/>
                  </a:lnTo>
                  <a:lnTo>
                    <a:pt x="51" y="51"/>
                  </a:lnTo>
                  <a:lnTo>
                    <a:pt x="51" y="50"/>
                  </a:lnTo>
                  <a:lnTo>
                    <a:pt x="53" y="50"/>
                  </a:lnTo>
                  <a:lnTo>
                    <a:pt x="55" y="50"/>
                  </a:lnTo>
                  <a:lnTo>
                    <a:pt x="55" y="50"/>
                  </a:lnTo>
                  <a:lnTo>
                    <a:pt x="57" y="50"/>
                  </a:lnTo>
                  <a:lnTo>
                    <a:pt x="57" y="48"/>
                  </a:lnTo>
                  <a:lnTo>
                    <a:pt x="57" y="48"/>
                  </a:lnTo>
                  <a:lnTo>
                    <a:pt x="57" y="4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7" name="Freeform 59">
              <a:extLst>
                <a:ext uri="{FF2B5EF4-FFF2-40B4-BE49-F238E27FC236}">
                  <a16:creationId xmlns:a16="http://schemas.microsoft.com/office/drawing/2014/main" id="{F199456F-0306-FB45-F628-23883D4EB65A}"/>
                </a:ext>
              </a:extLst>
            </p:cNvPr>
            <p:cNvSpPr>
              <a:spLocks/>
            </p:cNvSpPr>
            <p:nvPr/>
          </p:nvSpPr>
          <p:spPr bwMode="auto">
            <a:xfrm>
              <a:off x="4589463" y="4903001"/>
              <a:ext cx="90488" cy="136525"/>
            </a:xfrm>
            <a:custGeom>
              <a:avLst/>
              <a:gdLst>
                <a:gd name="T0" fmla="*/ 57 w 57"/>
                <a:gd name="T1" fmla="*/ 42 h 86"/>
                <a:gd name="T2" fmla="*/ 53 w 57"/>
                <a:gd name="T3" fmla="*/ 36 h 86"/>
                <a:gd name="T4" fmla="*/ 53 w 57"/>
                <a:gd name="T5" fmla="*/ 32 h 86"/>
                <a:gd name="T6" fmla="*/ 51 w 57"/>
                <a:gd name="T7" fmla="*/ 29 h 86"/>
                <a:gd name="T8" fmla="*/ 51 w 57"/>
                <a:gd name="T9" fmla="*/ 19 h 86"/>
                <a:gd name="T10" fmla="*/ 47 w 57"/>
                <a:gd name="T11" fmla="*/ 13 h 86"/>
                <a:gd name="T12" fmla="*/ 43 w 57"/>
                <a:gd name="T13" fmla="*/ 13 h 86"/>
                <a:gd name="T14" fmla="*/ 40 w 57"/>
                <a:gd name="T15" fmla="*/ 13 h 86"/>
                <a:gd name="T16" fmla="*/ 28 w 57"/>
                <a:gd name="T17" fmla="*/ 15 h 86"/>
                <a:gd name="T18" fmla="*/ 22 w 57"/>
                <a:gd name="T19" fmla="*/ 13 h 86"/>
                <a:gd name="T20" fmla="*/ 21 w 57"/>
                <a:gd name="T21" fmla="*/ 6 h 86"/>
                <a:gd name="T22" fmla="*/ 15 w 57"/>
                <a:gd name="T23" fmla="*/ 4 h 86"/>
                <a:gd name="T24" fmla="*/ 13 w 57"/>
                <a:gd name="T25" fmla="*/ 0 h 86"/>
                <a:gd name="T26" fmla="*/ 11 w 57"/>
                <a:gd name="T27" fmla="*/ 0 h 86"/>
                <a:gd name="T28" fmla="*/ 7 w 57"/>
                <a:gd name="T29" fmla="*/ 4 h 86"/>
                <a:gd name="T30" fmla="*/ 0 w 57"/>
                <a:gd name="T31" fmla="*/ 8 h 86"/>
                <a:gd name="T32" fmla="*/ 3 w 57"/>
                <a:gd name="T33" fmla="*/ 15 h 86"/>
                <a:gd name="T34" fmla="*/ 9 w 57"/>
                <a:gd name="T35" fmla="*/ 13 h 86"/>
                <a:gd name="T36" fmla="*/ 15 w 57"/>
                <a:gd name="T37" fmla="*/ 11 h 86"/>
                <a:gd name="T38" fmla="*/ 5 w 57"/>
                <a:gd name="T39" fmla="*/ 17 h 86"/>
                <a:gd name="T40" fmla="*/ 5 w 57"/>
                <a:gd name="T41" fmla="*/ 21 h 86"/>
                <a:gd name="T42" fmla="*/ 7 w 57"/>
                <a:gd name="T43" fmla="*/ 27 h 86"/>
                <a:gd name="T44" fmla="*/ 17 w 57"/>
                <a:gd name="T45" fmla="*/ 25 h 86"/>
                <a:gd name="T46" fmla="*/ 17 w 57"/>
                <a:gd name="T47" fmla="*/ 27 h 86"/>
                <a:gd name="T48" fmla="*/ 11 w 57"/>
                <a:gd name="T49" fmla="*/ 29 h 86"/>
                <a:gd name="T50" fmla="*/ 15 w 57"/>
                <a:gd name="T51" fmla="*/ 32 h 86"/>
                <a:gd name="T52" fmla="*/ 17 w 57"/>
                <a:gd name="T53" fmla="*/ 32 h 86"/>
                <a:gd name="T54" fmla="*/ 22 w 57"/>
                <a:gd name="T55" fmla="*/ 36 h 86"/>
                <a:gd name="T56" fmla="*/ 26 w 57"/>
                <a:gd name="T57" fmla="*/ 40 h 86"/>
                <a:gd name="T58" fmla="*/ 22 w 57"/>
                <a:gd name="T59" fmla="*/ 36 h 86"/>
                <a:gd name="T60" fmla="*/ 17 w 57"/>
                <a:gd name="T61" fmla="*/ 36 h 86"/>
                <a:gd name="T62" fmla="*/ 11 w 57"/>
                <a:gd name="T63" fmla="*/ 38 h 86"/>
                <a:gd name="T64" fmla="*/ 19 w 57"/>
                <a:gd name="T65" fmla="*/ 40 h 86"/>
                <a:gd name="T66" fmla="*/ 26 w 57"/>
                <a:gd name="T67" fmla="*/ 61 h 86"/>
                <a:gd name="T68" fmla="*/ 22 w 57"/>
                <a:gd name="T69" fmla="*/ 65 h 86"/>
                <a:gd name="T70" fmla="*/ 28 w 57"/>
                <a:gd name="T71" fmla="*/ 74 h 86"/>
                <a:gd name="T72" fmla="*/ 32 w 57"/>
                <a:gd name="T73" fmla="*/ 76 h 86"/>
                <a:gd name="T74" fmla="*/ 36 w 57"/>
                <a:gd name="T75" fmla="*/ 84 h 86"/>
                <a:gd name="T76" fmla="*/ 43 w 57"/>
                <a:gd name="T77" fmla="*/ 82 h 86"/>
                <a:gd name="T78" fmla="*/ 47 w 57"/>
                <a:gd name="T79" fmla="*/ 82 h 86"/>
                <a:gd name="T80" fmla="*/ 51 w 57"/>
                <a:gd name="T81" fmla="*/ 78 h 86"/>
                <a:gd name="T82" fmla="*/ 53 w 57"/>
                <a:gd name="T83" fmla="*/ 74 h 86"/>
                <a:gd name="T84" fmla="*/ 53 w 57"/>
                <a:gd name="T85" fmla="*/ 70 h 86"/>
                <a:gd name="T86" fmla="*/ 53 w 57"/>
                <a:gd name="T87" fmla="*/ 65 h 86"/>
                <a:gd name="T88" fmla="*/ 57 w 57"/>
                <a:gd name="T89" fmla="*/ 57 h 86"/>
                <a:gd name="T90" fmla="*/ 55 w 57"/>
                <a:gd name="T91" fmla="*/ 55 h 86"/>
                <a:gd name="T92" fmla="*/ 51 w 57"/>
                <a:gd name="T93" fmla="*/ 51 h 86"/>
                <a:gd name="T94" fmla="*/ 55 w 57"/>
                <a:gd name="T95" fmla="*/ 50 h 86"/>
                <a:gd name="T96" fmla="*/ 57 w 57"/>
                <a:gd name="T97"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86">
                  <a:moveTo>
                    <a:pt x="57" y="44"/>
                  </a:moveTo>
                  <a:lnTo>
                    <a:pt x="57" y="42"/>
                  </a:lnTo>
                  <a:lnTo>
                    <a:pt x="57" y="42"/>
                  </a:lnTo>
                  <a:lnTo>
                    <a:pt x="57" y="42"/>
                  </a:lnTo>
                  <a:lnTo>
                    <a:pt x="53" y="38"/>
                  </a:lnTo>
                  <a:lnTo>
                    <a:pt x="53" y="38"/>
                  </a:lnTo>
                  <a:lnTo>
                    <a:pt x="53" y="36"/>
                  </a:lnTo>
                  <a:lnTo>
                    <a:pt x="53" y="36"/>
                  </a:lnTo>
                  <a:lnTo>
                    <a:pt x="53" y="34"/>
                  </a:lnTo>
                  <a:lnTo>
                    <a:pt x="53" y="34"/>
                  </a:lnTo>
                  <a:lnTo>
                    <a:pt x="53" y="34"/>
                  </a:lnTo>
                  <a:lnTo>
                    <a:pt x="53" y="32"/>
                  </a:lnTo>
                  <a:lnTo>
                    <a:pt x="53" y="32"/>
                  </a:lnTo>
                  <a:lnTo>
                    <a:pt x="51" y="31"/>
                  </a:lnTo>
                  <a:lnTo>
                    <a:pt x="51" y="31"/>
                  </a:lnTo>
                  <a:lnTo>
                    <a:pt x="51" y="29"/>
                  </a:lnTo>
                  <a:lnTo>
                    <a:pt x="53" y="27"/>
                  </a:lnTo>
                  <a:lnTo>
                    <a:pt x="53" y="25"/>
                  </a:lnTo>
                  <a:lnTo>
                    <a:pt x="53" y="25"/>
                  </a:lnTo>
                  <a:lnTo>
                    <a:pt x="51" y="19"/>
                  </a:lnTo>
                  <a:lnTo>
                    <a:pt x="51" y="15"/>
                  </a:lnTo>
                  <a:lnTo>
                    <a:pt x="51" y="15"/>
                  </a:lnTo>
                  <a:lnTo>
                    <a:pt x="49" y="15"/>
                  </a:lnTo>
                  <a:lnTo>
                    <a:pt x="47" y="13"/>
                  </a:lnTo>
                  <a:lnTo>
                    <a:pt x="45" y="13"/>
                  </a:lnTo>
                  <a:lnTo>
                    <a:pt x="45" y="11"/>
                  </a:lnTo>
                  <a:lnTo>
                    <a:pt x="43" y="13"/>
                  </a:lnTo>
                  <a:lnTo>
                    <a:pt x="43" y="13"/>
                  </a:lnTo>
                  <a:lnTo>
                    <a:pt x="43" y="13"/>
                  </a:lnTo>
                  <a:lnTo>
                    <a:pt x="42" y="13"/>
                  </a:lnTo>
                  <a:lnTo>
                    <a:pt x="42" y="13"/>
                  </a:lnTo>
                  <a:lnTo>
                    <a:pt x="40" y="13"/>
                  </a:lnTo>
                  <a:lnTo>
                    <a:pt x="38" y="13"/>
                  </a:lnTo>
                  <a:lnTo>
                    <a:pt x="34" y="13"/>
                  </a:lnTo>
                  <a:lnTo>
                    <a:pt x="30" y="15"/>
                  </a:lnTo>
                  <a:lnTo>
                    <a:pt x="28" y="15"/>
                  </a:lnTo>
                  <a:lnTo>
                    <a:pt x="26" y="15"/>
                  </a:lnTo>
                  <a:lnTo>
                    <a:pt x="26" y="15"/>
                  </a:lnTo>
                  <a:lnTo>
                    <a:pt x="24" y="15"/>
                  </a:lnTo>
                  <a:lnTo>
                    <a:pt x="22" y="13"/>
                  </a:lnTo>
                  <a:lnTo>
                    <a:pt x="22" y="11"/>
                  </a:lnTo>
                  <a:lnTo>
                    <a:pt x="21" y="8"/>
                  </a:lnTo>
                  <a:lnTo>
                    <a:pt x="21" y="6"/>
                  </a:lnTo>
                  <a:lnTo>
                    <a:pt x="21" y="6"/>
                  </a:lnTo>
                  <a:lnTo>
                    <a:pt x="19" y="4"/>
                  </a:lnTo>
                  <a:lnTo>
                    <a:pt x="17" y="4"/>
                  </a:lnTo>
                  <a:lnTo>
                    <a:pt x="15" y="4"/>
                  </a:lnTo>
                  <a:lnTo>
                    <a:pt x="15" y="4"/>
                  </a:lnTo>
                  <a:lnTo>
                    <a:pt x="15" y="4"/>
                  </a:lnTo>
                  <a:lnTo>
                    <a:pt x="15" y="2"/>
                  </a:lnTo>
                  <a:lnTo>
                    <a:pt x="15" y="2"/>
                  </a:lnTo>
                  <a:lnTo>
                    <a:pt x="13" y="0"/>
                  </a:lnTo>
                  <a:lnTo>
                    <a:pt x="13" y="0"/>
                  </a:lnTo>
                  <a:lnTo>
                    <a:pt x="13" y="0"/>
                  </a:lnTo>
                  <a:lnTo>
                    <a:pt x="13" y="0"/>
                  </a:lnTo>
                  <a:lnTo>
                    <a:pt x="11" y="0"/>
                  </a:lnTo>
                  <a:lnTo>
                    <a:pt x="11" y="4"/>
                  </a:lnTo>
                  <a:lnTo>
                    <a:pt x="9" y="4"/>
                  </a:lnTo>
                  <a:lnTo>
                    <a:pt x="9" y="4"/>
                  </a:lnTo>
                  <a:lnTo>
                    <a:pt x="7" y="4"/>
                  </a:lnTo>
                  <a:lnTo>
                    <a:pt x="3" y="4"/>
                  </a:lnTo>
                  <a:lnTo>
                    <a:pt x="2" y="6"/>
                  </a:lnTo>
                  <a:lnTo>
                    <a:pt x="0" y="6"/>
                  </a:lnTo>
                  <a:lnTo>
                    <a:pt x="0" y="8"/>
                  </a:lnTo>
                  <a:lnTo>
                    <a:pt x="0" y="8"/>
                  </a:lnTo>
                  <a:lnTo>
                    <a:pt x="2" y="11"/>
                  </a:lnTo>
                  <a:lnTo>
                    <a:pt x="2" y="13"/>
                  </a:lnTo>
                  <a:lnTo>
                    <a:pt x="3" y="15"/>
                  </a:lnTo>
                  <a:lnTo>
                    <a:pt x="3" y="15"/>
                  </a:lnTo>
                  <a:lnTo>
                    <a:pt x="3" y="15"/>
                  </a:lnTo>
                  <a:lnTo>
                    <a:pt x="7" y="13"/>
                  </a:lnTo>
                  <a:lnTo>
                    <a:pt x="9" y="13"/>
                  </a:lnTo>
                  <a:lnTo>
                    <a:pt x="9" y="11"/>
                  </a:lnTo>
                  <a:lnTo>
                    <a:pt x="11" y="11"/>
                  </a:lnTo>
                  <a:lnTo>
                    <a:pt x="15" y="11"/>
                  </a:lnTo>
                  <a:lnTo>
                    <a:pt x="15" y="11"/>
                  </a:lnTo>
                  <a:lnTo>
                    <a:pt x="9" y="13"/>
                  </a:lnTo>
                  <a:lnTo>
                    <a:pt x="7" y="15"/>
                  </a:lnTo>
                  <a:lnTo>
                    <a:pt x="5" y="15"/>
                  </a:lnTo>
                  <a:lnTo>
                    <a:pt x="5" y="17"/>
                  </a:lnTo>
                  <a:lnTo>
                    <a:pt x="5" y="17"/>
                  </a:lnTo>
                  <a:lnTo>
                    <a:pt x="5" y="17"/>
                  </a:lnTo>
                  <a:lnTo>
                    <a:pt x="5" y="19"/>
                  </a:lnTo>
                  <a:lnTo>
                    <a:pt x="5" y="21"/>
                  </a:lnTo>
                  <a:lnTo>
                    <a:pt x="5" y="21"/>
                  </a:lnTo>
                  <a:lnTo>
                    <a:pt x="7" y="23"/>
                  </a:lnTo>
                  <a:lnTo>
                    <a:pt x="5" y="27"/>
                  </a:lnTo>
                  <a:lnTo>
                    <a:pt x="7" y="27"/>
                  </a:lnTo>
                  <a:lnTo>
                    <a:pt x="9" y="29"/>
                  </a:lnTo>
                  <a:lnTo>
                    <a:pt x="11" y="27"/>
                  </a:lnTo>
                  <a:lnTo>
                    <a:pt x="17" y="23"/>
                  </a:lnTo>
                  <a:lnTo>
                    <a:pt x="17" y="25"/>
                  </a:lnTo>
                  <a:lnTo>
                    <a:pt x="17" y="25"/>
                  </a:lnTo>
                  <a:lnTo>
                    <a:pt x="17" y="25"/>
                  </a:lnTo>
                  <a:lnTo>
                    <a:pt x="17" y="25"/>
                  </a:lnTo>
                  <a:lnTo>
                    <a:pt x="17" y="27"/>
                  </a:lnTo>
                  <a:lnTo>
                    <a:pt x="13" y="27"/>
                  </a:lnTo>
                  <a:lnTo>
                    <a:pt x="13" y="27"/>
                  </a:lnTo>
                  <a:lnTo>
                    <a:pt x="11" y="29"/>
                  </a:lnTo>
                  <a:lnTo>
                    <a:pt x="11" y="29"/>
                  </a:lnTo>
                  <a:lnTo>
                    <a:pt x="9" y="31"/>
                  </a:lnTo>
                  <a:lnTo>
                    <a:pt x="11" y="32"/>
                  </a:lnTo>
                  <a:lnTo>
                    <a:pt x="11" y="32"/>
                  </a:lnTo>
                  <a:lnTo>
                    <a:pt x="15" y="32"/>
                  </a:lnTo>
                  <a:lnTo>
                    <a:pt x="15" y="32"/>
                  </a:lnTo>
                  <a:lnTo>
                    <a:pt x="15" y="32"/>
                  </a:lnTo>
                  <a:lnTo>
                    <a:pt x="17" y="32"/>
                  </a:lnTo>
                  <a:lnTo>
                    <a:pt x="17" y="32"/>
                  </a:lnTo>
                  <a:lnTo>
                    <a:pt x="19" y="32"/>
                  </a:lnTo>
                  <a:lnTo>
                    <a:pt x="19" y="32"/>
                  </a:lnTo>
                  <a:lnTo>
                    <a:pt x="22" y="34"/>
                  </a:lnTo>
                  <a:lnTo>
                    <a:pt x="22" y="36"/>
                  </a:lnTo>
                  <a:lnTo>
                    <a:pt x="24" y="38"/>
                  </a:lnTo>
                  <a:lnTo>
                    <a:pt x="26" y="40"/>
                  </a:lnTo>
                  <a:lnTo>
                    <a:pt x="26" y="40"/>
                  </a:lnTo>
                  <a:lnTo>
                    <a:pt x="26" y="40"/>
                  </a:lnTo>
                  <a:lnTo>
                    <a:pt x="24" y="40"/>
                  </a:lnTo>
                  <a:lnTo>
                    <a:pt x="24" y="40"/>
                  </a:lnTo>
                  <a:lnTo>
                    <a:pt x="24" y="38"/>
                  </a:lnTo>
                  <a:lnTo>
                    <a:pt x="22" y="36"/>
                  </a:lnTo>
                  <a:lnTo>
                    <a:pt x="21" y="36"/>
                  </a:lnTo>
                  <a:lnTo>
                    <a:pt x="19" y="36"/>
                  </a:lnTo>
                  <a:lnTo>
                    <a:pt x="17" y="36"/>
                  </a:lnTo>
                  <a:lnTo>
                    <a:pt x="17" y="36"/>
                  </a:lnTo>
                  <a:lnTo>
                    <a:pt x="15" y="36"/>
                  </a:lnTo>
                  <a:lnTo>
                    <a:pt x="15" y="36"/>
                  </a:lnTo>
                  <a:lnTo>
                    <a:pt x="9" y="36"/>
                  </a:lnTo>
                  <a:lnTo>
                    <a:pt x="11" y="38"/>
                  </a:lnTo>
                  <a:lnTo>
                    <a:pt x="13" y="40"/>
                  </a:lnTo>
                  <a:lnTo>
                    <a:pt x="15" y="40"/>
                  </a:lnTo>
                  <a:lnTo>
                    <a:pt x="17" y="40"/>
                  </a:lnTo>
                  <a:lnTo>
                    <a:pt x="19" y="40"/>
                  </a:lnTo>
                  <a:lnTo>
                    <a:pt x="19" y="42"/>
                  </a:lnTo>
                  <a:lnTo>
                    <a:pt x="24" y="59"/>
                  </a:lnTo>
                  <a:lnTo>
                    <a:pt x="24" y="59"/>
                  </a:lnTo>
                  <a:lnTo>
                    <a:pt x="26" y="61"/>
                  </a:lnTo>
                  <a:lnTo>
                    <a:pt x="24" y="61"/>
                  </a:lnTo>
                  <a:lnTo>
                    <a:pt x="22" y="63"/>
                  </a:lnTo>
                  <a:lnTo>
                    <a:pt x="22" y="63"/>
                  </a:lnTo>
                  <a:lnTo>
                    <a:pt x="22" y="65"/>
                  </a:lnTo>
                  <a:lnTo>
                    <a:pt x="21" y="67"/>
                  </a:lnTo>
                  <a:lnTo>
                    <a:pt x="26" y="69"/>
                  </a:lnTo>
                  <a:lnTo>
                    <a:pt x="26" y="69"/>
                  </a:lnTo>
                  <a:lnTo>
                    <a:pt x="28" y="74"/>
                  </a:lnTo>
                  <a:lnTo>
                    <a:pt x="30" y="74"/>
                  </a:lnTo>
                  <a:lnTo>
                    <a:pt x="30" y="74"/>
                  </a:lnTo>
                  <a:lnTo>
                    <a:pt x="32" y="76"/>
                  </a:lnTo>
                  <a:lnTo>
                    <a:pt x="32" y="76"/>
                  </a:lnTo>
                  <a:lnTo>
                    <a:pt x="32" y="80"/>
                  </a:lnTo>
                  <a:lnTo>
                    <a:pt x="32" y="82"/>
                  </a:lnTo>
                  <a:lnTo>
                    <a:pt x="32" y="82"/>
                  </a:lnTo>
                  <a:lnTo>
                    <a:pt x="36" y="84"/>
                  </a:lnTo>
                  <a:lnTo>
                    <a:pt x="36" y="86"/>
                  </a:lnTo>
                  <a:lnTo>
                    <a:pt x="38" y="86"/>
                  </a:lnTo>
                  <a:lnTo>
                    <a:pt x="40" y="84"/>
                  </a:lnTo>
                  <a:lnTo>
                    <a:pt x="43" y="82"/>
                  </a:lnTo>
                  <a:lnTo>
                    <a:pt x="43" y="82"/>
                  </a:lnTo>
                  <a:lnTo>
                    <a:pt x="43" y="82"/>
                  </a:lnTo>
                  <a:lnTo>
                    <a:pt x="45" y="82"/>
                  </a:lnTo>
                  <a:lnTo>
                    <a:pt x="47" y="82"/>
                  </a:lnTo>
                  <a:lnTo>
                    <a:pt x="49" y="82"/>
                  </a:lnTo>
                  <a:lnTo>
                    <a:pt x="49" y="80"/>
                  </a:lnTo>
                  <a:lnTo>
                    <a:pt x="51" y="78"/>
                  </a:lnTo>
                  <a:lnTo>
                    <a:pt x="51" y="78"/>
                  </a:lnTo>
                  <a:lnTo>
                    <a:pt x="51" y="78"/>
                  </a:lnTo>
                  <a:lnTo>
                    <a:pt x="51" y="76"/>
                  </a:lnTo>
                  <a:lnTo>
                    <a:pt x="53" y="74"/>
                  </a:lnTo>
                  <a:lnTo>
                    <a:pt x="53" y="74"/>
                  </a:lnTo>
                  <a:lnTo>
                    <a:pt x="53" y="72"/>
                  </a:lnTo>
                  <a:lnTo>
                    <a:pt x="53" y="72"/>
                  </a:lnTo>
                  <a:lnTo>
                    <a:pt x="53" y="70"/>
                  </a:lnTo>
                  <a:lnTo>
                    <a:pt x="53" y="70"/>
                  </a:lnTo>
                  <a:lnTo>
                    <a:pt x="53" y="67"/>
                  </a:lnTo>
                  <a:lnTo>
                    <a:pt x="53" y="67"/>
                  </a:lnTo>
                  <a:lnTo>
                    <a:pt x="53" y="65"/>
                  </a:lnTo>
                  <a:lnTo>
                    <a:pt x="53" y="65"/>
                  </a:lnTo>
                  <a:lnTo>
                    <a:pt x="53" y="63"/>
                  </a:lnTo>
                  <a:lnTo>
                    <a:pt x="55" y="59"/>
                  </a:lnTo>
                  <a:lnTo>
                    <a:pt x="57" y="57"/>
                  </a:lnTo>
                  <a:lnTo>
                    <a:pt x="57" y="57"/>
                  </a:lnTo>
                  <a:lnTo>
                    <a:pt x="55" y="55"/>
                  </a:lnTo>
                  <a:lnTo>
                    <a:pt x="55" y="55"/>
                  </a:lnTo>
                  <a:lnTo>
                    <a:pt x="55" y="55"/>
                  </a:lnTo>
                  <a:lnTo>
                    <a:pt x="55" y="55"/>
                  </a:lnTo>
                  <a:lnTo>
                    <a:pt x="51" y="53"/>
                  </a:lnTo>
                  <a:lnTo>
                    <a:pt x="51" y="53"/>
                  </a:lnTo>
                  <a:lnTo>
                    <a:pt x="51" y="51"/>
                  </a:lnTo>
                  <a:lnTo>
                    <a:pt x="51" y="51"/>
                  </a:lnTo>
                  <a:lnTo>
                    <a:pt x="51" y="51"/>
                  </a:lnTo>
                  <a:lnTo>
                    <a:pt x="51" y="50"/>
                  </a:lnTo>
                  <a:lnTo>
                    <a:pt x="53" y="50"/>
                  </a:lnTo>
                  <a:lnTo>
                    <a:pt x="55" y="50"/>
                  </a:lnTo>
                  <a:lnTo>
                    <a:pt x="55" y="50"/>
                  </a:lnTo>
                  <a:lnTo>
                    <a:pt x="57" y="50"/>
                  </a:lnTo>
                  <a:lnTo>
                    <a:pt x="57" y="48"/>
                  </a:lnTo>
                  <a:lnTo>
                    <a:pt x="57" y="48"/>
                  </a:lnTo>
                  <a:lnTo>
                    <a:pt x="57" y="4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8" name="Freeform 60">
              <a:extLst>
                <a:ext uri="{FF2B5EF4-FFF2-40B4-BE49-F238E27FC236}">
                  <a16:creationId xmlns:a16="http://schemas.microsoft.com/office/drawing/2014/main" id="{B0A11519-0EC1-7EFC-4DC5-03BD598FACA9}"/>
                </a:ext>
              </a:extLst>
            </p:cNvPr>
            <p:cNvSpPr>
              <a:spLocks noEditPoints="1"/>
            </p:cNvSpPr>
            <p:nvPr/>
          </p:nvSpPr>
          <p:spPr bwMode="auto">
            <a:xfrm>
              <a:off x="4192588" y="4139413"/>
              <a:ext cx="277813" cy="57150"/>
            </a:xfrm>
            <a:custGeom>
              <a:avLst/>
              <a:gdLst>
                <a:gd name="T0" fmla="*/ 175 w 175"/>
                <a:gd name="T1" fmla="*/ 28 h 36"/>
                <a:gd name="T2" fmla="*/ 173 w 175"/>
                <a:gd name="T3" fmla="*/ 27 h 36"/>
                <a:gd name="T4" fmla="*/ 173 w 175"/>
                <a:gd name="T5" fmla="*/ 27 h 36"/>
                <a:gd name="T6" fmla="*/ 171 w 175"/>
                <a:gd name="T7" fmla="*/ 27 h 36"/>
                <a:gd name="T8" fmla="*/ 171 w 175"/>
                <a:gd name="T9" fmla="*/ 30 h 36"/>
                <a:gd name="T10" fmla="*/ 170 w 175"/>
                <a:gd name="T11" fmla="*/ 32 h 36"/>
                <a:gd name="T12" fmla="*/ 170 w 175"/>
                <a:gd name="T13" fmla="*/ 34 h 36"/>
                <a:gd name="T14" fmla="*/ 170 w 175"/>
                <a:gd name="T15" fmla="*/ 36 h 36"/>
                <a:gd name="T16" fmla="*/ 170 w 175"/>
                <a:gd name="T17" fmla="*/ 36 h 36"/>
                <a:gd name="T18" fmla="*/ 171 w 175"/>
                <a:gd name="T19" fmla="*/ 36 h 36"/>
                <a:gd name="T20" fmla="*/ 173 w 175"/>
                <a:gd name="T21" fmla="*/ 36 h 36"/>
                <a:gd name="T22" fmla="*/ 175 w 175"/>
                <a:gd name="T23" fmla="*/ 34 h 36"/>
                <a:gd name="T24" fmla="*/ 175 w 175"/>
                <a:gd name="T25" fmla="*/ 32 h 36"/>
                <a:gd name="T26" fmla="*/ 175 w 175"/>
                <a:gd name="T27" fmla="*/ 28 h 36"/>
                <a:gd name="T28" fmla="*/ 2 w 175"/>
                <a:gd name="T29" fmla="*/ 0 h 36"/>
                <a:gd name="T30" fmla="*/ 0 w 175"/>
                <a:gd name="T31" fmla="*/ 0 h 36"/>
                <a:gd name="T32" fmla="*/ 0 w 175"/>
                <a:gd name="T33" fmla="*/ 0 h 36"/>
                <a:gd name="T34" fmla="*/ 0 w 175"/>
                <a:gd name="T35" fmla="*/ 2 h 36"/>
                <a:gd name="T36" fmla="*/ 0 w 175"/>
                <a:gd name="T37" fmla="*/ 2 h 36"/>
                <a:gd name="T38" fmla="*/ 0 w 175"/>
                <a:gd name="T39" fmla="*/ 4 h 36"/>
                <a:gd name="T40" fmla="*/ 0 w 175"/>
                <a:gd name="T41" fmla="*/ 2 h 36"/>
                <a:gd name="T42" fmla="*/ 2 w 175"/>
                <a:gd name="T43" fmla="*/ 2 h 36"/>
                <a:gd name="T44" fmla="*/ 2 w 175"/>
                <a:gd name="T45" fmla="*/ 0 h 36"/>
                <a:gd name="T46" fmla="*/ 2 w 175"/>
                <a:gd name="T47" fmla="*/ 0 h 36"/>
                <a:gd name="T48" fmla="*/ 2 w 175"/>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5" h="36">
                  <a:moveTo>
                    <a:pt x="175" y="28"/>
                  </a:moveTo>
                  <a:lnTo>
                    <a:pt x="173" y="27"/>
                  </a:lnTo>
                  <a:lnTo>
                    <a:pt x="173" y="27"/>
                  </a:lnTo>
                  <a:lnTo>
                    <a:pt x="171" y="27"/>
                  </a:lnTo>
                  <a:lnTo>
                    <a:pt x="171" y="30"/>
                  </a:lnTo>
                  <a:lnTo>
                    <a:pt x="170" y="32"/>
                  </a:lnTo>
                  <a:lnTo>
                    <a:pt x="170" y="34"/>
                  </a:lnTo>
                  <a:lnTo>
                    <a:pt x="170" y="36"/>
                  </a:lnTo>
                  <a:lnTo>
                    <a:pt x="170" y="36"/>
                  </a:lnTo>
                  <a:lnTo>
                    <a:pt x="171" y="36"/>
                  </a:lnTo>
                  <a:lnTo>
                    <a:pt x="173" y="36"/>
                  </a:lnTo>
                  <a:lnTo>
                    <a:pt x="175" y="34"/>
                  </a:lnTo>
                  <a:lnTo>
                    <a:pt x="175" y="32"/>
                  </a:lnTo>
                  <a:lnTo>
                    <a:pt x="175" y="28"/>
                  </a:lnTo>
                  <a:close/>
                  <a:moveTo>
                    <a:pt x="2" y="0"/>
                  </a:moveTo>
                  <a:lnTo>
                    <a:pt x="0" y="0"/>
                  </a:lnTo>
                  <a:lnTo>
                    <a:pt x="0" y="0"/>
                  </a:lnTo>
                  <a:lnTo>
                    <a:pt x="0" y="2"/>
                  </a:lnTo>
                  <a:lnTo>
                    <a:pt x="0" y="2"/>
                  </a:lnTo>
                  <a:lnTo>
                    <a:pt x="0" y="4"/>
                  </a:lnTo>
                  <a:lnTo>
                    <a:pt x="0" y="2"/>
                  </a:lnTo>
                  <a:lnTo>
                    <a:pt x="2" y="2"/>
                  </a:lnTo>
                  <a:lnTo>
                    <a:pt x="2" y="0"/>
                  </a:lnTo>
                  <a:lnTo>
                    <a:pt x="2" y="0"/>
                  </a:lnTo>
                  <a:lnTo>
                    <a:pt x="2"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59" name="Freeform 61">
              <a:extLst>
                <a:ext uri="{FF2B5EF4-FFF2-40B4-BE49-F238E27FC236}">
                  <a16:creationId xmlns:a16="http://schemas.microsoft.com/office/drawing/2014/main" id="{EEEF8699-3B26-8620-582E-D3D072DA3D66}"/>
                </a:ext>
              </a:extLst>
            </p:cNvPr>
            <p:cNvSpPr>
              <a:spLocks noEditPoints="1"/>
            </p:cNvSpPr>
            <p:nvPr/>
          </p:nvSpPr>
          <p:spPr bwMode="auto">
            <a:xfrm>
              <a:off x="4192588" y="4139413"/>
              <a:ext cx="277813" cy="57150"/>
            </a:xfrm>
            <a:custGeom>
              <a:avLst/>
              <a:gdLst>
                <a:gd name="T0" fmla="*/ 175 w 175"/>
                <a:gd name="T1" fmla="*/ 28 h 36"/>
                <a:gd name="T2" fmla="*/ 173 w 175"/>
                <a:gd name="T3" fmla="*/ 27 h 36"/>
                <a:gd name="T4" fmla="*/ 173 w 175"/>
                <a:gd name="T5" fmla="*/ 27 h 36"/>
                <a:gd name="T6" fmla="*/ 171 w 175"/>
                <a:gd name="T7" fmla="*/ 27 h 36"/>
                <a:gd name="T8" fmla="*/ 171 w 175"/>
                <a:gd name="T9" fmla="*/ 30 h 36"/>
                <a:gd name="T10" fmla="*/ 170 w 175"/>
                <a:gd name="T11" fmla="*/ 32 h 36"/>
                <a:gd name="T12" fmla="*/ 170 w 175"/>
                <a:gd name="T13" fmla="*/ 34 h 36"/>
                <a:gd name="T14" fmla="*/ 170 w 175"/>
                <a:gd name="T15" fmla="*/ 36 h 36"/>
                <a:gd name="T16" fmla="*/ 170 w 175"/>
                <a:gd name="T17" fmla="*/ 36 h 36"/>
                <a:gd name="T18" fmla="*/ 171 w 175"/>
                <a:gd name="T19" fmla="*/ 36 h 36"/>
                <a:gd name="T20" fmla="*/ 173 w 175"/>
                <a:gd name="T21" fmla="*/ 36 h 36"/>
                <a:gd name="T22" fmla="*/ 175 w 175"/>
                <a:gd name="T23" fmla="*/ 34 h 36"/>
                <a:gd name="T24" fmla="*/ 175 w 175"/>
                <a:gd name="T25" fmla="*/ 32 h 36"/>
                <a:gd name="T26" fmla="*/ 175 w 175"/>
                <a:gd name="T27" fmla="*/ 28 h 36"/>
                <a:gd name="T28" fmla="*/ 2 w 175"/>
                <a:gd name="T29" fmla="*/ 0 h 36"/>
                <a:gd name="T30" fmla="*/ 0 w 175"/>
                <a:gd name="T31" fmla="*/ 0 h 36"/>
                <a:gd name="T32" fmla="*/ 0 w 175"/>
                <a:gd name="T33" fmla="*/ 0 h 36"/>
                <a:gd name="T34" fmla="*/ 0 w 175"/>
                <a:gd name="T35" fmla="*/ 2 h 36"/>
                <a:gd name="T36" fmla="*/ 0 w 175"/>
                <a:gd name="T37" fmla="*/ 2 h 36"/>
                <a:gd name="T38" fmla="*/ 0 w 175"/>
                <a:gd name="T39" fmla="*/ 4 h 36"/>
                <a:gd name="T40" fmla="*/ 0 w 175"/>
                <a:gd name="T41" fmla="*/ 2 h 36"/>
                <a:gd name="T42" fmla="*/ 2 w 175"/>
                <a:gd name="T43" fmla="*/ 2 h 36"/>
                <a:gd name="T44" fmla="*/ 2 w 175"/>
                <a:gd name="T45" fmla="*/ 0 h 36"/>
                <a:gd name="T46" fmla="*/ 2 w 175"/>
                <a:gd name="T47" fmla="*/ 0 h 36"/>
                <a:gd name="T48" fmla="*/ 2 w 175"/>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5" h="36">
                  <a:moveTo>
                    <a:pt x="175" y="28"/>
                  </a:moveTo>
                  <a:lnTo>
                    <a:pt x="173" y="27"/>
                  </a:lnTo>
                  <a:lnTo>
                    <a:pt x="173" y="27"/>
                  </a:lnTo>
                  <a:lnTo>
                    <a:pt x="171" y="27"/>
                  </a:lnTo>
                  <a:lnTo>
                    <a:pt x="171" y="30"/>
                  </a:lnTo>
                  <a:lnTo>
                    <a:pt x="170" y="32"/>
                  </a:lnTo>
                  <a:lnTo>
                    <a:pt x="170" y="34"/>
                  </a:lnTo>
                  <a:lnTo>
                    <a:pt x="170" y="36"/>
                  </a:lnTo>
                  <a:lnTo>
                    <a:pt x="170" y="36"/>
                  </a:lnTo>
                  <a:lnTo>
                    <a:pt x="171" y="36"/>
                  </a:lnTo>
                  <a:lnTo>
                    <a:pt x="173" y="36"/>
                  </a:lnTo>
                  <a:lnTo>
                    <a:pt x="175" y="34"/>
                  </a:lnTo>
                  <a:lnTo>
                    <a:pt x="175" y="32"/>
                  </a:lnTo>
                  <a:lnTo>
                    <a:pt x="175" y="28"/>
                  </a:lnTo>
                  <a:close/>
                  <a:moveTo>
                    <a:pt x="2" y="0"/>
                  </a:moveTo>
                  <a:lnTo>
                    <a:pt x="0" y="0"/>
                  </a:lnTo>
                  <a:lnTo>
                    <a:pt x="0" y="0"/>
                  </a:lnTo>
                  <a:lnTo>
                    <a:pt x="0" y="2"/>
                  </a:lnTo>
                  <a:lnTo>
                    <a:pt x="0" y="2"/>
                  </a:lnTo>
                  <a:lnTo>
                    <a:pt x="0" y="4"/>
                  </a:lnTo>
                  <a:lnTo>
                    <a:pt x="0" y="2"/>
                  </a:lnTo>
                  <a:lnTo>
                    <a:pt x="2" y="2"/>
                  </a:lnTo>
                  <a:lnTo>
                    <a:pt x="2" y="0"/>
                  </a:lnTo>
                  <a:lnTo>
                    <a:pt x="2" y="0"/>
                  </a:lnTo>
                  <a:lnTo>
                    <a:pt x="2" y="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0" name="Freeform 62">
              <a:extLst>
                <a:ext uri="{FF2B5EF4-FFF2-40B4-BE49-F238E27FC236}">
                  <a16:creationId xmlns:a16="http://schemas.microsoft.com/office/drawing/2014/main" id="{E99E10D2-B6FE-CE93-BA9E-1E5DB2F17003}"/>
                </a:ext>
              </a:extLst>
            </p:cNvPr>
            <p:cNvSpPr>
              <a:spLocks/>
            </p:cNvSpPr>
            <p:nvPr/>
          </p:nvSpPr>
          <p:spPr bwMode="auto">
            <a:xfrm>
              <a:off x="4473575" y="4202913"/>
              <a:ext cx="39688" cy="47625"/>
            </a:xfrm>
            <a:custGeom>
              <a:avLst/>
              <a:gdLst>
                <a:gd name="T0" fmla="*/ 25 w 25"/>
                <a:gd name="T1" fmla="*/ 15 h 30"/>
                <a:gd name="T2" fmla="*/ 21 w 25"/>
                <a:gd name="T3" fmla="*/ 15 h 30"/>
                <a:gd name="T4" fmla="*/ 19 w 25"/>
                <a:gd name="T5" fmla="*/ 15 h 30"/>
                <a:gd name="T6" fmla="*/ 19 w 25"/>
                <a:gd name="T7" fmla="*/ 17 h 30"/>
                <a:gd name="T8" fmla="*/ 19 w 25"/>
                <a:gd name="T9" fmla="*/ 19 h 30"/>
                <a:gd name="T10" fmla="*/ 17 w 25"/>
                <a:gd name="T11" fmla="*/ 19 h 30"/>
                <a:gd name="T12" fmla="*/ 15 w 25"/>
                <a:gd name="T13" fmla="*/ 19 h 30"/>
                <a:gd name="T14" fmla="*/ 14 w 25"/>
                <a:gd name="T15" fmla="*/ 17 h 30"/>
                <a:gd name="T16" fmla="*/ 14 w 25"/>
                <a:gd name="T17" fmla="*/ 13 h 30"/>
                <a:gd name="T18" fmla="*/ 14 w 25"/>
                <a:gd name="T19" fmla="*/ 11 h 30"/>
                <a:gd name="T20" fmla="*/ 14 w 25"/>
                <a:gd name="T21" fmla="*/ 11 h 30"/>
                <a:gd name="T22" fmla="*/ 19 w 25"/>
                <a:gd name="T23" fmla="*/ 7 h 30"/>
                <a:gd name="T24" fmla="*/ 21 w 25"/>
                <a:gd name="T25" fmla="*/ 6 h 30"/>
                <a:gd name="T26" fmla="*/ 21 w 25"/>
                <a:gd name="T27" fmla="*/ 6 h 30"/>
                <a:gd name="T28" fmla="*/ 19 w 25"/>
                <a:gd name="T29" fmla="*/ 4 h 30"/>
                <a:gd name="T30" fmla="*/ 17 w 25"/>
                <a:gd name="T31" fmla="*/ 4 h 30"/>
                <a:gd name="T32" fmla="*/ 17 w 25"/>
                <a:gd name="T33" fmla="*/ 4 h 30"/>
                <a:gd name="T34" fmla="*/ 15 w 25"/>
                <a:gd name="T35" fmla="*/ 2 h 30"/>
                <a:gd name="T36" fmla="*/ 17 w 25"/>
                <a:gd name="T37" fmla="*/ 0 h 30"/>
                <a:gd name="T38" fmla="*/ 15 w 25"/>
                <a:gd name="T39" fmla="*/ 0 h 30"/>
                <a:gd name="T40" fmla="*/ 14 w 25"/>
                <a:gd name="T41" fmla="*/ 0 h 30"/>
                <a:gd name="T42" fmla="*/ 10 w 25"/>
                <a:gd name="T43" fmla="*/ 4 h 30"/>
                <a:gd name="T44" fmla="*/ 8 w 25"/>
                <a:gd name="T45" fmla="*/ 4 h 30"/>
                <a:gd name="T46" fmla="*/ 6 w 25"/>
                <a:gd name="T47" fmla="*/ 4 h 30"/>
                <a:gd name="T48" fmla="*/ 6 w 25"/>
                <a:gd name="T49" fmla="*/ 4 h 30"/>
                <a:gd name="T50" fmla="*/ 4 w 25"/>
                <a:gd name="T51" fmla="*/ 7 h 30"/>
                <a:gd name="T52" fmla="*/ 2 w 25"/>
                <a:gd name="T53" fmla="*/ 7 h 30"/>
                <a:gd name="T54" fmla="*/ 0 w 25"/>
                <a:gd name="T55" fmla="*/ 7 h 30"/>
                <a:gd name="T56" fmla="*/ 0 w 25"/>
                <a:gd name="T57" fmla="*/ 7 h 30"/>
                <a:gd name="T58" fmla="*/ 0 w 25"/>
                <a:gd name="T59" fmla="*/ 9 h 30"/>
                <a:gd name="T60" fmla="*/ 0 w 25"/>
                <a:gd name="T61" fmla="*/ 9 h 30"/>
                <a:gd name="T62" fmla="*/ 0 w 25"/>
                <a:gd name="T63" fmla="*/ 11 h 30"/>
                <a:gd name="T64" fmla="*/ 4 w 25"/>
                <a:gd name="T65" fmla="*/ 13 h 30"/>
                <a:gd name="T66" fmla="*/ 4 w 25"/>
                <a:gd name="T67" fmla="*/ 15 h 30"/>
                <a:gd name="T68" fmla="*/ 4 w 25"/>
                <a:gd name="T69" fmla="*/ 19 h 30"/>
                <a:gd name="T70" fmla="*/ 6 w 25"/>
                <a:gd name="T71" fmla="*/ 25 h 30"/>
                <a:gd name="T72" fmla="*/ 8 w 25"/>
                <a:gd name="T73" fmla="*/ 28 h 30"/>
                <a:gd name="T74" fmla="*/ 10 w 25"/>
                <a:gd name="T75" fmla="*/ 28 h 30"/>
                <a:gd name="T76" fmla="*/ 12 w 25"/>
                <a:gd name="T77" fmla="*/ 28 h 30"/>
                <a:gd name="T78" fmla="*/ 14 w 25"/>
                <a:gd name="T79" fmla="*/ 26 h 30"/>
                <a:gd name="T80" fmla="*/ 14 w 25"/>
                <a:gd name="T81" fmla="*/ 28 h 30"/>
                <a:gd name="T82" fmla="*/ 15 w 25"/>
                <a:gd name="T83" fmla="*/ 28 h 30"/>
                <a:gd name="T84" fmla="*/ 15 w 25"/>
                <a:gd name="T85" fmla="*/ 28 h 30"/>
                <a:gd name="T86" fmla="*/ 17 w 25"/>
                <a:gd name="T87" fmla="*/ 26 h 30"/>
                <a:gd name="T88" fmla="*/ 19 w 25"/>
                <a:gd name="T89" fmla="*/ 26 h 30"/>
                <a:gd name="T90" fmla="*/ 21 w 25"/>
                <a:gd name="T91" fmla="*/ 28 h 30"/>
                <a:gd name="T92" fmla="*/ 23 w 25"/>
                <a:gd name="T93" fmla="*/ 30 h 30"/>
                <a:gd name="T94" fmla="*/ 23 w 25"/>
                <a:gd name="T95" fmla="*/ 28 h 30"/>
                <a:gd name="T96" fmla="*/ 25 w 25"/>
                <a:gd name="T97" fmla="*/ 26 h 30"/>
                <a:gd name="T98" fmla="*/ 25 w 25"/>
                <a:gd name="T99"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 h="30">
                  <a:moveTo>
                    <a:pt x="25" y="17"/>
                  </a:moveTo>
                  <a:lnTo>
                    <a:pt x="25" y="15"/>
                  </a:lnTo>
                  <a:lnTo>
                    <a:pt x="23" y="15"/>
                  </a:lnTo>
                  <a:lnTo>
                    <a:pt x="21" y="15"/>
                  </a:lnTo>
                  <a:lnTo>
                    <a:pt x="19" y="15"/>
                  </a:lnTo>
                  <a:lnTo>
                    <a:pt x="19" y="15"/>
                  </a:lnTo>
                  <a:lnTo>
                    <a:pt x="19" y="15"/>
                  </a:lnTo>
                  <a:lnTo>
                    <a:pt x="19" y="17"/>
                  </a:lnTo>
                  <a:lnTo>
                    <a:pt x="19" y="17"/>
                  </a:lnTo>
                  <a:lnTo>
                    <a:pt x="19" y="19"/>
                  </a:lnTo>
                  <a:lnTo>
                    <a:pt x="19" y="19"/>
                  </a:lnTo>
                  <a:lnTo>
                    <a:pt x="17" y="19"/>
                  </a:lnTo>
                  <a:lnTo>
                    <a:pt x="15" y="19"/>
                  </a:lnTo>
                  <a:lnTo>
                    <a:pt x="15" y="19"/>
                  </a:lnTo>
                  <a:lnTo>
                    <a:pt x="14" y="17"/>
                  </a:lnTo>
                  <a:lnTo>
                    <a:pt x="14" y="17"/>
                  </a:lnTo>
                  <a:lnTo>
                    <a:pt x="14" y="13"/>
                  </a:lnTo>
                  <a:lnTo>
                    <a:pt x="14" y="13"/>
                  </a:lnTo>
                  <a:lnTo>
                    <a:pt x="14" y="13"/>
                  </a:lnTo>
                  <a:lnTo>
                    <a:pt x="14" y="11"/>
                  </a:lnTo>
                  <a:lnTo>
                    <a:pt x="14" y="11"/>
                  </a:lnTo>
                  <a:lnTo>
                    <a:pt x="14" y="11"/>
                  </a:lnTo>
                  <a:lnTo>
                    <a:pt x="14" y="11"/>
                  </a:lnTo>
                  <a:lnTo>
                    <a:pt x="19" y="7"/>
                  </a:lnTo>
                  <a:lnTo>
                    <a:pt x="21" y="7"/>
                  </a:lnTo>
                  <a:lnTo>
                    <a:pt x="21" y="6"/>
                  </a:lnTo>
                  <a:lnTo>
                    <a:pt x="21" y="6"/>
                  </a:lnTo>
                  <a:lnTo>
                    <a:pt x="21" y="6"/>
                  </a:lnTo>
                  <a:lnTo>
                    <a:pt x="21" y="4"/>
                  </a:lnTo>
                  <a:lnTo>
                    <a:pt x="19" y="4"/>
                  </a:lnTo>
                  <a:lnTo>
                    <a:pt x="19" y="4"/>
                  </a:lnTo>
                  <a:lnTo>
                    <a:pt x="17" y="4"/>
                  </a:lnTo>
                  <a:lnTo>
                    <a:pt x="17" y="4"/>
                  </a:lnTo>
                  <a:lnTo>
                    <a:pt x="17" y="4"/>
                  </a:lnTo>
                  <a:lnTo>
                    <a:pt x="15" y="4"/>
                  </a:lnTo>
                  <a:lnTo>
                    <a:pt x="15" y="2"/>
                  </a:lnTo>
                  <a:lnTo>
                    <a:pt x="17" y="2"/>
                  </a:lnTo>
                  <a:lnTo>
                    <a:pt x="17" y="0"/>
                  </a:lnTo>
                  <a:lnTo>
                    <a:pt x="15" y="0"/>
                  </a:lnTo>
                  <a:lnTo>
                    <a:pt x="15" y="0"/>
                  </a:lnTo>
                  <a:lnTo>
                    <a:pt x="15" y="0"/>
                  </a:lnTo>
                  <a:lnTo>
                    <a:pt x="14" y="0"/>
                  </a:lnTo>
                  <a:lnTo>
                    <a:pt x="12" y="2"/>
                  </a:lnTo>
                  <a:lnTo>
                    <a:pt x="10" y="4"/>
                  </a:lnTo>
                  <a:lnTo>
                    <a:pt x="10" y="4"/>
                  </a:lnTo>
                  <a:lnTo>
                    <a:pt x="8" y="4"/>
                  </a:lnTo>
                  <a:lnTo>
                    <a:pt x="8" y="4"/>
                  </a:lnTo>
                  <a:lnTo>
                    <a:pt x="6" y="4"/>
                  </a:lnTo>
                  <a:lnTo>
                    <a:pt x="6" y="4"/>
                  </a:lnTo>
                  <a:lnTo>
                    <a:pt x="6" y="4"/>
                  </a:lnTo>
                  <a:lnTo>
                    <a:pt x="4" y="7"/>
                  </a:lnTo>
                  <a:lnTo>
                    <a:pt x="4" y="7"/>
                  </a:lnTo>
                  <a:lnTo>
                    <a:pt x="4" y="7"/>
                  </a:lnTo>
                  <a:lnTo>
                    <a:pt x="2" y="7"/>
                  </a:lnTo>
                  <a:lnTo>
                    <a:pt x="2" y="7"/>
                  </a:lnTo>
                  <a:lnTo>
                    <a:pt x="0" y="7"/>
                  </a:lnTo>
                  <a:lnTo>
                    <a:pt x="0" y="7"/>
                  </a:lnTo>
                  <a:lnTo>
                    <a:pt x="0" y="7"/>
                  </a:lnTo>
                  <a:lnTo>
                    <a:pt x="0" y="9"/>
                  </a:lnTo>
                  <a:lnTo>
                    <a:pt x="0" y="9"/>
                  </a:lnTo>
                  <a:lnTo>
                    <a:pt x="0" y="9"/>
                  </a:lnTo>
                  <a:lnTo>
                    <a:pt x="0" y="9"/>
                  </a:lnTo>
                  <a:lnTo>
                    <a:pt x="0" y="11"/>
                  </a:lnTo>
                  <a:lnTo>
                    <a:pt x="0" y="11"/>
                  </a:lnTo>
                  <a:lnTo>
                    <a:pt x="2" y="13"/>
                  </a:lnTo>
                  <a:lnTo>
                    <a:pt x="4" y="13"/>
                  </a:lnTo>
                  <a:lnTo>
                    <a:pt x="4" y="13"/>
                  </a:lnTo>
                  <a:lnTo>
                    <a:pt x="4" y="15"/>
                  </a:lnTo>
                  <a:lnTo>
                    <a:pt x="4" y="15"/>
                  </a:lnTo>
                  <a:lnTo>
                    <a:pt x="4" y="19"/>
                  </a:lnTo>
                  <a:lnTo>
                    <a:pt x="4" y="21"/>
                  </a:lnTo>
                  <a:lnTo>
                    <a:pt x="6" y="25"/>
                  </a:lnTo>
                  <a:lnTo>
                    <a:pt x="8" y="26"/>
                  </a:lnTo>
                  <a:lnTo>
                    <a:pt x="8" y="28"/>
                  </a:lnTo>
                  <a:lnTo>
                    <a:pt x="10" y="28"/>
                  </a:lnTo>
                  <a:lnTo>
                    <a:pt x="10" y="28"/>
                  </a:lnTo>
                  <a:lnTo>
                    <a:pt x="10" y="28"/>
                  </a:lnTo>
                  <a:lnTo>
                    <a:pt x="12" y="28"/>
                  </a:lnTo>
                  <a:lnTo>
                    <a:pt x="12" y="26"/>
                  </a:lnTo>
                  <a:lnTo>
                    <a:pt x="14" y="26"/>
                  </a:lnTo>
                  <a:lnTo>
                    <a:pt x="14" y="26"/>
                  </a:lnTo>
                  <a:lnTo>
                    <a:pt x="14" y="28"/>
                  </a:lnTo>
                  <a:lnTo>
                    <a:pt x="15" y="28"/>
                  </a:lnTo>
                  <a:lnTo>
                    <a:pt x="15" y="28"/>
                  </a:lnTo>
                  <a:lnTo>
                    <a:pt x="15" y="28"/>
                  </a:lnTo>
                  <a:lnTo>
                    <a:pt x="15" y="28"/>
                  </a:lnTo>
                  <a:lnTo>
                    <a:pt x="17" y="26"/>
                  </a:lnTo>
                  <a:lnTo>
                    <a:pt x="17" y="26"/>
                  </a:lnTo>
                  <a:lnTo>
                    <a:pt x="19" y="26"/>
                  </a:lnTo>
                  <a:lnTo>
                    <a:pt x="19" y="26"/>
                  </a:lnTo>
                  <a:lnTo>
                    <a:pt x="21" y="28"/>
                  </a:lnTo>
                  <a:lnTo>
                    <a:pt x="21" y="28"/>
                  </a:lnTo>
                  <a:lnTo>
                    <a:pt x="23" y="30"/>
                  </a:lnTo>
                  <a:lnTo>
                    <a:pt x="23" y="30"/>
                  </a:lnTo>
                  <a:lnTo>
                    <a:pt x="23" y="30"/>
                  </a:lnTo>
                  <a:lnTo>
                    <a:pt x="23" y="28"/>
                  </a:lnTo>
                  <a:lnTo>
                    <a:pt x="25" y="28"/>
                  </a:lnTo>
                  <a:lnTo>
                    <a:pt x="25" y="26"/>
                  </a:lnTo>
                  <a:lnTo>
                    <a:pt x="25" y="25"/>
                  </a:lnTo>
                  <a:lnTo>
                    <a:pt x="25" y="21"/>
                  </a:lnTo>
                  <a:lnTo>
                    <a:pt x="25" y="1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1" name="Freeform 63">
              <a:extLst>
                <a:ext uri="{FF2B5EF4-FFF2-40B4-BE49-F238E27FC236}">
                  <a16:creationId xmlns:a16="http://schemas.microsoft.com/office/drawing/2014/main" id="{64306AB2-BA0D-EC32-696E-F450992FA9BF}"/>
                </a:ext>
              </a:extLst>
            </p:cNvPr>
            <p:cNvSpPr>
              <a:spLocks/>
            </p:cNvSpPr>
            <p:nvPr/>
          </p:nvSpPr>
          <p:spPr bwMode="auto">
            <a:xfrm>
              <a:off x="4473575" y="4202913"/>
              <a:ext cx="39688" cy="47625"/>
            </a:xfrm>
            <a:custGeom>
              <a:avLst/>
              <a:gdLst>
                <a:gd name="T0" fmla="*/ 25 w 25"/>
                <a:gd name="T1" fmla="*/ 15 h 30"/>
                <a:gd name="T2" fmla="*/ 21 w 25"/>
                <a:gd name="T3" fmla="*/ 15 h 30"/>
                <a:gd name="T4" fmla="*/ 19 w 25"/>
                <a:gd name="T5" fmla="*/ 15 h 30"/>
                <a:gd name="T6" fmla="*/ 19 w 25"/>
                <a:gd name="T7" fmla="*/ 17 h 30"/>
                <a:gd name="T8" fmla="*/ 19 w 25"/>
                <a:gd name="T9" fmla="*/ 19 h 30"/>
                <a:gd name="T10" fmla="*/ 17 w 25"/>
                <a:gd name="T11" fmla="*/ 19 h 30"/>
                <a:gd name="T12" fmla="*/ 15 w 25"/>
                <a:gd name="T13" fmla="*/ 19 h 30"/>
                <a:gd name="T14" fmla="*/ 14 w 25"/>
                <a:gd name="T15" fmla="*/ 17 h 30"/>
                <a:gd name="T16" fmla="*/ 14 w 25"/>
                <a:gd name="T17" fmla="*/ 13 h 30"/>
                <a:gd name="T18" fmla="*/ 14 w 25"/>
                <a:gd name="T19" fmla="*/ 11 h 30"/>
                <a:gd name="T20" fmla="*/ 14 w 25"/>
                <a:gd name="T21" fmla="*/ 11 h 30"/>
                <a:gd name="T22" fmla="*/ 19 w 25"/>
                <a:gd name="T23" fmla="*/ 7 h 30"/>
                <a:gd name="T24" fmla="*/ 21 w 25"/>
                <a:gd name="T25" fmla="*/ 6 h 30"/>
                <a:gd name="T26" fmla="*/ 21 w 25"/>
                <a:gd name="T27" fmla="*/ 6 h 30"/>
                <a:gd name="T28" fmla="*/ 19 w 25"/>
                <a:gd name="T29" fmla="*/ 4 h 30"/>
                <a:gd name="T30" fmla="*/ 17 w 25"/>
                <a:gd name="T31" fmla="*/ 4 h 30"/>
                <a:gd name="T32" fmla="*/ 17 w 25"/>
                <a:gd name="T33" fmla="*/ 4 h 30"/>
                <a:gd name="T34" fmla="*/ 15 w 25"/>
                <a:gd name="T35" fmla="*/ 2 h 30"/>
                <a:gd name="T36" fmla="*/ 17 w 25"/>
                <a:gd name="T37" fmla="*/ 0 h 30"/>
                <a:gd name="T38" fmla="*/ 15 w 25"/>
                <a:gd name="T39" fmla="*/ 0 h 30"/>
                <a:gd name="T40" fmla="*/ 14 w 25"/>
                <a:gd name="T41" fmla="*/ 0 h 30"/>
                <a:gd name="T42" fmla="*/ 10 w 25"/>
                <a:gd name="T43" fmla="*/ 4 h 30"/>
                <a:gd name="T44" fmla="*/ 8 w 25"/>
                <a:gd name="T45" fmla="*/ 4 h 30"/>
                <a:gd name="T46" fmla="*/ 6 w 25"/>
                <a:gd name="T47" fmla="*/ 4 h 30"/>
                <a:gd name="T48" fmla="*/ 6 w 25"/>
                <a:gd name="T49" fmla="*/ 4 h 30"/>
                <a:gd name="T50" fmla="*/ 4 w 25"/>
                <a:gd name="T51" fmla="*/ 7 h 30"/>
                <a:gd name="T52" fmla="*/ 2 w 25"/>
                <a:gd name="T53" fmla="*/ 7 h 30"/>
                <a:gd name="T54" fmla="*/ 0 w 25"/>
                <a:gd name="T55" fmla="*/ 7 h 30"/>
                <a:gd name="T56" fmla="*/ 0 w 25"/>
                <a:gd name="T57" fmla="*/ 7 h 30"/>
                <a:gd name="T58" fmla="*/ 0 w 25"/>
                <a:gd name="T59" fmla="*/ 9 h 30"/>
                <a:gd name="T60" fmla="*/ 0 w 25"/>
                <a:gd name="T61" fmla="*/ 9 h 30"/>
                <a:gd name="T62" fmla="*/ 0 w 25"/>
                <a:gd name="T63" fmla="*/ 11 h 30"/>
                <a:gd name="T64" fmla="*/ 4 w 25"/>
                <a:gd name="T65" fmla="*/ 13 h 30"/>
                <a:gd name="T66" fmla="*/ 4 w 25"/>
                <a:gd name="T67" fmla="*/ 15 h 30"/>
                <a:gd name="T68" fmla="*/ 4 w 25"/>
                <a:gd name="T69" fmla="*/ 19 h 30"/>
                <a:gd name="T70" fmla="*/ 6 w 25"/>
                <a:gd name="T71" fmla="*/ 25 h 30"/>
                <a:gd name="T72" fmla="*/ 8 w 25"/>
                <a:gd name="T73" fmla="*/ 28 h 30"/>
                <a:gd name="T74" fmla="*/ 10 w 25"/>
                <a:gd name="T75" fmla="*/ 28 h 30"/>
                <a:gd name="T76" fmla="*/ 12 w 25"/>
                <a:gd name="T77" fmla="*/ 28 h 30"/>
                <a:gd name="T78" fmla="*/ 14 w 25"/>
                <a:gd name="T79" fmla="*/ 26 h 30"/>
                <a:gd name="T80" fmla="*/ 14 w 25"/>
                <a:gd name="T81" fmla="*/ 28 h 30"/>
                <a:gd name="T82" fmla="*/ 15 w 25"/>
                <a:gd name="T83" fmla="*/ 28 h 30"/>
                <a:gd name="T84" fmla="*/ 15 w 25"/>
                <a:gd name="T85" fmla="*/ 28 h 30"/>
                <a:gd name="T86" fmla="*/ 17 w 25"/>
                <a:gd name="T87" fmla="*/ 26 h 30"/>
                <a:gd name="T88" fmla="*/ 19 w 25"/>
                <a:gd name="T89" fmla="*/ 26 h 30"/>
                <a:gd name="T90" fmla="*/ 21 w 25"/>
                <a:gd name="T91" fmla="*/ 28 h 30"/>
                <a:gd name="T92" fmla="*/ 23 w 25"/>
                <a:gd name="T93" fmla="*/ 30 h 30"/>
                <a:gd name="T94" fmla="*/ 23 w 25"/>
                <a:gd name="T95" fmla="*/ 28 h 30"/>
                <a:gd name="T96" fmla="*/ 25 w 25"/>
                <a:gd name="T97" fmla="*/ 26 h 30"/>
                <a:gd name="T98" fmla="*/ 25 w 25"/>
                <a:gd name="T99"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 h="30">
                  <a:moveTo>
                    <a:pt x="25" y="17"/>
                  </a:moveTo>
                  <a:lnTo>
                    <a:pt x="25" y="15"/>
                  </a:lnTo>
                  <a:lnTo>
                    <a:pt x="23" y="15"/>
                  </a:lnTo>
                  <a:lnTo>
                    <a:pt x="21" y="15"/>
                  </a:lnTo>
                  <a:lnTo>
                    <a:pt x="19" y="15"/>
                  </a:lnTo>
                  <a:lnTo>
                    <a:pt x="19" y="15"/>
                  </a:lnTo>
                  <a:lnTo>
                    <a:pt x="19" y="15"/>
                  </a:lnTo>
                  <a:lnTo>
                    <a:pt x="19" y="17"/>
                  </a:lnTo>
                  <a:lnTo>
                    <a:pt x="19" y="17"/>
                  </a:lnTo>
                  <a:lnTo>
                    <a:pt x="19" y="19"/>
                  </a:lnTo>
                  <a:lnTo>
                    <a:pt x="19" y="19"/>
                  </a:lnTo>
                  <a:lnTo>
                    <a:pt x="17" y="19"/>
                  </a:lnTo>
                  <a:lnTo>
                    <a:pt x="15" y="19"/>
                  </a:lnTo>
                  <a:lnTo>
                    <a:pt x="15" y="19"/>
                  </a:lnTo>
                  <a:lnTo>
                    <a:pt x="14" y="17"/>
                  </a:lnTo>
                  <a:lnTo>
                    <a:pt x="14" y="17"/>
                  </a:lnTo>
                  <a:lnTo>
                    <a:pt x="14" y="13"/>
                  </a:lnTo>
                  <a:lnTo>
                    <a:pt x="14" y="13"/>
                  </a:lnTo>
                  <a:lnTo>
                    <a:pt x="14" y="13"/>
                  </a:lnTo>
                  <a:lnTo>
                    <a:pt x="14" y="11"/>
                  </a:lnTo>
                  <a:lnTo>
                    <a:pt x="14" y="11"/>
                  </a:lnTo>
                  <a:lnTo>
                    <a:pt x="14" y="11"/>
                  </a:lnTo>
                  <a:lnTo>
                    <a:pt x="14" y="11"/>
                  </a:lnTo>
                  <a:lnTo>
                    <a:pt x="19" y="7"/>
                  </a:lnTo>
                  <a:lnTo>
                    <a:pt x="21" y="7"/>
                  </a:lnTo>
                  <a:lnTo>
                    <a:pt x="21" y="6"/>
                  </a:lnTo>
                  <a:lnTo>
                    <a:pt x="21" y="6"/>
                  </a:lnTo>
                  <a:lnTo>
                    <a:pt x="21" y="6"/>
                  </a:lnTo>
                  <a:lnTo>
                    <a:pt x="21" y="4"/>
                  </a:lnTo>
                  <a:lnTo>
                    <a:pt x="19" y="4"/>
                  </a:lnTo>
                  <a:lnTo>
                    <a:pt x="19" y="4"/>
                  </a:lnTo>
                  <a:lnTo>
                    <a:pt x="17" y="4"/>
                  </a:lnTo>
                  <a:lnTo>
                    <a:pt x="17" y="4"/>
                  </a:lnTo>
                  <a:lnTo>
                    <a:pt x="17" y="4"/>
                  </a:lnTo>
                  <a:lnTo>
                    <a:pt x="15" y="4"/>
                  </a:lnTo>
                  <a:lnTo>
                    <a:pt x="15" y="2"/>
                  </a:lnTo>
                  <a:lnTo>
                    <a:pt x="17" y="2"/>
                  </a:lnTo>
                  <a:lnTo>
                    <a:pt x="17" y="0"/>
                  </a:lnTo>
                  <a:lnTo>
                    <a:pt x="15" y="0"/>
                  </a:lnTo>
                  <a:lnTo>
                    <a:pt x="15" y="0"/>
                  </a:lnTo>
                  <a:lnTo>
                    <a:pt x="15" y="0"/>
                  </a:lnTo>
                  <a:lnTo>
                    <a:pt x="14" y="0"/>
                  </a:lnTo>
                  <a:lnTo>
                    <a:pt x="12" y="2"/>
                  </a:lnTo>
                  <a:lnTo>
                    <a:pt x="10" y="4"/>
                  </a:lnTo>
                  <a:lnTo>
                    <a:pt x="10" y="4"/>
                  </a:lnTo>
                  <a:lnTo>
                    <a:pt x="8" y="4"/>
                  </a:lnTo>
                  <a:lnTo>
                    <a:pt x="8" y="4"/>
                  </a:lnTo>
                  <a:lnTo>
                    <a:pt x="6" y="4"/>
                  </a:lnTo>
                  <a:lnTo>
                    <a:pt x="6" y="4"/>
                  </a:lnTo>
                  <a:lnTo>
                    <a:pt x="6" y="4"/>
                  </a:lnTo>
                  <a:lnTo>
                    <a:pt x="4" y="7"/>
                  </a:lnTo>
                  <a:lnTo>
                    <a:pt x="4" y="7"/>
                  </a:lnTo>
                  <a:lnTo>
                    <a:pt x="4" y="7"/>
                  </a:lnTo>
                  <a:lnTo>
                    <a:pt x="2" y="7"/>
                  </a:lnTo>
                  <a:lnTo>
                    <a:pt x="2" y="7"/>
                  </a:lnTo>
                  <a:lnTo>
                    <a:pt x="0" y="7"/>
                  </a:lnTo>
                  <a:lnTo>
                    <a:pt x="0" y="7"/>
                  </a:lnTo>
                  <a:lnTo>
                    <a:pt x="0" y="7"/>
                  </a:lnTo>
                  <a:lnTo>
                    <a:pt x="0" y="9"/>
                  </a:lnTo>
                  <a:lnTo>
                    <a:pt x="0" y="9"/>
                  </a:lnTo>
                  <a:lnTo>
                    <a:pt x="0" y="9"/>
                  </a:lnTo>
                  <a:lnTo>
                    <a:pt x="0" y="9"/>
                  </a:lnTo>
                  <a:lnTo>
                    <a:pt x="0" y="11"/>
                  </a:lnTo>
                  <a:lnTo>
                    <a:pt x="0" y="11"/>
                  </a:lnTo>
                  <a:lnTo>
                    <a:pt x="2" y="13"/>
                  </a:lnTo>
                  <a:lnTo>
                    <a:pt x="4" y="13"/>
                  </a:lnTo>
                  <a:lnTo>
                    <a:pt x="4" y="13"/>
                  </a:lnTo>
                  <a:lnTo>
                    <a:pt x="4" y="15"/>
                  </a:lnTo>
                  <a:lnTo>
                    <a:pt x="4" y="15"/>
                  </a:lnTo>
                  <a:lnTo>
                    <a:pt x="4" y="19"/>
                  </a:lnTo>
                  <a:lnTo>
                    <a:pt x="4" y="21"/>
                  </a:lnTo>
                  <a:lnTo>
                    <a:pt x="6" y="25"/>
                  </a:lnTo>
                  <a:lnTo>
                    <a:pt x="8" y="26"/>
                  </a:lnTo>
                  <a:lnTo>
                    <a:pt x="8" y="28"/>
                  </a:lnTo>
                  <a:lnTo>
                    <a:pt x="10" y="28"/>
                  </a:lnTo>
                  <a:lnTo>
                    <a:pt x="10" y="28"/>
                  </a:lnTo>
                  <a:lnTo>
                    <a:pt x="10" y="28"/>
                  </a:lnTo>
                  <a:lnTo>
                    <a:pt x="12" y="28"/>
                  </a:lnTo>
                  <a:lnTo>
                    <a:pt x="12" y="26"/>
                  </a:lnTo>
                  <a:lnTo>
                    <a:pt x="14" y="26"/>
                  </a:lnTo>
                  <a:lnTo>
                    <a:pt x="14" y="26"/>
                  </a:lnTo>
                  <a:lnTo>
                    <a:pt x="14" y="28"/>
                  </a:lnTo>
                  <a:lnTo>
                    <a:pt x="15" y="28"/>
                  </a:lnTo>
                  <a:lnTo>
                    <a:pt x="15" y="28"/>
                  </a:lnTo>
                  <a:lnTo>
                    <a:pt x="15" y="28"/>
                  </a:lnTo>
                  <a:lnTo>
                    <a:pt x="15" y="28"/>
                  </a:lnTo>
                  <a:lnTo>
                    <a:pt x="17" y="26"/>
                  </a:lnTo>
                  <a:lnTo>
                    <a:pt x="17" y="26"/>
                  </a:lnTo>
                  <a:lnTo>
                    <a:pt x="19" y="26"/>
                  </a:lnTo>
                  <a:lnTo>
                    <a:pt x="19" y="26"/>
                  </a:lnTo>
                  <a:lnTo>
                    <a:pt x="21" y="28"/>
                  </a:lnTo>
                  <a:lnTo>
                    <a:pt x="21" y="28"/>
                  </a:lnTo>
                  <a:lnTo>
                    <a:pt x="23" y="30"/>
                  </a:lnTo>
                  <a:lnTo>
                    <a:pt x="23" y="30"/>
                  </a:lnTo>
                  <a:lnTo>
                    <a:pt x="23" y="30"/>
                  </a:lnTo>
                  <a:lnTo>
                    <a:pt x="23" y="28"/>
                  </a:lnTo>
                  <a:lnTo>
                    <a:pt x="25" y="28"/>
                  </a:lnTo>
                  <a:lnTo>
                    <a:pt x="25" y="26"/>
                  </a:lnTo>
                  <a:lnTo>
                    <a:pt x="25" y="25"/>
                  </a:lnTo>
                  <a:lnTo>
                    <a:pt x="25" y="21"/>
                  </a:lnTo>
                  <a:lnTo>
                    <a:pt x="25" y="17"/>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2" name="Freeform 64">
              <a:extLst>
                <a:ext uri="{FF2B5EF4-FFF2-40B4-BE49-F238E27FC236}">
                  <a16:creationId xmlns:a16="http://schemas.microsoft.com/office/drawing/2014/main" id="{8E04BA07-2507-D3DF-227B-9AF21B6EA1DF}"/>
                </a:ext>
              </a:extLst>
            </p:cNvPr>
            <p:cNvSpPr>
              <a:spLocks/>
            </p:cNvSpPr>
            <p:nvPr/>
          </p:nvSpPr>
          <p:spPr bwMode="auto">
            <a:xfrm>
              <a:off x="5553075" y="3601251"/>
              <a:ext cx="600075" cy="996950"/>
            </a:xfrm>
            <a:custGeom>
              <a:avLst/>
              <a:gdLst>
                <a:gd name="T0" fmla="*/ 359 w 378"/>
                <a:gd name="T1" fmla="*/ 113 h 628"/>
                <a:gd name="T2" fmla="*/ 347 w 378"/>
                <a:gd name="T3" fmla="*/ 95 h 628"/>
                <a:gd name="T4" fmla="*/ 340 w 378"/>
                <a:gd name="T5" fmla="*/ 67 h 628"/>
                <a:gd name="T6" fmla="*/ 338 w 378"/>
                <a:gd name="T7" fmla="*/ 52 h 628"/>
                <a:gd name="T8" fmla="*/ 323 w 378"/>
                <a:gd name="T9" fmla="*/ 54 h 628"/>
                <a:gd name="T10" fmla="*/ 300 w 378"/>
                <a:gd name="T11" fmla="*/ 6 h 628"/>
                <a:gd name="T12" fmla="*/ 271 w 378"/>
                <a:gd name="T13" fmla="*/ 19 h 628"/>
                <a:gd name="T14" fmla="*/ 231 w 378"/>
                <a:gd name="T15" fmla="*/ 21 h 628"/>
                <a:gd name="T16" fmla="*/ 168 w 378"/>
                <a:gd name="T17" fmla="*/ 35 h 628"/>
                <a:gd name="T18" fmla="*/ 132 w 378"/>
                <a:gd name="T19" fmla="*/ 44 h 628"/>
                <a:gd name="T20" fmla="*/ 134 w 378"/>
                <a:gd name="T21" fmla="*/ 63 h 628"/>
                <a:gd name="T22" fmla="*/ 174 w 378"/>
                <a:gd name="T23" fmla="*/ 78 h 628"/>
                <a:gd name="T24" fmla="*/ 145 w 378"/>
                <a:gd name="T25" fmla="*/ 128 h 628"/>
                <a:gd name="T26" fmla="*/ 122 w 378"/>
                <a:gd name="T27" fmla="*/ 162 h 628"/>
                <a:gd name="T28" fmla="*/ 88 w 378"/>
                <a:gd name="T29" fmla="*/ 170 h 628"/>
                <a:gd name="T30" fmla="*/ 67 w 378"/>
                <a:gd name="T31" fmla="*/ 202 h 628"/>
                <a:gd name="T32" fmla="*/ 44 w 378"/>
                <a:gd name="T33" fmla="*/ 240 h 628"/>
                <a:gd name="T34" fmla="*/ 16 w 378"/>
                <a:gd name="T35" fmla="*/ 310 h 628"/>
                <a:gd name="T36" fmla="*/ 27 w 378"/>
                <a:gd name="T37" fmla="*/ 335 h 628"/>
                <a:gd name="T38" fmla="*/ 29 w 378"/>
                <a:gd name="T39" fmla="*/ 350 h 628"/>
                <a:gd name="T40" fmla="*/ 33 w 378"/>
                <a:gd name="T41" fmla="*/ 377 h 628"/>
                <a:gd name="T42" fmla="*/ 16 w 378"/>
                <a:gd name="T43" fmla="*/ 398 h 628"/>
                <a:gd name="T44" fmla="*/ 18 w 378"/>
                <a:gd name="T45" fmla="*/ 419 h 628"/>
                <a:gd name="T46" fmla="*/ 14 w 378"/>
                <a:gd name="T47" fmla="*/ 432 h 628"/>
                <a:gd name="T48" fmla="*/ 25 w 378"/>
                <a:gd name="T49" fmla="*/ 430 h 628"/>
                <a:gd name="T50" fmla="*/ 52 w 378"/>
                <a:gd name="T51" fmla="*/ 455 h 628"/>
                <a:gd name="T52" fmla="*/ 46 w 378"/>
                <a:gd name="T53" fmla="*/ 480 h 628"/>
                <a:gd name="T54" fmla="*/ 20 w 378"/>
                <a:gd name="T55" fmla="*/ 478 h 628"/>
                <a:gd name="T56" fmla="*/ 0 w 378"/>
                <a:gd name="T57" fmla="*/ 533 h 628"/>
                <a:gd name="T58" fmla="*/ 12 w 378"/>
                <a:gd name="T59" fmla="*/ 548 h 628"/>
                <a:gd name="T60" fmla="*/ 46 w 378"/>
                <a:gd name="T61" fmla="*/ 580 h 628"/>
                <a:gd name="T62" fmla="*/ 52 w 378"/>
                <a:gd name="T63" fmla="*/ 586 h 628"/>
                <a:gd name="T64" fmla="*/ 63 w 378"/>
                <a:gd name="T65" fmla="*/ 599 h 628"/>
                <a:gd name="T66" fmla="*/ 90 w 378"/>
                <a:gd name="T67" fmla="*/ 626 h 628"/>
                <a:gd name="T68" fmla="*/ 109 w 378"/>
                <a:gd name="T69" fmla="*/ 615 h 628"/>
                <a:gd name="T70" fmla="*/ 117 w 378"/>
                <a:gd name="T71" fmla="*/ 590 h 628"/>
                <a:gd name="T72" fmla="*/ 132 w 378"/>
                <a:gd name="T73" fmla="*/ 575 h 628"/>
                <a:gd name="T74" fmla="*/ 153 w 378"/>
                <a:gd name="T75" fmla="*/ 546 h 628"/>
                <a:gd name="T76" fmla="*/ 170 w 378"/>
                <a:gd name="T77" fmla="*/ 531 h 628"/>
                <a:gd name="T78" fmla="*/ 181 w 378"/>
                <a:gd name="T79" fmla="*/ 518 h 628"/>
                <a:gd name="T80" fmla="*/ 174 w 378"/>
                <a:gd name="T81" fmla="*/ 485 h 628"/>
                <a:gd name="T82" fmla="*/ 170 w 378"/>
                <a:gd name="T83" fmla="*/ 466 h 628"/>
                <a:gd name="T84" fmla="*/ 159 w 378"/>
                <a:gd name="T85" fmla="*/ 432 h 628"/>
                <a:gd name="T86" fmla="*/ 155 w 378"/>
                <a:gd name="T87" fmla="*/ 402 h 628"/>
                <a:gd name="T88" fmla="*/ 170 w 378"/>
                <a:gd name="T89" fmla="*/ 407 h 628"/>
                <a:gd name="T90" fmla="*/ 191 w 378"/>
                <a:gd name="T91" fmla="*/ 424 h 628"/>
                <a:gd name="T92" fmla="*/ 214 w 378"/>
                <a:gd name="T93" fmla="*/ 434 h 628"/>
                <a:gd name="T94" fmla="*/ 225 w 378"/>
                <a:gd name="T95" fmla="*/ 413 h 628"/>
                <a:gd name="T96" fmla="*/ 212 w 378"/>
                <a:gd name="T97" fmla="*/ 409 h 628"/>
                <a:gd name="T98" fmla="*/ 199 w 378"/>
                <a:gd name="T99" fmla="*/ 369 h 628"/>
                <a:gd name="T100" fmla="*/ 191 w 378"/>
                <a:gd name="T101" fmla="*/ 358 h 628"/>
                <a:gd name="T102" fmla="*/ 199 w 378"/>
                <a:gd name="T103" fmla="*/ 326 h 628"/>
                <a:gd name="T104" fmla="*/ 216 w 378"/>
                <a:gd name="T105" fmla="*/ 310 h 628"/>
                <a:gd name="T106" fmla="*/ 250 w 378"/>
                <a:gd name="T107" fmla="*/ 295 h 628"/>
                <a:gd name="T108" fmla="*/ 277 w 378"/>
                <a:gd name="T109" fmla="*/ 284 h 628"/>
                <a:gd name="T110" fmla="*/ 288 w 378"/>
                <a:gd name="T111" fmla="*/ 274 h 628"/>
                <a:gd name="T112" fmla="*/ 300 w 378"/>
                <a:gd name="T113" fmla="*/ 234 h 628"/>
                <a:gd name="T114" fmla="*/ 302 w 378"/>
                <a:gd name="T115" fmla="*/ 219 h 628"/>
                <a:gd name="T116" fmla="*/ 311 w 378"/>
                <a:gd name="T117" fmla="*/ 192 h 628"/>
                <a:gd name="T118" fmla="*/ 342 w 378"/>
                <a:gd name="T119" fmla="*/ 160 h 628"/>
                <a:gd name="T120" fmla="*/ 364 w 378"/>
                <a:gd name="T121" fmla="*/ 137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8" h="628">
                  <a:moveTo>
                    <a:pt x="378" y="124"/>
                  </a:moveTo>
                  <a:lnTo>
                    <a:pt x="378" y="122"/>
                  </a:lnTo>
                  <a:lnTo>
                    <a:pt x="376" y="120"/>
                  </a:lnTo>
                  <a:lnTo>
                    <a:pt x="376" y="120"/>
                  </a:lnTo>
                  <a:lnTo>
                    <a:pt x="376" y="116"/>
                  </a:lnTo>
                  <a:lnTo>
                    <a:pt x="376" y="116"/>
                  </a:lnTo>
                  <a:lnTo>
                    <a:pt x="374" y="116"/>
                  </a:lnTo>
                  <a:lnTo>
                    <a:pt x="372" y="114"/>
                  </a:lnTo>
                  <a:lnTo>
                    <a:pt x="372" y="114"/>
                  </a:lnTo>
                  <a:lnTo>
                    <a:pt x="370" y="114"/>
                  </a:lnTo>
                  <a:lnTo>
                    <a:pt x="370" y="114"/>
                  </a:lnTo>
                  <a:lnTo>
                    <a:pt x="368" y="114"/>
                  </a:lnTo>
                  <a:lnTo>
                    <a:pt x="368" y="114"/>
                  </a:lnTo>
                  <a:lnTo>
                    <a:pt x="368" y="114"/>
                  </a:lnTo>
                  <a:lnTo>
                    <a:pt x="366" y="114"/>
                  </a:lnTo>
                  <a:lnTo>
                    <a:pt x="366" y="114"/>
                  </a:lnTo>
                  <a:lnTo>
                    <a:pt x="364" y="114"/>
                  </a:lnTo>
                  <a:lnTo>
                    <a:pt x="364" y="114"/>
                  </a:lnTo>
                  <a:lnTo>
                    <a:pt x="363" y="114"/>
                  </a:lnTo>
                  <a:lnTo>
                    <a:pt x="361" y="113"/>
                  </a:lnTo>
                  <a:lnTo>
                    <a:pt x="359" y="113"/>
                  </a:lnTo>
                  <a:lnTo>
                    <a:pt x="359" y="113"/>
                  </a:lnTo>
                  <a:lnTo>
                    <a:pt x="359" y="113"/>
                  </a:lnTo>
                  <a:lnTo>
                    <a:pt x="359" y="114"/>
                  </a:lnTo>
                  <a:lnTo>
                    <a:pt x="359" y="114"/>
                  </a:lnTo>
                  <a:lnTo>
                    <a:pt x="359" y="114"/>
                  </a:lnTo>
                  <a:lnTo>
                    <a:pt x="359" y="114"/>
                  </a:lnTo>
                  <a:lnTo>
                    <a:pt x="359" y="114"/>
                  </a:lnTo>
                  <a:lnTo>
                    <a:pt x="357" y="114"/>
                  </a:lnTo>
                  <a:lnTo>
                    <a:pt x="357" y="114"/>
                  </a:lnTo>
                  <a:lnTo>
                    <a:pt x="357" y="114"/>
                  </a:lnTo>
                  <a:lnTo>
                    <a:pt x="355" y="114"/>
                  </a:lnTo>
                  <a:lnTo>
                    <a:pt x="355" y="114"/>
                  </a:lnTo>
                  <a:lnTo>
                    <a:pt x="355" y="113"/>
                  </a:lnTo>
                  <a:lnTo>
                    <a:pt x="355" y="111"/>
                  </a:lnTo>
                  <a:lnTo>
                    <a:pt x="355" y="109"/>
                  </a:lnTo>
                  <a:lnTo>
                    <a:pt x="353" y="107"/>
                  </a:lnTo>
                  <a:lnTo>
                    <a:pt x="353" y="105"/>
                  </a:lnTo>
                  <a:lnTo>
                    <a:pt x="353" y="105"/>
                  </a:lnTo>
                  <a:lnTo>
                    <a:pt x="349" y="101"/>
                  </a:lnTo>
                  <a:lnTo>
                    <a:pt x="347" y="99"/>
                  </a:lnTo>
                  <a:lnTo>
                    <a:pt x="347" y="95"/>
                  </a:lnTo>
                  <a:lnTo>
                    <a:pt x="347" y="92"/>
                  </a:lnTo>
                  <a:lnTo>
                    <a:pt x="349" y="84"/>
                  </a:lnTo>
                  <a:lnTo>
                    <a:pt x="347" y="78"/>
                  </a:lnTo>
                  <a:lnTo>
                    <a:pt x="347" y="76"/>
                  </a:lnTo>
                  <a:lnTo>
                    <a:pt x="347" y="76"/>
                  </a:lnTo>
                  <a:lnTo>
                    <a:pt x="345" y="75"/>
                  </a:lnTo>
                  <a:lnTo>
                    <a:pt x="345" y="75"/>
                  </a:lnTo>
                  <a:lnTo>
                    <a:pt x="343" y="76"/>
                  </a:lnTo>
                  <a:lnTo>
                    <a:pt x="342" y="78"/>
                  </a:lnTo>
                  <a:lnTo>
                    <a:pt x="342" y="78"/>
                  </a:lnTo>
                  <a:lnTo>
                    <a:pt x="342" y="78"/>
                  </a:lnTo>
                  <a:lnTo>
                    <a:pt x="340" y="78"/>
                  </a:lnTo>
                  <a:lnTo>
                    <a:pt x="340" y="76"/>
                  </a:lnTo>
                  <a:lnTo>
                    <a:pt x="340" y="76"/>
                  </a:lnTo>
                  <a:lnTo>
                    <a:pt x="340" y="75"/>
                  </a:lnTo>
                  <a:lnTo>
                    <a:pt x="340" y="75"/>
                  </a:lnTo>
                  <a:lnTo>
                    <a:pt x="342" y="71"/>
                  </a:lnTo>
                  <a:lnTo>
                    <a:pt x="342" y="71"/>
                  </a:lnTo>
                  <a:lnTo>
                    <a:pt x="342" y="69"/>
                  </a:lnTo>
                  <a:lnTo>
                    <a:pt x="342" y="69"/>
                  </a:lnTo>
                  <a:lnTo>
                    <a:pt x="340" y="67"/>
                  </a:lnTo>
                  <a:lnTo>
                    <a:pt x="342" y="67"/>
                  </a:lnTo>
                  <a:lnTo>
                    <a:pt x="342" y="65"/>
                  </a:lnTo>
                  <a:lnTo>
                    <a:pt x="342" y="65"/>
                  </a:lnTo>
                  <a:lnTo>
                    <a:pt x="345" y="61"/>
                  </a:lnTo>
                  <a:lnTo>
                    <a:pt x="345" y="61"/>
                  </a:lnTo>
                  <a:lnTo>
                    <a:pt x="345" y="59"/>
                  </a:lnTo>
                  <a:lnTo>
                    <a:pt x="347" y="59"/>
                  </a:lnTo>
                  <a:lnTo>
                    <a:pt x="347" y="57"/>
                  </a:lnTo>
                  <a:lnTo>
                    <a:pt x="347" y="57"/>
                  </a:lnTo>
                  <a:lnTo>
                    <a:pt x="345" y="54"/>
                  </a:lnTo>
                  <a:lnTo>
                    <a:pt x="345" y="54"/>
                  </a:lnTo>
                  <a:lnTo>
                    <a:pt x="345" y="52"/>
                  </a:lnTo>
                  <a:lnTo>
                    <a:pt x="343" y="52"/>
                  </a:lnTo>
                  <a:lnTo>
                    <a:pt x="343" y="50"/>
                  </a:lnTo>
                  <a:lnTo>
                    <a:pt x="343" y="50"/>
                  </a:lnTo>
                  <a:lnTo>
                    <a:pt x="342" y="50"/>
                  </a:lnTo>
                  <a:lnTo>
                    <a:pt x="342" y="50"/>
                  </a:lnTo>
                  <a:lnTo>
                    <a:pt x="340" y="50"/>
                  </a:lnTo>
                  <a:lnTo>
                    <a:pt x="340" y="52"/>
                  </a:lnTo>
                  <a:lnTo>
                    <a:pt x="340" y="52"/>
                  </a:lnTo>
                  <a:lnTo>
                    <a:pt x="338" y="52"/>
                  </a:lnTo>
                  <a:lnTo>
                    <a:pt x="338" y="52"/>
                  </a:lnTo>
                  <a:lnTo>
                    <a:pt x="338" y="52"/>
                  </a:lnTo>
                  <a:lnTo>
                    <a:pt x="338" y="52"/>
                  </a:lnTo>
                  <a:lnTo>
                    <a:pt x="338" y="54"/>
                  </a:lnTo>
                  <a:lnTo>
                    <a:pt x="338" y="54"/>
                  </a:lnTo>
                  <a:lnTo>
                    <a:pt x="338" y="57"/>
                  </a:lnTo>
                  <a:lnTo>
                    <a:pt x="338" y="57"/>
                  </a:lnTo>
                  <a:lnTo>
                    <a:pt x="338" y="57"/>
                  </a:lnTo>
                  <a:lnTo>
                    <a:pt x="338" y="57"/>
                  </a:lnTo>
                  <a:lnTo>
                    <a:pt x="338" y="57"/>
                  </a:lnTo>
                  <a:lnTo>
                    <a:pt x="336" y="57"/>
                  </a:lnTo>
                  <a:lnTo>
                    <a:pt x="330" y="56"/>
                  </a:lnTo>
                  <a:lnTo>
                    <a:pt x="330" y="56"/>
                  </a:lnTo>
                  <a:lnTo>
                    <a:pt x="328" y="56"/>
                  </a:lnTo>
                  <a:lnTo>
                    <a:pt x="328" y="56"/>
                  </a:lnTo>
                  <a:lnTo>
                    <a:pt x="326" y="56"/>
                  </a:lnTo>
                  <a:lnTo>
                    <a:pt x="326" y="56"/>
                  </a:lnTo>
                  <a:lnTo>
                    <a:pt x="324" y="56"/>
                  </a:lnTo>
                  <a:lnTo>
                    <a:pt x="324" y="56"/>
                  </a:lnTo>
                  <a:lnTo>
                    <a:pt x="323" y="54"/>
                  </a:lnTo>
                  <a:lnTo>
                    <a:pt x="323" y="54"/>
                  </a:lnTo>
                  <a:lnTo>
                    <a:pt x="321" y="52"/>
                  </a:lnTo>
                  <a:lnTo>
                    <a:pt x="321" y="48"/>
                  </a:lnTo>
                  <a:lnTo>
                    <a:pt x="319" y="46"/>
                  </a:lnTo>
                  <a:lnTo>
                    <a:pt x="319" y="46"/>
                  </a:lnTo>
                  <a:lnTo>
                    <a:pt x="319" y="44"/>
                  </a:lnTo>
                  <a:lnTo>
                    <a:pt x="319" y="44"/>
                  </a:lnTo>
                  <a:lnTo>
                    <a:pt x="321" y="40"/>
                  </a:lnTo>
                  <a:lnTo>
                    <a:pt x="321" y="40"/>
                  </a:lnTo>
                  <a:lnTo>
                    <a:pt x="321" y="38"/>
                  </a:lnTo>
                  <a:lnTo>
                    <a:pt x="321" y="38"/>
                  </a:lnTo>
                  <a:lnTo>
                    <a:pt x="319" y="35"/>
                  </a:lnTo>
                  <a:lnTo>
                    <a:pt x="317" y="33"/>
                  </a:lnTo>
                  <a:lnTo>
                    <a:pt x="303" y="21"/>
                  </a:lnTo>
                  <a:lnTo>
                    <a:pt x="303" y="18"/>
                  </a:lnTo>
                  <a:lnTo>
                    <a:pt x="302" y="18"/>
                  </a:lnTo>
                  <a:lnTo>
                    <a:pt x="302" y="16"/>
                  </a:lnTo>
                  <a:lnTo>
                    <a:pt x="302" y="14"/>
                  </a:lnTo>
                  <a:lnTo>
                    <a:pt x="302" y="12"/>
                  </a:lnTo>
                  <a:lnTo>
                    <a:pt x="302" y="8"/>
                  </a:lnTo>
                  <a:lnTo>
                    <a:pt x="302" y="8"/>
                  </a:lnTo>
                  <a:lnTo>
                    <a:pt x="300" y="6"/>
                  </a:lnTo>
                  <a:lnTo>
                    <a:pt x="300" y="6"/>
                  </a:lnTo>
                  <a:lnTo>
                    <a:pt x="296" y="4"/>
                  </a:lnTo>
                  <a:lnTo>
                    <a:pt x="296" y="2"/>
                  </a:lnTo>
                  <a:lnTo>
                    <a:pt x="294" y="2"/>
                  </a:lnTo>
                  <a:lnTo>
                    <a:pt x="294" y="2"/>
                  </a:lnTo>
                  <a:lnTo>
                    <a:pt x="288" y="0"/>
                  </a:lnTo>
                  <a:lnTo>
                    <a:pt x="284" y="0"/>
                  </a:lnTo>
                  <a:lnTo>
                    <a:pt x="282" y="0"/>
                  </a:lnTo>
                  <a:lnTo>
                    <a:pt x="282" y="4"/>
                  </a:lnTo>
                  <a:lnTo>
                    <a:pt x="281" y="6"/>
                  </a:lnTo>
                  <a:lnTo>
                    <a:pt x="281" y="6"/>
                  </a:lnTo>
                  <a:lnTo>
                    <a:pt x="277" y="8"/>
                  </a:lnTo>
                  <a:lnTo>
                    <a:pt x="277" y="10"/>
                  </a:lnTo>
                  <a:lnTo>
                    <a:pt x="277" y="10"/>
                  </a:lnTo>
                  <a:lnTo>
                    <a:pt x="277" y="14"/>
                  </a:lnTo>
                  <a:lnTo>
                    <a:pt x="277" y="14"/>
                  </a:lnTo>
                  <a:lnTo>
                    <a:pt x="275" y="14"/>
                  </a:lnTo>
                  <a:lnTo>
                    <a:pt x="273" y="18"/>
                  </a:lnTo>
                  <a:lnTo>
                    <a:pt x="273" y="19"/>
                  </a:lnTo>
                  <a:lnTo>
                    <a:pt x="273" y="19"/>
                  </a:lnTo>
                  <a:lnTo>
                    <a:pt x="271" y="19"/>
                  </a:lnTo>
                  <a:lnTo>
                    <a:pt x="269" y="19"/>
                  </a:lnTo>
                  <a:lnTo>
                    <a:pt x="267" y="21"/>
                  </a:lnTo>
                  <a:lnTo>
                    <a:pt x="265" y="21"/>
                  </a:lnTo>
                  <a:lnTo>
                    <a:pt x="263" y="23"/>
                  </a:lnTo>
                  <a:lnTo>
                    <a:pt x="262" y="23"/>
                  </a:lnTo>
                  <a:lnTo>
                    <a:pt x="262" y="23"/>
                  </a:lnTo>
                  <a:lnTo>
                    <a:pt x="256" y="23"/>
                  </a:lnTo>
                  <a:lnTo>
                    <a:pt x="254" y="21"/>
                  </a:lnTo>
                  <a:lnTo>
                    <a:pt x="250" y="23"/>
                  </a:lnTo>
                  <a:lnTo>
                    <a:pt x="250" y="23"/>
                  </a:lnTo>
                  <a:lnTo>
                    <a:pt x="246" y="21"/>
                  </a:lnTo>
                  <a:lnTo>
                    <a:pt x="244" y="21"/>
                  </a:lnTo>
                  <a:lnTo>
                    <a:pt x="242" y="19"/>
                  </a:lnTo>
                  <a:lnTo>
                    <a:pt x="239" y="16"/>
                  </a:lnTo>
                  <a:lnTo>
                    <a:pt x="235" y="14"/>
                  </a:lnTo>
                  <a:lnTo>
                    <a:pt x="233" y="16"/>
                  </a:lnTo>
                  <a:lnTo>
                    <a:pt x="233" y="16"/>
                  </a:lnTo>
                  <a:lnTo>
                    <a:pt x="233" y="18"/>
                  </a:lnTo>
                  <a:lnTo>
                    <a:pt x="233" y="19"/>
                  </a:lnTo>
                  <a:lnTo>
                    <a:pt x="233" y="19"/>
                  </a:lnTo>
                  <a:lnTo>
                    <a:pt x="231" y="21"/>
                  </a:lnTo>
                  <a:lnTo>
                    <a:pt x="229" y="23"/>
                  </a:lnTo>
                  <a:lnTo>
                    <a:pt x="227" y="23"/>
                  </a:lnTo>
                  <a:lnTo>
                    <a:pt x="223" y="23"/>
                  </a:lnTo>
                  <a:lnTo>
                    <a:pt x="222" y="25"/>
                  </a:lnTo>
                  <a:lnTo>
                    <a:pt x="222" y="25"/>
                  </a:lnTo>
                  <a:lnTo>
                    <a:pt x="222" y="27"/>
                  </a:lnTo>
                  <a:lnTo>
                    <a:pt x="222" y="29"/>
                  </a:lnTo>
                  <a:lnTo>
                    <a:pt x="222" y="29"/>
                  </a:lnTo>
                  <a:lnTo>
                    <a:pt x="220" y="31"/>
                  </a:lnTo>
                  <a:lnTo>
                    <a:pt x="218" y="33"/>
                  </a:lnTo>
                  <a:lnTo>
                    <a:pt x="212" y="33"/>
                  </a:lnTo>
                  <a:lnTo>
                    <a:pt x="212" y="35"/>
                  </a:lnTo>
                  <a:lnTo>
                    <a:pt x="210" y="37"/>
                  </a:lnTo>
                  <a:lnTo>
                    <a:pt x="210" y="37"/>
                  </a:lnTo>
                  <a:lnTo>
                    <a:pt x="206" y="37"/>
                  </a:lnTo>
                  <a:lnTo>
                    <a:pt x="199" y="37"/>
                  </a:lnTo>
                  <a:lnTo>
                    <a:pt x="185" y="35"/>
                  </a:lnTo>
                  <a:lnTo>
                    <a:pt x="183" y="35"/>
                  </a:lnTo>
                  <a:lnTo>
                    <a:pt x="180" y="35"/>
                  </a:lnTo>
                  <a:lnTo>
                    <a:pt x="170" y="35"/>
                  </a:lnTo>
                  <a:lnTo>
                    <a:pt x="168" y="35"/>
                  </a:lnTo>
                  <a:lnTo>
                    <a:pt x="162" y="31"/>
                  </a:lnTo>
                  <a:lnTo>
                    <a:pt x="161" y="31"/>
                  </a:lnTo>
                  <a:lnTo>
                    <a:pt x="155" y="31"/>
                  </a:lnTo>
                  <a:lnTo>
                    <a:pt x="153" y="31"/>
                  </a:lnTo>
                  <a:lnTo>
                    <a:pt x="147" y="33"/>
                  </a:lnTo>
                  <a:lnTo>
                    <a:pt x="145" y="35"/>
                  </a:lnTo>
                  <a:lnTo>
                    <a:pt x="143" y="35"/>
                  </a:lnTo>
                  <a:lnTo>
                    <a:pt x="140" y="35"/>
                  </a:lnTo>
                  <a:lnTo>
                    <a:pt x="138" y="31"/>
                  </a:lnTo>
                  <a:lnTo>
                    <a:pt x="134" y="27"/>
                  </a:lnTo>
                  <a:lnTo>
                    <a:pt x="132" y="25"/>
                  </a:lnTo>
                  <a:lnTo>
                    <a:pt x="128" y="25"/>
                  </a:lnTo>
                  <a:lnTo>
                    <a:pt x="126" y="27"/>
                  </a:lnTo>
                  <a:lnTo>
                    <a:pt x="126" y="29"/>
                  </a:lnTo>
                  <a:lnTo>
                    <a:pt x="126" y="29"/>
                  </a:lnTo>
                  <a:lnTo>
                    <a:pt x="126" y="31"/>
                  </a:lnTo>
                  <a:lnTo>
                    <a:pt x="126" y="31"/>
                  </a:lnTo>
                  <a:lnTo>
                    <a:pt x="128" y="33"/>
                  </a:lnTo>
                  <a:lnTo>
                    <a:pt x="130" y="38"/>
                  </a:lnTo>
                  <a:lnTo>
                    <a:pt x="132" y="42"/>
                  </a:lnTo>
                  <a:lnTo>
                    <a:pt x="132" y="44"/>
                  </a:lnTo>
                  <a:lnTo>
                    <a:pt x="132" y="46"/>
                  </a:lnTo>
                  <a:lnTo>
                    <a:pt x="130" y="46"/>
                  </a:lnTo>
                  <a:lnTo>
                    <a:pt x="130" y="48"/>
                  </a:lnTo>
                  <a:lnTo>
                    <a:pt x="128" y="50"/>
                  </a:lnTo>
                  <a:lnTo>
                    <a:pt x="128" y="50"/>
                  </a:lnTo>
                  <a:lnTo>
                    <a:pt x="126" y="50"/>
                  </a:lnTo>
                  <a:lnTo>
                    <a:pt x="126" y="52"/>
                  </a:lnTo>
                  <a:lnTo>
                    <a:pt x="124" y="56"/>
                  </a:lnTo>
                  <a:lnTo>
                    <a:pt x="124" y="56"/>
                  </a:lnTo>
                  <a:lnTo>
                    <a:pt x="124" y="57"/>
                  </a:lnTo>
                  <a:lnTo>
                    <a:pt x="122" y="57"/>
                  </a:lnTo>
                  <a:lnTo>
                    <a:pt x="122" y="57"/>
                  </a:lnTo>
                  <a:lnTo>
                    <a:pt x="122" y="59"/>
                  </a:lnTo>
                  <a:lnTo>
                    <a:pt x="124" y="61"/>
                  </a:lnTo>
                  <a:lnTo>
                    <a:pt x="124" y="63"/>
                  </a:lnTo>
                  <a:lnTo>
                    <a:pt x="126" y="65"/>
                  </a:lnTo>
                  <a:lnTo>
                    <a:pt x="126" y="65"/>
                  </a:lnTo>
                  <a:lnTo>
                    <a:pt x="128" y="67"/>
                  </a:lnTo>
                  <a:lnTo>
                    <a:pt x="128" y="65"/>
                  </a:lnTo>
                  <a:lnTo>
                    <a:pt x="132" y="63"/>
                  </a:lnTo>
                  <a:lnTo>
                    <a:pt x="134" y="63"/>
                  </a:lnTo>
                  <a:lnTo>
                    <a:pt x="136" y="61"/>
                  </a:lnTo>
                  <a:lnTo>
                    <a:pt x="138" y="59"/>
                  </a:lnTo>
                  <a:lnTo>
                    <a:pt x="138" y="59"/>
                  </a:lnTo>
                  <a:lnTo>
                    <a:pt x="140" y="61"/>
                  </a:lnTo>
                  <a:lnTo>
                    <a:pt x="141" y="61"/>
                  </a:lnTo>
                  <a:lnTo>
                    <a:pt x="147" y="63"/>
                  </a:lnTo>
                  <a:lnTo>
                    <a:pt x="151" y="63"/>
                  </a:lnTo>
                  <a:lnTo>
                    <a:pt x="153" y="65"/>
                  </a:lnTo>
                  <a:lnTo>
                    <a:pt x="157" y="67"/>
                  </a:lnTo>
                  <a:lnTo>
                    <a:pt x="159" y="73"/>
                  </a:lnTo>
                  <a:lnTo>
                    <a:pt x="161" y="75"/>
                  </a:lnTo>
                  <a:lnTo>
                    <a:pt x="161" y="75"/>
                  </a:lnTo>
                  <a:lnTo>
                    <a:pt x="162" y="75"/>
                  </a:lnTo>
                  <a:lnTo>
                    <a:pt x="162" y="75"/>
                  </a:lnTo>
                  <a:lnTo>
                    <a:pt x="162" y="76"/>
                  </a:lnTo>
                  <a:lnTo>
                    <a:pt x="164" y="78"/>
                  </a:lnTo>
                  <a:lnTo>
                    <a:pt x="164" y="78"/>
                  </a:lnTo>
                  <a:lnTo>
                    <a:pt x="170" y="76"/>
                  </a:lnTo>
                  <a:lnTo>
                    <a:pt x="170" y="76"/>
                  </a:lnTo>
                  <a:lnTo>
                    <a:pt x="172" y="78"/>
                  </a:lnTo>
                  <a:lnTo>
                    <a:pt x="174" y="78"/>
                  </a:lnTo>
                  <a:lnTo>
                    <a:pt x="176" y="82"/>
                  </a:lnTo>
                  <a:lnTo>
                    <a:pt x="178" y="84"/>
                  </a:lnTo>
                  <a:lnTo>
                    <a:pt x="178" y="86"/>
                  </a:lnTo>
                  <a:lnTo>
                    <a:pt x="176" y="94"/>
                  </a:lnTo>
                  <a:lnTo>
                    <a:pt x="176" y="97"/>
                  </a:lnTo>
                  <a:lnTo>
                    <a:pt x="176" y="99"/>
                  </a:lnTo>
                  <a:lnTo>
                    <a:pt x="174" y="103"/>
                  </a:lnTo>
                  <a:lnTo>
                    <a:pt x="172" y="105"/>
                  </a:lnTo>
                  <a:lnTo>
                    <a:pt x="170" y="105"/>
                  </a:lnTo>
                  <a:lnTo>
                    <a:pt x="168" y="103"/>
                  </a:lnTo>
                  <a:lnTo>
                    <a:pt x="166" y="105"/>
                  </a:lnTo>
                  <a:lnTo>
                    <a:pt x="162" y="107"/>
                  </a:lnTo>
                  <a:lnTo>
                    <a:pt x="157" y="109"/>
                  </a:lnTo>
                  <a:lnTo>
                    <a:pt x="155" y="111"/>
                  </a:lnTo>
                  <a:lnTo>
                    <a:pt x="155" y="113"/>
                  </a:lnTo>
                  <a:lnTo>
                    <a:pt x="155" y="114"/>
                  </a:lnTo>
                  <a:lnTo>
                    <a:pt x="155" y="118"/>
                  </a:lnTo>
                  <a:lnTo>
                    <a:pt x="155" y="120"/>
                  </a:lnTo>
                  <a:lnTo>
                    <a:pt x="151" y="124"/>
                  </a:lnTo>
                  <a:lnTo>
                    <a:pt x="147" y="126"/>
                  </a:lnTo>
                  <a:lnTo>
                    <a:pt x="145" y="128"/>
                  </a:lnTo>
                  <a:lnTo>
                    <a:pt x="143" y="128"/>
                  </a:lnTo>
                  <a:lnTo>
                    <a:pt x="141" y="130"/>
                  </a:lnTo>
                  <a:lnTo>
                    <a:pt x="140" y="132"/>
                  </a:lnTo>
                  <a:lnTo>
                    <a:pt x="140" y="134"/>
                  </a:lnTo>
                  <a:lnTo>
                    <a:pt x="140" y="135"/>
                  </a:lnTo>
                  <a:lnTo>
                    <a:pt x="141" y="139"/>
                  </a:lnTo>
                  <a:lnTo>
                    <a:pt x="140" y="141"/>
                  </a:lnTo>
                  <a:lnTo>
                    <a:pt x="138" y="143"/>
                  </a:lnTo>
                  <a:lnTo>
                    <a:pt x="138" y="145"/>
                  </a:lnTo>
                  <a:lnTo>
                    <a:pt x="140" y="147"/>
                  </a:lnTo>
                  <a:lnTo>
                    <a:pt x="140" y="149"/>
                  </a:lnTo>
                  <a:lnTo>
                    <a:pt x="138" y="149"/>
                  </a:lnTo>
                  <a:lnTo>
                    <a:pt x="136" y="149"/>
                  </a:lnTo>
                  <a:lnTo>
                    <a:pt x="130" y="153"/>
                  </a:lnTo>
                  <a:lnTo>
                    <a:pt x="128" y="154"/>
                  </a:lnTo>
                  <a:lnTo>
                    <a:pt x="128" y="156"/>
                  </a:lnTo>
                  <a:lnTo>
                    <a:pt x="128" y="158"/>
                  </a:lnTo>
                  <a:lnTo>
                    <a:pt x="128" y="160"/>
                  </a:lnTo>
                  <a:lnTo>
                    <a:pt x="126" y="160"/>
                  </a:lnTo>
                  <a:lnTo>
                    <a:pt x="124" y="160"/>
                  </a:lnTo>
                  <a:lnTo>
                    <a:pt x="122" y="162"/>
                  </a:lnTo>
                  <a:lnTo>
                    <a:pt x="121" y="162"/>
                  </a:lnTo>
                  <a:lnTo>
                    <a:pt x="119" y="162"/>
                  </a:lnTo>
                  <a:lnTo>
                    <a:pt x="115" y="164"/>
                  </a:lnTo>
                  <a:lnTo>
                    <a:pt x="113" y="166"/>
                  </a:lnTo>
                  <a:lnTo>
                    <a:pt x="113" y="168"/>
                  </a:lnTo>
                  <a:lnTo>
                    <a:pt x="111" y="168"/>
                  </a:lnTo>
                  <a:lnTo>
                    <a:pt x="109" y="170"/>
                  </a:lnTo>
                  <a:lnTo>
                    <a:pt x="107" y="170"/>
                  </a:lnTo>
                  <a:lnTo>
                    <a:pt x="107" y="170"/>
                  </a:lnTo>
                  <a:lnTo>
                    <a:pt x="105" y="170"/>
                  </a:lnTo>
                  <a:lnTo>
                    <a:pt x="103" y="166"/>
                  </a:lnTo>
                  <a:lnTo>
                    <a:pt x="103" y="166"/>
                  </a:lnTo>
                  <a:lnTo>
                    <a:pt x="101" y="164"/>
                  </a:lnTo>
                  <a:lnTo>
                    <a:pt x="100" y="164"/>
                  </a:lnTo>
                  <a:lnTo>
                    <a:pt x="98" y="166"/>
                  </a:lnTo>
                  <a:lnTo>
                    <a:pt x="96" y="168"/>
                  </a:lnTo>
                  <a:lnTo>
                    <a:pt x="94" y="168"/>
                  </a:lnTo>
                  <a:lnTo>
                    <a:pt x="92" y="170"/>
                  </a:lnTo>
                  <a:lnTo>
                    <a:pt x="90" y="170"/>
                  </a:lnTo>
                  <a:lnTo>
                    <a:pt x="88" y="170"/>
                  </a:lnTo>
                  <a:lnTo>
                    <a:pt x="88" y="170"/>
                  </a:lnTo>
                  <a:lnTo>
                    <a:pt x="86" y="168"/>
                  </a:lnTo>
                  <a:lnTo>
                    <a:pt x="86" y="166"/>
                  </a:lnTo>
                  <a:lnTo>
                    <a:pt x="86" y="166"/>
                  </a:lnTo>
                  <a:lnTo>
                    <a:pt x="84" y="166"/>
                  </a:lnTo>
                  <a:lnTo>
                    <a:pt x="84" y="168"/>
                  </a:lnTo>
                  <a:lnTo>
                    <a:pt x="81" y="172"/>
                  </a:lnTo>
                  <a:lnTo>
                    <a:pt x="79" y="173"/>
                  </a:lnTo>
                  <a:lnTo>
                    <a:pt x="79" y="177"/>
                  </a:lnTo>
                  <a:lnTo>
                    <a:pt x="81" y="181"/>
                  </a:lnTo>
                  <a:lnTo>
                    <a:pt x="79" y="183"/>
                  </a:lnTo>
                  <a:lnTo>
                    <a:pt x="79" y="185"/>
                  </a:lnTo>
                  <a:lnTo>
                    <a:pt x="77" y="189"/>
                  </a:lnTo>
                  <a:lnTo>
                    <a:pt x="73" y="191"/>
                  </a:lnTo>
                  <a:lnTo>
                    <a:pt x="73" y="192"/>
                  </a:lnTo>
                  <a:lnTo>
                    <a:pt x="71" y="192"/>
                  </a:lnTo>
                  <a:lnTo>
                    <a:pt x="71" y="194"/>
                  </a:lnTo>
                  <a:lnTo>
                    <a:pt x="71" y="200"/>
                  </a:lnTo>
                  <a:lnTo>
                    <a:pt x="69" y="202"/>
                  </a:lnTo>
                  <a:lnTo>
                    <a:pt x="69" y="202"/>
                  </a:lnTo>
                  <a:lnTo>
                    <a:pt x="67" y="202"/>
                  </a:lnTo>
                  <a:lnTo>
                    <a:pt x="67" y="202"/>
                  </a:lnTo>
                  <a:lnTo>
                    <a:pt x="67" y="204"/>
                  </a:lnTo>
                  <a:lnTo>
                    <a:pt x="67" y="206"/>
                  </a:lnTo>
                  <a:lnTo>
                    <a:pt x="69" y="206"/>
                  </a:lnTo>
                  <a:lnTo>
                    <a:pt x="69" y="208"/>
                  </a:lnTo>
                  <a:lnTo>
                    <a:pt x="67" y="210"/>
                  </a:lnTo>
                  <a:lnTo>
                    <a:pt x="67" y="210"/>
                  </a:lnTo>
                  <a:lnTo>
                    <a:pt x="65" y="210"/>
                  </a:lnTo>
                  <a:lnTo>
                    <a:pt x="63" y="206"/>
                  </a:lnTo>
                  <a:lnTo>
                    <a:pt x="61" y="204"/>
                  </a:lnTo>
                  <a:lnTo>
                    <a:pt x="61" y="204"/>
                  </a:lnTo>
                  <a:lnTo>
                    <a:pt x="60" y="206"/>
                  </a:lnTo>
                  <a:lnTo>
                    <a:pt x="58" y="208"/>
                  </a:lnTo>
                  <a:lnTo>
                    <a:pt x="54" y="217"/>
                  </a:lnTo>
                  <a:lnTo>
                    <a:pt x="54" y="219"/>
                  </a:lnTo>
                  <a:lnTo>
                    <a:pt x="52" y="223"/>
                  </a:lnTo>
                  <a:lnTo>
                    <a:pt x="54" y="229"/>
                  </a:lnTo>
                  <a:lnTo>
                    <a:pt x="52" y="234"/>
                  </a:lnTo>
                  <a:lnTo>
                    <a:pt x="50" y="236"/>
                  </a:lnTo>
                  <a:lnTo>
                    <a:pt x="48" y="238"/>
                  </a:lnTo>
                  <a:lnTo>
                    <a:pt x="46" y="238"/>
                  </a:lnTo>
                  <a:lnTo>
                    <a:pt x="44" y="240"/>
                  </a:lnTo>
                  <a:lnTo>
                    <a:pt x="42" y="242"/>
                  </a:lnTo>
                  <a:lnTo>
                    <a:pt x="42" y="251"/>
                  </a:lnTo>
                  <a:lnTo>
                    <a:pt x="42" y="253"/>
                  </a:lnTo>
                  <a:lnTo>
                    <a:pt x="42" y="255"/>
                  </a:lnTo>
                  <a:lnTo>
                    <a:pt x="42" y="265"/>
                  </a:lnTo>
                  <a:lnTo>
                    <a:pt x="42" y="267"/>
                  </a:lnTo>
                  <a:lnTo>
                    <a:pt x="40" y="270"/>
                  </a:lnTo>
                  <a:lnTo>
                    <a:pt x="40" y="274"/>
                  </a:lnTo>
                  <a:lnTo>
                    <a:pt x="39" y="278"/>
                  </a:lnTo>
                  <a:lnTo>
                    <a:pt x="39" y="284"/>
                  </a:lnTo>
                  <a:lnTo>
                    <a:pt x="37" y="286"/>
                  </a:lnTo>
                  <a:lnTo>
                    <a:pt x="35" y="288"/>
                  </a:lnTo>
                  <a:lnTo>
                    <a:pt x="33" y="289"/>
                  </a:lnTo>
                  <a:lnTo>
                    <a:pt x="27" y="293"/>
                  </a:lnTo>
                  <a:lnTo>
                    <a:pt x="21" y="297"/>
                  </a:lnTo>
                  <a:lnTo>
                    <a:pt x="20" y="297"/>
                  </a:lnTo>
                  <a:lnTo>
                    <a:pt x="20" y="299"/>
                  </a:lnTo>
                  <a:lnTo>
                    <a:pt x="18" y="299"/>
                  </a:lnTo>
                  <a:lnTo>
                    <a:pt x="18" y="301"/>
                  </a:lnTo>
                  <a:lnTo>
                    <a:pt x="18" y="307"/>
                  </a:lnTo>
                  <a:lnTo>
                    <a:pt x="16" y="310"/>
                  </a:lnTo>
                  <a:lnTo>
                    <a:pt x="16" y="312"/>
                  </a:lnTo>
                  <a:lnTo>
                    <a:pt x="16" y="312"/>
                  </a:lnTo>
                  <a:lnTo>
                    <a:pt x="16" y="316"/>
                  </a:lnTo>
                  <a:lnTo>
                    <a:pt x="18" y="318"/>
                  </a:lnTo>
                  <a:lnTo>
                    <a:pt x="18" y="318"/>
                  </a:lnTo>
                  <a:lnTo>
                    <a:pt x="20" y="318"/>
                  </a:lnTo>
                  <a:lnTo>
                    <a:pt x="20" y="320"/>
                  </a:lnTo>
                  <a:lnTo>
                    <a:pt x="20" y="320"/>
                  </a:lnTo>
                  <a:lnTo>
                    <a:pt x="21" y="320"/>
                  </a:lnTo>
                  <a:lnTo>
                    <a:pt x="21" y="320"/>
                  </a:lnTo>
                  <a:lnTo>
                    <a:pt x="21" y="320"/>
                  </a:lnTo>
                  <a:lnTo>
                    <a:pt x="23" y="320"/>
                  </a:lnTo>
                  <a:lnTo>
                    <a:pt x="25" y="320"/>
                  </a:lnTo>
                  <a:lnTo>
                    <a:pt x="25" y="320"/>
                  </a:lnTo>
                  <a:lnTo>
                    <a:pt x="25" y="320"/>
                  </a:lnTo>
                  <a:lnTo>
                    <a:pt x="27" y="320"/>
                  </a:lnTo>
                  <a:lnTo>
                    <a:pt x="27" y="322"/>
                  </a:lnTo>
                  <a:lnTo>
                    <a:pt x="27" y="322"/>
                  </a:lnTo>
                  <a:lnTo>
                    <a:pt x="27" y="324"/>
                  </a:lnTo>
                  <a:lnTo>
                    <a:pt x="27" y="326"/>
                  </a:lnTo>
                  <a:lnTo>
                    <a:pt x="27" y="335"/>
                  </a:lnTo>
                  <a:lnTo>
                    <a:pt x="29" y="343"/>
                  </a:lnTo>
                  <a:lnTo>
                    <a:pt x="29" y="345"/>
                  </a:lnTo>
                  <a:lnTo>
                    <a:pt x="27" y="345"/>
                  </a:lnTo>
                  <a:lnTo>
                    <a:pt x="27" y="347"/>
                  </a:lnTo>
                  <a:lnTo>
                    <a:pt x="23" y="348"/>
                  </a:lnTo>
                  <a:lnTo>
                    <a:pt x="23" y="348"/>
                  </a:lnTo>
                  <a:lnTo>
                    <a:pt x="21" y="348"/>
                  </a:lnTo>
                  <a:lnTo>
                    <a:pt x="21" y="350"/>
                  </a:lnTo>
                  <a:lnTo>
                    <a:pt x="21" y="352"/>
                  </a:lnTo>
                  <a:lnTo>
                    <a:pt x="21" y="352"/>
                  </a:lnTo>
                  <a:lnTo>
                    <a:pt x="21" y="352"/>
                  </a:lnTo>
                  <a:lnTo>
                    <a:pt x="21" y="354"/>
                  </a:lnTo>
                  <a:lnTo>
                    <a:pt x="23" y="354"/>
                  </a:lnTo>
                  <a:lnTo>
                    <a:pt x="23" y="354"/>
                  </a:lnTo>
                  <a:lnTo>
                    <a:pt x="23" y="354"/>
                  </a:lnTo>
                  <a:lnTo>
                    <a:pt x="25" y="354"/>
                  </a:lnTo>
                  <a:lnTo>
                    <a:pt x="27" y="352"/>
                  </a:lnTo>
                  <a:lnTo>
                    <a:pt x="27" y="350"/>
                  </a:lnTo>
                  <a:lnTo>
                    <a:pt x="29" y="350"/>
                  </a:lnTo>
                  <a:lnTo>
                    <a:pt x="29" y="350"/>
                  </a:lnTo>
                  <a:lnTo>
                    <a:pt x="29" y="350"/>
                  </a:lnTo>
                  <a:lnTo>
                    <a:pt x="31" y="352"/>
                  </a:lnTo>
                  <a:lnTo>
                    <a:pt x="33" y="352"/>
                  </a:lnTo>
                  <a:lnTo>
                    <a:pt x="33" y="352"/>
                  </a:lnTo>
                  <a:lnTo>
                    <a:pt x="33" y="352"/>
                  </a:lnTo>
                  <a:lnTo>
                    <a:pt x="33" y="352"/>
                  </a:lnTo>
                  <a:lnTo>
                    <a:pt x="33" y="354"/>
                  </a:lnTo>
                  <a:lnTo>
                    <a:pt x="33" y="354"/>
                  </a:lnTo>
                  <a:lnTo>
                    <a:pt x="33" y="358"/>
                  </a:lnTo>
                  <a:lnTo>
                    <a:pt x="33" y="360"/>
                  </a:lnTo>
                  <a:lnTo>
                    <a:pt x="33" y="360"/>
                  </a:lnTo>
                  <a:lnTo>
                    <a:pt x="35" y="360"/>
                  </a:lnTo>
                  <a:lnTo>
                    <a:pt x="35" y="362"/>
                  </a:lnTo>
                  <a:lnTo>
                    <a:pt x="35" y="362"/>
                  </a:lnTo>
                  <a:lnTo>
                    <a:pt x="33" y="364"/>
                  </a:lnTo>
                  <a:lnTo>
                    <a:pt x="33" y="366"/>
                  </a:lnTo>
                  <a:lnTo>
                    <a:pt x="33" y="366"/>
                  </a:lnTo>
                  <a:lnTo>
                    <a:pt x="33" y="371"/>
                  </a:lnTo>
                  <a:lnTo>
                    <a:pt x="33" y="373"/>
                  </a:lnTo>
                  <a:lnTo>
                    <a:pt x="33" y="375"/>
                  </a:lnTo>
                  <a:lnTo>
                    <a:pt x="33" y="377"/>
                  </a:lnTo>
                  <a:lnTo>
                    <a:pt x="33" y="377"/>
                  </a:lnTo>
                  <a:lnTo>
                    <a:pt x="33" y="379"/>
                  </a:lnTo>
                  <a:lnTo>
                    <a:pt x="33" y="379"/>
                  </a:lnTo>
                  <a:lnTo>
                    <a:pt x="33" y="381"/>
                  </a:lnTo>
                  <a:lnTo>
                    <a:pt x="31" y="381"/>
                  </a:lnTo>
                  <a:lnTo>
                    <a:pt x="29" y="381"/>
                  </a:lnTo>
                  <a:lnTo>
                    <a:pt x="29" y="383"/>
                  </a:lnTo>
                  <a:lnTo>
                    <a:pt x="27" y="385"/>
                  </a:lnTo>
                  <a:lnTo>
                    <a:pt x="25" y="385"/>
                  </a:lnTo>
                  <a:lnTo>
                    <a:pt x="23" y="385"/>
                  </a:lnTo>
                  <a:lnTo>
                    <a:pt x="23" y="386"/>
                  </a:lnTo>
                  <a:lnTo>
                    <a:pt x="18" y="386"/>
                  </a:lnTo>
                  <a:lnTo>
                    <a:pt x="16" y="386"/>
                  </a:lnTo>
                  <a:lnTo>
                    <a:pt x="16" y="386"/>
                  </a:lnTo>
                  <a:lnTo>
                    <a:pt x="16" y="388"/>
                  </a:lnTo>
                  <a:lnTo>
                    <a:pt x="16" y="390"/>
                  </a:lnTo>
                  <a:lnTo>
                    <a:pt x="16" y="390"/>
                  </a:lnTo>
                  <a:lnTo>
                    <a:pt x="16" y="392"/>
                  </a:lnTo>
                  <a:lnTo>
                    <a:pt x="14" y="396"/>
                  </a:lnTo>
                  <a:lnTo>
                    <a:pt x="14" y="396"/>
                  </a:lnTo>
                  <a:lnTo>
                    <a:pt x="14" y="396"/>
                  </a:lnTo>
                  <a:lnTo>
                    <a:pt x="16" y="398"/>
                  </a:lnTo>
                  <a:lnTo>
                    <a:pt x="23" y="398"/>
                  </a:lnTo>
                  <a:lnTo>
                    <a:pt x="23" y="398"/>
                  </a:lnTo>
                  <a:lnTo>
                    <a:pt x="23" y="398"/>
                  </a:lnTo>
                  <a:lnTo>
                    <a:pt x="25" y="398"/>
                  </a:lnTo>
                  <a:lnTo>
                    <a:pt x="27" y="404"/>
                  </a:lnTo>
                  <a:lnTo>
                    <a:pt x="27" y="407"/>
                  </a:lnTo>
                  <a:lnTo>
                    <a:pt x="27" y="407"/>
                  </a:lnTo>
                  <a:lnTo>
                    <a:pt x="27" y="409"/>
                  </a:lnTo>
                  <a:lnTo>
                    <a:pt x="27" y="409"/>
                  </a:lnTo>
                  <a:lnTo>
                    <a:pt x="25" y="411"/>
                  </a:lnTo>
                  <a:lnTo>
                    <a:pt x="25" y="417"/>
                  </a:lnTo>
                  <a:lnTo>
                    <a:pt x="25" y="419"/>
                  </a:lnTo>
                  <a:lnTo>
                    <a:pt x="25" y="419"/>
                  </a:lnTo>
                  <a:lnTo>
                    <a:pt x="25" y="419"/>
                  </a:lnTo>
                  <a:lnTo>
                    <a:pt x="23" y="419"/>
                  </a:lnTo>
                  <a:lnTo>
                    <a:pt x="23" y="419"/>
                  </a:lnTo>
                  <a:lnTo>
                    <a:pt x="21" y="419"/>
                  </a:lnTo>
                  <a:lnTo>
                    <a:pt x="20" y="417"/>
                  </a:lnTo>
                  <a:lnTo>
                    <a:pt x="18" y="417"/>
                  </a:lnTo>
                  <a:lnTo>
                    <a:pt x="18" y="417"/>
                  </a:lnTo>
                  <a:lnTo>
                    <a:pt x="18" y="419"/>
                  </a:lnTo>
                  <a:lnTo>
                    <a:pt x="16" y="421"/>
                  </a:lnTo>
                  <a:lnTo>
                    <a:pt x="16" y="421"/>
                  </a:lnTo>
                  <a:lnTo>
                    <a:pt x="16" y="423"/>
                  </a:lnTo>
                  <a:lnTo>
                    <a:pt x="16" y="423"/>
                  </a:lnTo>
                  <a:lnTo>
                    <a:pt x="16" y="423"/>
                  </a:lnTo>
                  <a:lnTo>
                    <a:pt x="16" y="423"/>
                  </a:lnTo>
                  <a:lnTo>
                    <a:pt x="18" y="423"/>
                  </a:lnTo>
                  <a:lnTo>
                    <a:pt x="20" y="424"/>
                  </a:lnTo>
                  <a:lnTo>
                    <a:pt x="20" y="424"/>
                  </a:lnTo>
                  <a:lnTo>
                    <a:pt x="21" y="424"/>
                  </a:lnTo>
                  <a:lnTo>
                    <a:pt x="21" y="426"/>
                  </a:lnTo>
                  <a:lnTo>
                    <a:pt x="20" y="426"/>
                  </a:lnTo>
                  <a:lnTo>
                    <a:pt x="20" y="426"/>
                  </a:lnTo>
                  <a:lnTo>
                    <a:pt x="20" y="428"/>
                  </a:lnTo>
                  <a:lnTo>
                    <a:pt x="20" y="428"/>
                  </a:lnTo>
                  <a:lnTo>
                    <a:pt x="20" y="428"/>
                  </a:lnTo>
                  <a:lnTo>
                    <a:pt x="18" y="430"/>
                  </a:lnTo>
                  <a:lnTo>
                    <a:pt x="16" y="430"/>
                  </a:lnTo>
                  <a:lnTo>
                    <a:pt x="14" y="430"/>
                  </a:lnTo>
                  <a:lnTo>
                    <a:pt x="14" y="432"/>
                  </a:lnTo>
                  <a:lnTo>
                    <a:pt x="14" y="432"/>
                  </a:lnTo>
                  <a:lnTo>
                    <a:pt x="14" y="432"/>
                  </a:lnTo>
                  <a:lnTo>
                    <a:pt x="14" y="434"/>
                  </a:lnTo>
                  <a:lnTo>
                    <a:pt x="16" y="434"/>
                  </a:lnTo>
                  <a:lnTo>
                    <a:pt x="18" y="434"/>
                  </a:lnTo>
                  <a:lnTo>
                    <a:pt x="20" y="434"/>
                  </a:lnTo>
                  <a:lnTo>
                    <a:pt x="20" y="434"/>
                  </a:lnTo>
                  <a:lnTo>
                    <a:pt x="21" y="434"/>
                  </a:lnTo>
                  <a:lnTo>
                    <a:pt x="21" y="434"/>
                  </a:lnTo>
                  <a:lnTo>
                    <a:pt x="21" y="434"/>
                  </a:lnTo>
                  <a:lnTo>
                    <a:pt x="21" y="434"/>
                  </a:lnTo>
                  <a:lnTo>
                    <a:pt x="21" y="432"/>
                  </a:lnTo>
                  <a:lnTo>
                    <a:pt x="21" y="432"/>
                  </a:lnTo>
                  <a:lnTo>
                    <a:pt x="21" y="432"/>
                  </a:lnTo>
                  <a:lnTo>
                    <a:pt x="21" y="432"/>
                  </a:lnTo>
                  <a:lnTo>
                    <a:pt x="21" y="430"/>
                  </a:lnTo>
                  <a:lnTo>
                    <a:pt x="21" y="430"/>
                  </a:lnTo>
                  <a:lnTo>
                    <a:pt x="23" y="430"/>
                  </a:lnTo>
                  <a:lnTo>
                    <a:pt x="23" y="430"/>
                  </a:lnTo>
                  <a:lnTo>
                    <a:pt x="25" y="430"/>
                  </a:lnTo>
                  <a:lnTo>
                    <a:pt x="25" y="430"/>
                  </a:lnTo>
                  <a:lnTo>
                    <a:pt x="25" y="430"/>
                  </a:lnTo>
                  <a:lnTo>
                    <a:pt x="27" y="432"/>
                  </a:lnTo>
                  <a:lnTo>
                    <a:pt x="27" y="436"/>
                  </a:lnTo>
                  <a:lnTo>
                    <a:pt x="27" y="438"/>
                  </a:lnTo>
                  <a:lnTo>
                    <a:pt x="29" y="438"/>
                  </a:lnTo>
                  <a:lnTo>
                    <a:pt x="31" y="440"/>
                  </a:lnTo>
                  <a:lnTo>
                    <a:pt x="31" y="440"/>
                  </a:lnTo>
                  <a:lnTo>
                    <a:pt x="35" y="440"/>
                  </a:lnTo>
                  <a:lnTo>
                    <a:pt x="37" y="442"/>
                  </a:lnTo>
                  <a:lnTo>
                    <a:pt x="37" y="442"/>
                  </a:lnTo>
                  <a:lnTo>
                    <a:pt x="37" y="442"/>
                  </a:lnTo>
                  <a:lnTo>
                    <a:pt x="39" y="444"/>
                  </a:lnTo>
                  <a:lnTo>
                    <a:pt x="39" y="449"/>
                  </a:lnTo>
                  <a:lnTo>
                    <a:pt x="40" y="449"/>
                  </a:lnTo>
                  <a:lnTo>
                    <a:pt x="40" y="451"/>
                  </a:lnTo>
                  <a:lnTo>
                    <a:pt x="42" y="451"/>
                  </a:lnTo>
                  <a:lnTo>
                    <a:pt x="46" y="453"/>
                  </a:lnTo>
                  <a:lnTo>
                    <a:pt x="48" y="453"/>
                  </a:lnTo>
                  <a:lnTo>
                    <a:pt x="50" y="455"/>
                  </a:lnTo>
                  <a:lnTo>
                    <a:pt x="52" y="455"/>
                  </a:lnTo>
                  <a:lnTo>
                    <a:pt x="52" y="455"/>
                  </a:lnTo>
                  <a:lnTo>
                    <a:pt x="52" y="455"/>
                  </a:lnTo>
                  <a:lnTo>
                    <a:pt x="54" y="457"/>
                  </a:lnTo>
                  <a:lnTo>
                    <a:pt x="54" y="459"/>
                  </a:lnTo>
                  <a:lnTo>
                    <a:pt x="58" y="461"/>
                  </a:lnTo>
                  <a:lnTo>
                    <a:pt x="58" y="463"/>
                  </a:lnTo>
                  <a:lnTo>
                    <a:pt x="60" y="464"/>
                  </a:lnTo>
                  <a:lnTo>
                    <a:pt x="58" y="464"/>
                  </a:lnTo>
                  <a:lnTo>
                    <a:pt x="58" y="466"/>
                  </a:lnTo>
                  <a:lnTo>
                    <a:pt x="58" y="468"/>
                  </a:lnTo>
                  <a:lnTo>
                    <a:pt x="56" y="468"/>
                  </a:lnTo>
                  <a:lnTo>
                    <a:pt x="54" y="468"/>
                  </a:lnTo>
                  <a:lnTo>
                    <a:pt x="52" y="468"/>
                  </a:lnTo>
                  <a:lnTo>
                    <a:pt x="52" y="470"/>
                  </a:lnTo>
                  <a:lnTo>
                    <a:pt x="50" y="470"/>
                  </a:lnTo>
                  <a:lnTo>
                    <a:pt x="50" y="470"/>
                  </a:lnTo>
                  <a:lnTo>
                    <a:pt x="50" y="472"/>
                  </a:lnTo>
                  <a:lnTo>
                    <a:pt x="52" y="474"/>
                  </a:lnTo>
                  <a:lnTo>
                    <a:pt x="52" y="476"/>
                  </a:lnTo>
                  <a:lnTo>
                    <a:pt x="52" y="476"/>
                  </a:lnTo>
                  <a:lnTo>
                    <a:pt x="52" y="478"/>
                  </a:lnTo>
                  <a:lnTo>
                    <a:pt x="48" y="480"/>
                  </a:lnTo>
                  <a:lnTo>
                    <a:pt x="46" y="480"/>
                  </a:lnTo>
                  <a:lnTo>
                    <a:pt x="44" y="482"/>
                  </a:lnTo>
                  <a:lnTo>
                    <a:pt x="44" y="482"/>
                  </a:lnTo>
                  <a:lnTo>
                    <a:pt x="42" y="483"/>
                  </a:lnTo>
                  <a:lnTo>
                    <a:pt x="42" y="483"/>
                  </a:lnTo>
                  <a:lnTo>
                    <a:pt x="42" y="483"/>
                  </a:lnTo>
                  <a:lnTo>
                    <a:pt x="40" y="482"/>
                  </a:lnTo>
                  <a:lnTo>
                    <a:pt x="40" y="480"/>
                  </a:lnTo>
                  <a:lnTo>
                    <a:pt x="39" y="478"/>
                  </a:lnTo>
                  <a:lnTo>
                    <a:pt x="37" y="478"/>
                  </a:lnTo>
                  <a:lnTo>
                    <a:pt x="35" y="478"/>
                  </a:lnTo>
                  <a:lnTo>
                    <a:pt x="33" y="478"/>
                  </a:lnTo>
                  <a:lnTo>
                    <a:pt x="31" y="476"/>
                  </a:lnTo>
                  <a:lnTo>
                    <a:pt x="31" y="472"/>
                  </a:lnTo>
                  <a:lnTo>
                    <a:pt x="29" y="470"/>
                  </a:lnTo>
                  <a:lnTo>
                    <a:pt x="27" y="472"/>
                  </a:lnTo>
                  <a:lnTo>
                    <a:pt x="25" y="472"/>
                  </a:lnTo>
                  <a:lnTo>
                    <a:pt x="25" y="474"/>
                  </a:lnTo>
                  <a:lnTo>
                    <a:pt x="23" y="476"/>
                  </a:lnTo>
                  <a:lnTo>
                    <a:pt x="23" y="476"/>
                  </a:lnTo>
                  <a:lnTo>
                    <a:pt x="21" y="476"/>
                  </a:lnTo>
                  <a:lnTo>
                    <a:pt x="20" y="478"/>
                  </a:lnTo>
                  <a:lnTo>
                    <a:pt x="20" y="478"/>
                  </a:lnTo>
                  <a:lnTo>
                    <a:pt x="18" y="482"/>
                  </a:lnTo>
                  <a:lnTo>
                    <a:pt x="18" y="483"/>
                  </a:lnTo>
                  <a:lnTo>
                    <a:pt x="16" y="483"/>
                  </a:lnTo>
                  <a:lnTo>
                    <a:pt x="14" y="483"/>
                  </a:lnTo>
                  <a:lnTo>
                    <a:pt x="14" y="485"/>
                  </a:lnTo>
                  <a:lnTo>
                    <a:pt x="12" y="487"/>
                  </a:lnTo>
                  <a:lnTo>
                    <a:pt x="10" y="495"/>
                  </a:lnTo>
                  <a:lnTo>
                    <a:pt x="10" y="497"/>
                  </a:lnTo>
                  <a:lnTo>
                    <a:pt x="10" y="499"/>
                  </a:lnTo>
                  <a:lnTo>
                    <a:pt x="8" y="501"/>
                  </a:lnTo>
                  <a:lnTo>
                    <a:pt x="2" y="508"/>
                  </a:lnTo>
                  <a:lnTo>
                    <a:pt x="0" y="512"/>
                  </a:lnTo>
                  <a:lnTo>
                    <a:pt x="0" y="514"/>
                  </a:lnTo>
                  <a:lnTo>
                    <a:pt x="2" y="518"/>
                  </a:lnTo>
                  <a:lnTo>
                    <a:pt x="8" y="523"/>
                  </a:lnTo>
                  <a:lnTo>
                    <a:pt x="8" y="525"/>
                  </a:lnTo>
                  <a:lnTo>
                    <a:pt x="6" y="527"/>
                  </a:lnTo>
                  <a:lnTo>
                    <a:pt x="0" y="531"/>
                  </a:lnTo>
                  <a:lnTo>
                    <a:pt x="0" y="531"/>
                  </a:lnTo>
                  <a:lnTo>
                    <a:pt x="0" y="533"/>
                  </a:lnTo>
                  <a:lnTo>
                    <a:pt x="0" y="535"/>
                  </a:lnTo>
                  <a:lnTo>
                    <a:pt x="0" y="535"/>
                  </a:lnTo>
                  <a:lnTo>
                    <a:pt x="0" y="537"/>
                  </a:lnTo>
                  <a:lnTo>
                    <a:pt x="2" y="537"/>
                  </a:lnTo>
                  <a:lnTo>
                    <a:pt x="2" y="537"/>
                  </a:lnTo>
                  <a:lnTo>
                    <a:pt x="4" y="539"/>
                  </a:lnTo>
                  <a:lnTo>
                    <a:pt x="4" y="539"/>
                  </a:lnTo>
                  <a:lnTo>
                    <a:pt x="4" y="541"/>
                  </a:lnTo>
                  <a:lnTo>
                    <a:pt x="4" y="541"/>
                  </a:lnTo>
                  <a:lnTo>
                    <a:pt x="4" y="542"/>
                  </a:lnTo>
                  <a:lnTo>
                    <a:pt x="6" y="544"/>
                  </a:lnTo>
                  <a:lnTo>
                    <a:pt x="6" y="544"/>
                  </a:lnTo>
                  <a:lnTo>
                    <a:pt x="6" y="546"/>
                  </a:lnTo>
                  <a:lnTo>
                    <a:pt x="8" y="546"/>
                  </a:lnTo>
                  <a:lnTo>
                    <a:pt x="8" y="548"/>
                  </a:lnTo>
                  <a:lnTo>
                    <a:pt x="8" y="548"/>
                  </a:lnTo>
                  <a:lnTo>
                    <a:pt x="10" y="548"/>
                  </a:lnTo>
                  <a:lnTo>
                    <a:pt x="10" y="548"/>
                  </a:lnTo>
                  <a:lnTo>
                    <a:pt x="10" y="546"/>
                  </a:lnTo>
                  <a:lnTo>
                    <a:pt x="12" y="546"/>
                  </a:lnTo>
                  <a:lnTo>
                    <a:pt x="12" y="548"/>
                  </a:lnTo>
                  <a:lnTo>
                    <a:pt x="12" y="548"/>
                  </a:lnTo>
                  <a:lnTo>
                    <a:pt x="14" y="550"/>
                  </a:lnTo>
                  <a:lnTo>
                    <a:pt x="16" y="548"/>
                  </a:lnTo>
                  <a:lnTo>
                    <a:pt x="20" y="548"/>
                  </a:lnTo>
                  <a:lnTo>
                    <a:pt x="21" y="548"/>
                  </a:lnTo>
                  <a:lnTo>
                    <a:pt x="21" y="548"/>
                  </a:lnTo>
                  <a:lnTo>
                    <a:pt x="23" y="550"/>
                  </a:lnTo>
                  <a:lnTo>
                    <a:pt x="25" y="550"/>
                  </a:lnTo>
                  <a:lnTo>
                    <a:pt x="27" y="552"/>
                  </a:lnTo>
                  <a:lnTo>
                    <a:pt x="27" y="552"/>
                  </a:lnTo>
                  <a:lnTo>
                    <a:pt x="29" y="554"/>
                  </a:lnTo>
                  <a:lnTo>
                    <a:pt x="35" y="560"/>
                  </a:lnTo>
                  <a:lnTo>
                    <a:pt x="35" y="561"/>
                  </a:lnTo>
                  <a:lnTo>
                    <a:pt x="37" y="563"/>
                  </a:lnTo>
                  <a:lnTo>
                    <a:pt x="39" y="565"/>
                  </a:lnTo>
                  <a:lnTo>
                    <a:pt x="40" y="567"/>
                  </a:lnTo>
                  <a:lnTo>
                    <a:pt x="40" y="567"/>
                  </a:lnTo>
                  <a:lnTo>
                    <a:pt x="42" y="569"/>
                  </a:lnTo>
                  <a:lnTo>
                    <a:pt x="42" y="573"/>
                  </a:lnTo>
                  <a:lnTo>
                    <a:pt x="44" y="579"/>
                  </a:lnTo>
                  <a:lnTo>
                    <a:pt x="46" y="580"/>
                  </a:lnTo>
                  <a:lnTo>
                    <a:pt x="48" y="582"/>
                  </a:lnTo>
                  <a:lnTo>
                    <a:pt x="48" y="582"/>
                  </a:lnTo>
                  <a:lnTo>
                    <a:pt x="46" y="584"/>
                  </a:lnTo>
                  <a:lnTo>
                    <a:pt x="46" y="584"/>
                  </a:lnTo>
                  <a:lnTo>
                    <a:pt x="44" y="584"/>
                  </a:lnTo>
                  <a:lnTo>
                    <a:pt x="44" y="586"/>
                  </a:lnTo>
                  <a:lnTo>
                    <a:pt x="44" y="586"/>
                  </a:lnTo>
                  <a:lnTo>
                    <a:pt x="42" y="588"/>
                  </a:lnTo>
                  <a:lnTo>
                    <a:pt x="42" y="588"/>
                  </a:lnTo>
                  <a:lnTo>
                    <a:pt x="44" y="590"/>
                  </a:lnTo>
                  <a:lnTo>
                    <a:pt x="44" y="590"/>
                  </a:lnTo>
                  <a:lnTo>
                    <a:pt x="46" y="590"/>
                  </a:lnTo>
                  <a:lnTo>
                    <a:pt x="48" y="590"/>
                  </a:lnTo>
                  <a:lnTo>
                    <a:pt x="48" y="590"/>
                  </a:lnTo>
                  <a:lnTo>
                    <a:pt x="50" y="590"/>
                  </a:lnTo>
                  <a:lnTo>
                    <a:pt x="50" y="590"/>
                  </a:lnTo>
                  <a:lnTo>
                    <a:pt x="50" y="590"/>
                  </a:lnTo>
                  <a:lnTo>
                    <a:pt x="50" y="588"/>
                  </a:lnTo>
                  <a:lnTo>
                    <a:pt x="50" y="586"/>
                  </a:lnTo>
                  <a:lnTo>
                    <a:pt x="52" y="586"/>
                  </a:lnTo>
                  <a:lnTo>
                    <a:pt x="52" y="586"/>
                  </a:lnTo>
                  <a:lnTo>
                    <a:pt x="52" y="586"/>
                  </a:lnTo>
                  <a:lnTo>
                    <a:pt x="54" y="586"/>
                  </a:lnTo>
                  <a:lnTo>
                    <a:pt x="54" y="586"/>
                  </a:lnTo>
                  <a:lnTo>
                    <a:pt x="54" y="588"/>
                  </a:lnTo>
                  <a:lnTo>
                    <a:pt x="54" y="588"/>
                  </a:lnTo>
                  <a:lnTo>
                    <a:pt x="54" y="590"/>
                  </a:lnTo>
                  <a:lnTo>
                    <a:pt x="56" y="592"/>
                  </a:lnTo>
                  <a:lnTo>
                    <a:pt x="56" y="592"/>
                  </a:lnTo>
                  <a:lnTo>
                    <a:pt x="56" y="594"/>
                  </a:lnTo>
                  <a:lnTo>
                    <a:pt x="58" y="594"/>
                  </a:lnTo>
                  <a:lnTo>
                    <a:pt x="60" y="592"/>
                  </a:lnTo>
                  <a:lnTo>
                    <a:pt x="61" y="592"/>
                  </a:lnTo>
                  <a:lnTo>
                    <a:pt x="61" y="592"/>
                  </a:lnTo>
                  <a:lnTo>
                    <a:pt x="63" y="592"/>
                  </a:lnTo>
                  <a:lnTo>
                    <a:pt x="65" y="592"/>
                  </a:lnTo>
                  <a:lnTo>
                    <a:pt x="65" y="594"/>
                  </a:lnTo>
                  <a:lnTo>
                    <a:pt x="63" y="594"/>
                  </a:lnTo>
                  <a:lnTo>
                    <a:pt x="63" y="596"/>
                  </a:lnTo>
                  <a:lnTo>
                    <a:pt x="63" y="596"/>
                  </a:lnTo>
                  <a:lnTo>
                    <a:pt x="61" y="598"/>
                  </a:lnTo>
                  <a:lnTo>
                    <a:pt x="63" y="599"/>
                  </a:lnTo>
                  <a:lnTo>
                    <a:pt x="63" y="601"/>
                  </a:lnTo>
                  <a:lnTo>
                    <a:pt x="63" y="603"/>
                  </a:lnTo>
                  <a:lnTo>
                    <a:pt x="63" y="605"/>
                  </a:lnTo>
                  <a:lnTo>
                    <a:pt x="65" y="609"/>
                  </a:lnTo>
                  <a:lnTo>
                    <a:pt x="67" y="609"/>
                  </a:lnTo>
                  <a:lnTo>
                    <a:pt x="67" y="622"/>
                  </a:lnTo>
                  <a:lnTo>
                    <a:pt x="69" y="624"/>
                  </a:lnTo>
                  <a:lnTo>
                    <a:pt x="69" y="628"/>
                  </a:lnTo>
                  <a:lnTo>
                    <a:pt x="71" y="628"/>
                  </a:lnTo>
                  <a:lnTo>
                    <a:pt x="73" y="628"/>
                  </a:lnTo>
                  <a:lnTo>
                    <a:pt x="73" y="628"/>
                  </a:lnTo>
                  <a:lnTo>
                    <a:pt x="77" y="626"/>
                  </a:lnTo>
                  <a:lnTo>
                    <a:pt x="79" y="624"/>
                  </a:lnTo>
                  <a:lnTo>
                    <a:pt x="81" y="622"/>
                  </a:lnTo>
                  <a:lnTo>
                    <a:pt x="82" y="622"/>
                  </a:lnTo>
                  <a:lnTo>
                    <a:pt x="82" y="622"/>
                  </a:lnTo>
                  <a:lnTo>
                    <a:pt x="84" y="622"/>
                  </a:lnTo>
                  <a:lnTo>
                    <a:pt x="84" y="622"/>
                  </a:lnTo>
                  <a:lnTo>
                    <a:pt x="86" y="624"/>
                  </a:lnTo>
                  <a:lnTo>
                    <a:pt x="88" y="624"/>
                  </a:lnTo>
                  <a:lnTo>
                    <a:pt x="90" y="626"/>
                  </a:lnTo>
                  <a:lnTo>
                    <a:pt x="94" y="626"/>
                  </a:lnTo>
                  <a:lnTo>
                    <a:pt x="98" y="624"/>
                  </a:lnTo>
                  <a:lnTo>
                    <a:pt x="105" y="626"/>
                  </a:lnTo>
                  <a:lnTo>
                    <a:pt x="103" y="624"/>
                  </a:lnTo>
                  <a:lnTo>
                    <a:pt x="103" y="622"/>
                  </a:lnTo>
                  <a:lnTo>
                    <a:pt x="105" y="620"/>
                  </a:lnTo>
                  <a:lnTo>
                    <a:pt x="105" y="618"/>
                  </a:lnTo>
                  <a:lnTo>
                    <a:pt x="105" y="618"/>
                  </a:lnTo>
                  <a:lnTo>
                    <a:pt x="105" y="618"/>
                  </a:lnTo>
                  <a:lnTo>
                    <a:pt x="105" y="617"/>
                  </a:lnTo>
                  <a:lnTo>
                    <a:pt x="105" y="617"/>
                  </a:lnTo>
                  <a:lnTo>
                    <a:pt x="107" y="617"/>
                  </a:lnTo>
                  <a:lnTo>
                    <a:pt x="107" y="617"/>
                  </a:lnTo>
                  <a:lnTo>
                    <a:pt x="107" y="618"/>
                  </a:lnTo>
                  <a:lnTo>
                    <a:pt x="107" y="618"/>
                  </a:lnTo>
                  <a:lnTo>
                    <a:pt x="109" y="618"/>
                  </a:lnTo>
                  <a:lnTo>
                    <a:pt x="109" y="618"/>
                  </a:lnTo>
                  <a:lnTo>
                    <a:pt x="109" y="618"/>
                  </a:lnTo>
                  <a:lnTo>
                    <a:pt x="109" y="618"/>
                  </a:lnTo>
                  <a:lnTo>
                    <a:pt x="109" y="617"/>
                  </a:lnTo>
                  <a:lnTo>
                    <a:pt x="109" y="615"/>
                  </a:lnTo>
                  <a:lnTo>
                    <a:pt x="109" y="615"/>
                  </a:lnTo>
                  <a:lnTo>
                    <a:pt x="109" y="613"/>
                  </a:lnTo>
                  <a:lnTo>
                    <a:pt x="111" y="613"/>
                  </a:lnTo>
                  <a:lnTo>
                    <a:pt x="111" y="611"/>
                  </a:lnTo>
                  <a:lnTo>
                    <a:pt x="111" y="611"/>
                  </a:lnTo>
                  <a:lnTo>
                    <a:pt x="113" y="611"/>
                  </a:lnTo>
                  <a:lnTo>
                    <a:pt x="113" y="609"/>
                  </a:lnTo>
                  <a:lnTo>
                    <a:pt x="113" y="607"/>
                  </a:lnTo>
                  <a:lnTo>
                    <a:pt x="113" y="603"/>
                  </a:lnTo>
                  <a:lnTo>
                    <a:pt x="113" y="603"/>
                  </a:lnTo>
                  <a:lnTo>
                    <a:pt x="113" y="601"/>
                  </a:lnTo>
                  <a:lnTo>
                    <a:pt x="113" y="601"/>
                  </a:lnTo>
                  <a:lnTo>
                    <a:pt x="113" y="601"/>
                  </a:lnTo>
                  <a:lnTo>
                    <a:pt x="115" y="599"/>
                  </a:lnTo>
                  <a:lnTo>
                    <a:pt x="115" y="599"/>
                  </a:lnTo>
                  <a:lnTo>
                    <a:pt x="115" y="599"/>
                  </a:lnTo>
                  <a:lnTo>
                    <a:pt x="115" y="598"/>
                  </a:lnTo>
                  <a:lnTo>
                    <a:pt x="117" y="596"/>
                  </a:lnTo>
                  <a:lnTo>
                    <a:pt x="117" y="594"/>
                  </a:lnTo>
                  <a:lnTo>
                    <a:pt x="117" y="592"/>
                  </a:lnTo>
                  <a:lnTo>
                    <a:pt x="117" y="590"/>
                  </a:lnTo>
                  <a:lnTo>
                    <a:pt x="117" y="590"/>
                  </a:lnTo>
                  <a:lnTo>
                    <a:pt x="115" y="588"/>
                  </a:lnTo>
                  <a:lnTo>
                    <a:pt x="115" y="588"/>
                  </a:lnTo>
                  <a:lnTo>
                    <a:pt x="115" y="588"/>
                  </a:lnTo>
                  <a:lnTo>
                    <a:pt x="115" y="586"/>
                  </a:lnTo>
                  <a:lnTo>
                    <a:pt x="117" y="586"/>
                  </a:lnTo>
                  <a:lnTo>
                    <a:pt x="117" y="586"/>
                  </a:lnTo>
                  <a:lnTo>
                    <a:pt x="117" y="584"/>
                  </a:lnTo>
                  <a:lnTo>
                    <a:pt x="119" y="580"/>
                  </a:lnTo>
                  <a:lnTo>
                    <a:pt x="119" y="580"/>
                  </a:lnTo>
                  <a:lnTo>
                    <a:pt x="119" y="580"/>
                  </a:lnTo>
                  <a:lnTo>
                    <a:pt x="121" y="580"/>
                  </a:lnTo>
                  <a:lnTo>
                    <a:pt x="121" y="580"/>
                  </a:lnTo>
                  <a:lnTo>
                    <a:pt x="121" y="580"/>
                  </a:lnTo>
                  <a:lnTo>
                    <a:pt x="122" y="580"/>
                  </a:lnTo>
                  <a:lnTo>
                    <a:pt x="128" y="579"/>
                  </a:lnTo>
                  <a:lnTo>
                    <a:pt x="128" y="577"/>
                  </a:lnTo>
                  <a:lnTo>
                    <a:pt x="128" y="577"/>
                  </a:lnTo>
                  <a:lnTo>
                    <a:pt x="130" y="575"/>
                  </a:lnTo>
                  <a:lnTo>
                    <a:pt x="130" y="575"/>
                  </a:lnTo>
                  <a:lnTo>
                    <a:pt x="132" y="575"/>
                  </a:lnTo>
                  <a:lnTo>
                    <a:pt x="132" y="573"/>
                  </a:lnTo>
                  <a:lnTo>
                    <a:pt x="134" y="573"/>
                  </a:lnTo>
                  <a:lnTo>
                    <a:pt x="136" y="573"/>
                  </a:lnTo>
                  <a:lnTo>
                    <a:pt x="136" y="573"/>
                  </a:lnTo>
                  <a:lnTo>
                    <a:pt x="136" y="571"/>
                  </a:lnTo>
                  <a:lnTo>
                    <a:pt x="140" y="567"/>
                  </a:lnTo>
                  <a:lnTo>
                    <a:pt x="141" y="563"/>
                  </a:lnTo>
                  <a:lnTo>
                    <a:pt x="143" y="563"/>
                  </a:lnTo>
                  <a:lnTo>
                    <a:pt x="145" y="560"/>
                  </a:lnTo>
                  <a:lnTo>
                    <a:pt x="149" y="558"/>
                  </a:lnTo>
                  <a:lnTo>
                    <a:pt x="151" y="556"/>
                  </a:lnTo>
                  <a:lnTo>
                    <a:pt x="153" y="554"/>
                  </a:lnTo>
                  <a:lnTo>
                    <a:pt x="153" y="554"/>
                  </a:lnTo>
                  <a:lnTo>
                    <a:pt x="155" y="552"/>
                  </a:lnTo>
                  <a:lnTo>
                    <a:pt x="155" y="552"/>
                  </a:lnTo>
                  <a:lnTo>
                    <a:pt x="155" y="552"/>
                  </a:lnTo>
                  <a:lnTo>
                    <a:pt x="155" y="550"/>
                  </a:lnTo>
                  <a:lnTo>
                    <a:pt x="155" y="548"/>
                  </a:lnTo>
                  <a:lnTo>
                    <a:pt x="155" y="548"/>
                  </a:lnTo>
                  <a:lnTo>
                    <a:pt x="153" y="546"/>
                  </a:lnTo>
                  <a:lnTo>
                    <a:pt x="153" y="546"/>
                  </a:lnTo>
                  <a:lnTo>
                    <a:pt x="151" y="546"/>
                  </a:lnTo>
                  <a:lnTo>
                    <a:pt x="151" y="546"/>
                  </a:lnTo>
                  <a:lnTo>
                    <a:pt x="151" y="544"/>
                  </a:lnTo>
                  <a:lnTo>
                    <a:pt x="153" y="544"/>
                  </a:lnTo>
                  <a:lnTo>
                    <a:pt x="153" y="544"/>
                  </a:lnTo>
                  <a:lnTo>
                    <a:pt x="153" y="544"/>
                  </a:lnTo>
                  <a:lnTo>
                    <a:pt x="155" y="544"/>
                  </a:lnTo>
                  <a:lnTo>
                    <a:pt x="155" y="542"/>
                  </a:lnTo>
                  <a:lnTo>
                    <a:pt x="155" y="542"/>
                  </a:lnTo>
                  <a:lnTo>
                    <a:pt x="157" y="541"/>
                  </a:lnTo>
                  <a:lnTo>
                    <a:pt x="157" y="541"/>
                  </a:lnTo>
                  <a:lnTo>
                    <a:pt x="159" y="539"/>
                  </a:lnTo>
                  <a:lnTo>
                    <a:pt x="159" y="539"/>
                  </a:lnTo>
                  <a:lnTo>
                    <a:pt x="161" y="539"/>
                  </a:lnTo>
                  <a:lnTo>
                    <a:pt x="161" y="539"/>
                  </a:lnTo>
                  <a:lnTo>
                    <a:pt x="164" y="537"/>
                  </a:lnTo>
                  <a:lnTo>
                    <a:pt x="166" y="537"/>
                  </a:lnTo>
                  <a:lnTo>
                    <a:pt x="166" y="537"/>
                  </a:lnTo>
                  <a:lnTo>
                    <a:pt x="168" y="535"/>
                  </a:lnTo>
                  <a:lnTo>
                    <a:pt x="168" y="533"/>
                  </a:lnTo>
                  <a:lnTo>
                    <a:pt x="170" y="531"/>
                  </a:lnTo>
                  <a:lnTo>
                    <a:pt x="170" y="531"/>
                  </a:lnTo>
                  <a:lnTo>
                    <a:pt x="170" y="531"/>
                  </a:lnTo>
                  <a:lnTo>
                    <a:pt x="170" y="531"/>
                  </a:lnTo>
                  <a:lnTo>
                    <a:pt x="172" y="533"/>
                  </a:lnTo>
                  <a:lnTo>
                    <a:pt x="172" y="533"/>
                  </a:lnTo>
                  <a:lnTo>
                    <a:pt x="174" y="535"/>
                  </a:lnTo>
                  <a:lnTo>
                    <a:pt x="174" y="533"/>
                  </a:lnTo>
                  <a:lnTo>
                    <a:pt x="174" y="531"/>
                  </a:lnTo>
                  <a:lnTo>
                    <a:pt x="174" y="529"/>
                  </a:lnTo>
                  <a:lnTo>
                    <a:pt x="174" y="529"/>
                  </a:lnTo>
                  <a:lnTo>
                    <a:pt x="176" y="525"/>
                  </a:lnTo>
                  <a:lnTo>
                    <a:pt x="176" y="521"/>
                  </a:lnTo>
                  <a:lnTo>
                    <a:pt x="176" y="521"/>
                  </a:lnTo>
                  <a:lnTo>
                    <a:pt x="176" y="521"/>
                  </a:lnTo>
                  <a:lnTo>
                    <a:pt x="176" y="520"/>
                  </a:lnTo>
                  <a:lnTo>
                    <a:pt x="178" y="520"/>
                  </a:lnTo>
                  <a:lnTo>
                    <a:pt x="178" y="520"/>
                  </a:lnTo>
                  <a:lnTo>
                    <a:pt x="178" y="520"/>
                  </a:lnTo>
                  <a:lnTo>
                    <a:pt x="178" y="520"/>
                  </a:lnTo>
                  <a:lnTo>
                    <a:pt x="180" y="518"/>
                  </a:lnTo>
                  <a:lnTo>
                    <a:pt x="181" y="518"/>
                  </a:lnTo>
                  <a:lnTo>
                    <a:pt x="181" y="518"/>
                  </a:lnTo>
                  <a:lnTo>
                    <a:pt x="181" y="516"/>
                  </a:lnTo>
                  <a:lnTo>
                    <a:pt x="181" y="510"/>
                  </a:lnTo>
                  <a:lnTo>
                    <a:pt x="181" y="508"/>
                  </a:lnTo>
                  <a:lnTo>
                    <a:pt x="181" y="508"/>
                  </a:lnTo>
                  <a:lnTo>
                    <a:pt x="181" y="506"/>
                  </a:lnTo>
                  <a:lnTo>
                    <a:pt x="180" y="504"/>
                  </a:lnTo>
                  <a:lnTo>
                    <a:pt x="180" y="504"/>
                  </a:lnTo>
                  <a:lnTo>
                    <a:pt x="180" y="501"/>
                  </a:lnTo>
                  <a:lnTo>
                    <a:pt x="178" y="501"/>
                  </a:lnTo>
                  <a:lnTo>
                    <a:pt x="178" y="499"/>
                  </a:lnTo>
                  <a:lnTo>
                    <a:pt x="176" y="499"/>
                  </a:lnTo>
                  <a:lnTo>
                    <a:pt x="176" y="497"/>
                  </a:lnTo>
                  <a:lnTo>
                    <a:pt x="176" y="497"/>
                  </a:lnTo>
                  <a:lnTo>
                    <a:pt x="176" y="495"/>
                  </a:lnTo>
                  <a:lnTo>
                    <a:pt x="176" y="493"/>
                  </a:lnTo>
                  <a:lnTo>
                    <a:pt x="176" y="491"/>
                  </a:lnTo>
                  <a:lnTo>
                    <a:pt x="174" y="489"/>
                  </a:lnTo>
                  <a:lnTo>
                    <a:pt x="174" y="489"/>
                  </a:lnTo>
                  <a:lnTo>
                    <a:pt x="174" y="487"/>
                  </a:lnTo>
                  <a:lnTo>
                    <a:pt x="174" y="485"/>
                  </a:lnTo>
                  <a:lnTo>
                    <a:pt x="174" y="483"/>
                  </a:lnTo>
                  <a:lnTo>
                    <a:pt x="174" y="483"/>
                  </a:lnTo>
                  <a:lnTo>
                    <a:pt x="176" y="480"/>
                  </a:lnTo>
                  <a:lnTo>
                    <a:pt x="176" y="478"/>
                  </a:lnTo>
                  <a:lnTo>
                    <a:pt x="176" y="478"/>
                  </a:lnTo>
                  <a:lnTo>
                    <a:pt x="176" y="476"/>
                  </a:lnTo>
                  <a:lnTo>
                    <a:pt x="174" y="476"/>
                  </a:lnTo>
                  <a:lnTo>
                    <a:pt x="174" y="476"/>
                  </a:lnTo>
                  <a:lnTo>
                    <a:pt x="174" y="474"/>
                  </a:lnTo>
                  <a:lnTo>
                    <a:pt x="174" y="474"/>
                  </a:lnTo>
                  <a:lnTo>
                    <a:pt x="174" y="474"/>
                  </a:lnTo>
                  <a:lnTo>
                    <a:pt x="176" y="472"/>
                  </a:lnTo>
                  <a:lnTo>
                    <a:pt x="176" y="472"/>
                  </a:lnTo>
                  <a:lnTo>
                    <a:pt x="176" y="470"/>
                  </a:lnTo>
                  <a:lnTo>
                    <a:pt x="176" y="470"/>
                  </a:lnTo>
                  <a:lnTo>
                    <a:pt x="176" y="468"/>
                  </a:lnTo>
                  <a:lnTo>
                    <a:pt x="174" y="468"/>
                  </a:lnTo>
                  <a:lnTo>
                    <a:pt x="174" y="468"/>
                  </a:lnTo>
                  <a:lnTo>
                    <a:pt x="172" y="466"/>
                  </a:lnTo>
                  <a:lnTo>
                    <a:pt x="170" y="466"/>
                  </a:lnTo>
                  <a:lnTo>
                    <a:pt x="170" y="466"/>
                  </a:lnTo>
                  <a:lnTo>
                    <a:pt x="170" y="466"/>
                  </a:lnTo>
                  <a:lnTo>
                    <a:pt x="168" y="463"/>
                  </a:lnTo>
                  <a:lnTo>
                    <a:pt x="168" y="461"/>
                  </a:lnTo>
                  <a:lnTo>
                    <a:pt x="168" y="461"/>
                  </a:lnTo>
                  <a:lnTo>
                    <a:pt x="166" y="461"/>
                  </a:lnTo>
                  <a:lnTo>
                    <a:pt x="164" y="461"/>
                  </a:lnTo>
                  <a:lnTo>
                    <a:pt x="164" y="459"/>
                  </a:lnTo>
                  <a:lnTo>
                    <a:pt x="162" y="459"/>
                  </a:lnTo>
                  <a:lnTo>
                    <a:pt x="164" y="451"/>
                  </a:lnTo>
                  <a:lnTo>
                    <a:pt x="164" y="449"/>
                  </a:lnTo>
                  <a:lnTo>
                    <a:pt x="164" y="447"/>
                  </a:lnTo>
                  <a:lnTo>
                    <a:pt x="164" y="445"/>
                  </a:lnTo>
                  <a:lnTo>
                    <a:pt x="162" y="444"/>
                  </a:lnTo>
                  <a:lnTo>
                    <a:pt x="162" y="442"/>
                  </a:lnTo>
                  <a:lnTo>
                    <a:pt x="162" y="440"/>
                  </a:lnTo>
                  <a:lnTo>
                    <a:pt x="164" y="436"/>
                  </a:lnTo>
                  <a:lnTo>
                    <a:pt x="164" y="434"/>
                  </a:lnTo>
                  <a:lnTo>
                    <a:pt x="162" y="434"/>
                  </a:lnTo>
                  <a:lnTo>
                    <a:pt x="162" y="432"/>
                  </a:lnTo>
                  <a:lnTo>
                    <a:pt x="162" y="432"/>
                  </a:lnTo>
                  <a:lnTo>
                    <a:pt x="159" y="432"/>
                  </a:lnTo>
                  <a:lnTo>
                    <a:pt x="157" y="432"/>
                  </a:lnTo>
                  <a:lnTo>
                    <a:pt x="157" y="432"/>
                  </a:lnTo>
                  <a:lnTo>
                    <a:pt x="157" y="430"/>
                  </a:lnTo>
                  <a:lnTo>
                    <a:pt x="155" y="428"/>
                  </a:lnTo>
                  <a:lnTo>
                    <a:pt x="155" y="426"/>
                  </a:lnTo>
                  <a:lnTo>
                    <a:pt x="155" y="426"/>
                  </a:lnTo>
                  <a:lnTo>
                    <a:pt x="145" y="423"/>
                  </a:lnTo>
                  <a:lnTo>
                    <a:pt x="145" y="421"/>
                  </a:lnTo>
                  <a:lnTo>
                    <a:pt x="143" y="421"/>
                  </a:lnTo>
                  <a:lnTo>
                    <a:pt x="143" y="419"/>
                  </a:lnTo>
                  <a:lnTo>
                    <a:pt x="143" y="419"/>
                  </a:lnTo>
                  <a:lnTo>
                    <a:pt x="143" y="417"/>
                  </a:lnTo>
                  <a:lnTo>
                    <a:pt x="143" y="415"/>
                  </a:lnTo>
                  <a:lnTo>
                    <a:pt x="143" y="415"/>
                  </a:lnTo>
                  <a:lnTo>
                    <a:pt x="147" y="407"/>
                  </a:lnTo>
                  <a:lnTo>
                    <a:pt x="149" y="407"/>
                  </a:lnTo>
                  <a:lnTo>
                    <a:pt x="149" y="407"/>
                  </a:lnTo>
                  <a:lnTo>
                    <a:pt x="151" y="405"/>
                  </a:lnTo>
                  <a:lnTo>
                    <a:pt x="155" y="402"/>
                  </a:lnTo>
                  <a:lnTo>
                    <a:pt x="155" y="402"/>
                  </a:lnTo>
                  <a:lnTo>
                    <a:pt x="155" y="402"/>
                  </a:lnTo>
                  <a:lnTo>
                    <a:pt x="157" y="402"/>
                  </a:lnTo>
                  <a:lnTo>
                    <a:pt x="157" y="402"/>
                  </a:lnTo>
                  <a:lnTo>
                    <a:pt x="161" y="407"/>
                  </a:lnTo>
                  <a:lnTo>
                    <a:pt x="162" y="407"/>
                  </a:lnTo>
                  <a:lnTo>
                    <a:pt x="162" y="409"/>
                  </a:lnTo>
                  <a:lnTo>
                    <a:pt x="162" y="409"/>
                  </a:lnTo>
                  <a:lnTo>
                    <a:pt x="162" y="409"/>
                  </a:lnTo>
                  <a:lnTo>
                    <a:pt x="162" y="411"/>
                  </a:lnTo>
                  <a:lnTo>
                    <a:pt x="164" y="411"/>
                  </a:lnTo>
                  <a:lnTo>
                    <a:pt x="164" y="409"/>
                  </a:lnTo>
                  <a:lnTo>
                    <a:pt x="164" y="409"/>
                  </a:lnTo>
                  <a:lnTo>
                    <a:pt x="164" y="409"/>
                  </a:lnTo>
                  <a:lnTo>
                    <a:pt x="166" y="407"/>
                  </a:lnTo>
                  <a:lnTo>
                    <a:pt x="166" y="407"/>
                  </a:lnTo>
                  <a:lnTo>
                    <a:pt x="166" y="405"/>
                  </a:lnTo>
                  <a:lnTo>
                    <a:pt x="166" y="405"/>
                  </a:lnTo>
                  <a:lnTo>
                    <a:pt x="168" y="405"/>
                  </a:lnTo>
                  <a:lnTo>
                    <a:pt x="168" y="405"/>
                  </a:lnTo>
                  <a:lnTo>
                    <a:pt x="168" y="405"/>
                  </a:lnTo>
                  <a:lnTo>
                    <a:pt x="168" y="405"/>
                  </a:lnTo>
                  <a:lnTo>
                    <a:pt x="170" y="407"/>
                  </a:lnTo>
                  <a:lnTo>
                    <a:pt x="172" y="409"/>
                  </a:lnTo>
                  <a:lnTo>
                    <a:pt x="174" y="411"/>
                  </a:lnTo>
                  <a:lnTo>
                    <a:pt x="174" y="411"/>
                  </a:lnTo>
                  <a:lnTo>
                    <a:pt x="174" y="411"/>
                  </a:lnTo>
                  <a:lnTo>
                    <a:pt x="174" y="411"/>
                  </a:lnTo>
                  <a:lnTo>
                    <a:pt x="176" y="413"/>
                  </a:lnTo>
                  <a:lnTo>
                    <a:pt x="176" y="413"/>
                  </a:lnTo>
                  <a:lnTo>
                    <a:pt x="176" y="413"/>
                  </a:lnTo>
                  <a:lnTo>
                    <a:pt x="176" y="413"/>
                  </a:lnTo>
                  <a:lnTo>
                    <a:pt x="176" y="413"/>
                  </a:lnTo>
                  <a:lnTo>
                    <a:pt x="178" y="413"/>
                  </a:lnTo>
                  <a:lnTo>
                    <a:pt x="180" y="413"/>
                  </a:lnTo>
                  <a:lnTo>
                    <a:pt x="180" y="413"/>
                  </a:lnTo>
                  <a:lnTo>
                    <a:pt x="181" y="415"/>
                  </a:lnTo>
                  <a:lnTo>
                    <a:pt x="181" y="415"/>
                  </a:lnTo>
                  <a:lnTo>
                    <a:pt x="187" y="428"/>
                  </a:lnTo>
                  <a:lnTo>
                    <a:pt x="187" y="428"/>
                  </a:lnTo>
                  <a:lnTo>
                    <a:pt x="189" y="428"/>
                  </a:lnTo>
                  <a:lnTo>
                    <a:pt x="189" y="428"/>
                  </a:lnTo>
                  <a:lnTo>
                    <a:pt x="189" y="428"/>
                  </a:lnTo>
                  <a:lnTo>
                    <a:pt x="191" y="424"/>
                  </a:lnTo>
                  <a:lnTo>
                    <a:pt x="191" y="424"/>
                  </a:lnTo>
                  <a:lnTo>
                    <a:pt x="193" y="424"/>
                  </a:lnTo>
                  <a:lnTo>
                    <a:pt x="193" y="424"/>
                  </a:lnTo>
                  <a:lnTo>
                    <a:pt x="193" y="423"/>
                  </a:lnTo>
                  <a:lnTo>
                    <a:pt x="193" y="423"/>
                  </a:lnTo>
                  <a:lnTo>
                    <a:pt x="195" y="423"/>
                  </a:lnTo>
                  <a:lnTo>
                    <a:pt x="195" y="423"/>
                  </a:lnTo>
                  <a:lnTo>
                    <a:pt x="204" y="424"/>
                  </a:lnTo>
                  <a:lnTo>
                    <a:pt x="206" y="424"/>
                  </a:lnTo>
                  <a:lnTo>
                    <a:pt x="208" y="426"/>
                  </a:lnTo>
                  <a:lnTo>
                    <a:pt x="208" y="426"/>
                  </a:lnTo>
                  <a:lnTo>
                    <a:pt x="212" y="426"/>
                  </a:lnTo>
                  <a:lnTo>
                    <a:pt x="214" y="426"/>
                  </a:lnTo>
                  <a:lnTo>
                    <a:pt x="214" y="426"/>
                  </a:lnTo>
                  <a:lnTo>
                    <a:pt x="214" y="428"/>
                  </a:lnTo>
                  <a:lnTo>
                    <a:pt x="214" y="428"/>
                  </a:lnTo>
                  <a:lnTo>
                    <a:pt x="214" y="430"/>
                  </a:lnTo>
                  <a:lnTo>
                    <a:pt x="214" y="430"/>
                  </a:lnTo>
                  <a:lnTo>
                    <a:pt x="214" y="432"/>
                  </a:lnTo>
                  <a:lnTo>
                    <a:pt x="214" y="432"/>
                  </a:lnTo>
                  <a:lnTo>
                    <a:pt x="214" y="434"/>
                  </a:lnTo>
                  <a:lnTo>
                    <a:pt x="214" y="434"/>
                  </a:lnTo>
                  <a:lnTo>
                    <a:pt x="214" y="434"/>
                  </a:lnTo>
                  <a:lnTo>
                    <a:pt x="216" y="434"/>
                  </a:lnTo>
                  <a:lnTo>
                    <a:pt x="216" y="434"/>
                  </a:lnTo>
                  <a:lnTo>
                    <a:pt x="220" y="430"/>
                  </a:lnTo>
                  <a:lnTo>
                    <a:pt x="220" y="430"/>
                  </a:lnTo>
                  <a:lnTo>
                    <a:pt x="222" y="430"/>
                  </a:lnTo>
                  <a:lnTo>
                    <a:pt x="223" y="428"/>
                  </a:lnTo>
                  <a:lnTo>
                    <a:pt x="223" y="428"/>
                  </a:lnTo>
                  <a:lnTo>
                    <a:pt x="225" y="426"/>
                  </a:lnTo>
                  <a:lnTo>
                    <a:pt x="227" y="426"/>
                  </a:lnTo>
                  <a:lnTo>
                    <a:pt x="227" y="426"/>
                  </a:lnTo>
                  <a:lnTo>
                    <a:pt x="225" y="424"/>
                  </a:lnTo>
                  <a:lnTo>
                    <a:pt x="223" y="423"/>
                  </a:lnTo>
                  <a:lnTo>
                    <a:pt x="223" y="423"/>
                  </a:lnTo>
                  <a:lnTo>
                    <a:pt x="223" y="423"/>
                  </a:lnTo>
                  <a:lnTo>
                    <a:pt x="223" y="423"/>
                  </a:lnTo>
                  <a:lnTo>
                    <a:pt x="223" y="421"/>
                  </a:lnTo>
                  <a:lnTo>
                    <a:pt x="225" y="415"/>
                  </a:lnTo>
                  <a:lnTo>
                    <a:pt x="225" y="415"/>
                  </a:lnTo>
                  <a:lnTo>
                    <a:pt x="225" y="413"/>
                  </a:lnTo>
                  <a:lnTo>
                    <a:pt x="225" y="411"/>
                  </a:lnTo>
                  <a:lnTo>
                    <a:pt x="225" y="411"/>
                  </a:lnTo>
                  <a:lnTo>
                    <a:pt x="225" y="411"/>
                  </a:lnTo>
                  <a:lnTo>
                    <a:pt x="223" y="411"/>
                  </a:lnTo>
                  <a:lnTo>
                    <a:pt x="222" y="411"/>
                  </a:lnTo>
                  <a:lnTo>
                    <a:pt x="222" y="411"/>
                  </a:lnTo>
                  <a:lnTo>
                    <a:pt x="220" y="411"/>
                  </a:lnTo>
                  <a:lnTo>
                    <a:pt x="220" y="411"/>
                  </a:lnTo>
                  <a:lnTo>
                    <a:pt x="220" y="411"/>
                  </a:lnTo>
                  <a:lnTo>
                    <a:pt x="220" y="411"/>
                  </a:lnTo>
                  <a:lnTo>
                    <a:pt x="218" y="413"/>
                  </a:lnTo>
                  <a:lnTo>
                    <a:pt x="218" y="413"/>
                  </a:lnTo>
                  <a:lnTo>
                    <a:pt x="218" y="413"/>
                  </a:lnTo>
                  <a:lnTo>
                    <a:pt x="216" y="413"/>
                  </a:lnTo>
                  <a:lnTo>
                    <a:pt x="216" y="413"/>
                  </a:lnTo>
                  <a:lnTo>
                    <a:pt x="216" y="411"/>
                  </a:lnTo>
                  <a:lnTo>
                    <a:pt x="216" y="411"/>
                  </a:lnTo>
                  <a:lnTo>
                    <a:pt x="214" y="409"/>
                  </a:lnTo>
                  <a:lnTo>
                    <a:pt x="214" y="409"/>
                  </a:lnTo>
                  <a:lnTo>
                    <a:pt x="212" y="409"/>
                  </a:lnTo>
                  <a:lnTo>
                    <a:pt x="212" y="409"/>
                  </a:lnTo>
                  <a:lnTo>
                    <a:pt x="212" y="409"/>
                  </a:lnTo>
                  <a:lnTo>
                    <a:pt x="208" y="409"/>
                  </a:lnTo>
                  <a:lnTo>
                    <a:pt x="206" y="409"/>
                  </a:lnTo>
                  <a:lnTo>
                    <a:pt x="206" y="409"/>
                  </a:lnTo>
                  <a:lnTo>
                    <a:pt x="206" y="409"/>
                  </a:lnTo>
                  <a:lnTo>
                    <a:pt x="204" y="407"/>
                  </a:lnTo>
                  <a:lnTo>
                    <a:pt x="202" y="407"/>
                  </a:lnTo>
                  <a:lnTo>
                    <a:pt x="199" y="405"/>
                  </a:lnTo>
                  <a:lnTo>
                    <a:pt x="199" y="404"/>
                  </a:lnTo>
                  <a:lnTo>
                    <a:pt x="199" y="402"/>
                  </a:lnTo>
                  <a:lnTo>
                    <a:pt x="201" y="396"/>
                  </a:lnTo>
                  <a:lnTo>
                    <a:pt x="201" y="394"/>
                  </a:lnTo>
                  <a:lnTo>
                    <a:pt x="201" y="392"/>
                  </a:lnTo>
                  <a:lnTo>
                    <a:pt x="201" y="388"/>
                  </a:lnTo>
                  <a:lnTo>
                    <a:pt x="201" y="383"/>
                  </a:lnTo>
                  <a:lnTo>
                    <a:pt x="199" y="381"/>
                  </a:lnTo>
                  <a:lnTo>
                    <a:pt x="199" y="381"/>
                  </a:lnTo>
                  <a:lnTo>
                    <a:pt x="199" y="381"/>
                  </a:lnTo>
                  <a:lnTo>
                    <a:pt x="199" y="379"/>
                  </a:lnTo>
                  <a:lnTo>
                    <a:pt x="199" y="377"/>
                  </a:lnTo>
                  <a:lnTo>
                    <a:pt x="199" y="369"/>
                  </a:lnTo>
                  <a:lnTo>
                    <a:pt x="199" y="367"/>
                  </a:lnTo>
                  <a:lnTo>
                    <a:pt x="199" y="366"/>
                  </a:lnTo>
                  <a:lnTo>
                    <a:pt x="199" y="366"/>
                  </a:lnTo>
                  <a:lnTo>
                    <a:pt x="199" y="367"/>
                  </a:lnTo>
                  <a:lnTo>
                    <a:pt x="197" y="367"/>
                  </a:lnTo>
                  <a:lnTo>
                    <a:pt x="197" y="367"/>
                  </a:lnTo>
                  <a:lnTo>
                    <a:pt x="197" y="367"/>
                  </a:lnTo>
                  <a:lnTo>
                    <a:pt x="197" y="366"/>
                  </a:lnTo>
                  <a:lnTo>
                    <a:pt x="197" y="364"/>
                  </a:lnTo>
                  <a:lnTo>
                    <a:pt x="195" y="362"/>
                  </a:lnTo>
                  <a:lnTo>
                    <a:pt x="195" y="362"/>
                  </a:lnTo>
                  <a:lnTo>
                    <a:pt x="195" y="362"/>
                  </a:lnTo>
                  <a:lnTo>
                    <a:pt x="195" y="362"/>
                  </a:lnTo>
                  <a:lnTo>
                    <a:pt x="195" y="362"/>
                  </a:lnTo>
                  <a:lnTo>
                    <a:pt x="195" y="362"/>
                  </a:lnTo>
                  <a:lnTo>
                    <a:pt x="195" y="362"/>
                  </a:lnTo>
                  <a:lnTo>
                    <a:pt x="193" y="362"/>
                  </a:lnTo>
                  <a:lnTo>
                    <a:pt x="193" y="362"/>
                  </a:lnTo>
                  <a:lnTo>
                    <a:pt x="193" y="362"/>
                  </a:lnTo>
                  <a:lnTo>
                    <a:pt x="193" y="360"/>
                  </a:lnTo>
                  <a:lnTo>
                    <a:pt x="191" y="358"/>
                  </a:lnTo>
                  <a:lnTo>
                    <a:pt x="191" y="356"/>
                  </a:lnTo>
                  <a:lnTo>
                    <a:pt x="193" y="350"/>
                  </a:lnTo>
                  <a:lnTo>
                    <a:pt x="195" y="348"/>
                  </a:lnTo>
                  <a:lnTo>
                    <a:pt x="195" y="347"/>
                  </a:lnTo>
                  <a:lnTo>
                    <a:pt x="195" y="347"/>
                  </a:lnTo>
                  <a:lnTo>
                    <a:pt x="195" y="345"/>
                  </a:lnTo>
                  <a:lnTo>
                    <a:pt x="195" y="343"/>
                  </a:lnTo>
                  <a:lnTo>
                    <a:pt x="193" y="343"/>
                  </a:lnTo>
                  <a:lnTo>
                    <a:pt x="193" y="341"/>
                  </a:lnTo>
                  <a:lnTo>
                    <a:pt x="193" y="339"/>
                  </a:lnTo>
                  <a:lnTo>
                    <a:pt x="193" y="339"/>
                  </a:lnTo>
                  <a:lnTo>
                    <a:pt x="193" y="328"/>
                  </a:lnTo>
                  <a:lnTo>
                    <a:pt x="193" y="326"/>
                  </a:lnTo>
                  <a:lnTo>
                    <a:pt x="193" y="326"/>
                  </a:lnTo>
                  <a:lnTo>
                    <a:pt x="193" y="326"/>
                  </a:lnTo>
                  <a:lnTo>
                    <a:pt x="193" y="326"/>
                  </a:lnTo>
                  <a:lnTo>
                    <a:pt x="193" y="326"/>
                  </a:lnTo>
                  <a:lnTo>
                    <a:pt x="195" y="326"/>
                  </a:lnTo>
                  <a:lnTo>
                    <a:pt x="197" y="326"/>
                  </a:lnTo>
                  <a:lnTo>
                    <a:pt x="197" y="326"/>
                  </a:lnTo>
                  <a:lnTo>
                    <a:pt x="199" y="326"/>
                  </a:lnTo>
                  <a:lnTo>
                    <a:pt x="199" y="326"/>
                  </a:lnTo>
                  <a:lnTo>
                    <a:pt x="199" y="328"/>
                  </a:lnTo>
                  <a:lnTo>
                    <a:pt x="199" y="328"/>
                  </a:lnTo>
                  <a:lnTo>
                    <a:pt x="199" y="329"/>
                  </a:lnTo>
                  <a:lnTo>
                    <a:pt x="199" y="329"/>
                  </a:lnTo>
                  <a:lnTo>
                    <a:pt x="199" y="329"/>
                  </a:lnTo>
                  <a:lnTo>
                    <a:pt x="199" y="329"/>
                  </a:lnTo>
                  <a:lnTo>
                    <a:pt x="199" y="329"/>
                  </a:lnTo>
                  <a:lnTo>
                    <a:pt x="201" y="329"/>
                  </a:lnTo>
                  <a:lnTo>
                    <a:pt x="202" y="328"/>
                  </a:lnTo>
                  <a:lnTo>
                    <a:pt x="202" y="328"/>
                  </a:lnTo>
                  <a:lnTo>
                    <a:pt x="204" y="326"/>
                  </a:lnTo>
                  <a:lnTo>
                    <a:pt x="206" y="324"/>
                  </a:lnTo>
                  <a:lnTo>
                    <a:pt x="206" y="322"/>
                  </a:lnTo>
                  <a:lnTo>
                    <a:pt x="208" y="320"/>
                  </a:lnTo>
                  <a:lnTo>
                    <a:pt x="208" y="320"/>
                  </a:lnTo>
                  <a:lnTo>
                    <a:pt x="210" y="320"/>
                  </a:lnTo>
                  <a:lnTo>
                    <a:pt x="210" y="320"/>
                  </a:lnTo>
                  <a:lnTo>
                    <a:pt x="212" y="320"/>
                  </a:lnTo>
                  <a:lnTo>
                    <a:pt x="212" y="318"/>
                  </a:lnTo>
                  <a:lnTo>
                    <a:pt x="216" y="310"/>
                  </a:lnTo>
                  <a:lnTo>
                    <a:pt x="218" y="305"/>
                  </a:lnTo>
                  <a:lnTo>
                    <a:pt x="220" y="303"/>
                  </a:lnTo>
                  <a:lnTo>
                    <a:pt x="220" y="301"/>
                  </a:lnTo>
                  <a:lnTo>
                    <a:pt x="220" y="299"/>
                  </a:lnTo>
                  <a:lnTo>
                    <a:pt x="220" y="299"/>
                  </a:lnTo>
                  <a:lnTo>
                    <a:pt x="220" y="299"/>
                  </a:lnTo>
                  <a:lnTo>
                    <a:pt x="220" y="299"/>
                  </a:lnTo>
                  <a:lnTo>
                    <a:pt x="222" y="299"/>
                  </a:lnTo>
                  <a:lnTo>
                    <a:pt x="222" y="297"/>
                  </a:lnTo>
                  <a:lnTo>
                    <a:pt x="229" y="297"/>
                  </a:lnTo>
                  <a:lnTo>
                    <a:pt x="231" y="297"/>
                  </a:lnTo>
                  <a:lnTo>
                    <a:pt x="231" y="297"/>
                  </a:lnTo>
                  <a:lnTo>
                    <a:pt x="233" y="299"/>
                  </a:lnTo>
                  <a:lnTo>
                    <a:pt x="233" y="299"/>
                  </a:lnTo>
                  <a:lnTo>
                    <a:pt x="233" y="299"/>
                  </a:lnTo>
                  <a:lnTo>
                    <a:pt x="235" y="299"/>
                  </a:lnTo>
                  <a:lnTo>
                    <a:pt x="235" y="297"/>
                  </a:lnTo>
                  <a:lnTo>
                    <a:pt x="237" y="297"/>
                  </a:lnTo>
                  <a:lnTo>
                    <a:pt x="239" y="297"/>
                  </a:lnTo>
                  <a:lnTo>
                    <a:pt x="241" y="297"/>
                  </a:lnTo>
                  <a:lnTo>
                    <a:pt x="250" y="295"/>
                  </a:lnTo>
                  <a:lnTo>
                    <a:pt x="250" y="295"/>
                  </a:lnTo>
                  <a:lnTo>
                    <a:pt x="252" y="297"/>
                  </a:lnTo>
                  <a:lnTo>
                    <a:pt x="252" y="297"/>
                  </a:lnTo>
                  <a:lnTo>
                    <a:pt x="252" y="297"/>
                  </a:lnTo>
                  <a:lnTo>
                    <a:pt x="254" y="299"/>
                  </a:lnTo>
                  <a:lnTo>
                    <a:pt x="254" y="299"/>
                  </a:lnTo>
                  <a:lnTo>
                    <a:pt x="256" y="299"/>
                  </a:lnTo>
                  <a:lnTo>
                    <a:pt x="256" y="299"/>
                  </a:lnTo>
                  <a:lnTo>
                    <a:pt x="258" y="299"/>
                  </a:lnTo>
                  <a:lnTo>
                    <a:pt x="258" y="301"/>
                  </a:lnTo>
                  <a:lnTo>
                    <a:pt x="260" y="301"/>
                  </a:lnTo>
                  <a:lnTo>
                    <a:pt x="260" y="301"/>
                  </a:lnTo>
                  <a:lnTo>
                    <a:pt x="265" y="301"/>
                  </a:lnTo>
                  <a:lnTo>
                    <a:pt x="265" y="301"/>
                  </a:lnTo>
                  <a:lnTo>
                    <a:pt x="267" y="301"/>
                  </a:lnTo>
                  <a:lnTo>
                    <a:pt x="269" y="299"/>
                  </a:lnTo>
                  <a:lnTo>
                    <a:pt x="269" y="297"/>
                  </a:lnTo>
                  <a:lnTo>
                    <a:pt x="271" y="295"/>
                  </a:lnTo>
                  <a:lnTo>
                    <a:pt x="273" y="288"/>
                  </a:lnTo>
                  <a:lnTo>
                    <a:pt x="275" y="288"/>
                  </a:lnTo>
                  <a:lnTo>
                    <a:pt x="277" y="284"/>
                  </a:lnTo>
                  <a:lnTo>
                    <a:pt x="277" y="284"/>
                  </a:lnTo>
                  <a:lnTo>
                    <a:pt x="277" y="284"/>
                  </a:lnTo>
                  <a:lnTo>
                    <a:pt x="277" y="282"/>
                  </a:lnTo>
                  <a:lnTo>
                    <a:pt x="277" y="282"/>
                  </a:lnTo>
                  <a:lnTo>
                    <a:pt x="277" y="282"/>
                  </a:lnTo>
                  <a:lnTo>
                    <a:pt x="277" y="282"/>
                  </a:lnTo>
                  <a:lnTo>
                    <a:pt x="277" y="280"/>
                  </a:lnTo>
                  <a:lnTo>
                    <a:pt x="277" y="280"/>
                  </a:lnTo>
                  <a:lnTo>
                    <a:pt x="279" y="278"/>
                  </a:lnTo>
                  <a:lnTo>
                    <a:pt x="279" y="278"/>
                  </a:lnTo>
                  <a:lnTo>
                    <a:pt x="279" y="278"/>
                  </a:lnTo>
                  <a:lnTo>
                    <a:pt x="281" y="278"/>
                  </a:lnTo>
                  <a:lnTo>
                    <a:pt x="284" y="280"/>
                  </a:lnTo>
                  <a:lnTo>
                    <a:pt x="286" y="280"/>
                  </a:lnTo>
                  <a:lnTo>
                    <a:pt x="286" y="280"/>
                  </a:lnTo>
                  <a:lnTo>
                    <a:pt x="286" y="280"/>
                  </a:lnTo>
                  <a:lnTo>
                    <a:pt x="288" y="280"/>
                  </a:lnTo>
                  <a:lnTo>
                    <a:pt x="288" y="278"/>
                  </a:lnTo>
                  <a:lnTo>
                    <a:pt x="288" y="278"/>
                  </a:lnTo>
                  <a:lnTo>
                    <a:pt x="288" y="276"/>
                  </a:lnTo>
                  <a:lnTo>
                    <a:pt x="288" y="274"/>
                  </a:lnTo>
                  <a:lnTo>
                    <a:pt x="288" y="274"/>
                  </a:lnTo>
                  <a:lnTo>
                    <a:pt x="288" y="272"/>
                  </a:lnTo>
                  <a:lnTo>
                    <a:pt x="284" y="270"/>
                  </a:lnTo>
                  <a:lnTo>
                    <a:pt x="284" y="269"/>
                  </a:lnTo>
                  <a:lnTo>
                    <a:pt x="282" y="269"/>
                  </a:lnTo>
                  <a:lnTo>
                    <a:pt x="282" y="267"/>
                  </a:lnTo>
                  <a:lnTo>
                    <a:pt x="282" y="265"/>
                  </a:lnTo>
                  <a:lnTo>
                    <a:pt x="282" y="263"/>
                  </a:lnTo>
                  <a:lnTo>
                    <a:pt x="284" y="261"/>
                  </a:lnTo>
                  <a:lnTo>
                    <a:pt x="284" y="259"/>
                  </a:lnTo>
                  <a:lnTo>
                    <a:pt x="284" y="257"/>
                  </a:lnTo>
                  <a:lnTo>
                    <a:pt x="284" y="255"/>
                  </a:lnTo>
                  <a:lnTo>
                    <a:pt x="294" y="242"/>
                  </a:lnTo>
                  <a:lnTo>
                    <a:pt x="296" y="240"/>
                  </a:lnTo>
                  <a:lnTo>
                    <a:pt x="296" y="238"/>
                  </a:lnTo>
                  <a:lnTo>
                    <a:pt x="296" y="234"/>
                  </a:lnTo>
                  <a:lnTo>
                    <a:pt x="296" y="234"/>
                  </a:lnTo>
                  <a:lnTo>
                    <a:pt x="296" y="232"/>
                  </a:lnTo>
                  <a:lnTo>
                    <a:pt x="298" y="232"/>
                  </a:lnTo>
                  <a:lnTo>
                    <a:pt x="298" y="232"/>
                  </a:lnTo>
                  <a:lnTo>
                    <a:pt x="300" y="234"/>
                  </a:lnTo>
                  <a:lnTo>
                    <a:pt x="300" y="234"/>
                  </a:lnTo>
                  <a:lnTo>
                    <a:pt x="300" y="234"/>
                  </a:lnTo>
                  <a:lnTo>
                    <a:pt x="300" y="234"/>
                  </a:lnTo>
                  <a:lnTo>
                    <a:pt x="302" y="232"/>
                  </a:lnTo>
                  <a:lnTo>
                    <a:pt x="302" y="231"/>
                  </a:lnTo>
                  <a:lnTo>
                    <a:pt x="302" y="231"/>
                  </a:lnTo>
                  <a:lnTo>
                    <a:pt x="302" y="231"/>
                  </a:lnTo>
                  <a:lnTo>
                    <a:pt x="303" y="231"/>
                  </a:lnTo>
                  <a:lnTo>
                    <a:pt x="303" y="231"/>
                  </a:lnTo>
                  <a:lnTo>
                    <a:pt x="303" y="231"/>
                  </a:lnTo>
                  <a:lnTo>
                    <a:pt x="305" y="229"/>
                  </a:lnTo>
                  <a:lnTo>
                    <a:pt x="305" y="227"/>
                  </a:lnTo>
                  <a:lnTo>
                    <a:pt x="305" y="227"/>
                  </a:lnTo>
                  <a:lnTo>
                    <a:pt x="305" y="225"/>
                  </a:lnTo>
                  <a:lnTo>
                    <a:pt x="305" y="223"/>
                  </a:lnTo>
                  <a:lnTo>
                    <a:pt x="305" y="223"/>
                  </a:lnTo>
                  <a:lnTo>
                    <a:pt x="305" y="221"/>
                  </a:lnTo>
                  <a:lnTo>
                    <a:pt x="305" y="221"/>
                  </a:lnTo>
                  <a:lnTo>
                    <a:pt x="303" y="221"/>
                  </a:lnTo>
                  <a:lnTo>
                    <a:pt x="302" y="219"/>
                  </a:lnTo>
                  <a:lnTo>
                    <a:pt x="302" y="219"/>
                  </a:lnTo>
                  <a:lnTo>
                    <a:pt x="300" y="217"/>
                  </a:lnTo>
                  <a:lnTo>
                    <a:pt x="300" y="217"/>
                  </a:lnTo>
                  <a:lnTo>
                    <a:pt x="300" y="215"/>
                  </a:lnTo>
                  <a:lnTo>
                    <a:pt x="302" y="211"/>
                  </a:lnTo>
                  <a:lnTo>
                    <a:pt x="302" y="211"/>
                  </a:lnTo>
                  <a:lnTo>
                    <a:pt x="302" y="211"/>
                  </a:lnTo>
                  <a:lnTo>
                    <a:pt x="303" y="210"/>
                  </a:lnTo>
                  <a:lnTo>
                    <a:pt x="303" y="210"/>
                  </a:lnTo>
                  <a:lnTo>
                    <a:pt x="305" y="210"/>
                  </a:lnTo>
                  <a:lnTo>
                    <a:pt x="305" y="208"/>
                  </a:lnTo>
                  <a:lnTo>
                    <a:pt x="305" y="208"/>
                  </a:lnTo>
                  <a:lnTo>
                    <a:pt x="305" y="206"/>
                  </a:lnTo>
                  <a:lnTo>
                    <a:pt x="305" y="206"/>
                  </a:lnTo>
                  <a:lnTo>
                    <a:pt x="305" y="206"/>
                  </a:lnTo>
                  <a:lnTo>
                    <a:pt x="303" y="204"/>
                  </a:lnTo>
                  <a:lnTo>
                    <a:pt x="303" y="204"/>
                  </a:lnTo>
                  <a:lnTo>
                    <a:pt x="303" y="202"/>
                  </a:lnTo>
                  <a:lnTo>
                    <a:pt x="303" y="202"/>
                  </a:lnTo>
                  <a:lnTo>
                    <a:pt x="309" y="194"/>
                  </a:lnTo>
                  <a:lnTo>
                    <a:pt x="311" y="192"/>
                  </a:lnTo>
                  <a:lnTo>
                    <a:pt x="311" y="192"/>
                  </a:lnTo>
                  <a:lnTo>
                    <a:pt x="315" y="191"/>
                  </a:lnTo>
                  <a:lnTo>
                    <a:pt x="319" y="189"/>
                  </a:lnTo>
                  <a:lnTo>
                    <a:pt x="321" y="189"/>
                  </a:lnTo>
                  <a:lnTo>
                    <a:pt x="328" y="181"/>
                  </a:lnTo>
                  <a:lnTo>
                    <a:pt x="330" y="179"/>
                  </a:lnTo>
                  <a:lnTo>
                    <a:pt x="334" y="179"/>
                  </a:lnTo>
                  <a:lnTo>
                    <a:pt x="338" y="177"/>
                  </a:lnTo>
                  <a:lnTo>
                    <a:pt x="340" y="177"/>
                  </a:lnTo>
                  <a:lnTo>
                    <a:pt x="340" y="177"/>
                  </a:lnTo>
                  <a:lnTo>
                    <a:pt x="342" y="177"/>
                  </a:lnTo>
                  <a:lnTo>
                    <a:pt x="343" y="173"/>
                  </a:lnTo>
                  <a:lnTo>
                    <a:pt x="343" y="173"/>
                  </a:lnTo>
                  <a:lnTo>
                    <a:pt x="345" y="172"/>
                  </a:lnTo>
                  <a:lnTo>
                    <a:pt x="345" y="172"/>
                  </a:lnTo>
                  <a:lnTo>
                    <a:pt x="345" y="170"/>
                  </a:lnTo>
                  <a:lnTo>
                    <a:pt x="345" y="170"/>
                  </a:lnTo>
                  <a:lnTo>
                    <a:pt x="345" y="168"/>
                  </a:lnTo>
                  <a:lnTo>
                    <a:pt x="343" y="166"/>
                  </a:lnTo>
                  <a:lnTo>
                    <a:pt x="342" y="162"/>
                  </a:lnTo>
                  <a:lnTo>
                    <a:pt x="342" y="162"/>
                  </a:lnTo>
                  <a:lnTo>
                    <a:pt x="342" y="160"/>
                  </a:lnTo>
                  <a:lnTo>
                    <a:pt x="343" y="158"/>
                  </a:lnTo>
                  <a:lnTo>
                    <a:pt x="343" y="156"/>
                  </a:lnTo>
                  <a:lnTo>
                    <a:pt x="343" y="156"/>
                  </a:lnTo>
                  <a:lnTo>
                    <a:pt x="343" y="156"/>
                  </a:lnTo>
                  <a:lnTo>
                    <a:pt x="343" y="154"/>
                  </a:lnTo>
                  <a:lnTo>
                    <a:pt x="345" y="154"/>
                  </a:lnTo>
                  <a:lnTo>
                    <a:pt x="347" y="154"/>
                  </a:lnTo>
                  <a:lnTo>
                    <a:pt x="347" y="154"/>
                  </a:lnTo>
                  <a:lnTo>
                    <a:pt x="347" y="153"/>
                  </a:lnTo>
                  <a:lnTo>
                    <a:pt x="349" y="151"/>
                  </a:lnTo>
                  <a:lnTo>
                    <a:pt x="351" y="151"/>
                  </a:lnTo>
                  <a:lnTo>
                    <a:pt x="351" y="151"/>
                  </a:lnTo>
                  <a:lnTo>
                    <a:pt x="353" y="151"/>
                  </a:lnTo>
                  <a:lnTo>
                    <a:pt x="355" y="151"/>
                  </a:lnTo>
                  <a:lnTo>
                    <a:pt x="355" y="151"/>
                  </a:lnTo>
                  <a:lnTo>
                    <a:pt x="357" y="149"/>
                  </a:lnTo>
                  <a:lnTo>
                    <a:pt x="359" y="147"/>
                  </a:lnTo>
                  <a:lnTo>
                    <a:pt x="363" y="145"/>
                  </a:lnTo>
                  <a:lnTo>
                    <a:pt x="363" y="143"/>
                  </a:lnTo>
                  <a:lnTo>
                    <a:pt x="364" y="143"/>
                  </a:lnTo>
                  <a:lnTo>
                    <a:pt x="364" y="137"/>
                  </a:lnTo>
                  <a:lnTo>
                    <a:pt x="366" y="137"/>
                  </a:lnTo>
                  <a:lnTo>
                    <a:pt x="366" y="135"/>
                  </a:lnTo>
                  <a:lnTo>
                    <a:pt x="366" y="135"/>
                  </a:lnTo>
                  <a:lnTo>
                    <a:pt x="368" y="135"/>
                  </a:lnTo>
                  <a:lnTo>
                    <a:pt x="368" y="134"/>
                  </a:lnTo>
                  <a:lnTo>
                    <a:pt x="370" y="134"/>
                  </a:lnTo>
                  <a:lnTo>
                    <a:pt x="370" y="134"/>
                  </a:lnTo>
                  <a:lnTo>
                    <a:pt x="372" y="132"/>
                  </a:lnTo>
                  <a:lnTo>
                    <a:pt x="376" y="130"/>
                  </a:lnTo>
                  <a:lnTo>
                    <a:pt x="376" y="128"/>
                  </a:lnTo>
                  <a:lnTo>
                    <a:pt x="378" y="128"/>
                  </a:lnTo>
                  <a:lnTo>
                    <a:pt x="378" y="126"/>
                  </a:lnTo>
                  <a:lnTo>
                    <a:pt x="378" y="124"/>
                  </a:lnTo>
                  <a:lnTo>
                    <a:pt x="378" y="1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3" name="Freeform 65">
              <a:extLst>
                <a:ext uri="{FF2B5EF4-FFF2-40B4-BE49-F238E27FC236}">
                  <a16:creationId xmlns:a16="http://schemas.microsoft.com/office/drawing/2014/main" id="{226C3E45-F5AE-DE1A-1F33-C027E0A67B62}"/>
                </a:ext>
              </a:extLst>
            </p:cNvPr>
            <p:cNvSpPr>
              <a:spLocks/>
            </p:cNvSpPr>
            <p:nvPr/>
          </p:nvSpPr>
          <p:spPr bwMode="auto">
            <a:xfrm>
              <a:off x="5553075" y="3601251"/>
              <a:ext cx="600075" cy="996950"/>
            </a:xfrm>
            <a:custGeom>
              <a:avLst/>
              <a:gdLst>
                <a:gd name="T0" fmla="*/ 359 w 378"/>
                <a:gd name="T1" fmla="*/ 113 h 628"/>
                <a:gd name="T2" fmla="*/ 347 w 378"/>
                <a:gd name="T3" fmla="*/ 95 h 628"/>
                <a:gd name="T4" fmla="*/ 340 w 378"/>
                <a:gd name="T5" fmla="*/ 67 h 628"/>
                <a:gd name="T6" fmla="*/ 338 w 378"/>
                <a:gd name="T7" fmla="*/ 52 h 628"/>
                <a:gd name="T8" fmla="*/ 323 w 378"/>
                <a:gd name="T9" fmla="*/ 54 h 628"/>
                <a:gd name="T10" fmla="*/ 300 w 378"/>
                <a:gd name="T11" fmla="*/ 6 h 628"/>
                <a:gd name="T12" fmla="*/ 271 w 378"/>
                <a:gd name="T13" fmla="*/ 19 h 628"/>
                <a:gd name="T14" fmla="*/ 231 w 378"/>
                <a:gd name="T15" fmla="*/ 21 h 628"/>
                <a:gd name="T16" fmla="*/ 168 w 378"/>
                <a:gd name="T17" fmla="*/ 35 h 628"/>
                <a:gd name="T18" fmla="*/ 132 w 378"/>
                <a:gd name="T19" fmla="*/ 44 h 628"/>
                <a:gd name="T20" fmla="*/ 134 w 378"/>
                <a:gd name="T21" fmla="*/ 63 h 628"/>
                <a:gd name="T22" fmla="*/ 174 w 378"/>
                <a:gd name="T23" fmla="*/ 78 h 628"/>
                <a:gd name="T24" fmla="*/ 145 w 378"/>
                <a:gd name="T25" fmla="*/ 128 h 628"/>
                <a:gd name="T26" fmla="*/ 122 w 378"/>
                <a:gd name="T27" fmla="*/ 162 h 628"/>
                <a:gd name="T28" fmla="*/ 88 w 378"/>
                <a:gd name="T29" fmla="*/ 170 h 628"/>
                <a:gd name="T30" fmla="*/ 67 w 378"/>
                <a:gd name="T31" fmla="*/ 202 h 628"/>
                <a:gd name="T32" fmla="*/ 44 w 378"/>
                <a:gd name="T33" fmla="*/ 240 h 628"/>
                <a:gd name="T34" fmla="*/ 16 w 378"/>
                <a:gd name="T35" fmla="*/ 310 h 628"/>
                <a:gd name="T36" fmla="*/ 27 w 378"/>
                <a:gd name="T37" fmla="*/ 335 h 628"/>
                <a:gd name="T38" fmla="*/ 29 w 378"/>
                <a:gd name="T39" fmla="*/ 350 h 628"/>
                <a:gd name="T40" fmla="*/ 33 w 378"/>
                <a:gd name="T41" fmla="*/ 377 h 628"/>
                <a:gd name="T42" fmla="*/ 16 w 378"/>
                <a:gd name="T43" fmla="*/ 398 h 628"/>
                <a:gd name="T44" fmla="*/ 18 w 378"/>
                <a:gd name="T45" fmla="*/ 419 h 628"/>
                <a:gd name="T46" fmla="*/ 14 w 378"/>
                <a:gd name="T47" fmla="*/ 432 h 628"/>
                <a:gd name="T48" fmla="*/ 25 w 378"/>
                <a:gd name="T49" fmla="*/ 430 h 628"/>
                <a:gd name="T50" fmla="*/ 52 w 378"/>
                <a:gd name="T51" fmla="*/ 455 h 628"/>
                <a:gd name="T52" fmla="*/ 46 w 378"/>
                <a:gd name="T53" fmla="*/ 480 h 628"/>
                <a:gd name="T54" fmla="*/ 20 w 378"/>
                <a:gd name="T55" fmla="*/ 478 h 628"/>
                <a:gd name="T56" fmla="*/ 0 w 378"/>
                <a:gd name="T57" fmla="*/ 533 h 628"/>
                <a:gd name="T58" fmla="*/ 12 w 378"/>
                <a:gd name="T59" fmla="*/ 548 h 628"/>
                <a:gd name="T60" fmla="*/ 46 w 378"/>
                <a:gd name="T61" fmla="*/ 580 h 628"/>
                <a:gd name="T62" fmla="*/ 52 w 378"/>
                <a:gd name="T63" fmla="*/ 586 h 628"/>
                <a:gd name="T64" fmla="*/ 63 w 378"/>
                <a:gd name="T65" fmla="*/ 599 h 628"/>
                <a:gd name="T66" fmla="*/ 90 w 378"/>
                <a:gd name="T67" fmla="*/ 626 h 628"/>
                <a:gd name="T68" fmla="*/ 109 w 378"/>
                <a:gd name="T69" fmla="*/ 615 h 628"/>
                <a:gd name="T70" fmla="*/ 117 w 378"/>
                <a:gd name="T71" fmla="*/ 590 h 628"/>
                <a:gd name="T72" fmla="*/ 132 w 378"/>
                <a:gd name="T73" fmla="*/ 575 h 628"/>
                <a:gd name="T74" fmla="*/ 153 w 378"/>
                <a:gd name="T75" fmla="*/ 546 h 628"/>
                <a:gd name="T76" fmla="*/ 170 w 378"/>
                <a:gd name="T77" fmla="*/ 531 h 628"/>
                <a:gd name="T78" fmla="*/ 181 w 378"/>
                <a:gd name="T79" fmla="*/ 518 h 628"/>
                <a:gd name="T80" fmla="*/ 174 w 378"/>
                <a:gd name="T81" fmla="*/ 485 h 628"/>
                <a:gd name="T82" fmla="*/ 170 w 378"/>
                <a:gd name="T83" fmla="*/ 466 h 628"/>
                <a:gd name="T84" fmla="*/ 159 w 378"/>
                <a:gd name="T85" fmla="*/ 432 h 628"/>
                <a:gd name="T86" fmla="*/ 155 w 378"/>
                <a:gd name="T87" fmla="*/ 402 h 628"/>
                <a:gd name="T88" fmla="*/ 170 w 378"/>
                <a:gd name="T89" fmla="*/ 407 h 628"/>
                <a:gd name="T90" fmla="*/ 191 w 378"/>
                <a:gd name="T91" fmla="*/ 424 h 628"/>
                <a:gd name="T92" fmla="*/ 214 w 378"/>
                <a:gd name="T93" fmla="*/ 434 h 628"/>
                <a:gd name="T94" fmla="*/ 225 w 378"/>
                <a:gd name="T95" fmla="*/ 413 h 628"/>
                <a:gd name="T96" fmla="*/ 212 w 378"/>
                <a:gd name="T97" fmla="*/ 409 h 628"/>
                <a:gd name="T98" fmla="*/ 199 w 378"/>
                <a:gd name="T99" fmla="*/ 369 h 628"/>
                <a:gd name="T100" fmla="*/ 191 w 378"/>
                <a:gd name="T101" fmla="*/ 358 h 628"/>
                <a:gd name="T102" fmla="*/ 199 w 378"/>
                <a:gd name="T103" fmla="*/ 326 h 628"/>
                <a:gd name="T104" fmla="*/ 216 w 378"/>
                <a:gd name="T105" fmla="*/ 310 h 628"/>
                <a:gd name="T106" fmla="*/ 250 w 378"/>
                <a:gd name="T107" fmla="*/ 295 h 628"/>
                <a:gd name="T108" fmla="*/ 277 w 378"/>
                <a:gd name="T109" fmla="*/ 284 h 628"/>
                <a:gd name="T110" fmla="*/ 288 w 378"/>
                <a:gd name="T111" fmla="*/ 274 h 628"/>
                <a:gd name="T112" fmla="*/ 300 w 378"/>
                <a:gd name="T113" fmla="*/ 234 h 628"/>
                <a:gd name="T114" fmla="*/ 302 w 378"/>
                <a:gd name="T115" fmla="*/ 219 h 628"/>
                <a:gd name="T116" fmla="*/ 311 w 378"/>
                <a:gd name="T117" fmla="*/ 192 h 628"/>
                <a:gd name="T118" fmla="*/ 342 w 378"/>
                <a:gd name="T119" fmla="*/ 160 h 628"/>
                <a:gd name="T120" fmla="*/ 364 w 378"/>
                <a:gd name="T121" fmla="*/ 137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8" h="628">
                  <a:moveTo>
                    <a:pt x="378" y="124"/>
                  </a:moveTo>
                  <a:lnTo>
                    <a:pt x="378" y="122"/>
                  </a:lnTo>
                  <a:lnTo>
                    <a:pt x="376" y="120"/>
                  </a:lnTo>
                  <a:lnTo>
                    <a:pt x="376" y="120"/>
                  </a:lnTo>
                  <a:lnTo>
                    <a:pt x="376" y="116"/>
                  </a:lnTo>
                  <a:lnTo>
                    <a:pt x="376" y="116"/>
                  </a:lnTo>
                  <a:lnTo>
                    <a:pt x="374" y="116"/>
                  </a:lnTo>
                  <a:lnTo>
                    <a:pt x="372" y="114"/>
                  </a:lnTo>
                  <a:lnTo>
                    <a:pt x="372" y="114"/>
                  </a:lnTo>
                  <a:lnTo>
                    <a:pt x="370" y="114"/>
                  </a:lnTo>
                  <a:lnTo>
                    <a:pt x="370" y="114"/>
                  </a:lnTo>
                  <a:lnTo>
                    <a:pt x="368" y="114"/>
                  </a:lnTo>
                  <a:lnTo>
                    <a:pt x="368" y="114"/>
                  </a:lnTo>
                  <a:lnTo>
                    <a:pt x="368" y="114"/>
                  </a:lnTo>
                  <a:lnTo>
                    <a:pt x="366" y="114"/>
                  </a:lnTo>
                  <a:lnTo>
                    <a:pt x="366" y="114"/>
                  </a:lnTo>
                  <a:lnTo>
                    <a:pt x="364" y="114"/>
                  </a:lnTo>
                  <a:lnTo>
                    <a:pt x="364" y="114"/>
                  </a:lnTo>
                  <a:lnTo>
                    <a:pt x="363" y="114"/>
                  </a:lnTo>
                  <a:lnTo>
                    <a:pt x="361" y="113"/>
                  </a:lnTo>
                  <a:lnTo>
                    <a:pt x="359" y="113"/>
                  </a:lnTo>
                  <a:lnTo>
                    <a:pt x="359" y="113"/>
                  </a:lnTo>
                  <a:lnTo>
                    <a:pt x="359" y="113"/>
                  </a:lnTo>
                  <a:lnTo>
                    <a:pt x="359" y="114"/>
                  </a:lnTo>
                  <a:lnTo>
                    <a:pt x="359" y="114"/>
                  </a:lnTo>
                  <a:lnTo>
                    <a:pt x="359" y="114"/>
                  </a:lnTo>
                  <a:lnTo>
                    <a:pt x="359" y="114"/>
                  </a:lnTo>
                  <a:lnTo>
                    <a:pt x="359" y="114"/>
                  </a:lnTo>
                  <a:lnTo>
                    <a:pt x="357" y="114"/>
                  </a:lnTo>
                  <a:lnTo>
                    <a:pt x="357" y="114"/>
                  </a:lnTo>
                  <a:lnTo>
                    <a:pt x="357" y="114"/>
                  </a:lnTo>
                  <a:lnTo>
                    <a:pt x="355" y="114"/>
                  </a:lnTo>
                  <a:lnTo>
                    <a:pt x="355" y="114"/>
                  </a:lnTo>
                  <a:lnTo>
                    <a:pt x="355" y="113"/>
                  </a:lnTo>
                  <a:lnTo>
                    <a:pt x="355" y="111"/>
                  </a:lnTo>
                  <a:lnTo>
                    <a:pt x="355" y="109"/>
                  </a:lnTo>
                  <a:lnTo>
                    <a:pt x="353" y="107"/>
                  </a:lnTo>
                  <a:lnTo>
                    <a:pt x="353" y="105"/>
                  </a:lnTo>
                  <a:lnTo>
                    <a:pt x="353" y="105"/>
                  </a:lnTo>
                  <a:lnTo>
                    <a:pt x="349" y="101"/>
                  </a:lnTo>
                  <a:lnTo>
                    <a:pt x="347" y="99"/>
                  </a:lnTo>
                  <a:lnTo>
                    <a:pt x="347" y="95"/>
                  </a:lnTo>
                  <a:lnTo>
                    <a:pt x="347" y="92"/>
                  </a:lnTo>
                  <a:lnTo>
                    <a:pt x="349" y="84"/>
                  </a:lnTo>
                  <a:lnTo>
                    <a:pt x="347" y="78"/>
                  </a:lnTo>
                  <a:lnTo>
                    <a:pt x="347" y="76"/>
                  </a:lnTo>
                  <a:lnTo>
                    <a:pt x="347" y="76"/>
                  </a:lnTo>
                  <a:lnTo>
                    <a:pt x="345" y="75"/>
                  </a:lnTo>
                  <a:lnTo>
                    <a:pt x="345" y="75"/>
                  </a:lnTo>
                  <a:lnTo>
                    <a:pt x="343" y="76"/>
                  </a:lnTo>
                  <a:lnTo>
                    <a:pt x="342" y="78"/>
                  </a:lnTo>
                  <a:lnTo>
                    <a:pt x="342" y="78"/>
                  </a:lnTo>
                  <a:lnTo>
                    <a:pt x="342" y="78"/>
                  </a:lnTo>
                  <a:lnTo>
                    <a:pt x="340" y="78"/>
                  </a:lnTo>
                  <a:lnTo>
                    <a:pt x="340" y="76"/>
                  </a:lnTo>
                  <a:lnTo>
                    <a:pt x="340" y="76"/>
                  </a:lnTo>
                  <a:lnTo>
                    <a:pt x="340" y="75"/>
                  </a:lnTo>
                  <a:lnTo>
                    <a:pt x="340" y="75"/>
                  </a:lnTo>
                  <a:lnTo>
                    <a:pt x="342" y="71"/>
                  </a:lnTo>
                  <a:lnTo>
                    <a:pt x="342" y="71"/>
                  </a:lnTo>
                  <a:lnTo>
                    <a:pt x="342" y="69"/>
                  </a:lnTo>
                  <a:lnTo>
                    <a:pt x="342" y="69"/>
                  </a:lnTo>
                  <a:lnTo>
                    <a:pt x="340" y="67"/>
                  </a:lnTo>
                  <a:lnTo>
                    <a:pt x="342" y="67"/>
                  </a:lnTo>
                  <a:lnTo>
                    <a:pt x="342" y="65"/>
                  </a:lnTo>
                  <a:lnTo>
                    <a:pt x="342" y="65"/>
                  </a:lnTo>
                  <a:lnTo>
                    <a:pt x="345" y="61"/>
                  </a:lnTo>
                  <a:lnTo>
                    <a:pt x="345" y="61"/>
                  </a:lnTo>
                  <a:lnTo>
                    <a:pt x="345" y="59"/>
                  </a:lnTo>
                  <a:lnTo>
                    <a:pt x="347" y="59"/>
                  </a:lnTo>
                  <a:lnTo>
                    <a:pt x="347" y="57"/>
                  </a:lnTo>
                  <a:lnTo>
                    <a:pt x="347" y="57"/>
                  </a:lnTo>
                  <a:lnTo>
                    <a:pt x="345" y="54"/>
                  </a:lnTo>
                  <a:lnTo>
                    <a:pt x="345" y="54"/>
                  </a:lnTo>
                  <a:lnTo>
                    <a:pt x="345" y="52"/>
                  </a:lnTo>
                  <a:lnTo>
                    <a:pt x="343" y="52"/>
                  </a:lnTo>
                  <a:lnTo>
                    <a:pt x="343" y="50"/>
                  </a:lnTo>
                  <a:lnTo>
                    <a:pt x="343" y="50"/>
                  </a:lnTo>
                  <a:lnTo>
                    <a:pt x="342" y="50"/>
                  </a:lnTo>
                  <a:lnTo>
                    <a:pt x="342" y="50"/>
                  </a:lnTo>
                  <a:lnTo>
                    <a:pt x="340" y="50"/>
                  </a:lnTo>
                  <a:lnTo>
                    <a:pt x="340" y="52"/>
                  </a:lnTo>
                  <a:lnTo>
                    <a:pt x="340" y="52"/>
                  </a:lnTo>
                  <a:lnTo>
                    <a:pt x="338" y="52"/>
                  </a:lnTo>
                  <a:lnTo>
                    <a:pt x="338" y="52"/>
                  </a:lnTo>
                  <a:lnTo>
                    <a:pt x="338" y="52"/>
                  </a:lnTo>
                  <a:lnTo>
                    <a:pt x="338" y="52"/>
                  </a:lnTo>
                  <a:lnTo>
                    <a:pt x="338" y="54"/>
                  </a:lnTo>
                  <a:lnTo>
                    <a:pt x="338" y="54"/>
                  </a:lnTo>
                  <a:lnTo>
                    <a:pt x="338" y="57"/>
                  </a:lnTo>
                  <a:lnTo>
                    <a:pt x="338" y="57"/>
                  </a:lnTo>
                  <a:lnTo>
                    <a:pt x="338" y="57"/>
                  </a:lnTo>
                  <a:lnTo>
                    <a:pt x="338" y="57"/>
                  </a:lnTo>
                  <a:lnTo>
                    <a:pt x="338" y="57"/>
                  </a:lnTo>
                  <a:lnTo>
                    <a:pt x="336" y="57"/>
                  </a:lnTo>
                  <a:lnTo>
                    <a:pt x="330" y="56"/>
                  </a:lnTo>
                  <a:lnTo>
                    <a:pt x="330" y="56"/>
                  </a:lnTo>
                  <a:lnTo>
                    <a:pt x="328" y="56"/>
                  </a:lnTo>
                  <a:lnTo>
                    <a:pt x="328" y="56"/>
                  </a:lnTo>
                  <a:lnTo>
                    <a:pt x="326" y="56"/>
                  </a:lnTo>
                  <a:lnTo>
                    <a:pt x="326" y="56"/>
                  </a:lnTo>
                  <a:lnTo>
                    <a:pt x="324" y="56"/>
                  </a:lnTo>
                  <a:lnTo>
                    <a:pt x="324" y="56"/>
                  </a:lnTo>
                  <a:lnTo>
                    <a:pt x="323" y="54"/>
                  </a:lnTo>
                  <a:lnTo>
                    <a:pt x="323" y="54"/>
                  </a:lnTo>
                  <a:lnTo>
                    <a:pt x="321" y="52"/>
                  </a:lnTo>
                  <a:lnTo>
                    <a:pt x="321" y="48"/>
                  </a:lnTo>
                  <a:lnTo>
                    <a:pt x="319" y="46"/>
                  </a:lnTo>
                  <a:lnTo>
                    <a:pt x="319" y="46"/>
                  </a:lnTo>
                  <a:lnTo>
                    <a:pt x="319" y="44"/>
                  </a:lnTo>
                  <a:lnTo>
                    <a:pt x="319" y="44"/>
                  </a:lnTo>
                  <a:lnTo>
                    <a:pt x="321" y="40"/>
                  </a:lnTo>
                  <a:lnTo>
                    <a:pt x="321" y="40"/>
                  </a:lnTo>
                  <a:lnTo>
                    <a:pt x="321" y="38"/>
                  </a:lnTo>
                  <a:lnTo>
                    <a:pt x="321" y="38"/>
                  </a:lnTo>
                  <a:lnTo>
                    <a:pt x="319" y="35"/>
                  </a:lnTo>
                  <a:lnTo>
                    <a:pt x="317" y="33"/>
                  </a:lnTo>
                  <a:lnTo>
                    <a:pt x="303" y="21"/>
                  </a:lnTo>
                  <a:lnTo>
                    <a:pt x="303" y="18"/>
                  </a:lnTo>
                  <a:lnTo>
                    <a:pt x="302" y="18"/>
                  </a:lnTo>
                  <a:lnTo>
                    <a:pt x="302" y="16"/>
                  </a:lnTo>
                  <a:lnTo>
                    <a:pt x="302" y="14"/>
                  </a:lnTo>
                  <a:lnTo>
                    <a:pt x="302" y="12"/>
                  </a:lnTo>
                  <a:lnTo>
                    <a:pt x="302" y="8"/>
                  </a:lnTo>
                  <a:lnTo>
                    <a:pt x="302" y="8"/>
                  </a:lnTo>
                  <a:lnTo>
                    <a:pt x="300" y="6"/>
                  </a:lnTo>
                  <a:lnTo>
                    <a:pt x="300" y="6"/>
                  </a:lnTo>
                  <a:lnTo>
                    <a:pt x="296" y="4"/>
                  </a:lnTo>
                  <a:lnTo>
                    <a:pt x="296" y="2"/>
                  </a:lnTo>
                  <a:lnTo>
                    <a:pt x="294" y="2"/>
                  </a:lnTo>
                  <a:lnTo>
                    <a:pt x="294" y="2"/>
                  </a:lnTo>
                  <a:lnTo>
                    <a:pt x="288" y="0"/>
                  </a:lnTo>
                  <a:lnTo>
                    <a:pt x="284" y="0"/>
                  </a:lnTo>
                  <a:lnTo>
                    <a:pt x="282" y="0"/>
                  </a:lnTo>
                  <a:lnTo>
                    <a:pt x="282" y="4"/>
                  </a:lnTo>
                  <a:lnTo>
                    <a:pt x="281" y="6"/>
                  </a:lnTo>
                  <a:lnTo>
                    <a:pt x="281" y="6"/>
                  </a:lnTo>
                  <a:lnTo>
                    <a:pt x="277" y="8"/>
                  </a:lnTo>
                  <a:lnTo>
                    <a:pt x="277" y="10"/>
                  </a:lnTo>
                  <a:lnTo>
                    <a:pt x="277" y="10"/>
                  </a:lnTo>
                  <a:lnTo>
                    <a:pt x="277" y="14"/>
                  </a:lnTo>
                  <a:lnTo>
                    <a:pt x="277" y="14"/>
                  </a:lnTo>
                  <a:lnTo>
                    <a:pt x="275" y="14"/>
                  </a:lnTo>
                  <a:lnTo>
                    <a:pt x="273" y="18"/>
                  </a:lnTo>
                  <a:lnTo>
                    <a:pt x="273" y="19"/>
                  </a:lnTo>
                  <a:lnTo>
                    <a:pt x="273" y="19"/>
                  </a:lnTo>
                  <a:lnTo>
                    <a:pt x="271" y="19"/>
                  </a:lnTo>
                  <a:lnTo>
                    <a:pt x="269" y="19"/>
                  </a:lnTo>
                  <a:lnTo>
                    <a:pt x="267" y="21"/>
                  </a:lnTo>
                  <a:lnTo>
                    <a:pt x="265" y="21"/>
                  </a:lnTo>
                  <a:lnTo>
                    <a:pt x="263" y="23"/>
                  </a:lnTo>
                  <a:lnTo>
                    <a:pt x="262" y="23"/>
                  </a:lnTo>
                  <a:lnTo>
                    <a:pt x="262" y="23"/>
                  </a:lnTo>
                  <a:lnTo>
                    <a:pt x="256" y="23"/>
                  </a:lnTo>
                  <a:lnTo>
                    <a:pt x="254" y="21"/>
                  </a:lnTo>
                  <a:lnTo>
                    <a:pt x="250" y="23"/>
                  </a:lnTo>
                  <a:lnTo>
                    <a:pt x="250" y="23"/>
                  </a:lnTo>
                  <a:lnTo>
                    <a:pt x="246" y="21"/>
                  </a:lnTo>
                  <a:lnTo>
                    <a:pt x="244" y="21"/>
                  </a:lnTo>
                  <a:lnTo>
                    <a:pt x="242" y="19"/>
                  </a:lnTo>
                  <a:lnTo>
                    <a:pt x="239" y="16"/>
                  </a:lnTo>
                  <a:lnTo>
                    <a:pt x="235" y="14"/>
                  </a:lnTo>
                  <a:lnTo>
                    <a:pt x="233" y="16"/>
                  </a:lnTo>
                  <a:lnTo>
                    <a:pt x="233" y="16"/>
                  </a:lnTo>
                  <a:lnTo>
                    <a:pt x="233" y="18"/>
                  </a:lnTo>
                  <a:lnTo>
                    <a:pt x="233" y="19"/>
                  </a:lnTo>
                  <a:lnTo>
                    <a:pt x="233" y="19"/>
                  </a:lnTo>
                  <a:lnTo>
                    <a:pt x="231" y="21"/>
                  </a:lnTo>
                  <a:lnTo>
                    <a:pt x="229" y="23"/>
                  </a:lnTo>
                  <a:lnTo>
                    <a:pt x="227" y="23"/>
                  </a:lnTo>
                  <a:lnTo>
                    <a:pt x="223" y="23"/>
                  </a:lnTo>
                  <a:lnTo>
                    <a:pt x="222" y="25"/>
                  </a:lnTo>
                  <a:lnTo>
                    <a:pt x="222" y="25"/>
                  </a:lnTo>
                  <a:lnTo>
                    <a:pt x="222" y="27"/>
                  </a:lnTo>
                  <a:lnTo>
                    <a:pt x="222" y="29"/>
                  </a:lnTo>
                  <a:lnTo>
                    <a:pt x="222" y="29"/>
                  </a:lnTo>
                  <a:lnTo>
                    <a:pt x="220" y="31"/>
                  </a:lnTo>
                  <a:lnTo>
                    <a:pt x="218" y="33"/>
                  </a:lnTo>
                  <a:lnTo>
                    <a:pt x="212" y="33"/>
                  </a:lnTo>
                  <a:lnTo>
                    <a:pt x="212" y="35"/>
                  </a:lnTo>
                  <a:lnTo>
                    <a:pt x="210" y="37"/>
                  </a:lnTo>
                  <a:lnTo>
                    <a:pt x="210" y="37"/>
                  </a:lnTo>
                  <a:lnTo>
                    <a:pt x="206" y="37"/>
                  </a:lnTo>
                  <a:lnTo>
                    <a:pt x="199" y="37"/>
                  </a:lnTo>
                  <a:lnTo>
                    <a:pt x="185" y="35"/>
                  </a:lnTo>
                  <a:lnTo>
                    <a:pt x="183" y="35"/>
                  </a:lnTo>
                  <a:lnTo>
                    <a:pt x="180" y="35"/>
                  </a:lnTo>
                  <a:lnTo>
                    <a:pt x="170" y="35"/>
                  </a:lnTo>
                  <a:lnTo>
                    <a:pt x="168" y="35"/>
                  </a:lnTo>
                  <a:lnTo>
                    <a:pt x="162" y="31"/>
                  </a:lnTo>
                  <a:lnTo>
                    <a:pt x="161" y="31"/>
                  </a:lnTo>
                  <a:lnTo>
                    <a:pt x="155" y="31"/>
                  </a:lnTo>
                  <a:lnTo>
                    <a:pt x="153" y="31"/>
                  </a:lnTo>
                  <a:lnTo>
                    <a:pt x="147" y="33"/>
                  </a:lnTo>
                  <a:lnTo>
                    <a:pt x="145" y="35"/>
                  </a:lnTo>
                  <a:lnTo>
                    <a:pt x="143" y="35"/>
                  </a:lnTo>
                  <a:lnTo>
                    <a:pt x="140" y="35"/>
                  </a:lnTo>
                  <a:lnTo>
                    <a:pt x="138" y="31"/>
                  </a:lnTo>
                  <a:lnTo>
                    <a:pt x="134" y="27"/>
                  </a:lnTo>
                  <a:lnTo>
                    <a:pt x="132" y="25"/>
                  </a:lnTo>
                  <a:lnTo>
                    <a:pt x="128" y="25"/>
                  </a:lnTo>
                  <a:lnTo>
                    <a:pt x="126" y="27"/>
                  </a:lnTo>
                  <a:lnTo>
                    <a:pt x="126" y="29"/>
                  </a:lnTo>
                  <a:lnTo>
                    <a:pt x="126" y="29"/>
                  </a:lnTo>
                  <a:lnTo>
                    <a:pt x="126" y="31"/>
                  </a:lnTo>
                  <a:lnTo>
                    <a:pt x="126" y="31"/>
                  </a:lnTo>
                  <a:lnTo>
                    <a:pt x="128" y="33"/>
                  </a:lnTo>
                  <a:lnTo>
                    <a:pt x="130" y="38"/>
                  </a:lnTo>
                  <a:lnTo>
                    <a:pt x="132" y="42"/>
                  </a:lnTo>
                  <a:lnTo>
                    <a:pt x="132" y="44"/>
                  </a:lnTo>
                  <a:lnTo>
                    <a:pt x="132" y="46"/>
                  </a:lnTo>
                  <a:lnTo>
                    <a:pt x="130" y="46"/>
                  </a:lnTo>
                  <a:lnTo>
                    <a:pt x="130" y="48"/>
                  </a:lnTo>
                  <a:lnTo>
                    <a:pt x="128" y="50"/>
                  </a:lnTo>
                  <a:lnTo>
                    <a:pt x="128" y="50"/>
                  </a:lnTo>
                  <a:lnTo>
                    <a:pt x="126" y="50"/>
                  </a:lnTo>
                  <a:lnTo>
                    <a:pt x="126" y="52"/>
                  </a:lnTo>
                  <a:lnTo>
                    <a:pt x="124" y="56"/>
                  </a:lnTo>
                  <a:lnTo>
                    <a:pt x="124" y="56"/>
                  </a:lnTo>
                  <a:lnTo>
                    <a:pt x="124" y="57"/>
                  </a:lnTo>
                  <a:lnTo>
                    <a:pt x="122" y="57"/>
                  </a:lnTo>
                  <a:lnTo>
                    <a:pt x="122" y="57"/>
                  </a:lnTo>
                  <a:lnTo>
                    <a:pt x="122" y="59"/>
                  </a:lnTo>
                  <a:lnTo>
                    <a:pt x="124" y="61"/>
                  </a:lnTo>
                  <a:lnTo>
                    <a:pt x="124" y="63"/>
                  </a:lnTo>
                  <a:lnTo>
                    <a:pt x="126" y="65"/>
                  </a:lnTo>
                  <a:lnTo>
                    <a:pt x="126" y="65"/>
                  </a:lnTo>
                  <a:lnTo>
                    <a:pt x="128" y="67"/>
                  </a:lnTo>
                  <a:lnTo>
                    <a:pt x="128" y="65"/>
                  </a:lnTo>
                  <a:lnTo>
                    <a:pt x="132" y="63"/>
                  </a:lnTo>
                  <a:lnTo>
                    <a:pt x="134" y="63"/>
                  </a:lnTo>
                  <a:lnTo>
                    <a:pt x="136" y="61"/>
                  </a:lnTo>
                  <a:lnTo>
                    <a:pt x="138" y="59"/>
                  </a:lnTo>
                  <a:lnTo>
                    <a:pt x="138" y="59"/>
                  </a:lnTo>
                  <a:lnTo>
                    <a:pt x="140" y="61"/>
                  </a:lnTo>
                  <a:lnTo>
                    <a:pt x="141" y="61"/>
                  </a:lnTo>
                  <a:lnTo>
                    <a:pt x="147" y="63"/>
                  </a:lnTo>
                  <a:lnTo>
                    <a:pt x="151" y="63"/>
                  </a:lnTo>
                  <a:lnTo>
                    <a:pt x="153" y="65"/>
                  </a:lnTo>
                  <a:lnTo>
                    <a:pt x="157" y="67"/>
                  </a:lnTo>
                  <a:lnTo>
                    <a:pt x="159" y="73"/>
                  </a:lnTo>
                  <a:lnTo>
                    <a:pt x="161" y="75"/>
                  </a:lnTo>
                  <a:lnTo>
                    <a:pt x="161" y="75"/>
                  </a:lnTo>
                  <a:lnTo>
                    <a:pt x="162" y="75"/>
                  </a:lnTo>
                  <a:lnTo>
                    <a:pt x="162" y="75"/>
                  </a:lnTo>
                  <a:lnTo>
                    <a:pt x="162" y="76"/>
                  </a:lnTo>
                  <a:lnTo>
                    <a:pt x="164" y="78"/>
                  </a:lnTo>
                  <a:lnTo>
                    <a:pt x="164" y="78"/>
                  </a:lnTo>
                  <a:lnTo>
                    <a:pt x="170" y="76"/>
                  </a:lnTo>
                  <a:lnTo>
                    <a:pt x="170" y="76"/>
                  </a:lnTo>
                  <a:lnTo>
                    <a:pt x="172" y="78"/>
                  </a:lnTo>
                  <a:lnTo>
                    <a:pt x="174" y="78"/>
                  </a:lnTo>
                  <a:lnTo>
                    <a:pt x="176" y="82"/>
                  </a:lnTo>
                  <a:lnTo>
                    <a:pt x="178" y="84"/>
                  </a:lnTo>
                  <a:lnTo>
                    <a:pt x="178" y="86"/>
                  </a:lnTo>
                  <a:lnTo>
                    <a:pt x="176" y="94"/>
                  </a:lnTo>
                  <a:lnTo>
                    <a:pt x="176" y="97"/>
                  </a:lnTo>
                  <a:lnTo>
                    <a:pt x="176" y="99"/>
                  </a:lnTo>
                  <a:lnTo>
                    <a:pt x="174" y="103"/>
                  </a:lnTo>
                  <a:lnTo>
                    <a:pt x="172" y="105"/>
                  </a:lnTo>
                  <a:lnTo>
                    <a:pt x="170" y="105"/>
                  </a:lnTo>
                  <a:lnTo>
                    <a:pt x="168" y="103"/>
                  </a:lnTo>
                  <a:lnTo>
                    <a:pt x="166" y="105"/>
                  </a:lnTo>
                  <a:lnTo>
                    <a:pt x="162" y="107"/>
                  </a:lnTo>
                  <a:lnTo>
                    <a:pt x="157" y="109"/>
                  </a:lnTo>
                  <a:lnTo>
                    <a:pt x="155" y="111"/>
                  </a:lnTo>
                  <a:lnTo>
                    <a:pt x="155" y="113"/>
                  </a:lnTo>
                  <a:lnTo>
                    <a:pt x="155" y="114"/>
                  </a:lnTo>
                  <a:lnTo>
                    <a:pt x="155" y="118"/>
                  </a:lnTo>
                  <a:lnTo>
                    <a:pt x="155" y="120"/>
                  </a:lnTo>
                  <a:lnTo>
                    <a:pt x="151" y="124"/>
                  </a:lnTo>
                  <a:lnTo>
                    <a:pt x="147" y="126"/>
                  </a:lnTo>
                  <a:lnTo>
                    <a:pt x="145" y="128"/>
                  </a:lnTo>
                  <a:lnTo>
                    <a:pt x="143" y="128"/>
                  </a:lnTo>
                  <a:lnTo>
                    <a:pt x="141" y="130"/>
                  </a:lnTo>
                  <a:lnTo>
                    <a:pt x="140" y="132"/>
                  </a:lnTo>
                  <a:lnTo>
                    <a:pt x="140" y="134"/>
                  </a:lnTo>
                  <a:lnTo>
                    <a:pt x="140" y="135"/>
                  </a:lnTo>
                  <a:lnTo>
                    <a:pt x="141" y="139"/>
                  </a:lnTo>
                  <a:lnTo>
                    <a:pt x="140" y="141"/>
                  </a:lnTo>
                  <a:lnTo>
                    <a:pt x="138" y="143"/>
                  </a:lnTo>
                  <a:lnTo>
                    <a:pt x="138" y="145"/>
                  </a:lnTo>
                  <a:lnTo>
                    <a:pt x="140" y="147"/>
                  </a:lnTo>
                  <a:lnTo>
                    <a:pt x="140" y="149"/>
                  </a:lnTo>
                  <a:lnTo>
                    <a:pt x="138" y="149"/>
                  </a:lnTo>
                  <a:lnTo>
                    <a:pt x="136" y="149"/>
                  </a:lnTo>
                  <a:lnTo>
                    <a:pt x="130" y="153"/>
                  </a:lnTo>
                  <a:lnTo>
                    <a:pt x="128" y="154"/>
                  </a:lnTo>
                  <a:lnTo>
                    <a:pt x="128" y="156"/>
                  </a:lnTo>
                  <a:lnTo>
                    <a:pt x="128" y="158"/>
                  </a:lnTo>
                  <a:lnTo>
                    <a:pt x="128" y="160"/>
                  </a:lnTo>
                  <a:lnTo>
                    <a:pt x="126" y="160"/>
                  </a:lnTo>
                  <a:lnTo>
                    <a:pt x="124" y="160"/>
                  </a:lnTo>
                  <a:lnTo>
                    <a:pt x="122" y="162"/>
                  </a:lnTo>
                  <a:lnTo>
                    <a:pt x="121" y="162"/>
                  </a:lnTo>
                  <a:lnTo>
                    <a:pt x="119" y="162"/>
                  </a:lnTo>
                  <a:lnTo>
                    <a:pt x="115" y="164"/>
                  </a:lnTo>
                  <a:lnTo>
                    <a:pt x="113" y="166"/>
                  </a:lnTo>
                  <a:lnTo>
                    <a:pt x="113" y="168"/>
                  </a:lnTo>
                  <a:lnTo>
                    <a:pt x="111" y="168"/>
                  </a:lnTo>
                  <a:lnTo>
                    <a:pt x="109" y="170"/>
                  </a:lnTo>
                  <a:lnTo>
                    <a:pt x="107" y="170"/>
                  </a:lnTo>
                  <a:lnTo>
                    <a:pt x="107" y="170"/>
                  </a:lnTo>
                  <a:lnTo>
                    <a:pt x="105" y="170"/>
                  </a:lnTo>
                  <a:lnTo>
                    <a:pt x="103" y="166"/>
                  </a:lnTo>
                  <a:lnTo>
                    <a:pt x="103" y="166"/>
                  </a:lnTo>
                  <a:lnTo>
                    <a:pt x="101" y="164"/>
                  </a:lnTo>
                  <a:lnTo>
                    <a:pt x="100" y="164"/>
                  </a:lnTo>
                  <a:lnTo>
                    <a:pt x="98" y="166"/>
                  </a:lnTo>
                  <a:lnTo>
                    <a:pt x="96" y="168"/>
                  </a:lnTo>
                  <a:lnTo>
                    <a:pt x="94" y="168"/>
                  </a:lnTo>
                  <a:lnTo>
                    <a:pt x="92" y="170"/>
                  </a:lnTo>
                  <a:lnTo>
                    <a:pt x="90" y="170"/>
                  </a:lnTo>
                  <a:lnTo>
                    <a:pt x="88" y="170"/>
                  </a:lnTo>
                  <a:lnTo>
                    <a:pt x="88" y="170"/>
                  </a:lnTo>
                  <a:lnTo>
                    <a:pt x="86" y="168"/>
                  </a:lnTo>
                  <a:lnTo>
                    <a:pt x="86" y="166"/>
                  </a:lnTo>
                  <a:lnTo>
                    <a:pt x="86" y="166"/>
                  </a:lnTo>
                  <a:lnTo>
                    <a:pt x="84" y="166"/>
                  </a:lnTo>
                  <a:lnTo>
                    <a:pt x="84" y="168"/>
                  </a:lnTo>
                  <a:lnTo>
                    <a:pt x="81" y="172"/>
                  </a:lnTo>
                  <a:lnTo>
                    <a:pt x="79" y="173"/>
                  </a:lnTo>
                  <a:lnTo>
                    <a:pt x="79" y="177"/>
                  </a:lnTo>
                  <a:lnTo>
                    <a:pt x="81" y="181"/>
                  </a:lnTo>
                  <a:lnTo>
                    <a:pt x="79" y="183"/>
                  </a:lnTo>
                  <a:lnTo>
                    <a:pt x="79" y="185"/>
                  </a:lnTo>
                  <a:lnTo>
                    <a:pt x="77" y="189"/>
                  </a:lnTo>
                  <a:lnTo>
                    <a:pt x="73" y="191"/>
                  </a:lnTo>
                  <a:lnTo>
                    <a:pt x="73" y="192"/>
                  </a:lnTo>
                  <a:lnTo>
                    <a:pt x="71" y="192"/>
                  </a:lnTo>
                  <a:lnTo>
                    <a:pt x="71" y="194"/>
                  </a:lnTo>
                  <a:lnTo>
                    <a:pt x="71" y="200"/>
                  </a:lnTo>
                  <a:lnTo>
                    <a:pt x="69" y="202"/>
                  </a:lnTo>
                  <a:lnTo>
                    <a:pt x="69" y="202"/>
                  </a:lnTo>
                  <a:lnTo>
                    <a:pt x="67" y="202"/>
                  </a:lnTo>
                  <a:lnTo>
                    <a:pt x="67" y="202"/>
                  </a:lnTo>
                  <a:lnTo>
                    <a:pt x="67" y="204"/>
                  </a:lnTo>
                  <a:lnTo>
                    <a:pt x="67" y="206"/>
                  </a:lnTo>
                  <a:lnTo>
                    <a:pt x="69" y="206"/>
                  </a:lnTo>
                  <a:lnTo>
                    <a:pt x="69" y="208"/>
                  </a:lnTo>
                  <a:lnTo>
                    <a:pt x="67" y="210"/>
                  </a:lnTo>
                  <a:lnTo>
                    <a:pt x="67" y="210"/>
                  </a:lnTo>
                  <a:lnTo>
                    <a:pt x="65" y="210"/>
                  </a:lnTo>
                  <a:lnTo>
                    <a:pt x="63" y="206"/>
                  </a:lnTo>
                  <a:lnTo>
                    <a:pt x="61" y="204"/>
                  </a:lnTo>
                  <a:lnTo>
                    <a:pt x="61" y="204"/>
                  </a:lnTo>
                  <a:lnTo>
                    <a:pt x="60" y="206"/>
                  </a:lnTo>
                  <a:lnTo>
                    <a:pt x="58" y="208"/>
                  </a:lnTo>
                  <a:lnTo>
                    <a:pt x="54" y="217"/>
                  </a:lnTo>
                  <a:lnTo>
                    <a:pt x="54" y="219"/>
                  </a:lnTo>
                  <a:lnTo>
                    <a:pt x="52" y="223"/>
                  </a:lnTo>
                  <a:lnTo>
                    <a:pt x="54" y="229"/>
                  </a:lnTo>
                  <a:lnTo>
                    <a:pt x="52" y="234"/>
                  </a:lnTo>
                  <a:lnTo>
                    <a:pt x="50" y="236"/>
                  </a:lnTo>
                  <a:lnTo>
                    <a:pt x="48" y="238"/>
                  </a:lnTo>
                  <a:lnTo>
                    <a:pt x="46" y="238"/>
                  </a:lnTo>
                  <a:lnTo>
                    <a:pt x="44" y="240"/>
                  </a:lnTo>
                  <a:lnTo>
                    <a:pt x="42" y="242"/>
                  </a:lnTo>
                  <a:lnTo>
                    <a:pt x="42" y="251"/>
                  </a:lnTo>
                  <a:lnTo>
                    <a:pt x="42" y="253"/>
                  </a:lnTo>
                  <a:lnTo>
                    <a:pt x="42" y="255"/>
                  </a:lnTo>
                  <a:lnTo>
                    <a:pt x="42" y="265"/>
                  </a:lnTo>
                  <a:lnTo>
                    <a:pt x="42" y="267"/>
                  </a:lnTo>
                  <a:lnTo>
                    <a:pt x="40" y="270"/>
                  </a:lnTo>
                  <a:lnTo>
                    <a:pt x="40" y="274"/>
                  </a:lnTo>
                  <a:lnTo>
                    <a:pt x="39" y="278"/>
                  </a:lnTo>
                  <a:lnTo>
                    <a:pt x="39" y="284"/>
                  </a:lnTo>
                  <a:lnTo>
                    <a:pt x="37" y="286"/>
                  </a:lnTo>
                  <a:lnTo>
                    <a:pt x="35" y="288"/>
                  </a:lnTo>
                  <a:lnTo>
                    <a:pt x="33" y="289"/>
                  </a:lnTo>
                  <a:lnTo>
                    <a:pt x="27" y="293"/>
                  </a:lnTo>
                  <a:lnTo>
                    <a:pt x="21" y="297"/>
                  </a:lnTo>
                  <a:lnTo>
                    <a:pt x="20" y="297"/>
                  </a:lnTo>
                  <a:lnTo>
                    <a:pt x="20" y="299"/>
                  </a:lnTo>
                  <a:lnTo>
                    <a:pt x="18" y="299"/>
                  </a:lnTo>
                  <a:lnTo>
                    <a:pt x="18" y="301"/>
                  </a:lnTo>
                  <a:lnTo>
                    <a:pt x="18" y="307"/>
                  </a:lnTo>
                  <a:lnTo>
                    <a:pt x="16" y="310"/>
                  </a:lnTo>
                  <a:lnTo>
                    <a:pt x="16" y="312"/>
                  </a:lnTo>
                  <a:lnTo>
                    <a:pt x="16" y="312"/>
                  </a:lnTo>
                  <a:lnTo>
                    <a:pt x="16" y="316"/>
                  </a:lnTo>
                  <a:lnTo>
                    <a:pt x="18" y="318"/>
                  </a:lnTo>
                  <a:lnTo>
                    <a:pt x="18" y="318"/>
                  </a:lnTo>
                  <a:lnTo>
                    <a:pt x="20" y="318"/>
                  </a:lnTo>
                  <a:lnTo>
                    <a:pt x="20" y="320"/>
                  </a:lnTo>
                  <a:lnTo>
                    <a:pt x="20" y="320"/>
                  </a:lnTo>
                  <a:lnTo>
                    <a:pt x="21" y="320"/>
                  </a:lnTo>
                  <a:lnTo>
                    <a:pt x="21" y="320"/>
                  </a:lnTo>
                  <a:lnTo>
                    <a:pt x="21" y="320"/>
                  </a:lnTo>
                  <a:lnTo>
                    <a:pt x="23" y="320"/>
                  </a:lnTo>
                  <a:lnTo>
                    <a:pt x="25" y="320"/>
                  </a:lnTo>
                  <a:lnTo>
                    <a:pt x="25" y="320"/>
                  </a:lnTo>
                  <a:lnTo>
                    <a:pt x="25" y="320"/>
                  </a:lnTo>
                  <a:lnTo>
                    <a:pt x="27" y="320"/>
                  </a:lnTo>
                  <a:lnTo>
                    <a:pt x="27" y="322"/>
                  </a:lnTo>
                  <a:lnTo>
                    <a:pt x="27" y="322"/>
                  </a:lnTo>
                  <a:lnTo>
                    <a:pt x="27" y="324"/>
                  </a:lnTo>
                  <a:lnTo>
                    <a:pt x="27" y="326"/>
                  </a:lnTo>
                  <a:lnTo>
                    <a:pt x="27" y="335"/>
                  </a:lnTo>
                  <a:lnTo>
                    <a:pt x="29" y="343"/>
                  </a:lnTo>
                  <a:lnTo>
                    <a:pt x="29" y="345"/>
                  </a:lnTo>
                  <a:lnTo>
                    <a:pt x="27" y="345"/>
                  </a:lnTo>
                  <a:lnTo>
                    <a:pt x="27" y="347"/>
                  </a:lnTo>
                  <a:lnTo>
                    <a:pt x="23" y="348"/>
                  </a:lnTo>
                  <a:lnTo>
                    <a:pt x="23" y="348"/>
                  </a:lnTo>
                  <a:lnTo>
                    <a:pt x="21" y="348"/>
                  </a:lnTo>
                  <a:lnTo>
                    <a:pt x="21" y="350"/>
                  </a:lnTo>
                  <a:lnTo>
                    <a:pt x="21" y="352"/>
                  </a:lnTo>
                  <a:lnTo>
                    <a:pt x="21" y="352"/>
                  </a:lnTo>
                  <a:lnTo>
                    <a:pt x="21" y="352"/>
                  </a:lnTo>
                  <a:lnTo>
                    <a:pt x="21" y="354"/>
                  </a:lnTo>
                  <a:lnTo>
                    <a:pt x="23" y="354"/>
                  </a:lnTo>
                  <a:lnTo>
                    <a:pt x="23" y="354"/>
                  </a:lnTo>
                  <a:lnTo>
                    <a:pt x="23" y="354"/>
                  </a:lnTo>
                  <a:lnTo>
                    <a:pt x="25" y="354"/>
                  </a:lnTo>
                  <a:lnTo>
                    <a:pt x="27" y="352"/>
                  </a:lnTo>
                  <a:lnTo>
                    <a:pt x="27" y="350"/>
                  </a:lnTo>
                  <a:lnTo>
                    <a:pt x="29" y="350"/>
                  </a:lnTo>
                  <a:lnTo>
                    <a:pt x="29" y="350"/>
                  </a:lnTo>
                  <a:lnTo>
                    <a:pt x="29" y="350"/>
                  </a:lnTo>
                  <a:lnTo>
                    <a:pt x="31" y="352"/>
                  </a:lnTo>
                  <a:lnTo>
                    <a:pt x="33" y="352"/>
                  </a:lnTo>
                  <a:lnTo>
                    <a:pt x="33" y="352"/>
                  </a:lnTo>
                  <a:lnTo>
                    <a:pt x="33" y="352"/>
                  </a:lnTo>
                  <a:lnTo>
                    <a:pt x="33" y="352"/>
                  </a:lnTo>
                  <a:lnTo>
                    <a:pt x="33" y="354"/>
                  </a:lnTo>
                  <a:lnTo>
                    <a:pt x="33" y="354"/>
                  </a:lnTo>
                  <a:lnTo>
                    <a:pt x="33" y="358"/>
                  </a:lnTo>
                  <a:lnTo>
                    <a:pt x="33" y="360"/>
                  </a:lnTo>
                  <a:lnTo>
                    <a:pt x="33" y="360"/>
                  </a:lnTo>
                  <a:lnTo>
                    <a:pt x="35" y="360"/>
                  </a:lnTo>
                  <a:lnTo>
                    <a:pt x="35" y="362"/>
                  </a:lnTo>
                  <a:lnTo>
                    <a:pt x="35" y="362"/>
                  </a:lnTo>
                  <a:lnTo>
                    <a:pt x="33" y="364"/>
                  </a:lnTo>
                  <a:lnTo>
                    <a:pt x="33" y="366"/>
                  </a:lnTo>
                  <a:lnTo>
                    <a:pt x="33" y="366"/>
                  </a:lnTo>
                  <a:lnTo>
                    <a:pt x="33" y="371"/>
                  </a:lnTo>
                  <a:lnTo>
                    <a:pt x="33" y="373"/>
                  </a:lnTo>
                  <a:lnTo>
                    <a:pt x="33" y="375"/>
                  </a:lnTo>
                  <a:lnTo>
                    <a:pt x="33" y="377"/>
                  </a:lnTo>
                  <a:lnTo>
                    <a:pt x="33" y="377"/>
                  </a:lnTo>
                  <a:lnTo>
                    <a:pt x="33" y="379"/>
                  </a:lnTo>
                  <a:lnTo>
                    <a:pt x="33" y="379"/>
                  </a:lnTo>
                  <a:lnTo>
                    <a:pt x="33" y="381"/>
                  </a:lnTo>
                  <a:lnTo>
                    <a:pt x="31" y="381"/>
                  </a:lnTo>
                  <a:lnTo>
                    <a:pt x="29" y="381"/>
                  </a:lnTo>
                  <a:lnTo>
                    <a:pt x="29" y="383"/>
                  </a:lnTo>
                  <a:lnTo>
                    <a:pt x="27" y="385"/>
                  </a:lnTo>
                  <a:lnTo>
                    <a:pt x="25" y="385"/>
                  </a:lnTo>
                  <a:lnTo>
                    <a:pt x="23" y="385"/>
                  </a:lnTo>
                  <a:lnTo>
                    <a:pt x="23" y="386"/>
                  </a:lnTo>
                  <a:lnTo>
                    <a:pt x="18" y="386"/>
                  </a:lnTo>
                  <a:lnTo>
                    <a:pt x="16" y="386"/>
                  </a:lnTo>
                  <a:lnTo>
                    <a:pt x="16" y="386"/>
                  </a:lnTo>
                  <a:lnTo>
                    <a:pt x="16" y="388"/>
                  </a:lnTo>
                  <a:lnTo>
                    <a:pt x="16" y="390"/>
                  </a:lnTo>
                  <a:lnTo>
                    <a:pt x="16" y="390"/>
                  </a:lnTo>
                  <a:lnTo>
                    <a:pt x="16" y="392"/>
                  </a:lnTo>
                  <a:lnTo>
                    <a:pt x="14" y="396"/>
                  </a:lnTo>
                  <a:lnTo>
                    <a:pt x="14" y="396"/>
                  </a:lnTo>
                  <a:lnTo>
                    <a:pt x="14" y="396"/>
                  </a:lnTo>
                  <a:lnTo>
                    <a:pt x="16" y="398"/>
                  </a:lnTo>
                  <a:lnTo>
                    <a:pt x="23" y="398"/>
                  </a:lnTo>
                  <a:lnTo>
                    <a:pt x="23" y="398"/>
                  </a:lnTo>
                  <a:lnTo>
                    <a:pt x="23" y="398"/>
                  </a:lnTo>
                  <a:lnTo>
                    <a:pt x="25" y="398"/>
                  </a:lnTo>
                  <a:lnTo>
                    <a:pt x="27" y="404"/>
                  </a:lnTo>
                  <a:lnTo>
                    <a:pt x="27" y="407"/>
                  </a:lnTo>
                  <a:lnTo>
                    <a:pt x="27" y="407"/>
                  </a:lnTo>
                  <a:lnTo>
                    <a:pt x="27" y="409"/>
                  </a:lnTo>
                  <a:lnTo>
                    <a:pt x="27" y="409"/>
                  </a:lnTo>
                  <a:lnTo>
                    <a:pt x="25" y="411"/>
                  </a:lnTo>
                  <a:lnTo>
                    <a:pt x="25" y="417"/>
                  </a:lnTo>
                  <a:lnTo>
                    <a:pt x="25" y="419"/>
                  </a:lnTo>
                  <a:lnTo>
                    <a:pt x="25" y="419"/>
                  </a:lnTo>
                  <a:lnTo>
                    <a:pt x="25" y="419"/>
                  </a:lnTo>
                  <a:lnTo>
                    <a:pt x="23" y="419"/>
                  </a:lnTo>
                  <a:lnTo>
                    <a:pt x="23" y="419"/>
                  </a:lnTo>
                  <a:lnTo>
                    <a:pt x="21" y="419"/>
                  </a:lnTo>
                  <a:lnTo>
                    <a:pt x="20" y="417"/>
                  </a:lnTo>
                  <a:lnTo>
                    <a:pt x="18" y="417"/>
                  </a:lnTo>
                  <a:lnTo>
                    <a:pt x="18" y="417"/>
                  </a:lnTo>
                  <a:lnTo>
                    <a:pt x="18" y="419"/>
                  </a:lnTo>
                  <a:lnTo>
                    <a:pt x="16" y="421"/>
                  </a:lnTo>
                  <a:lnTo>
                    <a:pt x="16" y="421"/>
                  </a:lnTo>
                  <a:lnTo>
                    <a:pt x="16" y="423"/>
                  </a:lnTo>
                  <a:lnTo>
                    <a:pt x="16" y="423"/>
                  </a:lnTo>
                  <a:lnTo>
                    <a:pt x="16" y="423"/>
                  </a:lnTo>
                  <a:lnTo>
                    <a:pt x="16" y="423"/>
                  </a:lnTo>
                  <a:lnTo>
                    <a:pt x="18" y="423"/>
                  </a:lnTo>
                  <a:lnTo>
                    <a:pt x="20" y="424"/>
                  </a:lnTo>
                  <a:lnTo>
                    <a:pt x="20" y="424"/>
                  </a:lnTo>
                  <a:lnTo>
                    <a:pt x="21" y="424"/>
                  </a:lnTo>
                  <a:lnTo>
                    <a:pt x="21" y="426"/>
                  </a:lnTo>
                  <a:lnTo>
                    <a:pt x="20" y="426"/>
                  </a:lnTo>
                  <a:lnTo>
                    <a:pt x="20" y="426"/>
                  </a:lnTo>
                  <a:lnTo>
                    <a:pt x="20" y="428"/>
                  </a:lnTo>
                  <a:lnTo>
                    <a:pt x="20" y="428"/>
                  </a:lnTo>
                  <a:lnTo>
                    <a:pt x="20" y="428"/>
                  </a:lnTo>
                  <a:lnTo>
                    <a:pt x="18" y="430"/>
                  </a:lnTo>
                  <a:lnTo>
                    <a:pt x="16" y="430"/>
                  </a:lnTo>
                  <a:lnTo>
                    <a:pt x="14" y="430"/>
                  </a:lnTo>
                  <a:lnTo>
                    <a:pt x="14" y="432"/>
                  </a:lnTo>
                  <a:lnTo>
                    <a:pt x="14" y="432"/>
                  </a:lnTo>
                  <a:lnTo>
                    <a:pt x="14" y="432"/>
                  </a:lnTo>
                  <a:lnTo>
                    <a:pt x="14" y="434"/>
                  </a:lnTo>
                  <a:lnTo>
                    <a:pt x="16" y="434"/>
                  </a:lnTo>
                  <a:lnTo>
                    <a:pt x="18" y="434"/>
                  </a:lnTo>
                  <a:lnTo>
                    <a:pt x="20" y="434"/>
                  </a:lnTo>
                  <a:lnTo>
                    <a:pt x="20" y="434"/>
                  </a:lnTo>
                  <a:lnTo>
                    <a:pt x="21" y="434"/>
                  </a:lnTo>
                  <a:lnTo>
                    <a:pt x="21" y="434"/>
                  </a:lnTo>
                  <a:lnTo>
                    <a:pt x="21" y="434"/>
                  </a:lnTo>
                  <a:lnTo>
                    <a:pt x="21" y="434"/>
                  </a:lnTo>
                  <a:lnTo>
                    <a:pt x="21" y="432"/>
                  </a:lnTo>
                  <a:lnTo>
                    <a:pt x="21" y="432"/>
                  </a:lnTo>
                  <a:lnTo>
                    <a:pt x="21" y="432"/>
                  </a:lnTo>
                  <a:lnTo>
                    <a:pt x="21" y="432"/>
                  </a:lnTo>
                  <a:lnTo>
                    <a:pt x="21" y="430"/>
                  </a:lnTo>
                  <a:lnTo>
                    <a:pt x="21" y="430"/>
                  </a:lnTo>
                  <a:lnTo>
                    <a:pt x="23" y="430"/>
                  </a:lnTo>
                  <a:lnTo>
                    <a:pt x="23" y="430"/>
                  </a:lnTo>
                  <a:lnTo>
                    <a:pt x="25" y="430"/>
                  </a:lnTo>
                  <a:lnTo>
                    <a:pt x="25" y="430"/>
                  </a:lnTo>
                  <a:lnTo>
                    <a:pt x="25" y="430"/>
                  </a:lnTo>
                  <a:lnTo>
                    <a:pt x="27" y="432"/>
                  </a:lnTo>
                  <a:lnTo>
                    <a:pt x="27" y="436"/>
                  </a:lnTo>
                  <a:lnTo>
                    <a:pt x="27" y="438"/>
                  </a:lnTo>
                  <a:lnTo>
                    <a:pt x="29" y="438"/>
                  </a:lnTo>
                  <a:lnTo>
                    <a:pt x="31" y="440"/>
                  </a:lnTo>
                  <a:lnTo>
                    <a:pt x="31" y="440"/>
                  </a:lnTo>
                  <a:lnTo>
                    <a:pt x="35" y="440"/>
                  </a:lnTo>
                  <a:lnTo>
                    <a:pt x="37" y="442"/>
                  </a:lnTo>
                  <a:lnTo>
                    <a:pt x="37" y="442"/>
                  </a:lnTo>
                  <a:lnTo>
                    <a:pt x="37" y="442"/>
                  </a:lnTo>
                  <a:lnTo>
                    <a:pt x="39" y="444"/>
                  </a:lnTo>
                  <a:lnTo>
                    <a:pt x="39" y="449"/>
                  </a:lnTo>
                  <a:lnTo>
                    <a:pt x="40" y="449"/>
                  </a:lnTo>
                  <a:lnTo>
                    <a:pt x="40" y="451"/>
                  </a:lnTo>
                  <a:lnTo>
                    <a:pt x="42" y="451"/>
                  </a:lnTo>
                  <a:lnTo>
                    <a:pt x="46" y="453"/>
                  </a:lnTo>
                  <a:lnTo>
                    <a:pt x="48" y="453"/>
                  </a:lnTo>
                  <a:lnTo>
                    <a:pt x="50" y="455"/>
                  </a:lnTo>
                  <a:lnTo>
                    <a:pt x="52" y="455"/>
                  </a:lnTo>
                  <a:lnTo>
                    <a:pt x="52" y="455"/>
                  </a:lnTo>
                  <a:lnTo>
                    <a:pt x="52" y="455"/>
                  </a:lnTo>
                  <a:lnTo>
                    <a:pt x="54" y="457"/>
                  </a:lnTo>
                  <a:lnTo>
                    <a:pt x="54" y="459"/>
                  </a:lnTo>
                  <a:lnTo>
                    <a:pt x="58" y="461"/>
                  </a:lnTo>
                  <a:lnTo>
                    <a:pt x="58" y="463"/>
                  </a:lnTo>
                  <a:lnTo>
                    <a:pt x="60" y="464"/>
                  </a:lnTo>
                  <a:lnTo>
                    <a:pt x="58" y="464"/>
                  </a:lnTo>
                  <a:lnTo>
                    <a:pt x="58" y="466"/>
                  </a:lnTo>
                  <a:lnTo>
                    <a:pt x="58" y="468"/>
                  </a:lnTo>
                  <a:lnTo>
                    <a:pt x="56" y="468"/>
                  </a:lnTo>
                  <a:lnTo>
                    <a:pt x="54" y="468"/>
                  </a:lnTo>
                  <a:lnTo>
                    <a:pt x="52" y="468"/>
                  </a:lnTo>
                  <a:lnTo>
                    <a:pt x="52" y="470"/>
                  </a:lnTo>
                  <a:lnTo>
                    <a:pt x="50" y="470"/>
                  </a:lnTo>
                  <a:lnTo>
                    <a:pt x="50" y="470"/>
                  </a:lnTo>
                  <a:lnTo>
                    <a:pt x="50" y="472"/>
                  </a:lnTo>
                  <a:lnTo>
                    <a:pt x="52" y="474"/>
                  </a:lnTo>
                  <a:lnTo>
                    <a:pt x="52" y="476"/>
                  </a:lnTo>
                  <a:lnTo>
                    <a:pt x="52" y="476"/>
                  </a:lnTo>
                  <a:lnTo>
                    <a:pt x="52" y="478"/>
                  </a:lnTo>
                  <a:lnTo>
                    <a:pt x="48" y="480"/>
                  </a:lnTo>
                  <a:lnTo>
                    <a:pt x="46" y="480"/>
                  </a:lnTo>
                  <a:lnTo>
                    <a:pt x="44" y="482"/>
                  </a:lnTo>
                  <a:lnTo>
                    <a:pt x="44" y="482"/>
                  </a:lnTo>
                  <a:lnTo>
                    <a:pt x="42" y="483"/>
                  </a:lnTo>
                  <a:lnTo>
                    <a:pt x="42" y="483"/>
                  </a:lnTo>
                  <a:lnTo>
                    <a:pt x="42" y="483"/>
                  </a:lnTo>
                  <a:lnTo>
                    <a:pt x="40" y="482"/>
                  </a:lnTo>
                  <a:lnTo>
                    <a:pt x="40" y="480"/>
                  </a:lnTo>
                  <a:lnTo>
                    <a:pt x="39" y="478"/>
                  </a:lnTo>
                  <a:lnTo>
                    <a:pt x="37" y="478"/>
                  </a:lnTo>
                  <a:lnTo>
                    <a:pt x="35" y="478"/>
                  </a:lnTo>
                  <a:lnTo>
                    <a:pt x="33" y="478"/>
                  </a:lnTo>
                  <a:lnTo>
                    <a:pt x="31" y="476"/>
                  </a:lnTo>
                  <a:lnTo>
                    <a:pt x="31" y="472"/>
                  </a:lnTo>
                  <a:lnTo>
                    <a:pt x="29" y="470"/>
                  </a:lnTo>
                  <a:lnTo>
                    <a:pt x="27" y="472"/>
                  </a:lnTo>
                  <a:lnTo>
                    <a:pt x="25" y="472"/>
                  </a:lnTo>
                  <a:lnTo>
                    <a:pt x="25" y="474"/>
                  </a:lnTo>
                  <a:lnTo>
                    <a:pt x="23" y="476"/>
                  </a:lnTo>
                  <a:lnTo>
                    <a:pt x="23" y="476"/>
                  </a:lnTo>
                  <a:lnTo>
                    <a:pt x="21" y="476"/>
                  </a:lnTo>
                  <a:lnTo>
                    <a:pt x="20" y="478"/>
                  </a:lnTo>
                  <a:lnTo>
                    <a:pt x="20" y="478"/>
                  </a:lnTo>
                  <a:lnTo>
                    <a:pt x="18" y="482"/>
                  </a:lnTo>
                  <a:lnTo>
                    <a:pt x="18" y="483"/>
                  </a:lnTo>
                  <a:lnTo>
                    <a:pt x="16" y="483"/>
                  </a:lnTo>
                  <a:lnTo>
                    <a:pt x="14" y="483"/>
                  </a:lnTo>
                  <a:lnTo>
                    <a:pt x="14" y="485"/>
                  </a:lnTo>
                  <a:lnTo>
                    <a:pt x="12" y="487"/>
                  </a:lnTo>
                  <a:lnTo>
                    <a:pt x="10" y="495"/>
                  </a:lnTo>
                  <a:lnTo>
                    <a:pt x="10" y="497"/>
                  </a:lnTo>
                  <a:lnTo>
                    <a:pt x="10" y="499"/>
                  </a:lnTo>
                  <a:lnTo>
                    <a:pt x="8" y="501"/>
                  </a:lnTo>
                  <a:lnTo>
                    <a:pt x="2" y="508"/>
                  </a:lnTo>
                  <a:lnTo>
                    <a:pt x="0" y="512"/>
                  </a:lnTo>
                  <a:lnTo>
                    <a:pt x="0" y="514"/>
                  </a:lnTo>
                  <a:lnTo>
                    <a:pt x="2" y="518"/>
                  </a:lnTo>
                  <a:lnTo>
                    <a:pt x="8" y="523"/>
                  </a:lnTo>
                  <a:lnTo>
                    <a:pt x="8" y="525"/>
                  </a:lnTo>
                  <a:lnTo>
                    <a:pt x="6" y="527"/>
                  </a:lnTo>
                  <a:lnTo>
                    <a:pt x="0" y="531"/>
                  </a:lnTo>
                  <a:lnTo>
                    <a:pt x="0" y="531"/>
                  </a:lnTo>
                  <a:lnTo>
                    <a:pt x="0" y="533"/>
                  </a:lnTo>
                  <a:lnTo>
                    <a:pt x="0" y="535"/>
                  </a:lnTo>
                  <a:lnTo>
                    <a:pt x="0" y="535"/>
                  </a:lnTo>
                  <a:lnTo>
                    <a:pt x="0" y="537"/>
                  </a:lnTo>
                  <a:lnTo>
                    <a:pt x="2" y="537"/>
                  </a:lnTo>
                  <a:lnTo>
                    <a:pt x="2" y="537"/>
                  </a:lnTo>
                  <a:lnTo>
                    <a:pt x="4" y="539"/>
                  </a:lnTo>
                  <a:lnTo>
                    <a:pt x="4" y="539"/>
                  </a:lnTo>
                  <a:lnTo>
                    <a:pt x="4" y="541"/>
                  </a:lnTo>
                  <a:lnTo>
                    <a:pt x="4" y="541"/>
                  </a:lnTo>
                  <a:lnTo>
                    <a:pt x="4" y="542"/>
                  </a:lnTo>
                  <a:lnTo>
                    <a:pt x="6" y="544"/>
                  </a:lnTo>
                  <a:lnTo>
                    <a:pt x="6" y="544"/>
                  </a:lnTo>
                  <a:lnTo>
                    <a:pt x="6" y="546"/>
                  </a:lnTo>
                  <a:lnTo>
                    <a:pt x="8" y="546"/>
                  </a:lnTo>
                  <a:lnTo>
                    <a:pt x="8" y="548"/>
                  </a:lnTo>
                  <a:lnTo>
                    <a:pt x="8" y="548"/>
                  </a:lnTo>
                  <a:lnTo>
                    <a:pt x="10" y="548"/>
                  </a:lnTo>
                  <a:lnTo>
                    <a:pt x="10" y="548"/>
                  </a:lnTo>
                  <a:lnTo>
                    <a:pt x="10" y="546"/>
                  </a:lnTo>
                  <a:lnTo>
                    <a:pt x="12" y="546"/>
                  </a:lnTo>
                  <a:lnTo>
                    <a:pt x="12" y="548"/>
                  </a:lnTo>
                  <a:lnTo>
                    <a:pt x="12" y="548"/>
                  </a:lnTo>
                  <a:lnTo>
                    <a:pt x="14" y="550"/>
                  </a:lnTo>
                  <a:lnTo>
                    <a:pt x="16" y="548"/>
                  </a:lnTo>
                  <a:lnTo>
                    <a:pt x="20" y="548"/>
                  </a:lnTo>
                  <a:lnTo>
                    <a:pt x="21" y="548"/>
                  </a:lnTo>
                  <a:lnTo>
                    <a:pt x="21" y="548"/>
                  </a:lnTo>
                  <a:lnTo>
                    <a:pt x="23" y="550"/>
                  </a:lnTo>
                  <a:lnTo>
                    <a:pt x="25" y="550"/>
                  </a:lnTo>
                  <a:lnTo>
                    <a:pt x="27" y="552"/>
                  </a:lnTo>
                  <a:lnTo>
                    <a:pt x="27" y="552"/>
                  </a:lnTo>
                  <a:lnTo>
                    <a:pt x="29" y="554"/>
                  </a:lnTo>
                  <a:lnTo>
                    <a:pt x="35" y="560"/>
                  </a:lnTo>
                  <a:lnTo>
                    <a:pt x="35" y="561"/>
                  </a:lnTo>
                  <a:lnTo>
                    <a:pt x="37" y="563"/>
                  </a:lnTo>
                  <a:lnTo>
                    <a:pt x="39" y="565"/>
                  </a:lnTo>
                  <a:lnTo>
                    <a:pt x="40" y="567"/>
                  </a:lnTo>
                  <a:lnTo>
                    <a:pt x="40" y="567"/>
                  </a:lnTo>
                  <a:lnTo>
                    <a:pt x="42" y="569"/>
                  </a:lnTo>
                  <a:lnTo>
                    <a:pt x="42" y="573"/>
                  </a:lnTo>
                  <a:lnTo>
                    <a:pt x="44" y="579"/>
                  </a:lnTo>
                  <a:lnTo>
                    <a:pt x="46" y="580"/>
                  </a:lnTo>
                  <a:lnTo>
                    <a:pt x="48" y="582"/>
                  </a:lnTo>
                  <a:lnTo>
                    <a:pt x="48" y="582"/>
                  </a:lnTo>
                  <a:lnTo>
                    <a:pt x="46" y="584"/>
                  </a:lnTo>
                  <a:lnTo>
                    <a:pt x="46" y="584"/>
                  </a:lnTo>
                  <a:lnTo>
                    <a:pt x="44" y="584"/>
                  </a:lnTo>
                  <a:lnTo>
                    <a:pt x="44" y="586"/>
                  </a:lnTo>
                  <a:lnTo>
                    <a:pt x="44" y="586"/>
                  </a:lnTo>
                  <a:lnTo>
                    <a:pt x="42" y="588"/>
                  </a:lnTo>
                  <a:lnTo>
                    <a:pt x="42" y="588"/>
                  </a:lnTo>
                  <a:lnTo>
                    <a:pt x="44" y="590"/>
                  </a:lnTo>
                  <a:lnTo>
                    <a:pt x="44" y="590"/>
                  </a:lnTo>
                  <a:lnTo>
                    <a:pt x="46" y="590"/>
                  </a:lnTo>
                  <a:lnTo>
                    <a:pt x="48" y="590"/>
                  </a:lnTo>
                  <a:lnTo>
                    <a:pt x="48" y="590"/>
                  </a:lnTo>
                  <a:lnTo>
                    <a:pt x="50" y="590"/>
                  </a:lnTo>
                  <a:lnTo>
                    <a:pt x="50" y="590"/>
                  </a:lnTo>
                  <a:lnTo>
                    <a:pt x="50" y="590"/>
                  </a:lnTo>
                  <a:lnTo>
                    <a:pt x="50" y="588"/>
                  </a:lnTo>
                  <a:lnTo>
                    <a:pt x="50" y="586"/>
                  </a:lnTo>
                  <a:lnTo>
                    <a:pt x="52" y="586"/>
                  </a:lnTo>
                  <a:lnTo>
                    <a:pt x="52" y="586"/>
                  </a:lnTo>
                  <a:lnTo>
                    <a:pt x="52" y="586"/>
                  </a:lnTo>
                  <a:lnTo>
                    <a:pt x="54" y="586"/>
                  </a:lnTo>
                  <a:lnTo>
                    <a:pt x="54" y="586"/>
                  </a:lnTo>
                  <a:lnTo>
                    <a:pt x="54" y="588"/>
                  </a:lnTo>
                  <a:lnTo>
                    <a:pt x="54" y="588"/>
                  </a:lnTo>
                  <a:lnTo>
                    <a:pt x="54" y="590"/>
                  </a:lnTo>
                  <a:lnTo>
                    <a:pt x="56" y="592"/>
                  </a:lnTo>
                  <a:lnTo>
                    <a:pt x="56" y="592"/>
                  </a:lnTo>
                  <a:lnTo>
                    <a:pt x="56" y="594"/>
                  </a:lnTo>
                  <a:lnTo>
                    <a:pt x="58" y="594"/>
                  </a:lnTo>
                  <a:lnTo>
                    <a:pt x="60" y="592"/>
                  </a:lnTo>
                  <a:lnTo>
                    <a:pt x="61" y="592"/>
                  </a:lnTo>
                  <a:lnTo>
                    <a:pt x="61" y="592"/>
                  </a:lnTo>
                  <a:lnTo>
                    <a:pt x="63" y="592"/>
                  </a:lnTo>
                  <a:lnTo>
                    <a:pt x="65" y="592"/>
                  </a:lnTo>
                  <a:lnTo>
                    <a:pt x="65" y="594"/>
                  </a:lnTo>
                  <a:lnTo>
                    <a:pt x="63" y="594"/>
                  </a:lnTo>
                  <a:lnTo>
                    <a:pt x="63" y="596"/>
                  </a:lnTo>
                  <a:lnTo>
                    <a:pt x="63" y="596"/>
                  </a:lnTo>
                  <a:lnTo>
                    <a:pt x="61" y="598"/>
                  </a:lnTo>
                  <a:lnTo>
                    <a:pt x="63" y="599"/>
                  </a:lnTo>
                  <a:lnTo>
                    <a:pt x="63" y="601"/>
                  </a:lnTo>
                  <a:lnTo>
                    <a:pt x="63" y="603"/>
                  </a:lnTo>
                  <a:lnTo>
                    <a:pt x="63" y="605"/>
                  </a:lnTo>
                  <a:lnTo>
                    <a:pt x="65" y="609"/>
                  </a:lnTo>
                  <a:lnTo>
                    <a:pt x="67" y="609"/>
                  </a:lnTo>
                  <a:lnTo>
                    <a:pt x="67" y="622"/>
                  </a:lnTo>
                  <a:lnTo>
                    <a:pt x="69" y="624"/>
                  </a:lnTo>
                  <a:lnTo>
                    <a:pt x="69" y="628"/>
                  </a:lnTo>
                  <a:lnTo>
                    <a:pt x="71" y="628"/>
                  </a:lnTo>
                  <a:lnTo>
                    <a:pt x="73" y="628"/>
                  </a:lnTo>
                  <a:lnTo>
                    <a:pt x="73" y="628"/>
                  </a:lnTo>
                  <a:lnTo>
                    <a:pt x="77" y="626"/>
                  </a:lnTo>
                  <a:lnTo>
                    <a:pt x="79" y="624"/>
                  </a:lnTo>
                  <a:lnTo>
                    <a:pt x="81" y="622"/>
                  </a:lnTo>
                  <a:lnTo>
                    <a:pt x="82" y="622"/>
                  </a:lnTo>
                  <a:lnTo>
                    <a:pt x="82" y="622"/>
                  </a:lnTo>
                  <a:lnTo>
                    <a:pt x="84" y="622"/>
                  </a:lnTo>
                  <a:lnTo>
                    <a:pt x="84" y="622"/>
                  </a:lnTo>
                  <a:lnTo>
                    <a:pt x="86" y="624"/>
                  </a:lnTo>
                  <a:lnTo>
                    <a:pt x="88" y="624"/>
                  </a:lnTo>
                  <a:lnTo>
                    <a:pt x="90" y="626"/>
                  </a:lnTo>
                  <a:lnTo>
                    <a:pt x="94" y="626"/>
                  </a:lnTo>
                  <a:lnTo>
                    <a:pt x="98" y="624"/>
                  </a:lnTo>
                  <a:lnTo>
                    <a:pt x="105" y="626"/>
                  </a:lnTo>
                  <a:lnTo>
                    <a:pt x="103" y="624"/>
                  </a:lnTo>
                  <a:lnTo>
                    <a:pt x="103" y="622"/>
                  </a:lnTo>
                  <a:lnTo>
                    <a:pt x="105" y="620"/>
                  </a:lnTo>
                  <a:lnTo>
                    <a:pt x="105" y="618"/>
                  </a:lnTo>
                  <a:lnTo>
                    <a:pt x="105" y="618"/>
                  </a:lnTo>
                  <a:lnTo>
                    <a:pt x="105" y="618"/>
                  </a:lnTo>
                  <a:lnTo>
                    <a:pt x="105" y="617"/>
                  </a:lnTo>
                  <a:lnTo>
                    <a:pt x="105" y="617"/>
                  </a:lnTo>
                  <a:lnTo>
                    <a:pt x="107" y="617"/>
                  </a:lnTo>
                  <a:lnTo>
                    <a:pt x="107" y="617"/>
                  </a:lnTo>
                  <a:lnTo>
                    <a:pt x="107" y="618"/>
                  </a:lnTo>
                  <a:lnTo>
                    <a:pt x="107" y="618"/>
                  </a:lnTo>
                  <a:lnTo>
                    <a:pt x="109" y="618"/>
                  </a:lnTo>
                  <a:lnTo>
                    <a:pt x="109" y="618"/>
                  </a:lnTo>
                  <a:lnTo>
                    <a:pt x="109" y="618"/>
                  </a:lnTo>
                  <a:lnTo>
                    <a:pt x="109" y="618"/>
                  </a:lnTo>
                  <a:lnTo>
                    <a:pt x="109" y="617"/>
                  </a:lnTo>
                  <a:lnTo>
                    <a:pt x="109" y="615"/>
                  </a:lnTo>
                  <a:lnTo>
                    <a:pt x="109" y="615"/>
                  </a:lnTo>
                  <a:lnTo>
                    <a:pt x="109" y="613"/>
                  </a:lnTo>
                  <a:lnTo>
                    <a:pt x="111" y="613"/>
                  </a:lnTo>
                  <a:lnTo>
                    <a:pt x="111" y="611"/>
                  </a:lnTo>
                  <a:lnTo>
                    <a:pt x="111" y="611"/>
                  </a:lnTo>
                  <a:lnTo>
                    <a:pt x="113" y="611"/>
                  </a:lnTo>
                  <a:lnTo>
                    <a:pt x="113" y="609"/>
                  </a:lnTo>
                  <a:lnTo>
                    <a:pt x="113" y="607"/>
                  </a:lnTo>
                  <a:lnTo>
                    <a:pt x="113" y="603"/>
                  </a:lnTo>
                  <a:lnTo>
                    <a:pt x="113" y="603"/>
                  </a:lnTo>
                  <a:lnTo>
                    <a:pt x="113" y="601"/>
                  </a:lnTo>
                  <a:lnTo>
                    <a:pt x="113" y="601"/>
                  </a:lnTo>
                  <a:lnTo>
                    <a:pt x="113" y="601"/>
                  </a:lnTo>
                  <a:lnTo>
                    <a:pt x="115" y="599"/>
                  </a:lnTo>
                  <a:lnTo>
                    <a:pt x="115" y="599"/>
                  </a:lnTo>
                  <a:lnTo>
                    <a:pt x="115" y="599"/>
                  </a:lnTo>
                  <a:lnTo>
                    <a:pt x="115" y="598"/>
                  </a:lnTo>
                  <a:lnTo>
                    <a:pt x="117" y="596"/>
                  </a:lnTo>
                  <a:lnTo>
                    <a:pt x="117" y="594"/>
                  </a:lnTo>
                  <a:lnTo>
                    <a:pt x="117" y="592"/>
                  </a:lnTo>
                  <a:lnTo>
                    <a:pt x="117" y="590"/>
                  </a:lnTo>
                  <a:lnTo>
                    <a:pt x="117" y="590"/>
                  </a:lnTo>
                  <a:lnTo>
                    <a:pt x="115" y="588"/>
                  </a:lnTo>
                  <a:lnTo>
                    <a:pt x="115" y="588"/>
                  </a:lnTo>
                  <a:lnTo>
                    <a:pt x="115" y="588"/>
                  </a:lnTo>
                  <a:lnTo>
                    <a:pt x="115" y="586"/>
                  </a:lnTo>
                  <a:lnTo>
                    <a:pt x="117" y="586"/>
                  </a:lnTo>
                  <a:lnTo>
                    <a:pt x="117" y="586"/>
                  </a:lnTo>
                  <a:lnTo>
                    <a:pt x="117" y="584"/>
                  </a:lnTo>
                  <a:lnTo>
                    <a:pt x="119" y="580"/>
                  </a:lnTo>
                  <a:lnTo>
                    <a:pt x="119" y="580"/>
                  </a:lnTo>
                  <a:lnTo>
                    <a:pt x="119" y="580"/>
                  </a:lnTo>
                  <a:lnTo>
                    <a:pt x="121" y="580"/>
                  </a:lnTo>
                  <a:lnTo>
                    <a:pt x="121" y="580"/>
                  </a:lnTo>
                  <a:lnTo>
                    <a:pt x="121" y="580"/>
                  </a:lnTo>
                  <a:lnTo>
                    <a:pt x="122" y="580"/>
                  </a:lnTo>
                  <a:lnTo>
                    <a:pt x="128" y="579"/>
                  </a:lnTo>
                  <a:lnTo>
                    <a:pt x="128" y="577"/>
                  </a:lnTo>
                  <a:lnTo>
                    <a:pt x="128" y="577"/>
                  </a:lnTo>
                  <a:lnTo>
                    <a:pt x="130" y="575"/>
                  </a:lnTo>
                  <a:lnTo>
                    <a:pt x="130" y="575"/>
                  </a:lnTo>
                  <a:lnTo>
                    <a:pt x="132" y="575"/>
                  </a:lnTo>
                  <a:lnTo>
                    <a:pt x="132" y="573"/>
                  </a:lnTo>
                  <a:lnTo>
                    <a:pt x="134" y="573"/>
                  </a:lnTo>
                  <a:lnTo>
                    <a:pt x="136" y="573"/>
                  </a:lnTo>
                  <a:lnTo>
                    <a:pt x="136" y="573"/>
                  </a:lnTo>
                  <a:lnTo>
                    <a:pt x="136" y="571"/>
                  </a:lnTo>
                  <a:lnTo>
                    <a:pt x="140" y="567"/>
                  </a:lnTo>
                  <a:lnTo>
                    <a:pt x="141" y="563"/>
                  </a:lnTo>
                  <a:lnTo>
                    <a:pt x="143" y="563"/>
                  </a:lnTo>
                  <a:lnTo>
                    <a:pt x="145" y="560"/>
                  </a:lnTo>
                  <a:lnTo>
                    <a:pt x="149" y="558"/>
                  </a:lnTo>
                  <a:lnTo>
                    <a:pt x="151" y="556"/>
                  </a:lnTo>
                  <a:lnTo>
                    <a:pt x="153" y="554"/>
                  </a:lnTo>
                  <a:lnTo>
                    <a:pt x="153" y="554"/>
                  </a:lnTo>
                  <a:lnTo>
                    <a:pt x="155" y="552"/>
                  </a:lnTo>
                  <a:lnTo>
                    <a:pt x="155" y="552"/>
                  </a:lnTo>
                  <a:lnTo>
                    <a:pt x="155" y="552"/>
                  </a:lnTo>
                  <a:lnTo>
                    <a:pt x="155" y="550"/>
                  </a:lnTo>
                  <a:lnTo>
                    <a:pt x="155" y="548"/>
                  </a:lnTo>
                  <a:lnTo>
                    <a:pt x="155" y="548"/>
                  </a:lnTo>
                  <a:lnTo>
                    <a:pt x="153" y="546"/>
                  </a:lnTo>
                  <a:lnTo>
                    <a:pt x="153" y="546"/>
                  </a:lnTo>
                  <a:lnTo>
                    <a:pt x="151" y="546"/>
                  </a:lnTo>
                  <a:lnTo>
                    <a:pt x="151" y="546"/>
                  </a:lnTo>
                  <a:lnTo>
                    <a:pt x="151" y="544"/>
                  </a:lnTo>
                  <a:lnTo>
                    <a:pt x="153" y="544"/>
                  </a:lnTo>
                  <a:lnTo>
                    <a:pt x="153" y="544"/>
                  </a:lnTo>
                  <a:lnTo>
                    <a:pt x="153" y="544"/>
                  </a:lnTo>
                  <a:lnTo>
                    <a:pt x="155" y="544"/>
                  </a:lnTo>
                  <a:lnTo>
                    <a:pt x="155" y="542"/>
                  </a:lnTo>
                  <a:lnTo>
                    <a:pt x="155" y="542"/>
                  </a:lnTo>
                  <a:lnTo>
                    <a:pt x="157" y="541"/>
                  </a:lnTo>
                  <a:lnTo>
                    <a:pt x="157" y="541"/>
                  </a:lnTo>
                  <a:lnTo>
                    <a:pt x="159" y="539"/>
                  </a:lnTo>
                  <a:lnTo>
                    <a:pt x="159" y="539"/>
                  </a:lnTo>
                  <a:lnTo>
                    <a:pt x="161" y="539"/>
                  </a:lnTo>
                  <a:lnTo>
                    <a:pt x="161" y="539"/>
                  </a:lnTo>
                  <a:lnTo>
                    <a:pt x="164" y="537"/>
                  </a:lnTo>
                  <a:lnTo>
                    <a:pt x="166" y="537"/>
                  </a:lnTo>
                  <a:lnTo>
                    <a:pt x="166" y="537"/>
                  </a:lnTo>
                  <a:lnTo>
                    <a:pt x="168" y="535"/>
                  </a:lnTo>
                  <a:lnTo>
                    <a:pt x="168" y="533"/>
                  </a:lnTo>
                  <a:lnTo>
                    <a:pt x="170" y="531"/>
                  </a:lnTo>
                  <a:lnTo>
                    <a:pt x="170" y="531"/>
                  </a:lnTo>
                  <a:lnTo>
                    <a:pt x="170" y="531"/>
                  </a:lnTo>
                  <a:lnTo>
                    <a:pt x="170" y="531"/>
                  </a:lnTo>
                  <a:lnTo>
                    <a:pt x="172" y="533"/>
                  </a:lnTo>
                  <a:lnTo>
                    <a:pt x="172" y="533"/>
                  </a:lnTo>
                  <a:lnTo>
                    <a:pt x="174" y="535"/>
                  </a:lnTo>
                  <a:lnTo>
                    <a:pt x="174" y="533"/>
                  </a:lnTo>
                  <a:lnTo>
                    <a:pt x="174" y="531"/>
                  </a:lnTo>
                  <a:lnTo>
                    <a:pt x="174" y="529"/>
                  </a:lnTo>
                  <a:lnTo>
                    <a:pt x="174" y="529"/>
                  </a:lnTo>
                  <a:lnTo>
                    <a:pt x="176" y="525"/>
                  </a:lnTo>
                  <a:lnTo>
                    <a:pt x="176" y="521"/>
                  </a:lnTo>
                  <a:lnTo>
                    <a:pt x="176" y="521"/>
                  </a:lnTo>
                  <a:lnTo>
                    <a:pt x="176" y="521"/>
                  </a:lnTo>
                  <a:lnTo>
                    <a:pt x="176" y="520"/>
                  </a:lnTo>
                  <a:lnTo>
                    <a:pt x="178" y="520"/>
                  </a:lnTo>
                  <a:lnTo>
                    <a:pt x="178" y="520"/>
                  </a:lnTo>
                  <a:lnTo>
                    <a:pt x="178" y="520"/>
                  </a:lnTo>
                  <a:lnTo>
                    <a:pt x="178" y="520"/>
                  </a:lnTo>
                  <a:lnTo>
                    <a:pt x="180" y="518"/>
                  </a:lnTo>
                  <a:lnTo>
                    <a:pt x="181" y="518"/>
                  </a:lnTo>
                  <a:lnTo>
                    <a:pt x="181" y="518"/>
                  </a:lnTo>
                  <a:lnTo>
                    <a:pt x="181" y="516"/>
                  </a:lnTo>
                  <a:lnTo>
                    <a:pt x="181" y="510"/>
                  </a:lnTo>
                  <a:lnTo>
                    <a:pt x="181" y="508"/>
                  </a:lnTo>
                  <a:lnTo>
                    <a:pt x="181" y="508"/>
                  </a:lnTo>
                  <a:lnTo>
                    <a:pt x="181" y="506"/>
                  </a:lnTo>
                  <a:lnTo>
                    <a:pt x="180" y="504"/>
                  </a:lnTo>
                  <a:lnTo>
                    <a:pt x="180" y="504"/>
                  </a:lnTo>
                  <a:lnTo>
                    <a:pt x="180" y="501"/>
                  </a:lnTo>
                  <a:lnTo>
                    <a:pt x="178" y="501"/>
                  </a:lnTo>
                  <a:lnTo>
                    <a:pt x="178" y="499"/>
                  </a:lnTo>
                  <a:lnTo>
                    <a:pt x="176" y="499"/>
                  </a:lnTo>
                  <a:lnTo>
                    <a:pt x="176" y="497"/>
                  </a:lnTo>
                  <a:lnTo>
                    <a:pt x="176" y="497"/>
                  </a:lnTo>
                  <a:lnTo>
                    <a:pt x="176" y="495"/>
                  </a:lnTo>
                  <a:lnTo>
                    <a:pt x="176" y="493"/>
                  </a:lnTo>
                  <a:lnTo>
                    <a:pt x="176" y="491"/>
                  </a:lnTo>
                  <a:lnTo>
                    <a:pt x="174" y="489"/>
                  </a:lnTo>
                  <a:lnTo>
                    <a:pt x="174" y="489"/>
                  </a:lnTo>
                  <a:lnTo>
                    <a:pt x="174" y="487"/>
                  </a:lnTo>
                  <a:lnTo>
                    <a:pt x="174" y="485"/>
                  </a:lnTo>
                  <a:lnTo>
                    <a:pt x="174" y="483"/>
                  </a:lnTo>
                  <a:lnTo>
                    <a:pt x="174" y="483"/>
                  </a:lnTo>
                  <a:lnTo>
                    <a:pt x="176" y="480"/>
                  </a:lnTo>
                  <a:lnTo>
                    <a:pt x="176" y="478"/>
                  </a:lnTo>
                  <a:lnTo>
                    <a:pt x="176" y="478"/>
                  </a:lnTo>
                  <a:lnTo>
                    <a:pt x="176" y="476"/>
                  </a:lnTo>
                  <a:lnTo>
                    <a:pt x="174" y="476"/>
                  </a:lnTo>
                  <a:lnTo>
                    <a:pt x="174" y="476"/>
                  </a:lnTo>
                  <a:lnTo>
                    <a:pt x="174" y="474"/>
                  </a:lnTo>
                  <a:lnTo>
                    <a:pt x="174" y="474"/>
                  </a:lnTo>
                  <a:lnTo>
                    <a:pt x="174" y="474"/>
                  </a:lnTo>
                  <a:lnTo>
                    <a:pt x="176" y="472"/>
                  </a:lnTo>
                  <a:lnTo>
                    <a:pt x="176" y="472"/>
                  </a:lnTo>
                  <a:lnTo>
                    <a:pt x="176" y="470"/>
                  </a:lnTo>
                  <a:lnTo>
                    <a:pt x="176" y="470"/>
                  </a:lnTo>
                  <a:lnTo>
                    <a:pt x="176" y="468"/>
                  </a:lnTo>
                  <a:lnTo>
                    <a:pt x="174" y="468"/>
                  </a:lnTo>
                  <a:lnTo>
                    <a:pt x="174" y="468"/>
                  </a:lnTo>
                  <a:lnTo>
                    <a:pt x="172" y="466"/>
                  </a:lnTo>
                  <a:lnTo>
                    <a:pt x="170" y="466"/>
                  </a:lnTo>
                  <a:lnTo>
                    <a:pt x="170" y="466"/>
                  </a:lnTo>
                  <a:lnTo>
                    <a:pt x="170" y="466"/>
                  </a:lnTo>
                  <a:lnTo>
                    <a:pt x="168" y="463"/>
                  </a:lnTo>
                  <a:lnTo>
                    <a:pt x="168" y="461"/>
                  </a:lnTo>
                  <a:lnTo>
                    <a:pt x="168" y="461"/>
                  </a:lnTo>
                  <a:lnTo>
                    <a:pt x="166" y="461"/>
                  </a:lnTo>
                  <a:lnTo>
                    <a:pt x="164" y="461"/>
                  </a:lnTo>
                  <a:lnTo>
                    <a:pt x="164" y="459"/>
                  </a:lnTo>
                  <a:lnTo>
                    <a:pt x="162" y="459"/>
                  </a:lnTo>
                  <a:lnTo>
                    <a:pt x="164" y="451"/>
                  </a:lnTo>
                  <a:lnTo>
                    <a:pt x="164" y="449"/>
                  </a:lnTo>
                  <a:lnTo>
                    <a:pt x="164" y="447"/>
                  </a:lnTo>
                  <a:lnTo>
                    <a:pt x="164" y="445"/>
                  </a:lnTo>
                  <a:lnTo>
                    <a:pt x="162" y="444"/>
                  </a:lnTo>
                  <a:lnTo>
                    <a:pt x="162" y="442"/>
                  </a:lnTo>
                  <a:lnTo>
                    <a:pt x="162" y="440"/>
                  </a:lnTo>
                  <a:lnTo>
                    <a:pt x="164" y="436"/>
                  </a:lnTo>
                  <a:lnTo>
                    <a:pt x="164" y="434"/>
                  </a:lnTo>
                  <a:lnTo>
                    <a:pt x="162" y="434"/>
                  </a:lnTo>
                  <a:lnTo>
                    <a:pt x="162" y="432"/>
                  </a:lnTo>
                  <a:lnTo>
                    <a:pt x="162" y="432"/>
                  </a:lnTo>
                  <a:lnTo>
                    <a:pt x="159" y="432"/>
                  </a:lnTo>
                  <a:lnTo>
                    <a:pt x="157" y="432"/>
                  </a:lnTo>
                  <a:lnTo>
                    <a:pt x="157" y="432"/>
                  </a:lnTo>
                  <a:lnTo>
                    <a:pt x="157" y="430"/>
                  </a:lnTo>
                  <a:lnTo>
                    <a:pt x="155" y="428"/>
                  </a:lnTo>
                  <a:lnTo>
                    <a:pt x="155" y="426"/>
                  </a:lnTo>
                  <a:lnTo>
                    <a:pt x="155" y="426"/>
                  </a:lnTo>
                  <a:lnTo>
                    <a:pt x="145" y="423"/>
                  </a:lnTo>
                  <a:lnTo>
                    <a:pt x="145" y="421"/>
                  </a:lnTo>
                  <a:lnTo>
                    <a:pt x="143" y="421"/>
                  </a:lnTo>
                  <a:lnTo>
                    <a:pt x="143" y="419"/>
                  </a:lnTo>
                  <a:lnTo>
                    <a:pt x="143" y="419"/>
                  </a:lnTo>
                  <a:lnTo>
                    <a:pt x="143" y="417"/>
                  </a:lnTo>
                  <a:lnTo>
                    <a:pt x="143" y="415"/>
                  </a:lnTo>
                  <a:lnTo>
                    <a:pt x="143" y="415"/>
                  </a:lnTo>
                  <a:lnTo>
                    <a:pt x="147" y="407"/>
                  </a:lnTo>
                  <a:lnTo>
                    <a:pt x="149" y="407"/>
                  </a:lnTo>
                  <a:lnTo>
                    <a:pt x="149" y="407"/>
                  </a:lnTo>
                  <a:lnTo>
                    <a:pt x="151" y="405"/>
                  </a:lnTo>
                  <a:lnTo>
                    <a:pt x="155" y="402"/>
                  </a:lnTo>
                  <a:lnTo>
                    <a:pt x="155" y="402"/>
                  </a:lnTo>
                  <a:lnTo>
                    <a:pt x="155" y="402"/>
                  </a:lnTo>
                  <a:lnTo>
                    <a:pt x="157" y="402"/>
                  </a:lnTo>
                  <a:lnTo>
                    <a:pt x="157" y="402"/>
                  </a:lnTo>
                  <a:lnTo>
                    <a:pt x="161" y="407"/>
                  </a:lnTo>
                  <a:lnTo>
                    <a:pt x="162" y="407"/>
                  </a:lnTo>
                  <a:lnTo>
                    <a:pt x="162" y="409"/>
                  </a:lnTo>
                  <a:lnTo>
                    <a:pt x="162" y="409"/>
                  </a:lnTo>
                  <a:lnTo>
                    <a:pt x="162" y="409"/>
                  </a:lnTo>
                  <a:lnTo>
                    <a:pt x="162" y="411"/>
                  </a:lnTo>
                  <a:lnTo>
                    <a:pt x="164" y="411"/>
                  </a:lnTo>
                  <a:lnTo>
                    <a:pt x="164" y="409"/>
                  </a:lnTo>
                  <a:lnTo>
                    <a:pt x="164" y="409"/>
                  </a:lnTo>
                  <a:lnTo>
                    <a:pt x="164" y="409"/>
                  </a:lnTo>
                  <a:lnTo>
                    <a:pt x="166" y="407"/>
                  </a:lnTo>
                  <a:lnTo>
                    <a:pt x="166" y="407"/>
                  </a:lnTo>
                  <a:lnTo>
                    <a:pt x="166" y="405"/>
                  </a:lnTo>
                  <a:lnTo>
                    <a:pt x="166" y="405"/>
                  </a:lnTo>
                  <a:lnTo>
                    <a:pt x="168" y="405"/>
                  </a:lnTo>
                  <a:lnTo>
                    <a:pt x="168" y="405"/>
                  </a:lnTo>
                  <a:lnTo>
                    <a:pt x="168" y="405"/>
                  </a:lnTo>
                  <a:lnTo>
                    <a:pt x="168" y="405"/>
                  </a:lnTo>
                  <a:lnTo>
                    <a:pt x="170" y="407"/>
                  </a:lnTo>
                  <a:lnTo>
                    <a:pt x="172" y="409"/>
                  </a:lnTo>
                  <a:lnTo>
                    <a:pt x="174" y="411"/>
                  </a:lnTo>
                  <a:lnTo>
                    <a:pt x="174" y="411"/>
                  </a:lnTo>
                  <a:lnTo>
                    <a:pt x="174" y="411"/>
                  </a:lnTo>
                  <a:lnTo>
                    <a:pt x="174" y="411"/>
                  </a:lnTo>
                  <a:lnTo>
                    <a:pt x="176" y="413"/>
                  </a:lnTo>
                  <a:lnTo>
                    <a:pt x="176" y="413"/>
                  </a:lnTo>
                  <a:lnTo>
                    <a:pt x="176" y="413"/>
                  </a:lnTo>
                  <a:lnTo>
                    <a:pt x="176" y="413"/>
                  </a:lnTo>
                  <a:lnTo>
                    <a:pt x="176" y="413"/>
                  </a:lnTo>
                  <a:lnTo>
                    <a:pt x="178" y="413"/>
                  </a:lnTo>
                  <a:lnTo>
                    <a:pt x="180" y="413"/>
                  </a:lnTo>
                  <a:lnTo>
                    <a:pt x="180" y="413"/>
                  </a:lnTo>
                  <a:lnTo>
                    <a:pt x="181" y="415"/>
                  </a:lnTo>
                  <a:lnTo>
                    <a:pt x="181" y="415"/>
                  </a:lnTo>
                  <a:lnTo>
                    <a:pt x="187" y="428"/>
                  </a:lnTo>
                  <a:lnTo>
                    <a:pt x="187" y="428"/>
                  </a:lnTo>
                  <a:lnTo>
                    <a:pt x="189" y="428"/>
                  </a:lnTo>
                  <a:lnTo>
                    <a:pt x="189" y="428"/>
                  </a:lnTo>
                  <a:lnTo>
                    <a:pt x="189" y="428"/>
                  </a:lnTo>
                  <a:lnTo>
                    <a:pt x="191" y="424"/>
                  </a:lnTo>
                  <a:lnTo>
                    <a:pt x="191" y="424"/>
                  </a:lnTo>
                  <a:lnTo>
                    <a:pt x="193" y="424"/>
                  </a:lnTo>
                  <a:lnTo>
                    <a:pt x="193" y="424"/>
                  </a:lnTo>
                  <a:lnTo>
                    <a:pt x="193" y="423"/>
                  </a:lnTo>
                  <a:lnTo>
                    <a:pt x="193" y="423"/>
                  </a:lnTo>
                  <a:lnTo>
                    <a:pt x="195" y="423"/>
                  </a:lnTo>
                  <a:lnTo>
                    <a:pt x="195" y="423"/>
                  </a:lnTo>
                  <a:lnTo>
                    <a:pt x="204" y="424"/>
                  </a:lnTo>
                  <a:lnTo>
                    <a:pt x="206" y="424"/>
                  </a:lnTo>
                  <a:lnTo>
                    <a:pt x="208" y="426"/>
                  </a:lnTo>
                  <a:lnTo>
                    <a:pt x="208" y="426"/>
                  </a:lnTo>
                  <a:lnTo>
                    <a:pt x="212" y="426"/>
                  </a:lnTo>
                  <a:lnTo>
                    <a:pt x="214" y="426"/>
                  </a:lnTo>
                  <a:lnTo>
                    <a:pt x="214" y="426"/>
                  </a:lnTo>
                  <a:lnTo>
                    <a:pt x="214" y="428"/>
                  </a:lnTo>
                  <a:lnTo>
                    <a:pt x="214" y="428"/>
                  </a:lnTo>
                  <a:lnTo>
                    <a:pt x="214" y="430"/>
                  </a:lnTo>
                  <a:lnTo>
                    <a:pt x="214" y="430"/>
                  </a:lnTo>
                  <a:lnTo>
                    <a:pt x="214" y="432"/>
                  </a:lnTo>
                  <a:lnTo>
                    <a:pt x="214" y="432"/>
                  </a:lnTo>
                  <a:lnTo>
                    <a:pt x="214" y="434"/>
                  </a:lnTo>
                  <a:lnTo>
                    <a:pt x="214" y="434"/>
                  </a:lnTo>
                  <a:lnTo>
                    <a:pt x="214" y="434"/>
                  </a:lnTo>
                  <a:lnTo>
                    <a:pt x="216" y="434"/>
                  </a:lnTo>
                  <a:lnTo>
                    <a:pt x="216" y="434"/>
                  </a:lnTo>
                  <a:lnTo>
                    <a:pt x="220" y="430"/>
                  </a:lnTo>
                  <a:lnTo>
                    <a:pt x="220" y="430"/>
                  </a:lnTo>
                  <a:lnTo>
                    <a:pt x="222" y="430"/>
                  </a:lnTo>
                  <a:lnTo>
                    <a:pt x="223" y="428"/>
                  </a:lnTo>
                  <a:lnTo>
                    <a:pt x="223" y="428"/>
                  </a:lnTo>
                  <a:lnTo>
                    <a:pt x="225" y="426"/>
                  </a:lnTo>
                  <a:lnTo>
                    <a:pt x="227" y="426"/>
                  </a:lnTo>
                  <a:lnTo>
                    <a:pt x="227" y="426"/>
                  </a:lnTo>
                  <a:lnTo>
                    <a:pt x="225" y="424"/>
                  </a:lnTo>
                  <a:lnTo>
                    <a:pt x="223" y="423"/>
                  </a:lnTo>
                  <a:lnTo>
                    <a:pt x="223" y="423"/>
                  </a:lnTo>
                  <a:lnTo>
                    <a:pt x="223" y="423"/>
                  </a:lnTo>
                  <a:lnTo>
                    <a:pt x="223" y="423"/>
                  </a:lnTo>
                  <a:lnTo>
                    <a:pt x="223" y="421"/>
                  </a:lnTo>
                  <a:lnTo>
                    <a:pt x="225" y="415"/>
                  </a:lnTo>
                  <a:lnTo>
                    <a:pt x="225" y="415"/>
                  </a:lnTo>
                  <a:lnTo>
                    <a:pt x="225" y="413"/>
                  </a:lnTo>
                  <a:lnTo>
                    <a:pt x="225" y="411"/>
                  </a:lnTo>
                  <a:lnTo>
                    <a:pt x="225" y="411"/>
                  </a:lnTo>
                  <a:lnTo>
                    <a:pt x="225" y="411"/>
                  </a:lnTo>
                  <a:lnTo>
                    <a:pt x="223" y="411"/>
                  </a:lnTo>
                  <a:lnTo>
                    <a:pt x="222" y="411"/>
                  </a:lnTo>
                  <a:lnTo>
                    <a:pt x="222" y="411"/>
                  </a:lnTo>
                  <a:lnTo>
                    <a:pt x="220" y="411"/>
                  </a:lnTo>
                  <a:lnTo>
                    <a:pt x="220" y="411"/>
                  </a:lnTo>
                  <a:lnTo>
                    <a:pt x="220" y="411"/>
                  </a:lnTo>
                  <a:lnTo>
                    <a:pt x="220" y="411"/>
                  </a:lnTo>
                  <a:lnTo>
                    <a:pt x="218" y="413"/>
                  </a:lnTo>
                  <a:lnTo>
                    <a:pt x="218" y="413"/>
                  </a:lnTo>
                  <a:lnTo>
                    <a:pt x="218" y="413"/>
                  </a:lnTo>
                  <a:lnTo>
                    <a:pt x="216" y="413"/>
                  </a:lnTo>
                  <a:lnTo>
                    <a:pt x="216" y="413"/>
                  </a:lnTo>
                  <a:lnTo>
                    <a:pt x="216" y="411"/>
                  </a:lnTo>
                  <a:lnTo>
                    <a:pt x="216" y="411"/>
                  </a:lnTo>
                  <a:lnTo>
                    <a:pt x="214" y="409"/>
                  </a:lnTo>
                  <a:lnTo>
                    <a:pt x="214" y="409"/>
                  </a:lnTo>
                  <a:lnTo>
                    <a:pt x="212" y="409"/>
                  </a:lnTo>
                  <a:lnTo>
                    <a:pt x="212" y="409"/>
                  </a:lnTo>
                  <a:lnTo>
                    <a:pt x="212" y="409"/>
                  </a:lnTo>
                  <a:lnTo>
                    <a:pt x="208" y="409"/>
                  </a:lnTo>
                  <a:lnTo>
                    <a:pt x="206" y="409"/>
                  </a:lnTo>
                  <a:lnTo>
                    <a:pt x="206" y="409"/>
                  </a:lnTo>
                  <a:lnTo>
                    <a:pt x="206" y="409"/>
                  </a:lnTo>
                  <a:lnTo>
                    <a:pt x="204" y="407"/>
                  </a:lnTo>
                  <a:lnTo>
                    <a:pt x="202" y="407"/>
                  </a:lnTo>
                  <a:lnTo>
                    <a:pt x="199" y="405"/>
                  </a:lnTo>
                  <a:lnTo>
                    <a:pt x="199" y="404"/>
                  </a:lnTo>
                  <a:lnTo>
                    <a:pt x="199" y="402"/>
                  </a:lnTo>
                  <a:lnTo>
                    <a:pt x="201" y="396"/>
                  </a:lnTo>
                  <a:lnTo>
                    <a:pt x="201" y="394"/>
                  </a:lnTo>
                  <a:lnTo>
                    <a:pt x="201" y="392"/>
                  </a:lnTo>
                  <a:lnTo>
                    <a:pt x="201" y="388"/>
                  </a:lnTo>
                  <a:lnTo>
                    <a:pt x="201" y="383"/>
                  </a:lnTo>
                  <a:lnTo>
                    <a:pt x="199" y="381"/>
                  </a:lnTo>
                  <a:lnTo>
                    <a:pt x="199" y="381"/>
                  </a:lnTo>
                  <a:lnTo>
                    <a:pt x="199" y="381"/>
                  </a:lnTo>
                  <a:lnTo>
                    <a:pt x="199" y="379"/>
                  </a:lnTo>
                  <a:lnTo>
                    <a:pt x="199" y="377"/>
                  </a:lnTo>
                  <a:lnTo>
                    <a:pt x="199" y="369"/>
                  </a:lnTo>
                  <a:lnTo>
                    <a:pt x="199" y="367"/>
                  </a:lnTo>
                  <a:lnTo>
                    <a:pt x="199" y="366"/>
                  </a:lnTo>
                  <a:lnTo>
                    <a:pt x="199" y="366"/>
                  </a:lnTo>
                  <a:lnTo>
                    <a:pt x="199" y="367"/>
                  </a:lnTo>
                  <a:lnTo>
                    <a:pt x="197" y="367"/>
                  </a:lnTo>
                  <a:lnTo>
                    <a:pt x="197" y="367"/>
                  </a:lnTo>
                  <a:lnTo>
                    <a:pt x="197" y="367"/>
                  </a:lnTo>
                  <a:lnTo>
                    <a:pt x="197" y="366"/>
                  </a:lnTo>
                  <a:lnTo>
                    <a:pt x="197" y="364"/>
                  </a:lnTo>
                  <a:lnTo>
                    <a:pt x="195" y="362"/>
                  </a:lnTo>
                  <a:lnTo>
                    <a:pt x="195" y="362"/>
                  </a:lnTo>
                  <a:lnTo>
                    <a:pt x="195" y="362"/>
                  </a:lnTo>
                  <a:lnTo>
                    <a:pt x="195" y="362"/>
                  </a:lnTo>
                  <a:lnTo>
                    <a:pt x="195" y="362"/>
                  </a:lnTo>
                  <a:lnTo>
                    <a:pt x="195" y="362"/>
                  </a:lnTo>
                  <a:lnTo>
                    <a:pt x="195" y="362"/>
                  </a:lnTo>
                  <a:lnTo>
                    <a:pt x="193" y="362"/>
                  </a:lnTo>
                  <a:lnTo>
                    <a:pt x="193" y="362"/>
                  </a:lnTo>
                  <a:lnTo>
                    <a:pt x="193" y="362"/>
                  </a:lnTo>
                  <a:lnTo>
                    <a:pt x="193" y="360"/>
                  </a:lnTo>
                  <a:lnTo>
                    <a:pt x="191" y="358"/>
                  </a:lnTo>
                  <a:lnTo>
                    <a:pt x="191" y="356"/>
                  </a:lnTo>
                  <a:lnTo>
                    <a:pt x="193" y="350"/>
                  </a:lnTo>
                  <a:lnTo>
                    <a:pt x="195" y="348"/>
                  </a:lnTo>
                  <a:lnTo>
                    <a:pt x="195" y="347"/>
                  </a:lnTo>
                  <a:lnTo>
                    <a:pt x="195" y="347"/>
                  </a:lnTo>
                  <a:lnTo>
                    <a:pt x="195" y="345"/>
                  </a:lnTo>
                  <a:lnTo>
                    <a:pt x="195" y="343"/>
                  </a:lnTo>
                  <a:lnTo>
                    <a:pt x="193" y="343"/>
                  </a:lnTo>
                  <a:lnTo>
                    <a:pt x="193" y="341"/>
                  </a:lnTo>
                  <a:lnTo>
                    <a:pt x="193" y="339"/>
                  </a:lnTo>
                  <a:lnTo>
                    <a:pt x="193" y="339"/>
                  </a:lnTo>
                  <a:lnTo>
                    <a:pt x="193" y="328"/>
                  </a:lnTo>
                  <a:lnTo>
                    <a:pt x="193" y="326"/>
                  </a:lnTo>
                  <a:lnTo>
                    <a:pt x="193" y="326"/>
                  </a:lnTo>
                  <a:lnTo>
                    <a:pt x="193" y="326"/>
                  </a:lnTo>
                  <a:lnTo>
                    <a:pt x="193" y="326"/>
                  </a:lnTo>
                  <a:lnTo>
                    <a:pt x="193" y="326"/>
                  </a:lnTo>
                  <a:lnTo>
                    <a:pt x="195" y="326"/>
                  </a:lnTo>
                  <a:lnTo>
                    <a:pt x="197" y="326"/>
                  </a:lnTo>
                  <a:lnTo>
                    <a:pt x="197" y="326"/>
                  </a:lnTo>
                  <a:lnTo>
                    <a:pt x="199" y="326"/>
                  </a:lnTo>
                  <a:lnTo>
                    <a:pt x="199" y="326"/>
                  </a:lnTo>
                  <a:lnTo>
                    <a:pt x="199" y="328"/>
                  </a:lnTo>
                  <a:lnTo>
                    <a:pt x="199" y="328"/>
                  </a:lnTo>
                  <a:lnTo>
                    <a:pt x="199" y="329"/>
                  </a:lnTo>
                  <a:lnTo>
                    <a:pt x="199" y="329"/>
                  </a:lnTo>
                  <a:lnTo>
                    <a:pt x="199" y="329"/>
                  </a:lnTo>
                  <a:lnTo>
                    <a:pt x="199" y="329"/>
                  </a:lnTo>
                  <a:lnTo>
                    <a:pt x="199" y="329"/>
                  </a:lnTo>
                  <a:lnTo>
                    <a:pt x="201" y="329"/>
                  </a:lnTo>
                  <a:lnTo>
                    <a:pt x="202" y="328"/>
                  </a:lnTo>
                  <a:lnTo>
                    <a:pt x="202" y="328"/>
                  </a:lnTo>
                  <a:lnTo>
                    <a:pt x="204" y="326"/>
                  </a:lnTo>
                  <a:lnTo>
                    <a:pt x="206" y="324"/>
                  </a:lnTo>
                  <a:lnTo>
                    <a:pt x="206" y="322"/>
                  </a:lnTo>
                  <a:lnTo>
                    <a:pt x="208" y="320"/>
                  </a:lnTo>
                  <a:lnTo>
                    <a:pt x="208" y="320"/>
                  </a:lnTo>
                  <a:lnTo>
                    <a:pt x="210" y="320"/>
                  </a:lnTo>
                  <a:lnTo>
                    <a:pt x="210" y="320"/>
                  </a:lnTo>
                  <a:lnTo>
                    <a:pt x="212" y="320"/>
                  </a:lnTo>
                  <a:lnTo>
                    <a:pt x="212" y="318"/>
                  </a:lnTo>
                  <a:lnTo>
                    <a:pt x="216" y="310"/>
                  </a:lnTo>
                  <a:lnTo>
                    <a:pt x="218" y="305"/>
                  </a:lnTo>
                  <a:lnTo>
                    <a:pt x="220" y="303"/>
                  </a:lnTo>
                  <a:lnTo>
                    <a:pt x="220" y="301"/>
                  </a:lnTo>
                  <a:lnTo>
                    <a:pt x="220" y="299"/>
                  </a:lnTo>
                  <a:lnTo>
                    <a:pt x="220" y="299"/>
                  </a:lnTo>
                  <a:lnTo>
                    <a:pt x="220" y="299"/>
                  </a:lnTo>
                  <a:lnTo>
                    <a:pt x="220" y="299"/>
                  </a:lnTo>
                  <a:lnTo>
                    <a:pt x="222" y="299"/>
                  </a:lnTo>
                  <a:lnTo>
                    <a:pt x="222" y="297"/>
                  </a:lnTo>
                  <a:lnTo>
                    <a:pt x="229" y="297"/>
                  </a:lnTo>
                  <a:lnTo>
                    <a:pt x="231" y="297"/>
                  </a:lnTo>
                  <a:lnTo>
                    <a:pt x="231" y="297"/>
                  </a:lnTo>
                  <a:lnTo>
                    <a:pt x="233" y="299"/>
                  </a:lnTo>
                  <a:lnTo>
                    <a:pt x="233" y="299"/>
                  </a:lnTo>
                  <a:lnTo>
                    <a:pt x="233" y="299"/>
                  </a:lnTo>
                  <a:lnTo>
                    <a:pt x="235" y="299"/>
                  </a:lnTo>
                  <a:lnTo>
                    <a:pt x="235" y="297"/>
                  </a:lnTo>
                  <a:lnTo>
                    <a:pt x="237" y="297"/>
                  </a:lnTo>
                  <a:lnTo>
                    <a:pt x="239" y="297"/>
                  </a:lnTo>
                  <a:lnTo>
                    <a:pt x="241" y="297"/>
                  </a:lnTo>
                  <a:lnTo>
                    <a:pt x="250" y="295"/>
                  </a:lnTo>
                  <a:lnTo>
                    <a:pt x="250" y="295"/>
                  </a:lnTo>
                  <a:lnTo>
                    <a:pt x="252" y="297"/>
                  </a:lnTo>
                  <a:lnTo>
                    <a:pt x="252" y="297"/>
                  </a:lnTo>
                  <a:lnTo>
                    <a:pt x="252" y="297"/>
                  </a:lnTo>
                  <a:lnTo>
                    <a:pt x="254" y="299"/>
                  </a:lnTo>
                  <a:lnTo>
                    <a:pt x="254" y="299"/>
                  </a:lnTo>
                  <a:lnTo>
                    <a:pt x="256" y="299"/>
                  </a:lnTo>
                  <a:lnTo>
                    <a:pt x="256" y="299"/>
                  </a:lnTo>
                  <a:lnTo>
                    <a:pt x="258" y="299"/>
                  </a:lnTo>
                  <a:lnTo>
                    <a:pt x="258" y="301"/>
                  </a:lnTo>
                  <a:lnTo>
                    <a:pt x="260" y="301"/>
                  </a:lnTo>
                  <a:lnTo>
                    <a:pt x="260" y="301"/>
                  </a:lnTo>
                  <a:lnTo>
                    <a:pt x="265" y="301"/>
                  </a:lnTo>
                  <a:lnTo>
                    <a:pt x="265" y="301"/>
                  </a:lnTo>
                  <a:lnTo>
                    <a:pt x="267" y="301"/>
                  </a:lnTo>
                  <a:lnTo>
                    <a:pt x="269" y="299"/>
                  </a:lnTo>
                  <a:lnTo>
                    <a:pt x="269" y="297"/>
                  </a:lnTo>
                  <a:lnTo>
                    <a:pt x="271" y="295"/>
                  </a:lnTo>
                  <a:lnTo>
                    <a:pt x="273" y="288"/>
                  </a:lnTo>
                  <a:lnTo>
                    <a:pt x="275" y="288"/>
                  </a:lnTo>
                  <a:lnTo>
                    <a:pt x="277" y="284"/>
                  </a:lnTo>
                  <a:lnTo>
                    <a:pt x="277" y="284"/>
                  </a:lnTo>
                  <a:lnTo>
                    <a:pt x="277" y="284"/>
                  </a:lnTo>
                  <a:lnTo>
                    <a:pt x="277" y="282"/>
                  </a:lnTo>
                  <a:lnTo>
                    <a:pt x="277" y="282"/>
                  </a:lnTo>
                  <a:lnTo>
                    <a:pt x="277" y="282"/>
                  </a:lnTo>
                  <a:lnTo>
                    <a:pt x="277" y="282"/>
                  </a:lnTo>
                  <a:lnTo>
                    <a:pt x="277" y="280"/>
                  </a:lnTo>
                  <a:lnTo>
                    <a:pt x="277" y="280"/>
                  </a:lnTo>
                  <a:lnTo>
                    <a:pt x="279" y="278"/>
                  </a:lnTo>
                  <a:lnTo>
                    <a:pt x="279" y="278"/>
                  </a:lnTo>
                  <a:lnTo>
                    <a:pt x="279" y="278"/>
                  </a:lnTo>
                  <a:lnTo>
                    <a:pt x="281" y="278"/>
                  </a:lnTo>
                  <a:lnTo>
                    <a:pt x="284" y="280"/>
                  </a:lnTo>
                  <a:lnTo>
                    <a:pt x="286" y="280"/>
                  </a:lnTo>
                  <a:lnTo>
                    <a:pt x="286" y="280"/>
                  </a:lnTo>
                  <a:lnTo>
                    <a:pt x="286" y="280"/>
                  </a:lnTo>
                  <a:lnTo>
                    <a:pt x="288" y="280"/>
                  </a:lnTo>
                  <a:lnTo>
                    <a:pt x="288" y="278"/>
                  </a:lnTo>
                  <a:lnTo>
                    <a:pt x="288" y="278"/>
                  </a:lnTo>
                  <a:lnTo>
                    <a:pt x="288" y="276"/>
                  </a:lnTo>
                  <a:lnTo>
                    <a:pt x="288" y="274"/>
                  </a:lnTo>
                  <a:lnTo>
                    <a:pt x="288" y="274"/>
                  </a:lnTo>
                  <a:lnTo>
                    <a:pt x="288" y="272"/>
                  </a:lnTo>
                  <a:lnTo>
                    <a:pt x="284" y="270"/>
                  </a:lnTo>
                  <a:lnTo>
                    <a:pt x="284" y="269"/>
                  </a:lnTo>
                  <a:lnTo>
                    <a:pt x="282" y="269"/>
                  </a:lnTo>
                  <a:lnTo>
                    <a:pt x="282" y="267"/>
                  </a:lnTo>
                  <a:lnTo>
                    <a:pt x="282" y="265"/>
                  </a:lnTo>
                  <a:lnTo>
                    <a:pt x="282" y="263"/>
                  </a:lnTo>
                  <a:lnTo>
                    <a:pt x="284" y="261"/>
                  </a:lnTo>
                  <a:lnTo>
                    <a:pt x="284" y="259"/>
                  </a:lnTo>
                  <a:lnTo>
                    <a:pt x="284" y="257"/>
                  </a:lnTo>
                  <a:lnTo>
                    <a:pt x="284" y="255"/>
                  </a:lnTo>
                  <a:lnTo>
                    <a:pt x="294" y="242"/>
                  </a:lnTo>
                  <a:lnTo>
                    <a:pt x="296" y="240"/>
                  </a:lnTo>
                  <a:lnTo>
                    <a:pt x="296" y="238"/>
                  </a:lnTo>
                  <a:lnTo>
                    <a:pt x="296" y="234"/>
                  </a:lnTo>
                  <a:lnTo>
                    <a:pt x="296" y="234"/>
                  </a:lnTo>
                  <a:lnTo>
                    <a:pt x="296" y="232"/>
                  </a:lnTo>
                  <a:lnTo>
                    <a:pt x="298" y="232"/>
                  </a:lnTo>
                  <a:lnTo>
                    <a:pt x="298" y="232"/>
                  </a:lnTo>
                  <a:lnTo>
                    <a:pt x="300" y="234"/>
                  </a:lnTo>
                  <a:lnTo>
                    <a:pt x="300" y="234"/>
                  </a:lnTo>
                  <a:lnTo>
                    <a:pt x="300" y="234"/>
                  </a:lnTo>
                  <a:lnTo>
                    <a:pt x="300" y="234"/>
                  </a:lnTo>
                  <a:lnTo>
                    <a:pt x="302" y="232"/>
                  </a:lnTo>
                  <a:lnTo>
                    <a:pt x="302" y="231"/>
                  </a:lnTo>
                  <a:lnTo>
                    <a:pt x="302" y="231"/>
                  </a:lnTo>
                  <a:lnTo>
                    <a:pt x="302" y="231"/>
                  </a:lnTo>
                  <a:lnTo>
                    <a:pt x="303" y="231"/>
                  </a:lnTo>
                  <a:lnTo>
                    <a:pt x="303" y="231"/>
                  </a:lnTo>
                  <a:lnTo>
                    <a:pt x="303" y="231"/>
                  </a:lnTo>
                  <a:lnTo>
                    <a:pt x="305" y="229"/>
                  </a:lnTo>
                  <a:lnTo>
                    <a:pt x="305" y="227"/>
                  </a:lnTo>
                  <a:lnTo>
                    <a:pt x="305" y="227"/>
                  </a:lnTo>
                  <a:lnTo>
                    <a:pt x="305" y="225"/>
                  </a:lnTo>
                  <a:lnTo>
                    <a:pt x="305" y="223"/>
                  </a:lnTo>
                  <a:lnTo>
                    <a:pt x="305" y="223"/>
                  </a:lnTo>
                  <a:lnTo>
                    <a:pt x="305" y="221"/>
                  </a:lnTo>
                  <a:lnTo>
                    <a:pt x="305" y="221"/>
                  </a:lnTo>
                  <a:lnTo>
                    <a:pt x="303" y="221"/>
                  </a:lnTo>
                  <a:lnTo>
                    <a:pt x="302" y="219"/>
                  </a:lnTo>
                  <a:lnTo>
                    <a:pt x="302" y="219"/>
                  </a:lnTo>
                  <a:lnTo>
                    <a:pt x="300" y="217"/>
                  </a:lnTo>
                  <a:lnTo>
                    <a:pt x="300" y="217"/>
                  </a:lnTo>
                  <a:lnTo>
                    <a:pt x="300" y="215"/>
                  </a:lnTo>
                  <a:lnTo>
                    <a:pt x="302" y="211"/>
                  </a:lnTo>
                  <a:lnTo>
                    <a:pt x="302" y="211"/>
                  </a:lnTo>
                  <a:lnTo>
                    <a:pt x="302" y="211"/>
                  </a:lnTo>
                  <a:lnTo>
                    <a:pt x="303" y="210"/>
                  </a:lnTo>
                  <a:lnTo>
                    <a:pt x="303" y="210"/>
                  </a:lnTo>
                  <a:lnTo>
                    <a:pt x="305" y="210"/>
                  </a:lnTo>
                  <a:lnTo>
                    <a:pt x="305" y="208"/>
                  </a:lnTo>
                  <a:lnTo>
                    <a:pt x="305" y="208"/>
                  </a:lnTo>
                  <a:lnTo>
                    <a:pt x="305" y="206"/>
                  </a:lnTo>
                  <a:lnTo>
                    <a:pt x="305" y="206"/>
                  </a:lnTo>
                  <a:lnTo>
                    <a:pt x="305" y="206"/>
                  </a:lnTo>
                  <a:lnTo>
                    <a:pt x="303" y="204"/>
                  </a:lnTo>
                  <a:lnTo>
                    <a:pt x="303" y="204"/>
                  </a:lnTo>
                  <a:lnTo>
                    <a:pt x="303" y="202"/>
                  </a:lnTo>
                  <a:lnTo>
                    <a:pt x="303" y="202"/>
                  </a:lnTo>
                  <a:lnTo>
                    <a:pt x="309" y="194"/>
                  </a:lnTo>
                  <a:lnTo>
                    <a:pt x="311" y="192"/>
                  </a:lnTo>
                  <a:lnTo>
                    <a:pt x="311" y="192"/>
                  </a:lnTo>
                  <a:lnTo>
                    <a:pt x="315" y="191"/>
                  </a:lnTo>
                  <a:lnTo>
                    <a:pt x="319" y="189"/>
                  </a:lnTo>
                  <a:lnTo>
                    <a:pt x="321" y="189"/>
                  </a:lnTo>
                  <a:lnTo>
                    <a:pt x="328" y="181"/>
                  </a:lnTo>
                  <a:lnTo>
                    <a:pt x="330" y="179"/>
                  </a:lnTo>
                  <a:lnTo>
                    <a:pt x="334" y="179"/>
                  </a:lnTo>
                  <a:lnTo>
                    <a:pt x="338" y="177"/>
                  </a:lnTo>
                  <a:lnTo>
                    <a:pt x="340" y="177"/>
                  </a:lnTo>
                  <a:lnTo>
                    <a:pt x="340" y="177"/>
                  </a:lnTo>
                  <a:lnTo>
                    <a:pt x="342" y="177"/>
                  </a:lnTo>
                  <a:lnTo>
                    <a:pt x="343" y="173"/>
                  </a:lnTo>
                  <a:lnTo>
                    <a:pt x="343" y="173"/>
                  </a:lnTo>
                  <a:lnTo>
                    <a:pt x="345" y="172"/>
                  </a:lnTo>
                  <a:lnTo>
                    <a:pt x="345" y="172"/>
                  </a:lnTo>
                  <a:lnTo>
                    <a:pt x="345" y="170"/>
                  </a:lnTo>
                  <a:lnTo>
                    <a:pt x="345" y="170"/>
                  </a:lnTo>
                  <a:lnTo>
                    <a:pt x="345" y="168"/>
                  </a:lnTo>
                  <a:lnTo>
                    <a:pt x="343" y="166"/>
                  </a:lnTo>
                  <a:lnTo>
                    <a:pt x="342" y="162"/>
                  </a:lnTo>
                  <a:lnTo>
                    <a:pt x="342" y="162"/>
                  </a:lnTo>
                  <a:lnTo>
                    <a:pt x="342" y="160"/>
                  </a:lnTo>
                  <a:lnTo>
                    <a:pt x="343" y="158"/>
                  </a:lnTo>
                  <a:lnTo>
                    <a:pt x="343" y="156"/>
                  </a:lnTo>
                  <a:lnTo>
                    <a:pt x="343" y="156"/>
                  </a:lnTo>
                  <a:lnTo>
                    <a:pt x="343" y="156"/>
                  </a:lnTo>
                  <a:lnTo>
                    <a:pt x="343" y="154"/>
                  </a:lnTo>
                  <a:lnTo>
                    <a:pt x="345" y="154"/>
                  </a:lnTo>
                  <a:lnTo>
                    <a:pt x="347" y="154"/>
                  </a:lnTo>
                  <a:lnTo>
                    <a:pt x="347" y="154"/>
                  </a:lnTo>
                  <a:lnTo>
                    <a:pt x="347" y="153"/>
                  </a:lnTo>
                  <a:lnTo>
                    <a:pt x="349" y="151"/>
                  </a:lnTo>
                  <a:lnTo>
                    <a:pt x="351" y="151"/>
                  </a:lnTo>
                  <a:lnTo>
                    <a:pt x="351" y="151"/>
                  </a:lnTo>
                  <a:lnTo>
                    <a:pt x="353" y="151"/>
                  </a:lnTo>
                  <a:lnTo>
                    <a:pt x="355" y="151"/>
                  </a:lnTo>
                  <a:lnTo>
                    <a:pt x="355" y="151"/>
                  </a:lnTo>
                  <a:lnTo>
                    <a:pt x="357" y="149"/>
                  </a:lnTo>
                  <a:lnTo>
                    <a:pt x="359" y="147"/>
                  </a:lnTo>
                  <a:lnTo>
                    <a:pt x="363" y="145"/>
                  </a:lnTo>
                  <a:lnTo>
                    <a:pt x="363" y="143"/>
                  </a:lnTo>
                  <a:lnTo>
                    <a:pt x="364" y="143"/>
                  </a:lnTo>
                  <a:lnTo>
                    <a:pt x="364" y="137"/>
                  </a:lnTo>
                  <a:lnTo>
                    <a:pt x="366" y="137"/>
                  </a:lnTo>
                  <a:lnTo>
                    <a:pt x="366" y="135"/>
                  </a:lnTo>
                  <a:lnTo>
                    <a:pt x="366" y="135"/>
                  </a:lnTo>
                  <a:lnTo>
                    <a:pt x="368" y="135"/>
                  </a:lnTo>
                  <a:lnTo>
                    <a:pt x="368" y="134"/>
                  </a:lnTo>
                  <a:lnTo>
                    <a:pt x="370" y="134"/>
                  </a:lnTo>
                  <a:lnTo>
                    <a:pt x="370" y="134"/>
                  </a:lnTo>
                  <a:lnTo>
                    <a:pt x="372" y="132"/>
                  </a:lnTo>
                  <a:lnTo>
                    <a:pt x="376" y="130"/>
                  </a:lnTo>
                  <a:lnTo>
                    <a:pt x="376" y="128"/>
                  </a:lnTo>
                  <a:lnTo>
                    <a:pt x="378" y="128"/>
                  </a:lnTo>
                  <a:lnTo>
                    <a:pt x="378" y="126"/>
                  </a:lnTo>
                  <a:lnTo>
                    <a:pt x="378" y="124"/>
                  </a:lnTo>
                  <a:lnTo>
                    <a:pt x="378" y="12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endParaRPr>
            </a:p>
          </p:txBody>
        </p:sp>
        <p:sp>
          <p:nvSpPr>
            <p:cNvPr id="64" name="Freeform 66">
              <a:extLst>
                <a:ext uri="{FF2B5EF4-FFF2-40B4-BE49-F238E27FC236}">
                  <a16:creationId xmlns:a16="http://schemas.microsoft.com/office/drawing/2014/main" id="{EE203730-EF89-202D-1226-7BECB8CF66D1}"/>
                </a:ext>
              </a:extLst>
            </p:cNvPr>
            <p:cNvSpPr>
              <a:spLocks/>
            </p:cNvSpPr>
            <p:nvPr/>
          </p:nvSpPr>
          <p:spPr bwMode="auto">
            <a:xfrm>
              <a:off x="5030788" y="2502701"/>
              <a:ext cx="17463" cy="20638"/>
            </a:xfrm>
            <a:custGeom>
              <a:avLst/>
              <a:gdLst>
                <a:gd name="T0" fmla="*/ 11 w 11"/>
                <a:gd name="T1" fmla="*/ 10 h 13"/>
                <a:gd name="T2" fmla="*/ 11 w 11"/>
                <a:gd name="T3" fmla="*/ 8 h 13"/>
                <a:gd name="T4" fmla="*/ 11 w 11"/>
                <a:gd name="T5" fmla="*/ 6 h 13"/>
                <a:gd name="T6" fmla="*/ 11 w 11"/>
                <a:gd name="T7" fmla="*/ 6 h 13"/>
                <a:gd name="T8" fmla="*/ 11 w 11"/>
                <a:gd name="T9" fmla="*/ 6 h 13"/>
                <a:gd name="T10" fmla="*/ 11 w 11"/>
                <a:gd name="T11" fmla="*/ 4 h 13"/>
                <a:gd name="T12" fmla="*/ 11 w 11"/>
                <a:gd name="T13" fmla="*/ 2 h 13"/>
                <a:gd name="T14" fmla="*/ 11 w 11"/>
                <a:gd name="T15" fmla="*/ 2 h 13"/>
                <a:gd name="T16" fmla="*/ 11 w 11"/>
                <a:gd name="T17" fmla="*/ 0 h 13"/>
                <a:gd name="T18" fmla="*/ 7 w 11"/>
                <a:gd name="T19" fmla="*/ 0 h 13"/>
                <a:gd name="T20" fmla="*/ 6 w 11"/>
                <a:gd name="T21" fmla="*/ 0 h 13"/>
                <a:gd name="T22" fmla="*/ 4 w 11"/>
                <a:gd name="T23" fmla="*/ 0 h 13"/>
                <a:gd name="T24" fmla="*/ 0 w 11"/>
                <a:gd name="T25" fmla="*/ 2 h 13"/>
                <a:gd name="T26" fmla="*/ 0 w 11"/>
                <a:gd name="T27" fmla="*/ 2 h 13"/>
                <a:gd name="T28" fmla="*/ 0 w 11"/>
                <a:gd name="T29" fmla="*/ 2 h 13"/>
                <a:gd name="T30" fmla="*/ 0 w 11"/>
                <a:gd name="T31" fmla="*/ 4 h 13"/>
                <a:gd name="T32" fmla="*/ 0 w 11"/>
                <a:gd name="T33" fmla="*/ 4 h 13"/>
                <a:gd name="T34" fmla="*/ 0 w 11"/>
                <a:gd name="T35" fmla="*/ 6 h 13"/>
                <a:gd name="T36" fmla="*/ 0 w 11"/>
                <a:gd name="T37" fmla="*/ 6 h 13"/>
                <a:gd name="T38" fmla="*/ 4 w 11"/>
                <a:gd name="T39" fmla="*/ 8 h 13"/>
                <a:gd name="T40" fmla="*/ 6 w 11"/>
                <a:gd name="T41" fmla="*/ 12 h 13"/>
                <a:gd name="T42" fmla="*/ 7 w 11"/>
                <a:gd name="T43" fmla="*/ 12 h 13"/>
                <a:gd name="T44" fmla="*/ 7 w 11"/>
                <a:gd name="T45" fmla="*/ 13 h 13"/>
                <a:gd name="T46" fmla="*/ 7 w 11"/>
                <a:gd name="T47" fmla="*/ 13 h 13"/>
                <a:gd name="T48" fmla="*/ 7 w 11"/>
                <a:gd name="T49" fmla="*/ 13 h 13"/>
                <a:gd name="T50" fmla="*/ 9 w 11"/>
                <a:gd name="T51" fmla="*/ 12 h 13"/>
                <a:gd name="T52" fmla="*/ 9 w 11"/>
                <a:gd name="T53" fmla="*/ 12 h 13"/>
                <a:gd name="T54" fmla="*/ 9 w 11"/>
                <a:gd name="T55" fmla="*/ 12 h 13"/>
                <a:gd name="T56" fmla="*/ 11 w 11"/>
                <a:gd name="T57" fmla="*/ 12 h 13"/>
                <a:gd name="T58" fmla="*/ 11 w 11"/>
                <a:gd name="T59" fmla="*/ 12 h 13"/>
                <a:gd name="T60" fmla="*/ 11 w 11"/>
                <a:gd name="T6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3">
                  <a:moveTo>
                    <a:pt x="11" y="10"/>
                  </a:moveTo>
                  <a:lnTo>
                    <a:pt x="11" y="8"/>
                  </a:lnTo>
                  <a:lnTo>
                    <a:pt x="11" y="6"/>
                  </a:lnTo>
                  <a:lnTo>
                    <a:pt x="11" y="6"/>
                  </a:lnTo>
                  <a:lnTo>
                    <a:pt x="11" y="6"/>
                  </a:lnTo>
                  <a:lnTo>
                    <a:pt x="11" y="4"/>
                  </a:lnTo>
                  <a:lnTo>
                    <a:pt x="11" y="2"/>
                  </a:lnTo>
                  <a:lnTo>
                    <a:pt x="11" y="2"/>
                  </a:lnTo>
                  <a:lnTo>
                    <a:pt x="11" y="0"/>
                  </a:lnTo>
                  <a:lnTo>
                    <a:pt x="7" y="0"/>
                  </a:lnTo>
                  <a:lnTo>
                    <a:pt x="6" y="0"/>
                  </a:lnTo>
                  <a:lnTo>
                    <a:pt x="4" y="0"/>
                  </a:lnTo>
                  <a:lnTo>
                    <a:pt x="0" y="2"/>
                  </a:lnTo>
                  <a:lnTo>
                    <a:pt x="0" y="2"/>
                  </a:lnTo>
                  <a:lnTo>
                    <a:pt x="0" y="2"/>
                  </a:lnTo>
                  <a:lnTo>
                    <a:pt x="0" y="4"/>
                  </a:lnTo>
                  <a:lnTo>
                    <a:pt x="0" y="4"/>
                  </a:lnTo>
                  <a:lnTo>
                    <a:pt x="0" y="6"/>
                  </a:lnTo>
                  <a:lnTo>
                    <a:pt x="0" y="6"/>
                  </a:lnTo>
                  <a:lnTo>
                    <a:pt x="4" y="8"/>
                  </a:lnTo>
                  <a:lnTo>
                    <a:pt x="6" y="12"/>
                  </a:lnTo>
                  <a:lnTo>
                    <a:pt x="7" y="12"/>
                  </a:lnTo>
                  <a:lnTo>
                    <a:pt x="7" y="13"/>
                  </a:lnTo>
                  <a:lnTo>
                    <a:pt x="7" y="13"/>
                  </a:lnTo>
                  <a:lnTo>
                    <a:pt x="7" y="13"/>
                  </a:lnTo>
                  <a:lnTo>
                    <a:pt x="9" y="12"/>
                  </a:lnTo>
                  <a:lnTo>
                    <a:pt x="9" y="12"/>
                  </a:lnTo>
                  <a:lnTo>
                    <a:pt x="9" y="12"/>
                  </a:lnTo>
                  <a:lnTo>
                    <a:pt x="11" y="12"/>
                  </a:lnTo>
                  <a:lnTo>
                    <a:pt x="11" y="12"/>
                  </a:lnTo>
                  <a:lnTo>
                    <a:pt x="11" y="1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5" name="Freeform 67">
              <a:extLst>
                <a:ext uri="{FF2B5EF4-FFF2-40B4-BE49-F238E27FC236}">
                  <a16:creationId xmlns:a16="http://schemas.microsoft.com/office/drawing/2014/main" id="{78BBFD28-6C4C-209D-909C-CCEB6651B2A9}"/>
                </a:ext>
              </a:extLst>
            </p:cNvPr>
            <p:cNvSpPr>
              <a:spLocks/>
            </p:cNvSpPr>
            <p:nvPr/>
          </p:nvSpPr>
          <p:spPr bwMode="auto">
            <a:xfrm>
              <a:off x="5030788" y="2502701"/>
              <a:ext cx="17463" cy="20638"/>
            </a:xfrm>
            <a:custGeom>
              <a:avLst/>
              <a:gdLst>
                <a:gd name="T0" fmla="*/ 11 w 11"/>
                <a:gd name="T1" fmla="*/ 10 h 13"/>
                <a:gd name="T2" fmla="*/ 11 w 11"/>
                <a:gd name="T3" fmla="*/ 8 h 13"/>
                <a:gd name="T4" fmla="*/ 11 w 11"/>
                <a:gd name="T5" fmla="*/ 6 h 13"/>
                <a:gd name="T6" fmla="*/ 11 w 11"/>
                <a:gd name="T7" fmla="*/ 6 h 13"/>
                <a:gd name="T8" fmla="*/ 11 w 11"/>
                <a:gd name="T9" fmla="*/ 6 h 13"/>
                <a:gd name="T10" fmla="*/ 11 w 11"/>
                <a:gd name="T11" fmla="*/ 4 h 13"/>
                <a:gd name="T12" fmla="*/ 11 w 11"/>
                <a:gd name="T13" fmla="*/ 2 h 13"/>
                <a:gd name="T14" fmla="*/ 11 w 11"/>
                <a:gd name="T15" fmla="*/ 2 h 13"/>
                <a:gd name="T16" fmla="*/ 11 w 11"/>
                <a:gd name="T17" fmla="*/ 0 h 13"/>
                <a:gd name="T18" fmla="*/ 7 w 11"/>
                <a:gd name="T19" fmla="*/ 0 h 13"/>
                <a:gd name="T20" fmla="*/ 6 w 11"/>
                <a:gd name="T21" fmla="*/ 0 h 13"/>
                <a:gd name="T22" fmla="*/ 4 w 11"/>
                <a:gd name="T23" fmla="*/ 0 h 13"/>
                <a:gd name="T24" fmla="*/ 0 w 11"/>
                <a:gd name="T25" fmla="*/ 2 h 13"/>
                <a:gd name="T26" fmla="*/ 0 w 11"/>
                <a:gd name="T27" fmla="*/ 2 h 13"/>
                <a:gd name="T28" fmla="*/ 0 w 11"/>
                <a:gd name="T29" fmla="*/ 2 h 13"/>
                <a:gd name="T30" fmla="*/ 0 w 11"/>
                <a:gd name="T31" fmla="*/ 4 h 13"/>
                <a:gd name="T32" fmla="*/ 0 w 11"/>
                <a:gd name="T33" fmla="*/ 4 h 13"/>
                <a:gd name="T34" fmla="*/ 0 w 11"/>
                <a:gd name="T35" fmla="*/ 6 h 13"/>
                <a:gd name="T36" fmla="*/ 0 w 11"/>
                <a:gd name="T37" fmla="*/ 6 h 13"/>
                <a:gd name="T38" fmla="*/ 4 w 11"/>
                <a:gd name="T39" fmla="*/ 8 h 13"/>
                <a:gd name="T40" fmla="*/ 6 w 11"/>
                <a:gd name="T41" fmla="*/ 12 h 13"/>
                <a:gd name="T42" fmla="*/ 7 w 11"/>
                <a:gd name="T43" fmla="*/ 12 h 13"/>
                <a:gd name="T44" fmla="*/ 7 w 11"/>
                <a:gd name="T45" fmla="*/ 13 h 13"/>
                <a:gd name="T46" fmla="*/ 7 w 11"/>
                <a:gd name="T47" fmla="*/ 13 h 13"/>
                <a:gd name="T48" fmla="*/ 7 w 11"/>
                <a:gd name="T49" fmla="*/ 13 h 13"/>
                <a:gd name="T50" fmla="*/ 9 w 11"/>
                <a:gd name="T51" fmla="*/ 12 h 13"/>
                <a:gd name="T52" fmla="*/ 9 w 11"/>
                <a:gd name="T53" fmla="*/ 12 h 13"/>
                <a:gd name="T54" fmla="*/ 9 w 11"/>
                <a:gd name="T55" fmla="*/ 12 h 13"/>
                <a:gd name="T56" fmla="*/ 11 w 11"/>
                <a:gd name="T57" fmla="*/ 12 h 13"/>
                <a:gd name="T58" fmla="*/ 11 w 11"/>
                <a:gd name="T59" fmla="*/ 12 h 13"/>
                <a:gd name="T60" fmla="*/ 11 w 11"/>
                <a:gd name="T6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3">
                  <a:moveTo>
                    <a:pt x="11" y="10"/>
                  </a:moveTo>
                  <a:lnTo>
                    <a:pt x="11" y="8"/>
                  </a:lnTo>
                  <a:lnTo>
                    <a:pt x="11" y="6"/>
                  </a:lnTo>
                  <a:lnTo>
                    <a:pt x="11" y="6"/>
                  </a:lnTo>
                  <a:lnTo>
                    <a:pt x="11" y="6"/>
                  </a:lnTo>
                  <a:lnTo>
                    <a:pt x="11" y="4"/>
                  </a:lnTo>
                  <a:lnTo>
                    <a:pt x="11" y="2"/>
                  </a:lnTo>
                  <a:lnTo>
                    <a:pt x="11" y="2"/>
                  </a:lnTo>
                  <a:lnTo>
                    <a:pt x="11" y="0"/>
                  </a:lnTo>
                  <a:lnTo>
                    <a:pt x="7" y="0"/>
                  </a:lnTo>
                  <a:lnTo>
                    <a:pt x="6" y="0"/>
                  </a:lnTo>
                  <a:lnTo>
                    <a:pt x="4" y="0"/>
                  </a:lnTo>
                  <a:lnTo>
                    <a:pt x="0" y="2"/>
                  </a:lnTo>
                  <a:lnTo>
                    <a:pt x="0" y="2"/>
                  </a:lnTo>
                  <a:lnTo>
                    <a:pt x="0" y="2"/>
                  </a:lnTo>
                  <a:lnTo>
                    <a:pt x="0" y="4"/>
                  </a:lnTo>
                  <a:lnTo>
                    <a:pt x="0" y="4"/>
                  </a:lnTo>
                  <a:lnTo>
                    <a:pt x="0" y="6"/>
                  </a:lnTo>
                  <a:lnTo>
                    <a:pt x="0" y="6"/>
                  </a:lnTo>
                  <a:lnTo>
                    <a:pt x="4" y="8"/>
                  </a:lnTo>
                  <a:lnTo>
                    <a:pt x="6" y="12"/>
                  </a:lnTo>
                  <a:lnTo>
                    <a:pt x="7" y="12"/>
                  </a:lnTo>
                  <a:lnTo>
                    <a:pt x="7" y="13"/>
                  </a:lnTo>
                  <a:lnTo>
                    <a:pt x="7" y="13"/>
                  </a:lnTo>
                  <a:lnTo>
                    <a:pt x="7" y="13"/>
                  </a:lnTo>
                  <a:lnTo>
                    <a:pt x="9" y="12"/>
                  </a:lnTo>
                  <a:lnTo>
                    <a:pt x="9" y="12"/>
                  </a:lnTo>
                  <a:lnTo>
                    <a:pt x="9" y="12"/>
                  </a:lnTo>
                  <a:lnTo>
                    <a:pt x="11" y="12"/>
                  </a:lnTo>
                  <a:lnTo>
                    <a:pt x="11" y="12"/>
                  </a:lnTo>
                  <a:lnTo>
                    <a:pt x="11" y="1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6" name="Freeform 68">
              <a:extLst>
                <a:ext uri="{FF2B5EF4-FFF2-40B4-BE49-F238E27FC236}">
                  <a16:creationId xmlns:a16="http://schemas.microsoft.com/office/drawing/2014/main" id="{90D015FD-6AA1-1DF3-55AF-34A87F720094}"/>
                </a:ext>
              </a:extLst>
            </p:cNvPr>
            <p:cNvSpPr>
              <a:spLocks/>
            </p:cNvSpPr>
            <p:nvPr/>
          </p:nvSpPr>
          <p:spPr bwMode="auto">
            <a:xfrm>
              <a:off x="6000750" y="3051976"/>
              <a:ext cx="730250" cy="522288"/>
            </a:xfrm>
            <a:custGeom>
              <a:avLst/>
              <a:gdLst>
                <a:gd name="T0" fmla="*/ 454 w 460"/>
                <a:gd name="T1" fmla="*/ 107 h 329"/>
                <a:gd name="T2" fmla="*/ 441 w 460"/>
                <a:gd name="T3" fmla="*/ 103 h 329"/>
                <a:gd name="T4" fmla="*/ 420 w 460"/>
                <a:gd name="T5" fmla="*/ 109 h 329"/>
                <a:gd name="T6" fmla="*/ 391 w 460"/>
                <a:gd name="T7" fmla="*/ 116 h 329"/>
                <a:gd name="T8" fmla="*/ 353 w 460"/>
                <a:gd name="T9" fmla="*/ 116 h 329"/>
                <a:gd name="T10" fmla="*/ 328 w 460"/>
                <a:gd name="T11" fmla="*/ 109 h 329"/>
                <a:gd name="T12" fmla="*/ 296 w 460"/>
                <a:gd name="T13" fmla="*/ 103 h 329"/>
                <a:gd name="T14" fmla="*/ 265 w 460"/>
                <a:gd name="T15" fmla="*/ 97 h 329"/>
                <a:gd name="T16" fmla="*/ 235 w 460"/>
                <a:gd name="T17" fmla="*/ 97 h 329"/>
                <a:gd name="T18" fmla="*/ 220 w 460"/>
                <a:gd name="T19" fmla="*/ 73 h 329"/>
                <a:gd name="T20" fmla="*/ 170 w 460"/>
                <a:gd name="T21" fmla="*/ 76 h 329"/>
                <a:gd name="T22" fmla="*/ 147 w 460"/>
                <a:gd name="T23" fmla="*/ 57 h 329"/>
                <a:gd name="T24" fmla="*/ 124 w 460"/>
                <a:gd name="T25" fmla="*/ 33 h 329"/>
                <a:gd name="T26" fmla="*/ 75 w 460"/>
                <a:gd name="T27" fmla="*/ 2 h 329"/>
                <a:gd name="T28" fmla="*/ 52 w 460"/>
                <a:gd name="T29" fmla="*/ 15 h 329"/>
                <a:gd name="T30" fmla="*/ 52 w 460"/>
                <a:gd name="T31" fmla="*/ 25 h 329"/>
                <a:gd name="T32" fmla="*/ 65 w 460"/>
                <a:gd name="T33" fmla="*/ 46 h 329"/>
                <a:gd name="T34" fmla="*/ 81 w 460"/>
                <a:gd name="T35" fmla="*/ 65 h 329"/>
                <a:gd name="T36" fmla="*/ 90 w 460"/>
                <a:gd name="T37" fmla="*/ 78 h 329"/>
                <a:gd name="T38" fmla="*/ 71 w 460"/>
                <a:gd name="T39" fmla="*/ 90 h 329"/>
                <a:gd name="T40" fmla="*/ 60 w 460"/>
                <a:gd name="T41" fmla="*/ 103 h 329"/>
                <a:gd name="T42" fmla="*/ 56 w 460"/>
                <a:gd name="T43" fmla="*/ 109 h 329"/>
                <a:gd name="T44" fmla="*/ 79 w 460"/>
                <a:gd name="T45" fmla="*/ 114 h 329"/>
                <a:gd name="T46" fmla="*/ 75 w 460"/>
                <a:gd name="T47" fmla="*/ 128 h 329"/>
                <a:gd name="T48" fmla="*/ 65 w 460"/>
                <a:gd name="T49" fmla="*/ 137 h 329"/>
                <a:gd name="T50" fmla="*/ 82 w 460"/>
                <a:gd name="T51" fmla="*/ 156 h 329"/>
                <a:gd name="T52" fmla="*/ 105 w 460"/>
                <a:gd name="T53" fmla="*/ 170 h 329"/>
                <a:gd name="T54" fmla="*/ 109 w 460"/>
                <a:gd name="T55" fmla="*/ 187 h 329"/>
                <a:gd name="T56" fmla="*/ 94 w 460"/>
                <a:gd name="T57" fmla="*/ 190 h 329"/>
                <a:gd name="T58" fmla="*/ 82 w 460"/>
                <a:gd name="T59" fmla="*/ 190 h 329"/>
                <a:gd name="T60" fmla="*/ 54 w 460"/>
                <a:gd name="T61" fmla="*/ 204 h 329"/>
                <a:gd name="T62" fmla="*/ 4 w 460"/>
                <a:gd name="T63" fmla="*/ 236 h 329"/>
                <a:gd name="T64" fmla="*/ 4 w 460"/>
                <a:gd name="T65" fmla="*/ 267 h 329"/>
                <a:gd name="T66" fmla="*/ 20 w 460"/>
                <a:gd name="T67" fmla="*/ 284 h 329"/>
                <a:gd name="T68" fmla="*/ 35 w 460"/>
                <a:gd name="T69" fmla="*/ 308 h 329"/>
                <a:gd name="T70" fmla="*/ 63 w 460"/>
                <a:gd name="T71" fmla="*/ 301 h 329"/>
                <a:gd name="T72" fmla="*/ 77 w 460"/>
                <a:gd name="T73" fmla="*/ 310 h 329"/>
                <a:gd name="T74" fmla="*/ 82 w 460"/>
                <a:gd name="T75" fmla="*/ 306 h 329"/>
                <a:gd name="T76" fmla="*/ 92 w 460"/>
                <a:gd name="T77" fmla="*/ 314 h 329"/>
                <a:gd name="T78" fmla="*/ 113 w 460"/>
                <a:gd name="T79" fmla="*/ 327 h 329"/>
                <a:gd name="T80" fmla="*/ 126 w 460"/>
                <a:gd name="T81" fmla="*/ 316 h 329"/>
                <a:gd name="T82" fmla="*/ 145 w 460"/>
                <a:gd name="T83" fmla="*/ 324 h 329"/>
                <a:gd name="T84" fmla="*/ 170 w 460"/>
                <a:gd name="T85" fmla="*/ 320 h 329"/>
                <a:gd name="T86" fmla="*/ 202 w 460"/>
                <a:gd name="T87" fmla="*/ 308 h 329"/>
                <a:gd name="T88" fmla="*/ 216 w 460"/>
                <a:gd name="T89" fmla="*/ 297 h 329"/>
                <a:gd name="T90" fmla="*/ 235 w 460"/>
                <a:gd name="T91" fmla="*/ 284 h 329"/>
                <a:gd name="T92" fmla="*/ 258 w 460"/>
                <a:gd name="T93" fmla="*/ 299 h 329"/>
                <a:gd name="T94" fmla="*/ 273 w 460"/>
                <a:gd name="T95" fmla="*/ 314 h 329"/>
                <a:gd name="T96" fmla="*/ 294 w 460"/>
                <a:gd name="T97" fmla="*/ 310 h 329"/>
                <a:gd name="T98" fmla="*/ 330 w 460"/>
                <a:gd name="T99" fmla="*/ 306 h 329"/>
                <a:gd name="T100" fmla="*/ 345 w 460"/>
                <a:gd name="T101" fmla="*/ 289 h 329"/>
                <a:gd name="T102" fmla="*/ 357 w 460"/>
                <a:gd name="T103" fmla="*/ 253 h 329"/>
                <a:gd name="T104" fmla="*/ 374 w 460"/>
                <a:gd name="T105" fmla="*/ 238 h 329"/>
                <a:gd name="T106" fmla="*/ 391 w 460"/>
                <a:gd name="T107" fmla="*/ 227 h 329"/>
                <a:gd name="T108" fmla="*/ 418 w 460"/>
                <a:gd name="T109" fmla="*/ 228 h 329"/>
                <a:gd name="T110" fmla="*/ 410 w 460"/>
                <a:gd name="T111" fmla="*/ 219 h 329"/>
                <a:gd name="T112" fmla="*/ 418 w 460"/>
                <a:gd name="T113" fmla="*/ 211 h 329"/>
                <a:gd name="T114" fmla="*/ 439 w 460"/>
                <a:gd name="T115" fmla="*/ 209 h 329"/>
                <a:gd name="T116" fmla="*/ 435 w 460"/>
                <a:gd name="T117" fmla="*/ 189 h 329"/>
                <a:gd name="T118" fmla="*/ 414 w 460"/>
                <a:gd name="T119" fmla="*/ 168 h 329"/>
                <a:gd name="T120" fmla="*/ 416 w 460"/>
                <a:gd name="T121" fmla="*/ 156 h 329"/>
                <a:gd name="T122" fmla="*/ 439 w 460"/>
                <a:gd name="T123" fmla="*/ 137 h 329"/>
                <a:gd name="T124" fmla="*/ 460 w 460"/>
                <a:gd name="T125" fmla="*/ 12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329">
                  <a:moveTo>
                    <a:pt x="460" y="120"/>
                  </a:moveTo>
                  <a:lnTo>
                    <a:pt x="460" y="118"/>
                  </a:lnTo>
                  <a:lnTo>
                    <a:pt x="460" y="118"/>
                  </a:lnTo>
                  <a:lnTo>
                    <a:pt x="458" y="116"/>
                  </a:lnTo>
                  <a:lnTo>
                    <a:pt x="456" y="116"/>
                  </a:lnTo>
                  <a:lnTo>
                    <a:pt x="456" y="116"/>
                  </a:lnTo>
                  <a:lnTo>
                    <a:pt x="456" y="114"/>
                  </a:lnTo>
                  <a:lnTo>
                    <a:pt x="456" y="114"/>
                  </a:lnTo>
                  <a:lnTo>
                    <a:pt x="456" y="114"/>
                  </a:lnTo>
                  <a:lnTo>
                    <a:pt x="458" y="112"/>
                  </a:lnTo>
                  <a:lnTo>
                    <a:pt x="458" y="112"/>
                  </a:lnTo>
                  <a:lnTo>
                    <a:pt x="458" y="112"/>
                  </a:lnTo>
                  <a:lnTo>
                    <a:pt x="458" y="112"/>
                  </a:lnTo>
                  <a:lnTo>
                    <a:pt x="458" y="111"/>
                  </a:lnTo>
                  <a:lnTo>
                    <a:pt x="454" y="109"/>
                  </a:lnTo>
                  <a:lnTo>
                    <a:pt x="454" y="107"/>
                  </a:lnTo>
                  <a:lnTo>
                    <a:pt x="452" y="107"/>
                  </a:lnTo>
                  <a:lnTo>
                    <a:pt x="452" y="107"/>
                  </a:lnTo>
                  <a:lnTo>
                    <a:pt x="450" y="105"/>
                  </a:lnTo>
                  <a:lnTo>
                    <a:pt x="450" y="105"/>
                  </a:lnTo>
                  <a:lnTo>
                    <a:pt x="450" y="105"/>
                  </a:lnTo>
                  <a:lnTo>
                    <a:pt x="450" y="105"/>
                  </a:lnTo>
                  <a:lnTo>
                    <a:pt x="450" y="103"/>
                  </a:lnTo>
                  <a:lnTo>
                    <a:pt x="452" y="101"/>
                  </a:lnTo>
                  <a:lnTo>
                    <a:pt x="452" y="101"/>
                  </a:lnTo>
                  <a:lnTo>
                    <a:pt x="450" y="99"/>
                  </a:lnTo>
                  <a:lnTo>
                    <a:pt x="446" y="101"/>
                  </a:lnTo>
                  <a:lnTo>
                    <a:pt x="444" y="101"/>
                  </a:lnTo>
                  <a:lnTo>
                    <a:pt x="444" y="103"/>
                  </a:lnTo>
                  <a:lnTo>
                    <a:pt x="443" y="101"/>
                  </a:lnTo>
                  <a:lnTo>
                    <a:pt x="441" y="101"/>
                  </a:lnTo>
                  <a:lnTo>
                    <a:pt x="441" y="103"/>
                  </a:lnTo>
                  <a:lnTo>
                    <a:pt x="441" y="105"/>
                  </a:lnTo>
                  <a:lnTo>
                    <a:pt x="441" y="105"/>
                  </a:lnTo>
                  <a:lnTo>
                    <a:pt x="439" y="111"/>
                  </a:lnTo>
                  <a:lnTo>
                    <a:pt x="437" y="114"/>
                  </a:lnTo>
                  <a:lnTo>
                    <a:pt x="433" y="118"/>
                  </a:lnTo>
                  <a:lnTo>
                    <a:pt x="429" y="118"/>
                  </a:lnTo>
                  <a:lnTo>
                    <a:pt x="429" y="118"/>
                  </a:lnTo>
                  <a:lnTo>
                    <a:pt x="425" y="116"/>
                  </a:lnTo>
                  <a:lnTo>
                    <a:pt x="425" y="114"/>
                  </a:lnTo>
                  <a:lnTo>
                    <a:pt x="424" y="114"/>
                  </a:lnTo>
                  <a:lnTo>
                    <a:pt x="424" y="112"/>
                  </a:lnTo>
                  <a:lnTo>
                    <a:pt x="424" y="111"/>
                  </a:lnTo>
                  <a:lnTo>
                    <a:pt x="424" y="111"/>
                  </a:lnTo>
                  <a:lnTo>
                    <a:pt x="420" y="109"/>
                  </a:lnTo>
                  <a:lnTo>
                    <a:pt x="420" y="109"/>
                  </a:lnTo>
                  <a:lnTo>
                    <a:pt x="420" y="109"/>
                  </a:lnTo>
                  <a:lnTo>
                    <a:pt x="416" y="112"/>
                  </a:lnTo>
                  <a:lnTo>
                    <a:pt x="414" y="112"/>
                  </a:lnTo>
                  <a:lnTo>
                    <a:pt x="412" y="111"/>
                  </a:lnTo>
                  <a:lnTo>
                    <a:pt x="410" y="111"/>
                  </a:lnTo>
                  <a:lnTo>
                    <a:pt x="410" y="111"/>
                  </a:lnTo>
                  <a:lnTo>
                    <a:pt x="410" y="112"/>
                  </a:lnTo>
                  <a:lnTo>
                    <a:pt x="408" y="114"/>
                  </a:lnTo>
                  <a:lnTo>
                    <a:pt x="406" y="114"/>
                  </a:lnTo>
                  <a:lnTo>
                    <a:pt x="406" y="114"/>
                  </a:lnTo>
                  <a:lnTo>
                    <a:pt x="404" y="114"/>
                  </a:lnTo>
                  <a:lnTo>
                    <a:pt x="403" y="112"/>
                  </a:lnTo>
                  <a:lnTo>
                    <a:pt x="401" y="114"/>
                  </a:lnTo>
                  <a:lnTo>
                    <a:pt x="401" y="114"/>
                  </a:lnTo>
                  <a:lnTo>
                    <a:pt x="397" y="116"/>
                  </a:lnTo>
                  <a:lnTo>
                    <a:pt x="395" y="118"/>
                  </a:lnTo>
                  <a:lnTo>
                    <a:pt x="391" y="116"/>
                  </a:lnTo>
                  <a:lnTo>
                    <a:pt x="384" y="112"/>
                  </a:lnTo>
                  <a:lnTo>
                    <a:pt x="382" y="112"/>
                  </a:lnTo>
                  <a:lnTo>
                    <a:pt x="378" y="112"/>
                  </a:lnTo>
                  <a:lnTo>
                    <a:pt x="376" y="114"/>
                  </a:lnTo>
                  <a:lnTo>
                    <a:pt x="372" y="114"/>
                  </a:lnTo>
                  <a:lnTo>
                    <a:pt x="372" y="116"/>
                  </a:lnTo>
                  <a:lnTo>
                    <a:pt x="370" y="120"/>
                  </a:lnTo>
                  <a:lnTo>
                    <a:pt x="368" y="122"/>
                  </a:lnTo>
                  <a:lnTo>
                    <a:pt x="368" y="120"/>
                  </a:lnTo>
                  <a:lnTo>
                    <a:pt x="364" y="120"/>
                  </a:lnTo>
                  <a:lnTo>
                    <a:pt x="363" y="118"/>
                  </a:lnTo>
                  <a:lnTo>
                    <a:pt x="363" y="116"/>
                  </a:lnTo>
                  <a:lnTo>
                    <a:pt x="361" y="116"/>
                  </a:lnTo>
                  <a:lnTo>
                    <a:pt x="361" y="114"/>
                  </a:lnTo>
                  <a:lnTo>
                    <a:pt x="357" y="116"/>
                  </a:lnTo>
                  <a:lnTo>
                    <a:pt x="353" y="116"/>
                  </a:lnTo>
                  <a:lnTo>
                    <a:pt x="349" y="114"/>
                  </a:lnTo>
                  <a:lnTo>
                    <a:pt x="347" y="112"/>
                  </a:lnTo>
                  <a:lnTo>
                    <a:pt x="345" y="109"/>
                  </a:lnTo>
                  <a:lnTo>
                    <a:pt x="345" y="105"/>
                  </a:lnTo>
                  <a:lnTo>
                    <a:pt x="345" y="105"/>
                  </a:lnTo>
                  <a:lnTo>
                    <a:pt x="343" y="101"/>
                  </a:lnTo>
                  <a:lnTo>
                    <a:pt x="343" y="99"/>
                  </a:lnTo>
                  <a:lnTo>
                    <a:pt x="343" y="97"/>
                  </a:lnTo>
                  <a:lnTo>
                    <a:pt x="343" y="97"/>
                  </a:lnTo>
                  <a:lnTo>
                    <a:pt x="342" y="97"/>
                  </a:lnTo>
                  <a:lnTo>
                    <a:pt x="340" y="101"/>
                  </a:lnTo>
                  <a:lnTo>
                    <a:pt x="338" y="101"/>
                  </a:lnTo>
                  <a:lnTo>
                    <a:pt x="334" y="103"/>
                  </a:lnTo>
                  <a:lnTo>
                    <a:pt x="332" y="105"/>
                  </a:lnTo>
                  <a:lnTo>
                    <a:pt x="328" y="105"/>
                  </a:lnTo>
                  <a:lnTo>
                    <a:pt x="328" y="109"/>
                  </a:lnTo>
                  <a:lnTo>
                    <a:pt x="326" y="111"/>
                  </a:lnTo>
                  <a:lnTo>
                    <a:pt x="324" y="112"/>
                  </a:lnTo>
                  <a:lnTo>
                    <a:pt x="321" y="112"/>
                  </a:lnTo>
                  <a:lnTo>
                    <a:pt x="321" y="112"/>
                  </a:lnTo>
                  <a:lnTo>
                    <a:pt x="317" y="111"/>
                  </a:lnTo>
                  <a:lnTo>
                    <a:pt x="317" y="111"/>
                  </a:lnTo>
                  <a:lnTo>
                    <a:pt x="315" y="112"/>
                  </a:lnTo>
                  <a:lnTo>
                    <a:pt x="315" y="112"/>
                  </a:lnTo>
                  <a:lnTo>
                    <a:pt x="313" y="114"/>
                  </a:lnTo>
                  <a:lnTo>
                    <a:pt x="311" y="114"/>
                  </a:lnTo>
                  <a:lnTo>
                    <a:pt x="305" y="111"/>
                  </a:lnTo>
                  <a:lnTo>
                    <a:pt x="300" y="107"/>
                  </a:lnTo>
                  <a:lnTo>
                    <a:pt x="298" y="105"/>
                  </a:lnTo>
                  <a:lnTo>
                    <a:pt x="298" y="105"/>
                  </a:lnTo>
                  <a:lnTo>
                    <a:pt x="296" y="105"/>
                  </a:lnTo>
                  <a:lnTo>
                    <a:pt x="296" y="103"/>
                  </a:lnTo>
                  <a:lnTo>
                    <a:pt x="294" y="103"/>
                  </a:lnTo>
                  <a:lnTo>
                    <a:pt x="292" y="101"/>
                  </a:lnTo>
                  <a:lnTo>
                    <a:pt x="288" y="101"/>
                  </a:lnTo>
                  <a:lnTo>
                    <a:pt x="283" y="97"/>
                  </a:lnTo>
                  <a:lnTo>
                    <a:pt x="281" y="97"/>
                  </a:lnTo>
                  <a:lnTo>
                    <a:pt x="279" y="97"/>
                  </a:lnTo>
                  <a:lnTo>
                    <a:pt x="277" y="97"/>
                  </a:lnTo>
                  <a:lnTo>
                    <a:pt x="277" y="97"/>
                  </a:lnTo>
                  <a:lnTo>
                    <a:pt x="277" y="95"/>
                  </a:lnTo>
                  <a:lnTo>
                    <a:pt x="277" y="95"/>
                  </a:lnTo>
                  <a:lnTo>
                    <a:pt x="275" y="93"/>
                  </a:lnTo>
                  <a:lnTo>
                    <a:pt x="275" y="93"/>
                  </a:lnTo>
                  <a:lnTo>
                    <a:pt x="273" y="93"/>
                  </a:lnTo>
                  <a:lnTo>
                    <a:pt x="269" y="95"/>
                  </a:lnTo>
                  <a:lnTo>
                    <a:pt x="267" y="97"/>
                  </a:lnTo>
                  <a:lnTo>
                    <a:pt x="265" y="97"/>
                  </a:lnTo>
                  <a:lnTo>
                    <a:pt x="265" y="97"/>
                  </a:lnTo>
                  <a:lnTo>
                    <a:pt x="263" y="95"/>
                  </a:lnTo>
                  <a:lnTo>
                    <a:pt x="263" y="95"/>
                  </a:lnTo>
                  <a:lnTo>
                    <a:pt x="263" y="95"/>
                  </a:lnTo>
                  <a:lnTo>
                    <a:pt x="262" y="95"/>
                  </a:lnTo>
                  <a:lnTo>
                    <a:pt x="262" y="95"/>
                  </a:lnTo>
                  <a:lnTo>
                    <a:pt x="262" y="95"/>
                  </a:lnTo>
                  <a:lnTo>
                    <a:pt x="260" y="95"/>
                  </a:lnTo>
                  <a:lnTo>
                    <a:pt x="258" y="95"/>
                  </a:lnTo>
                  <a:lnTo>
                    <a:pt x="258" y="93"/>
                  </a:lnTo>
                  <a:lnTo>
                    <a:pt x="252" y="90"/>
                  </a:lnTo>
                  <a:lnTo>
                    <a:pt x="248" y="90"/>
                  </a:lnTo>
                  <a:lnTo>
                    <a:pt x="246" y="90"/>
                  </a:lnTo>
                  <a:lnTo>
                    <a:pt x="242" y="90"/>
                  </a:lnTo>
                  <a:lnTo>
                    <a:pt x="242" y="92"/>
                  </a:lnTo>
                  <a:lnTo>
                    <a:pt x="235" y="97"/>
                  </a:lnTo>
                  <a:lnTo>
                    <a:pt x="233" y="97"/>
                  </a:lnTo>
                  <a:lnTo>
                    <a:pt x="231" y="99"/>
                  </a:lnTo>
                  <a:lnTo>
                    <a:pt x="231" y="97"/>
                  </a:lnTo>
                  <a:lnTo>
                    <a:pt x="231" y="97"/>
                  </a:lnTo>
                  <a:lnTo>
                    <a:pt x="231" y="95"/>
                  </a:lnTo>
                  <a:lnTo>
                    <a:pt x="231" y="95"/>
                  </a:lnTo>
                  <a:lnTo>
                    <a:pt x="231" y="95"/>
                  </a:lnTo>
                  <a:lnTo>
                    <a:pt x="229" y="95"/>
                  </a:lnTo>
                  <a:lnTo>
                    <a:pt x="229" y="95"/>
                  </a:lnTo>
                  <a:lnTo>
                    <a:pt x="227" y="95"/>
                  </a:lnTo>
                  <a:lnTo>
                    <a:pt x="223" y="92"/>
                  </a:lnTo>
                  <a:lnTo>
                    <a:pt x="222" y="90"/>
                  </a:lnTo>
                  <a:lnTo>
                    <a:pt x="220" y="86"/>
                  </a:lnTo>
                  <a:lnTo>
                    <a:pt x="222" y="78"/>
                  </a:lnTo>
                  <a:lnTo>
                    <a:pt x="220" y="74"/>
                  </a:lnTo>
                  <a:lnTo>
                    <a:pt x="220" y="73"/>
                  </a:lnTo>
                  <a:lnTo>
                    <a:pt x="212" y="69"/>
                  </a:lnTo>
                  <a:lnTo>
                    <a:pt x="210" y="69"/>
                  </a:lnTo>
                  <a:lnTo>
                    <a:pt x="202" y="71"/>
                  </a:lnTo>
                  <a:lnTo>
                    <a:pt x="199" y="74"/>
                  </a:lnTo>
                  <a:lnTo>
                    <a:pt x="197" y="76"/>
                  </a:lnTo>
                  <a:lnTo>
                    <a:pt x="195" y="76"/>
                  </a:lnTo>
                  <a:lnTo>
                    <a:pt x="193" y="76"/>
                  </a:lnTo>
                  <a:lnTo>
                    <a:pt x="191" y="76"/>
                  </a:lnTo>
                  <a:lnTo>
                    <a:pt x="189" y="76"/>
                  </a:lnTo>
                  <a:lnTo>
                    <a:pt x="189" y="78"/>
                  </a:lnTo>
                  <a:lnTo>
                    <a:pt x="187" y="78"/>
                  </a:lnTo>
                  <a:lnTo>
                    <a:pt x="187" y="80"/>
                  </a:lnTo>
                  <a:lnTo>
                    <a:pt x="183" y="80"/>
                  </a:lnTo>
                  <a:lnTo>
                    <a:pt x="182" y="80"/>
                  </a:lnTo>
                  <a:lnTo>
                    <a:pt x="174" y="78"/>
                  </a:lnTo>
                  <a:lnTo>
                    <a:pt x="170" y="76"/>
                  </a:lnTo>
                  <a:lnTo>
                    <a:pt x="170" y="73"/>
                  </a:lnTo>
                  <a:lnTo>
                    <a:pt x="170" y="69"/>
                  </a:lnTo>
                  <a:lnTo>
                    <a:pt x="166" y="67"/>
                  </a:lnTo>
                  <a:lnTo>
                    <a:pt x="164" y="67"/>
                  </a:lnTo>
                  <a:lnTo>
                    <a:pt x="159" y="71"/>
                  </a:lnTo>
                  <a:lnTo>
                    <a:pt x="157" y="69"/>
                  </a:lnTo>
                  <a:lnTo>
                    <a:pt x="157" y="69"/>
                  </a:lnTo>
                  <a:lnTo>
                    <a:pt x="157" y="67"/>
                  </a:lnTo>
                  <a:lnTo>
                    <a:pt x="155" y="65"/>
                  </a:lnTo>
                  <a:lnTo>
                    <a:pt x="155" y="65"/>
                  </a:lnTo>
                  <a:lnTo>
                    <a:pt x="153" y="65"/>
                  </a:lnTo>
                  <a:lnTo>
                    <a:pt x="151" y="65"/>
                  </a:lnTo>
                  <a:lnTo>
                    <a:pt x="151" y="63"/>
                  </a:lnTo>
                  <a:lnTo>
                    <a:pt x="149" y="59"/>
                  </a:lnTo>
                  <a:lnTo>
                    <a:pt x="149" y="57"/>
                  </a:lnTo>
                  <a:lnTo>
                    <a:pt x="147" y="57"/>
                  </a:lnTo>
                  <a:lnTo>
                    <a:pt x="142" y="55"/>
                  </a:lnTo>
                  <a:lnTo>
                    <a:pt x="140" y="54"/>
                  </a:lnTo>
                  <a:lnTo>
                    <a:pt x="140" y="54"/>
                  </a:lnTo>
                  <a:lnTo>
                    <a:pt x="138" y="52"/>
                  </a:lnTo>
                  <a:lnTo>
                    <a:pt x="138" y="52"/>
                  </a:lnTo>
                  <a:lnTo>
                    <a:pt x="136" y="54"/>
                  </a:lnTo>
                  <a:lnTo>
                    <a:pt x="134" y="54"/>
                  </a:lnTo>
                  <a:lnTo>
                    <a:pt x="134" y="54"/>
                  </a:lnTo>
                  <a:lnTo>
                    <a:pt x="122" y="50"/>
                  </a:lnTo>
                  <a:lnTo>
                    <a:pt x="121" y="50"/>
                  </a:lnTo>
                  <a:lnTo>
                    <a:pt x="121" y="48"/>
                  </a:lnTo>
                  <a:lnTo>
                    <a:pt x="121" y="46"/>
                  </a:lnTo>
                  <a:lnTo>
                    <a:pt x="122" y="42"/>
                  </a:lnTo>
                  <a:lnTo>
                    <a:pt x="124" y="40"/>
                  </a:lnTo>
                  <a:lnTo>
                    <a:pt x="124" y="36"/>
                  </a:lnTo>
                  <a:lnTo>
                    <a:pt x="124" y="33"/>
                  </a:lnTo>
                  <a:lnTo>
                    <a:pt x="122" y="29"/>
                  </a:lnTo>
                  <a:lnTo>
                    <a:pt x="121" y="25"/>
                  </a:lnTo>
                  <a:lnTo>
                    <a:pt x="119" y="21"/>
                  </a:lnTo>
                  <a:lnTo>
                    <a:pt x="117" y="19"/>
                  </a:lnTo>
                  <a:lnTo>
                    <a:pt x="90" y="15"/>
                  </a:lnTo>
                  <a:lnTo>
                    <a:pt x="88" y="14"/>
                  </a:lnTo>
                  <a:lnTo>
                    <a:pt x="86" y="12"/>
                  </a:lnTo>
                  <a:lnTo>
                    <a:pt x="84" y="10"/>
                  </a:lnTo>
                  <a:lnTo>
                    <a:pt x="84" y="8"/>
                  </a:lnTo>
                  <a:lnTo>
                    <a:pt x="81" y="8"/>
                  </a:lnTo>
                  <a:lnTo>
                    <a:pt x="81" y="8"/>
                  </a:lnTo>
                  <a:lnTo>
                    <a:pt x="79" y="6"/>
                  </a:lnTo>
                  <a:lnTo>
                    <a:pt x="79" y="4"/>
                  </a:lnTo>
                  <a:lnTo>
                    <a:pt x="77" y="4"/>
                  </a:lnTo>
                  <a:lnTo>
                    <a:pt x="75" y="4"/>
                  </a:lnTo>
                  <a:lnTo>
                    <a:pt x="75" y="2"/>
                  </a:lnTo>
                  <a:lnTo>
                    <a:pt x="75" y="0"/>
                  </a:lnTo>
                  <a:lnTo>
                    <a:pt x="73" y="0"/>
                  </a:lnTo>
                  <a:lnTo>
                    <a:pt x="71" y="0"/>
                  </a:lnTo>
                  <a:lnTo>
                    <a:pt x="65" y="6"/>
                  </a:lnTo>
                  <a:lnTo>
                    <a:pt x="63" y="8"/>
                  </a:lnTo>
                  <a:lnTo>
                    <a:pt x="61" y="8"/>
                  </a:lnTo>
                  <a:lnTo>
                    <a:pt x="58" y="8"/>
                  </a:lnTo>
                  <a:lnTo>
                    <a:pt x="56" y="8"/>
                  </a:lnTo>
                  <a:lnTo>
                    <a:pt x="56" y="8"/>
                  </a:lnTo>
                  <a:lnTo>
                    <a:pt x="54" y="8"/>
                  </a:lnTo>
                  <a:lnTo>
                    <a:pt x="50" y="8"/>
                  </a:lnTo>
                  <a:lnTo>
                    <a:pt x="48" y="8"/>
                  </a:lnTo>
                  <a:lnTo>
                    <a:pt x="48" y="10"/>
                  </a:lnTo>
                  <a:lnTo>
                    <a:pt x="52" y="14"/>
                  </a:lnTo>
                  <a:lnTo>
                    <a:pt x="52" y="14"/>
                  </a:lnTo>
                  <a:lnTo>
                    <a:pt x="52" y="15"/>
                  </a:lnTo>
                  <a:lnTo>
                    <a:pt x="52" y="15"/>
                  </a:lnTo>
                  <a:lnTo>
                    <a:pt x="50" y="17"/>
                  </a:lnTo>
                  <a:lnTo>
                    <a:pt x="50" y="17"/>
                  </a:lnTo>
                  <a:lnTo>
                    <a:pt x="50" y="17"/>
                  </a:lnTo>
                  <a:lnTo>
                    <a:pt x="50" y="17"/>
                  </a:lnTo>
                  <a:lnTo>
                    <a:pt x="50" y="17"/>
                  </a:lnTo>
                  <a:lnTo>
                    <a:pt x="50" y="19"/>
                  </a:lnTo>
                  <a:lnTo>
                    <a:pt x="50" y="19"/>
                  </a:lnTo>
                  <a:lnTo>
                    <a:pt x="50" y="19"/>
                  </a:lnTo>
                  <a:lnTo>
                    <a:pt x="50" y="19"/>
                  </a:lnTo>
                  <a:lnTo>
                    <a:pt x="52" y="19"/>
                  </a:lnTo>
                  <a:lnTo>
                    <a:pt x="54" y="19"/>
                  </a:lnTo>
                  <a:lnTo>
                    <a:pt x="54" y="19"/>
                  </a:lnTo>
                  <a:lnTo>
                    <a:pt x="54" y="21"/>
                  </a:lnTo>
                  <a:lnTo>
                    <a:pt x="52" y="23"/>
                  </a:lnTo>
                  <a:lnTo>
                    <a:pt x="52" y="25"/>
                  </a:lnTo>
                  <a:lnTo>
                    <a:pt x="54" y="25"/>
                  </a:lnTo>
                  <a:lnTo>
                    <a:pt x="54" y="27"/>
                  </a:lnTo>
                  <a:lnTo>
                    <a:pt x="56" y="27"/>
                  </a:lnTo>
                  <a:lnTo>
                    <a:pt x="56" y="29"/>
                  </a:lnTo>
                  <a:lnTo>
                    <a:pt x="56" y="29"/>
                  </a:lnTo>
                  <a:lnTo>
                    <a:pt x="58" y="31"/>
                  </a:lnTo>
                  <a:lnTo>
                    <a:pt x="58" y="33"/>
                  </a:lnTo>
                  <a:lnTo>
                    <a:pt x="58" y="34"/>
                  </a:lnTo>
                  <a:lnTo>
                    <a:pt x="58" y="36"/>
                  </a:lnTo>
                  <a:lnTo>
                    <a:pt x="58" y="38"/>
                  </a:lnTo>
                  <a:lnTo>
                    <a:pt x="58" y="38"/>
                  </a:lnTo>
                  <a:lnTo>
                    <a:pt x="61" y="40"/>
                  </a:lnTo>
                  <a:lnTo>
                    <a:pt x="61" y="42"/>
                  </a:lnTo>
                  <a:lnTo>
                    <a:pt x="61" y="44"/>
                  </a:lnTo>
                  <a:lnTo>
                    <a:pt x="63" y="46"/>
                  </a:lnTo>
                  <a:lnTo>
                    <a:pt x="65" y="46"/>
                  </a:lnTo>
                  <a:lnTo>
                    <a:pt x="65" y="48"/>
                  </a:lnTo>
                  <a:lnTo>
                    <a:pt x="65" y="50"/>
                  </a:lnTo>
                  <a:lnTo>
                    <a:pt x="65" y="50"/>
                  </a:lnTo>
                  <a:lnTo>
                    <a:pt x="65" y="54"/>
                  </a:lnTo>
                  <a:lnTo>
                    <a:pt x="65" y="54"/>
                  </a:lnTo>
                  <a:lnTo>
                    <a:pt x="69" y="59"/>
                  </a:lnTo>
                  <a:lnTo>
                    <a:pt x="69" y="61"/>
                  </a:lnTo>
                  <a:lnTo>
                    <a:pt x="71" y="63"/>
                  </a:lnTo>
                  <a:lnTo>
                    <a:pt x="73" y="63"/>
                  </a:lnTo>
                  <a:lnTo>
                    <a:pt x="73" y="63"/>
                  </a:lnTo>
                  <a:lnTo>
                    <a:pt x="75" y="65"/>
                  </a:lnTo>
                  <a:lnTo>
                    <a:pt x="77" y="67"/>
                  </a:lnTo>
                  <a:lnTo>
                    <a:pt x="79" y="67"/>
                  </a:lnTo>
                  <a:lnTo>
                    <a:pt x="79" y="67"/>
                  </a:lnTo>
                  <a:lnTo>
                    <a:pt x="79" y="65"/>
                  </a:lnTo>
                  <a:lnTo>
                    <a:pt x="81" y="65"/>
                  </a:lnTo>
                  <a:lnTo>
                    <a:pt x="81" y="65"/>
                  </a:lnTo>
                  <a:lnTo>
                    <a:pt x="81" y="65"/>
                  </a:lnTo>
                  <a:lnTo>
                    <a:pt x="82" y="65"/>
                  </a:lnTo>
                  <a:lnTo>
                    <a:pt x="82" y="65"/>
                  </a:lnTo>
                  <a:lnTo>
                    <a:pt x="84" y="65"/>
                  </a:lnTo>
                  <a:lnTo>
                    <a:pt x="84" y="65"/>
                  </a:lnTo>
                  <a:lnTo>
                    <a:pt x="86" y="67"/>
                  </a:lnTo>
                  <a:lnTo>
                    <a:pt x="86" y="69"/>
                  </a:lnTo>
                  <a:lnTo>
                    <a:pt x="86" y="71"/>
                  </a:lnTo>
                  <a:lnTo>
                    <a:pt x="86" y="73"/>
                  </a:lnTo>
                  <a:lnTo>
                    <a:pt x="86" y="76"/>
                  </a:lnTo>
                  <a:lnTo>
                    <a:pt x="86" y="78"/>
                  </a:lnTo>
                  <a:lnTo>
                    <a:pt x="86" y="78"/>
                  </a:lnTo>
                  <a:lnTo>
                    <a:pt x="86" y="78"/>
                  </a:lnTo>
                  <a:lnTo>
                    <a:pt x="88" y="78"/>
                  </a:lnTo>
                  <a:lnTo>
                    <a:pt x="90" y="78"/>
                  </a:lnTo>
                  <a:lnTo>
                    <a:pt x="90" y="80"/>
                  </a:lnTo>
                  <a:lnTo>
                    <a:pt x="92" y="80"/>
                  </a:lnTo>
                  <a:lnTo>
                    <a:pt x="98" y="88"/>
                  </a:lnTo>
                  <a:lnTo>
                    <a:pt x="100" y="88"/>
                  </a:lnTo>
                  <a:lnTo>
                    <a:pt x="100" y="88"/>
                  </a:lnTo>
                  <a:lnTo>
                    <a:pt x="100" y="90"/>
                  </a:lnTo>
                  <a:lnTo>
                    <a:pt x="100" y="90"/>
                  </a:lnTo>
                  <a:lnTo>
                    <a:pt x="98" y="90"/>
                  </a:lnTo>
                  <a:lnTo>
                    <a:pt x="84" y="92"/>
                  </a:lnTo>
                  <a:lnTo>
                    <a:pt x="81" y="90"/>
                  </a:lnTo>
                  <a:lnTo>
                    <a:pt x="79" y="90"/>
                  </a:lnTo>
                  <a:lnTo>
                    <a:pt x="77" y="90"/>
                  </a:lnTo>
                  <a:lnTo>
                    <a:pt x="77" y="90"/>
                  </a:lnTo>
                  <a:lnTo>
                    <a:pt x="73" y="90"/>
                  </a:lnTo>
                  <a:lnTo>
                    <a:pt x="73" y="90"/>
                  </a:lnTo>
                  <a:lnTo>
                    <a:pt x="71" y="90"/>
                  </a:lnTo>
                  <a:lnTo>
                    <a:pt x="71" y="92"/>
                  </a:lnTo>
                  <a:lnTo>
                    <a:pt x="71" y="92"/>
                  </a:lnTo>
                  <a:lnTo>
                    <a:pt x="69" y="95"/>
                  </a:lnTo>
                  <a:lnTo>
                    <a:pt x="69" y="97"/>
                  </a:lnTo>
                  <a:lnTo>
                    <a:pt x="69" y="97"/>
                  </a:lnTo>
                  <a:lnTo>
                    <a:pt x="67" y="99"/>
                  </a:lnTo>
                  <a:lnTo>
                    <a:pt x="67" y="99"/>
                  </a:lnTo>
                  <a:lnTo>
                    <a:pt x="67" y="99"/>
                  </a:lnTo>
                  <a:lnTo>
                    <a:pt x="63" y="101"/>
                  </a:lnTo>
                  <a:lnTo>
                    <a:pt x="61" y="101"/>
                  </a:lnTo>
                  <a:lnTo>
                    <a:pt x="61" y="101"/>
                  </a:lnTo>
                  <a:lnTo>
                    <a:pt x="61" y="101"/>
                  </a:lnTo>
                  <a:lnTo>
                    <a:pt x="60" y="103"/>
                  </a:lnTo>
                  <a:lnTo>
                    <a:pt x="60" y="103"/>
                  </a:lnTo>
                  <a:lnTo>
                    <a:pt x="60" y="103"/>
                  </a:lnTo>
                  <a:lnTo>
                    <a:pt x="60" y="103"/>
                  </a:lnTo>
                  <a:lnTo>
                    <a:pt x="60" y="103"/>
                  </a:lnTo>
                  <a:lnTo>
                    <a:pt x="60" y="103"/>
                  </a:lnTo>
                  <a:lnTo>
                    <a:pt x="60" y="101"/>
                  </a:lnTo>
                  <a:lnTo>
                    <a:pt x="58" y="101"/>
                  </a:lnTo>
                  <a:lnTo>
                    <a:pt x="58" y="101"/>
                  </a:lnTo>
                  <a:lnTo>
                    <a:pt x="58" y="99"/>
                  </a:lnTo>
                  <a:lnTo>
                    <a:pt x="58" y="99"/>
                  </a:lnTo>
                  <a:lnTo>
                    <a:pt x="58" y="99"/>
                  </a:lnTo>
                  <a:lnTo>
                    <a:pt x="56" y="101"/>
                  </a:lnTo>
                  <a:lnTo>
                    <a:pt x="56" y="101"/>
                  </a:lnTo>
                  <a:lnTo>
                    <a:pt x="56" y="101"/>
                  </a:lnTo>
                  <a:lnTo>
                    <a:pt x="56" y="105"/>
                  </a:lnTo>
                  <a:lnTo>
                    <a:pt x="56" y="105"/>
                  </a:lnTo>
                  <a:lnTo>
                    <a:pt x="56" y="107"/>
                  </a:lnTo>
                  <a:lnTo>
                    <a:pt x="56" y="109"/>
                  </a:lnTo>
                  <a:lnTo>
                    <a:pt x="56" y="109"/>
                  </a:lnTo>
                  <a:lnTo>
                    <a:pt x="58" y="109"/>
                  </a:lnTo>
                  <a:lnTo>
                    <a:pt x="60" y="111"/>
                  </a:lnTo>
                  <a:lnTo>
                    <a:pt x="60" y="111"/>
                  </a:lnTo>
                  <a:lnTo>
                    <a:pt x="61" y="111"/>
                  </a:lnTo>
                  <a:lnTo>
                    <a:pt x="61" y="109"/>
                  </a:lnTo>
                  <a:lnTo>
                    <a:pt x="63" y="109"/>
                  </a:lnTo>
                  <a:lnTo>
                    <a:pt x="63" y="109"/>
                  </a:lnTo>
                  <a:lnTo>
                    <a:pt x="63" y="109"/>
                  </a:lnTo>
                  <a:lnTo>
                    <a:pt x="63" y="109"/>
                  </a:lnTo>
                  <a:lnTo>
                    <a:pt x="65" y="109"/>
                  </a:lnTo>
                  <a:lnTo>
                    <a:pt x="65" y="109"/>
                  </a:lnTo>
                  <a:lnTo>
                    <a:pt x="67" y="109"/>
                  </a:lnTo>
                  <a:lnTo>
                    <a:pt x="69" y="112"/>
                  </a:lnTo>
                  <a:lnTo>
                    <a:pt x="71" y="112"/>
                  </a:lnTo>
                  <a:lnTo>
                    <a:pt x="73" y="114"/>
                  </a:lnTo>
                  <a:lnTo>
                    <a:pt x="79" y="114"/>
                  </a:lnTo>
                  <a:lnTo>
                    <a:pt x="81" y="116"/>
                  </a:lnTo>
                  <a:lnTo>
                    <a:pt x="81" y="116"/>
                  </a:lnTo>
                  <a:lnTo>
                    <a:pt x="81" y="116"/>
                  </a:lnTo>
                  <a:lnTo>
                    <a:pt x="81" y="118"/>
                  </a:lnTo>
                  <a:lnTo>
                    <a:pt x="79" y="122"/>
                  </a:lnTo>
                  <a:lnTo>
                    <a:pt x="79" y="122"/>
                  </a:lnTo>
                  <a:lnTo>
                    <a:pt x="79" y="122"/>
                  </a:lnTo>
                  <a:lnTo>
                    <a:pt x="79" y="124"/>
                  </a:lnTo>
                  <a:lnTo>
                    <a:pt x="81" y="126"/>
                  </a:lnTo>
                  <a:lnTo>
                    <a:pt x="81" y="128"/>
                  </a:lnTo>
                  <a:lnTo>
                    <a:pt x="81" y="128"/>
                  </a:lnTo>
                  <a:lnTo>
                    <a:pt x="79" y="128"/>
                  </a:lnTo>
                  <a:lnTo>
                    <a:pt x="77" y="128"/>
                  </a:lnTo>
                  <a:lnTo>
                    <a:pt x="77" y="128"/>
                  </a:lnTo>
                  <a:lnTo>
                    <a:pt x="75" y="128"/>
                  </a:lnTo>
                  <a:lnTo>
                    <a:pt x="75" y="128"/>
                  </a:lnTo>
                  <a:lnTo>
                    <a:pt x="73" y="128"/>
                  </a:lnTo>
                  <a:lnTo>
                    <a:pt x="73" y="128"/>
                  </a:lnTo>
                  <a:lnTo>
                    <a:pt x="73" y="130"/>
                  </a:lnTo>
                  <a:lnTo>
                    <a:pt x="71" y="130"/>
                  </a:lnTo>
                  <a:lnTo>
                    <a:pt x="71" y="130"/>
                  </a:lnTo>
                  <a:lnTo>
                    <a:pt x="65" y="130"/>
                  </a:lnTo>
                  <a:lnTo>
                    <a:pt x="63" y="131"/>
                  </a:lnTo>
                  <a:lnTo>
                    <a:pt x="63" y="131"/>
                  </a:lnTo>
                  <a:lnTo>
                    <a:pt x="63" y="131"/>
                  </a:lnTo>
                  <a:lnTo>
                    <a:pt x="63" y="131"/>
                  </a:lnTo>
                  <a:lnTo>
                    <a:pt x="61" y="131"/>
                  </a:lnTo>
                  <a:lnTo>
                    <a:pt x="61" y="133"/>
                  </a:lnTo>
                  <a:lnTo>
                    <a:pt x="61" y="133"/>
                  </a:lnTo>
                  <a:lnTo>
                    <a:pt x="61" y="135"/>
                  </a:lnTo>
                  <a:lnTo>
                    <a:pt x="63" y="135"/>
                  </a:lnTo>
                  <a:lnTo>
                    <a:pt x="65" y="137"/>
                  </a:lnTo>
                  <a:lnTo>
                    <a:pt x="67" y="139"/>
                  </a:lnTo>
                  <a:lnTo>
                    <a:pt x="69" y="147"/>
                  </a:lnTo>
                  <a:lnTo>
                    <a:pt x="69" y="147"/>
                  </a:lnTo>
                  <a:lnTo>
                    <a:pt x="71" y="147"/>
                  </a:lnTo>
                  <a:lnTo>
                    <a:pt x="73" y="147"/>
                  </a:lnTo>
                  <a:lnTo>
                    <a:pt x="73" y="147"/>
                  </a:lnTo>
                  <a:lnTo>
                    <a:pt x="75" y="149"/>
                  </a:lnTo>
                  <a:lnTo>
                    <a:pt x="77" y="149"/>
                  </a:lnTo>
                  <a:lnTo>
                    <a:pt x="77" y="150"/>
                  </a:lnTo>
                  <a:lnTo>
                    <a:pt x="79" y="150"/>
                  </a:lnTo>
                  <a:lnTo>
                    <a:pt x="79" y="152"/>
                  </a:lnTo>
                  <a:lnTo>
                    <a:pt x="79" y="154"/>
                  </a:lnTo>
                  <a:lnTo>
                    <a:pt x="81" y="154"/>
                  </a:lnTo>
                  <a:lnTo>
                    <a:pt x="81" y="154"/>
                  </a:lnTo>
                  <a:lnTo>
                    <a:pt x="82" y="154"/>
                  </a:lnTo>
                  <a:lnTo>
                    <a:pt x="82" y="156"/>
                  </a:lnTo>
                  <a:lnTo>
                    <a:pt x="84" y="160"/>
                  </a:lnTo>
                  <a:lnTo>
                    <a:pt x="84" y="160"/>
                  </a:lnTo>
                  <a:lnTo>
                    <a:pt x="84" y="162"/>
                  </a:lnTo>
                  <a:lnTo>
                    <a:pt x="86" y="162"/>
                  </a:lnTo>
                  <a:lnTo>
                    <a:pt x="88" y="164"/>
                  </a:lnTo>
                  <a:lnTo>
                    <a:pt x="88" y="164"/>
                  </a:lnTo>
                  <a:lnTo>
                    <a:pt x="90" y="164"/>
                  </a:lnTo>
                  <a:lnTo>
                    <a:pt x="94" y="162"/>
                  </a:lnTo>
                  <a:lnTo>
                    <a:pt x="96" y="162"/>
                  </a:lnTo>
                  <a:lnTo>
                    <a:pt x="98" y="162"/>
                  </a:lnTo>
                  <a:lnTo>
                    <a:pt x="98" y="164"/>
                  </a:lnTo>
                  <a:lnTo>
                    <a:pt x="100" y="164"/>
                  </a:lnTo>
                  <a:lnTo>
                    <a:pt x="101" y="166"/>
                  </a:lnTo>
                  <a:lnTo>
                    <a:pt x="101" y="168"/>
                  </a:lnTo>
                  <a:lnTo>
                    <a:pt x="101" y="168"/>
                  </a:lnTo>
                  <a:lnTo>
                    <a:pt x="105" y="170"/>
                  </a:lnTo>
                  <a:lnTo>
                    <a:pt x="107" y="170"/>
                  </a:lnTo>
                  <a:lnTo>
                    <a:pt x="109" y="170"/>
                  </a:lnTo>
                  <a:lnTo>
                    <a:pt x="111" y="170"/>
                  </a:lnTo>
                  <a:lnTo>
                    <a:pt x="113" y="171"/>
                  </a:lnTo>
                  <a:lnTo>
                    <a:pt x="119" y="177"/>
                  </a:lnTo>
                  <a:lnTo>
                    <a:pt x="119" y="177"/>
                  </a:lnTo>
                  <a:lnTo>
                    <a:pt x="121" y="179"/>
                  </a:lnTo>
                  <a:lnTo>
                    <a:pt x="119" y="179"/>
                  </a:lnTo>
                  <a:lnTo>
                    <a:pt x="119" y="181"/>
                  </a:lnTo>
                  <a:lnTo>
                    <a:pt x="119" y="183"/>
                  </a:lnTo>
                  <a:lnTo>
                    <a:pt x="119" y="183"/>
                  </a:lnTo>
                  <a:lnTo>
                    <a:pt x="117" y="183"/>
                  </a:lnTo>
                  <a:lnTo>
                    <a:pt x="113" y="187"/>
                  </a:lnTo>
                  <a:lnTo>
                    <a:pt x="113" y="187"/>
                  </a:lnTo>
                  <a:lnTo>
                    <a:pt x="111" y="187"/>
                  </a:lnTo>
                  <a:lnTo>
                    <a:pt x="109" y="187"/>
                  </a:lnTo>
                  <a:lnTo>
                    <a:pt x="107" y="187"/>
                  </a:lnTo>
                  <a:lnTo>
                    <a:pt x="107" y="187"/>
                  </a:lnTo>
                  <a:lnTo>
                    <a:pt x="105" y="187"/>
                  </a:lnTo>
                  <a:lnTo>
                    <a:pt x="103" y="185"/>
                  </a:lnTo>
                  <a:lnTo>
                    <a:pt x="101" y="185"/>
                  </a:lnTo>
                  <a:lnTo>
                    <a:pt x="100" y="181"/>
                  </a:lnTo>
                  <a:lnTo>
                    <a:pt x="98" y="181"/>
                  </a:lnTo>
                  <a:lnTo>
                    <a:pt x="96" y="181"/>
                  </a:lnTo>
                  <a:lnTo>
                    <a:pt x="94" y="181"/>
                  </a:lnTo>
                  <a:lnTo>
                    <a:pt x="94" y="183"/>
                  </a:lnTo>
                  <a:lnTo>
                    <a:pt x="92" y="183"/>
                  </a:lnTo>
                  <a:lnTo>
                    <a:pt x="92" y="185"/>
                  </a:lnTo>
                  <a:lnTo>
                    <a:pt x="94" y="189"/>
                  </a:lnTo>
                  <a:lnTo>
                    <a:pt x="94" y="189"/>
                  </a:lnTo>
                  <a:lnTo>
                    <a:pt x="94" y="189"/>
                  </a:lnTo>
                  <a:lnTo>
                    <a:pt x="94" y="190"/>
                  </a:lnTo>
                  <a:lnTo>
                    <a:pt x="94" y="190"/>
                  </a:lnTo>
                  <a:lnTo>
                    <a:pt x="94" y="190"/>
                  </a:lnTo>
                  <a:lnTo>
                    <a:pt x="94" y="192"/>
                  </a:lnTo>
                  <a:lnTo>
                    <a:pt x="92" y="192"/>
                  </a:lnTo>
                  <a:lnTo>
                    <a:pt x="92" y="192"/>
                  </a:lnTo>
                  <a:lnTo>
                    <a:pt x="90" y="192"/>
                  </a:lnTo>
                  <a:lnTo>
                    <a:pt x="88" y="192"/>
                  </a:lnTo>
                  <a:lnTo>
                    <a:pt x="86" y="192"/>
                  </a:lnTo>
                  <a:lnTo>
                    <a:pt x="86" y="192"/>
                  </a:lnTo>
                  <a:lnTo>
                    <a:pt x="86" y="192"/>
                  </a:lnTo>
                  <a:lnTo>
                    <a:pt x="84" y="192"/>
                  </a:lnTo>
                  <a:lnTo>
                    <a:pt x="84" y="192"/>
                  </a:lnTo>
                  <a:lnTo>
                    <a:pt x="84" y="192"/>
                  </a:lnTo>
                  <a:lnTo>
                    <a:pt x="84" y="190"/>
                  </a:lnTo>
                  <a:lnTo>
                    <a:pt x="84" y="190"/>
                  </a:lnTo>
                  <a:lnTo>
                    <a:pt x="82" y="190"/>
                  </a:lnTo>
                  <a:lnTo>
                    <a:pt x="82" y="190"/>
                  </a:lnTo>
                  <a:lnTo>
                    <a:pt x="82" y="189"/>
                  </a:lnTo>
                  <a:lnTo>
                    <a:pt x="82" y="189"/>
                  </a:lnTo>
                  <a:lnTo>
                    <a:pt x="82" y="189"/>
                  </a:lnTo>
                  <a:lnTo>
                    <a:pt x="82" y="187"/>
                  </a:lnTo>
                  <a:lnTo>
                    <a:pt x="82" y="187"/>
                  </a:lnTo>
                  <a:lnTo>
                    <a:pt x="82" y="185"/>
                  </a:lnTo>
                  <a:lnTo>
                    <a:pt x="82" y="185"/>
                  </a:lnTo>
                  <a:lnTo>
                    <a:pt x="81" y="183"/>
                  </a:lnTo>
                  <a:lnTo>
                    <a:pt x="77" y="183"/>
                  </a:lnTo>
                  <a:lnTo>
                    <a:pt x="69" y="190"/>
                  </a:lnTo>
                  <a:lnTo>
                    <a:pt x="63" y="196"/>
                  </a:lnTo>
                  <a:lnTo>
                    <a:pt x="61" y="198"/>
                  </a:lnTo>
                  <a:lnTo>
                    <a:pt x="56" y="202"/>
                  </a:lnTo>
                  <a:lnTo>
                    <a:pt x="54" y="204"/>
                  </a:lnTo>
                  <a:lnTo>
                    <a:pt x="54" y="204"/>
                  </a:lnTo>
                  <a:lnTo>
                    <a:pt x="52" y="206"/>
                  </a:lnTo>
                  <a:lnTo>
                    <a:pt x="50" y="208"/>
                  </a:lnTo>
                  <a:lnTo>
                    <a:pt x="46" y="209"/>
                  </a:lnTo>
                  <a:lnTo>
                    <a:pt x="46" y="209"/>
                  </a:lnTo>
                  <a:lnTo>
                    <a:pt x="44" y="209"/>
                  </a:lnTo>
                  <a:lnTo>
                    <a:pt x="44" y="211"/>
                  </a:lnTo>
                  <a:lnTo>
                    <a:pt x="42" y="213"/>
                  </a:lnTo>
                  <a:lnTo>
                    <a:pt x="33" y="219"/>
                  </a:lnTo>
                  <a:lnTo>
                    <a:pt x="20" y="227"/>
                  </a:lnTo>
                  <a:lnTo>
                    <a:pt x="18" y="227"/>
                  </a:lnTo>
                  <a:lnTo>
                    <a:pt x="16" y="230"/>
                  </a:lnTo>
                  <a:lnTo>
                    <a:pt x="14" y="230"/>
                  </a:lnTo>
                  <a:lnTo>
                    <a:pt x="10" y="232"/>
                  </a:lnTo>
                  <a:lnTo>
                    <a:pt x="6" y="234"/>
                  </a:lnTo>
                  <a:lnTo>
                    <a:pt x="4" y="236"/>
                  </a:lnTo>
                  <a:lnTo>
                    <a:pt x="4" y="236"/>
                  </a:lnTo>
                  <a:lnTo>
                    <a:pt x="2" y="238"/>
                  </a:lnTo>
                  <a:lnTo>
                    <a:pt x="2" y="240"/>
                  </a:lnTo>
                  <a:lnTo>
                    <a:pt x="2" y="240"/>
                  </a:lnTo>
                  <a:lnTo>
                    <a:pt x="2" y="242"/>
                  </a:lnTo>
                  <a:lnTo>
                    <a:pt x="0" y="244"/>
                  </a:lnTo>
                  <a:lnTo>
                    <a:pt x="0" y="249"/>
                  </a:lnTo>
                  <a:lnTo>
                    <a:pt x="0" y="251"/>
                  </a:lnTo>
                  <a:lnTo>
                    <a:pt x="0" y="251"/>
                  </a:lnTo>
                  <a:lnTo>
                    <a:pt x="0" y="253"/>
                  </a:lnTo>
                  <a:lnTo>
                    <a:pt x="2" y="255"/>
                  </a:lnTo>
                  <a:lnTo>
                    <a:pt x="4" y="257"/>
                  </a:lnTo>
                  <a:lnTo>
                    <a:pt x="4" y="259"/>
                  </a:lnTo>
                  <a:lnTo>
                    <a:pt x="4" y="259"/>
                  </a:lnTo>
                  <a:lnTo>
                    <a:pt x="4" y="263"/>
                  </a:lnTo>
                  <a:lnTo>
                    <a:pt x="4" y="267"/>
                  </a:lnTo>
                  <a:lnTo>
                    <a:pt x="4" y="267"/>
                  </a:lnTo>
                  <a:lnTo>
                    <a:pt x="4" y="268"/>
                  </a:lnTo>
                  <a:lnTo>
                    <a:pt x="4" y="268"/>
                  </a:lnTo>
                  <a:lnTo>
                    <a:pt x="4" y="270"/>
                  </a:lnTo>
                  <a:lnTo>
                    <a:pt x="4" y="272"/>
                  </a:lnTo>
                  <a:lnTo>
                    <a:pt x="4" y="272"/>
                  </a:lnTo>
                  <a:lnTo>
                    <a:pt x="6" y="274"/>
                  </a:lnTo>
                  <a:lnTo>
                    <a:pt x="6" y="274"/>
                  </a:lnTo>
                  <a:lnTo>
                    <a:pt x="8" y="276"/>
                  </a:lnTo>
                  <a:lnTo>
                    <a:pt x="8" y="276"/>
                  </a:lnTo>
                  <a:lnTo>
                    <a:pt x="10" y="278"/>
                  </a:lnTo>
                  <a:lnTo>
                    <a:pt x="10" y="280"/>
                  </a:lnTo>
                  <a:lnTo>
                    <a:pt x="12" y="280"/>
                  </a:lnTo>
                  <a:lnTo>
                    <a:pt x="14" y="282"/>
                  </a:lnTo>
                  <a:lnTo>
                    <a:pt x="14" y="282"/>
                  </a:lnTo>
                  <a:lnTo>
                    <a:pt x="18" y="284"/>
                  </a:lnTo>
                  <a:lnTo>
                    <a:pt x="20" y="284"/>
                  </a:lnTo>
                  <a:lnTo>
                    <a:pt x="20" y="284"/>
                  </a:lnTo>
                  <a:lnTo>
                    <a:pt x="20" y="286"/>
                  </a:lnTo>
                  <a:lnTo>
                    <a:pt x="20" y="287"/>
                  </a:lnTo>
                  <a:lnTo>
                    <a:pt x="20" y="289"/>
                  </a:lnTo>
                  <a:lnTo>
                    <a:pt x="18" y="291"/>
                  </a:lnTo>
                  <a:lnTo>
                    <a:pt x="18" y="293"/>
                  </a:lnTo>
                  <a:lnTo>
                    <a:pt x="18" y="293"/>
                  </a:lnTo>
                  <a:lnTo>
                    <a:pt x="20" y="295"/>
                  </a:lnTo>
                  <a:lnTo>
                    <a:pt x="20" y="297"/>
                  </a:lnTo>
                  <a:lnTo>
                    <a:pt x="20" y="297"/>
                  </a:lnTo>
                  <a:lnTo>
                    <a:pt x="20" y="301"/>
                  </a:lnTo>
                  <a:lnTo>
                    <a:pt x="20" y="303"/>
                  </a:lnTo>
                  <a:lnTo>
                    <a:pt x="20" y="306"/>
                  </a:lnTo>
                  <a:lnTo>
                    <a:pt x="21" y="306"/>
                  </a:lnTo>
                  <a:lnTo>
                    <a:pt x="29" y="308"/>
                  </a:lnTo>
                  <a:lnTo>
                    <a:pt x="35" y="308"/>
                  </a:lnTo>
                  <a:lnTo>
                    <a:pt x="41" y="308"/>
                  </a:lnTo>
                  <a:lnTo>
                    <a:pt x="42" y="308"/>
                  </a:lnTo>
                  <a:lnTo>
                    <a:pt x="44" y="306"/>
                  </a:lnTo>
                  <a:lnTo>
                    <a:pt x="46" y="305"/>
                  </a:lnTo>
                  <a:lnTo>
                    <a:pt x="46" y="305"/>
                  </a:lnTo>
                  <a:lnTo>
                    <a:pt x="48" y="306"/>
                  </a:lnTo>
                  <a:lnTo>
                    <a:pt x="50" y="306"/>
                  </a:lnTo>
                  <a:lnTo>
                    <a:pt x="50" y="306"/>
                  </a:lnTo>
                  <a:lnTo>
                    <a:pt x="52" y="305"/>
                  </a:lnTo>
                  <a:lnTo>
                    <a:pt x="56" y="305"/>
                  </a:lnTo>
                  <a:lnTo>
                    <a:pt x="58" y="305"/>
                  </a:lnTo>
                  <a:lnTo>
                    <a:pt x="60" y="303"/>
                  </a:lnTo>
                  <a:lnTo>
                    <a:pt x="60" y="301"/>
                  </a:lnTo>
                  <a:lnTo>
                    <a:pt x="61" y="301"/>
                  </a:lnTo>
                  <a:lnTo>
                    <a:pt x="61" y="301"/>
                  </a:lnTo>
                  <a:lnTo>
                    <a:pt x="63" y="301"/>
                  </a:lnTo>
                  <a:lnTo>
                    <a:pt x="63" y="299"/>
                  </a:lnTo>
                  <a:lnTo>
                    <a:pt x="63" y="299"/>
                  </a:lnTo>
                  <a:lnTo>
                    <a:pt x="63" y="295"/>
                  </a:lnTo>
                  <a:lnTo>
                    <a:pt x="65" y="295"/>
                  </a:lnTo>
                  <a:lnTo>
                    <a:pt x="65" y="295"/>
                  </a:lnTo>
                  <a:lnTo>
                    <a:pt x="65" y="295"/>
                  </a:lnTo>
                  <a:lnTo>
                    <a:pt x="67" y="297"/>
                  </a:lnTo>
                  <a:lnTo>
                    <a:pt x="71" y="303"/>
                  </a:lnTo>
                  <a:lnTo>
                    <a:pt x="73" y="308"/>
                  </a:lnTo>
                  <a:lnTo>
                    <a:pt x="73" y="310"/>
                  </a:lnTo>
                  <a:lnTo>
                    <a:pt x="75" y="312"/>
                  </a:lnTo>
                  <a:lnTo>
                    <a:pt x="75" y="312"/>
                  </a:lnTo>
                  <a:lnTo>
                    <a:pt x="77" y="312"/>
                  </a:lnTo>
                  <a:lnTo>
                    <a:pt x="77" y="312"/>
                  </a:lnTo>
                  <a:lnTo>
                    <a:pt x="77" y="310"/>
                  </a:lnTo>
                  <a:lnTo>
                    <a:pt x="77" y="310"/>
                  </a:lnTo>
                  <a:lnTo>
                    <a:pt x="77" y="308"/>
                  </a:lnTo>
                  <a:lnTo>
                    <a:pt x="77" y="308"/>
                  </a:lnTo>
                  <a:lnTo>
                    <a:pt x="77" y="308"/>
                  </a:lnTo>
                  <a:lnTo>
                    <a:pt x="79" y="308"/>
                  </a:lnTo>
                  <a:lnTo>
                    <a:pt x="79" y="308"/>
                  </a:lnTo>
                  <a:lnTo>
                    <a:pt x="79" y="310"/>
                  </a:lnTo>
                  <a:lnTo>
                    <a:pt x="79" y="310"/>
                  </a:lnTo>
                  <a:lnTo>
                    <a:pt x="79" y="312"/>
                  </a:lnTo>
                  <a:lnTo>
                    <a:pt x="81" y="312"/>
                  </a:lnTo>
                  <a:lnTo>
                    <a:pt x="81" y="312"/>
                  </a:lnTo>
                  <a:lnTo>
                    <a:pt x="81" y="310"/>
                  </a:lnTo>
                  <a:lnTo>
                    <a:pt x="81" y="310"/>
                  </a:lnTo>
                  <a:lnTo>
                    <a:pt x="81" y="308"/>
                  </a:lnTo>
                  <a:lnTo>
                    <a:pt x="81" y="308"/>
                  </a:lnTo>
                  <a:lnTo>
                    <a:pt x="82" y="306"/>
                  </a:lnTo>
                  <a:lnTo>
                    <a:pt x="82" y="306"/>
                  </a:lnTo>
                  <a:lnTo>
                    <a:pt x="84" y="306"/>
                  </a:lnTo>
                  <a:lnTo>
                    <a:pt x="84" y="306"/>
                  </a:lnTo>
                  <a:lnTo>
                    <a:pt x="86" y="306"/>
                  </a:lnTo>
                  <a:lnTo>
                    <a:pt x="86" y="306"/>
                  </a:lnTo>
                  <a:lnTo>
                    <a:pt x="86" y="306"/>
                  </a:lnTo>
                  <a:lnTo>
                    <a:pt x="88" y="308"/>
                  </a:lnTo>
                  <a:lnTo>
                    <a:pt x="88" y="308"/>
                  </a:lnTo>
                  <a:lnTo>
                    <a:pt x="88" y="306"/>
                  </a:lnTo>
                  <a:lnTo>
                    <a:pt x="90" y="306"/>
                  </a:lnTo>
                  <a:lnTo>
                    <a:pt x="90" y="306"/>
                  </a:lnTo>
                  <a:lnTo>
                    <a:pt x="92" y="306"/>
                  </a:lnTo>
                  <a:lnTo>
                    <a:pt x="92" y="306"/>
                  </a:lnTo>
                  <a:lnTo>
                    <a:pt x="94" y="308"/>
                  </a:lnTo>
                  <a:lnTo>
                    <a:pt x="94" y="312"/>
                  </a:lnTo>
                  <a:lnTo>
                    <a:pt x="92" y="312"/>
                  </a:lnTo>
                  <a:lnTo>
                    <a:pt x="92" y="314"/>
                  </a:lnTo>
                  <a:lnTo>
                    <a:pt x="92" y="316"/>
                  </a:lnTo>
                  <a:lnTo>
                    <a:pt x="94" y="318"/>
                  </a:lnTo>
                  <a:lnTo>
                    <a:pt x="96" y="320"/>
                  </a:lnTo>
                  <a:lnTo>
                    <a:pt x="98" y="320"/>
                  </a:lnTo>
                  <a:lnTo>
                    <a:pt x="98" y="322"/>
                  </a:lnTo>
                  <a:lnTo>
                    <a:pt x="101" y="324"/>
                  </a:lnTo>
                  <a:lnTo>
                    <a:pt x="103" y="325"/>
                  </a:lnTo>
                  <a:lnTo>
                    <a:pt x="103" y="325"/>
                  </a:lnTo>
                  <a:lnTo>
                    <a:pt x="105" y="327"/>
                  </a:lnTo>
                  <a:lnTo>
                    <a:pt x="105" y="327"/>
                  </a:lnTo>
                  <a:lnTo>
                    <a:pt x="107" y="329"/>
                  </a:lnTo>
                  <a:lnTo>
                    <a:pt x="107" y="329"/>
                  </a:lnTo>
                  <a:lnTo>
                    <a:pt x="109" y="329"/>
                  </a:lnTo>
                  <a:lnTo>
                    <a:pt x="109" y="329"/>
                  </a:lnTo>
                  <a:lnTo>
                    <a:pt x="111" y="329"/>
                  </a:lnTo>
                  <a:lnTo>
                    <a:pt x="113" y="327"/>
                  </a:lnTo>
                  <a:lnTo>
                    <a:pt x="113" y="325"/>
                  </a:lnTo>
                  <a:lnTo>
                    <a:pt x="113" y="325"/>
                  </a:lnTo>
                  <a:lnTo>
                    <a:pt x="113" y="324"/>
                  </a:lnTo>
                  <a:lnTo>
                    <a:pt x="117" y="322"/>
                  </a:lnTo>
                  <a:lnTo>
                    <a:pt x="117" y="322"/>
                  </a:lnTo>
                  <a:lnTo>
                    <a:pt x="117" y="320"/>
                  </a:lnTo>
                  <a:lnTo>
                    <a:pt x="117" y="320"/>
                  </a:lnTo>
                  <a:lnTo>
                    <a:pt x="119" y="320"/>
                  </a:lnTo>
                  <a:lnTo>
                    <a:pt x="119" y="322"/>
                  </a:lnTo>
                  <a:lnTo>
                    <a:pt x="121" y="322"/>
                  </a:lnTo>
                  <a:lnTo>
                    <a:pt x="121" y="322"/>
                  </a:lnTo>
                  <a:lnTo>
                    <a:pt x="122" y="322"/>
                  </a:lnTo>
                  <a:lnTo>
                    <a:pt x="124" y="322"/>
                  </a:lnTo>
                  <a:lnTo>
                    <a:pt x="124" y="322"/>
                  </a:lnTo>
                  <a:lnTo>
                    <a:pt x="126" y="318"/>
                  </a:lnTo>
                  <a:lnTo>
                    <a:pt x="126" y="316"/>
                  </a:lnTo>
                  <a:lnTo>
                    <a:pt x="128" y="316"/>
                  </a:lnTo>
                  <a:lnTo>
                    <a:pt x="132" y="312"/>
                  </a:lnTo>
                  <a:lnTo>
                    <a:pt x="134" y="312"/>
                  </a:lnTo>
                  <a:lnTo>
                    <a:pt x="136" y="310"/>
                  </a:lnTo>
                  <a:lnTo>
                    <a:pt x="136" y="310"/>
                  </a:lnTo>
                  <a:lnTo>
                    <a:pt x="138" y="310"/>
                  </a:lnTo>
                  <a:lnTo>
                    <a:pt x="138" y="310"/>
                  </a:lnTo>
                  <a:lnTo>
                    <a:pt x="140" y="310"/>
                  </a:lnTo>
                  <a:lnTo>
                    <a:pt x="140" y="316"/>
                  </a:lnTo>
                  <a:lnTo>
                    <a:pt x="142" y="316"/>
                  </a:lnTo>
                  <a:lnTo>
                    <a:pt x="143" y="316"/>
                  </a:lnTo>
                  <a:lnTo>
                    <a:pt x="143" y="316"/>
                  </a:lnTo>
                  <a:lnTo>
                    <a:pt x="143" y="316"/>
                  </a:lnTo>
                  <a:lnTo>
                    <a:pt x="143" y="316"/>
                  </a:lnTo>
                  <a:lnTo>
                    <a:pt x="145" y="322"/>
                  </a:lnTo>
                  <a:lnTo>
                    <a:pt x="145" y="324"/>
                  </a:lnTo>
                  <a:lnTo>
                    <a:pt x="147" y="324"/>
                  </a:lnTo>
                  <a:lnTo>
                    <a:pt x="151" y="325"/>
                  </a:lnTo>
                  <a:lnTo>
                    <a:pt x="153" y="324"/>
                  </a:lnTo>
                  <a:lnTo>
                    <a:pt x="155" y="324"/>
                  </a:lnTo>
                  <a:lnTo>
                    <a:pt x="157" y="322"/>
                  </a:lnTo>
                  <a:lnTo>
                    <a:pt x="162" y="320"/>
                  </a:lnTo>
                  <a:lnTo>
                    <a:pt x="164" y="320"/>
                  </a:lnTo>
                  <a:lnTo>
                    <a:pt x="164" y="322"/>
                  </a:lnTo>
                  <a:lnTo>
                    <a:pt x="162" y="324"/>
                  </a:lnTo>
                  <a:lnTo>
                    <a:pt x="162" y="325"/>
                  </a:lnTo>
                  <a:lnTo>
                    <a:pt x="164" y="325"/>
                  </a:lnTo>
                  <a:lnTo>
                    <a:pt x="164" y="325"/>
                  </a:lnTo>
                  <a:lnTo>
                    <a:pt x="168" y="322"/>
                  </a:lnTo>
                  <a:lnTo>
                    <a:pt x="170" y="320"/>
                  </a:lnTo>
                  <a:lnTo>
                    <a:pt x="170" y="320"/>
                  </a:lnTo>
                  <a:lnTo>
                    <a:pt x="170" y="320"/>
                  </a:lnTo>
                  <a:lnTo>
                    <a:pt x="170" y="318"/>
                  </a:lnTo>
                  <a:lnTo>
                    <a:pt x="170" y="318"/>
                  </a:lnTo>
                  <a:lnTo>
                    <a:pt x="172" y="316"/>
                  </a:lnTo>
                  <a:lnTo>
                    <a:pt x="180" y="314"/>
                  </a:lnTo>
                  <a:lnTo>
                    <a:pt x="180" y="312"/>
                  </a:lnTo>
                  <a:lnTo>
                    <a:pt x="182" y="312"/>
                  </a:lnTo>
                  <a:lnTo>
                    <a:pt x="182" y="312"/>
                  </a:lnTo>
                  <a:lnTo>
                    <a:pt x="182" y="310"/>
                  </a:lnTo>
                  <a:lnTo>
                    <a:pt x="183" y="310"/>
                  </a:lnTo>
                  <a:lnTo>
                    <a:pt x="189" y="310"/>
                  </a:lnTo>
                  <a:lnTo>
                    <a:pt x="191" y="308"/>
                  </a:lnTo>
                  <a:lnTo>
                    <a:pt x="197" y="308"/>
                  </a:lnTo>
                  <a:lnTo>
                    <a:pt x="199" y="308"/>
                  </a:lnTo>
                  <a:lnTo>
                    <a:pt x="201" y="308"/>
                  </a:lnTo>
                  <a:lnTo>
                    <a:pt x="201" y="308"/>
                  </a:lnTo>
                  <a:lnTo>
                    <a:pt x="202" y="308"/>
                  </a:lnTo>
                  <a:lnTo>
                    <a:pt x="202" y="310"/>
                  </a:lnTo>
                  <a:lnTo>
                    <a:pt x="204" y="308"/>
                  </a:lnTo>
                  <a:lnTo>
                    <a:pt x="206" y="306"/>
                  </a:lnTo>
                  <a:lnTo>
                    <a:pt x="206" y="306"/>
                  </a:lnTo>
                  <a:lnTo>
                    <a:pt x="208" y="305"/>
                  </a:lnTo>
                  <a:lnTo>
                    <a:pt x="208" y="305"/>
                  </a:lnTo>
                  <a:lnTo>
                    <a:pt x="208" y="303"/>
                  </a:lnTo>
                  <a:lnTo>
                    <a:pt x="210" y="303"/>
                  </a:lnTo>
                  <a:lnTo>
                    <a:pt x="212" y="305"/>
                  </a:lnTo>
                  <a:lnTo>
                    <a:pt x="212" y="305"/>
                  </a:lnTo>
                  <a:lnTo>
                    <a:pt x="216" y="305"/>
                  </a:lnTo>
                  <a:lnTo>
                    <a:pt x="216" y="303"/>
                  </a:lnTo>
                  <a:lnTo>
                    <a:pt x="216" y="303"/>
                  </a:lnTo>
                  <a:lnTo>
                    <a:pt x="216" y="299"/>
                  </a:lnTo>
                  <a:lnTo>
                    <a:pt x="216" y="297"/>
                  </a:lnTo>
                  <a:lnTo>
                    <a:pt x="216" y="297"/>
                  </a:lnTo>
                  <a:lnTo>
                    <a:pt x="216" y="295"/>
                  </a:lnTo>
                  <a:lnTo>
                    <a:pt x="216" y="295"/>
                  </a:lnTo>
                  <a:lnTo>
                    <a:pt x="216" y="295"/>
                  </a:lnTo>
                  <a:lnTo>
                    <a:pt x="216" y="293"/>
                  </a:lnTo>
                  <a:lnTo>
                    <a:pt x="218" y="293"/>
                  </a:lnTo>
                  <a:lnTo>
                    <a:pt x="220" y="293"/>
                  </a:lnTo>
                  <a:lnTo>
                    <a:pt x="220" y="291"/>
                  </a:lnTo>
                  <a:lnTo>
                    <a:pt x="220" y="287"/>
                  </a:lnTo>
                  <a:lnTo>
                    <a:pt x="220" y="287"/>
                  </a:lnTo>
                  <a:lnTo>
                    <a:pt x="222" y="286"/>
                  </a:lnTo>
                  <a:lnTo>
                    <a:pt x="222" y="284"/>
                  </a:lnTo>
                  <a:lnTo>
                    <a:pt x="223" y="282"/>
                  </a:lnTo>
                  <a:lnTo>
                    <a:pt x="223" y="282"/>
                  </a:lnTo>
                  <a:lnTo>
                    <a:pt x="233" y="282"/>
                  </a:lnTo>
                  <a:lnTo>
                    <a:pt x="233" y="282"/>
                  </a:lnTo>
                  <a:lnTo>
                    <a:pt x="235" y="284"/>
                  </a:lnTo>
                  <a:lnTo>
                    <a:pt x="239" y="289"/>
                  </a:lnTo>
                  <a:lnTo>
                    <a:pt x="244" y="289"/>
                  </a:lnTo>
                  <a:lnTo>
                    <a:pt x="248" y="286"/>
                  </a:lnTo>
                  <a:lnTo>
                    <a:pt x="250" y="286"/>
                  </a:lnTo>
                  <a:lnTo>
                    <a:pt x="252" y="284"/>
                  </a:lnTo>
                  <a:lnTo>
                    <a:pt x="252" y="286"/>
                  </a:lnTo>
                  <a:lnTo>
                    <a:pt x="252" y="286"/>
                  </a:lnTo>
                  <a:lnTo>
                    <a:pt x="252" y="287"/>
                  </a:lnTo>
                  <a:lnTo>
                    <a:pt x="250" y="287"/>
                  </a:lnTo>
                  <a:lnTo>
                    <a:pt x="252" y="287"/>
                  </a:lnTo>
                  <a:lnTo>
                    <a:pt x="252" y="287"/>
                  </a:lnTo>
                  <a:lnTo>
                    <a:pt x="254" y="289"/>
                  </a:lnTo>
                  <a:lnTo>
                    <a:pt x="256" y="289"/>
                  </a:lnTo>
                  <a:lnTo>
                    <a:pt x="258" y="289"/>
                  </a:lnTo>
                  <a:lnTo>
                    <a:pt x="258" y="291"/>
                  </a:lnTo>
                  <a:lnTo>
                    <a:pt x="258" y="299"/>
                  </a:lnTo>
                  <a:lnTo>
                    <a:pt x="260" y="301"/>
                  </a:lnTo>
                  <a:lnTo>
                    <a:pt x="260" y="303"/>
                  </a:lnTo>
                  <a:lnTo>
                    <a:pt x="262" y="305"/>
                  </a:lnTo>
                  <a:lnTo>
                    <a:pt x="263" y="305"/>
                  </a:lnTo>
                  <a:lnTo>
                    <a:pt x="265" y="305"/>
                  </a:lnTo>
                  <a:lnTo>
                    <a:pt x="267" y="303"/>
                  </a:lnTo>
                  <a:lnTo>
                    <a:pt x="269" y="303"/>
                  </a:lnTo>
                  <a:lnTo>
                    <a:pt x="271" y="305"/>
                  </a:lnTo>
                  <a:lnTo>
                    <a:pt x="275" y="305"/>
                  </a:lnTo>
                  <a:lnTo>
                    <a:pt x="275" y="305"/>
                  </a:lnTo>
                  <a:lnTo>
                    <a:pt x="275" y="306"/>
                  </a:lnTo>
                  <a:lnTo>
                    <a:pt x="277" y="310"/>
                  </a:lnTo>
                  <a:lnTo>
                    <a:pt x="275" y="310"/>
                  </a:lnTo>
                  <a:lnTo>
                    <a:pt x="275" y="312"/>
                  </a:lnTo>
                  <a:lnTo>
                    <a:pt x="273" y="314"/>
                  </a:lnTo>
                  <a:lnTo>
                    <a:pt x="273" y="314"/>
                  </a:lnTo>
                  <a:lnTo>
                    <a:pt x="273" y="316"/>
                  </a:lnTo>
                  <a:lnTo>
                    <a:pt x="281" y="320"/>
                  </a:lnTo>
                  <a:lnTo>
                    <a:pt x="286" y="324"/>
                  </a:lnTo>
                  <a:lnTo>
                    <a:pt x="288" y="325"/>
                  </a:lnTo>
                  <a:lnTo>
                    <a:pt x="290" y="325"/>
                  </a:lnTo>
                  <a:lnTo>
                    <a:pt x="290" y="324"/>
                  </a:lnTo>
                  <a:lnTo>
                    <a:pt x="290" y="324"/>
                  </a:lnTo>
                  <a:lnTo>
                    <a:pt x="290" y="322"/>
                  </a:lnTo>
                  <a:lnTo>
                    <a:pt x="290" y="322"/>
                  </a:lnTo>
                  <a:lnTo>
                    <a:pt x="290" y="320"/>
                  </a:lnTo>
                  <a:lnTo>
                    <a:pt x="290" y="320"/>
                  </a:lnTo>
                  <a:lnTo>
                    <a:pt x="292" y="320"/>
                  </a:lnTo>
                  <a:lnTo>
                    <a:pt x="292" y="318"/>
                  </a:lnTo>
                  <a:lnTo>
                    <a:pt x="292" y="314"/>
                  </a:lnTo>
                  <a:lnTo>
                    <a:pt x="294" y="312"/>
                  </a:lnTo>
                  <a:lnTo>
                    <a:pt x="294" y="310"/>
                  </a:lnTo>
                  <a:lnTo>
                    <a:pt x="298" y="308"/>
                  </a:lnTo>
                  <a:lnTo>
                    <a:pt x="302" y="303"/>
                  </a:lnTo>
                  <a:lnTo>
                    <a:pt x="303" y="303"/>
                  </a:lnTo>
                  <a:lnTo>
                    <a:pt x="305" y="305"/>
                  </a:lnTo>
                  <a:lnTo>
                    <a:pt x="307" y="305"/>
                  </a:lnTo>
                  <a:lnTo>
                    <a:pt x="309" y="305"/>
                  </a:lnTo>
                  <a:lnTo>
                    <a:pt x="311" y="305"/>
                  </a:lnTo>
                  <a:lnTo>
                    <a:pt x="313" y="305"/>
                  </a:lnTo>
                  <a:lnTo>
                    <a:pt x="315" y="303"/>
                  </a:lnTo>
                  <a:lnTo>
                    <a:pt x="317" y="301"/>
                  </a:lnTo>
                  <a:lnTo>
                    <a:pt x="317" y="301"/>
                  </a:lnTo>
                  <a:lnTo>
                    <a:pt x="317" y="301"/>
                  </a:lnTo>
                  <a:lnTo>
                    <a:pt x="319" y="301"/>
                  </a:lnTo>
                  <a:lnTo>
                    <a:pt x="321" y="301"/>
                  </a:lnTo>
                  <a:lnTo>
                    <a:pt x="323" y="305"/>
                  </a:lnTo>
                  <a:lnTo>
                    <a:pt x="330" y="306"/>
                  </a:lnTo>
                  <a:lnTo>
                    <a:pt x="330" y="306"/>
                  </a:lnTo>
                  <a:lnTo>
                    <a:pt x="330" y="305"/>
                  </a:lnTo>
                  <a:lnTo>
                    <a:pt x="330" y="303"/>
                  </a:lnTo>
                  <a:lnTo>
                    <a:pt x="330" y="301"/>
                  </a:lnTo>
                  <a:lnTo>
                    <a:pt x="332" y="299"/>
                  </a:lnTo>
                  <a:lnTo>
                    <a:pt x="332" y="299"/>
                  </a:lnTo>
                  <a:lnTo>
                    <a:pt x="334" y="297"/>
                  </a:lnTo>
                  <a:lnTo>
                    <a:pt x="336" y="299"/>
                  </a:lnTo>
                  <a:lnTo>
                    <a:pt x="342" y="301"/>
                  </a:lnTo>
                  <a:lnTo>
                    <a:pt x="343" y="301"/>
                  </a:lnTo>
                  <a:lnTo>
                    <a:pt x="343" y="301"/>
                  </a:lnTo>
                  <a:lnTo>
                    <a:pt x="345" y="299"/>
                  </a:lnTo>
                  <a:lnTo>
                    <a:pt x="345" y="297"/>
                  </a:lnTo>
                  <a:lnTo>
                    <a:pt x="345" y="295"/>
                  </a:lnTo>
                  <a:lnTo>
                    <a:pt x="347" y="293"/>
                  </a:lnTo>
                  <a:lnTo>
                    <a:pt x="345" y="289"/>
                  </a:lnTo>
                  <a:lnTo>
                    <a:pt x="347" y="284"/>
                  </a:lnTo>
                  <a:lnTo>
                    <a:pt x="347" y="284"/>
                  </a:lnTo>
                  <a:lnTo>
                    <a:pt x="347" y="282"/>
                  </a:lnTo>
                  <a:lnTo>
                    <a:pt x="347" y="282"/>
                  </a:lnTo>
                  <a:lnTo>
                    <a:pt x="347" y="280"/>
                  </a:lnTo>
                  <a:lnTo>
                    <a:pt x="347" y="280"/>
                  </a:lnTo>
                  <a:lnTo>
                    <a:pt x="347" y="280"/>
                  </a:lnTo>
                  <a:lnTo>
                    <a:pt x="349" y="276"/>
                  </a:lnTo>
                  <a:lnTo>
                    <a:pt x="351" y="274"/>
                  </a:lnTo>
                  <a:lnTo>
                    <a:pt x="351" y="274"/>
                  </a:lnTo>
                  <a:lnTo>
                    <a:pt x="351" y="272"/>
                  </a:lnTo>
                  <a:lnTo>
                    <a:pt x="351" y="261"/>
                  </a:lnTo>
                  <a:lnTo>
                    <a:pt x="351" y="261"/>
                  </a:lnTo>
                  <a:lnTo>
                    <a:pt x="351" y="259"/>
                  </a:lnTo>
                  <a:lnTo>
                    <a:pt x="355" y="255"/>
                  </a:lnTo>
                  <a:lnTo>
                    <a:pt x="357" y="253"/>
                  </a:lnTo>
                  <a:lnTo>
                    <a:pt x="357" y="253"/>
                  </a:lnTo>
                  <a:lnTo>
                    <a:pt x="361" y="251"/>
                  </a:lnTo>
                  <a:lnTo>
                    <a:pt x="361" y="251"/>
                  </a:lnTo>
                  <a:lnTo>
                    <a:pt x="364" y="251"/>
                  </a:lnTo>
                  <a:lnTo>
                    <a:pt x="364" y="251"/>
                  </a:lnTo>
                  <a:lnTo>
                    <a:pt x="364" y="251"/>
                  </a:lnTo>
                  <a:lnTo>
                    <a:pt x="366" y="246"/>
                  </a:lnTo>
                  <a:lnTo>
                    <a:pt x="366" y="244"/>
                  </a:lnTo>
                  <a:lnTo>
                    <a:pt x="366" y="242"/>
                  </a:lnTo>
                  <a:lnTo>
                    <a:pt x="368" y="240"/>
                  </a:lnTo>
                  <a:lnTo>
                    <a:pt x="368" y="240"/>
                  </a:lnTo>
                  <a:lnTo>
                    <a:pt x="372" y="240"/>
                  </a:lnTo>
                  <a:lnTo>
                    <a:pt x="372" y="240"/>
                  </a:lnTo>
                  <a:lnTo>
                    <a:pt x="372" y="238"/>
                  </a:lnTo>
                  <a:lnTo>
                    <a:pt x="372" y="238"/>
                  </a:lnTo>
                  <a:lnTo>
                    <a:pt x="374" y="238"/>
                  </a:lnTo>
                  <a:lnTo>
                    <a:pt x="374" y="240"/>
                  </a:lnTo>
                  <a:lnTo>
                    <a:pt x="376" y="240"/>
                  </a:lnTo>
                  <a:lnTo>
                    <a:pt x="378" y="240"/>
                  </a:lnTo>
                  <a:lnTo>
                    <a:pt x="380" y="240"/>
                  </a:lnTo>
                  <a:lnTo>
                    <a:pt x="380" y="238"/>
                  </a:lnTo>
                  <a:lnTo>
                    <a:pt x="380" y="236"/>
                  </a:lnTo>
                  <a:lnTo>
                    <a:pt x="382" y="234"/>
                  </a:lnTo>
                  <a:lnTo>
                    <a:pt x="382" y="234"/>
                  </a:lnTo>
                  <a:lnTo>
                    <a:pt x="382" y="232"/>
                  </a:lnTo>
                  <a:lnTo>
                    <a:pt x="382" y="232"/>
                  </a:lnTo>
                  <a:lnTo>
                    <a:pt x="384" y="230"/>
                  </a:lnTo>
                  <a:lnTo>
                    <a:pt x="387" y="227"/>
                  </a:lnTo>
                  <a:lnTo>
                    <a:pt x="389" y="227"/>
                  </a:lnTo>
                  <a:lnTo>
                    <a:pt x="389" y="227"/>
                  </a:lnTo>
                  <a:lnTo>
                    <a:pt x="389" y="227"/>
                  </a:lnTo>
                  <a:lnTo>
                    <a:pt x="391" y="227"/>
                  </a:lnTo>
                  <a:lnTo>
                    <a:pt x="391" y="227"/>
                  </a:lnTo>
                  <a:lnTo>
                    <a:pt x="393" y="228"/>
                  </a:lnTo>
                  <a:lnTo>
                    <a:pt x="393" y="228"/>
                  </a:lnTo>
                  <a:lnTo>
                    <a:pt x="395" y="230"/>
                  </a:lnTo>
                  <a:lnTo>
                    <a:pt x="395" y="232"/>
                  </a:lnTo>
                  <a:lnTo>
                    <a:pt x="401" y="232"/>
                  </a:lnTo>
                  <a:lnTo>
                    <a:pt x="403" y="234"/>
                  </a:lnTo>
                  <a:lnTo>
                    <a:pt x="406" y="232"/>
                  </a:lnTo>
                  <a:lnTo>
                    <a:pt x="410" y="234"/>
                  </a:lnTo>
                  <a:lnTo>
                    <a:pt x="410" y="234"/>
                  </a:lnTo>
                  <a:lnTo>
                    <a:pt x="412" y="234"/>
                  </a:lnTo>
                  <a:lnTo>
                    <a:pt x="412" y="236"/>
                  </a:lnTo>
                  <a:lnTo>
                    <a:pt x="412" y="236"/>
                  </a:lnTo>
                  <a:lnTo>
                    <a:pt x="416" y="234"/>
                  </a:lnTo>
                  <a:lnTo>
                    <a:pt x="418" y="230"/>
                  </a:lnTo>
                  <a:lnTo>
                    <a:pt x="418" y="228"/>
                  </a:lnTo>
                  <a:lnTo>
                    <a:pt x="416" y="228"/>
                  </a:lnTo>
                  <a:lnTo>
                    <a:pt x="416" y="227"/>
                  </a:lnTo>
                  <a:lnTo>
                    <a:pt x="416" y="225"/>
                  </a:lnTo>
                  <a:lnTo>
                    <a:pt x="416" y="223"/>
                  </a:lnTo>
                  <a:lnTo>
                    <a:pt x="414" y="223"/>
                  </a:lnTo>
                  <a:lnTo>
                    <a:pt x="414" y="221"/>
                  </a:lnTo>
                  <a:lnTo>
                    <a:pt x="414" y="221"/>
                  </a:lnTo>
                  <a:lnTo>
                    <a:pt x="414" y="221"/>
                  </a:lnTo>
                  <a:lnTo>
                    <a:pt x="412" y="221"/>
                  </a:lnTo>
                  <a:lnTo>
                    <a:pt x="412" y="221"/>
                  </a:lnTo>
                  <a:lnTo>
                    <a:pt x="412" y="221"/>
                  </a:lnTo>
                  <a:lnTo>
                    <a:pt x="412" y="221"/>
                  </a:lnTo>
                  <a:lnTo>
                    <a:pt x="412" y="221"/>
                  </a:lnTo>
                  <a:lnTo>
                    <a:pt x="412" y="221"/>
                  </a:lnTo>
                  <a:lnTo>
                    <a:pt x="410" y="219"/>
                  </a:lnTo>
                  <a:lnTo>
                    <a:pt x="410" y="219"/>
                  </a:lnTo>
                  <a:lnTo>
                    <a:pt x="410" y="219"/>
                  </a:lnTo>
                  <a:lnTo>
                    <a:pt x="410" y="219"/>
                  </a:lnTo>
                  <a:lnTo>
                    <a:pt x="408" y="219"/>
                  </a:lnTo>
                  <a:lnTo>
                    <a:pt x="408" y="217"/>
                  </a:lnTo>
                  <a:lnTo>
                    <a:pt x="408" y="217"/>
                  </a:lnTo>
                  <a:lnTo>
                    <a:pt x="408" y="217"/>
                  </a:lnTo>
                  <a:lnTo>
                    <a:pt x="410" y="217"/>
                  </a:lnTo>
                  <a:lnTo>
                    <a:pt x="410" y="215"/>
                  </a:lnTo>
                  <a:lnTo>
                    <a:pt x="410" y="215"/>
                  </a:lnTo>
                  <a:lnTo>
                    <a:pt x="410" y="215"/>
                  </a:lnTo>
                  <a:lnTo>
                    <a:pt x="410" y="215"/>
                  </a:lnTo>
                  <a:lnTo>
                    <a:pt x="410" y="215"/>
                  </a:lnTo>
                  <a:lnTo>
                    <a:pt x="410" y="213"/>
                  </a:lnTo>
                  <a:lnTo>
                    <a:pt x="412" y="213"/>
                  </a:lnTo>
                  <a:lnTo>
                    <a:pt x="416" y="211"/>
                  </a:lnTo>
                  <a:lnTo>
                    <a:pt x="418" y="211"/>
                  </a:lnTo>
                  <a:lnTo>
                    <a:pt x="420" y="209"/>
                  </a:lnTo>
                  <a:lnTo>
                    <a:pt x="420" y="209"/>
                  </a:lnTo>
                  <a:lnTo>
                    <a:pt x="422" y="208"/>
                  </a:lnTo>
                  <a:lnTo>
                    <a:pt x="422" y="208"/>
                  </a:lnTo>
                  <a:lnTo>
                    <a:pt x="422" y="208"/>
                  </a:lnTo>
                  <a:lnTo>
                    <a:pt x="422" y="208"/>
                  </a:lnTo>
                  <a:lnTo>
                    <a:pt x="422" y="208"/>
                  </a:lnTo>
                  <a:lnTo>
                    <a:pt x="425" y="206"/>
                  </a:lnTo>
                  <a:lnTo>
                    <a:pt x="427" y="206"/>
                  </a:lnTo>
                  <a:lnTo>
                    <a:pt x="429" y="204"/>
                  </a:lnTo>
                  <a:lnTo>
                    <a:pt x="429" y="206"/>
                  </a:lnTo>
                  <a:lnTo>
                    <a:pt x="431" y="206"/>
                  </a:lnTo>
                  <a:lnTo>
                    <a:pt x="431" y="206"/>
                  </a:lnTo>
                  <a:lnTo>
                    <a:pt x="431" y="208"/>
                  </a:lnTo>
                  <a:lnTo>
                    <a:pt x="433" y="208"/>
                  </a:lnTo>
                  <a:lnTo>
                    <a:pt x="439" y="209"/>
                  </a:lnTo>
                  <a:lnTo>
                    <a:pt x="439" y="208"/>
                  </a:lnTo>
                  <a:lnTo>
                    <a:pt x="439" y="206"/>
                  </a:lnTo>
                  <a:lnTo>
                    <a:pt x="439" y="206"/>
                  </a:lnTo>
                  <a:lnTo>
                    <a:pt x="439" y="204"/>
                  </a:lnTo>
                  <a:lnTo>
                    <a:pt x="437" y="204"/>
                  </a:lnTo>
                  <a:lnTo>
                    <a:pt x="437" y="204"/>
                  </a:lnTo>
                  <a:lnTo>
                    <a:pt x="437" y="204"/>
                  </a:lnTo>
                  <a:lnTo>
                    <a:pt x="437" y="202"/>
                  </a:lnTo>
                  <a:lnTo>
                    <a:pt x="437" y="200"/>
                  </a:lnTo>
                  <a:lnTo>
                    <a:pt x="437" y="196"/>
                  </a:lnTo>
                  <a:lnTo>
                    <a:pt x="437" y="196"/>
                  </a:lnTo>
                  <a:lnTo>
                    <a:pt x="437" y="194"/>
                  </a:lnTo>
                  <a:lnTo>
                    <a:pt x="437" y="192"/>
                  </a:lnTo>
                  <a:lnTo>
                    <a:pt x="437" y="190"/>
                  </a:lnTo>
                  <a:lnTo>
                    <a:pt x="437" y="190"/>
                  </a:lnTo>
                  <a:lnTo>
                    <a:pt x="435" y="189"/>
                  </a:lnTo>
                  <a:lnTo>
                    <a:pt x="433" y="187"/>
                  </a:lnTo>
                  <a:lnTo>
                    <a:pt x="427" y="183"/>
                  </a:lnTo>
                  <a:lnTo>
                    <a:pt x="425" y="183"/>
                  </a:lnTo>
                  <a:lnTo>
                    <a:pt x="424" y="181"/>
                  </a:lnTo>
                  <a:lnTo>
                    <a:pt x="424" y="179"/>
                  </a:lnTo>
                  <a:lnTo>
                    <a:pt x="424" y="179"/>
                  </a:lnTo>
                  <a:lnTo>
                    <a:pt x="422" y="177"/>
                  </a:lnTo>
                  <a:lnTo>
                    <a:pt x="422" y="175"/>
                  </a:lnTo>
                  <a:lnTo>
                    <a:pt x="422" y="175"/>
                  </a:lnTo>
                  <a:lnTo>
                    <a:pt x="422" y="175"/>
                  </a:lnTo>
                  <a:lnTo>
                    <a:pt x="420" y="173"/>
                  </a:lnTo>
                  <a:lnTo>
                    <a:pt x="420" y="171"/>
                  </a:lnTo>
                  <a:lnTo>
                    <a:pt x="416" y="171"/>
                  </a:lnTo>
                  <a:lnTo>
                    <a:pt x="414" y="170"/>
                  </a:lnTo>
                  <a:lnTo>
                    <a:pt x="414" y="170"/>
                  </a:lnTo>
                  <a:lnTo>
                    <a:pt x="414" y="168"/>
                  </a:lnTo>
                  <a:lnTo>
                    <a:pt x="414" y="168"/>
                  </a:lnTo>
                  <a:lnTo>
                    <a:pt x="414" y="168"/>
                  </a:lnTo>
                  <a:lnTo>
                    <a:pt x="414" y="168"/>
                  </a:lnTo>
                  <a:lnTo>
                    <a:pt x="412" y="166"/>
                  </a:lnTo>
                  <a:lnTo>
                    <a:pt x="412" y="166"/>
                  </a:lnTo>
                  <a:lnTo>
                    <a:pt x="412" y="166"/>
                  </a:lnTo>
                  <a:lnTo>
                    <a:pt x="412" y="166"/>
                  </a:lnTo>
                  <a:lnTo>
                    <a:pt x="414" y="164"/>
                  </a:lnTo>
                  <a:lnTo>
                    <a:pt x="414" y="164"/>
                  </a:lnTo>
                  <a:lnTo>
                    <a:pt x="416" y="164"/>
                  </a:lnTo>
                  <a:lnTo>
                    <a:pt x="416" y="164"/>
                  </a:lnTo>
                  <a:lnTo>
                    <a:pt x="416" y="164"/>
                  </a:lnTo>
                  <a:lnTo>
                    <a:pt x="416" y="160"/>
                  </a:lnTo>
                  <a:lnTo>
                    <a:pt x="416" y="158"/>
                  </a:lnTo>
                  <a:lnTo>
                    <a:pt x="416" y="158"/>
                  </a:lnTo>
                  <a:lnTo>
                    <a:pt x="416" y="156"/>
                  </a:lnTo>
                  <a:lnTo>
                    <a:pt x="416" y="156"/>
                  </a:lnTo>
                  <a:lnTo>
                    <a:pt x="416" y="156"/>
                  </a:lnTo>
                  <a:lnTo>
                    <a:pt x="416" y="156"/>
                  </a:lnTo>
                  <a:lnTo>
                    <a:pt x="418" y="154"/>
                  </a:lnTo>
                  <a:lnTo>
                    <a:pt x="420" y="152"/>
                  </a:lnTo>
                  <a:lnTo>
                    <a:pt x="427" y="147"/>
                  </a:lnTo>
                  <a:lnTo>
                    <a:pt x="429" y="143"/>
                  </a:lnTo>
                  <a:lnTo>
                    <a:pt x="431" y="141"/>
                  </a:lnTo>
                  <a:lnTo>
                    <a:pt x="431" y="141"/>
                  </a:lnTo>
                  <a:lnTo>
                    <a:pt x="431" y="141"/>
                  </a:lnTo>
                  <a:lnTo>
                    <a:pt x="433" y="141"/>
                  </a:lnTo>
                  <a:lnTo>
                    <a:pt x="433" y="141"/>
                  </a:lnTo>
                  <a:lnTo>
                    <a:pt x="433" y="141"/>
                  </a:lnTo>
                  <a:lnTo>
                    <a:pt x="437" y="139"/>
                  </a:lnTo>
                  <a:lnTo>
                    <a:pt x="437" y="139"/>
                  </a:lnTo>
                  <a:lnTo>
                    <a:pt x="439" y="137"/>
                  </a:lnTo>
                  <a:lnTo>
                    <a:pt x="441" y="137"/>
                  </a:lnTo>
                  <a:lnTo>
                    <a:pt x="441" y="135"/>
                  </a:lnTo>
                  <a:lnTo>
                    <a:pt x="443" y="133"/>
                  </a:lnTo>
                  <a:lnTo>
                    <a:pt x="446" y="130"/>
                  </a:lnTo>
                  <a:lnTo>
                    <a:pt x="448" y="128"/>
                  </a:lnTo>
                  <a:lnTo>
                    <a:pt x="448" y="128"/>
                  </a:lnTo>
                  <a:lnTo>
                    <a:pt x="452" y="126"/>
                  </a:lnTo>
                  <a:lnTo>
                    <a:pt x="452" y="126"/>
                  </a:lnTo>
                  <a:lnTo>
                    <a:pt x="456" y="124"/>
                  </a:lnTo>
                  <a:lnTo>
                    <a:pt x="456" y="122"/>
                  </a:lnTo>
                  <a:lnTo>
                    <a:pt x="458" y="122"/>
                  </a:lnTo>
                  <a:lnTo>
                    <a:pt x="460" y="122"/>
                  </a:lnTo>
                  <a:lnTo>
                    <a:pt x="460" y="122"/>
                  </a:lnTo>
                  <a:lnTo>
                    <a:pt x="460" y="122"/>
                  </a:lnTo>
                  <a:lnTo>
                    <a:pt x="460" y="122"/>
                  </a:lnTo>
                  <a:lnTo>
                    <a:pt x="460" y="120"/>
                  </a:lnTo>
                  <a:lnTo>
                    <a:pt x="460" y="12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7" name="Freeform 69">
              <a:extLst>
                <a:ext uri="{FF2B5EF4-FFF2-40B4-BE49-F238E27FC236}">
                  <a16:creationId xmlns:a16="http://schemas.microsoft.com/office/drawing/2014/main" id="{0CEC7644-CCCA-228B-ECCA-6A44715F431C}"/>
                </a:ext>
              </a:extLst>
            </p:cNvPr>
            <p:cNvSpPr>
              <a:spLocks/>
            </p:cNvSpPr>
            <p:nvPr/>
          </p:nvSpPr>
          <p:spPr bwMode="auto">
            <a:xfrm>
              <a:off x="6000750" y="3051976"/>
              <a:ext cx="730250" cy="522288"/>
            </a:xfrm>
            <a:custGeom>
              <a:avLst/>
              <a:gdLst>
                <a:gd name="T0" fmla="*/ 454 w 460"/>
                <a:gd name="T1" fmla="*/ 107 h 329"/>
                <a:gd name="T2" fmla="*/ 441 w 460"/>
                <a:gd name="T3" fmla="*/ 103 h 329"/>
                <a:gd name="T4" fmla="*/ 420 w 460"/>
                <a:gd name="T5" fmla="*/ 109 h 329"/>
                <a:gd name="T6" fmla="*/ 391 w 460"/>
                <a:gd name="T7" fmla="*/ 116 h 329"/>
                <a:gd name="T8" fmla="*/ 353 w 460"/>
                <a:gd name="T9" fmla="*/ 116 h 329"/>
                <a:gd name="T10" fmla="*/ 328 w 460"/>
                <a:gd name="T11" fmla="*/ 109 h 329"/>
                <a:gd name="T12" fmla="*/ 296 w 460"/>
                <a:gd name="T13" fmla="*/ 103 h 329"/>
                <a:gd name="T14" fmla="*/ 265 w 460"/>
                <a:gd name="T15" fmla="*/ 97 h 329"/>
                <a:gd name="T16" fmla="*/ 235 w 460"/>
                <a:gd name="T17" fmla="*/ 97 h 329"/>
                <a:gd name="T18" fmla="*/ 220 w 460"/>
                <a:gd name="T19" fmla="*/ 73 h 329"/>
                <a:gd name="T20" fmla="*/ 170 w 460"/>
                <a:gd name="T21" fmla="*/ 76 h 329"/>
                <a:gd name="T22" fmla="*/ 147 w 460"/>
                <a:gd name="T23" fmla="*/ 57 h 329"/>
                <a:gd name="T24" fmla="*/ 124 w 460"/>
                <a:gd name="T25" fmla="*/ 33 h 329"/>
                <a:gd name="T26" fmla="*/ 75 w 460"/>
                <a:gd name="T27" fmla="*/ 2 h 329"/>
                <a:gd name="T28" fmla="*/ 52 w 460"/>
                <a:gd name="T29" fmla="*/ 15 h 329"/>
                <a:gd name="T30" fmla="*/ 52 w 460"/>
                <a:gd name="T31" fmla="*/ 25 h 329"/>
                <a:gd name="T32" fmla="*/ 65 w 460"/>
                <a:gd name="T33" fmla="*/ 46 h 329"/>
                <a:gd name="T34" fmla="*/ 81 w 460"/>
                <a:gd name="T35" fmla="*/ 65 h 329"/>
                <a:gd name="T36" fmla="*/ 90 w 460"/>
                <a:gd name="T37" fmla="*/ 78 h 329"/>
                <a:gd name="T38" fmla="*/ 71 w 460"/>
                <a:gd name="T39" fmla="*/ 90 h 329"/>
                <a:gd name="T40" fmla="*/ 60 w 460"/>
                <a:gd name="T41" fmla="*/ 103 h 329"/>
                <a:gd name="T42" fmla="*/ 56 w 460"/>
                <a:gd name="T43" fmla="*/ 109 h 329"/>
                <a:gd name="T44" fmla="*/ 79 w 460"/>
                <a:gd name="T45" fmla="*/ 114 h 329"/>
                <a:gd name="T46" fmla="*/ 75 w 460"/>
                <a:gd name="T47" fmla="*/ 128 h 329"/>
                <a:gd name="T48" fmla="*/ 65 w 460"/>
                <a:gd name="T49" fmla="*/ 137 h 329"/>
                <a:gd name="T50" fmla="*/ 82 w 460"/>
                <a:gd name="T51" fmla="*/ 156 h 329"/>
                <a:gd name="T52" fmla="*/ 105 w 460"/>
                <a:gd name="T53" fmla="*/ 170 h 329"/>
                <a:gd name="T54" fmla="*/ 109 w 460"/>
                <a:gd name="T55" fmla="*/ 187 h 329"/>
                <a:gd name="T56" fmla="*/ 94 w 460"/>
                <a:gd name="T57" fmla="*/ 190 h 329"/>
                <a:gd name="T58" fmla="*/ 82 w 460"/>
                <a:gd name="T59" fmla="*/ 190 h 329"/>
                <a:gd name="T60" fmla="*/ 54 w 460"/>
                <a:gd name="T61" fmla="*/ 204 h 329"/>
                <a:gd name="T62" fmla="*/ 4 w 460"/>
                <a:gd name="T63" fmla="*/ 236 h 329"/>
                <a:gd name="T64" fmla="*/ 4 w 460"/>
                <a:gd name="T65" fmla="*/ 267 h 329"/>
                <a:gd name="T66" fmla="*/ 20 w 460"/>
                <a:gd name="T67" fmla="*/ 284 h 329"/>
                <a:gd name="T68" fmla="*/ 35 w 460"/>
                <a:gd name="T69" fmla="*/ 308 h 329"/>
                <a:gd name="T70" fmla="*/ 63 w 460"/>
                <a:gd name="T71" fmla="*/ 301 h 329"/>
                <a:gd name="T72" fmla="*/ 77 w 460"/>
                <a:gd name="T73" fmla="*/ 310 h 329"/>
                <a:gd name="T74" fmla="*/ 82 w 460"/>
                <a:gd name="T75" fmla="*/ 306 h 329"/>
                <a:gd name="T76" fmla="*/ 92 w 460"/>
                <a:gd name="T77" fmla="*/ 314 h 329"/>
                <a:gd name="T78" fmla="*/ 113 w 460"/>
                <a:gd name="T79" fmla="*/ 327 h 329"/>
                <a:gd name="T80" fmla="*/ 126 w 460"/>
                <a:gd name="T81" fmla="*/ 316 h 329"/>
                <a:gd name="T82" fmla="*/ 145 w 460"/>
                <a:gd name="T83" fmla="*/ 324 h 329"/>
                <a:gd name="T84" fmla="*/ 170 w 460"/>
                <a:gd name="T85" fmla="*/ 320 h 329"/>
                <a:gd name="T86" fmla="*/ 202 w 460"/>
                <a:gd name="T87" fmla="*/ 308 h 329"/>
                <a:gd name="T88" fmla="*/ 216 w 460"/>
                <a:gd name="T89" fmla="*/ 297 h 329"/>
                <a:gd name="T90" fmla="*/ 235 w 460"/>
                <a:gd name="T91" fmla="*/ 284 h 329"/>
                <a:gd name="T92" fmla="*/ 258 w 460"/>
                <a:gd name="T93" fmla="*/ 299 h 329"/>
                <a:gd name="T94" fmla="*/ 273 w 460"/>
                <a:gd name="T95" fmla="*/ 314 h 329"/>
                <a:gd name="T96" fmla="*/ 294 w 460"/>
                <a:gd name="T97" fmla="*/ 310 h 329"/>
                <a:gd name="T98" fmla="*/ 330 w 460"/>
                <a:gd name="T99" fmla="*/ 306 h 329"/>
                <a:gd name="T100" fmla="*/ 345 w 460"/>
                <a:gd name="T101" fmla="*/ 289 h 329"/>
                <a:gd name="T102" fmla="*/ 357 w 460"/>
                <a:gd name="T103" fmla="*/ 253 h 329"/>
                <a:gd name="T104" fmla="*/ 374 w 460"/>
                <a:gd name="T105" fmla="*/ 238 h 329"/>
                <a:gd name="T106" fmla="*/ 391 w 460"/>
                <a:gd name="T107" fmla="*/ 227 h 329"/>
                <a:gd name="T108" fmla="*/ 418 w 460"/>
                <a:gd name="T109" fmla="*/ 228 h 329"/>
                <a:gd name="T110" fmla="*/ 410 w 460"/>
                <a:gd name="T111" fmla="*/ 219 h 329"/>
                <a:gd name="T112" fmla="*/ 418 w 460"/>
                <a:gd name="T113" fmla="*/ 211 h 329"/>
                <a:gd name="T114" fmla="*/ 439 w 460"/>
                <a:gd name="T115" fmla="*/ 209 h 329"/>
                <a:gd name="T116" fmla="*/ 435 w 460"/>
                <a:gd name="T117" fmla="*/ 189 h 329"/>
                <a:gd name="T118" fmla="*/ 414 w 460"/>
                <a:gd name="T119" fmla="*/ 168 h 329"/>
                <a:gd name="T120" fmla="*/ 416 w 460"/>
                <a:gd name="T121" fmla="*/ 156 h 329"/>
                <a:gd name="T122" fmla="*/ 439 w 460"/>
                <a:gd name="T123" fmla="*/ 137 h 329"/>
                <a:gd name="T124" fmla="*/ 460 w 460"/>
                <a:gd name="T125" fmla="*/ 12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329">
                  <a:moveTo>
                    <a:pt x="460" y="120"/>
                  </a:moveTo>
                  <a:lnTo>
                    <a:pt x="460" y="118"/>
                  </a:lnTo>
                  <a:lnTo>
                    <a:pt x="460" y="118"/>
                  </a:lnTo>
                  <a:lnTo>
                    <a:pt x="458" y="116"/>
                  </a:lnTo>
                  <a:lnTo>
                    <a:pt x="456" y="116"/>
                  </a:lnTo>
                  <a:lnTo>
                    <a:pt x="456" y="116"/>
                  </a:lnTo>
                  <a:lnTo>
                    <a:pt x="456" y="114"/>
                  </a:lnTo>
                  <a:lnTo>
                    <a:pt x="456" y="114"/>
                  </a:lnTo>
                  <a:lnTo>
                    <a:pt x="456" y="114"/>
                  </a:lnTo>
                  <a:lnTo>
                    <a:pt x="458" y="112"/>
                  </a:lnTo>
                  <a:lnTo>
                    <a:pt x="458" y="112"/>
                  </a:lnTo>
                  <a:lnTo>
                    <a:pt x="458" y="112"/>
                  </a:lnTo>
                  <a:lnTo>
                    <a:pt x="458" y="112"/>
                  </a:lnTo>
                  <a:lnTo>
                    <a:pt x="458" y="111"/>
                  </a:lnTo>
                  <a:lnTo>
                    <a:pt x="454" y="109"/>
                  </a:lnTo>
                  <a:lnTo>
                    <a:pt x="454" y="107"/>
                  </a:lnTo>
                  <a:lnTo>
                    <a:pt x="452" y="107"/>
                  </a:lnTo>
                  <a:lnTo>
                    <a:pt x="452" y="107"/>
                  </a:lnTo>
                  <a:lnTo>
                    <a:pt x="450" y="105"/>
                  </a:lnTo>
                  <a:lnTo>
                    <a:pt x="450" y="105"/>
                  </a:lnTo>
                  <a:lnTo>
                    <a:pt x="450" y="105"/>
                  </a:lnTo>
                  <a:lnTo>
                    <a:pt x="450" y="105"/>
                  </a:lnTo>
                  <a:lnTo>
                    <a:pt x="450" y="103"/>
                  </a:lnTo>
                  <a:lnTo>
                    <a:pt x="452" y="101"/>
                  </a:lnTo>
                  <a:lnTo>
                    <a:pt x="452" y="101"/>
                  </a:lnTo>
                  <a:lnTo>
                    <a:pt x="450" y="99"/>
                  </a:lnTo>
                  <a:lnTo>
                    <a:pt x="446" y="101"/>
                  </a:lnTo>
                  <a:lnTo>
                    <a:pt x="444" y="101"/>
                  </a:lnTo>
                  <a:lnTo>
                    <a:pt x="444" y="103"/>
                  </a:lnTo>
                  <a:lnTo>
                    <a:pt x="443" y="101"/>
                  </a:lnTo>
                  <a:lnTo>
                    <a:pt x="441" y="101"/>
                  </a:lnTo>
                  <a:lnTo>
                    <a:pt x="441" y="103"/>
                  </a:lnTo>
                  <a:lnTo>
                    <a:pt x="441" y="105"/>
                  </a:lnTo>
                  <a:lnTo>
                    <a:pt x="441" y="105"/>
                  </a:lnTo>
                  <a:lnTo>
                    <a:pt x="439" y="111"/>
                  </a:lnTo>
                  <a:lnTo>
                    <a:pt x="437" y="114"/>
                  </a:lnTo>
                  <a:lnTo>
                    <a:pt x="433" y="118"/>
                  </a:lnTo>
                  <a:lnTo>
                    <a:pt x="429" y="118"/>
                  </a:lnTo>
                  <a:lnTo>
                    <a:pt x="429" y="118"/>
                  </a:lnTo>
                  <a:lnTo>
                    <a:pt x="425" y="116"/>
                  </a:lnTo>
                  <a:lnTo>
                    <a:pt x="425" y="114"/>
                  </a:lnTo>
                  <a:lnTo>
                    <a:pt x="424" y="114"/>
                  </a:lnTo>
                  <a:lnTo>
                    <a:pt x="424" y="112"/>
                  </a:lnTo>
                  <a:lnTo>
                    <a:pt x="424" y="111"/>
                  </a:lnTo>
                  <a:lnTo>
                    <a:pt x="424" y="111"/>
                  </a:lnTo>
                  <a:lnTo>
                    <a:pt x="420" y="109"/>
                  </a:lnTo>
                  <a:lnTo>
                    <a:pt x="420" y="109"/>
                  </a:lnTo>
                  <a:lnTo>
                    <a:pt x="420" y="109"/>
                  </a:lnTo>
                  <a:lnTo>
                    <a:pt x="416" y="112"/>
                  </a:lnTo>
                  <a:lnTo>
                    <a:pt x="414" y="112"/>
                  </a:lnTo>
                  <a:lnTo>
                    <a:pt x="412" y="111"/>
                  </a:lnTo>
                  <a:lnTo>
                    <a:pt x="410" y="111"/>
                  </a:lnTo>
                  <a:lnTo>
                    <a:pt x="410" y="111"/>
                  </a:lnTo>
                  <a:lnTo>
                    <a:pt x="410" y="112"/>
                  </a:lnTo>
                  <a:lnTo>
                    <a:pt x="408" y="114"/>
                  </a:lnTo>
                  <a:lnTo>
                    <a:pt x="406" y="114"/>
                  </a:lnTo>
                  <a:lnTo>
                    <a:pt x="406" y="114"/>
                  </a:lnTo>
                  <a:lnTo>
                    <a:pt x="404" y="114"/>
                  </a:lnTo>
                  <a:lnTo>
                    <a:pt x="403" y="112"/>
                  </a:lnTo>
                  <a:lnTo>
                    <a:pt x="401" y="114"/>
                  </a:lnTo>
                  <a:lnTo>
                    <a:pt x="401" y="114"/>
                  </a:lnTo>
                  <a:lnTo>
                    <a:pt x="397" y="116"/>
                  </a:lnTo>
                  <a:lnTo>
                    <a:pt x="395" y="118"/>
                  </a:lnTo>
                  <a:lnTo>
                    <a:pt x="391" y="116"/>
                  </a:lnTo>
                  <a:lnTo>
                    <a:pt x="384" y="112"/>
                  </a:lnTo>
                  <a:lnTo>
                    <a:pt x="382" y="112"/>
                  </a:lnTo>
                  <a:lnTo>
                    <a:pt x="378" y="112"/>
                  </a:lnTo>
                  <a:lnTo>
                    <a:pt x="376" y="114"/>
                  </a:lnTo>
                  <a:lnTo>
                    <a:pt x="372" y="114"/>
                  </a:lnTo>
                  <a:lnTo>
                    <a:pt x="372" y="116"/>
                  </a:lnTo>
                  <a:lnTo>
                    <a:pt x="370" y="120"/>
                  </a:lnTo>
                  <a:lnTo>
                    <a:pt x="368" y="122"/>
                  </a:lnTo>
                  <a:lnTo>
                    <a:pt x="368" y="120"/>
                  </a:lnTo>
                  <a:lnTo>
                    <a:pt x="364" y="120"/>
                  </a:lnTo>
                  <a:lnTo>
                    <a:pt x="363" y="118"/>
                  </a:lnTo>
                  <a:lnTo>
                    <a:pt x="363" y="116"/>
                  </a:lnTo>
                  <a:lnTo>
                    <a:pt x="361" y="116"/>
                  </a:lnTo>
                  <a:lnTo>
                    <a:pt x="361" y="114"/>
                  </a:lnTo>
                  <a:lnTo>
                    <a:pt x="357" y="116"/>
                  </a:lnTo>
                  <a:lnTo>
                    <a:pt x="353" y="116"/>
                  </a:lnTo>
                  <a:lnTo>
                    <a:pt x="349" y="114"/>
                  </a:lnTo>
                  <a:lnTo>
                    <a:pt x="347" y="112"/>
                  </a:lnTo>
                  <a:lnTo>
                    <a:pt x="345" y="109"/>
                  </a:lnTo>
                  <a:lnTo>
                    <a:pt x="345" y="105"/>
                  </a:lnTo>
                  <a:lnTo>
                    <a:pt x="345" y="105"/>
                  </a:lnTo>
                  <a:lnTo>
                    <a:pt x="343" y="101"/>
                  </a:lnTo>
                  <a:lnTo>
                    <a:pt x="343" y="99"/>
                  </a:lnTo>
                  <a:lnTo>
                    <a:pt x="343" y="97"/>
                  </a:lnTo>
                  <a:lnTo>
                    <a:pt x="343" y="97"/>
                  </a:lnTo>
                  <a:lnTo>
                    <a:pt x="342" y="97"/>
                  </a:lnTo>
                  <a:lnTo>
                    <a:pt x="340" y="101"/>
                  </a:lnTo>
                  <a:lnTo>
                    <a:pt x="338" y="101"/>
                  </a:lnTo>
                  <a:lnTo>
                    <a:pt x="334" y="103"/>
                  </a:lnTo>
                  <a:lnTo>
                    <a:pt x="332" y="105"/>
                  </a:lnTo>
                  <a:lnTo>
                    <a:pt x="328" y="105"/>
                  </a:lnTo>
                  <a:lnTo>
                    <a:pt x="328" y="109"/>
                  </a:lnTo>
                  <a:lnTo>
                    <a:pt x="326" y="111"/>
                  </a:lnTo>
                  <a:lnTo>
                    <a:pt x="324" y="112"/>
                  </a:lnTo>
                  <a:lnTo>
                    <a:pt x="321" y="112"/>
                  </a:lnTo>
                  <a:lnTo>
                    <a:pt x="321" y="112"/>
                  </a:lnTo>
                  <a:lnTo>
                    <a:pt x="317" y="111"/>
                  </a:lnTo>
                  <a:lnTo>
                    <a:pt x="317" y="111"/>
                  </a:lnTo>
                  <a:lnTo>
                    <a:pt x="315" y="112"/>
                  </a:lnTo>
                  <a:lnTo>
                    <a:pt x="315" y="112"/>
                  </a:lnTo>
                  <a:lnTo>
                    <a:pt x="313" y="114"/>
                  </a:lnTo>
                  <a:lnTo>
                    <a:pt x="311" y="114"/>
                  </a:lnTo>
                  <a:lnTo>
                    <a:pt x="305" y="111"/>
                  </a:lnTo>
                  <a:lnTo>
                    <a:pt x="300" y="107"/>
                  </a:lnTo>
                  <a:lnTo>
                    <a:pt x="298" y="105"/>
                  </a:lnTo>
                  <a:lnTo>
                    <a:pt x="298" y="105"/>
                  </a:lnTo>
                  <a:lnTo>
                    <a:pt x="296" y="105"/>
                  </a:lnTo>
                  <a:lnTo>
                    <a:pt x="296" y="103"/>
                  </a:lnTo>
                  <a:lnTo>
                    <a:pt x="294" y="103"/>
                  </a:lnTo>
                  <a:lnTo>
                    <a:pt x="292" y="101"/>
                  </a:lnTo>
                  <a:lnTo>
                    <a:pt x="288" y="101"/>
                  </a:lnTo>
                  <a:lnTo>
                    <a:pt x="283" y="97"/>
                  </a:lnTo>
                  <a:lnTo>
                    <a:pt x="281" y="97"/>
                  </a:lnTo>
                  <a:lnTo>
                    <a:pt x="279" y="97"/>
                  </a:lnTo>
                  <a:lnTo>
                    <a:pt x="277" y="97"/>
                  </a:lnTo>
                  <a:lnTo>
                    <a:pt x="277" y="97"/>
                  </a:lnTo>
                  <a:lnTo>
                    <a:pt x="277" y="95"/>
                  </a:lnTo>
                  <a:lnTo>
                    <a:pt x="277" y="95"/>
                  </a:lnTo>
                  <a:lnTo>
                    <a:pt x="275" y="93"/>
                  </a:lnTo>
                  <a:lnTo>
                    <a:pt x="275" y="93"/>
                  </a:lnTo>
                  <a:lnTo>
                    <a:pt x="273" y="93"/>
                  </a:lnTo>
                  <a:lnTo>
                    <a:pt x="269" y="95"/>
                  </a:lnTo>
                  <a:lnTo>
                    <a:pt x="267" y="97"/>
                  </a:lnTo>
                  <a:lnTo>
                    <a:pt x="265" y="97"/>
                  </a:lnTo>
                  <a:lnTo>
                    <a:pt x="265" y="97"/>
                  </a:lnTo>
                  <a:lnTo>
                    <a:pt x="263" y="95"/>
                  </a:lnTo>
                  <a:lnTo>
                    <a:pt x="263" y="95"/>
                  </a:lnTo>
                  <a:lnTo>
                    <a:pt x="263" y="95"/>
                  </a:lnTo>
                  <a:lnTo>
                    <a:pt x="262" y="95"/>
                  </a:lnTo>
                  <a:lnTo>
                    <a:pt x="262" y="95"/>
                  </a:lnTo>
                  <a:lnTo>
                    <a:pt x="262" y="95"/>
                  </a:lnTo>
                  <a:lnTo>
                    <a:pt x="260" y="95"/>
                  </a:lnTo>
                  <a:lnTo>
                    <a:pt x="258" y="95"/>
                  </a:lnTo>
                  <a:lnTo>
                    <a:pt x="258" y="93"/>
                  </a:lnTo>
                  <a:lnTo>
                    <a:pt x="252" y="90"/>
                  </a:lnTo>
                  <a:lnTo>
                    <a:pt x="248" y="90"/>
                  </a:lnTo>
                  <a:lnTo>
                    <a:pt x="246" y="90"/>
                  </a:lnTo>
                  <a:lnTo>
                    <a:pt x="242" y="90"/>
                  </a:lnTo>
                  <a:lnTo>
                    <a:pt x="242" y="92"/>
                  </a:lnTo>
                  <a:lnTo>
                    <a:pt x="235" y="97"/>
                  </a:lnTo>
                  <a:lnTo>
                    <a:pt x="233" y="97"/>
                  </a:lnTo>
                  <a:lnTo>
                    <a:pt x="231" y="99"/>
                  </a:lnTo>
                  <a:lnTo>
                    <a:pt x="231" y="97"/>
                  </a:lnTo>
                  <a:lnTo>
                    <a:pt x="231" y="97"/>
                  </a:lnTo>
                  <a:lnTo>
                    <a:pt x="231" y="95"/>
                  </a:lnTo>
                  <a:lnTo>
                    <a:pt x="231" y="95"/>
                  </a:lnTo>
                  <a:lnTo>
                    <a:pt x="231" y="95"/>
                  </a:lnTo>
                  <a:lnTo>
                    <a:pt x="229" y="95"/>
                  </a:lnTo>
                  <a:lnTo>
                    <a:pt x="229" y="95"/>
                  </a:lnTo>
                  <a:lnTo>
                    <a:pt x="227" y="95"/>
                  </a:lnTo>
                  <a:lnTo>
                    <a:pt x="223" y="92"/>
                  </a:lnTo>
                  <a:lnTo>
                    <a:pt x="222" y="90"/>
                  </a:lnTo>
                  <a:lnTo>
                    <a:pt x="220" y="86"/>
                  </a:lnTo>
                  <a:lnTo>
                    <a:pt x="222" y="78"/>
                  </a:lnTo>
                  <a:lnTo>
                    <a:pt x="220" y="74"/>
                  </a:lnTo>
                  <a:lnTo>
                    <a:pt x="220" y="73"/>
                  </a:lnTo>
                  <a:lnTo>
                    <a:pt x="212" y="69"/>
                  </a:lnTo>
                  <a:lnTo>
                    <a:pt x="210" y="69"/>
                  </a:lnTo>
                  <a:lnTo>
                    <a:pt x="202" y="71"/>
                  </a:lnTo>
                  <a:lnTo>
                    <a:pt x="199" y="74"/>
                  </a:lnTo>
                  <a:lnTo>
                    <a:pt x="197" y="76"/>
                  </a:lnTo>
                  <a:lnTo>
                    <a:pt x="195" y="76"/>
                  </a:lnTo>
                  <a:lnTo>
                    <a:pt x="193" y="76"/>
                  </a:lnTo>
                  <a:lnTo>
                    <a:pt x="191" y="76"/>
                  </a:lnTo>
                  <a:lnTo>
                    <a:pt x="189" y="76"/>
                  </a:lnTo>
                  <a:lnTo>
                    <a:pt x="189" y="78"/>
                  </a:lnTo>
                  <a:lnTo>
                    <a:pt x="187" y="78"/>
                  </a:lnTo>
                  <a:lnTo>
                    <a:pt x="187" y="80"/>
                  </a:lnTo>
                  <a:lnTo>
                    <a:pt x="183" y="80"/>
                  </a:lnTo>
                  <a:lnTo>
                    <a:pt x="182" y="80"/>
                  </a:lnTo>
                  <a:lnTo>
                    <a:pt x="174" y="78"/>
                  </a:lnTo>
                  <a:lnTo>
                    <a:pt x="170" y="76"/>
                  </a:lnTo>
                  <a:lnTo>
                    <a:pt x="170" y="73"/>
                  </a:lnTo>
                  <a:lnTo>
                    <a:pt x="170" y="69"/>
                  </a:lnTo>
                  <a:lnTo>
                    <a:pt x="166" y="67"/>
                  </a:lnTo>
                  <a:lnTo>
                    <a:pt x="164" y="67"/>
                  </a:lnTo>
                  <a:lnTo>
                    <a:pt x="159" y="71"/>
                  </a:lnTo>
                  <a:lnTo>
                    <a:pt x="157" y="69"/>
                  </a:lnTo>
                  <a:lnTo>
                    <a:pt x="157" y="69"/>
                  </a:lnTo>
                  <a:lnTo>
                    <a:pt x="157" y="67"/>
                  </a:lnTo>
                  <a:lnTo>
                    <a:pt x="155" y="65"/>
                  </a:lnTo>
                  <a:lnTo>
                    <a:pt x="155" y="65"/>
                  </a:lnTo>
                  <a:lnTo>
                    <a:pt x="153" y="65"/>
                  </a:lnTo>
                  <a:lnTo>
                    <a:pt x="151" y="65"/>
                  </a:lnTo>
                  <a:lnTo>
                    <a:pt x="151" y="63"/>
                  </a:lnTo>
                  <a:lnTo>
                    <a:pt x="149" y="59"/>
                  </a:lnTo>
                  <a:lnTo>
                    <a:pt x="149" y="57"/>
                  </a:lnTo>
                  <a:lnTo>
                    <a:pt x="147" y="57"/>
                  </a:lnTo>
                  <a:lnTo>
                    <a:pt x="142" y="55"/>
                  </a:lnTo>
                  <a:lnTo>
                    <a:pt x="140" y="54"/>
                  </a:lnTo>
                  <a:lnTo>
                    <a:pt x="140" y="54"/>
                  </a:lnTo>
                  <a:lnTo>
                    <a:pt x="138" y="52"/>
                  </a:lnTo>
                  <a:lnTo>
                    <a:pt x="138" y="52"/>
                  </a:lnTo>
                  <a:lnTo>
                    <a:pt x="136" y="54"/>
                  </a:lnTo>
                  <a:lnTo>
                    <a:pt x="134" y="54"/>
                  </a:lnTo>
                  <a:lnTo>
                    <a:pt x="134" y="54"/>
                  </a:lnTo>
                  <a:lnTo>
                    <a:pt x="122" y="50"/>
                  </a:lnTo>
                  <a:lnTo>
                    <a:pt x="121" y="50"/>
                  </a:lnTo>
                  <a:lnTo>
                    <a:pt x="121" y="48"/>
                  </a:lnTo>
                  <a:lnTo>
                    <a:pt x="121" y="46"/>
                  </a:lnTo>
                  <a:lnTo>
                    <a:pt x="122" y="42"/>
                  </a:lnTo>
                  <a:lnTo>
                    <a:pt x="124" y="40"/>
                  </a:lnTo>
                  <a:lnTo>
                    <a:pt x="124" y="36"/>
                  </a:lnTo>
                  <a:lnTo>
                    <a:pt x="124" y="33"/>
                  </a:lnTo>
                  <a:lnTo>
                    <a:pt x="122" y="29"/>
                  </a:lnTo>
                  <a:lnTo>
                    <a:pt x="121" y="25"/>
                  </a:lnTo>
                  <a:lnTo>
                    <a:pt x="119" y="21"/>
                  </a:lnTo>
                  <a:lnTo>
                    <a:pt x="117" y="19"/>
                  </a:lnTo>
                  <a:lnTo>
                    <a:pt x="90" y="15"/>
                  </a:lnTo>
                  <a:lnTo>
                    <a:pt x="88" y="14"/>
                  </a:lnTo>
                  <a:lnTo>
                    <a:pt x="86" y="12"/>
                  </a:lnTo>
                  <a:lnTo>
                    <a:pt x="84" y="10"/>
                  </a:lnTo>
                  <a:lnTo>
                    <a:pt x="84" y="8"/>
                  </a:lnTo>
                  <a:lnTo>
                    <a:pt x="81" y="8"/>
                  </a:lnTo>
                  <a:lnTo>
                    <a:pt x="81" y="8"/>
                  </a:lnTo>
                  <a:lnTo>
                    <a:pt x="79" y="6"/>
                  </a:lnTo>
                  <a:lnTo>
                    <a:pt x="79" y="4"/>
                  </a:lnTo>
                  <a:lnTo>
                    <a:pt x="77" y="4"/>
                  </a:lnTo>
                  <a:lnTo>
                    <a:pt x="75" y="4"/>
                  </a:lnTo>
                  <a:lnTo>
                    <a:pt x="75" y="2"/>
                  </a:lnTo>
                  <a:lnTo>
                    <a:pt x="75" y="0"/>
                  </a:lnTo>
                  <a:lnTo>
                    <a:pt x="73" y="0"/>
                  </a:lnTo>
                  <a:lnTo>
                    <a:pt x="71" y="0"/>
                  </a:lnTo>
                  <a:lnTo>
                    <a:pt x="65" y="6"/>
                  </a:lnTo>
                  <a:lnTo>
                    <a:pt x="63" y="8"/>
                  </a:lnTo>
                  <a:lnTo>
                    <a:pt x="61" y="8"/>
                  </a:lnTo>
                  <a:lnTo>
                    <a:pt x="58" y="8"/>
                  </a:lnTo>
                  <a:lnTo>
                    <a:pt x="56" y="8"/>
                  </a:lnTo>
                  <a:lnTo>
                    <a:pt x="56" y="8"/>
                  </a:lnTo>
                  <a:lnTo>
                    <a:pt x="54" y="8"/>
                  </a:lnTo>
                  <a:lnTo>
                    <a:pt x="50" y="8"/>
                  </a:lnTo>
                  <a:lnTo>
                    <a:pt x="48" y="8"/>
                  </a:lnTo>
                  <a:lnTo>
                    <a:pt x="48" y="10"/>
                  </a:lnTo>
                  <a:lnTo>
                    <a:pt x="52" y="14"/>
                  </a:lnTo>
                  <a:lnTo>
                    <a:pt x="52" y="14"/>
                  </a:lnTo>
                  <a:lnTo>
                    <a:pt x="52" y="15"/>
                  </a:lnTo>
                  <a:lnTo>
                    <a:pt x="52" y="15"/>
                  </a:lnTo>
                  <a:lnTo>
                    <a:pt x="50" y="17"/>
                  </a:lnTo>
                  <a:lnTo>
                    <a:pt x="50" y="17"/>
                  </a:lnTo>
                  <a:lnTo>
                    <a:pt x="50" y="17"/>
                  </a:lnTo>
                  <a:lnTo>
                    <a:pt x="50" y="17"/>
                  </a:lnTo>
                  <a:lnTo>
                    <a:pt x="50" y="17"/>
                  </a:lnTo>
                  <a:lnTo>
                    <a:pt x="50" y="19"/>
                  </a:lnTo>
                  <a:lnTo>
                    <a:pt x="50" y="19"/>
                  </a:lnTo>
                  <a:lnTo>
                    <a:pt x="50" y="19"/>
                  </a:lnTo>
                  <a:lnTo>
                    <a:pt x="50" y="19"/>
                  </a:lnTo>
                  <a:lnTo>
                    <a:pt x="52" y="19"/>
                  </a:lnTo>
                  <a:lnTo>
                    <a:pt x="54" y="19"/>
                  </a:lnTo>
                  <a:lnTo>
                    <a:pt x="54" y="19"/>
                  </a:lnTo>
                  <a:lnTo>
                    <a:pt x="54" y="21"/>
                  </a:lnTo>
                  <a:lnTo>
                    <a:pt x="52" y="23"/>
                  </a:lnTo>
                  <a:lnTo>
                    <a:pt x="52" y="25"/>
                  </a:lnTo>
                  <a:lnTo>
                    <a:pt x="54" y="25"/>
                  </a:lnTo>
                  <a:lnTo>
                    <a:pt x="54" y="27"/>
                  </a:lnTo>
                  <a:lnTo>
                    <a:pt x="56" y="27"/>
                  </a:lnTo>
                  <a:lnTo>
                    <a:pt x="56" y="29"/>
                  </a:lnTo>
                  <a:lnTo>
                    <a:pt x="56" y="29"/>
                  </a:lnTo>
                  <a:lnTo>
                    <a:pt x="58" y="31"/>
                  </a:lnTo>
                  <a:lnTo>
                    <a:pt x="58" y="33"/>
                  </a:lnTo>
                  <a:lnTo>
                    <a:pt x="58" y="34"/>
                  </a:lnTo>
                  <a:lnTo>
                    <a:pt x="58" y="36"/>
                  </a:lnTo>
                  <a:lnTo>
                    <a:pt x="58" y="38"/>
                  </a:lnTo>
                  <a:lnTo>
                    <a:pt x="58" y="38"/>
                  </a:lnTo>
                  <a:lnTo>
                    <a:pt x="61" y="40"/>
                  </a:lnTo>
                  <a:lnTo>
                    <a:pt x="61" y="42"/>
                  </a:lnTo>
                  <a:lnTo>
                    <a:pt x="61" y="44"/>
                  </a:lnTo>
                  <a:lnTo>
                    <a:pt x="63" y="46"/>
                  </a:lnTo>
                  <a:lnTo>
                    <a:pt x="65" y="46"/>
                  </a:lnTo>
                  <a:lnTo>
                    <a:pt x="65" y="48"/>
                  </a:lnTo>
                  <a:lnTo>
                    <a:pt x="65" y="50"/>
                  </a:lnTo>
                  <a:lnTo>
                    <a:pt x="65" y="50"/>
                  </a:lnTo>
                  <a:lnTo>
                    <a:pt x="65" y="54"/>
                  </a:lnTo>
                  <a:lnTo>
                    <a:pt x="65" y="54"/>
                  </a:lnTo>
                  <a:lnTo>
                    <a:pt x="69" y="59"/>
                  </a:lnTo>
                  <a:lnTo>
                    <a:pt x="69" y="61"/>
                  </a:lnTo>
                  <a:lnTo>
                    <a:pt x="71" y="63"/>
                  </a:lnTo>
                  <a:lnTo>
                    <a:pt x="73" y="63"/>
                  </a:lnTo>
                  <a:lnTo>
                    <a:pt x="73" y="63"/>
                  </a:lnTo>
                  <a:lnTo>
                    <a:pt x="75" y="65"/>
                  </a:lnTo>
                  <a:lnTo>
                    <a:pt x="77" y="67"/>
                  </a:lnTo>
                  <a:lnTo>
                    <a:pt x="79" y="67"/>
                  </a:lnTo>
                  <a:lnTo>
                    <a:pt x="79" y="67"/>
                  </a:lnTo>
                  <a:lnTo>
                    <a:pt x="79" y="65"/>
                  </a:lnTo>
                  <a:lnTo>
                    <a:pt x="81" y="65"/>
                  </a:lnTo>
                  <a:lnTo>
                    <a:pt x="81" y="65"/>
                  </a:lnTo>
                  <a:lnTo>
                    <a:pt x="81" y="65"/>
                  </a:lnTo>
                  <a:lnTo>
                    <a:pt x="82" y="65"/>
                  </a:lnTo>
                  <a:lnTo>
                    <a:pt x="82" y="65"/>
                  </a:lnTo>
                  <a:lnTo>
                    <a:pt x="84" y="65"/>
                  </a:lnTo>
                  <a:lnTo>
                    <a:pt x="84" y="65"/>
                  </a:lnTo>
                  <a:lnTo>
                    <a:pt x="86" y="67"/>
                  </a:lnTo>
                  <a:lnTo>
                    <a:pt x="86" y="69"/>
                  </a:lnTo>
                  <a:lnTo>
                    <a:pt x="86" y="71"/>
                  </a:lnTo>
                  <a:lnTo>
                    <a:pt x="86" y="73"/>
                  </a:lnTo>
                  <a:lnTo>
                    <a:pt x="86" y="76"/>
                  </a:lnTo>
                  <a:lnTo>
                    <a:pt x="86" y="78"/>
                  </a:lnTo>
                  <a:lnTo>
                    <a:pt x="86" y="78"/>
                  </a:lnTo>
                  <a:lnTo>
                    <a:pt x="86" y="78"/>
                  </a:lnTo>
                  <a:lnTo>
                    <a:pt x="88" y="78"/>
                  </a:lnTo>
                  <a:lnTo>
                    <a:pt x="90" y="78"/>
                  </a:lnTo>
                  <a:lnTo>
                    <a:pt x="90" y="80"/>
                  </a:lnTo>
                  <a:lnTo>
                    <a:pt x="92" y="80"/>
                  </a:lnTo>
                  <a:lnTo>
                    <a:pt x="98" y="88"/>
                  </a:lnTo>
                  <a:lnTo>
                    <a:pt x="100" y="88"/>
                  </a:lnTo>
                  <a:lnTo>
                    <a:pt x="100" y="88"/>
                  </a:lnTo>
                  <a:lnTo>
                    <a:pt x="100" y="90"/>
                  </a:lnTo>
                  <a:lnTo>
                    <a:pt x="100" y="90"/>
                  </a:lnTo>
                  <a:lnTo>
                    <a:pt x="98" y="90"/>
                  </a:lnTo>
                  <a:lnTo>
                    <a:pt x="84" y="92"/>
                  </a:lnTo>
                  <a:lnTo>
                    <a:pt x="81" y="90"/>
                  </a:lnTo>
                  <a:lnTo>
                    <a:pt x="79" y="90"/>
                  </a:lnTo>
                  <a:lnTo>
                    <a:pt x="77" y="90"/>
                  </a:lnTo>
                  <a:lnTo>
                    <a:pt x="77" y="90"/>
                  </a:lnTo>
                  <a:lnTo>
                    <a:pt x="73" y="90"/>
                  </a:lnTo>
                  <a:lnTo>
                    <a:pt x="73" y="90"/>
                  </a:lnTo>
                  <a:lnTo>
                    <a:pt x="71" y="90"/>
                  </a:lnTo>
                  <a:lnTo>
                    <a:pt x="71" y="92"/>
                  </a:lnTo>
                  <a:lnTo>
                    <a:pt x="71" y="92"/>
                  </a:lnTo>
                  <a:lnTo>
                    <a:pt x="69" y="95"/>
                  </a:lnTo>
                  <a:lnTo>
                    <a:pt x="69" y="97"/>
                  </a:lnTo>
                  <a:lnTo>
                    <a:pt x="69" y="97"/>
                  </a:lnTo>
                  <a:lnTo>
                    <a:pt x="67" y="99"/>
                  </a:lnTo>
                  <a:lnTo>
                    <a:pt x="67" y="99"/>
                  </a:lnTo>
                  <a:lnTo>
                    <a:pt x="67" y="99"/>
                  </a:lnTo>
                  <a:lnTo>
                    <a:pt x="63" y="101"/>
                  </a:lnTo>
                  <a:lnTo>
                    <a:pt x="61" y="101"/>
                  </a:lnTo>
                  <a:lnTo>
                    <a:pt x="61" y="101"/>
                  </a:lnTo>
                  <a:lnTo>
                    <a:pt x="61" y="101"/>
                  </a:lnTo>
                  <a:lnTo>
                    <a:pt x="60" y="103"/>
                  </a:lnTo>
                  <a:lnTo>
                    <a:pt x="60" y="103"/>
                  </a:lnTo>
                  <a:lnTo>
                    <a:pt x="60" y="103"/>
                  </a:lnTo>
                  <a:lnTo>
                    <a:pt x="60" y="103"/>
                  </a:lnTo>
                  <a:lnTo>
                    <a:pt x="60" y="103"/>
                  </a:lnTo>
                  <a:lnTo>
                    <a:pt x="60" y="103"/>
                  </a:lnTo>
                  <a:lnTo>
                    <a:pt x="60" y="101"/>
                  </a:lnTo>
                  <a:lnTo>
                    <a:pt x="58" y="101"/>
                  </a:lnTo>
                  <a:lnTo>
                    <a:pt x="58" y="101"/>
                  </a:lnTo>
                  <a:lnTo>
                    <a:pt x="58" y="99"/>
                  </a:lnTo>
                  <a:lnTo>
                    <a:pt x="58" y="99"/>
                  </a:lnTo>
                  <a:lnTo>
                    <a:pt x="58" y="99"/>
                  </a:lnTo>
                  <a:lnTo>
                    <a:pt x="56" y="101"/>
                  </a:lnTo>
                  <a:lnTo>
                    <a:pt x="56" y="101"/>
                  </a:lnTo>
                  <a:lnTo>
                    <a:pt x="56" y="101"/>
                  </a:lnTo>
                  <a:lnTo>
                    <a:pt x="56" y="105"/>
                  </a:lnTo>
                  <a:lnTo>
                    <a:pt x="56" y="105"/>
                  </a:lnTo>
                  <a:lnTo>
                    <a:pt x="56" y="107"/>
                  </a:lnTo>
                  <a:lnTo>
                    <a:pt x="56" y="109"/>
                  </a:lnTo>
                  <a:lnTo>
                    <a:pt x="56" y="109"/>
                  </a:lnTo>
                  <a:lnTo>
                    <a:pt x="58" y="109"/>
                  </a:lnTo>
                  <a:lnTo>
                    <a:pt x="60" y="111"/>
                  </a:lnTo>
                  <a:lnTo>
                    <a:pt x="60" y="111"/>
                  </a:lnTo>
                  <a:lnTo>
                    <a:pt x="61" y="111"/>
                  </a:lnTo>
                  <a:lnTo>
                    <a:pt x="61" y="109"/>
                  </a:lnTo>
                  <a:lnTo>
                    <a:pt x="63" y="109"/>
                  </a:lnTo>
                  <a:lnTo>
                    <a:pt x="63" y="109"/>
                  </a:lnTo>
                  <a:lnTo>
                    <a:pt x="63" y="109"/>
                  </a:lnTo>
                  <a:lnTo>
                    <a:pt x="63" y="109"/>
                  </a:lnTo>
                  <a:lnTo>
                    <a:pt x="65" y="109"/>
                  </a:lnTo>
                  <a:lnTo>
                    <a:pt x="65" y="109"/>
                  </a:lnTo>
                  <a:lnTo>
                    <a:pt x="67" y="109"/>
                  </a:lnTo>
                  <a:lnTo>
                    <a:pt x="69" y="112"/>
                  </a:lnTo>
                  <a:lnTo>
                    <a:pt x="71" y="112"/>
                  </a:lnTo>
                  <a:lnTo>
                    <a:pt x="73" y="114"/>
                  </a:lnTo>
                  <a:lnTo>
                    <a:pt x="79" y="114"/>
                  </a:lnTo>
                  <a:lnTo>
                    <a:pt x="81" y="116"/>
                  </a:lnTo>
                  <a:lnTo>
                    <a:pt x="81" y="116"/>
                  </a:lnTo>
                  <a:lnTo>
                    <a:pt x="81" y="116"/>
                  </a:lnTo>
                  <a:lnTo>
                    <a:pt x="81" y="118"/>
                  </a:lnTo>
                  <a:lnTo>
                    <a:pt x="79" y="122"/>
                  </a:lnTo>
                  <a:lnTo>
                    <a:pt x="79" y="122"/>
                  </a:lnTo>
                  <a:lnTo>
                    <a:pt x="79" y="122"/>
                  </a:lnTo>
                  <a:lnTo>
                    <a:pt x="79" y="124"/>
                  </a:lnTo>
                  <a:lnTo>
                    <a:pt x="81" y="126"/>
                  </a:lnTo>
                  <a:lnTo>
                    <a:pt x="81" y="128"/>
                  </a:lnTo>
                  <a:lnTo>
                    <a:pt x="81" y="128"/>
                  </a:lnTo>
                  <a:lnTo>
                    <a:pt x="79" y="128"/>
                  </a:lnTo>
                  <a:lnTo>
                    <a:pt x="77" y="128"/>
                  </a:lnTo>
                  <a:lnTo>
                    <a:pt x="77" y="128"/>
                  </a:lnTo>
                  <a:lnTo>
                    <a:pt x="75" y="128"/>
                  </a:lnTo>
                  <a:lnTo>
                    <a:pt x="75" y="128"/>
                  </a:lnTo>
                  <a:lnTo>
                    <a:pt x="73" y="128"/>
                  </a:lnTo>
                  <a:lnTo>
                    <a:pt x="73" y="128"/>
                  </a:lnTo>
                  <a:lnTo>
                    <a:pt x="73" y="130"/>
                  </a:lnTo>
                  <a:lnTo>
                    <a:pt x="71" y="130"/>
                  </a:lnTo>
                  <a:lnTo>
                    <a:pt x="71" y="130"/>
                  </a:lnTo>
                  <a:lnTo>
                    <a:pt x="65" y="130"/>
                  </a:lnTo>
                  <a:lnTo>
                    <a:pt x="63" y="131"/>
                  </a:lnTo>
                  <a:lnTo>
                    <a:pt x="63" y="131"/>
                  </a:lnTo>
                  <a:lnTo>
                    <a:pt x="63" y="131"/>
                  </a:lnTo>
                  <a:lnTo>
                    <a:pt x="63" y="131"/>
                  </a:lnTo>
                  <a:lnTo>
                    <a:pt x="61" y="131"/>
                  </a:lnTo>
                  <a:lnTo>
                    <a:pt x="61" y="133"/>
                  </a:lnTo>
                  <a:lnTo>
                    <a:pt x="61" y="133"/>
                  </a:lnTo>
                  <a:lnTo>
                    <a:pt x="61" y="135"/>
                  </a:lnTo>
                  <a:lnTo>
                    <a:pt x="63" y="135"/>
                  </a:lnTo>
                  <a:lnTo>
                    <a:pt x="65" y="137"/>
                  </a:lnTo>
                  <a:lnTo>
                    <a:pt x="67" y="139"/>
                  </a:lnTo>
                  <a:lnTo>
                    <a:pt x="69" y="147"/>
                  </a:lnTo>
                  <a:lnTo>
                    <a:pt x="69" y="147"/>
                  </a:lnTo>
                  <a:lnTo>
                    <a:pt x="71" y="147"/>
                  </a:lnTo>
                  <a:lnTo>
                    <a:pt x="73" y="147"/>
                  </a:lnTo>
                  <a:lnTo>
                    <a:pt x="73" y="147"/>
                  </a:lnTo>
                  <a:lnTo>
                    <a:pt x="75" y="149"/>
                  </a:lnTo>
                  <a:lnTo>
                    <a:pt x="77" y="149"/>
                  </a:lnTo>
                  <a:lnTo>
                    <a:pt x="77" y="150"/>
                  </a:lnTo>
                  <a:lnTo>
                    <a:pt x="79" y="150"/>
                  </a:lnTo>
                  <a:lnTo>
                    <a:pt x="79" y="152"/>
                  </a:lnTo>
                  <a:lnTo>
                    <a:pt x="79" y="154"/>
                  </a:lnTo>
                  <a:lnTo>
                    <a:pt x="81" y="154"/>
                  </a:lnTo>
                  <a:lnTo>
                    <a:pt x="81" y="154"/>
                  </a:lnTo>
                  <a:lnTo>
                    <a:pt x="82" y="154"/>
                  </a:lnTo>
                  <a:lnTo>
                    <a:pt x="82" y="156"/>
                  </a:lnTo>
                  <a:lnTo>
                    <a:pt x="84" y="160"/>
                  </a:lnTo>
                  <a:lnTo>
                    <a:pt x="84" y="160"/>
                  </a:lnTo>
                  <a:lnTo>
                    <a:pt x="84" y="162"/>
                  </a:lnTo>
                  <a:lnTo>
                    <a:pt x="86" y="162"/>
                  </a:lnTo>
                  <a:lnTo>
                    <a:pt x="88" y="164"/>
                  </a:lnTo>
                  <a:lnTo>
                    <a:pt x="88" y="164"/>
                  </a:lnTo>
                  <a:lnTo>
                    <a:pt x="90" y="164"/>
                  </a:lnTo>
                  <a:lnTo>
                    <a:pt x="94" y="162"/>
                  </a:lnTo>
                  <a:lnTo>
                    <a:pt x="96" y="162"/>
                  </a:lnTo>
                  <a:lnTo>
                    <a:pt x="98" y="162"/>
                  </a:lnTo>
                  <a:lnTo>
                    <a:pt x="98" y="164"/>
                  </a:lnTo>
                  <a:lnTo>
                    <a:pt x="100" y="164"/>
                  </a:lnTo>
                  <a:lnTo>
                    <a:pt x="101" y="166"/>
                  </a:lnTo>
                  <a:lnTo>
                    <a:pt x="101" y="168"/>
                  </a:lnTo>
                  <a:lnTo>
                    <a:pt x="101" y="168"/>
                  </a:lnTo>
                  <a:lnTo>
                    <a:pt x="105" y="170"/>
                  </a:lnTo>
                  <a:lnTo>
                    <a:pt x="107" y="170"/>
                  </a:lnTo>
                  <a:lnTo>
                    <a:pt x="109" y="170"/>
                  </a:lnTo>
                  <a:lnTo>
                    <a:pt x="111" y="170"/>
                  </a:lnTo>
                  <a:lnTo>
                    <a:pt x="113" y="171"/>
                  </a:lnTo>
                  <a:lnTo>
                    <a:pt x="119" y="177"/>
                  </a:lnTo>
                  <a:lnTo>
                    <a:pt x="119" y="177"/>
                  </a:lnTo>
                  <a:lnTo>
                    <a:pt x="121" y="179"/>
                  </a:lnTo>
                  <a:lnTo>
                    <a:pt x="119" y="179"/>
                  </a:lnTo>
                  <a:lnTo>
                    <a:pt x="119" y="181"/>
                  </a:lnTo>
                  <a:lnTo>
                    <a:pt x="119" y="183"/>
                  </a:lnTo>
                  <a:lnTo>
                    <a:pt x="119" y="183"/>
                  </a:lnTo>
                  <a:lnTo>
                    <a:pt x="117" y="183"/>
                  </a:lnTo>
                  <a:lnTo>
                    <a:pt x="113" y="187"/>
                  </a:lnTo>
                  <a:lnTo>
                    <a:pt x="113" y="187"/>
                  </a:lnTo>
                  <a:lnTo>
                    <a:pt x="111" y="187"/>
                  </a:lnTo>
                  <a:lnTo>
                    <a:pt x="109" y="187"/>
                  </a:lnTo>
                  <a:lnTo>
                    <a:pt x="107" y="187"/>
                  </a:lnTo>
                  <a:lnTo>
                    <a:pt x="107" y="187"/>
                  </a:lnTo>
                  <a:lnTo>
                    <a:pt x="105" y="187"/>
                  </a:lnTo>
                  <a:lnTo>
                    <a:pt x="103" y="185"/>
                  </a:lnTo>
                  <a:lnTo>
                    <a:pt x="101" y="185"/>
                  </a:lnTo>
                  <a:lnTo>
                    <a:pt x="100" y="181"/>
                  </a:lnTo>
                  <a:lnTo>
                    <a:pt x="98" y="181"/>
                  </a:lnTo>
                  <a:lnTo>
                    <a:pt x="96" y="181"/>
                  </a:lnTo>
                  <a:lnTo>
                    <a:pt x="94" y="181"/>
                  </a:lnTo>
                  <a:lnTo>
                    <a:pt x="94" y="183"/>
                  </a:lnTo>
                  <a:lnTo>
                    <a:pt x="92" y="183"/>
                  </a:lnTo>
                  <a:lnTo>
                    <a:pt x="92" y="185"/>
                  </a:lnTo>
                  <a:lnTo>
                    <a:pt x="94" y="189"/>
                  </a:lnTo>
                  <a:lnTo>
                    <a:pt x="94" y="189"/>
                  </a:lnTo>
                  <a:lnTo>
                    <a:pt x="94" y="189"/>
                  </a:lnTo>
                  <a:lnTo>
                    <a:pt x="94" y="190"/>
                  </a:lnTo>
                  <a:lnTo>
                    <a:pt x="94" y="190"/>
                  </a:lnTo>
                  <a:lnTo>
                    <a:pt x="94" y="190"/>
                  </a:lnTo>
                  <a:lnTo>
                    <a:pt x="94" y="192"/>
                  </a:lnTo>
                  <a:lnTo>
                    <a:pt x="92" y="192"/>
                  </a:lnTo>
                  <a:lnTo>
                    <a:pt x="92" y="192"/>
                  </a:lnTo>
                  <a:lnTo>
                    <a:pt x="90" y="192"/>
                  </a:lnTo>
                  <a:lnTo>
                    <a:pt x="88" y="192"/>
                  </a:lnTo>
                  <a:lnTo>
                    <a:pt x="86" y="192"/>
                  </a:lnTo>
                  <a:lnTo>
                    <a:pt x="86" y="192"/>
                  </a:lnTo>
                  <a:lnTo>
                    <a:pt x="86" y="192"/>
                  </a:lnTo>
                  <a:lnTo>
                    <a:pt x="84" y="192"/>
                  </a:lnTo>
                  <a:lnTo>
                    <a:pt x="84" y="192"/>
                  </a:lnTo>
                  <a:lnTo>
                    <a:pt x="84" y="192"/>
                  </a:lnTo>
                  <a:lnTo>
                    <a:pt x="84" y="190"/>
                  </a:lnTo>
                  <a:lnTo>
                    <a:pt x="84" y="190"/>
                  </a:lnTo>
                  <a:lnTo>
                    <a:pt x="82" y="190"/>
                  </a:lnTo>
                  <a:lnTo>
                    <a:pt x="82" y="190"/>
                  </a:lnTo>
                  <a:lnTo>
                    <a:pt x="82" y="189"/>
                  </a:lnTo>
                  <a:lnTo>
                    <a:pt x="82" y="189"/>
                  </a:lnTo>
                  <a:lnTo>
                    <a:pt x="82" y="189"/>
                  </a:lnTo>
                  <a:lnTo>
                    <a:pt x="82" y="187"/>
                  </a:lnTo>
                  <a:lnTo>
                    <a:pt x="82" y="187"/>
                  </a:lnTo>
                  <a:lnTo>
                    <a:pt x="82" y="185"/>
                  </a:lnTo>
                  <a:lnTo>
                    <a:pt x="82" y="185"/>
                  </a:lnTo>
                  <a:lnTo>
                    <a:pt x="81" y="183"/>
                  </a:lnTo>
                  <a:lnTo>
                    <a:pt x="77" y="183"/>
                  </a:lnTo>
                  <a:lnTo>
                    <a:pt x="69" y="190"/>
                  </a:lnTo>
                  <a:lnTo>
                    <a:pt x="63" y="196"/>
                  </a:lnTo>
                  <a:lnTo>
                    <a:pt x="61" y="198"/>
                  </a:lnTo>
                  <a:lnTo>
                    <a:pt x="56" y="202"/>
                  </a:lnTo>
                  <a:lnTo>
                    <a:pt x="54" y="204"/>
                  </a:lnTo>
                  <a:lnTo>
                    <a:pt x="54" y="204"/>
                  </a:lnTo>
                  <a:lnTo>
                    <a:pt x="52" y="206"/>
                  </a:lnTo>
                  <a:lnTo>
                    <a:pt x="50" y="208"/>
                  </a:lnTo>
                  <a:lnTo>
                    <a:pt x="46" y="209"/>
                  </a:lnTo>
                  <a:lnTo>
                    <a:pt x="46" y="209"/>
                  </a:lnTo>
                  <a:lnTo>
                    <a:pt x="44" y="209"/>
                  </a:lnTo>
                  <a:lnTo>
                    <a:pt x="44" y="211"/>
                  </a:lnTo>
                  <a:lnTo>
                    <a:pt x="42" y="213"/>
                  </a:lnTo>
                  <a:lnTo>
                    <a:pt x="33" y="219"/>
                  </a:lnTo>
                  <a:lnTo>
                    <a:pt x="20" y="227"/>
                  </a:lnTo>
                  <a:lnTo>
                    <a:pt x="18" y="227"/>
                  </a:lnTo>
                  <a:lnTo>
                    <a:pt x="16" y="230"/>
                  </a:lnTo>
                  <a:lnTo>
                    <a:pt x="14" y="230"/>
                  </a:lnTo>
                  <a:lnTo>
                    <a:pt x="10" y="232"/>
                  </a:lnTo>
                  <a:lnTo>
                    <a:pt x="6" y="234"/>
                  </a:lnTo>
                  <a:lnTo>
                    <a:pt x="4" y="236"/>
                  </a:lnTo>
                  <a:lnTo>
                    <a:pt x="4" y="236"/>
                  </a:lnTo>
                  <a:lnTo>
                    <a:pt x="2" y="238"/>
                  </a:lnTo>
                  <a:lnTo>
                    <a:pt x="2" y="240"/>
                  </a:lnTo>
                  <a:lnTo>
                    <a:pt x="2" y="240"/>
                  </a:lnTo>
                  <a:lnTo>
                    <a:pt x="2" y="242"/>
                  </a:lnTo>
                  <a:lnTo>
                    <a:pt x="0" y="244"/>
                  </a:lnTo>
                  <a:lnTo>
                    <a:pt x="0" y="249"/>
                  </a:lnTo>
                  <a:lnTo>
                    <a:pt x="0" y="251"/>
                  </a:lnTo>
                  <a:lnTo>
                    <a:pt x="0" y="251"/>
                  </a:lnTo>
                  <a:lnTo>
                    <a:pt x="0" y="253"/>
                  </a:lnTo>
                  <a:lnTo>
                    <a:pt x="2" y="255"/>
                  </a:lnTo>
                  <a:lnTo>
                    <a:pt x="4" y="257"/>
                  </a:lnTo>
                  <a:lnTo>
                    <a:pt x="4" y="259"/>
                  </a:lnTo>
                  <a:lnTo>
                    <a:pt x="4" y="259"/>
                  </a:lnTo>
                  <a:lnTo>
                    <a:pt x="4" y="263"/>
                  </a:lnTo>
                  <a:lnTo>
                    <a:pt x="4" y="267"/>
                  </a:lnTo>
                  <a:lnTo>
                    <a:pt x="4" y="267"/>
                  </a:lnTo>
                  <a:lnTo>
                    <a:pt x="4" y="268"/>
                  </a:lnTo>
                  <a:lnTo>
                    <a:pt x="4" y="268"/>
                  </a:lnTo>
                  <a:lnTo>
                    <a:pt x="4" y="270"/>
                  </a:lnTo>
                  <a:lnTo>
                    <a:pt x="4" y="272"/>
                  </a:lnTo>
                  <a:lnTo>
                    <a:pt x="4" y="272"/>
                  </a:lnTo>
                  <a:lnTo>
                    <a:pt x="6" y="274"/>
                  </a:lnTo>
                  <a:lnTo>
                    <a:pt x="6" y="274"/>
                  </a:lnTo>
                  <a:lnTo>
                    <a:pt x="8" y="276"/>
                  </a:lnTo>
                  <a:lnTo>
                    <a:pt x="8" y="276"/>
                  </a:lnTo>
                  <a:lnTo>
                    <a:pt x="10" y="278"/>
                  </a:lnTo>
                  <a:lnTo>
                    <a:pt x="10" y="280"/>
                  </a:lnTo>
                  <a:lnTo>
                    <a:pt x="12" y="280"/>
                  </a:lnTo>
                  <a:lnTo>
                    <a:pt x="14" y="282"/>
                  </a:lnTo>
                  <a:lnTo>
                    <a:pt x="14" y="282"/>
                  </a:lnTo>
                  <a:lnTo>
                    <a:pt x="18" y="284"/>
                  </a:lnTo>
                  <a:lnTo>
                    <a:pt x="20" y="284"/>
                  </a:lnTo>
                  <a:lnTo>
                    <a:pt x="20" y="284"/>
                  </a:lnTo>
                  <a:lnTo>
                    <a:pt x="20" y="286"/>
                  </a:lnTo>
                  <a:lnTo>
                    <a:pt x="20" y="287"/>
                  </a:lnTo>
                  <a:lnTo>
                    <a:pt x="20" y="289"/>
                  </a:lnTo>
                  <a:lnTo>
                    <a:pt x="18" y="291"/>
                  </a:lnTo>
                  <a:lnTo>
                    <a:pt x="18" y="293"/>
                  </a:lnTo>
                  <a:lnTo>
                    <a:pt x="18" y="293"/>
                  </a:lnTo>
                  <a:lnTo>
                    <a:pt x="20" y="295"/>
                  </a:lnTo>
                  <a:lnTo>
                    <a:pt x="20" y="297"/>
                  </a:lnTo>
                  <a:lnTo>
                    <a:pt x="20" y="297"/>
                  </a:lnTo>
                  <a:lnTo>
                    <a:pt x="20" y="301"/>
                  </a:lnTo>
                  <a:lnTo>
                    <a:pt x="20" y="303"/>
                  </a:lnTo>
                  <a:lnTo>
                    <a:pt x="20" y="306"/>
                  </a:lnTo>
                  <a:lnTo>
                    <a:pt x="21" y="306"/>
                  </a:lnTo>
                  <a:lnTo>
                    <a:pt x="29" y="308"/>
                  </a:lnTo>
                  <a:lnTo>
                    <a:pt x="35" y="308"/>
                  </a:lnTo>
                  <a:lnTo>
                    <a:pt x="41" y="308"/>
                  </a:lnTo>
                  <a:lnTo>
                    <a:pt x="42" y="308"/>
                  </a:lnTo>
                  <a:lnTo>
                    <a:pt x="44" y="306"/>
                  </a:lnTo>
                  <a:lnTo>
                    <a:pt x="46" y="305"/>
                  </a:lnTo>
                  <a:lnTo>
                    <a:pt x="46" y="305"/>
                  </a:lnTo>
                  <a:lnTo>
                    <a:pt x="48" y="306"/>
                  </a:lnTo>
                  <a:lnTo>
                    <a:pt x="50" y="306"/>
                  </a:lnTo>
                  <a:lnTo>
                    <a:pt x="50" y="306"/>
                  </a:lnTo>
                  <a:lnTo>
                    <a:pt x="52" y="305"/>
                  </a:lnTo>
                  <a:lnTo>
                    <a:pt x="56" y="305"/>
                  </a:lnTo>
                  <a:lnTo>
                    <a:pt x="58" y="305"/>
                  </a:lnTo>
                  <a:lnTo>
                    <a:pt x="60" y="303"/>
                  </a:lnTo>
                  <a:lnTo>
                    <a:pt x="60" y="301"/>
                  </a:lnTo>
                  <a:lnTo>
                    <a:pt x="61" y="301"/>
                  </a:lnTo>
                  <a:lnTo>
                    <a:pt x="61" y="301"/>
                  </a:lnTo>
                  <a:lnTo>
                    <a:pt x="63" y="301"/>
                  </a:lnTo>
                  <a:lnTo>
                    <a:pt x="63" y="299"/>
                  </a:lnTo>
                  <a:lnTo>
                    <a:pt x="63" y="299"/>
                  </a:lnTo>
                  <a:lnTo>
                    <a:pt x="63" y="295"/>
                  </a:lnTo>
                  <a:lnTo>
                    <a:pt x="65" y="295"/>
                  </a:lnTo>
                  <a:lnTo>
                    <a:pt x="65" y="295"/>
                  </a:lnTo>
                  <a:lnTo>
                    <a:pt x="65" y="295"/>
                  </a:lnTo>
                  <a:lnTo>
                    <a:pt x="67" y="297"/>
                  </a:lnTo>
                  <a:lnTo>
                    <a:pt x="71" y="303"/>
                  </a:lnTo>
                  <a:lnTo>
                    <a:pt x="73" y="308"/>
                  </a:lnTo>
                  <a:lnTo>
                    <a:pt x="73" y="310"/>
                  </a:lnTo>
                  <a:lnTo>
                    <a:pt x="75" y="312"/>
                  </a:lnTo>
                  <a:lnTo>
                    <a:pt x="75" y="312"/>
                  </a:lnTo>
                  <a:lnTo>
                    <a:pt x="77" y="312"/>
                  </a:lnTo>
                  <a:lnTo>
                    <a:pt x="77" y="312"/>
                  </a:lnTo>
                  <a:lnTo>
                    <a:pt x="77" y="310"/>
                  </a:lnTo>
                  <a:lnTo>
                    <a:pt x="77" y="310"/>
                  </a:lnTo>
                  <a:lnTo>
                    <a:pt x="77" y="308"/>
                  </a:lnTo>
                  <a:lnTo>
                    <a:pt x="77" y="308"/>
                  </a:lnTo>
                  <a:lnTo>
                    <a:pt x="77" y="308"/>
                  </a:lnTo>
                  <a:lnTo>
                    <a:pt x="79" y="308"/>
                  </a:lnTo>
                  <a:lnTo>
                    <a:pt x="79" y="308"/>
                  </a:lnTo>
                  <a:lnTo>
                    <a:pt x="79" y="310"/>
                  </a:lnTo>
                  <a:lnTo>
                    <a:pt x="79" y="310"/>
                  </a:lnTo>
                  <a:lnTo>
                    <a:pt x="79" y="312"/>
                  </a:lnTo>
                  <a:lnTo>
                    <a:pt x="81" y="312"/>
                  </a:lnTo>
                  <a:lnTo>
                    <a:pt x="81" y="312"/>
                  </a:lnTo>
                  <a:lnTo>
                    <a:pt x="81" y="310"/>
                  </a:lnTo>
                  <a:lnTo>
                    <a:pt x="81" y="310"/>
                  </a:lnTo>
                  <a:lnTo>
                    <a:pt x="81" y="308"/>
                  </a:lnTo>
                  <a:lnTo>
                    <a:pt x="81" y="308"/>
                  </a:lnTo>
                  <a:lnTo>
                    <a:pt x="82" y="306"/>
                  </a:lnTo>
                  <a:lnTo>
                    <a:pt x="82" y="306"/>
                  </a:lnTo>
                  <a:lnTo>
                    <a:pt x="84" y="306"/>
                  </a:lnTo>
                  <a:lnTo>
                    <a:pt x="84" y="306"/>
                  </a:lnTo>
                  <a:lnTo>
                    <a:pt x="86" y="306"/>
                  </a:lnTo>
                  <a:lnTo>
                    <a:pt x="86" y="306"/>
                  </a:lnTo>
                  <a:lnTo>
                    <a:pt x="86" y="306"/>
                  </a:lnTo>
                  <a:lnTo>
                    <a:pt x="88" y="308"/>
                  </a:lnTo>
                  <a:lnTo>
                    <a:pt x="88" y="308"/>
                  </a:lnTo>
                  <a:lnTo>
                    <a:pt x="88" y="306"/>
                  </a:lnTo>
                  <a:lnTo>
                    <a:pt x="90" y="306"/>
                  </a:lnTo>
                  <a:lnTo>
                    <a:pt x="90" y="306"/>
                  </a:lnTo>
                  <a:lnTo>
                    <a:pt x="92" y="306"/>
                  </a:lnTo>
                  <a:lnTo>
                    <a:pt x="92" y="306"/>
                  </a:lnTo>
                  <a:lnTo>
                    <a:pt x="94" y="308"/>
                  </a:lnTo>
                  <a:lnTo>
                    <a:pt x="94" y="312"/>
                  </a:lnTo>
                  <a:lnTo>
                    <a:pt x="92" y="312"/>
                  </a:lnTo>
                  <a:lnTo>
                    <a:pt x="92" y="314"/>
                  </a:lnTo>
                  <a:lnTo>
                    <a:pt x="92" y="316"/>
                  </a:lnTo>
                  <a:lnTo>
                    <a:pt x="94" y="318"/>
                  </a:lnTo>
                  <a:lnTo>
                    <a:pt x="96" y="320"/>
                  </a:lnTo>
                  <a:lnTo>
                    <a:pt x="98" y="320"/>
                  </a:lnTo>
                  <a:lnTo>
                    <a:pt x="98" y="322"/>
                  </a:lnTo>
                  <a:lnTo>
                    <a:pt x="101" y="324"/>
                  </a:lnTo>
                  <a:lnTo>
                    <a:pt x="103" y="325"/>
                  </a:lnTo>
                  <a:lnTo>
                    <a:pt x="103" y="325"/>
                  </a:lnTo>
                  <a:lnTo>
                    <a:pt x="105" y="327"/>
                  </a:lnTo>
                  <a:lnTo>
                    <a:pt x="105" y="327"/>
                  </a:lnTo>
                  <a:lnTo>
                    <a:pt x="107" y="329"/>
                  </a:lnTo>
                  <a:lnTo>
                    <a:pt x="107" y="329"/>
                  </a:lnTo>
                  <a:lnTo>
                    <a:pt x="109" y="329"/>
                  </a:lnTo>
                  <a:lnTo>
                    <a:pt x="109" y="329"/>
                  </a:lnTo>
                  <a:lnTo>
                    <a:pt x="111" y="329"/>
                  </a:lnTo>
                  <a:lnTo>
                    <a:pt x="113" y="327"/>
                  </a:lnTo>
                  <a:lnTo>
                    <a:pt x="113" y="325"/>
                  </a:lnTo>
                  <a:lnTo>
                    <a:pt x="113" y="325"/>
                  </a:lnTo>
                  <a:lnTo>
                    <a:pt x="113" y="324"/>
                  </a:lnTo>
                  <a:lnTo>
                    <a:pt x="117" y="322"/>
                  </a:lnTo>
                  <a:lnTo>
                    <a:pt x="117" y="322"/>
                  </a:lnTo>
                  <a:lnTo>
                    <a:pt x="117" y="320"/>
                  </a:lnTo>
                  <a:lnTo>
                    <a:pt x="117" y="320"/>
                  </a:lnTo>
                  <a:lnTo>
                    <a:pt x="119" y="320"/>
                  </a:lnTo>
                  <a:lnTo>
                    <a:pt x="119" y="322"/>
                  </a:lnTo>
                  <a:lnTo>
                    <a:pt x="121" y="322"/>
                  </a:lnTo>
                  <a:lnTo>
                    <a:pt x="121" y="322"/>
                  </a:lnTo>
                  <a:lnTo>
                    <a:pt x="122" y="322"/>
                  </a:lnTo>
                  <a:lnTo>
                    <a:pt x="124" y="322"/>
                  </a:lnTo>
                  <a:lnTo>
                    <a:pt x="124" y="322"/>
                  </a:lnTo>
                  <a:lnTo>
                    <a:pt x="126" y="318"/>
                  </a:lnTo>
                  <a:lnTo>
                    <a:pt x="126" y="316"/>
                  </a:lnTo>
                  <a:lnTo>
                    <a:pt x="128" y="316"/>
                  </a:lnTo>
                  <a:lnTo>
                    <a:pt x="132" y="312"/>
                  </a:lnTo>
                  <a:lnTo>
                    <a:pt x="134" y="312"/>
                  </a:lnTo>
                  <a:lnTo>
                    <a:pt x="136" y="310"/>
                  </a:lnTo>
                  <a:lnTo>
                    <a:pt x="136" y="310"/>
                  </a:lnTo>
                  <a:lnTo>
                    <a:pt x="138" y="310"/>
                  </a:lnTo>
                  <a:lnTo>
                    <a:pt x="138" y="310"/>
                  </a:lnTo>
                  <a:lnTo>
                    <a:pt x="140" y="310"/>
                  </a:lnTo>
                  <a:lnTo>
                    <a:pt x="140" y="316"/>
                  </a:lnTo>
                  <a:lnTo>
                    <a:pt x="142" y="316"/>
                  </a:lnTo>
                  <a:lnTo>
                    <a:pt x="143" y="316"/>
                  </a:lnTo>
                  <a:lnTo>
                    <a:pt x="143" y="316"/>
                  </a:lnTo>
                  <a:lnTo>
                    <a:pt x="143" y="316"/>
                  </a:lnTo>
                  <a:lnTo>
                    <a:pt x="143" y="316"/>
                  </a:lnTo>
                  <a:lnTo>
                    <a:pt x="145" y="322"/>
                  </a:lnTo>
                  <a:lnTo>
                    <a:pt x="145" y="324"/>
                  </a:lnTo>
                  <a:lnTo>
                    <a:pt x="147" y="324"/>
                  </a:lnTo>
                  <a:lnTo>
                    <a:pt x="151" y="325"/>
                  </a:lnTo>
                  <a:lnTo>
                    <a:pt x="153" y="324"/>
                  </a:lnTo>
                  <a:lnTo>
                    <a:pt x="155" y="324"/>
                  </a:lnTo>
                  <a:lnTo>
                    <a:pt x="157" y="322"/>
                  </a:lnTo>
                  <a:lnTo>
                    <a:pt x="162" y="320"/>
                  </a:lnTo>
                  <a:lnTo>
                    <a:pt x="164" y="320"/>
                  </a:lnTo>
                  <a:lnTo>
                    <a:pt x="164" y="322"/>
                  </a:lnTo>
                  <a:lnTo>
                    <a:pt x="162" y="324"/>
                  </a:lnTo>
                  <a:lnTo>
                    <a:pt x="162" y="325"/>
                  </a:lnTo>
                  <a:lnTo>
                    <a:pt x="164" y="325"/>
                  </a:lnTo>
                  <a:lnTo>
                    <a:pt x="164" y="325"/>
                  </a:lnTo>
                  <a:lnTo>
                    <a:pt x="168" y="322"/>
                  </a:lnTo>
                  <a:lnTo>
                    <a:pt x="170" y="320"/>
                  </a:lnTo>
                  <a:lnTo>
                    <a:pt x="170" y="320"/>
                  </a:lnTo>
                  <a:lnTo>
                    <a:pt x="170" y="320"/>
                  </a:lnTo>
                  <a:lnTo>
                    <a:pt x="170" y="318"/>
                  </a:lnTo>
                  <a:lnTo>
                    <a:pt x="170" y="318"/>
                  </a:lnTo>
                  <a:lnTo>
                    <a:pt x="172" y="316"/>
                  </a:lnTo>
                  <a:lnTo>
                    <a:pt x="180" y="314"/>
                  </a:lnTo>
                  <a:lnTo>
                    <a:pt x="180" y="312"/>
                  </a:lnTo>
                  <a:lnTo>
                    <a:pt x="182" y="312"/>
                  </a:lnTo>
                  <a:lnTo>
                    <a:pt x="182" y="312"/>
                  </a:lnTo>
                  <a:lnTo>
                    <a:pt x="182" y="310"/>
                  </a:lnTo>
                  <a:lnTo>
                    <a:pt x="183" y="310"/>
                  </a:lnTo>
                  <a:lnTo>
                    <a:pt x="189" y="310"/>
                  </a:lnTo>
                  <a:lnTo>
                    <a:pt x="191" y="308"/>
                  </a:lnTo>
                  <a:lnTo>
                    <a:pt x="197" y="308"/>
                  </a:lnTo>
                  <a:lnTo>
                    <a:pt x="199" y="308"/>
                  </a:lnTo>
                  <a:lnTo>
                    <a:pt x="201" y="308"/>
                  </a:lnTo>
                  <a:lnTo>
                    <a:pt x="201" y="308"/>
                  </a:lnTo>
                  <a:lnTo>
                    <a:pt x="202" y="308"/>
                  </a:lnTo>
                  <a:lnTo>
                    <a:pt x="202" y="310"/>
                  </a:lnTo>
                  <a:lnTo>
                    <a:pt x="204" y="308"/>
                  </a:lnTo>
                  <a:lnTo>
                    <a:pt x="206" y="306"/>
                  </a:lnTo>
                  <a:lnTo>
                    <a:pt x="206" y="306"/>
                  </a:lnTo>
                  <a:lnTo>
                    <a:pt x="208" y="305"/>
                  </a:lnTo>
                  <a:lnTo>
                    <a:pt x="208" y="305"/>
                  </a:lnTo>
                  <a:lnTo>
                    <a:pt x="208" y="303"/>
                  </a:lnTo>
                  <a:lnTo>
                    <a:pt x="210" y="303"/>
                  </a:lnTo>
                  <a:lnTo>
                    <a:pt x="212" y="305"/>
                  </a:lnTo>
                  <a:lnTo>
                    <a:pt x="212" y="305"/>
                  </a:lnTo>
                  <a:lnTo>
                    <a:pt x="216" y="305"/>
                  </a:lnTo>
                  <a:lnTo>
                    <a:pt x="216" y="303"/>
                  </a:lnTo>
                  <a:lnTo>
                    <a:pt x="216" y="303"/>
                  </a:lnTo>
                  <a:lnTo>
                    <a:pt x="216" y="299"/>
                  </a:lnTo>
                  <a:lnTo>
                    <a:pt x="216" y="297"/>
                  </a:lnTo>
                  <a:lnTo>
                    <a:pt x="216" y="297"/>
                  </a:lnTo>
                  <a:lnTo>
                    <a:pt x="216" y="295"/>
                  </a:lnTo>
                  <a:lnTo>
                    <a:pt x="216" y="295"/>
                  </a:lnTo>
                  <a:lnTo>
                    <a:pt x="216" y="295"/>
                  </a:lnTo>
                  <a:lnTo>
                    <a:pt x="216" y="293"/>
                  </a:lnTo>
                  <a:lnTo>
                    <a:pt x="218" y="293"/>
                  </a:lnTo>
                  <a:lnTo>
                    <a:pt x="220" y="293"/>
                  </a:lnTo>
                  <a:lnTo>
                    <a:pt x="220" y="291"/>
                  </a:lnTo>
                  <a:lnTo>
                    <a:pt x="220" y="287"/>
                  </a:lnTo>
                  <a:lnTo>
                    <a:pt x="220" y="287"/>
                  </a:lnTo>
                  <a:lnTo>
                    <a:pt x="222" y="286"/>
                  </a:lnTo>
                  <a:lnTo>
                    <a:pt x="222" y="284"/>
                  </a:lnTo>
                  <a:lnTo>
                    <a:pt x="223" y="282"/>
                  </a:lnTo>
                  <a:lnTo>
                    <a:pt x="223" y="282"/>
                  </a:lnTo>
                  <a:lnTo>
                    <a:pt x="233" y="282"/>
                  </a:lnTo>
                  <a:lnTo>
                    <a:pt x="233" y="282"/>
                  </a:lnTo>
                  <a:lnTo>
                    <a:pt x="235" y="284"/>
                  </a:lnTo>
                  <a:lnTo>
                    <a:pt x="239" y="289"/>
                  </a:lnTo>
                  <a:lnTo>
                    <a:pt x="244" y="289"/>
                  </a:lnTo>
                  <a:lnTo>
                    <a:pt x="248" y="286"/>
                  </a:lnTo>
                  <a:lnTo>
                    <a:pt x="250" y="286"/>
                  </a:lnTo>
                  <a:lnTo>
                    <a:pt x="252" y="284"/>
                  </a:lnTo>
                  <a:lnTo>
                    <a:pt x="252" y="286"/>
                  </a:lnTo>
                  <a:lnTo>
                    <a:pt x="252" y="286"/>
                  </a:lnTo>
                  <a:lnTo>
                    <a:pt x="252" y="287"/>
                  </a:lnTo>
                  <a:lnTo>
                    <a:pt x="250" y="287"/>
                  </a:lnTo>
                  <a:lnTo>
                    <a:pt x="252" y="287"/>
                  </a:lnTo>
                  <a:lnTo>
                    <a:pt x="252" y="287"/>
                  </a:lnTo>
                  <a:lnTo>
                    <a:pt x="254" y="289"/>
                  </a:lnTo>
                  <a:lnTo>
                    <a:pt x="256" y="289"/>
                  </a:lnTo>
                  <a:lnTo>
                    <a:pt x="258" y="289"/>
                  </a:lnTo>
                  <a:lnTo>
                    <a:pt x="258" y="291"/>
                  </a:lnTo>
                  <a:lnTo>
                    <a:pt x="258" y="299"/>
                  </a:lnTo>
                  <a:lnTo>
                    <a:pt x="260" y="301"/>
                  </a:lnTo>
                  <a:lnTo>
                    <a:pt x="260" y="303"/>
                  </a:lnTo>
                  <a:lnTo>
                    <a:pt x="262" y="305"/>
                  </a:lnTo>
                  <a:lnTo>
                    <a:pt x="263" y="305"/>
                  </a:lnTo>
                  <a:lnTo>
                    <a:pt x="265" y="305"/>
                  </a:lnTo>
                  <a:lnTo>
                    <a:pt x="267" y="303"/>
                  </a:lnTo>
                  <a:lnTo>
                    <a:pt x="269" y="303"/>
                  </a:lnTo>
                  <a:lnTo>
                    <a:pt x="271" y="305"/>
                  </a:lnTo>
                  <a:lnTo>
                    <a:pt x="275" y="305"/>
                  </a:lnTo>
                  <a:lnTo>
                    <a:pt x="275" y="305"/>
                  </a:lnTo>
                  <a:lnTo>
                    <a:pt x="275" y="306"/>
                  </a:lnTo>
                  <a:lnTo>
                    <a:pt x="277" y="310"/>
                  </a:lnTo>
                  <a:lnTo>
                    <a:pt x="275" y="310"/>
                  </a:lnTo>
                  <a:lnTo>
                    <a:pt x="275" y="312"/>
                  </a:lnTo>
                  <a:lnTo>
                    <a:pt x="273" y="314"/>
                  </a:lnTo>
                  <a:lnTo>
                    <a:pt x="273" y="314"/>
                  </a:lnTo>
                  <a:lnTo>
                    <a:pt x="273" y="316"/>
                  </a:lnTo>
                  <a:lnTo>
                    <a:pt x="281" y="320"/>
                  </a:lnTo>
                  <a:lnTo>
                    <a:pt x="286" y="324"/>
                  </a:lnTo>
                  <a:lnTo>
                    <a:pt x="288" y="325"/>
                  </a:lnTo>
                  <a:lnTo>
                    <a:pt x="290" y="325"/>
                  </a:lnTo>
                  <a:lnTo>
                    <a:pt x="290" y="324"/>
                  </a:lnTo>
                  <a:lnTo>
                    <a:pt x="290" y="324"/>
                  </a:lnTo>
                  <a:lnTo>
                    <a:pt x="290" y="322"/>
                  </a:lnTo>
                  <a:lnTo>
                    <a:pt x="290" y="322"/>
                  </a:lnTo>
                  <a:lnTo>
                    <a:pt x="290" y="320"/>
                  </a:lnTo>
                  <a:lnTo>
                    <a:pt x="290" y="320"/>
                  </a:lnTo>
                  <a:lnTo>
                    <a:pt x="292" y="320"/>
                  </a:lnTo>
                  <a:lnTo>
                    <a:pt x="292" y="318"/>
                  </a:lnTo>
                  <a:lnTo>
                    <a:pt x="292" y="314"/>
                  </a:lnTo>
                  <a:lnTo>
                    <a:pt x="294" y="312"/>
                  </a:lnTo>
                  <a:lnTo>
                    <a:pt x="294" y="310"/>
                  </a:lnTo>
                  <a:lnTo>
                    <a:pt x="298" y="308"/>
                  </a:lnTo>
                  <a:lnTo>
                    <a:pt x="302" y="303"/>
                  </a:lnTo>
                  <a:lnTo>
                    <a:pt x="303" y="303"/>
                  </a:lnTo>
                  <a:lnTo>
                    <a:pt x="305" y="305"/>
                  </a:lnTo>
                  <a:lnTo>
                    <a:pt x="307" y="305"/>
                  </a:lnTo>
                  <a:lnTo>
                    <a:pt x="309" y="305"/>
                  </a:lnTo>
                  <a:lnTo>
                    <a:pt x="311" y="305"/>
                  </a:lnTo>
                  <a:lnTo>
                    <a:pt x="313" y="305"/>
                  </a:lnTo>
                  <a:lnTo>
                    <a:pt x="315" y="303"/>
                  </a:lnTo>
                  <a:lnTo>
                    <a:pt x="317" y="301"/>
                  </a:lnTo>
                  <a:lnTo>
                    <a:pt x="317" y="301"/>
                  </a:lnTo>
                  <a:lnTo>
                    <a:pt x="317" y="301"/>
                  </a:lnTo>
                  <a:lnTo>
                    <a:pt x="319" y="301"/>
                  </a:lnTo>
                  <a:lnTo>
                    <a:pt x="321" y="301"/>
                  </a:lnTo>
                  <a:lnTo>
                    <a:pt x="323" y="305"/>
                  </a:lnTo>
                  <a:lnTo>
                    <a:pt x="330" y="306"/>
                  </a:lnTo>
                  <a:lnTo>
                    <a:pt x="330" y="306"/>
                  </a:lnTo>
                  <a:lnTo>
                    <a:pt x="330" y="305"/>
                  </a:lnTo>
                  <a:lnTo>
                    <a:pt x="330" y="303"/>
                  </a:lnTo>
                  <a:lnTo>
                    <a:pt x="330" y="301"/>
                  </a:lnTo>
                  <a:lnTo>
                    <a:pt x="332" y="299"/>
                  </a:lnTo>
                  <a:lnTo>
                    <a:pt x="332" y="299"/>
                  </a:lnTo>
                  <a:lnTo>
                    <a:pt x="334" y="297"/>
                  </a:lnTo>
                  <a:lnTo>
                    <a:pt x="336" y="299"/>
                  </a:lnTo>
                  <a:lnTo>
                    <a:pt x="342" y="301"/>
                  </a:lnTo>
                  <a:lnTo>
                    <a:pt x="343" y="301"/>
                  </a:lnTo>
                  <a:lnTo>
                    <a:pt x="343" y="301"/>
                  </a:lnTo>
                  <a:lnTo>
                    <a:pt x="345" y="299"/>
                  </a:lnTo>
                  <a:lnTo>
                    <a:pt x="345" y="297"/>
                  </a:lnTo>
                  <a:lnTo>
                    <a:pt x="345" y="295"/>
                  </a:lnTo>
                  <a:lnTo>
                    <a:pt x="347" y="293"/>
                  </a:lnTo>
                  <a:lnTo>
                    <a:pt x="345" y="289"/>
                  </a:lnTo>
                  <a:lnTo>
                    <a:pt x="347" y="284"/>
                  </a:lnTo>
                  <a:lnTo>
                    <a:pt x="347" y="284"/>
                  </a:lnTo>
                  <a:lnTo>
                    <a:pt x="347" y="282"/>
                  </a:lnTo>
                  <a:lnTo>
                    <a:pt x="347" y="282"/>
                  </a:lnTo>
                  <a:lnTo>
                    <a:pt x="347" y="280"/>
                  </a:lnTo>
                  <a:lnTo>
                    <a:pt x="347" y="280"/>
                  </a:lnTo>
                  <a:lnTo>
                    <a:pt x="347" y="280"/>
                  </a:lnTo>
                  <a:lnTo>
                    <a:pt x="349" y="276"/>
                  </a:lnTo>
                  <a:lnTo>
                    <a:pt x="351" y="274"/>
                  </a:lnTo>
                  <a:lnTo>
                    <a:pt x="351" y="274"/>
                  </a:lnTo>
                  <a:lnTo>
                    <a:pt x="351" y="272"/>
                  </a:lnTo>
                  <a:lnTo>
                    <a:pt x="351" y="261"/>
                  </a:lnTo>
                  <a:lnTo>
                    <a:pt x="351" y="261"/>
                  </a:lnTo>
                  <a:lnTo>
                    <a:pt x="351" y="259"/>
                  </a:lnTo>
                  <a:lnTo>
                    <a:pt x="355" y="255"/>
                  </a:lnTo>
                  <a:lnTo>
                    <a:pt x="357" y="253"/>
                  </a:lnTo>
                  <a:lnTo>
                    <a:pt x="357" y="253"/>
                  </a:lnTo>
                  <a:lnTo>
                    <a:pt x="361" y="251"/>
                  </a:lnTo>
                  <a:lnTo>
                    <a:pt x="361" y="251"/>
                  </a:lnTo>
                  <a:lnTo>
                    <a:pt x="364" y="251"/>
                  </a:lnTo>
                  <a:lnTo>
                    <a:pt x="364" y="251"/>
                  </a:lnTo>
                  <a:lnTo>
                    <a:pt x="364" y="251"/>
                  </a:lnTo>
                  <a:lnTo>
                    <a:pt x="366" y="246"/>
                  </a:lnTo>
                  <a:lnTo>
                    <a:pt x="366" y="244"/>
                  </a:lnTo>
                  <a:lnTo>
                    <a:pt x="366" y="242"/>
                  </a:lnTo>
                  <a:lnTo>
                    <a:pt x="368" y="240"/>
                  </a:lnTo>
                  <a:lnTo>
                    <a:pt x="368" y="240"/>
                  </a:lnTo>
                  <a:lnTo>
                    <a:pt x="372" y="240"/>
                  </a:lnTo>
                  <a:lnTo>
                    <a:pt x="372" y="240"/>
                  </a:lnTo>
                  <a:lnTo>
                    <a:pt x="372" y="238"/>
                  </a:lnTo>
                  <a:lnTo>
                    <a:pt x="372" y="238"/>
                  </a:lnTo>
                  <a:lnTo>
                    <a:pt x="374" y="238"/>
                  </a:lnTo>
                  <a:lnTo>
                    <a:pt x="374" y="240"/>
                  </a:lnTo>
                  <a:lnTo>
                    <a:pt x="376" y="240"/>
                  </a:lnTo>
                  <a:lnTo>
                    <a:pt x="378" y="240"/>
                  </a:lnTo>
                  <a:lnTo>
                    <a:pt x="380" y="240"/>
                  </a:lnTo>
                  <a:lnTo>
                    <a:pt x="380" y="238"/>
                  </a:lnTo>
                  <a:lnTo>
                    <a:pt x="380" y="236"/>
                  </a:lnTo>
                  <a:lnTo>
                    <a:pt x="382" y="234"/>
                  </a:lnTo>
                  <a:lnTo>
                    <a:pt x="382" y="234"/>
                  </a:lnTo>
                  <a:lnTo>
                    <a:pt x="382" y="232"/>
                  </a:lnTo>
                  <a:lnTo>
                    <a:pt x="382" y="232"/>
                  </a:lnTo>
                  <a:lnTo>
                    <a:pt x="384" y="230"/>
                  </a:lnTo>
                  <a:lnTo>
                    <a:pt x="387" y="227"/>
                  </a:lnTo>
                  <a:lnTo>
                    <a:pt x="389" y="227"/>
                  </a:lnTo>
                  <a:lnTo>
                    <a:pt x="389" y="227"/>
                  </a:lnTo>
                  <a:lnTo>
                    <a:pt x="389" y="227"/>
                  </a:lnTo>
                  <a:lnTo>
                    <a:pt x="391" y="227"/>
                  </a:lnTo>
                  <a:lnTo>
                    <a:pt x="391" y="227"/>
                  </a:lnTo>
                  <a:lnTo>
                    <a:pt x="393" y="228"/>
                  </a:lnTo>
                  <a:lnTo>
                    <a:pt x="393" y="228"/>
                  </a:lnTo>
                  <a:lnTo>
                    <a:pt x="395" y="230"/>
                  </a:lnTo>
                  <a:lnTo>
                    <a:pt x="395" y="232"/>
                  </a:lnTo>
                  <a:lnTo>
                    <a:pt x="401" y="232"/>
                  </a:lnTo>
                  <a:lnTo>
                    <a:pt x="403" y="234"/>
                  </a:lnTo>
                  <a:lnTo>
                    <a:pt x="406" y="232"/>
                  </a:lnTo>
                  <a:lnTo>
                    <a:pt x="410" y="234"/>
                  </a:lnTo>
                  <a:lnTo>
                    <a:pt x="410" y="234"/>
                  </a:lnTo>
                  <a:lnTo>
                    <a:pt x="412" y="234"/>
                  </a:lnTo>
                  <a:lnTo>
                    <a:pt x="412" y="236"/>
                  </a:lnTo>
                  <a:lnTo>
                    <a:pt x="412" y="236"/>
                  </a:lnTo>
                  <a:lnTo>
                    <a:pt x="416" y="234"/>
                  </a:lnTo>
                  <a:lnTo>
                    <a:pt x="418" y="230"/>
                  </a:lnTo>
                  <a:lnTo>
                    <a:pt x="418" y="228"/>
                  </a:lnTo>
                  <a:lnTo>
                    <a:pt x="416" y="228"/>
                  </a:lnTo>
                  <a:lnTo>
                    <a:pt x="416" y="227"/>
                  </a:lnTo>
                  <a:lnTo>
                    <a:pt x="416" y="225"/>
                  </a:lnTo>
                  <a:lnTo>
                    <a:pt x="416" y="223"/>
                  </a:lnTo>
                  <a:lnTo>
                    <a:pt x="414" y="223"/>
                  </a:lnTo>
                  <a:lnTo>
                    <a:pt x="414" y="221"/>
                  </a:lnTo>
                  <a:lnTo>
                    <a:pt x="414" y="221"/>
                  </a:lnTo>
                  <a:lnTo>
                    <a:pt x="414" y="221"/>
                  </a:lnTo>
                  <a:lnTo>
                    <a:pt x="412" y="221"/>
                  </a:lnTo>
                  <a:lnTo>
                    <a:pt x="412" y="221"/>
                  </a:lnTo>
                  <a:lnTo>
                    <a:pt x="412" y="221"/>
                  </a:lnTo>
                  <a:lnTo>
                    <a:pt x="412" y="221"/>
                  </a:lnTo>
                  <a:lnTo>
                    <a:pt x="412" y="221"/>
                  </a:lnTo>
                  <a:lnTo>
                    <a:pt x="412" y="221"/>
                  </a:lnTo>
                  <a:lnTo>
                    <a:pt x="410" y="219"/>
                  </a:lnTo>
                  <a:lnTo>
                    <a:pt x="410" y="219"/>
                  </a:lnTo>
                  <a:lnTo>
                    <a:pt x="410" y="219"/>
                  </a:lnTo>
                  <a:lnTo>
                    <a:pt x="410" y="219"/>
                  </a:lnTo>
                  <a:lnTo>
                    <a:pt x="408" y="219"/>
                  </a:lnTo>
                  <a:lnTo>
                    <a:pt x="408" y="217"/>
                  </a:lnTo>
                  <a:lnTo>
                    <a:pt x="408" y="217"/>
                  </a:lnTo>
                  <a:lnTo>
                    <a:pt x="408" y="217"/>
                  </a:lnTo>
                  <a:lnTo>
                    <a:pt x="410" y="217"/>
                  </a:lnTo>
                  <a:lnTo>
                    <a:pt x="410" y="215"/>
                  </a:lnTo>
                  <a:lnTo>
                    <a:pt x="410" y="215"/>
                  </a:lnTo>
                  <a:lnTo>
                    <a:pt x="410" y="215"/>
                  </a:lnTo>
                  <a:lnTo>
                    <a:pt x="410" y="215"/>
                  </a:lnTo>
                  <a:lnTo>
                    <a:pt x="410" y="215"/>
                  </a:lnTo>
                  <a:lnTo>
                    <a:pt x="410" y="213"/>
                  </a:lnTo>
                  <a:lnTo>
                    <a:pt x="412" y="213"/>
                  </a:lnTo>
                  <a:lnTo>
                    <a:pt x="416" y="211"/>
                  </a:lnTo>
                  <a:lnTo>
                    <a:pt x="418" y="211"/>
                  </a:lnTo>
                  <a:lnTo>
                    <a:pt x="420" y="209"/>
                  </a:lnTo>
                  <a:lnTo>
                    <a:pt x="420" y="209"/>
                  </a:lnTo>
                  <a:lnTo>
                    <a:pt x="422" y="208"/>
                  </a:lnTo>
                  <a:lnTo>
                    <a:pt x="422" y="208"/>
                  </a:lnTo>
                  <a:lnTo>
                    <a:pt x="422" y="208"/>
                  </a:lnTo>
                  <a:lnTo>
                    <a:pt x="422" y="208"/>
                  </a:lnTo>
                  <a:lnTo>
                    <a:pt x="422" y="208"/>
                  </a:lnTo>
                  <a:lnTo>
                    <a:pt x="425" y="206"/>
                  </a:lnTo>
                  <a:lnTo>
                    <a:pt x="427" y="206"/>
                  </a:lnTo>
                  <a:lnTo>
                    <a:pt x="429" y="204"/>
                  </a:lnTo>
                  <a:lnTo>
                    <a:pt x="429" y="206"/>
                  </a:lnTo>
                  <a:lnTo>
                    <a:pt x="431" y="206"/>
                  </a:lnTo>
                  <a:lnTo>
                    <a:pt x="431" y="206"/>
                  </a:lnTo>
                  <a:lnTo>
                    <a:pt x="431" y="208"/>
                  </a:lnTo>
                  <a:lnTo>
                    <a:pt x="433" y="208"/>
                  </a:lnTo>
                  <a:lnTo>
                    <a:pt x="439" y="209"/>
                  </a:lnTo>
                  <a:lnTo>
                    <a:pt x="439" y="208"/>
                  </a:lnTo>
                  <a:lnTo>
                    <a:pt x="439" y="206"/>
                  </a:lnTo>
                  <a:lnTo>
                    <a:pt x="439" y="206"/>
                  </a:lnTo>
                  <a:lnTo>
                    <a:pt x="439" y="204"/>
                  </a:lnTo>
                  <a:lnTo>
                    <a:pt x="437" y="204"/>
                  </a:lnTo>
                  <a:lnTo>
                    <a:pt x="437" y="204"/>
                  </a:lnTo>
                  <a:lnTo>
                    <a:pt x="437" y="204"/>
                  </a:lnTo>
                  <a:lnTo>
                    <a:pt x="437" y="202"/>
                  </a:lnTo>
                  <a:lnTo>
                    <a:pt x="437" y="200"/>
                  </a:lnTo>
                  <a:lnTo>
                    <a:pt x="437" y="196"/>
                  </a:lnTo>
                  <a:lnTo>
                    <a:pt x="437" y="196"/>
                  </a:lnTo>
                  <a:lnTo>
                    <a:pt x="437" y="194"/>
                  </a:lnTo>
                  <a:lnTo>
                    <a:pt x="437" y="192"/>
                  </a:lnTo>
                  <a:lnTo>
                    <a:pt x="437" y="190"/>
                  </a:lnTo>
                  <a:lnTo>
                    <a:pt x="437" y="190"/>
                  </a:lnTo>
                  <a:lnTo>
                    <a:pt x="435" y="189"/>
                  </a:lnTo>
                  <a:lnTo>
                    <a:pt x="433" y="187"/>
                  </a:lnTo>
                  <a:lnTo>
                    <a:pt x="427" y="183"/>
                  </a:lnTo>
                  <a:lnTo>
                    <a:pt x="425" y="183"/>
                  </a:lnTo>
                  <a:lnTo>
                    <a:pt x="424" y="181"/>
                  </a:lnTo>
                  <a:lnTo>
                    <a:pt x="424" y="179"/>
                  </a:lnTo>
                  <a:lnTo>
                    <a:pt x="424" y="179"/>
                  </a:lnTo>
                  <a:lnTo>
                    <a:pt x="422" y="177"/>
                  </a:lnTo>
                  <a:lnTo>
                    <a:pt x="422" y="175"/>
                  </a:lnTo>
                  <a:lnTo>
                    <a:pt x="422" y="175"/>
                  </a:lnTo>
                  <a:lnTo>
                    <a:pt x="422" y="175"/>
                  </a:lnTo>
                  <a:lnTo>
                    <a:pt x="420" y="173"/>
                  </a:lnTo>
                  <a:lnTo>
                    <a:pt x="420" y="171"/>
                  </a:lnTo>
                  <a:lnTo>
                    <a:pt x="416" y="171"/>
                  </a:lnTo>
                  <a:lnTo>
                    <a:pt x="414" y="170"/>
                  </a:lnTo>
                  <a:lnTo>
                    <a:pt x="414" y="170"/>
                  </a:lnTo>
                  <a:lnTo>
                    <a:pt x="414" y="168"/>
                  </a:lnTo>
                  <a:lnTo>
                    <a:pt x="414" y="168"/>
                  </a:lnTo>
                  <a:lnTo>
                    <a:pt x="414" y="168"/>
                  </a:lnTo>
                  <a:lnTo>
                    <a:pt x="414" y="168"/>
                  </a:lnTo>
                  <a:lnTo>
                    <a:pt x="412" y="166"/>
                  </a:lnTo>
                  <a:lnTo>
                    <a:pt x="412" y="166"/>
                  </a:lnTo>
                  <a:lnTo>
                    <a:pt x="412" y="166"/>
                  </a:lnTo>
                  <a:lnTo>
                    <a:pt x="412" y="166"/>
                  </a:lnTo>
                  <a:lnTo>
                    <a:pt x="414" y="164"/>
                  </a:lnTo>
                  <a:lnTo>
                    <a:pt x="414" y="164"/>
                  </a:lnTo>
                  <a:lnTo>
                    <a:pt x="416" y="164"/>
                  </a:lnTo>
                  <a:lnTo>
                    <a:pt x="416" y="164"/>
                  </a:lnTo>
                  <a:lnTo>
                    <a:pt x="416" y="164"/>
                  </a:lnTo>
                  <a:lnTo>
                    <a:pt x="416" y="160"/>
                  </a:lnTo>
                  <a:lnTo>
                    <a:pt x="416" y="158"/>
                  </a:lnTo>
                  <a:lnTo>
                    <a:pt x="416" y="158"/>
                  </a:lnTo>
                  <a:lnTo>
                    <a:pt x="416" y="156"/>
                  </a:lnTo>
                  <a:lnTo>
                    <a:pt x="416" y="156"/>
                  </a:lnTo>
                  <a:lnTo>
                    <a:pt x="416" y="156"/>
                  </a:lnTo>
                  <a:lnTo>
                    <a:pt x="416" y="156"/>
                  </a:lnTo>
                  <a:lnTo>
                    <a:pt x="418" y="154"/>
                  </a:lnTo>
                  <a:lnTo>
                    <a:pt x="420" y="152"/>
                  </a:lnTo>
                  <a:lnTo>
                    <a:pt x="427" y="147"/>
                  </a:lnTo>
                  <a:lnTo>
                    <a:pt x="429" y="143"/>
                  </a:lnTo>
                  <a:lnTo>
                    <a:pt x="431" y="141"/>
                  </a:lnTo>
                  <a:lnTo>
                    <a:pt x="431" y="141"/>
                  </a:lnTo>
                  <a:lnTo>
                    <a:pt x="431" y="141"/>
                  </a:lnTo>
                  <a:lnTo>
                    <a:pt x="433" y="141"/>
                  </a:lnTo>
                  <a:lnTo>
                    <a:pt x="433" y="141"/>
                  </a:lnTo>
                  <a:lnTo>
                    <a:pt x="433" y="141"/>
                  </a:lnTo>
                  <a:lnTo>
                    <a:pt x="437" y="139"/>
                  </a:lnTo>
                  <a:lnTo>
                    <a:pt x="437" y="139"/>
                  </a:lnTo>
                  <a:lnTo>
                    <a:pt x="439" y="137"/>
                  </a:lnTo>
                  <a:lnTo>
                    <a:pt x="441" y="137"/>
                  </a:lnTo>
                  <a:lnTo>
                    <a:pt x="441" y="135"/>
                  </a:lnTo>
                  <a:lnTo>
                    <a:pt x="443" y="133"/>
                  </a:lnTo>
                  <a:lnTo>
                    <a:pt x="446" y="130"/>
                  </a:lnTo>
                  <a:lnTo>
                    <a:pt x="448" y="128"/>
                  </a:lnTo>
                  <a:lnTo>
                    <a:pt x="448" y="128"/>
                  </a:lnTo>
                  <a:lnTo>
                    <a:pt x="452" y="126"/>
                  </a:lnTo>
                  <a:lnTo>
                    <a:pt x="452" y="126"/>
                  </a:lnTo>
                  <a:lnTo>
                    <a:pt x="456" y="124"/>
                  </a:lnTo>
                  <a:lnTo>
                    <a:pt x="456" y="122"/>
                  </a:lnTo>
                  <a:lnTo>
                    <a:pt x="458" y="122"/>
                  </a:lnTo>
                  <a:lnTo>
                    <a:pt x="460" y="122"/>
                  </a:lnTo>
                  <a:lnTo>
                    <a:pt x="460" y="122"/>
                  </a:lnTo>
                  <a:lnTo>
                    <a:pt x="460" y="122"/>
                  </a:lnTo>
                  <a:lnTo>
                    <a:pt x="460" y="122"/>
                  </a:lnTo>
                  <a:lnTo>
                    <a:pt x="460" y="120"/>
                  </a:lnTo>
                  <a:lnTo>
                    <a:pt x="460" y="120"/>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8" name="Freeform 70">
              <a:extLst>
                <a:ext uri="{FF2B5EF4-FFF2-40B4-BE49-F238E27FC236}">
                  <a16:creationId xmlns:a16="http://schemas.microsoft.com/office/drawing/2014/main" id="{55AC500C-CE3E-CD0F-E975-C3CC48AE3C24}"/>
                </a:ext>
              </a:extLst>
            </p:cNvPr>
            <p:cNvSpPr>
              <a:spLocks/>
            </p:cNvSpPr>
            <p:nvPr/>
          </p:nvSpPr>
          <p:spPr bwMode="auto">
            <a:xfrm>
              <a:off x="6929438" y="2974188"/>
              <a:ext cx="931863" cy="627063"/>
            </a:xfrm>
            <a:custGeom>
              <a:avLst/>
              <a:gdLst>
                <a:gd name="T0" fmla="*/ 576 w 587"/>
                <a:gd name="T1" fmla="*/ 57 h 395"/>
                <a:gd name="T2" fmla="*/ 566 w 587"/>
                <a:gd name="T3" fmla="*/ 36 h 395"/>
                <a:gd name="T4" fmla="*/ 544 w 587"/>
                <a:gd name="T5" fmla="*/ 9 h 395"/>
                <a:gd name="T6" fmla="*/ 462 w 587"/>
                <a:gd name="T7" fmla="*/ 34 h 395"/>
                <a:gd name="T8" fmla="*/ 425 w 587"/>
                <a:gd name="T9" fmla="*/ 36 h 395"/>
                <a:gd name="T10" fmla="*/ 397 w 587"/>
                <a:gd name="T11" fmla="*/ 70 h 395"/>
                <a:gd name="T12" fmla="*/ 359 w 587"/>
                <a:gd name="T13" fmla="*/ 106 h 395"/>
                <a:gd name="T14" fmla="*/ 292 w 587"/>
                <a:gd name="T15" fmla="*/ 97 h 395"/>
                <a:gd name="T16" fmla="*/ 223 w 587"/>
                <a:gd name="T17" fmla="*/ 110 h 395"/>
                <a:gd name="T18" fmla="*/ 202 w 587"/>
                <a:gd name="T19" fmla="*/ 118 h 395"/>
                <a:gd name="T20" fmla="*/ 161 w 587"/>
                <a:gd name="T21" fmla="*/ 118 h 395"/>
                <a:gd name="T22" fmla="*/ 119 w 587"/>
                <a:gd name="T23" fmla="*/ 125 h 395"/>
                <a:gd name="T24" fmla="*/ 29 w 587"/>
                <a:gd name="T25" fmla="*/ 131 h 395"/>
                <a:gd name="T26" fmla="*/ 18 w 587"/>
                <a:gd name="T27" fmla="*/ 167 h 395"/>
                <a:gd name="T28" fmla="*/ 8 w 587"/>
                <a:gd name="T29" fmla="*/ 180 h 395"/>
                <a:gd name="T30" fmla="*/ 6 w 587"/>
                <a:gd name="T31" fmla="*/ 190 h 395"/>
                <a:gd name="T32" fmla="*/ 14 w 587"/>
                <a:gd name="T33" fmla="*/ 205 h 395"/>
                <a:gd name="T34" fmla="*/ 16 w 587"/>
                <a:gd name="T35" fmla="*/ 251 h 395"/>
                <a:gd name="T36" fmla="*/ 31 w 587"/>
                <a:gd name="T37" fmla="*/ 249 h 395"/>
                <a:gd name="T38" fmla="*/ 29 w 587"/>
                <a:gd name="T39" fmla="*/ 230 h 395"/>
                <a:gd name="T40" fmla="*/ 61 w 587"/>
                <a:gd name="T41" fmla="*/ 207 h 395"/>
                <a:gd name="T42" fmla="*/ 82 w 587"/>
                <a:gd name="T43" fmla="*/ 213 h 395"/>
                <a:gd name="T44" fmla="*/ 92 w 587"/>
                <a:gd name="T45" fmla="*/ 213 h 395"/>
                <a:gd name="T46" fmla="*/ 122 w 587"/>
                <a:gd name="T47" fmla="*/ 211 h 395"/>
                <a:gd name="T48" fmla="*/ 132 w 587"/>
                <a:gd name="T49" fmla="*/ 222 h 395"/>
                <a:gd name="T50" fmla="*/ 157 w 587"/>
                <a:gd name="T51" fmla="*/ 222 h 395"/>
                <a:gd name="T52" fmla="*/ 174 w 587"/>
                <a:gd name="T53" fmla="*/ 209 h 395"/>
                <a:gd name="T54" fmla="*/ 183 w 587"/>
                <a:gd name="T55" fmla="*/ 213 h 395"/>
                <a:gd name="T56" fmla="*/ 208 w 587"/>
                <a:gd name="T57" fmla="*/ 201 h 395"/>
                <a:gd name="T58" fmla="*/ 233 w 587"/>
                <a:gd name="T59" fmla="*/ 207 h 395"/>
                <a:gd name="T60" fmla="*/ 233 w 587"/>
                <a:gd name="T61" fmla="*/ 238 h 395"/>
                <a:gd name="T62" fmla="*/ 265 w 587"/>
                <a:gd name="T63" fmla="*/ 239 h 395"/>
                <a:gd name="T64" fmla="*/ 279 w 587"/>
                <a:gd name="T65" fmla="*/ 249 h 395"/>
                <a:gd name="T66" fmla="*/ 281 w 587"/>
                <a:gd name="T67" fmla="*/ 264 h 395"/>
                <a:gd name="T68" fmla="*/ 290 w 587"/>
                <a:gd name="T69" fmla="*/ 281 h 395"/>
                <a:gd name="T70" fmla="*/ 265 w 587"/>
                <a:gd name="T71" fmla="*/ 295 h 395"/>
                <a:gd name="T72" fmla="*/ 258 w 587"/>
                <a:gd name="T73" fmla="*/ 312 h 395"/>
                <a:gd name="T74" fmla="*/ 250 w 587"/>
                <a:gd name="T75" fmla="*/ 325 h 395"/>
                <a:gd name="T76" fmla="*/ 239 w 587"/>
                <a:gd name="T77" fmla="*/ 329 h 395"/>
                <a:gd name="T78" fmla="*/ 241 w 587"/>
                <a:gd name="T79" fmla="*/ 371 h 395"/>
                <a:gd name="T80" fmla="*/ 256 w 587"/>
                <a:gd name="T81" fmla="*/ 388 h 395"/>
                <a:gd name="T82" fmla="*/ 273 w 587"/>
                <a:gd name="T83" fmla="*/ 386 h 395"/>
                <a:gd name="T84" fmla="*/ 288 w 587"/>
                <a:gd name="T85" fmla="*/ 361 h 395"/>
                <a:gd name="T86" fmla="*/ 317 w 587"/>
                <a:gd name="T87" fmla="*/ 352 h 395"/>
                <a:gd name="T88" fmla="*/ 321 w 587"/>
                <a:gd name="T89" fmla="*/ 327 h 395"/>
                <a:gd name="T90" fmla="*/ 332 w 587"/>
                <a:gd name="T91" fmla="*/ 316 h 395"/>
                <a:gd name="T92" fmla="*/ 336 w 587"/>
                <a:gd name="T93" fmla="*/ 302 h 395"/>
                <a:gd name="T94" fmla="*/ 351 w 587"/>
                <a:gd name="T95" fmla="*/ 268 h 395"/>
                <a:gd name="T96" fmla="*/ 342 w 587"/>
                <a:gd name="T97" fmla="*/ 255 h 395"/>
                <a:gd name="T98" fmla="*/ 372 w 587"/>
                <a:gd name="T99" fmla="*/ 215 h 395"/>
                <a:gd name="T100" fmla="*/ 384 w 587"/>
                <a:gd name="T101" fmla="*/ 219 h 395"/>
                <a:gd name="T102" fmla="*/ 401 w 587"/>
                <a:gd name="T103" fmla="*/ 211 h 395"/>
                <a:gd name="T104" fmla="*/ 410 w 587"/>
                <a:gd name="T105" fmla="*/ 175 h 395"/>
                <a:gd name="T106" fmla="*/ 429 w 587"/>
                <a:gd name="T107" fmla="*/ 156 h 395"/>
                <a:gd name="T108" fmla="*/ 446 w 587"/>
                <a:gd name="T109" fmla="*/ 137 h 395"/>
                <a:gd name="T110" fmla="*/ 486 w 587"/>
                <a:gd name="T111" fmla="*/ 108 h 395"/>
                <a:gd name="T112" fmla="*/ 511 w 587"/>
                <a:gd name="T113" fmla="*/ 99 h 395"/>
                <a:gd name="T114" fmla="*/ 538 w 587"/>
                <a:gd name="T115" fmla="*/ 78 h 395"/>
                <a:gd name="T116" fmla="*/ 574 w 587"/>
                <a:gd name="T117" fmla="*/ 72 h 395"/>
                <a:gd name="T118" fmla="*/ 586 w 587"/>
                <a:gd name="T119" fmla="*/ 64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7" h="395">
                  <a:moveTo>
                    <a:pt x="587" y="61"/>
                  </a:moveTo>
                  <a:lnTo>
                    <a:pt x="586" y="59"/>
                  </a:lnTo>
                  <a:lnTo>
                    <a:pt x="586" y="57"/>
                  </a:lnTo>
                  <a:lnTo>
                    <a:pt x="584" y="57"/>
                  </a:lnTo>
                  <a:lnTo>
                    <a:pt x="584" y="55"/>
                  </a:lnTo>
                  <a:lnTo>
                    <a:pt x="582" y="55"/>
                  </a:lnTo>
                  <a:lnTo>
                    <a:pt x="582" y="57"/>
                  </a:lnTo>
                  <a:lnTo>
                    <a:pt x="582" y="57"/>
                  </a:lnTo>
                  <a:lnTo>
                    <a:pt x="580" y="57"/>
                  </a:lnTo>
                  <a:lnTo>
                    <a:pt x="580" y="57"/>
                  </a:lnTo>
                  <a:lnTo>
                    <a:pt x="580" y="57"/>
                  </a:lnTo>
                  <a:lnTo>
                    <a:pt x="576" y="61"/>
                  </a:lnTo>
                  <a:lnTo>
                    <a:pt x="576" y="61"/>
                  </a:lnTo>
                  <a:lnTo>
                    <a:pt x="576" y="61"/>
                  </a:lnTo>
                  <a:lnTo>
                    <a:pt x="576" y="61"/>
                  </a:lnTo>
                  <a:lnTo>
                    <a:pt x="576" y="59"/>
                  </a:lnTo>
                  <a:lnTo>
                    <a:pt x="576" y="57"/>
                  </a:lnTo>
                  <a:lnTo>
                    <a:pt x="576" y="57"/>
                  </a:lnTo>
                  <a:lnTo>
                    <a:pt x="574" y="55"/>
                  </a:lnTo>
                  <a:lnTo>
                    <a:pt x="574" y="55"/>
                  </a:lnTo>
                  <a:lnTo>
                    <a:pt x="574" y="55"/>
                  </a:lnTo>
                  <a:lnTo>
                    <a:pt x="576" y="51"/>
                  </a:lnTo>
                  <a:lnTo>
                    <a:pt x="576" y="49"/>
                  </a:lnTo>
                  <a:lnTo>
                    <a:pt x="576" y="45"/>
                  </a:lnTo>
                  <a:lnTo>
                    <a:pt x="574" y="44"/>
                  </a:lnTo>
                  <a:lnTo>
                    <a:pt x="574" y="44"/>
                  </a:lnTo>
                  <a:lnTo>
                    <a:pt x="572" y="42"/>
                  </a:lnTo>
                  <a:lnTo>
                    <a:pt x="570" y="42"/>
                  </a:lnTo>
                  <a:lnTo>
                    <a:pt x="570" y="40"/>
                  </a:lnTo>
                  <a:lnTo>
                    <a:pt x="570" y="40"/>
                  </a:lnTo>
                  <a:lnTo>
                    <a:pt x="568" y="40"/>
                  </a:lnTo>
                  <a:lnTo>
                    <a:pt x="568" y="38"/>
                  </a:lnTo>
                  <a:lnTo>
                    <a:pt x="566" y="38"/>
                  </a:lnTo>
                  <a:lnTo>
                    <a:pt x="566" y="36"/>
                  </a:lnTo>
                  <a:lnTo>
                    <a:pt x="566" y="30"/>
                  </a:lnTo>
                  <a:lnTo>
                    <a:pt x="566" y="30"/>
                  </a:lnTo>
                  <a:lnTo>
                    <a:pt x="565" y="28"/>
                  </a:lnTo>
                  <a:lnTo>
                    <a:pt x="566" y="26"/>
                  </a:lnTo>
                  <a:lnTo>
                    <a:pt x="568" y="23"/>
                  </a:lnTo>
                  <a:lnTo>
                    <a:pt x="576" y="13"/>
                  </a:lnTo>
                  <a:lnTo>
                    <a:pt x="580" y="7"/>
                  </a:lnTo>
                  <a:lnTo>
                    <a:pt x="582" y="4"/>
                  </a:lnTo>
                  <a:lnTo>
                    <a:pt x="584" y="2"/>
                  </a:lnTo>
                  <a:lnTo>
                    <a:pt x="584" y="0"/>
                  </a:lnTo>
                  <a:lnTo>
                    <a:pt x="584" y="0"/>
                  </a:lnTo>
                  <a:lnTo>
                    <a:pt x="584" y="0"/>
                  </a:lnTo>
                  <a:lnTo>
                    <a:pt x="561" y="0"/>
                  </a:lnTo>
                  <a:lnTo>
                    <a:pt x="555" y="2"/>
                  </a:lnTo>
                  <a:lnTo>
                    <a:pt x="547" y="6"/>
                  </a:lnTo>
                  <a:lnTo>
                    <a:pt x="545" y="7"/>
                  </a:lnTo>
                  <a:lnTo>
                    <a:pt x="544" y="9"/>
                  </a:lnTo>
                  <a:lnTo>
                    <a:pt x="540" y="11"/>
                  </a:lnTo>
                  <a:lnTo>
                    <a:pt x="532" y="13"/>
                  </a:lnTo>
                  <a:lnTo>
                    <a:pt x="528" y="13"/>
                  </a:lnTo>
                  <a:lnTo>
                    <a:pt x="528" y="11"/>
                  </a:lnTo>
                  <a:lnTo>
                    <a:pt x="526" y="11"/>
                  </a:lnTo>
                  <a:lnTo>
                    <a:pt x="525" y="11"/>
                  </a:lnTo>
                  <a:lnTo>
                    <a:pt x="523" y="9"/>
                  </a:lnTo>
                  <a:lnTo>
                    <a:pt x="523" y="9"/>
                  </a:lnTo>
                  <a:lnTo>
                    <a:pt x="521" y="9"/>
                  </a:lnTo>
                  <a:lnTo>
                    <a:pt x="517" y="13"/>
                  </a:lnTo>
                  <a:lnTo>
                    <a:pt x="488" y="23"/>
                  </a:lnTo>
                  <a:lnTo>
                    <a:pt x="485" y="25"/>
                  </a:lnTo>
                  <a:lnTo>
                    <a:pt x="477" y="28"/>
                  </a:lnTo>
                  <a:lnTo>
                    <a:pt x="475" y="30"/>
                  </a:lnTo>
                  <a:lnTo>
                    <a:pt x="475" y="30"/>
                  </a:lnTo>
                  <a:lnTo>
                    <a:pt x="467" y="32"/>
                  </a:lnTo>
                  <a:lnTo>
                    <a:pt x="462" y="34"/>
                  </a:lnTo>
                  <a:lnTo>
                    <a:pt x="458" y="36"/>
                  </a:lnTo>
                  <a:lnTo>
                    <a:pt x="454" y="38"/>
                  </a:lnTo>
                  <a:lnTo>
                    <a:pt x="452" y="40"/>
                  </a:lnTo>
                  <a:lnTo>
                    <a:pt x="450" y="40"/>
                  </a:lnTo>
                  <a:lnTo>
                    <a:pt x="448" y="40"/>
                  </a:lnTo>
                  <a:lnTo>
                    <a:pt x="448" y="40"/>
                  </a:lnTo>
                  <a:lnTo>
                    <a:pt x="444" y="42"/>
                  </a:lnTo>
                  <a:lnTo>
                    <a:pt x="443" y="38"/>
                  </a:lnTo>
                  <a:lnTo>
                    <a:pt x="433" y="42"/>
                  </a:lnTo>
                  <a:lnTo>
                    <a:pt x="431" y="40"/>
                  </a:lnTo>
                  <a:lnTo>
                    <a:pt x="429" y="40"/>
                  </a:lnTo>
                  <a:lnTo>
                    <a:pt x="427" y="38"/>
                  </a:lnTo>
                  <a:lnTo>
                    <a:pt x="427" y="38"/>
                  </a:lnTo>
                  <a:lnTo>
                    <a:pt x="427" y="36"/>
                  </a:lnTo>
                  <a:lnTo>
                    <a:pt x="425" y="36"/>
                  </a:lnTo>
                  <a:lnTo>
                    <a:pt x="425" y="36"/>
                  </a:lnTo>
                  <a:lnTo>
                    <a:pt x="425" y="36"/>
                  </a:lnTo>
                  <a:lnTo>
                    <a:pt x="424" y="36"/>
                  </a:lnTo>
                  <a:lnTo>
                    <a:pt x="422" y="38"/>
                  </a:lnTo>
                  <a:lnTo>
                    <a:pt x="422" y="40"/>
                  </a:lnTo>
                  <a:lnTo>
                    <a:pt x="422" y="42"/>
                  </a:lnTo>
                  <a:lnTo>
                    <a:pt x="422" y="42"/>
                  </a:lnTo>
                  <a:lnTo>
                    <a:pt x="424" y="44"/>
                  </a:lnTo>
                  <a:lnTo>
                    <a:pt x="424" y="44"/>
                  </a:lnTo>
                  <a:lnTo>
                    <a:pt x="425" y="45"/>
                  </a:lnTo>
                  <a:lnTo>
                    <a:pt x="425" y="45"/>
                  </a:lnTo>
                  <a:lnTo>
                    <a:pt x="424" y="47"/>
                  </a:lnTo>
                  <a:lnTo>
                    <a:pt x="424" y="47"/>
                  </a:lnTo>
                  <a:lnTo>
                    <a:pt x="412" y="59"/>
                  </a:lnTo>
                  <a:lnTo>
                    <a:pt x="408" y="63"/>
                  </a:lnTo>
                  <a:lnTo>
                    <a:pt x="404" y="64"/>
                  </a:lnTo>
                  <a:lnTo>
                    <a:pt x="401" y="68"/>
                  </a:lnTo>
                  <a:lnTo>
                    <a:pt x="401" y="68"/>
                  </a:lnTo>
                  <a:lnTo>
                    <a:pt x="397" y="70"/>
                  </a:lnTo>
                  <a:lnTo>
                    <a:pt x="387" y="82"/>
                  </a:lnTo>
                  <a:lnTo>
                    <a:pt x="387" y="82"/>
                  </a:lnTo>
                  <a:lnTo>
                    <a:pt x="385" y="83"/>
                  </a:lnTo>
                  <a:lnTo>
                    <a:pt x="385" y="85"/>
                  </a:lnTo>
                  <a:lnTo>
                    <a:pt x="385" y="87"/>
                  </a:lnTo>
                  <a:lnTo>
                    <a:pt x="385" y="91"/>
                  </a:lnTo>
                  <a:lnTo>
                    <a:pt x="385" y="91"/>
                  </a:lnTo>
                  <a:lnTo>
                    <a:pt x="385" y="93"/>
                  </a:lnTo>
                  <a:lnTo>
                    <a:pt x="384" y="95"/>
                  </a:lnTo>
                  <a:lnTo>
                    <a:pt x="380" y="97"/>
                  </a:lnTo>
                  <a:lnTo>
                    <a:pt x="380" y="97"/>
                  </a:lnTo>
                  <a:lnTo>
                    <a:pt x="378" y="99"/>
                  </a:lnTo>
                  <a:lnTo>
                    <a:pt x="376" y="101"/>
                  </a:lnTo>
                  <a:lnTo>
                    <a:pt x="374" y="103"/>
                  </a:lnTo>
                  <a:lnTo>
                    <a:pt x="368" y="104"/>
                  </a:lnTo>
                  <a:lnTo>
                    <a:pt x="364" y="104"/>
                  </a:lnTo>
                  <a:lnTo>
                    <a:pt x="359" y="106"/>
                  </a:lnTo>
                  <a:lnTo>
                    <a:pt x="357" y="106"/>
                  </a:lnTo>
                  <a:lnTo>
                    <a:pt x="353" y="108"/>
                  </a:lnTo>
                  <a:lnTo>
                    <a:pt x="351" y="108"/>
                  </a:lnTo>
                  <a:lnTo>
                    <a:pt x="349" y="106"/>
                  </a:lnTo>
                  <a:lnTo>
                    <a:pt x="347" y="104"/>
                  </a:lnTo>
                  <a:lnTo>
                    <a:pt x="345" y="104"/>
                  </a:lnTo>
                  <a:lnTo>
                    <a:pt x="343" y="104"/>
                  </a:lnTo>
                  <a:lnTo>
                    <a:pt x="311" y="108"/>
                  </a:lnTo>
                  <a:lnTo>
                    <a:pt x="307" y="106"/>
                  </a:lnTo>
                  <a:lnTo>
                    <a:pt x="305" y="106"/>
                  </a:lnTo>
                  <a:lnTo>
                    <a:pt x="303" y="104"/>
                  </a:lnTo>
                  <a:lnTo>
                    <a:pt x="303" y="104"/>
                  </a:lnTo>
                  <a:lnTo>
                    <a:pt x="303" y="103"/>
                  </a:lnTo>
                  <a:lnTo>
                    <a:pt x="303" y="103"/>
                  </a:lnTo>
                  <a:lnTo>
                    <a:pt x="303" y="103"/>
                  </a:lnTo>
                  <a:lnTo>
                    <a:pt x="300" y="101"/>
                  </a:lnTo>
                  <a:lnTo>
                    <a:pt x="292" y="97"/>
                  </a:lnTo>
                  <a:lnTo>
                    <a:pt x="284" y="97"/>
                  </a:lnTo>
                  <a:lnTo>
                    <a:pt x="281" y="95"/>
                  </a:lnTo>
                  <a:lnTo>
                    <a:pt x="279" y="97"/>
                  </a:lnTo>
                  <a:lnTo>
                    <a:pt x="277" y="99"/>
                  </a:lnTo>
                  <a:lnTo>
                    <a:pt x="277" y="99"/>
                  </a:lnTo>
                  <a:lnTo>
                    <a:pt x="275" y="101"/>
                  </a:lnTo>
                  <a:lnTo>
                    <a:pt x="273" y="103"/>
                  </a:lnTo>
                  <a:lnTo>
                    <a:pt x="267" y="103"/>
                  </a:lnTo>
                  <a:lnTo>
                    <a:pt x="262" y="104"/>
                  </a:lnTo>
                  <a:lnTo>
                    <a:pt x="250" y="108"/>
                  </a:lnTo>
                  <a:lnTo>
                    <a:pt x="246" y="110"/>
                  </a:lnTo>
                  <a:lnTo>
                    <a:pt x="246" y="110"/>
                  </a:lnTo>
                  <a:lnTo>
                    <a:pt x="243" y="110"/>
                  </a:lnTo>
                  <a:lnTo>
                    <a:pt x="241" y="110"/>
                  </a:lnTo>
                  <a:lnTo>
                    <a:pt x="237" y="112"/>
                  </a:lnTo>
                  <a:lnTo>
                    <a:pt x="227" y="110"/>
                  </a:lnTo>
                  <a:lnTo>
                    <a:pt x="223" y="110"/>
                  </a:lnTo>
                  <a:lnTo>
                    <a:pt x="223" y="114"/>
                  </a:lnTo>
                  <a:lnTo>
                    <a:pt x="220" y="118"/>
                  </a:lnTo>
                  <a:lnTo>
                    <a:pt x="214" y="118"/>
                  </a:lnTo>
                  <a:lnTo>
                    <a:pt x="212" y="118"/>
                  </a:lnTo>
                  <a:lnTo>
                    <a:pt x="210" y="116"/>
                  </a:lnTo>
                  <a:lnTo>
                    <a:pt x="208" y="114"/>
                  </a:lnTo>
                  <a:lnTo>
                    <a:pt x="206" y="114"/>
                  </a:lnTo>
                  <a:lnTo>
                    <a:pt x="206" y="116"/>
                  </a:lnTo>
                  <a:lnTo>
                    <a:pt x="206" y="118"/>
                  </a:lnTo>
                  <a:lnTo>
                    <a:pt x="204" y="120"/>
                  </a:lnTo>
                  <a:lnTo>
                    <a:pt x="206" y="120"/>
                  </a:lnTo>
                  <a:lnTo>
                    <a:pt x="206" y="122"/>
                  </a:lnTo>
                  <a:lnTo>
                    <a:pt x="206" y="123"/>
                  </a:lnTo>
                  <a:lnTo>
                    <a:pt x="204" y="123"/>
                  </a:lnTo>
                  <a:lnTo>
                    <a:pt x="202" y="122"/>
                  </a:lnTo>
                  <a:lnTo>
                    <a:pt x="202" y="120"/>
                  </a:lnTo>
                  <a:lnTo>
                    <a:pt x="202" y="118"/>
                  </a:lnTo>
                  <a:lnTo>
                    <a:pt x="201" y="118"/>
                  </a:lnTo>
                  <a:lnTo>
                    <a:pt x="199" y="118"/>
                  </a:lnTo>
                  <a:lnTo>
                    <a:pt x="191" y="122"/>
                  </a:lnTo>
                  <a:lnTo>
                    <a:pt x="189" y="123"/>
                  </a:lnTo>
                  <a:lnTo>
                    <a:pt x="185" y="123"/>
                  </a:lnTo>
                  <a:lnTo>
                    <a:pt x="183" y="123"/>
                  </a:lnTo>
                  <a:lnTo>
                    <a:pt x="180" y="122"/>
                  </a:lnTo>
                  <a:lnTo>
                    <a:pt x="178" y="122"/>
                  </a:lnTo>
                  <a:lnTo>
                    <a:pt x="174" y="123"/>
                  </a:lnTo>
                  <a:lnTo>
                    <a:pt x="172" y="123"/>
                  </a:lnTo>
                  <a:lnTo>
                    <a:pt x="172" y="122"/>
                  </a:lnTo>
                  <a:lnTo>
                    <a:pt x="168" y="118"/>
                  </a:lnTo>
                  <a:lnTo>
                    <a:pt x="168" y="116"/>
                  </a:lnTo>
                  <a:lnTo>
                    <a:pt x="166" y="116"/>
                  </a:lnTo>
                  <a:lnTo>
                    <a:pt x="162" y="116"/>
                  </a:lnTo>
                  <a:lnTo>
                    <a:pt x="162" y="116"/>
                  </a:lnTo>
                  <a:lnTo>
                    <a:pt x="161" y="118"/>
                  </a:lnTo>
                  <a:lnTo>
                    <a:pt x="159" y="120"/>
                  </a:lnTo>
                  <a:lnTo>
                    <a:pt x="159" y="122"/>
                  </a:lnTo>
                  <a:lnTo>
                    <a:pt x="157" y="123"/>
                  </a:lnTo>
                  <a:lnTo>
                    <a:pt x="157" y="123"/>
                  </a:lnTo>
                  <a:lnTo>
                    <a:pt x="155" y="125"/>
                  </a:lnTo>
                  <a:lnTo>
                    <a:pt x="153" y="125"/>
                  </a:lnTo>
                  <a:lnTo>
                    <a:pt x="151" y="125"/>
                  </a:lnTo>
                  <a:lnTo>
                    <a:pt x="149" y="125"/>
                  </a:lnTo>
                  <a:lnTo>
                    <a:pt x="149" y="125"/>
                  </a:lnTo>
                  <a:lnTo>
                    <a:pt x="145" y="123"/>
                  </a:lnTo>
                  <a:lnTo>
                    <a:pt x="143" y="123"/>
                  </a:lnTo>
                  <a:lnTo>
                    <a:pt x="136" y="123"/>
                  </a:lnTo>
                  <a:lnTo>
                    <a:pt x="132" y="123"/>
                  </a:lnTo>
                  <a:lnTo>
                    <a:pt x="130" y="123"/>
                  </a:lnTo>
                  <a:lnTo>
                    <a:pt x="126" y="125"/>
                  </a:lnTo>
                  <a:lnTo>
                    <a:pt x="124" y="125"/>
                  </a:lnTo>
                  <a:lnTo>
                    <a:pt x="119" y="125"/>
                  </a:lnTo>
                  <a:lnTo>
                    <a:pt x="98" y="127"/>
                  </a:lnTo>
                  <a:lnTo>
                    <a:pt x="86" y="125"/>
                  </a:lnTo>
                  <a:lnTo>
                    <a:pt x="77" y="120"/>
                  </a:lnTo>
                  <a:lnTo>
                    <a:pt x="67" y="114"/>
                  </a:lnTo>
                  <a:lnTo>
                    <a:pt x="63" y="114"/>
                  </a:lnTo>
                  <a:lnTo>
                    <a:pt x="61" y="114"/>
                  </a:lnTo>
                  <a:lnTo>
                    <a:pt x="61" y="116"/>
                  </a:lnTo>
                  <a:lnTo>
                    <a:pt x="60" y="116"/>
                  </a:lnTo>
                  <a:lnTo>
                    <a:pt x="58" y="118"/>
                  </a:lnTo>
                  <a:lnTo>
                    <a:pt x="56" y="118"/>
                  </a:lnTo>
                  <a:lnTo>
                    <a:pt x="54" y="118"/>
                  </a:lnTo>
                  <a:lnTo>
                    <a:pt x="52" y="118"/>
                  </a:lnTo>
                  <a:lnTo>
                    <a:pt x="48" y="120"/>
                  </a:lnTo>
                  <a:lnTo>
                    <a:pt x="46" y="125"/>
                  </a:lnTo>
                  <a:lnTo>
                    <a:pt x="44" y="129"/>
                  </a:lnTo>
                  <a:lnTo>
                    <a:pt x="41" y="129"/>
                  </a:lnTo>
                  <a:lnTo>
                    <a:pt x="29" y="131"/>
                  </a:lnTo>
                  <a:lnTo>
                    <a:pt x="23" y="131"/>
                  </a:lnTo>
                  <a:lnTo>
                    <a:pt x="21" y="133"/>
                  </a:lnTo>
                  <a:lnTo>
                    <a:pt x="21" y="131"/>
                  </a:lnTo>
                  <a:lnTo>
                    <a:pt x="20" y="131"/>
                  </a:lnTo>
                  <a:lnTo>
                    <a:pt x="20" y="131"/>
                  </a:lnTo>
                  <a:lnTo>
                    <a:pt x="18" y="133"/>
                  </a:lnTo>
                  <a:lnTo>
                    <a:pt x="20" y="139"/>
                  </a:lnTo>
                  <a:lnTo>
                    <a:pt x="21" y="141"/>
                  </a:lnTo>
                  <a:lnTo>
                    <a:pt x="21" y="150"/>
                  </a:lnTo>
                  <a:lnTo>
                    <a:pt x="20" y="154"/>
                  </a:lnTo>
                  <a:lnTo>
                    <a:pt x="20" y="154"/>
                  </a:lnTo>
                  <a:lnTo>
                    <a:pt x="20" y="154"/>
                  </a:lnTo>
                  <a:lnTo>
                    <a:pt x="20" y="154"/>
                  </a:lnTo>
                  <a:lnTo>
                    <a:pt x="20" y="158"/>
                  </a:lnTo>
                  <a:lnTo>
                    <a:pt x="18" y="160"/>
                  </a:lnTo>
                  <a:lnTo>
                    <a:pt x="18" y="167"/>
                  </a:lnTo>
                  <a:lnTo>
                    <a:pt x="18" y="167"/>
                  </a:lnTo>
                  <a:lnTo>
                    <a:pt x="18" y="167"/>
                  </a:lnTo>
                  <a:lnTo>
                    <a:pt x="16" y="167"/>
                  </a:lnTo>
                  <a:lnTo>
                    <a:pt x="16" y="169"/>
                  </a:lnTo>
                  <a:lnTo>
                    <a:pt x="16" y="169"/>
                  </a:lnTo>
                  <a:lnTo>
                    <a:pt x="16" y="169"/>
                  </a:lnTo>
                  <a:lnTo>
                    <a:pt x="16" y="169"/>
                  </a:lnTo>
                  <a:lnTo>
                    <a:pt x="16" y="171"/>
                  </a:lnTo>
                  <a:lnTo>
                    <a:pt x="16" y="171"/>
                  </a:lnTo>
                  <a:lnTo>
                    <a:pt x="16" y="171"/>
                  </a:lnTo>
                  <a:lnTo>
                    <a:pt x="16" y="173"/>
                  </a:lnTo>
                  <a:lnTo>
                    <a:pt x="14" y="173"/>
                  </a:lnTo>
                  <a:lnTo>
                    <a:pt x="12" y="175"/>
                  </a:lnTo>
                  <a:lnTo>
                    <a:pt x="12" y="175"/>
                  </a:lnTo>
                  <a:lnTo>
                    <a:pt x="12" y="175"/>
                  </a:lnTo>
                  <a:lnTo>
                    <a:pt x="10" y="179"/>
                  </a:lnTo>
                  <a:lnTo>
                    <a:pt x="8" y="179"/>
                  </a:lnTo>
                  <a:lnTo>
                    <a:pt x="8" y="180"/>
                  </a:lnTo>
                  <a:lnTo>
                    <a:pt x="8" y="180"/>
                  </a:lnTo>
                  <a:lnTo>
                    <a:pt x="8" y="180"/>
                  </a:lnTo>
                  <a:lnTo>
                    <a:pt x="8" y="182"/>
                  </a:lnTo>
                  <a:lnTo>
                    <a:pt x="8" y="182"/>
                  </a:lnTo>
                  <a:lnTo>
                    <a:pt x="8" y="184"/>
                  </a:lnTo>
                  <a:lnTo>
                    <a:pt x="6" y="184"/>
                  </a:lnTo>
                  <a:lnTo>
                    <a:pt x="4" y="184"/>
                  </a:lnTo>
                  <a:lnTo>
                    <a:pt x="2" y="186"/>
                  </a:lnTo>
                  <a:lnTo>
                    <a:pt x="0" y="186"/>
                  </a:lnTo>
                  <a:lnTo>
                    <a:pt x="0" y="188"/>
                  </a:lnTo>
                  <a:lnTo>
                    <a:pt x="0" y="188"/>
                  </a:lnTo>
                  <a:lnTo>
                    <a:pt x="0" y="190"/>
                  </a:lnTo>
                  <a:lnTo>
                    <a:pt x="2" y="190"/>
                  </a:lnTo>
                  <a:lnTo>
                    <a:pt x="2" y="190"/>
                  </a:lnTo>
                  <a:lnTo>
                    <a:pt x="4" y="190"/>
                  </a:lnTo>
                  <a:lnTo>
                    <a:pt x="4" y="190"/>
                  </a:lnTo>
                  <a:lnTo>
                    <a:pt x="6" y="190"/>
                  </a:lnTo>
                  <a:lnTo>
                    <a:pt x="6" y="192"/>
                  </a:lnTo>
                  <a:lnTo>
                    <a:pt x="6" y="194"/>
                  </a:lnTo>
                  <a:lnTo>
                    <a:pt x="8" y="196"/>
                  </a:lnTo>
                  <a:lnTo>
                    <a:pt x="8" y="198"/>
                  </a:lnTo>
                  <a:lnTo>
                    <a:pt x="10" y="198"/>
                  </a:lnTo>
                  <a:lnTo>
                    <a:pt x="8" y="199"/>
                  </a:lnTo>
                  <a:lnTo>
                    <a:pt x="8" y="201"/>
                  </a:lnTo>
                  <a:lnTo>
                    <a:pt x="10" y="201"/>
                  </a:lnTo>
                  <a:lnTo>
                    <a:pt x="12" y="205"/>
                  </a:lnTo>
                  <a:lnTo>
                    <a:pt x="12" y="205"/>
                  </a:lnTo>
                  <a:lnTo>
                    <a:pt x="12" y="207"/>
                  </a:lnTo>
                  <a:lnTo>
                    <a:pt x="14" y="207"/>
                  </a:lnTo>
                  <a:lnTo>
                    <a:pt x="14" y="207"/>
                  </a:lnTo>
                  <a:lnTo>
                    <a:pt x="14" y="205"/>
                  </a:lnTo>
                  <a:lnTo>
                    <a:pt x="14" y="205"/>
                  </a:lnTo>
                  <a:lnTo>
                    <a:pt x="14" y="205"/>
                  </a:lnTo>
                  <a:lnTo>
                    <a:pt x="14" y="205"/>
                  </a:lnTo>
                  <a:lnTo>
                    <a:pt x="14" y="205"/>
                  </a:lnTo>
                  <a:lnTo>
                    <a:pt x="16" y="205"/>
                  </a:lnTo>
                  <a:lnTo>
                    <a:pt x="16" y="205"/>
                  </a:lnTo>
                  <a:lnTo>
                    <a:pt x="16" y="207"/>
                  </a:lnTo>
                  <a:lnTo>
                    <a:pt x="16" y="209"/>
                  </a:lnTo>
                  <a:lnTo>
                    <a:pt x="14" y="211"/>
                  </a:lnTo>
                  <a:lnTo>
                    <a:pt x="12" y="211"/>
                  </a:lnTo>
                  <a:lnTo>
                    <a:pt x="14" y="211"/>
                  </a:lnTo>
                  <a:lnTo>
                    <a:pt x="16" y="213"/>
                  </a:lnTo>
                  <a:lnTo>
                    <a:pt x="18" y="213"/>
                  </a:lnTo>
                  <a:lnTo>
                    <a:pt x="16" y="215"/>
                  </a:lnTo>
                  <a:lnTo>
                    <a:pt x="12" y="222"/>
                  </a:lnTo>
                  <a:lnTo>
                    <a:pt x="12" y="224"/>
                  </a:lnTo>
                  <a:lnTo>
                    <a:pt x="14" y="234"/>
                  </a:lnTo>
                  <a:lnTo>
                    <a:pt x="16" y="239"/>
                  </a:lnTo>
                  <a:lnTo>
                    <a:pt x="18" y="243"/>
                  </a:lnTo>
                  <a:lnTo>
                    <a:pt x="16" y="251"/>
                  </a:lnTo>
                  <a:lnTo>
                    <a:pt x="16" y="258"/>
                  </a:lnTo>
                  <a:lnTo>
                    <a:pt x="14" y="262"/>
                  </a:lnTo>
                  <a:lnTo>
                    <a:pt x="18" y="262"/>
                  </a:lnTo>
                  <a:lnTo>
                    <a:pt x="21" y="260"/>
                  </a:lnTo>
                  <a:lnTo>
                    <a:pt x="21" y="260"/>
                  </a:lnTo>
                  <a:lnTo>
                    <a:pt x="21" y="260"/>
                  </a:lnTo>
                  <a:lnTo>
                    <a:pt x="21" y="258"/>
                  </a:lnTo>
                  <a:lnTo>
                    <a:pt x="23" y="257"/>
                  </a:lnTo>
                  <a:lnTo>
                    <a:pt x="23" y="255"/>
                  </a:lnTo>
                  <a:lnTo>
                    <a:pt x="23" y="253"/>
                  </a:lnTo>
                  <a:lnTo>
                    <a:pt x="23" y="251"/>
                  </a:lnTo>
                  <a:lnTo>
                    <a:pt x="25" y="251"/>
                  </a:lnTo>
                  <a:lnTo>
                    <a:pt x="27" y="251"/>
                  </a:lnTo>
                  <a:lnTo>
                    <a:pt x="29" y="251"/>
                  </a:lnTo>
                  <a:lnTo>
                    <a:pt x="31" y="249"/>
                  </a:lnTo>
                  <a:lnTo>
                    <a:pt x="31" y="249"/>
                  </a:lnTo>
                  <a:lnTo>
                    <a:pt x="31" y="249"/>
                  </a:lnTo>
                  <a:lnTo>
                    <a:pt x="33" y="247"/>
                  </a:lnTo>
                  <a:lnTo>
                    <a:pt x="33" y="247"/>
                  </a:lnTo>
                  <a:lnTo>
                    <a:pt x="33" y="245"/>
                  </a:lnTo>
                  <a:lnTo>
                    <a:pt x="33" y="245"/>
                  </a:lnTo>
                  <a:lnTo>
                    <a:pt x="31" y="245"/>
                  </a:lnTo>
                  <a:lnTo>
                    <a:pt x="29" y="243"/>
                  </a:lnTo>
                  <a:lnTo>
                    <a:pt x="29" y="241"/>
                  </a:lnTo>
                  <a:lnTo>
                    <a:pt x="27" y="241"/>
                  </a:lnTo>
                  <a:lnTo>
                    <a:pt x="27" y="239"/>
                  </a:lnTo>
                  <a:lnTo>
                    <a:pt x="27" y="238"/>
                  </a:lnTo>
                  <a:lnTo>
                    <a:pt x="27" y="236"/>
                  </a:lnTo>
                  <a:lnTo>
                    <a:pt x="27" y="236"/>
                  </a:lnTo>
                  <a:lnTo>
                    <a:pt x="27" y="234"/>
                  </a:lnTo>
                  <a:lnTo>
                    <a:pt x="27" y="232"/>
                  </a:lnTo>
                  <a:lnTo>
                    <a:pt x="29" y="230"/>
                  </a:lnTo>
                  <a:lnTo>
                    <a:pt x="29" y="230"/>
                  </a:lnTo>
                  <a:lnTo>
                    <a:pt x="29" y="230"/>
                  </a:lnTo>
                  <a:lnTo>
                    <a:pt x="29" y="228"/>
                  </a:lnTo>
                  <a:lnTo>
                    <a:pt x="29" y="226"/>
                  </a:lnTo>
                  <a:lnTo>
                    <a:pt x="31" y="224"/>
                  </a:lnTo>
                  <a:lnTo>
                    <a:pt x="31" y="224"/>
                  </a:lnTo>
                  <a:lnTo>
                    <a:pt x="35" y="220"/>
                  </a:lnTo>
                  <a:lnTo>
                    <a:pt x="35" y="220"/>
                  </a:lnTo>
                  <a:lnTo>
                    <a:pt x="35" y="219"/>
                  </a:lnTo>
                  <a:lnTo>
                    <a:pt x="37" y="217"/>
                  </a:lnTo>
                  <a:lnTo>
                    <a:pt x="37" y="217"/>
                  </a:lnTo>
                  <a:lnTo>
                    <a:pt x="41" y="213"/>
                  </a:lnTo>
                  <a:lnTo>
                    <a:pt x="42" y="211"/>
                  </a:lnTo>
                  <a:lnTo>
                    <a:pt x="42" y="211"/>
                  </a:lnTo>
                  <a:lnTo>
                    <a:pt x="44" y="209"/>
                  </a:lnTo>
                  <a:lnTo>
                    <a:pt x="52" y="209"/>
                  </a:lnTo>
                  <a:lnTo>
                    <a:pt x="58" y="209"/>
                  </a:lnTo>
                  <a:lnTo>
                    <a:pt x="60" y="207"/>
                  </a:lnTo>
                  <a:lnTo>
                    <a:pt x="61" y="207"/>
                  </a:lnTo>
                  <a:lnTo>
                    <a:pt x="63" y="207"/>
                  </a:lnTo>
                  <a:lnTo>
                    <a:pt x="63" y="207"/>
                  </a:lnTo>
                  <a:lnTo>
                    <a:pt x="65" y="205"/>
                  </a:lnTo>
                  <a:lnTo>
                    <a:pt x="67" y="203"/>
                  </a:lnTo>
                  <a:lnTo>
                    <a:pt x="67" y="203"/>
                  </a:lnTo>
                  <a:lnTo>
                    <a:pt x="69" y="203"/>
                  </a:lnTo>
                  <a:lnTo>
                    <a:pt x="73" y="205"/>
                  </a:lnTo>
                  <a:lnTo>
                    <a:pt x="75" y="205"/>
                  </a:lnTo>
                  <a:lnTo>
                    <a:pt x="77" y="205"/>
                  </a:lnTo>
                  <a:lnTo>
                    <a:pt x="77" y="205"/>
                  </a:lnTo>
                  <a:lnTo>
                    <a:pt x="79" y="205"/>
                  </a:lnTo>
                  <a:lnTo>
                    <a:pt x="81" y="205"/>
                  </a:lnTo>
                  <a:lnTo>
                    <a:pt x="82" y="207"/>
                  </a:lnTo>
                  <a:lnTo>
                    <a:pt x="82" y="209"/>
                  </a:lnTo>
                  <a:lnTo>
                    <a:pt x="82" y="209"/>
                  </a:lnTo>
                  <a:lnTo>
                    <a:pt x="82" y="211"/>
                  </a:lnTo>
                  <a:lnTo>
                    <a:pt x="82" y="213"/>
                  </a:lnTo>
                  <a:lnTo>
                    <a:pt x="81" y="213"/>
                  </a:lnTo>
                  <a:lnTo>
                    <a:pt x="81" y="215"/>
                  </a:lnTo>
                  <a:lnTo>
                    <a:pt x="81" y="215"/>
                  </a:lnTo>
                  <a:lnTo>
                    <a:pt x="81" y="215"/>
                  </a:lnTo>
                  <a:lnTo>
                    <a:pt x="82" y="215"/>
                  </a:lnTo>
                  <a:lnTo>
                    <a:pt x="86" y="213"/>
                  </a:lnTo>
                  <a:lnTo>
                    <a:pt x="86" y="211"/>
                  </a:lnTo>
                  <a:lnTo>
                    <a:pt x="86" y="211"/>
                  </a:lnTo>
                  <a:lnTo>
                    <a:pt x="88" y="209"/>
                  </a:lnTo>
                  <a:lnTo>
                    <a:pt x="88" y="209"/>
                  </a:lnTo>
                  <a:lnTo>
                    <a:pt x="88" y="209"/>
                  </a:lnTo>
                  <a:lnTo>
                    <a:pt x="90" y="209"/>
                  </a:lnTo>
                  <a:lnTo>
                    <a:pt x="90" y="211"/>
                  </a:lnTo>
                  <a:lnTo>
                    <a:pt x="90" y="211"/>
                  </a:lnTo>
                  <a:lnTo>
                    <a:pt x="90" y="211"/>
                  </a:lnTo>
                  <a:lnTo>
                    <a:pt x="90" y="213"/>
                  </a:lnTo>
                  <a:lnTo>
                    <a:pt x="92" y="213"/>
                  </a:lnTo>
                  <a:lnTo>
                    <a:pt x="94" y="211"/>
                  </a:lnTo>
                  <a:lnTo>
                    <a:pt x="96" y="211"/>
                  </a:lnTo>
                  <a:lnTo>
                    <a:pt x="101" y="209"/>
                  </a:lnTo>
                  <a:lnTo>
                    <a:pt x="101" y="209"/>
                  </a:lnTo>
                  <a:lnTo>
                    <a:pt x="103" y="209"/>
                  </a:lnTo>
                  <a:lnTo>
                    <a:pt x="103" y="211"/>
                  </a:lnTo>
                  <a:lnTo>
                    <a:pt x="103" y="213"/>
                  </a:lnTo>
                  <a:lnTo>
                    <a:pt x="103" y="213"/>
                  </a:lnTo>
                  <a:lnTo>
                    <a:pt x="103" y="213"/>
                  </a:lnTo>
                  <a:lnTo>
                    <a:pt x="105" y="213"/>
                  </a:lnTo>
                  <a:lnTo>
                    <a:pt x="107" y="211"/>
                  </a:lnTo>
                  <a:lnTo>
                    <a:pt x="109" y="211"/>
                  </a:lnTo>
                  <a:lnTo>
                    <a:pt x="113" y="211"/>
                  </a:lnTo>
                  <a:lnTo>
                    <a:pt x="115" y="211"/>
                  </a:lnTo>
                  <a:lnTo>
                    <a:pt x="117" y="211"/>
                  </a:lnTo>
                  <a:lnTo>
                    <a:pt x="121" y="211"/>
                  </a:lnTo>
                  <a:lnTo>
                    <a:pt x="122" y="211"/>
                  </a:lnTo>
                  <a:lnTo>
                    <a:pt x="122" y="213"/>
                  </a:lnTo>
                  <a:lnTo>
                    <a:pt x="122" y="213"/>
                  </a:lnTo>
                  <a:lnTo>
                    <a:pt x="124" y="215"/>
                  </a:lnTo>
                  <a:lnTo>
                    <a:pt x="124" y="215"/>
                  </a:lnTo>
                  <a:lnTo>
                    <a:pt x="126" y="215"/>
                  </a:lnTo>
                  <a:lnTo>
                    <a:pt x="126" y="215"/>
                  </a:lnTo>
                  <a:lnTo>
                    <a:pt x="126" y="217"/>
                  </a:lnTo>
                  <a:lnTo>
                    <a:pt x="128" y="217"/>
                  </a:lnTo>
                  <a:lnTo>
                    <a:pt x="126" y="219"/>
                  </a:lnTo>
                  <a:lnTo>
                    <a:pt x="126" y="220"/>
                  </a:lnTo>
                  <a:lnTo>
                    <a:pt x="126" y="222"/>
                  </a:lnTo>
                  <a:lnTo>
                    <a:pt x="128" y="222"/>
                  </a:lnTo>
                  <a:lnTo>
                    <a:pt x="128" y="222"/>
                  </a:lnTo>
                  <a:lnTo>
                    <a:pt x="130" y="220"/>
                  </a:lnTo>
                  <a:lnTo>
                    <a:pt x="130" y="220"/>
                  </a:lnTo>
                  <a:lnTo>
                    <a:pt x="130" y="220"/>
                  </a:lnTo>
                  <a:lnTo>
                    <a:pt x="132" y="222"/>
                  </a:lnTo>
                  <a:lnTo>
                    <a:pt x="132" y="222"/>
                  </a:lnTo>
                  <a:lnTo>
                    <a:pt x="134" y="222"/>
                  </a:lnTo>
                  <a:lnTo>
                    <a:pt x="142" y="219"/>
                  </a:lnTo>
                  <a:lnTo>
                    <a:pt x="143" y="219"/>
                  </a:lnTo>
                  <a:lnTo>
                    <a:pt x="143" y="220"/>
                  </a:lnTo>
                  <a:lnTo>
                    <a:pt x="142" y="222"/>
                  </a:lnTo>
                  <a:lnTo>
                    <a:pt x="142" y="224"/>
                  </a:lnTo>
                  <a:lnTo>
                    <a:pt x="143" y="226"/>
                  </a:lnTo>
                  <a:lnTo>
                    <a:pt x="143" y="230"/>
                  </a:lnTo>
                  <a:lnTo>
                    <a:pt x="143" y="232"/>
                  </a:lnTo>
                  <a:lnTo>
                    <a:pt x="145" y="234"/>
                  </a:lnTo>
                  <a:lnTo>
                    <a:pt x="145" y="234"/>
                  </a:lnTo>
                  <a:lnTo>
                    <a:pt x="147" y="232"/>
                  </a:lnTo>
                  <a:lnTo>
                    <a:pt x="149" y="232"/>
                  </a:lnTo>
                  <a:lnTo>
                    <a:pt x="153" y="226"/>
                  </a:lnTo>
                  <a:lnTo>
                    <a:pt x="155" y="224"/>
                  </a:lnTo>
                  <a:lnTo>
                    <a:pt x="157" y="222"/>
                  </a:lnTo>
                  <a:lnTo>
                    <a:pt x="157" y="222"/>
                  </a:lnTo>
                  <a:lnTo>
                    <a:pt x="162" y="220"/>
                  </a:lnTo>
                  <a:lnTo>
                    <a:pt x="168" y="220"/>
                  </a:lnTo>
                  <a:lnTo>
                    <a:pt x="174" y="217"/>
                  </a:lnTo>
                  <a:lnTo>
                    <a:pt x="174" y="217"/>
                  </a:lnTo>
                  <a:lnTo>
                    <a:pt x="174" y="215"/>
                  </a:lnTo>
                  <a:lnTo>
                    <a:pt x="174" y="215"/>
                  </a:lnTo>
                  <a:lnTo>
                    <a:pt x="170" y="217"/>
                  </a:lnTo>
                  <a:lnTo>
                    <a:pt x="170" y="217"/>
                  </a:lnTo>
                  <a:lnTo>
                    <a:pt x="170" y="219"/>
                  </a:lnTo>
                  <a:lnTo>
                    <a:pt x="168" y="217"/>
                  </a:lnTo>
                  <a:lnTo>
                    <a:pt x="168" y="217"/>
                  </a:lnTo>
                  <a:lnTo>
                    <a:pt x="168" y="217"/>
                  </a:lnTo>
                  <a:lnTo>
                    <a:pt x="170" y="215"/>
                  </a:lnTo>
                  <a:lnTo>
                    <a:pt x="170" y="215"/>
                  </a:lnTo>
                  <a:lnTo>
                    <a:pt x="172" y="211"/>
                  </a:lnTo>
                  <a:lnTo>
                    <a:pt x="174" y="209"/>
                  </a:lnTo>
                  <a:lnTo>
                    <a:pt x="176" y="207"/>
                  </a:lnTo>
                  <a:lnTo>
                    <a:pt x="178" y="205"/>
                  </a:lnTo>
                  <a:lnTo>
                    <a:pt x="178" y="205"/>
                  </a:lnTo>
                  <a:lnTo>
                    <a:pt x="178" y="203"/>
                  </a:lnTo>
                  <a:lnTo>
                    <a:pt x="180" y="201"/>
                  </a:lnTo>
                  <a:lnTo>
                    <a:pt x="180" y="201"/>
                  </a:lnTo>
                  <a:lnTo>
                    <a:pt x="182" y="201"/>
                  </a:lnTo>
                  <a:lnTo>
                    <a:pt x="183" y="203"/>
                  </a:lnTo>
                  <a:lnTo>
                    <a:pt x="183" y="203"/>
                  </a:lnTo>
                  <a:lnTo>
                    <a:pt x="183" y="205"/>
                  </a:lnTo>
                  <a:lnTo>
                    <a:pt x="183" y="205"/>
                  </a:lnTo>
                  <a:lnTo>
                    <a:pt x="183" y="207"/>
                  </a:lnTo>
                  <a:lnTo>
                    <a:pt x="183" y="209"/>
                  </a:lnTo>
                  <a:lnTo>
                    <a:pt x="183" y="209"/>
                  </a:lnTo>
                  <a:lnTo>
                    <a:pt x="183" y="211"/>
                  </a:lnTo>
                  <a:lnTo>
                    <a:pt x="183" y="211"/>
                  </a:lnTo>
                  <a:lnTo>
                    <a:pt x="183" y="213"/>
                  </a:lnTo>
                  <a:lnTo>
                    <a:pt x="185" y="213"/>
                  </a:lnTo>
                  <a:lnTo>
                    <a:pt x="187" y="213"/>
                  </a:lnTo>
                  <a:lnTo>
                    <a:pt x="189" y="211"/>
                  </a:lnTo>
                  <a:lnTo>
                    <a:pt x="189" y="211"/>
                  </a:lnTo>
                  <a:lnTo>
                    <a:pt x="191" y="209"/>
                  </a:lnTo>
                  <a:lnTo>
                    <a:pt x="191" y="207"/>
                  </a:lnTo>
                  <a:lnTo>
                    <a:pt x="193" y="205"/>
                  </a:lnTo>
                  <a:lnTo>
                    <a:pt x="193" y="203"/>
                  </a:lnTo>
                  <a:lnTo>
                    <a:pt x="193" y="201"/>
                  </a:lnTo>
                  <a:lnTo>
                    <a:pt x="193" y="201"/>
                  </a:lnTo>
                  <a:lnTo>
                    <a:pt x="197" y="198"/>
                  </a:lnTo>
                  <a:lnTo>
                    <a:pt x="199" y="196"/>
                  </a:lnTo>
                  <a:lnTo>
                    <a:pt x="201" y="196"/>
                  </a:lnTo>
                  <a:lnTo>
                    <a:pt x="202" y="198"/>
                  </a:lnTo>
                  <a:lnTo>
                    <a:pt x="206" y="199"/>
                  </a:lnTo>
                  <a:lnTo>
                    <a:pt x="206" y="201"/>
                  </a:lnTo>
                  <a:lnTo>
                    <a:pt x="208" y="201"/>
                  </a:lnTo>
                  <a:lnTo>
                    <a:pt x="210" y="201"/>
                  </a:lnTo>
                  <a:lnTo>
                    <a:pt x="212" y="201"/>
                  </a:lnTo>
                  <a:lnTo>
                    <a:pt x="218" y="199"/>
                  </a:lnTo>
                  <a:lnTo>
                    <a:pt x="220" y="199"/>
                  </a:lnTo>
                  <a:lnTo>
                    <a:pt x="222" y="199"/>
                  </a:lnTo>
                  <a:lnTo>
                    <a:pt x="222" y="199"/>
                  </a:lnTo>
                  <a:lnTo>
                    <a:pt x="227" y="198"/>
                  </a:lnTo>
                  <a:lnTo>
                    <a:pt x="231" y="198"/>
                  </a:lnTo>
                  <a:lnTo>
                    <a:pt x="231" y="196"/>
                  </a:lnTo>
                  <a:lnTo>
                    <a:pt x="241" y="198"/>
                  </a:lnTo>
                  <a:lnTo>
                    <a:pt x="241" y="198"/>
                  </a:lnTo>
                  <a:lnTo>
                    <a:pt x="241" y="198"/>
                  </a:lnTo>
                  <a:lnTo>
                    <a:pt x="243" y="198"/>
                  </a:lnTo>
                  <a:lnTo>
                    <a:pt x="241" y="199"/>
                  </a:lnTo>
                  <a:lnTo>
                    <a:pt x="233" y="207"/>
                  </a:lnTo>
                  <a:lnTo>
                    <a:pt x="233" y="207"/>
                  </a:lnTo>
                  <a:lnTo>
                    <a:pt x="233" y="207"/>
                  </a:lnTo>
                  <a:lnTo>
                    <a:pt x="233" y="209"/>
                  </a:lnTo>
                  <a:lnTo>
                    <a:pt x="233" y="209"/>
                  </a:lnTo>
                  <a:lnTo>
                    <a:pt x="233" y="211"/>
                  </a:lnTo>
                  <a:lnTo>
                    <a:pt x="235" y="211"/>
                  </a:lnTo>
                  <a:lnTo>
                    <a:pt x="237" y="211"/>
                  </a:lnTo>
                  <a:lnTo>
                    <a:pt x="237" y="213"/>
                  </a:lnTo>
                  <a:lnTo>
                    <a:pt x="237" y="215"/>
                  </a:lnTo>
                  <a:lnTo>
                    <a:pt x="235" y="217"/>
                  </a:lnTo>
                  <a:lnTo>
                    <a:pt x="233" y="220"/>
                  </a:lnTo>
                  <a:lnTo>
                    <a:pt x="233" y="224"/>
                  </a:lnTo>
                  <a:lnTo>
                    <a:pt x="231" y="224"/>
                  </a:lnTo>
                  <a:lnTo>
                    <a:pt x="233" y="226"/>
                  </a:lnTo>
                  <a:lnTo>
                    <a:pt x="233" y="228"/>
                  </a:lnTo>
                  <a:lnTo>
                    <a:pt x="233" y="228"/>
                  </a:lnTo>
                  <a:lnTo>
                    <a:pt x="233" y="230"/>
                  </a:lnTo>
                  <a:lnTo>
                    <a:pt x="233" y="236"/>
                  </a:lnTo>
                  <a:lnTo>
                    <a:pt x="233" y="238"/>
                  </a:lnTo>
                  <a:lnTo>
                    <a:pt x="233" y="238"/>
                  </a:lnTo>
                  <a:lnTo>
                    <a:pt x="233" y="238"/>
                  </a:lnTo>
                  <a:lnTo>
                    <a:pt x="235" y="238"/>
                  </a:lnTo>
                  <a:lnTo>
                    <a:pt x="235" y="236"/>
                  </a:lnTo>
                  <a:lnTo>
                    <a:pt x="237" y="236"/>
                  </a:lnTo>
                  <a:lnTo>
                    <a:pt x="241" y="234"/>
                  </a:lnTo>
                  <a:lnTo>
                    <a:pt x="246" y="234"/>
                  </a:lnTo>
                  <a:lnTo>
                    <a:pt x="248" y="232"/>
                  </a:lnTo>
                  <a:lnTo>
                    <a:pt x="248" y="232"/>
                  </a:lnTo>
                  <a:lnTo>
                    <a:pt x="250" y="230"/>
                  </a:lnTo>
                  <a:lnTo>
                    <a:pt x="250" y="230"/>
                  </a:lnTo>
                  <a:lnTo>
                    <a:pt x="252" y="230"/>
                  </a:lnTo>
                  <a:lnTo>
                    <a:pt x="254" y="230"/>
                  </a:lnTo>
                  <a:lnTo>
                    <a:pt x="256" y="232"/>
                  </a:lnTo>
                  <a:lnTo>
                    <a:pt x="256" y="234"/>
                  </a:lnTo>
                  <a:lnTo>
                    <a:pt x="262" y="236"/>
                  </a:lnTo>
                  <a:lnTo>
                    <a:pt x="265" y="239"/>
                  </a:lnTo>
                  <a:lnTo>
                    <a:pt x="271" y="247"/>
                  </a:lnTo>
                  <a:lnTo>
                    <a:pt x="271" y="247"/>
                  </a:lnTo>
                  <a:lnTo>
                    <a:pt x="271" y="249"/>
                  </a:lnTo>
                  <a:lnTo>
                    <a:pt x="273" y="249"/>
                  </a:lnTo>
                  <a:lnTo>
                    <a:pt x="273" y="249"/>
                  </a:lnTo>
                  <a:lnTo>
                    <a:pt x="273" y="247"/>
                  </a:lnTo>
                  <a:lnTo>
                    <a:pt x="275" y="247"/>
                  </a:lnTo>
                  <a:lnTo>
                    <a:pt x="277" y="245"/>
                  </a:lnTo>
                  <a:lnTo>
                    <a:pt x="277" y="245"/>
                  </a:lnTo>
                  <a:lnTo>
                    <a:pt x="279" y="245"/>
                  </a:lnTo>
                  <a:lnTo>
                    <a:pt x="279" y="245"/>
                  </a:lnTo>
                  <a:lnTo>
                    <a:pt x="279" y="245"/>
                  </a:lnTo>
                  <a:lnTo>
                    <a:pt x="281" y="245"/>
                  </a:lnTo>
                  <a:lnTo>
                    <a:pt x="281" y="247"/>
                  </a:lnTo>
                  <a:lnTo>
                    <a:pt x="279" y="247"/>
                  </a:lnTo>
                  <a:lnTo>
                    <a:pt x="279" y="249"/>
                  </a:lnTo>
                  <a:lnTo>
                    <a:pt x="279" y="249"/>
                  </a:lnTo>
                  <a:lnTo>
                    <a:pt x="277" y="251"/>
                  </a:lnTo>
                  <a:lnTo>
                    <a:pt x="277" y="251"/>
                  </a:lnTo>
                  <a:lnTo>
                    <a:pt x="277" y="253"/>
                  </a:lnTo>
                  <a:lnTo>
                    <a:pt x="275" y="253"/>
                  </a:lnTo>
                  <a:lnTo>
                    <a:pt x="275" y="255"/>
                  </a:lnTo>
                  <a:lnTo>
                    <a:pt x="273" y="255"/>
                  </a:lnTo>
                  <a:lnTo>
                    <a:pt x="271" y="257"/>
                  </a:lnTo>
                  <a:lnTo>
                    <a:pt x="271" y="257"/>
                  </a:lnTo>
                  <a:lnTo>
                    <a:pt x="271" y="258"/>
                  </a:lnTo>
                  <a:lnTo>
                    <a:pt x="271" y="258"/>
                  </a:lnTo>
                  <a:lnTo>
                    <a:pt x="273" y="258"/>
                  </a:lnTo>
                  <a:lnTo>
                    <a:pt x="275" y="260"/>
                  </a:lnTo>
                  <a:lnTo>
                    <a:pt x="275" y="260"/>
                  </a:lnTo>
                  <a:lnTo>
                    <a:pt x="275" y="262"/>
                  </a:lnTo>
                  <a:lnTo>
                    <a:pt x="275" y="262"/>
                  </a:lnTo>
                  <a:lnTo>
                    <a:pt x="279" y="262"/>
                  </a:lnTo>
                  <a:lnTo>
                    <a:pt x="281" y="264"/>
                  </a:lnTo>
                  <a:lnTo>
                    <a:pt x="281" y="264"/>
                  </a:lnTo>
                  <a:lnTo>
                    <a:pt x="281" y="264"/>
                  </a:lnTo>
                  <a:lnTo>
                    <a:pt x="284" y="268"/>
                  </a:lnTo>
                  <a:lnTo>
                    <a:pt x="286" y="270"/>
                  </a:lnTo>
                  <a:lnTo>
                    <a:pt x="286" y="270"/>
                  </a:lnTo>
                  <a:lnTo>
                    <a:pt x="288" y="272"/>
                  </a:lnTo>
                  <a:lnTo>
                    <a:pt x="290" y="272"/>
                  </a:lnTo>
                  <a:lnTo>
                    <a:pt x="290" y="274"/>
                  </a:lnTo>
                  <a:lnTo>
                    <a:pt x="290" y="274"/>
                  </a:lnTo>
                  <a:lnTo>
                    <a:pt x="290" y="276"/>
                  </a:lnTo>
                  <a:lnTo>
                    <a:pt x="290" y="277"/>
                  </a:lnTo>
                  <a:lnTo>
                    <a:pt x="290" y="277"/>
                  </a:lnTo>
                  <a:lnTo>
                    <a:pt x="290" y="279"/>
                  </a:lnTo>
                  <a:lnTo>
                    <a:pt x="290" y="279"/>
                  </a:lnTo>
                  <a:lnTo>
                    <a:pt x="290" y="279"/>
                  </a:lnTo>
                  <a:lnTo>
                    <a:pt x="290" y="281"/>
                  </a:lnTo>
                  <a:lnTo>
                    <a:pt x="290" y="281"/>
                  </a:lnTo>
                  <a:lnTo>
                    <a:pt x="290" y="281"/>
                  </a:lnTo>
                  <a:lnTo>
                    <a:pt x="292" y="283"/>
                  </a:lnTo>
                  <a:lnTo>
                    <a:pt x="292" y="283"/>
                  </a:lnTo>
                  <a:lnTo>
                    <a:pt x="290" y="285"/>
                  </a:lnTo>
                  <a:lnTo>
                    <a:pt x="279" y="289"/>
                  </a:lnTo>
                  <a:lnTo>
                    <a:pt x="277" y="293"/>
                  </a:lnTo>
                  <a:lnTo>
                    <a:pt x="275" y="293"/>
                  </a:lnTo>
                  <a:lnTo>
                    <a:pt x="273" y="293"/>
                  </a:lnTo>
                  <a:lnTo>
                    <a:pt x="271" y="293"/>
                  </a:lnTo>
                  <a:lnTo>
                    <a:pt x="269" y="293"/>
                  </a:lnTo>
                  <a:lnTo>
                    <a:pt x="269" y="293"/>
                  </a:lnTo>
                  <a:lnTo>
                    <a:pt x="269" y="293"/>
                  </a:lnTo>
                  <a:lnTo>
                    <a:pt x="269" y="295"/>
                  </a:lnTo>
                  <a:lnTo>
                    <a:pt x="267" y="295"/>
                  </a:lnTo>
                  <a:lnTo>
                    <a:pt x="267" y="295"/>
                  </a:lnTo>
                  <a:lnTo>
                    <a:pt x="265" y="295"/>
                  </a:lnTo>
                  <a:lnTo>
                    <a:pt x="265" y="295"/>
                  </a:lnTo>
                  <a:lnTo>
                    <a:pt x="263" y="296"/>
                  </a:lnTo>
                  <a:lnTo>
                    <a:pt x="262" y="298"/>
                  </a:lnTo>
                  <a:lnTo>
                    <a:pt x="258" y="300"/>
                  </a:lnTo>
                  <a:lnTo>
                    <a:pt x="254" y="304"/>
                  </a:lnTo>
                  <a:lnTo>
                    <a:pt x="252" y="308"/>
                  </a:lnTo>
                  <a:lnTo>
                    <a:pt x="252" y="308"/>
                  </a:lnTo>
                  <a:lnTo>
                    <a:pt x="252" y="308"/>
                  </a:lnTo>
                  <a:lnTo>
                    <a:pt x="252" y="308"/>
                  </a:lnTo>
                  <a:lnTo>
                    <a:pt x="254" y="308"/>
                  </a:lnTo>
                  <a:lnTo>
                    <a:pt x="254" y="310"/>
                  </a:lnTo>
                  <a:lnTo>
                    <a:pt x="254" y="310"/>
                  </a:lnTo>
                  <a:lnTo>
                    <a:pt x="254" y="310"/>
                  </a:lnTo>
                  <a:lnTo>
                    <a:pt x="254" y="310"/>
                  </a:lnTo>
                  <a:lnTo>
                    <a:pt x="254" y="310"/>
                  </a:lnTo>
                  <a:lnTo>
                    <a:pt x="258" y="312"/>
                  </a:lnTo>
                  <a:lnTo>
                    <a:pt x="258" y="312"/>
                  </a:lnTo>
                  <a:lnTo>
                    <a:pt x="258" y="312"/>
                  </a:lnTo>
                  <a:lnTo>
                    <a:pt x="258" y="312"/>
                  </a:lnTo>
                  <a:lnTo>
                    <a:pt x="260" y="312"/>
                  </a:lnTo>
                  <a:lnTo>
                    <a:pt x="260" y="312"/>
                  </a:lnTo>
                  <a:lnTo>
                    <a:pt x="258" y="314"/>
                  </a:lnTo>
                  <a:lnTo>
                    <a:pt x="258" y="314"/>
                  </a:lnTo>
                  <a:lnTo>
                    <a:pt x="258" y="314"/>
                  </a:lnTo>
                  <a:lnTo>
                    <a:pt x="260" y="314"/>
                  </a:lnTo>
                  <a:lnTo>
                    <a:pt x="260" y="314"/>
                  </a:lnTo>
                  <a:lnTo>
                    <a:pt x="262" y="316"/>
                  </a:lnTo>
                  <a:lnTo>
                    <a:pt x="262" y="317"/>
                  </a:lnTo>
                  <a:lnTo>
                    <a:pt x="262" y="317"/>
                  </a:lnTo>
                  <a:lnTo>
                    <a:pt x="262" y="317"/>
                  </a:lnTo>
                  <a:lnTo>
                    <a:pt x="262" y="319"/>
                  </a:lnTo>
                  <a:lnTo>
                    <a:pt x="262" y="321"/>
                  </a:lnTo>
                  <a:lnTo>
                    <a:pt x="258" y="323"/>
                  </a:lnTo>
                  <a:lnTo>
                    <a:pt x="252" y="325"/>
                  </a:lnTo>
                  <a:lnTo>
                    <a:pt x="250" y="325"/>
                  </a:lnTo>
                  <a:lnTo>
                    <a:pt x="250" y="323"/>
                  </a:lnTo>
                  <a:lnTo>
                    <a:pt x="250" y="323"/>
                  </a:lnTo>
                  <a:lnTo>
                    <a:pt x="250" y="323"/>
                  </a:lnTo>
                  <a:lnTo>
                    <a:pt x="250" y="323"/>
                  </a:lnTo>
                  <a:lnTo>
                    <a:pt x="250" y="323"/>
                  </a:lnTo>
                  <a:lnTo>
                    <a:pt x="250" y="323"/>
                  </a:lnTo>
                  <a:lnTo>
                    <a:pt x="244" y="319"/>
                  </a:lnTo>
                  <a:lnTo>
                    <a:pt x="244" y="319"/>
                  </a:lnTo>
                  <a:lnTo>
                    <a:pt x="241" y="317"/>
                  </a:lnTo>
                  <a:lnTo>
                    <a:pt x="237" y="319"/>
                  </a:lnTo>
                  <a:lnTo>
                    <a:pt x="237" y="321"/>
                  </a:lnTo>
                  <a:lnTo>
                    <a:pt x="237" y="321"/>
                  </a:lnTo>
                  <a:lnTo>
                    <a:pt x="237" y="323"/>
                  </a:lnTo>
                  <a:lnTo>
                    <a:pt x="239" y="325"/>
                  </a:lnTo>
                  <a:lnTo>
                    <a:pt x="239" y="325"/>
                  </a:lnTo>
                  <a:lnTo>
                    <a:pt x="239" y="327"/>
                  </a:lnTo>
                  <a:lnTo>
                    <a:pt x="239" y="329"/>
                  </a:lnTo>
                  <a:lnTo>
                    <a:pt x="239" y="331"/>
                  </a:lnTo>
                  <a:lnTo>
                    <a:pt x="233" y="344"/>
                  </a:lnTo>
                  <a:lnTo>
                    <a:pt x="233" y="348"/>
                  </a:lnTo>
                  <a:lnTo>
                    <a:pt x="233" y="352"/>
                  </a:lnTo>
                  <a:lnTo>
                    <a:pt x="231" y="352"/>
                  </a:lnTo>
                  <a:lnTo>
                    <a:pt x="231" y="354"/>
                  </a:lnTo>
                  <a:lnTo>
                    <a:pt x="231" y="354"/>
                  </a:lnTo>
                  <a:lnTo>
                    <a:pt x="231" y="354"/>
                  </a:lnTo>
                  <a:lnTo>
                    <a:pt x="237" y="359"/>
                  </a:lnTo>
                  <a:lnTo>
                    <a:pt x="239" y="359"/>
                  </a:lnTo>
                  <a:lnTo>
                    <a:pt x="239" y="359"/>
                  </a:lnTo>
                  <a:lnTo>
                    <a:pt x="239" y="361"/>
                  </a:lnTo>
                  <a:lnTo>
                    <a:pt x="239" y="363"/>
                  </a:lnTo>
                  <a:lnTo>
                    <a:pt x="239" y="365"/>
                  </a:lnTo>
                  <a:lnTo>
                    <a:pt x="239" y="365"/>
                  </a:lnTo>
                  <a:lnTo>
                    <a:pt x="241" y="369"/>
                  </a:lnTo>
                  <a:lnTo>
                    <a:pt x="241" y="371"/>
                  </a:lnTo>
                  <a:lnTo>
                    <a:pt x="241" y="373"/>
                  </a:lnTo>
                  <a:lnTo>
                    <a:pt x="241" y="373"/>
                  </a:lnTo>
                  <a:lnTo>
                    <a:pt x="241" y="374"/>
                  </a:lnTo>
                  <a:lnTo>
                    <a:pt x="237" y="382"/>
                  </a:lnTo>
                  <a:lnTo>
                    <a:pt x="237" y="384"/>
                  </a:lnTo>
                  <a:lnTo>
                    <a:pt x="239" y="384"/>
                  </a:lnTo>
                  <a:lnTo>
                    <a:pt x="244" y="384"/>
                  </a:lnTo>
                  <a:lnTo>
                    <a:pt x="250" y="384"/>
                  </a:lnTo>
                  <a:lnTo>
                    <a:pt x="256" y="384"/>
                  </a:lnTo>
                  <a:lnTo>
                    <a:pt x="256" y="384"/>
                  </a:lnTo>
                  <a:lnTo>
                    <a:pt x="256" y="386"/>
                  </a:lnTo>
                  <a:lnTo>
                    <a:pt x="256" y="386"/>
                  </a:lnTo>
                  <a:lnTo>
                    <a:pt x="256" y="386"/>
                  </a:lnTo>
                  <a:lnTo>
                    <a:pt x="256" y="386"/>
                  </a:lnTo>
                  <a:lnTo>
                    <a:pt x="256" y="386"/>
                  </a:lnTo>
                  <a:lnTo>
                    <a:pt x="256" y="388"/>
                  </a:lnTo>
                  <a:lnTo>
                    <a:pt x="256" y="388"/>
                  </a:lnTo>
                  <a:lnTo>
                    <a:pt x="256" y="390"/>
                  </a:lnTo>
                  <a:lnTo>
                    <a:pt x="256" y="392"/>
                  </a:lnTo>
                  <a:lnTo>
                    <a:pt x="256" y="393"/>
                  </a:lnTo>
                  <a:lnTo>
                    <a:pt x="258" y="393"/>
                  </a:lnTo>
                  <a:lnTo>
                    <a:pt x="258" y="395"/>
                  </a:lnTo>
                  <a:lnTo>
                    <a:pt x="258" y="395"/>
                  </a:lnTo>
                  <a:lnTo>
                    <a:pt x="260" y="395"/>
                  </a:lnTo>
                  <a:lnTo>
                    <a:pt x="260" y="395"/>
                  </a:lnTo>
                  <a:lnTo>
                    <a:pt x="262" y="395"/>
                  </a:lnTo>
                  <a:lnTo>
                    <a:pt x="262" y="395"/>
                  </a:lnTo>
                  <a:lnTo>
                    <a:pt x="263" y="395"/>
                  </a:lnTo>
                  <a:lnTo>
                    <a:pt x="263" y="393"/>
                  </a:lnTo>
                  <a:lnTo>
                    <a:pt x="265" y="392"/>
                  </a:lnTo>
                  <a:lnTo>
                    <a:pt x="267" y="390"/>
                  </a:lnTo>
                  <a:lnTo>
                    <a:pt x="271" y="386"/>
                  </a:lnTo>
                  <a:lnTo>
                    <a:pt x="273" y="386"/>
                  </a:lnTo>
                  <a:lnTo>
                    <a:pt x="273" y="386"/>
                  </a:lnTo>
                  <a:lnTo>
                    <a:pt x="273" y="386"/>
                  </a:lnTo>
                  <a:lnTo>
                    <a:pt x="275" y="384"/>
                  </a:lnTo>
                  <a:lnTo>
                    <a:pt x="275" y="384"/>
                  </a:lnTo>
                  <a:lnTo>
                    <a:pt x="275" y="384"/>
                  </a:lnTo>
                  <a:lnTo>
                    <a:pt x="275" y="382"/>
                  </a:lnTo>
                  <a:lnTo>
                    <a:pt x="275" y="380"/>
                  </a:lnTo>
                  <a:lnTo>
                    <a:pt x="275" y="378"/>
                  </a:lnTo>
                  <a:lnTo>
                    <a:pt x="279" y="374"/>
                  </a:lnTo>
                  <a:lnTo>
                    <a:pt x="281" y="373"/>
                  </a:lnTo>
                  <a:lnTo>
                    <a:pt x="283" y="371"/>
                  </a:lnTo>
                  <a:lnTo>
                    <a:pt x="283" y="371"/>
                  </a:lnTo>
                  <a:lnTo>
                    <a:pt x="283" y="369"/>
                  </a:lnTo>
                  <a:lnTo>
                    <a:pt x="286" y="361"/>
                  </a:lnTo>
                  <a:lnTo>
                    <a:pt x="286" y="361"/>
                  </a:lnTo>
                  <a:lnTo>
                    <a:pt x="286" y="359"/>
                  </a:lnTo>
                  <a:lnTo>
                    <a:pt x="288" y="361"/>
                  </a:lnTo>
                  <a:lnTo>
                    <a:pt x="288" y="361"/>
                  </a:lnTo>
                  <a:lnTo>
                    <a:pt x="288" y="363"/>
                  </a:lnTo>
                  <a:lnTo>
                    <a:pt x="294" y="371"/>
                  </a:lnTo>
                  <a:lnTo>
                    <a:pt x="294" y="373"/>
                  </a:lnTo>
                  <a:lnTo>
                    <a:pt x="296" y="373"/>
                  </a:lnTo>
                  <a:lnTo>
                    <a:pt x="296" y="373"/>
                  </a:lnTo>
                  <a:lnTo>
                    <a:pt x="303" y="369"/>
                  </a:lnTo>
                  <a:lnTo>
                    <a:pt x="303" y="371"/>
                  </a:lnTo>
                  <a:lnTo>
                    <a:pt x="307" y="371"/>
                  </a:lnTo>
                  <a:lnTo>
                    <a:pt x="309" y="371"/>
                  </a:lnTo>
                  <a:lnTo>
                    <a:pt x="311" y="369"/>
                  </a:lnTo>
                  <a:lnTo>
                    <a:pt x="309" y="367"/>
                  </a:lnTo>
                  <a:lnTo>
                    <a:pt x="313" y="367"/>
                  </a:lnTo>
                  <a:lnTo>
                    <a:pt x="313" y="363"/>
                  </a:lnTo>
                  <a:lnTo>
                    <a:pt x="313" y="355"/>
                  </a:lnTo>
                  <a:lnTo>
                    <a:pt x="315" y="352"/>
                  </a:lnTo>
                  <a:lnTo>
                    <a:pt x="315" y="352"/>
                  </a:lnTo>
                  <a:lnTo>
                    <a:pt x="317" y="352"/>
                  </a:lnTo>
                  <a:lnTo>
                    <a:pt x="319" y="350"/>
                  </a:lnTo>
                  <a:lnTo>
                    <a:pt x="319" y="350"/>
                  </a:lnTo>
                  <a:lnTo>
                    <a:pt x="317" y="346"/>
                  </a:lnTo>
                  <a:lnTo>
                    <a:pt x="319" y="342"/>
                  </a:lnTo>
                  <a:lnTo>
                    <a:pt x="319" y="340"/>
                  </a:lnTo>
                  <a:lnTo>
                    <a:pt x="319" y="340"/>
                  </a:lnTo>
                  <a:lnTo>
                    <a:pt x="317" y="340"/>
                  </a:lnTo>
                  <a:lnTo>
                    <a:pt x="317" y="338"/>
                  </a:lnTo>
                  <a:lnTo>
                    <a:pt x="317" y="338"/>
                  </a:lnTo>
                  <a:lnTo>
                    <a:pt x="317" y="336"/>
                  </a:lnTo>
                  <a:lnTo>
                    <a:pt x="317" y="336"/>
                  </a:lnTo>
                  <a:lnTo>
                    <a:pt x="319" y="335"/>
                  </a:lnTo>
                  <a:lnTo>
                    <a:pt x="319" y="335"/>
                  </a:lnTo>
                  <a:lnTo>
                    <a:pt x="319" y="331"/>
                  </a:lnTo>
                  <a:lnTo>
                    <a:pt x="321" y="329"/>
                  </a:lnTo>
                  <a:lnTo>
                    <a:pt x="321" y="327"/>
                  </a:lnTo>
                  <a:lnTo>
                    <a:pt x="321" y="327"/>
                  </a:lnTo>
                  <a:lnTo>
                    <a:pt x="321" y="327"/>
                  </a:lnTo>
                  <a:lnTo>
                    <a:pt x="323" y="325"/>
                  </a:lnTo>
                  <a:lnTo>
                    <a:pt x="323" y="325"/>
                  </a:lnTo>
                  <a:lnTo>
                    <a:pt x="323" y="325"/>
                  </a:lnTo>
                  <a:lnTo>
                    <a:pt x="323" y="325"/>
                  </a:lnTo>
                  <a:lnTo>
                    <a:pt x="323" y="325"/>
                  </a:lnTo>
                  <a:lnTo>
                    <a:pt x="324" y="327"/>
                  </a:lnTo>
                  <a:lnTo>
                    <a:pt x="324" y="327"/>
                  </a:lnTo>
                  <a:lnTo>
                    <a:pt x="326" y="327"/>
                  </a:lnTo>
                  <a:lnTo>
                    <a:pt x="326" y="327"/>
                  </a:lnTo>
                  <a:lnTo>
                    <a:pt x="328" y="327"/>
                  </a:lnTo>
                  <a:lnTo>
                    <a:pt x="328" y="325"/>
                  </a:lnTo>
                  <a:lnTo>
                    <a:pt x="328" y="325"/>
                  </a:lnTo>
                  <a:lnTo>
                    <a:pt x="328" y="323"/>
                  </a:lnTo>
                  <a:lnTo>
                    <a:pt x="330" y="319"/>
                  </a:lnTo>
                  <a:lnTo>
                    <a:pt x="332" y="316"/>
                  </a:lnTo>
                  <a:lnTo>
                    <a:pt x="332" y="316"/>
                  </a:lnTo>
                  <a:lnTo>
                    <a:pt x="332" y="316"/>
                  </a:lnTo>
                  <a:lnTo>
                    <a:pt x="332" y="314"/>
                  </a:lnTo>
                  <a:lnTo>
                    <a:pt x="332" y="314"/>
                  </a:lnTo>
                  <a:lnTo>
                    <a:pt x="332" y="314"/>
                  </a:lnTo>
                  <a:lnTo>
                    <a:pt x="332" y="312"/>
                  </a:lnTo>
                  <a:lnTo>
                    <a:pt x="332" y="312"/>
                  </a:lnTo>
                  <a:lnTo>
                    <a:pt x="332" y="312"/>
                  </a:lnTo>
                  <a:lnTo>
                    <a:pt x="334" y="312"/>
                  </a:lnTo>
                  <a:lnTo>
                    <a:pt x="334" y="312"/>
                  </a:lnTo>
                  <a:lnTo>
                    <a:pt x="334" y="310"/>
                  </a:lnTo>
                  <a:lnTo>
                    <a:pt x="334" y="310"/>
                  </a:lnTo>
                  <a:lnTo>
                    <a:pt x="334" y="306"/>
                  </a:lnTo>
                  <a:lnTo>
                    <a:pt x="334" y="304"/>
                  </a:lnTo>
                  <a:lnTo>
                    <a:pt x="334" y="304"/>
                  </a:lnTo>
                  <a:lnTo>
                    <a:pt x="334" y="302"/>
                  </a:lnTo>
                  <a:lnTo>
                    <a:pt x="334" y="302"/>
                  </a:lnTo>
                  <a:lnTo>
                    <a:pt x="336" y="302"/>
                  </a:lnTo>
                  <a:lnTo>
                    <a:pt x="336" y="302"/>
                  </a:lnTo>
                  <a:lnTo>
                    <a:pt x="338" y="302"/>
                  </a:lnTo>
                  <a:lnTo>
                    <a:pt x="338" y="300"/>
                  </a:lnTo>
                  <a:lnTo>
                    <a:pt x="338" y="300"/>
                  </a:lnTo>
                  <a:lnTo>
                    <a:pt x="338" y="298"/>
                  </a:lnTo>
                  <a:lnTo>
                    <a:pt x="340" y="298"/>
                  </a:lnTo>
                  <a:lnTo>
                    <a:pt x="340" y="296"/>
                  </a:lnTo>
                  <a:lnTo>
                    <a:pt x="342" y="295"/>
                  </a:lnTo>
                  <a:lnTo>
                    <a:pt x="343" y="289"/>
                  </a:lnTo>
                  <a:lnTo>
                    <a:pt x="345" y="283"/>
                  </a:lnTo>
                  <a:lnTo>
                    <a:pt x="347" y="281"/>
                  </a:lnTo>
                  <a:lnTo>
                    <a:pt x="347" y="279"/>
                  </a:lnTo>
                  <a:lnTo>
                    <a:pt x="351" y="277"/>
                  </a:lnTo>
                  <a:lnTo>
                    <a:pt x="351" y="276"/>
                  </a:lnTo>
                  <a:lnTo>
                    <a:pt x="351" y="274"/>
                  </a:lnTo>
                  <a:lnTo>
                    <a:pt x="351" y="270"/>
                  </a:lnTo>
                  <a:lnTo>
                    <a:pt x="351" y="268"/>
                  </a:lnTo>
                  <a:lnTo>
                    <a:pt x="351" y="268"/>
                  </a:lnTo>
                  <a:lnTo>
                    <a:pt x="351" y="266"/>
                  </a:lnTo>
                  <a:lnTo>
                    <a:pt x="349" y="264"/>
                  </a:lnTo>
                  <a:lnTo>
                    <a:pt x="349" y="264"/>
                  </a:lnTo>
                  <a:lnTo>
                    <a:pt x="349" y="262"/>
                  </a:lnTo>
                  <a:lnTo>
                    <a:pt x="347" y="262"/>
                  </a:lnTo>
                  <a:lnTo>
                    <a:pt x="347" y="262"/>
                  </a:lnTo>
                  <a:lnTo>
                    <a:pt x="345" y="260"/>
                  </a:lnTo>
                  <a:lnTo>
                    <a:pt x="345" y="260"/>
                  </a:lnTo>
                  <a:lnTo>
                    <a:pt x="345" y="258"/>
                  </a:lnTo>
                  <a:lnTo>
                    <a:pt x="343" y="258"/>
                  </a:lnTo>
                  <a:lnTo>
                    <a:pt x="343" y="257"/>
                  </a:lnTo>
                  <a:lnTo>
                    <a:pt x="343" y="257"/>
                  </a:lnTo>
                  <a:lnTo>
                    <a:pt x="343" y="257"/>
                  </a:lnTo>
                  <a:lnTo>
                    <a:pt x="343" y="257"/>
                  </a:lnTo>
                  <a:lnTo>
                    <a:pt x="342" y="257"/>
                  </a:lnTo>
                  <a:lnTo>
                    <a:pt x="342" y="255"/>
                  </a:lnTo>
                  <a:lnTo>
                    <a:pt x="340" y="255"/>
                  </a:lnTo>
                  <a:lnTo>
                    <a:pt x="340" y="253"/>
                  </a:lnTo>
                  <a:lnTo>
                    <a:pt x="340" y="251"/>
                  </a:lnTo>
                  <a:lnTo>
                    <a:pt x="342" y="251"/>
                  </a:lnTo>
                  <a:lnTo>
                    <a:pt x="343" y="249"/>
                  </a:lnTo>
                  <a:lnTo>
                    <a:pt x="347" y="245"/>
                  </a:lnTo>
                  <a:lnTo>
                    <a:pt x="353" y="241"/>
                  </a:lnTo>
                  <a:lnTo>
                    <a:pt x="357" y="238"/>
                  </a:lnTo>
                  <a:lnTo>
                    <a:pt x="363" y="230"/>
                  </a:lnTo>
                  <a:lnTo>
                    <a:pt x="364" y="228"/>
                  </a:lnTo>
                  <a:lnTo>
                    <a:pt x="374" y="220"/>
                  </a:lnTo>
                  <a:lnTo>
                    <a:pt x="374" y="219"/>
                  </a:lnTo>
                  <a:lnTo>
                    <a:pt x="374" y="219"/>
                  </a:lnTo>
                  <a:lnTo>
                    <a:pt x="374" y="219"/>
                  </a:lnTo>
                  <a:lnTo>
                    <a:pt x="374" y="219"/>
                  </a:lnTo>
                  <a:lnTo>
                    <a:pt x="372" y="217"/>
                  </a:lnTo>
                  <a:lnTo>
                    <a:pt x="372" y="215"/>
                  </a:lnTo>
                  <a:lnTo>
                    <a:pt x="372" y="215"/>
                  </a:lnTo>
                  <a:lnTo>
                    <a:pt x="372" y="215"/>
                  </a:lnTo>
                  <a:lnTo>
                    <a:pt x="372" y="213"/>
                  </a:lnTo>
                  <a:lnTo>
                    <a:pt x="374" y="213"/>
                  </a:lnTo>
                  <a:lnTo>
                    <a:pt x="376" y="211"/>
                  </a:lnTo>
                  <a:lnTo>
                    <a:pt x="378" y="211"/>
                  </a:lnTo>
                  <a:lnTo>
                    <a:pt x="378" y="209"/>
                  </a:lnTo>
                  <a:lnTo>
                    <a:pt x="380" y="209"/>
                  </a:lnTo>
                  <a:lnTo>
                    <a:pt x="380" y="209"/>
                  </a:lnTo>
                  <a:lnTo>
                    <a:pt x="382" y="211"/>
                  </a:lnTo>
                  <a:lnTo>
                    <a:pt x="382" y="211"/>
                  </a:lnTo>
                  <a:lnTo>
                    <a:pt x="384" y="211"/>
                  </a:lnTo>
                  <a:lnTo>
                    <a:pt x="384" y="213"/>
                  </a:lnTo>
                  <a:lnTo>
                    <a:pt x="384" y="215"/>
                  </a:lnTo>
                  <a:lnTo>
                    <a:pt x="384" y="215"/>
                  </a:lnTo>
                  <a:lnTo>
                    <a:pt x="384" y="217"/>
                  </a:lnTo>
                  <a:lnTo>
                    <a:pt x="384" y="219"/>
                  </a:lnTo>
                  <a:lnTo>
                    <a:pt x="382" y="219"/>
                  </a:lnTo>
                  <a:lnTo>
                    <a:pt x="382" y="220"/>
                  </a:lnTo>
                  <a:lnTo>
                    <a:pt x="380" y="220"/>
                  </a:lnTo>
                  <a:lnTo>
                    <a:pt x="380" y="222"/>
                  </a:lnTo>
                  <a:lnTo>
                    <a:pt x="380" y="222"/>
                  </a:lnTo>
                  <a:lnTo>
                    <a:pt x="382" y="222"/>
                  </a:lnTo>
                  <a:lnTo>
                    <a:pt x="382" y="222"/>
                  </a:lnTo>
                  <a:lnTo>
                    <a:pt x="384" y="222"/>
                  </a:lnTo>
                  <a:lnTo>
                    <a:pt x="385" y="222"/>
                  </a:lnTo>
                  <a:lnTo>
                    <a:pt x="391" y="220"/>
                  </a:lnTo>
                  <a:lnTo>
                    <a:pt x="393" y="220"/>
                  </a:lnTo>
                  <a:lnTo>
                    <a:pt x="395" y="219"/>
                  </a:lnTo>
                  <a:lnTo>
                    <a:pt x="397" y="217"/>
                  </a:lnTo>
                  <a:lnTo>
                    <a:pt x="399" y="213"/>
                  </a:lnTo>
                  <a:lnTo>
                    <a:pt x="399" y="213"/>
                  </a:lnTo>
                  <a:lnTo>
                    <a:pt x="401" y="211"/>
                  </a:lnTo>
                  <a:lnTo>
                    <a:pt x="401" y="211"/>
                  </a:lnTo>
                  <a:lnTo>
                    <a:pt x="399" y="209"/>
                  </a:lnTo>
                  <a:lnTo>
                    <a:pt x="399" y="207"/>
                  </a:lnTo>
                  <a:lnTo>
                    <a:pt x="399" y="207"/>
                  </a:lnTo>
                  <a:lnTo>
                    <a:pt x="399" y="207"/>
                  </a:lnTo>
                  <a:lnTo>
                    <a:pt x="399" y="205"/>
                  </a:lnTo>
                  <a:lnTo>
                    <a:pt x="399" y="203"/>
                  </a:lnTo>
                  <a:lnTo>
                    <a:pt x="399" y="201"/>
                  </a:lnTo>
                  <a:lnTo>
                    <a:pt x="401" y="199"/>
                  </a:lnTo>
                  <a:lnTo>
                    <a:pt x="401" y="199"/>
                  </a:lnTo>
                  <a:lnTo>
                    <a:pt x="401" y="199"/>
                  </a:lnTo>
                  <a:lnTo>
                    <a:pt x="401" y="198"/>
                  </a:lnTo>
                  <a:lnTo>
                    <a:pt x="403" y="192"/>
                  </a:lnTo>
                  <a:lnTo>
                    <a:pt x="403" y="190"/>
                  </a:lnTo>
                  <a:lnTo>
                    <a:pt x="401" y="188"/>
                  </a:lnTo>
                  <a:lnTo>
                    <a:pt x="401" y="188"/>
                  </a:lnTo>
                  <a:lnTo>
                    <a:pt x="403" y="186"/>
                  </a:lnTo>
                  <a:lnTo>
                    <a:pt x="410" y="175"/>
                  </a:lnTo>
                  <a:lnTo>
                    <a:pt x="414" y="171"/>
                  </a:lnTo>
                  <a:lnTo>
                    <a:pt x="416" y="169"/>
                  </a:lnTo>
                  <a:lnTo>
                    <a:pt x="418" y="169"/>
                  </a:lnTo>
                  <a:lnTo>
                    <a:pt x="418" y="167"/>
                  </a:lnTo>
                  <a:lnTo>
                    <a:pt x="418" y="165"/>
                  </a:lnTo>
                  <a:lnTo>
                    <a:pt x="420" y="160"/>
                  </a:lnTo>
                  <a:lnTo>
                    <a:pt x="420" y="158"/>
                  </a:lnTo>
                  <a:lnTo>
                    <a:pt x="420" y="156"/>
                  </a:lnTo>
                  <a:lnTo>
                    <a:pt x="424" y="152"/>
                  </a:lnTo>
                  <a:lnTo>
                    <a:pt x="425" y="148"/>
                  </a:lnTo>
                  <a:lnTo>
                    <a:pt x="427" y="150"/>
                  </a:lnTo>
                  <a:lnTo>
                    <a:pt x="429" y="152"/>
                  </a:lnTo>
                  <a:lnTo>
                    <a:pt x="429" y="154"/>
                  </a:lnTo>
                  <a:lnTo>
                    <a:pt x="429" y="154"/>
                  </a:lnTo>
                  <a:lnTo>
                    <a:pt x="429" y="154"/>
                  </a:lnTo>
                  <a:lnTo>
                    <a:pt x="429" y="156"/>
                  </a:lnTo>
                  <a:lnTo>
                    <a:pt x="429" y="156"/>
                  </a:lnTo>
                  <a:lnTo>
                    <a:pt x="431" y="156"/>
                  </a:lnTo>
                  <a:lnTo>
                    <a:pt x="431" y="156"/>
                  </a:lnTo>
                  <a:lnTo>
                    <a:pt x="433" y="156"/>
                  </a:lnTo>
                  <a:lnTo>
                    <a:pt x="435" y="154"/>
                  </a:lnTo>
                  <a:lnTo>
                    <a:pt x="435" y="154"/>
                  </a:lnTo>
                  <a:lnTo>
                    <a:pt x="437" y="152"/>
                  </a:lnTo>
                  <a:lnTo>
                    <a:pt x="439" y="150"/>
                  </a:lnTo>
                  <a:lnTo>
                    <a:pt x="441" y="148"/>
                  </a:lnTo>
                  <a:lnTo>
                    <a:pt x="441" y="146"/>
                  </a:lnTo>
                  <a:lnTo>
                    <a:pt x="441" y="144"/>
                  </a:lnTo>
                  <a:lnTo>
                    <a:pt x="441" y="144"/>
                  </a:lnTo>
                  <a:lnTo>
                    <a:pt x="441" y="142"/>
                  </a:lnTo>
                  <a:lnTo>
                    <a:pt x="444" y="139"/>
                  </a:lnTo>
                  <a:lnTo>
                    <a:pt x="444" y="137"/>
                  </a:lnTo>
                  <a:lnTo>
                    <a:pt x="446" y="137"/>
                  </a:lnTo>
                  <a:lnTo>
                    <a:pt x="446" y="137"/>
                  </a:lnTo>
                  <a:lnTo>
                    <a:pt x="446" y="137"/>
                  </a:lnTo>
                  <a:lnTo>
                    <a:pt x="448" y="137"/>
                  </a:lnTo>
                  <a:lnTo>
                    <a:pt x="450" y="135"/>
                  </a:lnTo>
                  <a:lnTo>
                    <a:pt x="450" y="135"/>
                  </a:lnTo>
                  <a:lnTo>
                    <a:pt x="452" y="133"/>
                  </a:lnTo>
                  <a:lnTo>
                    <a:pt x="452" y="133"/>
                  </a:lnTo>
                  <a:lnTo>
                    <a:pt x="452" y="133"/>
                  </a:lnTo>
                  <a:lnTo>
                    <a:pt x="456" y="133"/>
                  </a:lnTo>
                  <a:lnTo>
                    <a:pt x="464" y="131"/>
                  </a:lnTo>
                  <a:lnTo>
                    <a:pt x="465" y="129"/>
                  </a:lnTo>
                  <a:lnTo>
                    <a:pt x="471" y="125"/>
                  </a:lnTo>
                  <a:lnTo>
                    <a:pt x="475" y="122"/>
                  </a:lnTo>
                  <a:lnTo>
                    <a:pt x="479" y="118"/>
                  </a:lnTo>
                  <a:lnTo>
                    <a:pt x="481" y="112"/>
                  </a:lnTo>
                  <a:lnTo>
                    <a:pt x="483" y="112"/>
                  </a:lnTo>
                  <a:lnTo>
                    <a:pt x="485" y="108"/>
                  </a:lnTo>
                  <a:lnTo>
                    <a:pt x="485" y="108"/>
                  </a:lnTo>
                  <a:lnTo>
                    <a:pt x="486" y="108"/>
                  </a:lnTo>
                  <a:lnTo>
                    <a:pt x="486" y="108"/>
                  </a:lnTo>
                  <a:lnTo>
                    <a:pt x="486" y="108"/>
                  </a:lnTo>
                  <a:lnTo>
                    <a:pt x="490" y="110"/>
                  </a:lnTo>
                  <a:lnTo>
                    <a:pt x="490" y="110"/>
                  </a:lnTo>
                  <a:lnTo>
                    <a:pt x="492" y="110"/>
                  </a:lnTo>
                  <a:lnTo>
                    <a:pt x="494" y="110"/>
                  </a:lnTo>
                  <a:lnTo>
                    <a:pt x="496" y="110"/>
                  </a:lnTo>
                  <a:lnTo>
                    <a:pt x="496" y="110"/>
                  </a:lnTo>
                  <a:lnTo>
                    <a:pt x="507" y="103"/>
                  </a:lnTo>
                  <a:lnTo>
                    <a:pt x="507" y="103"/>
                  </a:lnTo>
                  <a:lnTo>
                    <a:pt x="507" y="103"/>
                  </a:lnTo>
                  <a:lnTo>
                    <a:pt x="507" y="103"/>
                  </a:lnTo>
                  <a:lnTo>
                    <a:pt x="507" y="101"/>
                  </a:lnTo>
                  <a:lnTo>
                    <a:pt x="509" y="101"/>
                  </a:lnTo>
                  <a:lnTo>
                    <a:pt x="509" y="99"/>
                  </a:lnTo>
                  <a:lnTo>
                    <a:pt x="511" y="99"/>
                  </a:lnTo>
                  <a:lnTo>
                    <a:pt x="511" y="99"/>
                  </a:lnTo>
                  <a:lnTo>
                    <a:pt x="511" y="97"/>
                  </a:lnTo>
                  <a:lnTo>
                    <a:pt x="513" y="99"/>
                  </a:lnTo>
                  <a:lnTo>
                    <a:pt x="515" y="99"/>
                  </a:lnTo>
                  <a:lnTo>
                    <a:pt x="517" y="99"/>
                  </a:lnTo>
                  <a:lnTo>
                    <a:pt x="517" y="97"/>
                  </a:lnTo>
                  <a:lnTo>
                    <a:pt x="523" y="95"/>
                  </a:lnTo>
                  <a:lnTo>
                    <a:pt x="526" y="91"/>
                  </a:lnTo>
                  <a:lnTo>
                    <a:pt x="528" y="89"/>
                  </a:lnTo>
                  <a:lnTo>
                    <a:pt x="530" y="89"/>
                  </a:lnTo>
                  <a:lnTo>
                    <a:pt x="530" y="89"/>
                  </a:lnTo>
                  <a:lnTo>
                    <a:pt x="532" y="87"/>
                  </a:lnTo>
                  <a:lnTo>
                    <a:pt x="536" y="85"/>
                  </a:lnTo>
                  <a:lnTo>
                    <a:pt x="536" y="83"/>
                  </a:lnTo>
                  <a:lnTo>
                    <a:pt x="538" y="82"/>
                  </a:lnTo>
                  <a:lnTo>
                    <a:pt x="538" y="82"/>
                  </a:lnTo>
                  <a:lnTo>
                    <a:pt x="538" y="78"/>
                  </a:lnTo>
                  <a:lnTo>
                    <a:pt x="538" y="78"/>
                  </a:lnTo>
                  <a:lnTo>
                    <a:pt x="540" y="76"/>
                  </a:lnTo>
                  <a:lnTo>
                    <a:pt x="540" y="76"/>
                  </a:lnTo>
                  <a:lnTo>
                    <a:pt x="542" y="76"/>
                  </a:lnTo>
                  <a:lnTo>
                    <a:pt x="544" y="74"/>
                  </a:lnTo>
                  <a:lnTo>
                    <a:pt x="544" y="74"/>
                  </a:lnTo>
                  <a:lnTo>
                    <a:pt x="545" y="74"/>
                  </a:lnTo>
                  <a:lnTo>
                    <a:pt x="547" y="76"/>
                  </a:lnTo>
                  <a:lnTo>
                    <a:pt x="549" y="78"/>
                  </a:lnTo>
                  <a:lnTo>
                    <a:pt x="551" y="78"/>
                  </a:lnTo>
                  <a:lnTo>
                    <a:pt x="553" y="80"/>
                  </a:lnTo>
                  <a:lnTo>
                    <a:pt x="568" y="72"/>
                  </a:lnTo>
                  <a:lnTo>
                    <a:pt x="568" y="72"/>
                  </a:lnTo>
                  <a:lnTo>
                    <a:pt x="572" y="74"/>
                  </a:lnTo>
                  <a:lnTo>
                    <a:pt x="572" y="74"/>
                  </a:lnTo>
                  <a:lnTo>
                    <a:pt x="574" y="72"/>
                  </a:lnTo>
                  <a:lnTo>
                    <a:pt x="574" y="72"/>
                  </a:lnTo>
                  <a:lnTo>
                    <a:pt x="574" y="72"/>
                  </a:lnTo>
                  <a:lnTo>
                    <a:pt x="578" y="74"/>
                  </a:lnTo>
                  <a:lnTo>
                    <a:pt x="578" y="74"/>
                  </a:lnTo>
                  <a:lnTo>
                    <a:pt x="578" y="74"/>
                  </a:lnTo>
                  <a:lnTo>
                    <a:pt x="578" y="72"/>
                  </a:lnTo>
                  <a:lnTo>
                    <a:pt x="578" y="72"/>
                  </a:lnTo>
                  <a:lnTo>
                    <a:pt x="580" y="70"/>
                  </a:lnTo>
                  <a:lnTo>
                    <a:pt x="580" y="70"/>
                  </a:lnTo>
                  <a:lnTo>
                    <a:pt x="582" y="70"/>
                  </a:lnTo>
                  <a:lnTo>
                    <a:pt x="582" y="70"/>
                  </a:lnTo>
                  <a:lnTo>
                    <a:pt x="582" y="70"/>
                  </a:lnTo>
                  <a:lnTo>
                    <a:pt x="582" y="70"/>
                  </a:lnTo>
                  <a:lnTo>
                    <a:pt x="584" y="68"/>
                  </a:lnTo>
                  <a:lnTo>
                    <a:pt x="584" y="68"/>
                  </a:lnTo>
                  <a:lnTo>
                    <a:pt x="584" y="66"/>
                  </a:lnTo>
                  <a:lnTo>
                    <a:pt x="584" y="66"/>
                  </a:lnTo>
                  <a:lnTo>
                    <a:pt x="584" y="66"/>
                  </a:lnTo>
                  <a:lnTo>
                    <a:pt x="586" y="64"/>
                  </a:lnTo>
                  <a:lnTo>
                    <a:pt x="586" y="64"/>
                  </a:lnTo>
                  <a:lnTo>
                    <a:pt x="587" y="64"/>
                  </a:lnTo>
                  <a:lnTo>
                    <a:pt x="587" y="64"/>
                  </a:lnTo>
                  <a:lnTo>
                    <a:pt x="587" y="64"/>
                  </a:lnTo>
                  <a:lnTo>
                    <a:pt x="587" y="61"/>
                  </a:lnTo>
                  <a:lnTo>
                    <a:pt x="587" y="6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69" name="Freeform 71">
              <a:extLst>
                <a:ext uri="{FF2B5EF4-FFF2-40B4-BE49-F238E27FC236}">
                  <a16:creationId xmlns:a16="http://schemas.microsoft.com/office/drawing/2014/main" id="{896B51CD-DFFC-813F-1788-73B67BBB7DF5}"/>
                </a:ext>
              </a:extLst>
            </p:cNvPr>
            <p:cNvSpPr>
              <a:spLocks/>
            </p:cNvSpPr>
            <p:nvPr/>
          </p:nvSpPr>
          <p:spPr bwMode="auto">
            <a:xfrm>
              <a:off x="6929438" y="2974188"/>
              <a:ext cx="931863" cy="627063"/>
            </a:xfrm>
            <a:custGeom>
              <a:avLst/>
              <a:gdLst>
                <a:gd name="T0" fmla="*/ 576 w 587"/>
                <a:gd name="T1" fmla="*/ 57 h 395"/>
                <a:gd name="T2" fmla="*/ 566 w 587"/>
                <a:gd name="T3" fmla="*/ 36 h 395"/>
                <a:gd name="T4" fmla="*/ 544 w 587"/>
                <a:gd name="T5" fmla="*/ 9 h 395"/>
                <a:gd name="T6" fmla="*/ 462 w 587"/>
                <a:gd name="T7" fmla="*/ 34 h 395"/>
                <a:gd name="T8" fmla="*/ 425 w 587"/>
                <a:gd name="T9" fmla="*/ 36 h 395"/>
                <a:gd name="T10" fmla="*/ 397 w 587"/>
                <a:gd name="T11" fmla="*/ 70 h 395"/>
                <a:gd name="T12" fmla="*/ 359 w 587"/>
                <a:gd name="T13" fmla="*/ 106 h 395"/>
                <a:gd name="T14" fmla="*/ 292 w 587"/>
                <a:gd name="T15" fmla="*/ 97 h 395"/>
                <a:gd name="T16" fmla="*/ 223 w 587"/>
                <a:gd name="T17" fmla="*/ 110 h 395"/>
                <a:gd name="T18" fmla="*/ 202 w 587"/>
                <a:gd name="T19" fmla="*/ 118 h 395"/>
                <a:gd name="T20" fmla="*/ 161 w 587"/>
                <a:gd name="T21" fmla="*/ 118 h 395"/>
                <a:gd name="T22" fmla="*/ 119 w 587"/>
                <a:gd name="T23" fmla="*/ 125 h 395"/>
                <a:gd name="T24" fmla="*/ 29 w 587"/>
                <a:gd name="T25" fmla="*/ 131 h 395"/>
                <a:gd name="T26" fmla="*/ 18 w 587"/>
                <a:gd name="T27" fmla="*/ 167 h 395"/>
                <a:gd name="T28" fmla="*/ 8 w 587"/>
                <a:gd name="T29" fmla="*/ 180 h 395"/>
                <a:gd name="T30" fmla="*/ 6 w 587"/>
                <a:gd name="T31" fmla="*/ 190 h 395"/>
                <a:gd name="T32" fmla="*/ 14 w 587"/>
                <a:gd name="T33" fmla="*/ 205 h 395"/>
                <a:gd name="T34" fmla="*/ 16 w 587"/>
                <a:gd name="T35" fmla="*/ 251 h 395"/>
                <a:gd name="T36" fmla="*/ 31 w 587"/>
                <a:gd name="T37" fmla="*/ 249 h 395"/>
                <a:gd name="T38" fmla="*/ 29 w 587"/>
                <a:gd name="T39" fmla="*/ 230 h 395"/>
                <a:gd name="T40" fmla="*/ 61 w 587"/>
                <a:gd name="T41" fmla="*/ 207 h 395"/>
                <a:gd name="T42" fmla="*/ 82 w 587"/>
                <a:gd name="T43" fmla="*/ 213 h 395"/>
                <a:gd name="T44" fmla="*/ 92 w 587"/>
                <a:gd name="T45" fmla="*/ 213 h 395"/>
                <a:gd name="T46" fmla="*/ 122 w 587"/>
                <a:gd name="T47" fmla="*/ 211 h 395"/>
                <a:gd name="T48" fmla="*/ 132 w 587"/>
                <a:gd name="T49" fmla="*/ 222 h 395"/>
                <a:gd name="T50" fmla="*/ 157 w 587"/>
                <a:gd name="T51" fmla="*/ 222 h 395"/>
                <a:gd name="T52" fmla="*/ 174 w 587"/>
                <a:gd name="T53" fmla="*/ 209 h 395"/>
                <a:gd name="T54" fmla="*/ 183 w 587"/>
                <a:gd name="T55" fmla="*/ 213 h 395"/>
                <a:gd name="T56" fmla="*/ 208 w 587"/>
                <a:gd name="T57" fmla="*/ 201 h 395"/>
                <a:gd name="T58" fmla="*/ 233 w 587"/>
                <a:gd name="T59" fmla="*/ 207 h 395"/>
                <a:gd name="T60" fmla="*/ 233 w 587"/>
                <a:gd name="T61" fmla="*/ 238 h 395"/>
                <a:gd name="T62" fmla="*/ 265 w 587"/>
                <a:gd name="T63" fmla="*/ 239 h 395"/>
                <a:gd name="T64" fmla="*/ 279 w 587"/>
                <a:gd name="T65" fmla="*/ 249 h 395"/>
                <a:gd name="T66" fmla="*/ 281 w 587"/>
                <a:gd name="T67" fmla="*/ 264 h 395"/>
                <a:gd name="T68" fmla="*/ 290 w 587"/>
                <a:gd name="T69" fmla="*/ 281 h 395"/>
                <a:gd name="T70" fmla="*/ 265 w 587"/>
                <a:gd name="T71" fmla="*/ 295 h 395"/>
                <a:gd name="T72" fmla="*/ 258 w 587"/>
                <a:gd name="T73" fmla="*/ 312 h 395"/>
                <a:gd name="T74" fmla="*/ 250 w 587"/>
                <a:gd name="T75" fmla="*/ 325 h 395"/>
                <a:gd name="T76" fmla="*/ 239 w 587"/>
                <a:gd name="T77" fmla="*/ 329 h 395"/>
                <a:gd name="T78" fmla="*/ 241 w 587"/>
                <a:gd name="T79" fmla="*/ 371 h 395"/>
                <a:gd name="T80" fmla="*/ 256 w 587"/>
                <a:gd name="T81" fmla="*/ 388 h 395"/>
                <a:gd name="T82" fmla="*/ 273 w 587"/>
                <a:gd name="T83" fmla="*/ 386 h 395"/>
                <a:gd name="T84" fmla="*/ 288 w 587"/>
                <a:gd name="T85" fmla="*/ 361 h 395"/>
                <a:gd name="T86" fmla="*/ 317 w 587"/>
                <a:gd name="T87" fmla="*/ 352 h 395"/>
                <a:gd name="T88" fmla="*/ 321 w 587"/>
                <a:gd name="T89" fmla="*/ 327 h 395"/>
                <a:gd name="T90" fmla="*/ 332 w 587"/>
                <a:gd name="T91" fmla="*/ 316 h 395"/>
                <a:gd name="T92" fmla="*/ 336 w 587"/>
                <a:gd name="T93" fmla="*/ 302 h 395"/>
                <a:gd name="T94" fmla="*/ 351 w 587"/>
                <a:gd name="T95" fmla="*/ 268 h 395"/>
                <a:gd name="T96" fmla="*/ 342 w 587"/>
                <a:gd name="T97" fmla="*/ 255 h 395"/>
                <a:gd name="T98" fmla="*/ 372 w 587"/>
                <a:gd name="T99" fmla="*/ 215 h 395"/>
                <a:gd name="T100" fmla="*/ 384 w 587"/>
                <a:gd name="T101" fmla="*/ 219 h 395"/>
                <a:gd name="T102" fmla="*/ 401 w 587"/>
                <a:gd name="T103" fmla="*/ 211 h 395"/>
                <a:gd name="T104" fmla="*/ 410 w 587"/>
                <a:gd name="T105" fmla="*/ 175 h 395"/>
                <a:gd name="T106" fmla="*/ 429 w 587"/>
                <a:gd name="T107" fmla="*/ 156 h 395"/>
                <a:gd name="T108" fmla="*/ 446 w 587"/>
                <a:gd name="T109" fmla="*/ 137 h 395"/>
                <a:gd name="T110" fmla="*/ 486 w 587"/>
                <a:gd name="T111" fmla="*/ 108 h 395"/>
                <a:gd name="T112" fmla="*/ 511 w 587"/>
                <a:gd name="T113" fmla="*/ 99 h 395"/>
                <a:gd name="T114" fmla="*/ 538 w 587"/>
                <a:gd name="T115" fmla="*/ 78 h 395"/>
                <a:gd name="T116" fmla="*/ 574 w 587"/>
                <a:gd name="T117" fmla="*/ 72 h 395"/>
                <a:gd name="T118" fmla="*/ 586 w 587"/>
                <a:gd name="T119" fmla="*/ 64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7" h="395">
                  <a:moveTo>
                    <a:pt x="587" y="61"/>
                  </a:moveTo>
                  <a:lnTo>
                    <a:pt x="586" y="59"/>
                  </a:lnTo>
                  <a:lnTo>
                    <a:pt x="586" y="57"/>
                  </a:lnTo>
                  <a:lnTo>
                    <a:pt x="584" y="57"/>
                  </a:lnTo>
                  <a:lnTo>
                    <a:pt x="584" y="55"/>
                  </a:lnTo>
                  <a:lnTo>
                    <a:pt x="582" y="55"/>
                  </a:lnTo>
                  <a:lnTo>
                    <a:pt x="582" y="57"/>
                  </a:lnTo>
                  <a:lnTo>
                    <a:pt x="582" y="57"/>
                  </a:lnTo>
                  <a:lnTo>
                    <a:pt x="580" y="57"/>
                  </a:lnTo>
                  <a:lnTo>
                    <a:pt x="580" y="57"/>
                  </a:lnTo>
                  <a:lnTo>
                    <a:pt x="580" y="57"/>
                  </a:lnTo>
                  <a:lnTo>
                    <a:pt x="576" y="61"/>
                  </a:lnTo>
                  <a:lnTo>
                    <a:pt x="576" y="61"/>
                  </a:lnTo>
                  <a:lnTo>
                    <a:pt x="576" y="61"/>
                  </a:lnTo>
                  <a:lnTo>
                    <a:pt x="576" y="61"/>
                  </a:lnTo>
                  <a:lnTo>
                    <a:pt x="576" y="59"/>
                  </a:lnTo>
                  <a:lnTo>
                    <a:pt x="576" y="57"/>
                  </a:lnTo>
                  <a:lnTo>
                    <a:pt x="576" y="57"/>
                  </a:lnTo>
                  <a:lnTo>
                    <a:pt x="574" y="55"/>
                  </a:lnTo>
                  <a:lnTo>
                    <a:pt x="574" y="55"/>
                  </a:lnTo>
                  <a:lnTo>
                    <a:pt x="574" y="55"/>
                  </a:lnTo>
                  <a:lnTo>
                    <a:pt x="576" y="51"/>
                  </a:lnTo>
                  <a:lnTo>
                    <a:pt x="576" y="49"/>
                  </a:lnTo>
                  <a:lnTo>
                    <a:pt x="576" y="45"/>
                  </a:lnTo>
                  <a:lnTo>
                    <a:pt x="574" y="44"/>
                  </a:lnTo>
                  <a:lnTo>
                    <a:pt x="574" y="44"/>
                  </a:lnTo>
                  <a:lnTo>
                    <a:pt x="572" y="42"/>
                  </a:lnTo>
                  <a:lnTo>
                    <a:pt x="570" y="42"/>
                  </a:lnTo>
                  <a:lnTo>
                    <a:pt x="570" y="40"/>
                  </a:lnTo>
                  <a:lnTo>
                    <a:pt x="570" y="40"/>
                  </a:lnTo>
                  <a:lnTo>
                    <a:pt x="568" y="40"/>
                  </a:lnTo>
                  <a:lnTo>
                    <a:pt x="568" y="38"/>
                  </a:lnTo>
                  <a:lnTo>
                    <a:pt x="566" y="38"/>
                  </a:lnTo>
                  <a:lnTo>
                    <a:pt x="566" y="36"/>
                  </a:lnTo>
                  <a:lnTo>
                    <a:pt x="566" y="30"/>
                  </a:lnTo>
                  <a:lnTo>
                    <a:pt x="566" y="30"/>
                  </a:lnTo>
                  <a:lnTo>
                    <a:pt x="565" y="28"/>
                  </a:lnTo>
                  <a:lnTo>
                    <a:pt x="566" y="26"/>
                  </a:lnTo>
                  <a:lnTo>
                    <a:pt x="568" y="23"/>
                  </a:lnTo>
                  <a:lnTo>
                    <a:pt x="576" y="13"/>
                  </a:lnTo>
                  <a:lnTo>
                    <a:pt x="580" y="7"/>
                  </a:lnTo>
                  <a:lnTo>
                    <a:pt x="582" y="4"/>
                  </a:lnTo>
                  <a:lnTo>
                    <a:pt x="584" y="2"/>
                  </a:lnTo>
                  <a:lnTo>
                    <a:pt x="584" y="0"/>
                  </a:lnTo>
                  <a:lnTo>
                    <a:pt x="584" y="0"/>
                  </a:lnTo>
                  <a:lnTo>
                    <a:pt x="584" y="0"/>
                  </a:lnTo>
                  <a:lnTo>
                    <a:pt x="561" y="0"/>
                  </a:lnTo>
                  <a:lnTo>
                    <a:pt x="555" y="2"/>
                  </a:lnTo>
                  <a:lnTo>
                    <a:pt x="547" y="6"/>
                  </a:lnTo>
                  <a:lnTo>
                    <a:pt x="545" y="7"/>
                  </a:lnTo>
                  <a:lnTo>
                    <a:pt x="544" y="9"/>
                  </a:lnTo>
                  <a:lnTo>
                    <a:pt x="540" y="11"/>
                  </a:lnTo>
                  <a:lnTo>
                    <a:pt x="532" y="13"/>
                  </a:lnTo>
                  <a:lnTo>
                    <a:pt x="528" y="13"/>
                  </a:lnTo>
                  <a:lnTo>
                    <a:pt x="528" y="11"/>
                  </a:lnTo>
                  <a:lnTo>
                    <a:pt x="526" y="11"/>
                  </a:lnTo>
                  <a:lnTo>
                    <a:pt x="525" y="11"/>
                  </a:lnTo>
                  <a:lnTo>
                    <a:pt x="523" y="9"/>
                  </a:lnTo>
                  <a:lnTo>
                    <a:pt x="523" y="9"/>
                  </a:lnTo>
                  <a:lnTo>
                    <a:pt x="521" y="9"/>
                  </a:lnTo>
                  <a:lnTo>
                    <a:pt x="517" y="13"/>
                  </a:lnTo>
                  <a:lnTo>
                    <a:pt x="488" y="23"/>
                  </a:lnTo>
                  <a:lnTo>
                    <a:pt x="485" y="25"/>
                  </a:lnTo>
                  <a:lnTo>
                    <a:pt x="477" y="28"/>
                  </a:lnTo>
                  <a:lnTo>
                    <a:pt x="475" y="30"/>
                  </a:lnTo>
                  <a:lnTo>
                    <a:pt x="475" y="30"/>
                  </a:lnTo>
                  <a:lnTo>
                    <a:pt x="467" y="32"/>
                  </a:lnTo>
                  <a:lnTo>
                    <a:pt x="462" y="34"/>
                  </a:lnTo>
                  <a:lnTo>
                    <a:pt x="458" y="36"/>
                  </a:lnTo>
                  <a:lnTo>
                    <a:pt x="454" y="38"/>
                  </a:lnTo>
                  <a:lnTo>
                    <a:pt x="452" y="40"/>
                  </a:lnTo>
                  <a:lnTo>
                    <a:pt x="450" y="40"/>
                  </a:lnTo>
                  <a:lnTo>
                    <a:pt x="448" y="40"/>
                  </a:lnTo>
                  <a:lnTo>
                    <a:pt x="448" y="40"/>
                  </a:lnTo>
                  <a:lnTo>
                    <a:pt x="444" y="42"/>
                  </a:lnTo>
                  <a:lnTo>
                    <a:pt x="443" y="38"/>
                  </a:lnTo>
                  <a:lnTo>
                    <a:pt x="433" y="42"/>
                  </a:lnTo>
                  <a:lnTo>
                    <a:pt x="431" y="40"/>
                  </a:lnTo>
                  <a:lnTo>
                    <a:pt x="429" y="40"/>
                  </a:lnTo>
                  <a:lnTo>
                    <a:pt x="427" y="38"/>
                  </a:lnTo>
                  <a:lnTo>
                    <a:pt x="427" y="38"/>
                  </a:lnTo>
                  <a:lnTo>
                    <a:pt x="427" y="36"/>
                  </a:lnTo>
                  <a:lnTo>
                    <a:pt x="425" y="36"/>
                  </a:lnTo>
                  <a:lnTo>
                    <a:pt x="425" y="36"/>
                  </a:lnTo>
                  <a:lnTo>
                    <a:pt x="425" y="36"/>
                  </a:lnTo>
                  <a:lnTo>
                    <a:pt x="424" y="36"/>
                  </a:lnTo>
                  <a:lnTo>
                    <a:pt x="422" y="38"/>
                  </a:lnTo>
                  <a:lnTo>
                    <a:pt x="422" y="40"/>
                  </a:lnTo>
                  <a:lnTo>
                    <a:pt x="422" y="42"/>
                  </a:lnTo>
                  <a:lnTo>
                    <a:pt x="422" y="42"/>
                  </a:lnTo>
                  <a:lnTo>
                    <a:pt x="424" y="44"/>
                  </a:lnTo>
                  <a:lnTo>
                    <a:pt x="424" y="44"/>
                  </a:lnTo>
                  <a:lnTo>
                    <a:pt x="425" y="45"/>
                  </a:lnTo>
                  <a:lnTo>
                    <a:pt x="425" y="45"/>
                  </a:lnTo>
                  <a:lnTo>
                    <a:pt x="424" y="47"/>
                  </a:lnTo>
                  <a:lnTo>
                    <a:pt x="424" y="47"/>
                  </a:lnTo>
                  <a:lnTo>
                    <a:pt x="412" y="59"/>
                  </a:lnTo>
                  <a:lnTo>
                    <a:pt x="408" y="63"/>
                  </a:lnTo>
                  <a:lnTo>
                    <a:pt x="404" y="64"/>
                  </a:lnTo>
                  <a:lnTo>
                    <a:pt x="401" y="68"/>
                  </a:lnTo>
                  <a:lnTo>
                    <a:pt x="401" y="68"/>
                  </a:lnTo>
                  <a:lnTo>
                    <a:pt x="397" y="70"/>
                  </a:lnTo>
                  <a:lnTo>
                    <a:pt x="387" y="82"/>
                  </a:lnTo>
                  <a:lnTo>
                    <a:pt x="387" y="82"/>
                  </a:lnTo>
                  <a:lnTo>
                    <a:pt x="385" y="83"/>
                  </a:lnTo>
                  <a:lnTo>
                    <a:pt x="385" y="85"/>
                  </a:lnTo>
                  <a:lnTo>
                    <a:pt x="385" y="87"/>
                  </a:lnTo>
                  <a:lnTo>
                    <a:pt x="385" y="91"/>
                  </a:lnTo>
                  <a:lnTo>
                    <a:pt x="385" y="91"/>
                  </a:lnTo>
                  <a:lnTo>
                    <a:pt x="385" y="93"/>
                  </a:lnTo>
                  <a:lnTo>
                    <a:pt x="384" y="95"/>
                  </a:lnTo>
                  <a:lnTo>
                    <a:pt x="380" y="97"/>
                  </a:lnTo>
                  <a:lnTo>
                    <a:pt x="380" y="97"/>
                  </a:lnTo>
                  <a:lnTo>
                    <a:pt x="378" y="99"/>
                  </a:lnTo>
                  <a:lnTo>
                    <a:pt x="376" y="101"/>
                  </a:lnTo>
                  <a:lnTo>
                    <a:pt x="374" y="103"/>
                  </a:lnTo>
                  <a:lnTo>
                    <a:pt x="368" y="104"/>
                  </a:lnTo>
                  <a:lnTo>
                    <a:pt x="364" y="104"/>
                  </a:lnTo>
                  <a:lnTo>
                    <a:pt x="359" y="106"/>
                  </a:lnTo>
                  <a:lnTo>
                    <a:pt x="357" y="106"/>
                  </a:lnTo>
                  <a:lnTo>
                    <a:pt x="353" y="108"/>
                  </a:lnTo>
                  <a:lnTo>
                    <a:pt x="351" y="108"/>
                  </a:lnTo>
                  <a:lnTo>
                    <a:pt x="349" y="106"/>
                  </a:lnTo>
                  <a:lnTo>
                    <a:pt x="347" y="104"/>
                  </a:lnTo>
                  <a:lnTo>
                    <a:pt x="345" y="104"/>
                  </a:lnTo>
                  <a:lnTo>
                    <a:pt x="343" y="104"/>
                  </a:lnTo>
                  <a:lnTo>
                    <a:pt x="311" y="108"/>
                  </a:lnTo>
                  <a:lnTo>
                    <a:pt x="307" y="106"/>
                  </a:lnTo>
                  <a:lnTo>
                    <a:pt x="305" y="106"/>
                  </a:lnTo>
                  <a:lnTo>
                    <a:pt x="303" y="104"/>
                  </a:lnTo>
                  <a:lnTo>
                    <a:pt x="303" y="104"/>
                  </a:lnTo>
                  <a:lnTo>
                    <a:pt x="303" y="103"/>
                  </a:lnTo>
                  <a:lnTo>
                    <a:pt x="303" y="103"/>
                  </a:lnTo>
                  <a:lnTo>
                    <a:pt x="303" y="103"/>
                  </a:lnTo>
                  <a:lnTo>
                    <a:pt x="300" y="101"/>
                  </a:lnTo>
                  <a:lnTo>
                    <a:pt x="292" y="97"/>
                  </a:lnTo>
                  <a:lnTo>
                    <a:pt x="284" y="97"/>
                  </a:lnTo>
                  <a:lnTo>
                    <a:pt x="281" y="95"/>
                  </a:lnTo>
                  <a:lnTo>
                    <a:pt x="279" y="97"/>
                  </a:lnTo>
                  <a:lnTo>
                    <a:pt x="277" y="99"/>
                  </a:lnTo>
                  <a:lnTo>
                    <a:pt x="277" y="99"/>
                  </a:lnTo>
                  <a:lnTo>
                    <a:pt x="275" y="101"/>
                  </a:lnTo>
                  <a:lnTo>
                    <a:pt x="273" y="103"/>
                  </a:lnTo>
                  <a:lnTo>
                    <a:pt x="267" y="103"/>
                  </a:lnTo>
                  <a:lnTo>
                    <a:pt x="262" y="104"/>
                  </a:lnTo>
                  <a:lnTo>
                    <a:pt x="250" y="108"/>
                  </a:lnTo>
                  <a:lnTo>
                    <a:pt x="246" y="110"/>
                  </a:lnTo>
                  <a:lnTo>
                    <a:pt x="246" y="110"/>
                  </a:lnTo>
                  <a:lnTo>
                    <a:pt x="243" y="110"/>
                  </a:lnTo>
                  <a:lnTo>
                    <a:pt x="241" y="110"/>
                  </a:lnTo>
                  <a:lnTo>
                    <a:pt x="237" y="112"/>
                  </a:lnTo>
                  <a:lnTo>
                    <a:pt x="227" y="110"/>
                  </a:lnTo>
                  <a:lnTo>
                    <a:pt x="223" y="110"/>
                  </a:lnTo>
                  <a:lnTo>
                    <a:pt x="223" y="114"/>
                  </a:lnTo>
                  <a:lnTo>
                    <a:pt x="220" y="118"/>
                  </a:lnTo>
                  <a:lnTo>
                    <a:pt x="214" y="118"/>
                  </a:lnTo>
                  <a:lnTo>
                    <a:pt x="212" y="118"/>
                  </a:lnTo>
                  <a:lnTo>
                    <a:pt x="210" y="116"/>
                  </a:lnTo>
                  <a:lnTo>
                    <a:pt x="208" y="114"/>
                  </a:lnTo>
                  <a:lnTo>
                    <a:pt x="206" y="114"/>
                  </a:lnTo>
                  <a:lnTo>
                    <a:pt x="206" y="116"/>
                  </a:lnTo>
                  <a:lnTo>
                    <a:pt x="206" y="118"/>
                  </a:lnTo>
                  <a:lnTo>
                    <a:pt x="204" y="120"/>
                  </a:lnTo>
                  <a:lnTo>
                    <a:pt x="206" y="120"/>
                  </a:lnTo>
                  <a:lnTo>
                    <a:pt x="206" y="122"/>
                  </a:lnTo>
                  <a:lnTo>
                    <a:pt x="206" y="123"/>
                  </a:lnTo>
                  <a:lnTo>
                    <a:pt x="204" y="123"/>
                  </a:lnTo>
                  <a:lnTo>
                    <a:pt x="202" y="122"/>
                  </a:lnTo>
                  <a:lnTo>
                    <a:pt x="202" y="120"/>
                  </a:lnTo>
                  <a:lnTo>
                    <a:pt x="202" y="118"/>
                  </a:lnTo>
                  <a:lnTo>
                    <a:pt x="201" y="118"/>
                  </a:lnTo>
                  <a:lnTo>
                    <a:pt x="199" y="118"/>
                  </a:lnTo>
                  <a:lnTo>
                    <a:pt x="191" y="122"/>
                  </a:lnTo>
                  <a:lnTo>
                    <a:pt x="189" y="123"/>
                  </a:lnTo>
                  <a:lnTo>
                    <a:pt x="185" y="123"/>
                  </a:lnTo>
                  <a:lnTo>
                    <a:pt x="183" y="123"/>
                  </a:lnTo>
                  <a:lnTo>
                    <a:pt x="180" y="122"/>
                  </a:lnTo>
                  <a:lnTo>
                    <a:pt x="178" y="122"/>
                  </a:lnTo>
                  <a:lnTo>
                    <a:pt x="174" y="123"/>
                  </a:lnTo>
                  <a:lnTo>
                    <a:pt x="172" y="123"/>
                  </a:lnTo>
                  <a:lnTo>
                    <a:pt x="172" y="122"/>
                  </a:lnTo>
                  <a:lnTo>
                    <a:pt x="168" y="118"/>
                  </a:lnTo>
                  <a:lnTo>
                    <a:pt x="168" y="116"/>
                  </a:lnTo>
                  <a:lnTo>
                    <a:pt x="166" y="116"/>
                  </a:lnTo>
                  <a:lnTo>
                    <a:pt x="162" y="116"/>
                  </a:lnTo>
                  <a:lnTo>
                    <a:pt x="162" y="116"/>
                  </a:lnTo>
                  <a:lnTo>
                    <a:pt x="161" y="118"/>
                  </a:lnTo>
                  <a:lnTo>
                    <a:pt x="159" y="120"/>
                  </a:lnTo>
                  <a:lnTo>
                    <a:pt x="159" y="122"/>
                  </a:lnTo>
                  <a:lnTo>
                    <a:pt x="157" y="123"/>
                  </a:lnTo>
                  <a:lnTo>
                    <a:pt x="157" y="123"/>
                  </a:lnTo>
                  <a:lnTo>
                    <a:pt x="155" y="125"/>
                  </a:lnTo>
                  <a:lnTo>
                    <a:pt x="153" y="125"/>
                  </a:lnTo>
                  <a:lnTo>
                    <a:pt x="151" y="125"/>
                  </a:lnTo>
                  <a:lnTo>
                    <a:pt x="149" y="125"/>
                  </a:lnTo>
                  <a:lnTo>
                    <a:pt x="149" y="125"/>
                  </a:lnTo>
                  <a:lnTo>
                    <a:pt x="145" y="123"/>
                  </a:lnTo>
                  <a:lnTo>
                    <a:pt x="143" y="123"/>
                  </a:lnTo>
                  <a:lnTo>
                    <a:pt x="136" y="123"/>
                  </a:lnTo>
                  <a:lnTo>
                    <a:pt x="132" y="123"/>
                  </a:lnTo>
                  <a:lnTo>
                    <a:pt x="130" y="123"/>
                  </a:lnTo>
                  <a:lnTo>
                    <a:pt x="126" y="125"/>
                  </a:lnTo>
                  <a:lnTo>
                    <a:pt x="124" y="125"/>
                  </a:lnTo>
                  <a:lnTo>
                    <a:pt x="119" y="125"/>
                  </a:lnTo>
                  <a:lnTo>
                    <a:pt x="98" y="127"/>
                  </a:lnTo>
                  <a:lnTo>
                    <a:pt x="86" y="125"/>
                  </a:lnTo>
                  <a:lnTo>
                    <a:pt x="77" y="120"/>
                  </a:lnTo>
                  <a:lnTo>
                    <a:pt x="67" y="114"/>
                  </a:lnTo>
                  <a:lnTo>
                    <a:pt x="63" y="114"/>
                  </a:lnTo>
                  <a:lnTo>
                    <a:pt x="61" y="114"/>
                  </a:lnTo>
                  <a:lnTo>
                    <a:pt x="61" y="116"/>
                  </a:lnTo>
                  <a:lnTo>
                    <a:pt x="60" y="116"/>
                  </a:lnTo>
                  <a:lnTo>
                    <a:pt x="58" y="118"/>
                  </a:lnTo>
                  <a:lnTo>
                    <a:pt x="56" y="118"/>
                  </a:lnTo>
                  <a:lnTo>
                    <a:pt x="54" y="118"/>
                  </a:lnTo>
                  <a:lnTo>
                    <a:pt x="52" y="118"/>
                  </a:lnTo>
                  <a:lnTo>
                    <a:pt x="48" y="120"/>
                  </a:lnTo>
                  <a:lnTo>
                    <a:pt x="46" y="125"/>
                  </a:lnTo>
                  <a:lnTo>
                    <a:pt x="44" y="129"/>
                  </a:lnTo>
                  <a:lnTo>
                    <a:pt x="41" y="129"/>
                  </a:lnTo>
                  <a:lnTo>
                    <a:pt x="29" y="131"/>
                  </a:lnTo>
                  <a:lnTo>
                    <a:pt x="23" y="131"/>
                  </a:lnTo>
                  <a:lnTo>
                    <a:pt x="21" y="133"/>
                  </a:lnTo>
                  <a:lnTo>
                    <a:pt x="21" y="131"/>
                  </a:lnTo>
                  <a:lnTo>
                    <a:pt x="20" y="131"/>
                  </a:lnTo>
                  <a:lnTo>
                    <a:pt x="20" y="131"/>
                  </a:lnTo>
                  <a:lnTo>
                    <a:pt x="18" y="133"/>
                  </a:lnTo>
                  <a:lnTo>
                    <a:pt x="20" y="139"/>
                  </a:lnTo>
                  <a:lnTo>
                    <a:pt x="21" y="141"/>
                  </a:lnTo>
                  <a:lnTo>
                    <a:pt x="21" y="150"/>
                  </a:lnTo>
                  <a:lnTo>
                    <a:pt x="20" y="154"/>
                  </a:lnTo>
                  <a:lnTo>
                    <a:pt x="20" y="154"/>
                  </a:lnTo>
                  <a:lnTo>
                    <a:pt x="20" y="154"/>
                  </a:lnTo>
                  <a:lnTo>
                    <a:pt x="20" y="154"/>
                  </a:lnTo>
                  <a:lnTo>
                    <a:pt x="20" y="158"/>
                  </a:lnTo>
                  <a:lnTo>
                    <a:pt x="18" y="160"/>
                  </a:lnTo>
                  <a:lnTo>
                    <a:pt x="18" y="167"/>
                  </a:lnTo>
                  <a:lnTo>
                    <a:pt x="18" y="167"/>
                  </a:lnTo>
                  <a:lnTo>
                    <a:pt x="18" y="167"/>
                  </a:lnTo>
                  <a:lnTo>
                    <a:pt x="16" y="167"/>
                  </a:lnTo>
                  <a:lnTo>
                    <a:pt x="16" y="169"/>
                  </a:lnTo>
                  <a:lnTo>
                    <a:pt x="16" y="169"/>
                  </a:lnTo>
                  <a:lnTo>
                    <a:pt x="16" y="169"/>
                  </a:lnTo>
                  <a:lnTo>
                    <a:pt x="16" y="169"/>
                  </a:lnTo>
                  <a:lnTo>
                    <a:pt x="16" y="171"/>
                  </a:lnTo>
                  <a:lnTo>
                    <a:pt x="16" y="171"/>
                  </a:lnTo>
                  <a:lnTo>
                    <a:pt x="16" y="171"/>
                  </a:lnTo>
                  <a:lnTo>
                    <a:pt x="16" y="173"/>
                  </a:lnTo>
                  <a:lnTo>
                    <a:pt x="14" y="173"/>
                  </a:lnTo>
                  <a:lnTo>
                    <a:pt x="12" y="175"/>
                  </a:lnTo>
                  <a:lnTo>
                    <a:pt x="12" y="175"/>
                  </a:lnTo>
                  <a:lnTo>
                    <a:pt x="12" y="175"/>
                  </a:lnTo>
                  <a:lnTo>
                    <a:pt x="10" y="179"/>
                  </a:lnTo>
                  <a:lnTo>
                    <a:pt x="8" y="179"/>
                  </a:lnTo>
                  <a:lnTo>
                    <a:pt x="8" y="180"/>
                  </a:lnTo>
                  <a:lnTo>
                    <a:pt x="8" y="180"/>
                  </a:lnTo>
                  <a:lnTo>
                    <a:pt x="8" y="180"/>
                  </a:lnTo>
                  <a:lnTo>
                    <a:pt x="8" y="182"/>
                  </a:lnTo>
                  <a:lnTo>
                    <a:pt x="8" y="182"/>
                  </a:lnTo>
                  <a:lnTo>
                    <a:pt x="8" y="184"/>
                  </a:lnTo>
                  <a:lnTo>
                    <a:pt x="6" y="184"/>
                  </a:lnTo>
                  <a:lnTo>
                    <a:pt x="4" y="184"/>
                  </a:lnTo>
                  <a:lnTo>
                    <a:pt x="2" y="186"/>
                  </a:lnTo>
                  <a:lnTo>
                    <a:pt x="0" y="186"/>
                  </a:lnTo>
                  <a:lnTo>
                    <a:pt x="0" y="188"/>
                  </a:lnTo>
                  <a:lnTo>
                    <a:pt x="0" y="188"/>
                  </a:lnTo>
                  <a:lnTo>
                    <a:pt x="0" y="190"/>
                  </a:lnTo>
                  <a:lnTo>
                    <a:pt x="2" y="190"/>
                  </a:lnTo>
                  <a:lnTo>
                    <a:pt x="2" y="190"/>
                  </a:lnTo>
                  <a:lnTo>
                    <a:pt x="4" y="190"/>
                  </a:lnTo>
                  <a:lnTo>
                    <a:pt x="4" y="190"/>
                  </a:lnTo>
                  <a:lnTo>
                    <a:pt x="6" y="190"/>
                  </a:lnTo>
                  <a:lnTo>
                    <a:pt x="6" y="192"/>
                  </a:lnTo>
                  <a:lnTo>
                    <a:pt x="6" y="194"/>
                  </a:lnTo>
                  <a:lnTo>
                    <a:pt x="8" y="196"/>
                  </a:lnTo>
                  <a:lnTo>
                    <a:pt x="8" y="198"/>
                  </a:lnTo>
                  <a:lnTo>
                    <a:pt x="10" y="198"/>
                  </a:lnTo>
                  <a:lnTo>
                    <a:pt x="8" y="199"/>
                  </a:lnTo>
                  <a:lnTo>
                    <a:pt x="8" y="201"/>
                  </a:lnTo>
                  <a:lnTo>
                    <a:pt x="10" y="201"/>
                  </a:lnTo>
                  <a:lnTo>
                    <a:pt x="12" y="205"/>
                  </a:lnTo>
                  <a:lnTo>
                    <a:pt x="12" y="205"/>
                  </a:lnTo>
                  <a:lnTo>
                    <a:pt x="12" y="207"/>
                  </a:lnTo>
                  <a:lnTo>
                    <a:pt x="14" y="207"/>
                  </a:lnTo>
                  <a:lnTo>
                    <a:pt x="14" y="207"/>
                  </a:lnTo>
                  <a:lnTo>
                    <a:pt x="14" y="205"/>
                  </a:lnTo>
                  <a:lnTo>
                    <a:pt x="14" y="205"/>
                  </a:lnTo>
                  <a:lnTo>
                    <a:pt x="14" y="205"/>
                  </a:lnTo>
                  <a:lnTo>
                    <a:pt x="14" y="205"/>
                  </a:lnTo>
                  <a:lnTo>
                    <a:pt x="14" y="205"/>
                  </a:lnTo>
                  <a:lnTo>
                    <a:pt x="16" y="205"/>
                  </a:lnTo>
                  <a:lnTo>
                    <a:pt x="16" y="205"/>
                  </a:lnTo>
                  <a:lnTo>
                    <a:pt x="16" y="207"/>
                  </a:lnTo>
                  <a:lnTo>
                    <a:pt x="16" y="209"/>
                  </a:lnTo>
                  <a:lnTo>
                    <a:pt x="14" y="211"/>
                  </a:lnTo>
                  <a:lnTo>
                    <a:pt x="12" y="211"/>
                  </a:lnTo>
                  <a:lnTo>
                    <a:pt x="14" y="211"/>
                  </a:lnTo>
                  <a:lnTo>
                    <a:pt x="16" y="213"/>
                  </a:lnTo>
                  <a:lnTo>
                    <a:pt x="18" y="213"/>
                  </a:lnTo>
                  <a:lnTo>
                    <a:pt x="16" y="215"/>
                  </a:lnTo>
                  <a:lnTo>
                    <a:pt x="12" y="222"/>
                  </a:lnTo>
                  <a:lnTo>
                    <a:pt x="12" y="224"/>
                  </a:lnTo>
                  <a:lnTo>
                    <a:pt x="14" y="234"/>
                  </a:lnTo>
                  <a:lnTo>
                    <a:pt x="16" y="239"/>
                  </a:lnTo>
                  <a:lnTo>
                    <a:pt x="18" y="243"/>
                  </a:lnTo>
                  <a:lnTo>
                    <a:pt x="16" y="251"/>
                  </a:lnTo>
                  <a:lnTo>
                    <a:pt x="16" y="258"/>
                  </a:lnTo>
                  <a:lnTo>
                    <a:pt x="14" y="262"/>
                  </a:lnTo>
                  <a:lnTo>
                    <a:pt x="18" y="262"/>
                  </a:lnTo>
                  <a:lnTo>
                    <a:pt x="21" y="260"/>
                  </a:lnTo>
                  <a:lnTo>
                    <a:pt x="21" y="260"/>
                  </a:lnTo>
                  <a:lnTo>
                    <a:pt x="21" y="260"/>
                  </a:lnTo>
                  <a:lnTo>
                    <a:pt x="21" y="258"/>
                  </a:lnTo>
                  <a:lnTo>
                    <a:pt x="23" y="257"/>
                  </a:lnTo>
                  <a:lnTo>
                    <a:pt x="23" y="255"/>
                  </a:lnTo>
                  <a:lnTo>
                    <a:pt x="23" y="253"/>
                  </a:lnTo>
                  <a:lnTo>
                    <a:pt x="23" y="251"/>
                  </a:lnTo>
                  <a:lnTo>
                    <a:pt x="25" y="251"/>
                  </a:lnTo>
                  <a:lnTo>
                    <a:pt x="27" y="251"/>
                  </a:lnTo>
                  <a:lnTo>
                    <a:pt x="29" y="251"/>
                  </a:lnTo>
                  <a:lnTo>
                    <a:pt x="31" y="249"/>
                  </a:lnTo>
                  <a:lnTo>
                    <a:pt x="31" y="249"/>
                  </a:lnTo>
                  <a:lnTo>
                    <a:pt x="31" y="249"/>
                  </a:lnTo>
                  <a:lnTo>
                    <a:pt x="33" y="247"/>
                  </a:lnTo>
                  <a:lnTo>
                    <a:pt x="33" y="247"/>
                  </a:lnTo>
                  <a:lnTo>
                    <a:pt x="33" y="245"/>
                  </a:lnTo>
                  <a:lnTo>
                    <a:pt x="33" y="245"/>
                  </a:lnTo>
                  <a:lnTo>
                    <a:pt x="31" y="245"/>
                  </a:lnTo>
                  <a:lnTo>
                    <a:pt x="29" y="243"/>
                  </a:lnTo>
                  <a:lnTo>
                    <a:pt x="29" y="241"/>
                  </a:lnTo>
                  <a:lnTo>
                    <a:pt x="27" y="241"/>
                  </a:lnTo>
                  <a:lnTo>
                    <a:pt x="27" y="239"/>
                  </a:lnTo>
                  <a:lnTo>
                    <a:pt x="27" y="238"/>
                  </a:lnTo>
                  <a:lnTo>
                    <a:pt x="27" y="236"/>
                  </a:lnTo>
                  <a:lnTo>
                    <a:pt x="27" y="236"/>
                  </a:lnTo>
                  <a:lnTo>
                    <a:pt x="27" y="234"/>
                  </a:lnTo>
                  <a:lnTo>
                    <a:pt x="27" y="232"/>
                  </a:lnTo>
                  <a:lnTo>
                    <a:pt x="29" y="230"/>
                  </a:lnTo>
                  <a:lnTo>
                    <a:pt x="29" y="230"/>
                  </a:lnTo>
                  <a:lnTo>
                    <a:pt x="29" y="230"/>
                  </a:lnTo>
                  <a:lnTo>
                    <a:pt x="29" y="228"/>
                  </a:lnTo>
                  <a:lnTo>
                    <a:pt x="29" y="226"/>
                  </a:lnTo>
                  <a:lnTo>
                    <a:pt x="31" y="224"/>
                  </a:lnTo>
                  <a:lnTo>
                    <a:pt x="31" y="224"/>
                  </a:lnTo>
                  <a:lnTo>
                    <a:pt x="35" y="220"/>
                  </a:lnTo>
                  <a:lnTo>
                    <a:pt x="35" y="220"/>
                  </a:lnTo>
                  <a:lnTo>
                    <a:pt x="35" y="219"/>
                  </a:lnTo>
                  <a:lnTo>
                    <a:pt x="37" y="217"/>
                  </a:lnTo>
                  <a:lnTo>
                    <a:pt x="37" y="217"/>
                  </a:lnTo>
                  <a:lnTo>
                    <a:pt x="41" y="213"/>
                  </a:lnTo>
                  <a:lnTo>
                    <a:pt x="42" y="211"/>
                  </a:lnTo>
                  <a:lnTo>
                    <a:pt x="42" y="211"/>
                  </a:lnTo>
                  <a:lnTo>
                    <a:pt x="44" y="209"/>
                  </a:lnTo>
                  <a:lnTo>
                    <a:pt x="52" y="209"/>
                  </a:lnTo>
                  <a:lnTo>
                    <a:pt x="58" y="209"/>
                  </a:lnTo>
                  <a:lnTo>
                    <a:pt x="60" y="207"/>
                  </a:lnTo>
                  <a:lnTo>
                    <a:pt x="61" y="207"/>
                  </a:lnTo>
                  <a:lnTo>
                    <a:pt x="63" y="207"/>
                  </a:lnTo>
                  <a:lnTo>
                    <a:pt x="63" y="207"/>
                  </a:lnTo>
                  <a:lnTo>
                    <a:pt x="65" y="205"/>
                  </a:lnTo>
                  <a:lnTo>
                    <a:pt x="67" y="203"/>
                  </a:lnTo>
                  <a:lnTo>
                    <a:pt x="67" y="203"/>
                  </a:lnTo>
                  <a:lnTo>
                    <a:pt x="69" y="203"/>
                  </a:lnTo>
                  <a:lnTo>
                    <a:pt x="73" y="205"/>
                  </a:lnTo>
                  <a:lnTo>
                    <a:pt x="75" y="205"/>
                  </a:lnTo>
                  <a:lnTo>
                    <a:pt x="77" y="205"/>
                  </a:lnTo>
                  <a:lnTo>
                    <a:pt x="77" y="205"/>
                  </a:lnTo>
                  <a:lnTo>
                    <a:pt x="79" y="205"/>
                  </a:lnTo>
                  <a:lnTo>
                    <a:pt x="81" y="205"/>
                  </a:lnTo>
                  <a:lnTo>
                    <a:pt x="82" y="207"/>
                  </a:lnTo>
                  <a:lnTo>
                    <a:pt x="82" y="209"/>
                  </a:lnTo>
                  <a:lnTo>
                    <a:pt x="82" y="209"/>
                  </a:lnTo>
                  <a:lnTo>
                    <a:pt x="82" y="211"/>
                  </a:lnTo>
                  <a:lnTo>
                    <a:pt x="82" y="213"/>
                  </a:lnTo>
                  <a:lnTo>
                    <a:pt x="81" y="213"/>
                  </a:lnTo>
                  <a:lnTo>
                    <a:pt x="81" y="215"/>
                  </a:lnTo>
                  <a:lnTo>
                    <a:pt x="81" y="215"/>
                  </a:lnTo>
                  <a:lnTo>
                    <a:pt x="81" y="215"/>
                  </a:lnTo>
                  <a:lnTo>
                    <a:pt x="82" y="215"/>
                  </a:lnTo>
                  <a:lnTo>
                    <a:pt x="86" y="213"/>
                  </a:lnTo>
                  <a:lnTo>
                    <a:pt x="86" y="211"/>
                  </a:lnTo>
                  <a:lnTo>
                    <a:pt x="86" y="211"/>
                  </a:lnTo>
                  <a:lnTo>
                    <a:pt x="88" y="209"/>
                  </a:lnTo>
                  <a:lnTo>
                    <a:pt x="88" y="209"/>
                  </a:lnTo>
                  <a:lnTo>
                    <a:pt x="88" y="209"/>
                  </a:lnTo>
                  <a:lnTo>
                    <a:pt x="90" y="209"/>
                  </a:lnTo>
                  <a:lnTo>
                    <a:pt x="90" y="211"/>
                  </a:lnTo>
                  <a:lnTo>
                    <a:pt x="90" y="211"/>
                  </a:lnTo>
                  <a:lnTo>
                    <a:pt x="90" y="211"/>
                  </a:lnTo>
                  <a:lnTo>
                    <a:pt x="90" y="213"/>
                  </a:lnTo>
                  <a:lnTo>
                    <a:pt x="92" y="213"/>
                  </a:lnTo>
                  <a:lnTo>
                    <a:pt x="94" y="211"/>
                  </a:lnTo>
                  <a:lnTo>
                    <a:pt x="96" y="211"/>
                  </a:lnTo>
                  <a:lnTo>
                    <a:pt x="101" y="209"/>
                  </a:lnTo>
                  <a:lnTo>
                    <a:pt x="101" y="209"/>
                  </a:lnTo>
                  <a:lnTo>
                    <a:pt x="103" y="209"/>
                  </a:lnTo>
                  <a:lnTo>
                    <a:pt x="103" y="211"/>
                  </a:lnTo>
                  <a:lnTo>
                    <a:pt x="103" y="213"/>
                  </a:lnTo>
                  <a:lnTo>
                    <a:pt x="103" y="213"/>
                  </a:lnTo>
                  <a:lnTo>
                    <a:pt x="103" y="213"/>
                  </a:lnTo>
                  <a:lnTo>
                    <a:pt x="105" y="213"/>
                  </a:lnTo>
                  <a:lnTo>
                    <a:pt x="107" y="211"/>
                  </a:lnTo>
                  <a:lnTo>
                    <a:pt x="109" y="211"/>
                  </a:lnTo>
                  <a:lnTo>
                    <a:pt x="113" y="211"/>
                  </a:lnTo>
                  <a:lnTo>
                    <a:pt x="115" y="211"/>
                  </a:lnTo>
                  <a:lnTo>
                    <a:pt x="117" y="211"/>
                  </a:lnTo>
                  <a:lnTo>
                    <a:pt x="121" y="211"/>
                  </a:lnTo>
                  <a:lnTo>
                    <a:pt x="122" y="211"/>
                  </a:lnTo>
                  <a:lnTo>
                    <a:pt x="122" y="213"/>
                  </a:lnTo>
                  <a:lnTo>
                    <a:pt x="122" y="213"/>
                  </a:lnTo>
                  <a:lnTo>
                    <a:pt x="124" y="215"/>
                  </a:lnTo>
                  <a:lnTo>
                    <a:pt x="124" y="215"/>
                  </a:lnTo>
                  <a:lnTo>
                    <a:pt x="126" y="215"/>
                  </a:lnTo>
                  <a:lnTo>
                    <a:pt x="126" y="215"/>
                  </a:lnTo>
                  <a:lnTo>
                    <a:pt x="126" y="217"/>
                  </a:lnTo>
                  <a:lnTo>
                    <a:pt x="128" y="217"/>
                  </a:lnTo>
                  <a:lnTo>
                    <a:pt x="126" y="219"/>
                  </a:lnTo>
                  <a:lnTo>
                    <a:pt x="126" y="220"/>
                  </a:lnTo>
                  <a:lnTo>
                    <a:pt x="126" y="222"/>
                  </a:lnTo>
                  <a:lnTo>
                    <a:pt x="128" y="222"/>
                  </a:lnTo>
                  <a:lnTo>
                    <a:pt x="128" y="222"/>
                  </a:lnTo>
                  <a:lnTo>
                    <a:pt x="130" y="220"/>
                  </a:lnTo>
                  <a:lnTo>
                    <a:pt x="130" y="220"/>
                  </a:lnTo>
                  <a:lnTo>
                    <a:pt x="130" y="220"/>
                  </a:lnTo>
                  <a:lnTo>
                    <a:pt x="132" y="222"/>
                  </a:lnTo>
                  <a:lnTo>
                    <a:pt x="132" y="222"/>
                  </a:lnTo>
                  <a:lnTo>
                    <a:pt x="134" y="222"/>
                  </a:lnTo>
                  <a:lnTo>
                    <a:pt x="142" y="219"/>
                  </a:lnTo>
                  <a:lnTo>
                    <a:pt x="143" y="219"/>
                  </a:lnTo>
                  <a:lnTo>
                    <a:pt x="143" y="220"/>
                  </a:lnTo>
                  <a:lnTo>
                    <a:pt x="142" y="222"/>
                  </a:lnTo>
                  <a:lnTo>
                    <a:pt x="142" y="224"/>
                  </a:lnTo>
                  <a:lnTo>
                    <a:pt x="143" y="226"/>
                  </a:lnTo>
                  <a:lnTo>
                    <a:pt x="143" y="230"/>
                  </a:lnTo>
                  <a:lnTo>
                    <a:pt x="143" y="232"/>
                  </a:lnTo>
                  <a:lnTo>
                    <a:pt x="145" y="234"/>
                  </a:lnTo>
                  <a:lnTo>
                    <a:pt x="145" y="234"/>
                  </a:lnTo>
                  <a:lnTo>
                    <a:pt x="147" y="232"/>
                  </a:lnTo>
                  <a:lnTo>
                    <a:pt x="149" y="232"/>
                  </a:lnTo>
                  <a:lnTo>
                    <a:pt x="153" y="226"/>
                  </a:lnTo>
                  <a:lnTo>
                    <a:pt x="155" y="224"/>
                  </a:lnTo>
                  <a:lnTo>
                    <a:pt x="157" y="222"/>
                  </a:lnTo>
                  <a:lnTo>
                    <a:pt x="157" y="222"/>
                  </a:lnTo>
                  <a:lnTo>
                    <a:pt x="162" y="220"/>
                  </a:lnTo>
                  <a:lnTo>
                    <a:pt x="168" y="220"/>
                  </a:lnTo>
                  <a:lnTo>
                    <a:pt x="174" y="217"/>
                  </a:lnTo>
                  <a:lnTo>
                    <a:pt x="174" y="217"/>
                  </a:lnTo>
                  <a:lnTo>
                    <a:pt x="174" y="215"/>
                  </a:lnTo>
                  <a:lnTo>
                    <a:pt x="174" y="215"/>
                  </a:lnTo>
                  <a:lnTo>
                    <a:pt x="170" y="217"/>
                  </a:lnTo>
                  <a:lnTo>
                    <a:pt x="170" y="217"/>
                  </a:lnTo>
                  <a:lnTo>
                    <a:pt x="170" y="219"/>
                  </a:lnTo>
                  <a:lnTo>
                    <a:pt x="168" y="217"/>
                  </a:lnTo>
                  <a:lnTo>
                    <a:pt x="168" y="217"/>
                  </a:lnTo>
                  <a:lnTo>
                    <a:pt x="168" y="217"/>
                  </a:lnTo>
                  <a:lnTo>
                    <a:pt x="170" y="215"/>
                  </a:lnTo>
                  <a:lnTo>
                    <a:pt x="170" y="215"/>
                  </a:lnTo>
                  <a:lnTo>
                    <a:pt x="172" y="211"/>
                  </a:lnTo>
                  <a:lnTo>
                    <a:pt x="174" y="209"/>
                  </a:lnTo>
                  <a:lnTo>
                    <a:pt x="176" y="207"/>
                  </a:lnTo>
                  <a:lnTo>
                    <a:pt x="178" y="205"/>
                  </a:lnTo>
                  <a:lnTo>
                    <a:pt x="178" y="205"/>
                  </a:lnTo>
                  <a:lnTo>
                    <a:pt x="178" y="203"/>
                  </a:lnTo>
                  <a:lnTo>
                    <a:pt x="180" y="201"/>
                  </a:lnTo>
                  <a:lnTo>
                    <a:pt x="180" y="201"/>
                  </a:lnTo>
                  <a:lnTo>
                    <a:pt x="182" y="201"/>
                  </a:lnTo>
                  <a:lnTo>
                    <a:pt x="183" y="203"/>
                  </a:lnTo>
                  <a:lnTo>
                    <a:pt x="183" y="203"/>
                  </a:lnTo>
                  <a:lnTo>
                    <a:pt x="183" y="205"/>
                  </a:lnTo>
                  <a:lnTo>
                    <a:pt x="183" y="205"/>
                  </a:lnTo>
                  <a:lnTo>
                    <a:pt x="183" y="207"/>
                  </a:lnTo>
                  <a:lnTo>
                    <a:pt x="183" y="209"/>
                  </a:lnTo>
                  <a:lnTo>
                    <a:pt x="183" y="209"/>
                  </a:lnTo>
                  <a:lnTo>
                    <a:pt x="183" y="211"/>
                  </a:lnTo>
                  <a:lnTo>
                    <a:pt x="183" y="211"/>
                  </a:lnTo>
                  <a:lnTo>
                    <a:pt x="183" y="213"/>
                  </a:lnTo>
                  <a:lnTo>
                    <a:pt x="185" y="213"/>
                  </a:lnTo>
                  <a:lnTo>
                    <a:pt x="187" y="213"/>
                  </a:lnTo>
                  <a:lnTo>
                    <a:pt x="189" y="211"/>
                  </a:lnTo>
                  <a:lnTo>
                    <a:pt x="189" y="211"/>
                  </a:lnTo>
                  <a:lnTo>
                    <a:pt x="191" y="209"/>
                  </a:lnTo>
                  <a:lnTo>
                    <a:pt x="191" y="207"/>
                  </a:lnTo>
                  <a:lnTo>
                    <a:pt x="193" y="205"/>
                  </a:lnTo>
                  <a:lnTo>
                    <a:pt x="193" y="203"/>
                  </a:lnTo>
                  <a:lnTo>
                    <a:pt x="193" y="201"/>
                  </a:lnTo>
                  <a:lnTo>
                    <a:pt x="193" y="201"/>
                  </a:lnTo>
                  <a:lnTo>
                    <a:pt x="197" y="198"/>
                  </a:lnTo>
                  <a:lnTo>
                    <a:pt x="199" y="196"/>
                  </a:lnTo>
                  <a:lnTo>
                    <a:pt x="201" y="196"/>
                  </a:lnTo>
                  <a:lnTo>
                    <a:pt x="202" y="198"/>
                  </a:lnTo>
                  <a:lnTo>
                    <a:pt x="206" y="199"/>
                  </a:lnTo>
                  <a:lnTo>
                    <a:pt x="206" y="201"/>
                  </a:lnTo>
                  <a:lnTo>
                    <a:pt x="208" y="201"/>
                  </a:lnTo>
                  <a:lnTo>
                    <a:pt x="210" y="201"/>
                  </a:lnTo>
                  <a:lnTo>
                    <a:pt x="212" y="201"/>
                  </a:lnTo>
                  <a:lnTo>
                    <a:pt x="218" y="199"/>
                  </a:lnTo>
                  <a:lnTo>
                    <a:pt x="220" y="199"/>
                  </a:lnTo>
                  <a:lnTo>
                    <a:pt x="222" y="199"/>
                  </a:lnTo>
                  <a:lnTo>
                    <a:pt x="222" y="199"/>
                  </a:lnTo>
                  <a:lnTo>
                    <a:pt x="227" y="198"/>
                  </a:lnTo>
                  <a:lnTo>
                    <a:pt x="231" y="198"/>
                  </a:lnTo>
                  <a:lnTo>
                    <a:pt x="231" y="196"/>
                  </a:lnTo>
                  <a:lnTo>
                    <a:pt x="241" y="198"/>
                  </a:lnTo>
                  <a:lnTo>
                    <a:pt x="241" y="198"/>
                  </a:lnTo>
                  <a:lnTo>
                    <a:pt x="241" y="198"/>
                  </a:lnTo>
                  <a:lnTo>
                    <a:pt x="243" y="198"/>
                  </a:lnTo>
                  <a:lnTo>
                    <a:pt x="241" y="199"/>
                  </a:lnTo>
                  <a:lnTo>
                    <a:pt x="233" y="207"/>
                  </a:lnTo>
                  <a:lnTo>
                    <a:pt x="233" y="207"/>
                  </a:lnTo>
                  <a:lnTo>
                    <a:pt x="233" y="207"/>
                  </a:lnTo>
                  <a:lnTo>
                    <a:pt x="233" y="209"/>
                  </a:lnTo>
                  <a:lnTo>
                    <a:pt x="233" y="209"/>
                  </a:lnTo>
                  <a:lnTo>
                    <a:pt x="233" y="211"/>
                  </a:lnTo>
                  <a:lnTo>
                    <a:pt x="235" y="211"/>
                  </a:lnTo>
                  <a:lnTo>
                    <a:pt x="237" y="211"/>
                  </a:lnTo>
                  <a:lnTo>
                    <a:pt x="237" y="213"/>
                  </a:lnTo>
                  <a:lnTo>
                    <a:pt x="237" y="215"/>
                  </a:lnTo>
                  <a:lnTo>
                    <a:pt x="235" y="217"/>
                  </a:lnTo>
                  <a:lnTo>
                    <a:pt x="233" y="220"/>
                  </a:lnTo>
                  <a:lnTo>
                    <a:pt x="233" y="224"/>
                  </a:lnTo>
                  <a:lnTo>
                    <a:pt x="231" y="224"/>
                  </a:lnTo>
                  <a:lnTo>
                    <a:pt x="233" y="226"/>
                  </a:lnTo>
                  <a:lnTo>
                    <a:pt x="233" y="228"/>
                  </a:lnTo>
                  <a:lnTo>
                    <a:pt x="233" y="228"/>
                  </a:lnTo>
                  <a:lnTo>
                    <a:pt x="233" y="230"/>
                  </a:lnTo>
                  <a:lnTo>
                    <a:pt x="233" y="236"/>
                  </a:lnTo>
                  <a:lnTo>
                    <a:pt x="233" y="238"/>
                  </a:lnTo>
                  <a:lnTo>
                    <a:pt x="233" y="238"/>
                  </a:lnTo>
                  <a:lnTo>
                    <a:pt x="233" y="238"/>
                  </a:lnTo>
                  <a:lnTo>
                    <a:pt x="235" y="238"/>
                  </a:lnTo>
                  <a:lnTo>
                    <a:pt x="235" y="236"/>
                  </a:lnTo>
                  <a:lnTo>
                    <a:pt x="237" y="236"/>
                  </a:lnTo>
                  <a:lnTo>
                    <a:pt x="241" y="234"/>
                  </a:lnTo>
                  <a:lnTo>
                    <a:pt x="246" y="234"/>
                  </a:lnTo>
                  <a:lnTo>
                    <a:pt x="248" y="232"/>
                  </a:lnTo>
                  <a:lnTo>
                    <a:pt x="248" y="232"/>
                  </a:lnTo>
                  <a:lnTo>
                    <a:pt x="250" y="230"/>
                  </a:lnTo>
                  <a:lnTo>
                    <a:pt x="250" y="230"/>
                  </a:lnTo>
                  <a:lnTo>
                    <a:pt x="252" y="230"/>
                  </a:lnTo>
                  <a:lnTo>
                    <a:pt x="254" y="230"/>
                  </a:lnTo>
                  <a:lnTo>
                    <a:pt x="256" y="232"/>
                  </a:lnTo>
                  <a:lnTo>
                    <a:pt x="256" y="234"/>
                  </a:lnTo>
                  <a:lnTo>
                    <a:pt x="262" y="236"/>
                  </a:lnTo>
                  <a:lnTo>
                    <a:pt x="265" y="239"/>
                  </a:lnTo>
                  <a:lnTo>
                    <a:pt x="271" y="247"/>
                  </a:lnTo>
                  <a:lnTo>
                    <a:pt x="271" y="247"/>
                  </a:lnTo>
                  <a:lnTo>
                    <a:pt x="271" y="249"/>
                  </a:lnTo>
                  <a:lnTo>
                    <a:pt x="273" y="249"/>
                  </a:lnTo>
                  <a:lnTo>
                    <a:pt x="273" y="249"/>
                  </a:lnTo>
                  <a:lnTo>
                    <a:pt x="273" y="247"/>
                  </a:lnTo>
                  <a:lnTo>
                    <a:pt x="275" y="247"/>
                  </a:lnTo>
                  <a:lnTo>
                    <a:pt x="277" y="245"/>
                  </a:lnTo>
                  <a:lnTo>
                    <a:pt x="277" y="245"/>
                  </a:lnTo>
                  <a:lnTo>
                    <a:pt x="279" y="245"/>
                  </a:lnTo>
                  <a:lnTo>
                    <a:pt x="279" y="245"/>
                  </a:lnTo>
                  <a:lnTo>
                    <a:pt x="279" y="245"/>
                  </a:lnTo>
                  <a:lnTo>
                    <a:pt x="281" y="245"/>
                  </a:lnTo>
                  <a:lnTo>
                    <a:pt x="281" y="247"/>
                  </a:lnTo>
                  <a:lnTo>
                    <a:pt x="279" y="247"/>
                  </a:lnTo>
                  <a:lnTo>
                    <a:pt x="279" y="249"/>
                  </a:lnTo>
                  <a:lnTo>
                    <a:pt x="279" y="249"/>
                  </a:lnTo>
                  <a:lnTo>
                    <a:pt x="277" y="251"/>
                  </a:lnTo>
                  <a:lnTo>
                    <a:pt x="277" y="251"/>
                  </a:lnTo>
                  <a:lnTo>
                    <a:pt x="277" y="253"/>
                  </a:lnTo>
                  <a:lnTo>
                    <a:pt x="275" y="253"/>
                  </a:lnTo>
                  <a:lnTo>
                    <a:pt x="275" y="255"/>
                  </a:lnTo>
                  <a:lnTo>
                    <a:pt x="273" y="255"/>
                  </a:lnTo>
                  <a:lnTo>
                    <a:pt x="271" y="257"/>
                  </a:lnTo>
                  <a:lnTo>
                    <a:pt x="271" y="257"/>
                  </a:lnTo>
                  <a:lnTo>
                    <a:pt x="271" y="258"/>
                  </a:lnTo>
                  <a:lnTo>
                    <a:pt x="271" y="258"/>
                  </a:lnTo>
                  <a:lnTo>
                    <a:pt x="273" y="258"/>
                  </a:lnTo>
                  <a:lnTo>
                    <a:pt x="275" y="260"/>
                  </a:lnTo>
                  <a:lnTo>
                    <a:pt x="275" y="260"/>
                  </a:lnTo>
                  <a:lnTo>
                    <a:pt x="275" y="262"/>
                  </a:lnTo>
                  <a:lnTo>
                    <a:pt x="275" y="262"/>
                  </a:lnTo>
                  <a:lnTo>
                    <a:pt x="279" y="262"/>
                  </a:lnTo>
                  <a:lnTo>
                    <a:pt x="281" y="264"/>
                  </a:lnTo>
                  <a:lnTo>
                    <a:pt x="281" y="264"/>
                  </a:lnTo>
                  <a:lnTo>
                    <a:pt x="281" y="264"/>
                  </a:lnTo>
                  <a:lnTo>
                    <a:pt x="284" y="268"/>
                  </a:lnTo>
                  <a:lnTo>
                    <a:pt x="286" y="270"/>
                  </a:lnTo>
                  <a:lnTo>
                    <a:pt x="286" y="270"/>
                  </a:lnTo>
                  <a:lnTo>
                    <a:pt x="288" y="272"/>
                  </a:lnTo>
                  <a:lnTo>
                    <a:pt x="290" y="272"/>
                  </a:lnTo>
                  <a:lnTo>
                    <a:pt x="290" y="274"/>
                  </a:lnTo>
                  <a:lnTo>
                    <a:pt x="290" y="274"/>
                  </a:lnTo>
                  <a:lnTo>
                    <a:pt x="290" y="276"/>
                  </a:lnTo>
                  <a:lnTo>
                    <a:pt x="290" y="277"/>
                  </a:lnTo>
                  <a:lnTo>
                    <a:pt x="290" y="277"/>
                  </a:lnTo>
                  <a:lnTo>
                    <a:pt x="290" y="279"/>
                  </a:lnTo>
                  <a:lnTo>
                    <a:pt x="290" y="279"/>
                  </a:lnTo>
                  <a:lnTo>
                    <a:pt x="290" y="279"/>
                  </a:lnTo>
                  <a:lnTo>
                    <a:pt x="290" y="281"/>
                  </a:lnTo>
                  <a:lnTo>
                    <a:pt x="290" y="281"/>
                  </a:lnTo>
                  <a:lnTo>
                    <a:pt x="290" y="281"/>
                  </a:lnTo>
                  <a:lnTo>
                    <a:pt x="292" y="283"/>
                  </a:lnTo>
                  <a:lnTo>
                    <a:pt x="292" y="283"/>
                  </a:lnTo>
                  <a:lnTo>
                    <a:pt x="290" y="285"/>
                  </a:lnTo>
                  <a:lnTo>
                    <a:pt x="279" y="289"/>
                  </a:lnTo>
                  <a:lnTo>
                    <a:pt x="277" y="293"/>
                  </a:lnTo>
                  <a:lnTo>
                    <a:pt x="275" y="293"/>
                  </a:lnTo>
                  <a:lnTo>
                    <a:pt x="273" y="293"/>
                  </a:lnTo>
                  <a:lnTo>
                    <a:pt x="271" y="293"/>
                  </a:lnTo>
                  <a:lnTo>
                    <a:pt x="269" y="293"/>
                  </a:lnTo>
                  <a:lnTo>
                    <a:pt x="269" y="293"/>
                  </a:lnTo>
                  <a:lnTo>
                    <a:pt x="269" y="293"/>
                  </a:lnTo>
                  <a:lnTo>
                    <a:pt x="269" y="295"/>
                  </a:lnTo>
                  <a:lnTo>
                    <a:pt x="267" y="295"/>
                  </a:lnTo>
                  <a:lnTo>
                    <a:pt x="267" y="295"/>
                  </a:lnTo>
                  <a:lnTo>
                    <a:pt x="265" y="295"/>
                  </a:lnTo>
                  <a:lnTo>
                    <a:pt x="265" y="295"/>
                  </a:lnTo>
                  <a:lnTo>
                    <a:pt x="263" y="296"/>
                  </a:lnTo>
                  <a:lnTo>
                    <a:pt x="262" y="298"/>
                  </a:lnTo>
                  <a:lnTo>
                    <a:pt x="258" y="300"/>
                  </a:lnTo>
                  <a:lnTo>
                    <a:pt x="254" y="304"/>
                  </a:lnTo>
                  <a:lnTo>
                    <a:pt x="252" y="308"/>
                  </a:lnTo>
                  <a:lnTo>
                    <a:pt x="252" y="308"/>
                  </a:lnTo>
                  <a:lnTo>
                    <a:pt x="252" y="308"/>
                  </a:lnTo>
                  <a:lnTo>
                    <a:pt x="252" y="308"/>
                  </a:lnTo>
                  <a:lnTo>
                    <a:pt x="254" y="308"/>
                  </a:lnTo>
                  <a:lnTo>
                    <a:pt x="254" y="310"/>
                  </a:lnTo>
                  <a:lnTo>
                    <a:pt x="254" y="310"/>
                  </a:lnTo>
                  <a:lnTo>
                    <a:pt x="254" y="310"/>
                  </a:lnTo>
                  <a:lnTo>
                    <a:pt x="254" y="310"/>
                  </a:lnTo>
                  <a:lnTo>
                    <a:pt x="254" y="310"/>
                  </a:lnTo>
                  <a:lnTo>
                    <a:pt x="258" y="312"/>
                  </a:lnTo>
                  <a:lnTo>
                    <a:pt x="258" y="312"/>
                  </a:lnTo>
                  <a:lnTo>
                    <a:pt x="258" y="312"/>
                  </a:lnTo>
                  <a:lnTo>
                    <a:pt x="258" y="312"/>
                  </a:lnTo>
                  <a:lnTo>
                    <a:pt x="260" y="312"/>
                  </a:lnTo>
                  <a:lnTo>
                    <a:pt x="260" y="312"/>
                  </a:lnTo>
                  <a:lnTo>
                    <a:pt x="258" y="314"/>
                  </a:lnTo>
                  <a:lnTo>
                    <a:pt x="258" y="314"/>
                  </a:lnTo>
                  <a:lnTo>
                    <a:pt x="258" y="314"/>
                  </a:lnTo>
                  <a:lnTo>
                    <a:pt x="260" y="314"/>
                  </a:lnTo>
                  <a:lnTo>
                    <a:pt x="260" y="314"/>
                  </a:lnTo>
                  <a:lnTo>
                    <a:pt x="262" y="316"/>
                  </a:lnTo>
                  <a:lnTo>
                    <a:pt x="262" y="317"/>
                  </a:lnTo>
                  <a:lnTo>
                    <a:pt x="262" y="317"/>
                  </a:lnTo>
                  <a:lnTo>
                    <a:pt x="262" y="317"/>
                  </a:lnTo>
                  <a:lnTo>
                    <a:pt x="262" y="319"/>
                  </a:lnTo>
                  <a:lnTo>
                    <a:pt x="262" y="321"/>
                  </a:lnTo>
                  <a:lnTo>
                    <a:pt x="258" y="323"/>
                  </a:lnTo>
                  <a:lnTo>
                    <a:pt x="252" y="325"/>
                  </a:lnTo>
                  <a:lnTo>
                    <a:pt x="250" y="325"/>
                  </a:lnTo>
                  <a:lnTo>
                    <a:pt x="250" y="323"/>
                  </a:lnTo>
                  <a:lnTo>
                    <a:pt x="250" y="323"/>
                  </a:lnTo>
                  <a:lnTo>
                    <a:pt x="250" y="323"/>
                  </a:lnTo>
                  <a:lnTo>
                    <a:pt x="250" y="323"/>
                  </a:lnTo>
                  <a:lnTo>
                    <a:pt x="250" y="323"/>
                  </a:lnTo>
                  <a:lnTo>
                    <a:pt x="250" y="323"/>
                  </a:lnTo>
                  <a:lnTo>
                    <a:pt x="244" y="319"/>
                  </a:lnTo>
                  <a:lnTo>
                    <a:pt x="244" y="319"/>
                  </a:lnTo>
                  <a:lnTo>
                    <a:pt x="241" y="317"/>
                  </a:lnTo>
                  <a:lnTo>
                    <a:pt x="237" y="319"/>
                  </a:lnTo>
                  <a:lnTo>
                    <a:pt x="237" y="321"/>
                  </a:lnTo>
                  <a:lnTo>
                    <a:pt x="237" y="321"/>
                  </a:lnTo>
                  <a:lnTo>
                    <a:pt x="237" y="323"/>
                  </a:lnTo>
                  <a:lnTo>
                    <a:pt x="239" y="325"/>
                  </a:lnTo>
                  <a:lnTo>
                    <a:pt x="239" y="325"/>
                  </a:lnTo>
                  <a:lnTo>
                    <a:pt x="239" y="327"/>
                  </a:lnTo>
                  <a:lnTo>
                    <a:pt x="239" y="329"/>
                  </a:lnTo>
                  <a:lnTo>
                    <a:pt x="239" y="331"/>
                  </a:lnTo>
                  <a:lnTo>
                    <a:pt x="233" y="344"/>
                  </a:lnTo>
                  <a:lnTo>
                    <a:pt x="233" y="348"/>
                  </a:lnTo>
                  <a:lnTo>
                    <a:pt x="233" y="352"/>
                  </a:lnTo>
                  <a:lnTo>
                    <a:pt x="231" y="352"/>
                  </a:lnTo>
                  <a:lnTo>
                    <a:pt x="231" y="354"/>
                  </a:lnTo>
                  <a:lnTo>
                    <a:pt x="231" y="354"/>
                  </a:lnTo>
                  <a:lnTo>
                    <a:pt x="231" y="354"/>
                  </a:lnTo>
                  <a:lnTo>
                    <a:pt x="237" y="359"/>
                  </a:lnTo>
                  <a:lnTo>
                    <a:pt x="239" y="359"/>
                  </a:lnTo>
                  <a:lnTo>
                    <a:pt x="239" y="359"/>
                  </a:lnTo>
                  <a:lnTo>
                    <a:pt x="239" y="361"/>
                  </a:lnTo>
                  <a:lnTo>
                    <a:pt x="239" y="363"/>
                  </a:lnTo>
                  <a:lnTo>
                    <a:pt x="239" y="365"/>
                  </a:lnTo>
                  <a:lnTo>
                    <a:pt x="239" y="365"/>
                  </a:lnTo>
                  <a:lnTo>
                    <a:pt x="241" y="369"/>
                  </a:lnTo>
                  <a:lnTo>
                    <a:pt x="241" y="371"/>
                  </a:lnTo>
                  <a:lnTo>
                    <a:pt x="241" y="373"/>
                  </a:lnTo>
                  <a:lnTo>
                    <a:pt x="241" y="373"/>
                  </a:lnTo>
                  <a:lnTo>
                    <a:pt x="241" y="374"/>
                  </a:lnTo>
                  <a:lnTo>
                    <a:pt x="237" y="382"/>
                  </a:lnTo>
                  <a:lnTo>
                    <a:pt x="237" y="384"/>
                  </a:lnTo>
                  <a:lnTo>
                    <a:pt x="239" y="384"/>
                  </a:lnTo>
                  <a:lnTo>
                    <a:pt x="244" y="384"/>
                  </a:lnTo>
                  <a:lnTo>
                    <a:pt x="250" y="384"/>
                  </a:lnTo>
                  <a:lnTo>
                    <a:pt x="256" y="384"/>
                  </a:lnTo>
                  <a:lnTo>
                    <a:pt x="256" y="384"/>
                  </a:lnTo>
                  <a:lnTo>
                    <a:pt x="256" y="386"/>
                  </a:lnTo>
                  <a:lnTo>
                    <a:pt x="256" y="386"/>
                  </a:lnTo>
                  <a:lnTo>
                    <a:pt x="256" y="386"/>
                  </a:lnTo>
                  <a:lnTo>
                    <a:pt x="256" y="386"/>
                  </a:lnTo>
                  <a:lnTo>
                    <a:pt x="256" y="386"/>
                  </a:lnTo>
                  <a:lnTo>
                    <a:pt x="256" y="388"/>
                  </a:lnTo>
                  <a:lnTo>
                    <a:pt x="256" y="388"/>
                  </a:lnTo>
                  <a:lnTo>
                    <a:pt x="256" y="390"/>
                  </a:lnTo>
                  <a:lnTo>
                    <a:pt x="256" y="392"/>
                  </a:lnTo>
                  <a:lnTo>
                    <a:pt x="256" y="393"/>
                  </a:lnTo>
                  <a:lnTo>
                    <a:pt x="258" y="393"/>
                  </a:lnTo>
                  <a:lnTo>
                    <a:pt x="258" y="395"/>
                  </a:lnTo>
                  <a:lnTo>
                    <a:pt x="258" y="395"/>
                  </a:lnTo>
                  <a:lnTo>
                    <a:pt x="260" y="395"/>
                  </a:lnTo>
                  <a:lnTo>
                    <a:pt x="260" y="395"/>
                  </a:lnTo>
                  <a:lnTo>
                    <a:pt x="262" y="395"/>
                  </a:lnTo>
                  <a:lnTo>
                    <a:pt x="262" y="395"/>
                  </a:lnTo>
                  <a:lnTo>
                    <a:pt x="263" y="395"/>
                  </a:lnTo>
                  <a:lnTo>
                    <a:pt x="263" y="393"/>
                  </a:lnTo>
                  <a:lnTo>
                    <a:pt x="265" y="392"/>
                  </a:lnTo>
                  <a:lnTo>
                    <a:pt x="267" y="390"/>
                  </a:lnTo>
                  <a:lnTo>
                    <a:pt x="271" y="386"/>
                  </a:lnTo>
                  <a:lnTo>
                    <a:pt x="273" y="386"/>
                  </a:lnTo>
                  <a:lnTo>
                    <a:pt x="273" y="386"/>
                  </a:lnTo>
                  <a:lnTo>
                    <a:pt x="273" y="386"/>
                  </a:lnTo>
                  <a:lnTo>
                    <a:pt x="275" y="384"/>
                  </a:lnTo>
                  <a:lnTo>
                    <a:pt x="275" y="384"/>
                  </a:lnTo>
                  <a:lnTo>
                    <a:pt x="275" y="384"/>
                  </a:lnTo>
                  <a:lnTo>
                    <a:pt x="275" y="382"/>
                  </a:lnTo>
                  <a:lnTo>
                    <a:pt x="275" y="380"/>
                  </a:lnTo>
                  <a:lnTo>
                    <a:pt x="275" y="378"/>
                  </a:lnTo>
                  <a:lnTo>
                    <a:pt x="279" y="374"/>
                  </a:lnTo>
                  <a:lnTo>
                    <a:pt x="281" y="373"/>
                  </a:lnTo>
                  <a:lnTo>
                    <a:pt x="283" y="371"/>
                  </a:lnTo>
                  <a:lnTo>
                    <a:pt x="283" y="371"/>
                  </a:lnTo>
                  <a:lnTo>
                    <a:pt x="283" y="369"/>
                  </a:lnTo>
                  <a:lnTo>
                    <a:pt x="286" y="361"/>
                  </a:lnTo>
                  <a:lnTo>
                    <a:pt x="286" y="361"/>
                  </a:lnTo>
                  <a:lnTo>
                    <a:pt x="286" y="359"/>
                  </a:lnTo>
                  <a:lnTo>
                    <a:pt x="288" y="361"/>
                  </a:lnTo>
                  <a:lnTo>
                    <a:pt x="288" y="361"/>
                  </a:lnTo>
                  <a:lnTo>
                    <a:pt x="288" y="363"/>
                  </a:lnTo>
                  <a:lnTo>
                    <a:pt x="294" y="371"/>
                  </a:lnTo>
                  <a:lnTo>
                    <a:pt x="294" y="373"/>
                  </a:lnTo>
                  <a:lnTo>
                    <a:pt x="296" y="373"/>
                  </a:lnTo>
                  <a:lnTo>
                    <a:pt x="296" y="373"/>
                  </a:lnTo>
                  <a:lnTo>
                    <a:pt x="303" y="369"/>
                  </a:lnTo>
                  <a:lnTo>
                    <a:pt x="303" y="371"/>
                  </a:lnTo>
                  <a:lnTo>
                    <a:pt x="307" y="371"/>
                  </a:lnTo>
                  <a:lnTo>
                    <a:pt x="309" y="371"/>
                  </a:lnTo>
                  <a:lnTo>
                    <a:pt x="311" y="369"/>
                  </a:lnTo>
                  <a:lnTo>
                    <a:pt x="309" y="367"/>
                  </a:lnTo>
                  <a:lnTo>
                    <a:pt x="313" y="367"/>
                  </a:lnTo>
                  <a:lnTo>
                    <a:pt x="313" y="363"/>
                  </a:lnTo>
                  <a:lnTo>
                    <a:pt x="313" y="355"/>
                  </a:lnTo>
                  <a:lnTo>
                    <a:pt x="315" y="352"/>
                  </a:lnTo>
                  <a:lnTo>
                    <a:pt x="315" y="352"/>
                  </a:lnTo>
                  <a:lnTo>
                    <a:pt x="317" y="352"/>
                  </a:lnTo>
                  <a:lnTo>
                    <a:pt x="319" y="350"/>
                  </a:lnTo>
                  <a:lnTo>
                    <a:pt x="319" y="350"/>
                  </a:lnTo>
                  <a:lnTo>
                    <a:pt x="317" y="346"/>
                  </a:lnTo>
                  <a:lnTo>
                    <a:pt x="319" y="342"/>
                  </a:lnTo>
                  <a:lnTo>
                    <a:pt x="319" y="340"/>
                  </a:lnTo>
                  <a:lnTo>
                    <a:pt x="319" y="340"/>
                  </a:lnTo>
                  <a:lnTo>
                    <a:pt x="317" y="340"/>
                  </a:lnTo>
                  <a:lnTo>
                    <a:pt x="317" y="338"/>
                  </a:lnTo>
                  <a:lnTo>
                    <a:pt x="317" y="338"/>
                  </a:lnTo>
                  <a:lnTo>
                    <a:pt x="317" y="336"/>
                  </a:lnTo>
                  <a:lnTo>
                    <a:pt x="317" y="336"/>
                  </a:lnTo>
                  <a:lnTo>
                    <a:pt x="319" y="335"/>
                  </a:lnTo>
                  <a:lnTo>
                    <a:pt x="319" y="335"/>
                  </a:lnTo>
                  <a:lnTo>
                    <a:pt x="319" y="331"/>
                  </a:lnTo>
                  <a:lnTo>
                    <a:pt x="321" y="329"/>
                  </a:lnTo>
                  <a:lnTo>
                    <a:pt x="321" y="327"/>
                  </a:lnTo>
                  <a:lnTo>
                    <a:pt x="321" y="327"/>
                  </a:lnTo>
                  <a:lnTo>
                    <a:pt x="321" y="327"/>
                  </a:lnTo>
                  <a:lnTo>
                    <a:pt x="323" y="325"/>
                  </a:lnTo>
                  <a:lnTo>
                    <a:pt x="323" y="325"/>
                  </a:lnTo>
                  <a:lnTo>
                    <a:pt x="323" y="325"/>
                  </a:lnTo>
                  <a:lnTo>
                    <a:pt x="323" y="325"/>
                  </a:lnTo>
                  <a:lnTo>
                    <a:pt x="323" y="325"/>
                  </a:lnTo>
                  <a:lnTo>
                    <a:pt x="324" y="327"/>
                  </a:lnTo>
                  <a:lnTo>
                    <a:pt x="324" y="327"/>
                  </a:lnTo>
                  <a:lnTo>
                    <a:pt x="326" y="327"/>
                  </a:lnTo>
                  <a:lnTo>
                    <a:pt x="326" y="327"/>
                  </a:lnTo>
                  <a:lnTo>
                    <a:pt x="328" y="327"/>
                  </a:lnTo>
                  <a:lnTo>
                    <a:pt x="328" y="325"/>
                  </a:lnTo>
                  <a:lnTo>
                    <a:pt x="328" y="325"/>
                  </a:lnTo>
                  <a:lnTo>
                    <a:pt x="328" y="323"/>
                  </a:lnTo>
                  <a:lnTo>
                    <a:pt x="330" y="319"/>
                  </a:lnTo>
                  <a:lnTo>
                    <a:pt x="332" y="316"/>
                  </a:lnTo>
                  <a:lnTo>
                    <a:pt x="332" y="316"/>
                  </a:lnTo>
                  <a:lnTo>
                    <a:pt x="332" y="316"/>
                  </a:lnTo>
                  <a:lnTo>
                    <a:pt x="332" y="314"/>
                  </a:lnTo>
                  <a:lnTo>
                    <a:pt x="332" y="314"/>
                  </a:lnTo>
                  <a:lnTo>
                    <a:pt x="332" y="314"/>
                  </a:lnTo>
                  <a:lnTo>
                    <a:pt x="332" y="312"/>
                  </a:lnTo>
                  <a:lnTo>
                    <a:pt x="332" y="312"/>
                  </a:lnTo>
                  <a:lnTo>
                    <a:pt x="332" y="312"/>
                  </a:lnTo>
                  <a:lnTo>
                    <a:pt x="334" y="312"/>
                  </a:lnTo>
                  <a:lnTo>
                    <a:pt x="334" y="312"/>
                  </a:lnTo>
                  <a:lnTo>
                    <a:pt x="334" y="310"/>
                  </a:lnTo>
                  <a:lnTo>
                    <a:pt x="334" y="310"/>
                  </a:lnTo>
                  <a:lnTo>
                    <a:pt x="334" y="306"/>
                  </a:lnTo>
                  <a:lnTo>
                    <a:pt x="334" y="304"/>
                  </a:lnTo>
                  <a:lnTo>
                    <a:pt x="334" y="304"/>
                  </a:lnTo>
                  <a:lnTo>
                    <a:pt x="334" y="302"/>
                  </a:lnTo>
                  <a:lnTo>
                    <a:pt x="334" y="302"/>
                  </a:lnTo>
                  <a:lnTo>
                    <a:pt x="336" y="302"/>
                  </a:lnTo>
                  <a:lnTo>
                    <a:pt x="336" y="302"/>
                  </a:lnTo>
                  <a:lnTo>
                    <a:pt x="338" y="302"/>
                  </a:lnTo>
                  <a:lnTo>
                    <a:pt x="338" y="300"/>
                  </a:lnTo>
                  <a:lnTo>
                    <a:pt x="338" y="300"/>
                  </a:lnTo>
                  <a:lnTo>
                    <a:pt x="338" y="298"/>
                  </a:lnTo>
                  <a:lnTo>
                    <a:pt x="340" y="298"/>
                  </a:lnTo>
                  <a:lnTo>
                    <a:pt x="340" y="296"/>
                  </a:lnTo>
                  <a:lnTo>
                    <a:pt x="342" y="295"/>
                  </a:lnTo>
                  <a:lnTo>
                    <a:pt x="343" y="289"/>
                  </a:lnTo>
                  <a:lnTo>
                    <a:pt x="345" y="283"/>
                  </a:lnTo>
                  <a:lnTo>
                    <a:pt x="347" y="281"/>
                  </a:lnTo>
                  <a:lnTo>
                    <a:pt x="347" y="279"/>
                  </a:lnTo>
                  <a:lnTo>
                    <a:pt x="351" y="277"/>
                  </a:lnTo>
                  <a:lnTo>
                    <a:pt x="351" y="276"/>
                  </a:lnTo>
                  <a:lnTo>
                    <a:pt x="351" y="274"/>
                  </a:lnTo>
                  <a:lnTo>
                    <a:pt x="351" y="270"/>
                  </a:lnTo>
                  <a:lnTo>
                    <a:pt x="351" y="268"/>
                  </a:lnTo>
                  <a:lnTo>
                    <a:pt x="351" y="268"/>
                  </a:lnTo>
                  <a:lnTo>
                    <a:pt x="351" y="266"/>
                  </a:lnTo>
                  <a:lnTo>
                    <a:pt x="349" y="264"/>
                  </a:lnTo>
                  <a:lnTo>
                    <a:pt x="349" y="264"/>
                  </a:lnTo>
                  <a:lnTo>
                    <a:pt x="349" y="262"/>
                  </a:lnTo>
                  <a:lnTo>
                    <a:pt x="347" y="262"/>
                  </a:lnTo>
                  <a:lnTo>
                    <a:pt x="347" y="262"/>
                  </a:lnTo>
                  <a:lnTo>
                    <a:pt x="345" y="260"/>
                  </a:lnTo>
                  <a:lnTo>
                    <a:pt x="345" y="260"/>
                  </a:lnTo>
                  <a:lnTo>
                    <a:pt x="345" y="258"/>
                  </a:lnTo>
                  <a:lnTo>
                    <a:pt x="343" y="258"/>
                  </a:lnTo>
                  <a:lnTo>
                    <a:pt x="343" y="257"/>
                  </a:lnTo>
                  <a:lnTo>
                    <a:pt x="343" y="257"/>
                  </a:lnTo>
                  <a:lnTo>
                    <a:pt x="343" y="257"/>
                  </a:lnTo>
                  <a:lnTo>
                    <a:pt x="343" y="257"/>
                  </a:lnTo>
                  <a:lnTo>
                    <a:pt x="342" y="257"/>
                  </a:lnTo>
                  <a:lnTo>
                    <a:pt x="342" y="255"/>
                  </a:lnTo>
                  <a:lnTo>
                    <a:pt x="340" y="255"/>
                  </a:lnTo>
                  <a:lnTo>
                    <a:pt x="340" y="253"/>
                  </a:lnTo>
                  <a:lnTo>
                    <a:pt x="340" y="251"/>
                  </a:lnTo>
                  <a:lnTo>
                    <a:pt x="342" y="251"/>
                  </a:lnTo>
                  <a:lnTo>
                    <a:pt x="343" y="249"/>
                  </a:lnTo>
                  <a:lnTo>
                    <a:pt x="347" y="245"/>
                  </a:lnTo>
                  <a:lnTo>
                    <a:pt x="353" y="241"/>
                  </a:lnTo>
                  <a:lnTo>
                    <a:pt x="357" y="238"/>
                  </a:lnTo>
                  <a:lnTo>
                    <a:pt x="363" y="230"/>
                  </a:lnTo>
                  <a:lnTo>
                    <a:pt x="364" y="228"/>
                  </a:lnTo>
                  <a:lnTo>
                    <a:pt x="374" y="220"/>
                  </a:lnTo>
                  <a:lnTo>
                    <a:pt x="374" y="219"/>
                  </a:lnTo>
                  <a:lnTo>
                    <a:pt x="374" y="219"/>
                  </a:lnTo>
                  <a:lnTo>
                    <a:pt x="374" y="219"/>
                  </a:lnTo>
                  <a:lnTo>
                    <a:pt x="374" y="219"/>
                  </a:lnTo>
                  <a:lnTo>
                    <a:pt x="372" y="217"/>
                  </a:lnTo>
                  <a:lnTo>
                    <a:pt x="372" y="215"/>
                  </a:lnTo>
                  <a:lnTo>
                    <a:pt x="372" y="215"/>
                  </a:lnTo>
                  <a:lnTo>
                    <a:pt x="372" y="215"/>
                  </a:lnTo>
                  <a:lnTo>
                    <a:pt x="372" y="213"/>
                  </a:lnTo>
                  <a:lnTo>
                    <a:pt x="374" y="213"/>
                  </a:lnTo>
                  <a:lnTo>
                    <a:pt x="376" y="211"/>
                  </a:lnTo>
                  <a:lnTo>
                    <a:pt x="378" y="211"/>
                  </a:lnTo>
                  <a:lnTo>
                    <a:pt x="378" y="209"/>
                  </a:lnTo>
                  <a:lnTo>
                    <a:pt x="380" y="209"/>
                  </a:lnTo>
                  <a:lnTo>
                    <a:pt x="380" y="209"/>
                  </a:lnTo>
                  <a:lnTo>
                    <a:pt x="382" y="211"/>
                  </a:lnTo>
                  <a:lnTo>
                    <a:pt x="382" y="211"/>
                  </a:lnTo>
                  <a:lnTo>
                    <a:pt x="384" y="211"/>
                  </a:lnTo>
                  <a:lnTo>
                    <a:pt x="384" y="213"/>
                  </a:lnTo>
                  <a:lnTo>
                    <a:pt x="384" y="215"/>
                  </a:lnTo>
                  <a:lnTo>
                    <a:pt x="384" y="215"/>
                  </a:lnTo>
                  <a:lnTo>
                    <a:pt x="384" y="217"/>
                  </a:lnTo>
                  <a:lnTo>
                    <a:pt x="384" y="219"/>
                  </a:lnTo>
                  <a:lnTo>
                    <a:pt x="382" y="219"/>
                  </a:lnTo>
                  <a:lnTo>
                    <a:pt x="382" y="220"/>
                  </a:lnTo>
                  <a:lnTo>
                    <a:pt x="380" y="220"/>
                  </a:lnTo>
                  <a:lnTo>
                    <a:pt x="380" y="222"/>
                  </a:lnTo>
                  <a:lnTo>
                    <a:pt x="380" y="222"/>
                  </a:lnTo>
                  <a:lnTo>
                    <a:pt x="382" y="222"/>
                  </a:lnTo>
                  <a:lnTo>
                    <a:pt x="382" y="222"/>
                  </a:lnTo>
                  <a:lnTo>
                    <a:pt x="384" y="222"/>
                  </a:lnTo>
                  <a:lnTo>
                    <a:pt x="385" y="222"/>
                  </a:lnTo>
                  <a:lnTo>
                    <a:pt x="391" y="220"/>
                  </a:lnTo>
                  <a:lnTo>
                    <a:pt x="393" y="220"/>
                  </a:lnTo>
                  <a:lnTo>
                    <a:pt x="395" y="219"/>
                  </a:lnTo>
                  <a:lnTo>
                    <a:pt x="397" y="217"/>
                  </a:lnTo>
                  <a:lnTo>
                    <a:pt x="399" y="213"/>
                  </a:lnTo>
                  <a:lnTo>
                    <a:pt x="399" y="213"/>
                  </a:lnTo>
                  <a:lnTo>
                    <a:pt x="401" y="211"/>
                  </a:lnTo>
                  <a:lnTo>
                    <a:pt x="401" y="211"/>
                  </a:lnTo>
                  <a:lnTo>
                    <a:pt x="399" y="209"/>
                  </a:lnTo>
                  <a:lnTo>
                    <a:pt x="399" y="207"/>
                  </a:lnTo>
                  <a:lnTo>
                    <a:pt x="399" y="207"/>
                  </a:lnTo>
                  <a:lnTo>
                    <a:pt x="399" y="207"/>
                  </a:lnTo>
                  <a:lnTo>
                    <a:pt x="399" y="205"/>
                  </a:lnTo>
                  <a:lnTo>
                    <a:pt x="399" y="203"/>
                  </a:lnTo>
                  <a:lnTo>
                    <a:pt x="399" y="201"/>
                  </a:lnTo>
                  <a:lnTo>
                    <a:pt x="401" y="199"/>
                  </a:lnTo>
                  <a:lnTo>
                    <a:pt x="401" y="199"/>
                  </a:lnTo>
                  <a:lnTo>
                    <a:pt x="401" y="199"/>
                  </a:lnTo>
                  <a:lnTo>
                    <a:pt x="401" y="198"/>
                  </a:lnTo>
                  <a:lnTo>
                    <a:pt x="403" y="192"/>
                  </a:lnTo>
                  <a:lnTo>
                    <a:pt x="403" y="190"/>
                  </a:lnTo>
                  <a:lnTo>
                    <a:pt x="401" y="188"/>
                  </a:lnTo>
                  <a:lnTo>
                    <a:pt x="401" y="188"/>
                  </a:lnTo>
                  <a:lnTo>
                    <a:pt x="403" y="186"/>
                  </a:lnTo>
                  <a:lnTo>
                    <a:pt x="410" y="175"/>
                  </a:lnTo>
                  <a:lnTo>
                    <a:pt x="414" y="171"/>
                  </a:lnTo>
                  <a:lnTo>
                    <a:pt x="416" y="169"/>
                  </a:lnTo>
                  <a:lnTo>
                    <a:pt x="418" y="169"/>
                  </a:lnTo>
                  <a:lnTo>
                    <a:pt x="418" y="167"/>
                  </a:lnTo>
                  <a:lnTo>
                    <a:pt x="418" y="165"/>
                  </a:lnTo>
                  <a:lnTo>
                    <a:pt x="420" y="160"/>
                  </a:lnTo>
                  <a:lnTo>
                    <a:pt x="420" y="158"/>
                  </a:lnTo>
                  <a:lnTo>
                    <a:pt x="420" y="156"/>
                  </a:lnTo>
                  <a:lnTo>
                    <a:pt x="424" y="152"/>
                  </a:lnTo>
                  <a:lnTo>
                    <a:pt x="425" y="148"/>
                  </a:lnTo>
                  <a:lnTo>
                    <a:pt x="427" y="150"/>
                  </a:lnTo>
                  <a:lnTo>
                    <a:pt x="429" y="152"/>
                  </a:lnTo>
                  <a:lnTo>
                    <a:pt x="429" y="154"/>
                  </a:lnTo>
                  <a:lnTo>
                    <a:pt x="429" y="154"/>
                  </a:lnTo>
                  <a:lnTo>
                    <a:pt x="429" y="154"/>
                  </a:lnTo>
                  <a:lnTo>
                    <a:pt x="429" y="156"/>
                  </a:lnTo>
                  <a:lnTo>
                    <a:pt x="429" y="156"/>
                  </a:lnTo>
                  <a:lnTo>
                    <a:pt x="431" y="156"/>
                  </a:lnTo>
                  <a:lnTo>
                    <a:pt x="431" y="156"/>
                  </a:lnTo>
                  <a:lnTo>
                    <a:pt x="433" y="156"/>
                  </a:lnTo>
                  <a:lnTo>
                    <a:pt x="435" y="154"/>
                  </a:lnTo>
                  <a:lnTo>
                    <a:pt x="435" y="154"/>
                  </a:lnTo>
                  <a:lnTo>
                    <a:pt x="437" y="152"/>
                  </a:lnTo>
                  <a:lnTo>
                    <a:pt x="439" y="150"/>
                  </a:lnTo>
                  <a:lnTo>
                    <a:pt x="441" y="148"/>
                  </a:lnTo>
                  <a:lnTo>
                    <a:pt x="441" y="146"/>
                  </a:lnTo>
                  <a:lnTo>
                    <a:pt x="441" y="144"/>
                  </a:lnTo>
                  <a:lnTo>
                    <a:pt x="441" y="144"/>
                  </a:lnTo>
                  <a:lnTo>
                    <a:pt x="441" y="142"/>
                  </a:lnTo>
                  <a:lnTo>
                    <a:pt x="444" y="139"/>
                  </a:lnTo>
                  <a:lnTo>
                    <a:pt x="444" y="137"/>
                  </a:lnTo>
                  <a:lnTo>
                    <a:pt x="446" y="137"/>
                  </a:lnTo>
                  <a:lnTo>
                    <a:pt x="446" y="137"/>
                  </a:lnTo>
                  <a:lnTo>
                    <a:pt x="446" y="137"/>
                  </a:lnTo>
                  <a:lnTo>
                    <a:pt x="448" y="137"/>
                  </a:lnTo>
                  <a:lnTo>
                    <a:pt x="450" y="135"/>
                  </a:lnTo>
                  <a:lnTo>
                    <a:pt x="450" y="135"/>
                  </a:lnTo>
                  <a:lnTo>
                    <a:pt x="452" y="133"/>
                  </a:lnTo>
                  <a:lnTo>
                    <a:pt x="452" y="133"/>
                  </a:lnTo>
                  <a:lnTo>
                    <a:pt x="452" y="133"/>
                  </a:lnTo>
                  <a:lnTo>
                    <a:pt x="456" y="133"/>
                  </a:lnTo>
                  <a:lnTo>
                    <a:pt x="464" y="131"/>
                  </a:lnTo>
                  <a:lnTo>
                    <a:pt x="465" y="129"/>
                  </a:lnTo>
                  <a:lnTo>
                    <a:pt x="471" y="125"/>
                  </a:lnTo>
                  <a:lnTo>
                    <a:pt x="475" y="122"/>
                  </a:lnTo>
                  <a:lnTo>
                    <a:pt x="479" y="118"/>
                  </a:lnTo>
                  <a:lnTo>
                    <a:pt x="481" y="112"/>
                  </a:lnTo>
                  <a:lnTo>
                    <a:pt x="483" y="112"/>
                  </a:lnTo>
                  <a:lnTo>
                    <a:pt x="485" y="108"/>
                  </a:lnTo>
                  <a:lnTo>
                    <a:pt x="485" y="108"/>
                  </a:lnTo>
                  <a:lnTo>
                    <a:pt x="486" y="108"/>
                  </a:lnTo>
                  <a:lnTo>
                    <a:pt x="486" y="108"/>
                  </a:lnTo>
                  <a:lnTo>
                    <a:pt x="486" y="108"/>
                  </a:lnTo>
                  <a:lnTo>
                    <a:pt x="490" y="110"/>
                  </a:lnTo>
                  <a:lnTo>
                    <a:pt x="490" y="110"/>
                  </a:lnTo>
                  <a:lnTo>
                    <a:pt x="492" y="110"/>
                  </a:lnTo>
                  <a:lnTo>
                    <a:pt x="494" y="110"/>
                  </a:lnTo>
                  <a:lnTo>
                    <a:pt x="496" y="110"/>
                  </a:lnTo>
                  <a:lnTo>
                    <a:pt x="496" y="110"/>
                  </a:lnTo>
                  <a:lnTo>
                    <a:pt x="507" y="103"/>
                  </a:lnTo>
                  <a:lnTo>
                    <a:pt x="507" y="103"/>
                  </a:lnTo>
                  <a:lnTo>
                    <a:pt x="507" y="103"/>
                  </a:lnTo>
                  <a:lnTo>
                    <a:pt x="507" y="103"/>
                  </a:lnTo>
                  <a:lnTo>
                    <a:pt x="507" y="101"/>
                  </a:lnTo>
                  <a:lnTo>
                    <a:pt x="509" y="101"/>
                  </a:lnTo>
                  <a:lnTo>
                    <a:pt x="509" y="99"/>
                  </a:lnTo>
                  <a:lnTo>
                    <a:pt x="511" y="99"/>
                  </a:lnTo>
                  <a:lnTo>
                    <a:pt x="511" y="99"/>
                  </a:lnTo>
                  <a:lnTo>
                    <a:pt x="511" y="97"/>
                  </a:lnTo>
                  <a:lnTo>
                    <a:pt x="513" y="99"/>
                  </a:lnTo>
                  <a:lnTo>
                    <a:pt x="515" y="99"/>
                  </a:lnTo>
                  <a:lnTo>
                    <a:pt x="517" y="99"/>
                  </a:lnTo>
                  <a:lnTo>
                    <a:pt x="517" y="97"/>
                  </a:lnTo>
                  <a:lnTo>
                    <a:pt x="523" y="95"/>
                  </a:lnTo>
                  <a:lnTo>
                    <a:pt x="526" y="91"/>
                  </a:lnTo>
                  <a:lnTo>
                    <a:pt x="528" y="89"/>
                  </a:lnTo>
                  <a:lnTo>
                    <a:pt x="530" y="89"/>
                  </a:lnTo>
                  <a:lnTo>
                    <a:pt x="530" y="89"/>
                  </a:lnTo>
                  <a:lnTo>
                    <a:pt x="532" y="87"/>
                  </a:lnTo>
                  <a:lnTo>
                    <a:pt x="536" y="85"/>
                  </a:lnTo>
                  <a:lnTo>
                    <a:pt x="536" y="83"/>
                  </a:lnTo>
                  <a:lnTo>
                    <a:pt x="538" y="82"/>
                  </a:lnTo>
                  <a:lnTo>
                    <a:pt x="538" y="82"/>
                  </a:lnTo>
                  <a:lnTo>
                    <a:pt x="538" y="78"/>
                  </a:lnTo>
                  <a:lnTo>
                    <a:pt x="538" y="78"/>
                  </a:lnTo>
                  <a:lnTo>
                    <a:pt x="540" y="76"/>
                  </a:lnTo>
                  <a:lnTo>
                    <a:pt x="540" y="76"/>
                  </a:lnTo>
                  <a:lnTo>
                    <a:pt x="542" y="76"/>
                  </a:lnTo>
                  <a:lnTo>
                    <a:pt x="544" y="74"/>
                  </a:lnTo>
                  <a:lnTo>
                    <a:pt x="544" y="74"/>
                  </a:lnTo>
                  <a:lnTo>
                    <a:pt x="545" y="74"/>
                  </a:lnTo>
                  <a:lnTo>
                    <a:pt x="547" y="76"/>
                  </a:lnTo>
                  <a:lnTo>
                    <a:pt x="549" y="78"/>
                  </a:lnTo>
                  <a:lnTo>
                    <a:pt x="551" y="78"/>
                  </a:lnTo>
                  <a:lnTo>
                    <a:pt x="553" y="80"/>
                  </a:lnTo>
                  <a:lnTo>
                    <a:pt x="568" y="72"/>
                  </a:lnTo>
                  <a:lnTo>
                    <a:pt x="568" y="72"/>
                  </a:lnTo>
                  <a:lnTo>
                    <a:pt x="572" y="74"/>
                  </a:lnTo>
                  <a:lnTo>
                    <a:pt x="572" y="74"/>
                  </a:lnTo>
                  <a:lnTo>
                    <a:pt x="574" y="72"/>
                  </a:lnTo>
                  <a:lnTo>
                    <a:pt x="574" y="72"/>
                  </a:lnTo>
                  <a:lnTo>
                    <a:pt x="574" y="72"/>
                  </a:lnTo>
                  <a:lnTo>
                    <a:pt x="578" y="74"/>
                  </a:lnTo>
                  <a:lnTo>
                    <a:pt x="578" y="74"/>
                  </a:lnTo>
                  <a:lnTo>
                    <a:pt x="578" y="74"/>
                  </a:lnTo>
                  <a:lnTo>
                    <a:pt x="578" y="72"/>
                  </a:lnTo>
                  <a:lnTo>
                    <a:pt x="578" y="72"/>
                  </a:lnTo>
                  <a:lnTo>
                    <a:pt x="580" y="70"/>
                  </a:lnTo>
                  <a:lnTo>
                    <a:pt x="580" y="70"/>
                  </a:lnTo>
                  <a:lnTo>
                    <a:pt x="582" y="70"/>
                  </a:lnTo>
                  <a:lnTo>
                    <a:pt x="582" y="70"/>
                  </a:lnTo>
                  <a:lnTo>
                    <a:pt x="582" y="70"/>
                  </a:lnTo>
                  <a:lnTo>
                    <a:pt x="582" y="70"/>
                  </a:lnTo>
                  <a:lnTo>
                    <a:pt x="584" y="68"/>
                  </a:lnTo>
                  <a:lnTo>
                    <a:pt x="584" y="68"/>
                  </a:lnTo>
                  <a:lnTo>
                    <a:pt x="584" y="66"/>
                  </a:lnTo>
                  <a:lnTo>
                    <a:pt x="584" y="66"/>
                  </a:lnTo>
                  <a:lnTo>
                    <a:pt x="584" y="66"/>
                  </a:lnTo>
                  <a:lnTo>
                    <a:pt x="586" y="64"/>
                  </a:lnTo>
                  <a:lnTo>
                    <a:pt x="586" y="64"/>
                  </a:lnTo>
                  <a:lnTo>
                    <a:pt x="587" y="64"/>
                  </a:lnTo>
                  <a:lnTo>
                    <a:pt x="587" y="64"/>
                  </a:lnTo>
                  <a:lnTo>
                    <a:pt x="587" y="64"/>
                  </a:lnTo>
                  <a:lnTo>
                    <a:pt x="587" y="61"/>
                  </a:lnTo>
                  <a:lnTo>
                    <a:pt x="587" y="6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0" name="Freeform 72">
              <a:extLst>
                <a:ext uri="{FF2B5EF4-FFF2-40B4-BE49-F238E27FC236}">
                  <a16:creationId xmlns:a16="http://schemas.microsoft.com/office/drawing/2014/main" id="{B1CAF3C3-A8CE-AE15-DB5F-B3D163D958D2}"/>
                </a:ext>
              </a:extLst>
            </p:cNvPr>
            <p:cNvSpPr>
              <a:spLocks/>
            </p:cNvSpPr>
            <p:nvPr/>
          </p:nvSpPr>
          <p:spPr bwMode="auto">
            <a:xfrm>
              <a:off x="7212013" y="2744001"/>
              <a:ext cx="846138" cy="450850"/>
            </a:xfrm>
            <a:custGeom>
              <a:avLst/>
              <a:gdLst>
                <a:gd name="T0" fmla="*/ 520 w 533"/>
                <a:gd name="T1" fmla="*/ 111 h 284"/>
                <a:gd name="T2" fmla="*/ 486 w 533"/>
                <a:gd name="T3" fmla="*/ 93 h 284"/>
                <a:gd name="T4" fmla="*/ 451 w 533"/>
                <a:gd name="T5" fmla="*/ 84 h 284"/>
                <a:gd name="T6" fmla="*/ 451 w 533"/>
                <a:gd name="T7" fmla="*/ 42 h 284"/>
                <a:gd name="T8" fmla="*/ 427 w 533"/>
                <a:gd name="T9" fmla="*/ 23 h 284"/>
                <a:gd name="T10" fmla="*/ 430 w 533"/>
                <a:gd name="T11" fmla="*/ 14 h 284"/>
                <a:gd name="T12" fmla="*/ 387 w 533"/>
                <a:gd name="T13" fmla="*/ 2 h 284"/>
                <a:gd name="T14" fmla="*/ 367 w 533"/>
                <a:gd name="T15" fmla="*/ 15 h 284"/>
                <a:gd name="T16" fmla="*/ 354 w 533"/>
                <a:gd name="T17" fmla="*/ 19 h 284"/>
                <a:gd name="T18" fmla="*/ 333 w 533"/>
                <a:gd name="T19" fmla="*/ 29 h 284"/>
                <a:gd name="T20" fmla="*/ 312 w 533"/>
                <a:gd name="T21" fmla="*/ 25 h 284"/>
                <a:gd name="T22" fmla="*/ 282 w 533"/>
                <a:gd name="T23" fmla="*/ 6 h 284"/>
                <a:gd name="T24" fmla="*/ 255 w 533"/>
                <a:gd name="T25" fmla="*/ 21 h 284"/>
                <a:gd name="T26" fmla="*/ 230 w 533"/>
                <a:gd name="T27" fmla="*/ 52 h 284"/>
                <a:gd name="T28" fmla="*/ 215 w 533"/>
                <a:gd name="T29" fmla="*/ 59 h 284"/>
                <a:gd name="T30" fmla="*/ 194 w 533"/>
                <a:gd name="T31" fmla="*/ 71 h 284"/>
                <a:gd name="T32" fmla="*/ 152 w 533"/>
                <a:gd name="T33" fmla="*/ 88 h 284"/>
                <a:gd name="T34" fmla="*/ 122 w 533"/>
                <a:gd name="T35" fmla="*/ 118 h 284"/>
                <a:gd name="T36" fmla="*/ 110 w 533"/>
                <a:gd name="T37" fmla="*/ 124 h 284"/>
                <a:gd name="T38" fmla="*/ 103 w 533"/>
                <a:gd name="T39" fmla="*/ 145 h 284"/>
                <a:gd name="T40" fmla="*/ 80 w 533"/>
                <a:gd name="T41" fmla="*/ 162 h 284"/>
                <a:gd name="T42" fmla="*/ 68 w 533"/>
                <a:gd name="T43" fmla="*/ 162 h 284"/>
                <a:gd name="T44" fmla="*/ 61 w 533"/>
                <a:gd name="T45" fmla="*/ 162 h 284"/>
                <a:gd name="T46" fmla="*/ 26 w 533"/>
                <a:gd name="T47" fmla="*/ 171 h 284"/>
                <a:gd name="T48" fmla="*/ 5 w 533"/>
                <a:gd name="T49" fmla="*/ 196 h 284"/>
                <a:gd name="T50" fmla="*/ 28 w 533"/>
                <a:gd name="T51" fmla="*/ 202 h 284"/>
                <a:gd name="T52" fmla="*/ 42 w 533"/>
                <a:gd name="T53" fmla="*/ 225 h 284"/>
                <a:gd name="T54" fmla="*/ 38 w 533"/>
                <a:gd name="T55" fmla="*/ 240 h 284"/>
                <a:gd name="T56" fmla="*/ 68 w 533"/>
                <a:gd name="T57" fmla="*/ 255 h 284"/>
                <a:gd name="T58" fmla="*/ 114 w 533"/>
                <a:gd name="T59" fmla="*/ 242 h 284"/>
                <a:gd name="T60" fmla="*/ 167 w 533"/>
                <a:gd name="T61" fmla="*/ 249 h 284"/>
                <a:gd name="T62" fmla="*/ 200 w 533"/>
                <a:gd name="T63" fmla="*/ 244 h 284"/>
                <a:gd name="T64" fmla="*/ 209 w 533"/>
                <a:gd name="T65" fmla="*/ 227 h 284"/>
                <a:gd name="T66" fmla="*/ 246 w 533"/>
                <a:gd name="T67" fmla="*/ 189 h 284"/>
                <a:gd name="T68" fmla="*/ 249 w 533"/>
                <a:gd name="T69" fmla="*/ 183 h 284"/>
                <a:gd name="T70" fmla="*/ 276 w 533"/>
                <a:gd name="T71" fmla="*/ 183 h 284"/>
                <a:gd name="T72" fmla="*/ 345 w 533"/>
                <a:gd name="T73" fmla="*/ 154 h 284"/>
                <a:gd name="T74" fmla="*/ 377 w 533"/>
                <a:gd name="T75" fmla="*/ 147 h 284"/>
                <a:gd name="T76" fmla="*/ 387 w 533"/>
                <a:gd name="T77" fmla="*/ 173 h 284"/>
                <a:gd name="T78" fmla="*/ 396 w 533"/>
                <a:gd name="T79" fmla="*/ 189 h 284"/>
                <a:gd name="T80" fmla="*/ 398 w 533"/>
                <a:gd name="T81" fmla="*/ 206 h 284"/>
                <a:gd name="T82" fmla="*/ 406 w 533"/>
                <a:gd name="T83" fmla="*/ 202 h 284"/>
                <a:gd name="T84" fmla="*/ 406 w 533"/>
                <a:gd name="T85" fmla="*/ 211 h 284"/>
                <a:gd name="T86" fmla="*/ 400 w 533"/>
                <a:gd name="T87" fmla="*/ 217 h 284"/>
                <a:gd name="T88" fmla="*/ 375 w 533"/>
                <a:gd name="T89" fmla="*/ 225 h 284"/>
                <a:gd name="T90" fmla="*/ 360 w 533"/>
                <a:gd name="T91" fmla="*/ 223 h 284"/>
                <a:gd name="T92" fmla="*/ 339 w 533"/>
                <a:gd name="T93" fmla="*/ 242 h 284"/>
                <a:gd name="T94" fmla="*/ 335 w 533"/>
                <a:gd name="T95" fmla="*/ 249 h 284"/>
                <a:gd name="T96" fmla="*/ 333 w 533"/>
                <a:gd name="T97" fmla="*/ 263 h 284"/>
                <a:gd name="T98" fmla="*/ 339 w 533"/>
                <a:gd name="T99" fmla="*/ 280 h 284"/>
                <a:gd name="T100" fmla="*/ 366 w 533"/>
                <a:gd name="T101" fmla="*/ 267 h 284"/>
                <a:gd name="T102" fmla="*/ 383 w 533"/>
                <a:gd name="T103" fmla="*/ 253 h 284"/>
                <a:gd name="T104" fmla="*/ 446 w 533"/>
                <a:gd name="T105" fmla="*/ 217 h 284"/>
                <a:gd name="T106" fmla="*/ 467 w 533"/>
                <a:gd name="T107" fmla="*/ 213 h 284"/>
                <a:gd name="T108" fmla="*/ 484 w 533"/>
                <a:gd name="T109" fmla="*/ 217 h 284"/>
                <a:gd name="T110" fmla="*/ 503 w 533"/>
                <a:gd name="T111" fmla="*/ 238 h 284"/>
                <a:gd name="T112" fmla="*/ 512 w 533"/>
                <a:gd name="T113" fmla="*/ 236 h 284"/>
                <a:gd name="T114" fmla="*/ 489 w 533"/>
                <a:gd name="T115" fmla="*/ 202 h 284"/>
                <a:gd name="T116" fmla="*/ 488 w 533"/>
                <a:gd name="T117" fmla="*/ 183 h 284"/>
                <a:gd name="T118" fmla="*/ 507 w 533"/>
                <a:gd name="T119" fmla="*/ 168 h 284"/>
                <a:gd name="T120" fmla="*/ 520 w 533"/>
                <a:gd name="T121" fmla="*/ 154 h 284"/>
                <a:gd name="T122" fmla="*/ 531 w 533"/>
                <a:gd name="T123" fmla="*/ 1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3" h="284">
                  <a:moveTo>
                    <a:pt x="533" y="141"/>
                  </a:moveTo>
                  <a:lnTo>
                    <a:pt x="529" y="137"/>
                  </a:lnTo>
                  <a:lnTo>
                    <a:pt x="528" y="133"/>
                  </a:lnTo>
                  <a:lnTo>
                    <a:pt x="528" y="130"/>
                  </a:lnTo>
                  <a:lnTo>
                    <a:pt x="531" y="124"/>
                  </a:lnTo>
                  <a:lnTo>
                    <a:pt x="529" y="120"/>
                  </a:lnTo>
                  <a:lnTo>
                    <a:pt x="528" y="118"/>
                  </a:lnTo>
                  <a:lnTo>
                    <a:pt x="522" y="114"/>
                  </a:lnTo>
                  <a:lnTo>
                    <a:pt x="520" y="114"/>
                  </a:lnTo>
                  <a:lnTo>
                    <a:pt x="520" y="111"/>
                  </a:lnTo>
                  <a:lnTo>
                    <a:pt x="520" y="111"/>
                  </a:lnTo>
                  <a:lnTo>
                    <a:pt x="518" y="111"/>
                  </a:lnTo>
                  <a:lnTo>
                    <a:pt x="518" y="111"/>
                  </a:lnTo>
                  <a:lnTo>
                    <a:pt x="510" y="105"/>
                  </a:lnTo>
                  <a:lnTo>
                    <a:pt x="508" y="105"/>
                  </a:lnTo>
                  <a:lnTo>
                    <a:pt x="503" y="107"/>
                  </a:lnTo>
                  <a:lnTo>
                    <a:pt x="501" y="109"/>
                  </a:lnTo>
                  <a:lnTo>
                    <a:pt x="497" y="109"/>
                  </a:lnTo>
                  <a:lnTo>
                    <a:pt x="495" y="109"/>
                  </a:lnTo>
                  <a:lnTo>
                    <a:pt x="491" y="107"/>
                  </a:lnTo>
                  <a:lnTo>
                    <a:pt x="489" y="99"/>
                  </a:lnTo>
                  <a:lnTo>
                    <a:pt x="486" y="93"/>
                  </a:lnTo>
                  <a:lnTo>
                    <a:pt x="480" y="90"/>
                  </a:lnTo>
                  <a:lnTo>
                    <a:pt x="472" y="82"/>
                  </a:lnTo>
                  <a:lnTo>
                    <a:pt x="465" y="80"/>
                  </a:lnTo>
                  <a:lnTo>
                    <a:pt x="459" y="82"/>
                  </a:lnTo>
                  <a:lnTo>
                    <a:pt x="457" y="88"/>
                  </a:lnTo>
                  <a:lnTo>
                    <a:pt x="455" y="93"/>
                  </a:lnTo>
                  <a:lnTo>
                    <a:pt x="455" y="99"/>
                  </a:lnTo>
                  <a:lnTo>
                    <a:pt x="453" y="99"/>
                  </a:lnTo>
                  <a:lnTo>
                    <a:pt x="451" y="93"/>
                  </a:lnTo>
                  <a:lnTo>
                    <a:pt x="448" y="90"/>
                  </a:lnTo>
                  <a:lnTo>
                    <a:pt x="451" y="84"/>
                  </a:lnTo>
                  <a:lnTo>
                    <a:pt x="448" y="80"/>
                  </a:lnTo>
                  <a:lnTo>
                    <a:pt x="455" y="76"/>
                  </a:lnTo>
                  <a:lnTo>
                    <a:pt x="463" y="69"/>
                  </a:lnTo>
                  <a:lnTo>
                    <a:pt x="463" y="65"/>
                  </a:lnTo>
                  <a:lnTo>
                    <a:pt x="461" y="59"/>
                  </a:lnTo>
                  <a:lnTo>
                    <a:pt x="457" y="54"/>
                  </a:lnTo>
                  <a:lnTo>
                    <a:pt x="455" y="52"/>
                  </a:lnTo>
                  <a:lnTo>
                    <a:pt x="455" y="46"/>
                  </a:lnTo>
                  <a:lnTo>
                    <a:pt x="453" y="44"/>
                  </a:lnTo>
                  <a:lnTo>
                    <a:pt x="451" y="42"/>
                  </a:lnTo>
                  <a:lnTo>
                    <a:pt x="451" y="42"/>
                  </a:lnTo>
                  <a:lnTo>
                    <a:pt x="449" y="42"/>
                  </a:lnTo>
                  <a:lnTo>
                    <a:pt x="449" y="40"/>
                  </a:lnTo>
                  <a:lnTo>
                    <a:pt x="449" y="40"/>
                  </a:lnTo>
                  <a:lnTo>
                    <a:pt x="442" y="34"/>
                  </a:lnTo>
                  <a:lnTo>
                    <a:pt x="440" y="29"/>
                  </a:lnTo>
                  <a:lnTo>
                    <a:pt x="434" y="31"/>
                  </a:lnTo>
                  <a:lnTo>
                    <a:pt x="427" y="36"/>
                  </a:lnTo>
                  <a:lnTo>
                    <a:pt x="425" y="27"/>
                  </a:lnTo>
                  <a:lnTo>
                    <a:pt x="425" y="25"/>
                  </a:lnTo>
                  <a:lnTo>
                    <a:pt x="427" y="25"/>
                  </a:lnTo>
                  <a:lnTo>
                    <a:pt x="427" y="23"/>
                  </a:lnTo>
                  <a:lnTo>
                    <a:pt x="438" y="21"/>
                  </a:lnTo>
                  <a:lnTo>
                    <a:pt x="438" y="19"/>
                  </a:lnTo>
                  <a:lnTo>
                    <a:pt x="440" y="17"/>
                  </a:lnTo>
                  <a:lnTo>
                    <a:pt x="442" y="14"/>
                  </a:lnTo>
                  <a:lnTo>
                    <a:pt x="442" y="12"/>
                  </a:lnTo>
                  <a:lnTo>
                    <a:pt x="440" y="10"/>
                  </a:lnTo>
                  <a:lnTo>
                    <a:pt x="440" y="10"/>
                  </a:lnTo>
                  <a:lnTo>
                    <a:pt x="438" y="10"/>
                  </a:lnTo>
                  <a:lnTo>
                    <a:pt x="436" y="12"/>
                  </a:lnTo>
                  <a:lnTo>
                    <a:pt x="432" y="14"/>
                  </a:lnTo>
                  <a:lnTo>
                    <a:pt x="430" y="14"/>
                  </a:lnTo>
                  <a:lnTo>
                    <a:pt x="427" y="12"/>
                  </a:lnTo>
                  <a:lnTo>
                    <a:pt x="425" y="8"/>
                  </a:lnTo>
                  <a:lnTo>
                    <a:pt x="423" y="6"/>
                  </a:lnTo>
                  <a:lnTo>
                    <a:pt x="423" y="2"/>
                  </a:lnTo>
                  <a:lnTo>
                    <a:pt x="421" y="0"/>
                  </a:lnTo>
                  <a:lnTo>
                    <a:pt x="415" y="0"/>
                  </a:lnTo>
                  <a:lnTo>
                    <a:pt x="409" y="0"/>
                  </a:lnTo>
                  <a:lnTo>
                    <a:pt x="404" y="0"/>
                  </a:lnTo>
                  <a:lnTo>
                    <a:pt x="396" y="4"/>
                  </a:lnTo>
                  <a:lnTo>
                    <a:pt x="388" y="2"/>
                  </a:lnTo>
                  <a:lnTo>
                    <a:pt x="387" y="2"/>
                  </a:lnTo>
                  <a:lnTo>
                    <a:pt x="385" y="2"/>
                  </a:lnTo>
                  <a:lnTo>
                    <a:pt x="385" y="10"/>
                  </a:lnTo>
                  <a:lnTo>
                    <a:pt x="383" y="15"/>
                  </a:lnTo>
                  <a:lnTo>
                    <a:pt x="375" y="15"/>
                  </a:lnTo>
                  <a:lnTo>
                    <a:pt x="371" y="12"/>
                  </a:lnTo>
                  <a:lnTo>
                    <a:pt x="369" y="14"/>
                  </a:lnTo>
                  <a:lnTo>
                    <a:pt x="369" y="14"/>
                  </a:lnTo>
                  <a:lnTo>
                    <a:pt x="367" y="14"/>
                  </a:lnTo>
                  <a:lnTo>
                    <a:pt x="367" y="14"/>
                  </a:lnTo>
                  <a:lnTo>
                    <a:pt x="366" y="15"/>
                  </a:lnTo>
                  <a:lnTo>
                    <a:pt x="367" y="15"/>
                  </a:lnTo>
                  <a:lnTo>
                    <a:pt x="366" y="17"/>
                  </a:lnTo>
                  <a:lnTo>
                    <a:pt x="364" y="17"/>
                  </a:lnTo>
                  <a:lnTo>
                    <a:pt x="364" y="17"/>
                  </a:lnTo>
                  <a:lnTo>
                    <a:pt x="364" y="21"/>
                  </a:lnTo>
                  <a:lnTo>
                    <a:pt x="364" y="25"/>
                  </a:lnTo>
                  <a:lnTo>
                    <a:pt x="364" y="25"/>
                  </a:lnTo>
                  <a:lnTo>
                    <a:pt x="360" y="25"/>
                  </a:lnTo>
                  <a:lnTo>
                    <a:pt x="358" y="25"/>
                  </a:lnTo>
                  <a:lnTo>
                    <a:pt x="358" y="23"/>
                  </a:lnTo>
                  <a:lnTo>
                    <a:pt x="356" y="19"/>
                  </a:lnTo>
                  <a:lnTo>
                    <a:pt x="354" y="19"/>
                  </a:lnTo>
                  <a:lnTo>
                    <a:pt x="354" y="25"/>
                  </a:lnTo>
                  <a:lnTo>
                    <a:pt x="350" y="25"/>
                  </a:lnTo>
                  <a:lnTo>
                    <a:pt x="345" y="25"/>
                  </a:lnTo>
                  <a:lnTo>
                    <a:pt x="341" y="27"/>
                  </a:lnTo>
                  <a:lnTo>
                    <a:pt x="341" y="33"/>
                  </a:lnTo>
                  <a:lnTo>
                    <a:pt x="337" y="33"/>
                  </a:lnTo>
                  <a:lnTo>
                    <a:pt x="335" y="33"/>
                  </a:lnTo>
                  <a:lnTo>
                    <a:pt x="335" y="31"/>
                  </a:lnTo>
                  <a:lnTo>
                    <a:pt x="335" y="31"/>
                  </a:lnTo>
                  <a:lnTo>
                    <a:pt x="335" y="29"/>
                  </a:lnTo>
                  <a:lnTo>
                    <a:pt x="333" y="29"/>
                  </a:lnTo>
                  <a:lnTo>
                    <a:pt x="333" y="29"/>
                  </a:lnTo>
                  <a:lnTo>
                    <a:pt x="326" y="27"/>
                  </a:lnTo>
                  <a:lnTo>
                    <a:pt x="326" y="27"/>
                  </a:lnTo>
                  <a:lnTo>
                    <a:pt x="320" y="23"/>
                  </a:lnTo>
                  <a:lnTo>
                    <a:pt x="314" y="23"/>
                  </a:lnTo>
                  <a:lnTo>
                    <a:pt x="312" y="21"/>
                  </a:lnTo>
                  <a:lnTo>
                    <a:pt x="312" y="21"/>
                  </a:lnTo>
                  <a:lnTo>
                    <a:pt x="312" y="23"/>
                  </a:lnTo>
                  <a:lnTo>
                    <a:pt x="314" y="25"/>
                  </a:lnTo>
                  <a:lnTo>
                    <a:pt x="314" y="25"/>
                  </a:lnTo>
                  <a:lnTo>
                    <a:pt x="312" y="25"/>
                  </a:lnTo>
                  <a:lnTo>
                    <a:pt x="307" y="21"/>
                  </a:lnTo>
                  <a:lnTo>
                    <a:pt x="303" y="21"/>
                  </a:lnTo>
                  <a:lnTo>
                    <a:pt x="299" y="21"/>
                  </a:lnTo>
                  <a:lnTo>
                    <a:pt x="297" y="21"/>
                  </a:lnTo>
                  <a:lnTo>
                    <a:pt x="295" y="21"/>
                  </a:lnTo>
                  <a:lnTo>
                    <a:pt x="293" y="21"/>
                  </a:lnTo>
                  <a:lnTo>
                    <a:pt x="295" y="15"/>
                  </a:lnTo>
                  <a:lnTo>
                    <a:pt x="293" y="15"/>
                  </a:lnTo>
                  <a:lnTo>
                    <a:pt x="287" y="8"/>
                  </a:lnTo>
                  <a:lnTo>
                    <a:pt x="286" y="6"/>
                  </a:lnTo>
                  <a:lnTo>
                    <a:pt x="282" y="6"/>
                  </a:lnTo>
                  <a:lnTo>
                    <a:pt x="278" y="6"/>
                  </a:lnTo>
                  <a:lnTo>
                    <a:pt x="278" y="6"/>
                  </a:lnTo>
                  <a:lnTo>
                    <a:pt x="272" y="14"/>
                  </a:lnTo>
                  <a:lnTo>
                    <a:pt x="270" y="15"/>
                  </a:lnTo>
                  <a:lnTo>
                    <a:pt x="270" y="15"/>
                  </a:lnTo>
                  <a:lnTo>
                    <a:pt x="266" y="17"/>
                  </a:lnTo>
                  <a:lnTo>
                    <a:pt x="263" y="17"/>
                  </a:lnTo>
                  <a:lnTo>
                    <a:pt x="261" y="17"/>
                  </a:lnTo>
                  <a:lnTo>
                    <a:pt x="257" y="17"/>
                  </a:lnTo>
                  <a:lnTo>
                    <a:pt x="257" y="19"/>
                  </a:lnTo>
                  <a:lnTo>
                    <a:pt x="255" y="21"/>
                  </a:lnTo>
                  <a:lnTo>
                    <a:pt x="255" y="23"/>
                  </a:lnTo>
                  <a:lnTo>
                    <a:pt x="253" y="23"/>
                  </a:lnTo>
                  <a:lnTo>
                    <a:pt x="249" y="23"/>
                  </a:lnTo>
                  <a:lnTo>
                    <a:pt x="247" y="29"/>
                  </a:lnTo>
                  <a:lnTo>
                    <a:pt x="251" y="33"/>
                  </a:lnTo>
                  <a:lnTo>
                    <a:pt x="255" y="36"/>
                  </a:lnTo>
                  <a:lnTo>
                    <a:pt x="249" y="42"/>
                  </a:lnTo>
                  <a:lnTo>
                    <a:pt x="246" y="46"/>
                  </a:lnTo>
                  <a:lnTo>
                    <a:pt x="240" y="46"/>
                  </a:lnTo>
                  <a:lnTo>
                    <a:pt x="236" y="50"/>
                  </a:lnTo>
                  <a:lnTo>
                    <a:pt x="230" y="52"/>
                  </a:lnTo>
                  <a:lnTo>
                    <a:pt x="226" y="54"/>
                  </a:lnTo>
                  <a:lnTo>
                    <a:pt x="225" y="54"/>
                  </a:lnTo>
                  <a:lnTo>
                    <a:pt x="223" y="55"/>
                  </a:lnTo>
                  <a:lnTo>
                    <a:pt x="221" y="55"/>
                  </a:lnTo>
                  <a:lnTo>
                    <a:pt x="219" y="55"/>
                  </a:lnTo>
                  <a:lnTo>
                    <a:pt x="217" y="55"/>
                  </a:lnTo>
                  <a:lnTo>
                    <a:pt x="215" y="57"/>
                  </a:lnTo>
                  <a:lnTo>
                    <a:pt x="215" y="57"/>
                  </a:lnTo>
                  <a:lnTo>
                    <a:pt x="215" y="57"/>
                  </a:lnTo>
                  <a:lnTo>
                    <a:pt x="215" y="59"/>
                  </a:lnTo>
                  <a:lnTo>
                    <a:pt x="215" y="59"/>
                  </a:lnTo>
                  <a:lnTo>
                    <a:pt x="215" y="59"/>
                  </a:lnTo>
                  <a:lnTo>
                    <a:pt x="215" y="61"/>
                  </a:lnTo>
                  <a:lnTo>
                    <a:pt x="213" y="61"/>
                  </a:lnTo>
                  <a:lnTo>
                    <a:pt x="211" y="61"/>
                  </a:lnTo>
                  <a:lnTo>
                    <a:pt x="211" y="61"/>
                  </a:lnTo>
                  <a:lnTo>
                    <a:pt x="211" y="63"/>
                  </a:lnTo>
                  <a:lnTo>
                    <a:pt x="206" y="65"/>
                  </a:lnTo>
                  <a:lnTo>
                    <a:pt x="204" y="65"/>
                  </a:lnTo>
                  <a:lnTo>
                    <a:pt x="198" y="71"/>
                  </a:lnTo>
                  <a:lnTo>
                    <a:pt x="196" y="71"/>
                  </a:lnTo>
                  <a:lnTo>
                    <a:pt x="194" y="71"/>
                  </a:lnTo>
                  <a:lnTo>
                    <a:pt x="194" y="71"/>
                  </a:lnTo>
                  <a:lnTo>
                    <a:pt x="192" y="71"/>
                  </a:lnTo>
                  <a:lnTo>
                    <a:pt x="190" y="73"/>
                  </a:lnTo>
                  <a:lnTo>
                    <a:pt x="188" y="73"/>
                  </a:lnTo>
                  <a:lnTo>
                    <a:pt x="186" y="73"/>
                  </a:lnTo>
                  <a:lnTo>
                    <a:pt x="183" y="73"/>
                  </a:lnTo>
                  <a:lnTo>
                    <a:pt x="173" y="73"/>
                  </a:lnTo>
                  <a:lnTo>
                    <a:pt x="164" y="78"/>
                  </a:lnTo>
                  <a:lnTo>
                    <a:pt x="160" y="80"/>
                  </a:lnTo>
                  <a:lnTo>
                    <a:pt x="156" y="84"/>
                  </a:lnTo>
                  <a:lnTo>
                    <a:pt x="152" y="88"/>
                  </a:lnTo>
                  <a:lnTo>
                    <a:pt x="148" y="90"/>
                  </a:lnTo>
                  <a:lnTo>
                    <a:pt x="145" y="92"/>
                  </a:lnTo>
                  <a:lnTo>
                    <a:pt x="145" y="95"/>
                  </a:lnTo>
                  <a:lnTo>
                    <a:pt x="145" y="99"/>
                  </a:lnTo>
                  <a:lnTo>
                    <a:pt x="143" y="103"/>
                  </a:lnTo>
                  <a:lnTo>
                    <a:pt x="139" y="105"/>
                  </a:lnTo>
                  <a:lnTo>
                    <a:pt x="131" y="111"/>
                  </a:lnTo>
                  <a:lnTo>
                    <a:pt x="129" y="114"/>
                  </a:lnTo>
                  <a:lnTo>
                    <a:pt x="127" y="116"/>
                  </a:lnTo>
                  <a:lnTo>
                    <a:pt x="124" y="116"/>
                  </a:lnTo>
                  <a:lnTo>
                    <a:pt x="122" y="118"/>
                  </a:lnTo>
                  <a:lnTo>
                    <a:pt x="122" y="118"/>
                  </a:lnTo>
                  <a:lnTo>
                    <a:pt x="118" y="122"/>
                  </a:lnTo>
                  <a:lnTo>
                    <a:pt x="118" y="124"/>
                  </a:lnTo>
                  <a:lnTo>
                    <a:pt x="116" y="124"/>
                  </a:lnTo>
                  <a:lnTo>
                    <a:pt x="114" y="126"/>
                  </a:lnTo>
                  <a:lnTo>
                    <a:pt x="112" y="126"/>
                  </a:lnTo>
                  <a:lnTo>
                    <a:pt x="112" y="126"/>
                  </a:lnTo>
                  <a:lnTo>
                    <a:pt x="112" y="124"/>
                  </a:lnTo>
                  <a:lnTo>
                    <a:pt x="110" y="124"/>
                  </a:lnTo>
                  <a:lnTo>
                    <a:pt x="110" y="124"/>
                  </a:lnTo>
                  <a:lnTo>
                    <a:pt x="110" y="124"/>
                  </a:lnTo>
                  <a:lnTo>
                    <a:pt x="105" y="128"/>
                  </a:lnTo>
                  <a:lnTo>
                    <a:pt x="101" y="130"/>
                  </a:lnTo>
                  <a:lnTo>
                    <a:pt x="99" y="133"/>
                  </a:lnTo>
                  <a:lnTo>
                    <a:pt x="97" y="135"/>
                  </a:lnTo>
                  <a:lnTo>
                    <a:pt x="97" y="137"/>
                  </a:lnTo>
                  <a:lnTo>
                    <a:pt x="99" y="139"/>
                  </a:lnTo>
                  <a:lnTo>
                    <a:pt x="103" y="139"/>
                  </a:lnTo>
                  <a:lnTo>
                    <a:pt x="103" y="139"/>
                  </a:lnTo>
                  <a:lnTo>
                    <a:pt x="103" y="141"/>
                  </a:lnTo>
                  <a:lnTo>
                    <a:pt x="103" y="145"/>
                  </a:lnTo>
                  <a:lnTo>
                    <a:pt x="103" y="145"/>
                  </a:lnTo>
                  <a:lnTo>
                    <a:pt x="103" y="145"/>
                  </a:lnTo>
                  <a:lnTo>
                    <a:pt x="103" y="147"/>
                  </a:lnTo>
                  <a:lnTo>
                    <a:pt x="101" y="151"/>
                  </a:lnTo>
                  <a:lnTo>
                    <a:pt x="97" y="152"/>
                  </a:lnTo>
                  <a:lnTo>
                    <a:pt x="95" y="154"/>
                  </a:lnTo>
                  <a:lnTo>
                    <a:pt x="91" y="154"/>
                  </a:lnTo>
                  <a:lnTo>
                    <a:pt x="91" y="154"/>
                  </a:lnTo>
                  <a:lnTo>
                    <a:pt x="89" y="158"/>
                  </a:lnTo>
                  <a:lnTo>
                    <a:pt x="87" y="158"/>
                  </a:lnTo>
                  <a:lnTo>
                    <a:pt x="82" y="160"/>
                  </a:lnTo>
                  <a:lnTo>
                    <a:pt x="80" y="162"/>
                  </a:lnTo>
                  <a:lnTo>
                    <a:pt x="78" y="162"/>
                  </a:lnTo>
                  <a:lnTo>
                    <a:pt x="78" y="162"/>
                  </a:lnTo>
                  <a:lnTo>
                    <a:pt x="76" y="158"/>
                  </a:lnTo>
                  <a:lnTo>
                    <a:pt x="76" y="158"/>
                  </a:lnTo>
                  <a:lnTo>
                    <a:pt x="74" y="160"/>
                  </a:lnTo>
                  <a:lnTo>
                    <a:pt x="74" y="162"/>
                  </a:lnTo>
                  <a:lnTo>
                    <a:pt x="72" y="164"/>
                  </a:lnTo>
                  <a:lnTo>
                    <a:pt x="70" y="164"/>
                  </a:lnTo>
                  <a:lnTo>
                    <a:pt x="70" y="164"/>
                  </a:lnTo>
                  <a:lnTo>
                    <a:pt x="70" y="162"/>
                  </a:lnTo>
                  <a:lnTo>
                    <a:pt x="68" y="162"/>
                  </a:lnTo>
                  <a:lnTo>
                    <a:pt x="68" y="164"/>
                  </a:lnTo>
                  <a:lnTo>
                    <a:pt x="66" y="166"/>
                  </a:lnTo>
                  <a:lnTo>
                    <a:pt x="65" y="166"/>
                  </a:lnTo>
                  <a:lnTo>
                    <a:pt x="65" y="164"/>
                  </a:lnTo>
                  <a:lnTo>
                    <a:pt x="63" y="160"/>
                  </a:lnTo>
                  <a:lnTo>
                    <a:pt x="63" y="158"/>
                  </a:lnTo>
                  <a:lnTo>
                    <a:pt x="61" y="158"/>
                  </a:lnTo>
                  <a:lnTo>
                    <a:pt x="61" y="160"/>
                  </a:lnTo>
                  <a:lnTo>
                    <a:pt x="61" y="160"/>
                  </a:lnTo>
                  <a:lnTo>
                    <a:pt x="61" y="162"/>
                  </a:lnTo>
                  <a:lnTo>
                    <a:pt x="61" y="162"/>
                  </a:lnTo>
                  <a:lnTo>
                    <a:pt x="61" y="164"/>
                  </a:lnTo>
                  <a:lnTo>
                    <a:pt x="59" y="164"/>
                  </a:lnTo>
                  <a:lnTo>
                    <a:pt x="59" y="164"/>
                  </a:lnTo>
                  <a:lnTo>
                    <a:pt x="51" y="164"/>
                  </a:lnTo>
                  <a:lnTo>
                    <a:pt x="49" y="164"/>
                  </a:lnTo>
                  <a:lnTo>
                    <a:pt x="45" y="166"/>
                  </a:lnTo>
                  <a:lnTo>
                    <a:pt x="40" y="171"/>
                  </a:lnTo>
                  <a:lnTo>
                    <a:pt x="36" y="171"/>
                  </a:lnTo>
                  <a:lnTo>
                    <a:pt x="34" y="171"/>
                  </a:lnTo>
                  <a:lnTo>
                    <a:pt x="30" y="171"/>
                  </a:lnTo>
                  <a:lnTo>
                    <a:pt x="26" y="171"/>
                  </a:lnTo>
                  <a:lnTo>
                    <a:pt x="24" y="171"/>
                  </a:lnTo>
                  <a:lnTo>
                    <a:pt x="21" y="170"/>
                  </a:lnTo>
                  <a:lnTo>
                    <a:pt x="19" y="168"/>
                  </a:lnTo>
                  <a:lnTo>
                    <a:pt x="5" y="170"/>
                  </a:lnTo>
                  <a:lnTo>
                    <a:pt x="4" y="173"/>
                  </a:lnTo>
                  <a:lnTo>
                    <a:pt x="0" y="179"/>
                  </a:lnTo>
                  <a:lnTo>
                    <a:pt x="0" y="183"/>
                  </a:lnTo>
                  <a:lnTo>
                    <a:pt x="2" y="190"/>
                  </a:lnTo>
                  <a:lnTo>
                    <a:pt x="2" y="192"/>
                  </a:lnTo>
                  <a:lnTo>
                    <a:pt x="5" y="194"/>
                  </a:lnTo>
                  <a:lnTo>
                    <a:pt x="5" y="196"/>
                  </a:lnTo>
                  <a:lnTo>
                    <a:pt x="7" y="198"/>
                  </a:lnTo>
                  <a:lnTo>
                    <a:pt x="9" y="198"/>
                  </a:lnTo>
                  <a:lnTo>
                    <a:pt x="11" y="198"/>
                  </a:lnTo>
                  <a:lnTo>
                    <a:pt x="13" y="200"/>
                  </a:lnTo>
                  <a:lnTo>
                    <a:pt x="13" y="200"/>
                  </a:lnTo>
                  <a:lnTo>
                    <a:pt x="15" y="202"/>
                  </a:lnTo>
                  <a:lnTo>
                    <a:pt x="15" y="204"/>
                  </a:lnTo>
                  <a:lnTo>
                    <a:pt x="15" y="204"/>
                  </a:lnTo>
                  <a:lnTo>
                    <a:pt x="19" y="204"/>
                  </a:lnTo>
                  <a:lnTo>
                    <a:pt x="26" y="202"/>
                  </a:lnTo>
                  <a:lnTo>
                    <a:pt x="28" y="202"/>
                  </a:lnTo>
                  <a:lnTo>
                    <a:pt x="32" y="202"/>
                  </a:lnTo>
                  <a:lnTo>
                    <a:pt x="32" y="202"/>
                  </a:lnTo>
                  <a:lnTo>
                    <a:pt x="36" y="198"/>
                  </a:lnTo>
                  <a:lnTo>
                    <a:pt x="36" y="198"/>
                  </a:lnTo>
                  <a:lnTo>
                    <a:pt x="38" y="202"/>
                  </a:lnTo>
                  <a:lnTo>
                    <a:pt x="47" y="215"/>
                  </a:lnTo>
                  <a:lnTo>
                    <a:pt x="47" y="217"/>
                  </a:lnTo>
                  <a:lnTo>
                    <a:pt x="45" y="219"/>
                  </a:lnTo>
                  <a:lnTo>
                    <a:pt x="44" y="221"/>
                  </a:lnTo>
                  <a:lnTo>
                    <a:pt x="42" y="223"/>
                  </a:lnTo>
                  <a:lnTo>
                    <a:pt x="42" y="225"/>
                  </a:lnTo>
                  <a:lnTo>
                    <a:pt x="42" y="227"/>
                  </a:lnTo>
                  <a:lnTo>
                    <a:pt x="42" y="227"/>
                  </a:lnTo>
                  <a:lnTo>
                    <a:pt x="42" y="228"/>
                  </a:lnTo>
                  <a:lnTo>
                    <a:pt x="40" y="228"/>
                  </a:lnTo>
                  <a:lnTo>
                    <a:pt x="40" y="228"/>
                  </a:lnTo>
                  <a:lnTo>
                    <a:pt x="40" y="230"/>
                  </a:lnTo>
                  <a:lnTo>
                    <a:pt x="38" y="230"/>
                  </a:lnTo>
                  <a:lnTo>
                    <a:pt x="38" y="232"/>
                  </a:lnTo>
                  <a:lnTo>
                    <a:pt x="38" y="234"/>
                  </a:lnTo>
                  <a:lnTo>
                    <a:pt x="38" y="236"/>
                  </a:lnTo>
                  <a:lnTo>
                    <a:pt x="38" y="240"/>
                  </a:lnTo>
                  <a:lnTo>
                    <a:pt x="44" y="246"/>
                  </a:lnTo>
                  <a:lnTo>
                    <a:pt x="45" y="248"/>
                  </a:lnTo>
                  <a:lnTo>
                    <a:pt x="45" y="248"/>
                  </a:lnTo>
                  <a:lnTo>
                    <a:pt x="47" y="253"/>
                  </a:lnTo>
                  <a:lnTo>
                    <a:pt x="45" y="255"/>
                  </a:lnTo>
                  <a:lnTo>
                    <a:pt x="49" y="255"/>
                  </a:lnTo>
                  <a:lnTo>
                    <a:pt x="59" y="257"/>
                  </a:lnTo>
                  <a:lnTo>
                    <a:pt x="63" y="255"/>
                  </a:lnTo>
                  <a:lnTo>
                    <a:pt x="65" y="255"/>
                  </a:lnTo>
                  <a:lnTo>
                    <a:pt x="68" y="255"/>
                  </a:lnTo>
                  <a:lnTo>
                    <a:pt x="68" y="255"/>
                  </a:lnTo>
                  <a:lnTo>
                    <a:pt x="72" y="253"/>
                  </a:lnTo>
                  <a:lnTo>
                    <a:pt x="84" y="249"/>
                  </a:lnTo>
                  <a:lnTo>
                    <a:pt x="89" y="248"/>
                  </a:lnTo>
                  <a:lnTo>
                    <a:pt x="95" y="248"/>
                  </a:lnTo>
                  <a:lnTo>
                    <a:pt x="97" y="246"/>
                  </a:lnTo>
                  <a:lnTo>
                    <a:pt x="99" y="244"/>
                  </a:lnTo>
                  <a:lnTo>
                    <a:pt x="99" y="244"/>
                  </a:lnTo>
                  <a:lnTo>
                    <a:pt x="101" y="242"/>
                  </a:lnTo>
                  <a:lnTo>
                    <a:pt x="103" y="240"/>
                  </a:lnTo>
                  <a:lnTo>
                    <a:pt x="106" y="242"/>
                  </a:lnTo>
                  <a:lnTo>
                    <a:pt x="114" y="242"/>
                  </a:lnTo>
                  <a:lnTo>
                    <a:pt x="122" y="246"/>
                  </a:lnTo>
                  <a:lnTo>
                    <a:pt x="125" y="248"/>
                  </a:lnTo>
                  <a:lnTo>
                    <a:pt x="125" y="248"/>
                  </a:lnTo>
                  <a:lnTo>
                    <a:pt x="125" y="248"/>
                  </a:lnTo>
                  <a:lnTo>
                    <a:pt x="125" y="249"/>
                  </a:lnTo>
                  <a:lnTo>
                    <a:pt x="125" y="249"/>
                  </a:lnTo>
                  <a:lnTo>
                    <a:pt x="127" y="251"/>
                  </a:lnTo>
                  <a:lnTo>
                    <a:pt x="129" y="251"/>
                  </a:lnTo>
                  <a:lnTo>
                    <a:pt x="133" y="253"/>
                  </a:lnTo>
                  <a:lnTo>
                    <a:pt x="165" y="249"/>
                  </a:lnTo>
                  <a:lnTo>
                    <a:pt x="167" y="249"/>
                  </a:lnTo>
                  <a:lnTo>
                    <a:pt x="169" y="249"/>
                  </a:lnTo>
                  <a:lnTo>
                    <a:pt x="171" y="251"/>
                  </a:lnTo>
                  <a:lnTo>
                    <a:pt x="173" y="253"/>
                  </a:lnTo>
                  <a:lnTo>
                    <a:pt x="175" y="253"/>
                  </a:lnTo>
                  <a:lnTo>
                    <a:pt x="179" y="251"/>
                  </a:lnTo>
                  <a:lnTo>
                    <a:pt x="181" y="251"/>
                  </a:lnTo>
                  <a:lnTo>
                    <a:pt x="186" y="249"/>
                  </a:lnTo>
                  <a:lnTo>
                    <a:pt x="190" y="249"/>
                  </a:lnTo>
                  <a:lnTo>
                    <a:pt x="196" y="248"/>
                  </a:lnTo>
                  <a:lnTo>
                    <a:pt x="198" y="246"/>
                  </a:lnTo>
                  <a:lnTo>
                    <a:pt x="200" y="244"/>
                  </a:lnTo>
                  <a:lnTo>
                    <a:pt x="202" y="242"/>
                  </a:lnTo>
                  <a:lnTo>
                    <a:pt x="202" y="242"/>
                  </a:lnTo>
                  <a:lnTo>
                    <a:pt x="206" y="240"/>
                  </a:lnTo>
                  <a:lnTo>
                    <a:pt x="207" y="238"/>
                  </a:lnTo>
                  <a:lnTo>
                    <a:pt x="207" y="236"/>
                  </a:lnTo>
                  <a:lnTo>
                    <a:pt x="207" y="236"/>
                  </a:lnTo>
                  <a:lnTo>
                    <a:pt x="207" y="232"/>
                  </a:lnTo>
                  <a:lnTo>
                    <a:pt x="207" y="230"/>
                  </a:lnTo>
                  <a:lnTo>
                    <a:pt x="207" y="228"/>
                  </a:lnTo>
                  <a:lnTo>
                    <a:pt x="209" y="227"/>
                  </a:lnTo>
                  <a:lnTo>
                    <a:pt x="209" y="227"/>
                  </a:lnTo>
                  <a:lnTo>
                    <a:pt x="219" y="215"/>
                  </a:lnTo>
                  <a:lnTo>
                    <a:pt x="223" y="213"/>
                  </a:lnTo>
                  <a:lnTo>
                    <a:pt x="223" y="213"/>
                  </a:lnTo>
                  <a:lnTo>
                    <a:pt x="226" y="209"/>
                  </a:lnTo>
                  <a:lnTo>
                    <a:pt x="230" y="208"/>
                  </a:lnTo>
                  <a:lnTo>
                    <a:pt x="234" y="204"/>
                  </a:lnTo>
                  <a:lnTo>
                    <a:pt x="246" y="192"/>
                  </a:lnTo>
                  <a:lnTo>
                    <a:pt x="246" y="192"/>
                  </a:lnTo>
                  <a:lnTo>
                    <a:pt x="247" y="190"/>
                  </a:lnTo>
                  <a:lnTo>
                    <a:pt x="247" y="190"/>
                  </a:lnTo>
                  <a:lnTo>
                    <a:pt x="246" y="189"/>
                  </a:lnTo>
                  <a:lnTo>
                    <a:pt x="246" y="189"/>
                  </a:lnTo>
                  <a:lnTo>
                    <a:pt x="244" y="187"/>
                  </a:lnTo>
                  <a:lnTo>
                    <a:pt x="244" y="185"/>
                  </a:lnTo>
                  <a:lnTo>
                    <a:pt x="244" y="185"/>
                  </a:lnTo>
                  <a:lnTo>
                    <a:pt x="244" y="183"/>
                  </a:lnTo>
                  <a:lnTo>
                    <a:pt x="246" y="181"/>
                  </a:lnTo>
                  <a:lnTo>
                    <a:pt x="247" y="181"/>
                  </a:lnTo>
                  <a:lnTo>
                    <a:pt x="247" y="181"/>
                  </a:lnTo>
                  <a:lnTo>
                    <a:pt x="247" y="181"/>
                  </a:lnTo>
                  <a:lnTo>
                    <a:pt x="249" y="181"/>
                  </a:lnTo>
                  <a:lnTo>
                    <a:pt x="249" y="183"/>
                  </a:lnTo>
                  <a:lnTo>
                    <a:pt x="249" y="183"/>
                  </a:lnTo>
                  <a:lnTo>
                    <a:pt x="251" y="185"/>
                  </a:lnTo>
                  <a:lnTo>
                    <a:pt x="253" y="185"/>
                  </a:lnTo>
                  <a:lnTo>
                    <a:pt x="255" y="187"/>
                  </a:lnTo>
                  <a:lnTo>
                    <a:pt x="265" y="183"/>
                  </a:lnTo>
                  <a:lnTo>
                    <a:pt x="266" y="187"/>
                  </a:lnTo>
                  <a:lnTo>
                    <a:pt x="270" y="185"/>
                  </a:lnTo>
                  <a:lnTo>
                    <a:pt x="270" y="185"/>
                  </a:lnTo>
                  <a:lnTo>
                    <a:pt x="272" y="185"/>
                  </a:lnTo>
                  <a:lnTo>
                    <a:pt x="274" y="185"/>
                  </a:lnTo>
                  <a:lnTo>
                    <a:pt x="276" y="183"/>
                  </a:lnTo>
                  <a:lnTo>
                    <a:pt x="280" y="181"/>
                  </a:lnTo>
                  <a:lnTo>
                    <a:pt x="284" y="179"/>
                  </a:lnTo>
                  <a:lnTo>
                    <a:pt x="289" y="177"/>
                  </a:lnTo>
                  <a:lnTo>
                    <a:pt x="297" y="175"/>
                  </a:lnTo>
                  <a:lnTo>
                    <a:pt x="297" y="175"/>
                  </a:lnTo>
                  <a:lnTo>
                    <a:pt x="299" y="173"/>
                  </a:lnTo>
                  <a:lnTo>
                    <a:pt x="307" y="170"/>
                  </a:lnTo>
                  <a:lnTo>
                    <a:pt x="310" y="168"/>
                  </a:lnTo>
                  <a:lnTo>
                    <a:pt x="339" y="158"/>
                  </a:lnTo>
                  <a:lnTo>
                    <a:pt x="343" y="154"/>
                  </a:lnTo>
                  <a:lnTo>
                    <a:pt x="345" y="154"/>
                  </a:lnTo>
                  <a:lnTo>
                    <a:pt x="345" y="154"/>
                  </a:lnTo>
                  <a:lnTo>
                    <a:pt x="347" y="156"/>
                  </a:lnTo>
                  <a:lnTo>
                    <a:pt x="348" y="156"/>
                  </a:lnTo>
                  <a:lnTo>
                    <a:pt x="350" y="156"/>
                  </a:lnTo>
                  <a:lnTo>
                    <a:pt x="350" y="158"/>
                  </a:lnTo>
                  <a:lnTo>
                    <a:pt x="354" y="158"/>
                  </a:lnTo>
                  <a:lnTo>
                    <a:pt x="362" y="156"/>
                  </a:lnTo>
                  <a:lnTo>
                    <a:pt x="366" y="154"/>
                  </a:lnTo>
                  <a:lnTo>
                    <a:pt x="367" y="152"/>
                  </a:lnTo>
                  <a:lnTo>
                    <a:pt x="369" y="151"/>
                  </a:lnTo>
                  <a:lnTo>
                    <a:pt x="377" y="147"/>
                  </a:lnTo>
                  <a:lnTo>
                    <a:pt x="383" y="145"/>
                  </a:lnTo>
                  <a:lnTo>
                    <a:pt x="406" y="145"/>
                  </a:lnTo>
                  <a:lnTo>
                    <a:pt x="406" y="145"/>
                  </a:lnTo>
                  <a:lnTo>
                    <a:pt x="406" y="145"/>
                  </a:lnTo>
                  <a:lnTo>
                    <a:pt x="406" y="147"/>
                  </a:lnTo>
                  <a:lnTo>
                    <a:pt x="404" y="149"/>
                  </a:lnTo>
                  <a:lnTo>
                    <a:pt x="402" y="152"/>
                  </a:lnTo>
                  <a:lnTo>
                    <a:pt x="398" y="158"/>
                  </a:lnTo>
                  <a:lnTo>
                    <a:pt x="390" y="168"/>
                  </a:lnTo>
                  <a:lnTo>
                    <a:pt x="388" y="171"/>
                  </a:lnTo>
                  <a:lnTo>
                    <a:pt x="387" y="173"/>
                  </a:lnTo>
                  <a:lnTo>
                    <a:pt x="388" y="175"/>
                  </a:lnTo>
                  <a:lnTo>
                    <a:pt x="388" y="175"/>
                  </a:lnTo>
                  <a:lnTo>
                    <a:pt x="388" y="181"/>
                  </a:lnTo>
                  <a:lnTo>
                    <a:pt x="390" y="183"/>
                  </a:lnTo>
                  <a:lnTo>
                    <a:pt x="390" y="183"/>
                  </a:lnTo>
                  <a:lnTo>
                    <a:pt x="390" y="185"/>
                  </a:lnTo>
                  <a:lnTo>
                    <a:pt x="392" y="185"/>
                  </a:lnTo>
                  <a:lnTo>
                    <a:pt x="392" y="185"/>
                  </a:lnTo>
                  <a:lnTo>
                    <a:pt x="392" y="187"/>
                  </a:lnTo>
                  <a:lnTo>
                    <a:pt x="394" y="187"/>
                  </a:lnTo>
                  <a:lnTo>
                    <a:pt x="396" y="189"/>
                  </a:lnTo>
                  <a:lnTo>
                    <a:pt x="396" y="189"/>
                  </a:lnTo>
                  <a:lnTo>
                    <a:pt x="398" y="190"/>
                  </a:lnTo>
                  <a:lnTo>
                    <a:pt x="398" y="194"/>
                  </a:lnTo>
                  <a:lnTo>
                    <a:pt x="398" y="196"/>
                  </a:lnTo>
                  <a:lnTo>
                    <a:pt x="396" y="200"/>
                  </a:lnTo>
                  <a:lnTo>
                    <a:pt x="396" y="200"/>
                  </a:lnTo>
                  <a:lnTo>
                    <a:pt x="396" y="200"/>
                  </a:lnTo>
                  <a:lnTo>
                    <a:pt x="398" y="202"/>
                  </a:lnTo>
                  <a:lnTo>
                    <a:pt x="398" y="202"/>
                  </a:lnTo>
                  <a:lnTo>
                    <a:pt x="398" y="204"/>
                  </a:lnTo>
                  <a:lnTo>
                    <a:pt x="398" y="206"/>
                  </a:lnTo>
                  <a:lnTo>
                    <a:pt x="398" y="206"/>
                  </a:lnTo>
                  <a:lnTo>
                    <a:pt x="398" y="206"/>
                  </a:lnTo>
                  <a:lnTo>
                    <a:pt x="398" y="206"/>
                  </a:lnTo>
                  <a:lnTo>
                    <a:pt x="402" y="202"/>
                  </a:lnTo>
                  <a:lnTo>
                    <a:pt x="402" y="202"/>
                  </a:lnTo>
                  <a:lnTo>
                    <a:pt x="402" y="202"/>
                  </a:lnTo>
                  <a:lnTo>
                    <a:pt x="404" y="202"/>
                  </a:lnTo>
                  <a:lnTo>
                    <a:pt x="404" y="202"/>
                  </a:lnTo>
                  <a:lnTo>
                    <a:pt x="404" y="200"/>
                  </a:lnTo>
                  <a:lnTo>
                    <a:pt x="406" y="200"/>
                  </a:lnTo>
                  <a:lnTo>
                    <a:pt x="406" y="202"/>
                  </a:lnTo>
                  <a:lnTo>
                    <a:pt x="408" y="202"/>
                  </a:lnTo>
                  <a:lnTo>
                    <a:pt x="408" y="204"/>
                  </a:lnTo>
                  <a:lnTo>
                    <a:pt x="409" y="206"/>
                  </a:lnTo>
                  <a:lnTo>
                    <a:pt x="409" y="206"/>
                  </a:lnTo>
                  <a:lnTo>
                    <a:pt x="409" y="209"/>
                  </a:lnTo>
                  <a:lnTo>
                    <a:pt x="409" y="209"/>
                  </a:lnTo>
                  <a:lnTo>
                    <a:pt x="409" y="209"/>
                  </a:lnTo>
                  <a:lnTo>
                    <a:pt x="408" y="209"/>
                  </a:lnTo>
                  <a:lnTo>
                    <a:pt x="408" y="209"/>
                  </a:lnTo>
                  <a:lnTo>
                    <a:pt x="406" y="211"/>
                  </a:lnTo>
                  <a:lnTo>
                    <a:pt x="406" y="211"/>
                  </a:lnTo>
                  <a:lnTo>
                    <a:pt x="406" y="211"/>
                  </a:lnTo>
                  <a:lnTo>
                    <a:pt x="406" y="213"/>
                  </a:lnTo>
                  <a:lnTo>
                    <a:pt x="406" y="213"/>
                  </a:lnTo>
                  <a:lnTo>
                    <a:pt x="404" y="215"/>
                  </a:lnTo>
                  <a:lnTo>
                    <a:pt x="404" y="215"/>
                  </a:lnTo>
                  <a:lnTo>
                    <a:pt x="404" y="215"/>
                  </a:lnTo>
                  <a:lnTo>
                    <a:pt x="404" y="215"/>
                  </a:lnTo>
                  <a:lnTo>
                    <a:pt x="402" y="215"/>
                  </a:lnTo>
                  <a:lnTo>
                    <a:pt x="402" y="215"/>
                  </a:lnTo>
                  <a:lnTo>
                    <a:pt x="400" y="217"/>
                  </a:lnTo>
                  <a:lnTo>
                    <a:pt x="400" y="217"/>
                  </a:lnTo>
                  <a:lnTo>
                    <a:pt x="400" y="219"/>
                  </a:lnTo>
                  <a:lnTo>
                    <a:pt x="400" y="219"/>
                  </a:lnTo>
                  <a:lnTo>
                    <a:pt x="400" y="219"/>
                  </a:lnTo>
                  <a:lnTo>
                    <a:pt x="396" y="217"/>
                  </a:lnTo>
                  <a:lnTo>
                    <a:pt x="396" y="217"/>
                  </a:lnTo>
                  <a:lnTo>
                    <a:pt x="396" y="217"/>
                  </a:lnTo>
                  <a:lnTo>
                    <a:pt x="394" y="219"/>
                  </a:lnTo>
                  <a:lnTo>
                    <a:pt x="394" y="219"/>
                  </a:lnTo>
                  <a:lnTo>
                    <a:pt x="390" y="217"/>
                  </a:lnTo>
                  <a:lnTo>
                    <a:pt x="390" y="217"/>
                  </a:lnTo>
                  <a:lnTo>
                    <a:pt x="375" y="225"/>
                  </a:lnTo>
                  <a:lnTo>
                    <a:pt x="373" y="223"/>
                  </a:lnTo>
                  <a:lnTo>
                    <a:pt x="371" y="223"/>
                  </a:lnTo>
                  <a:lnTo>
                    <a:pt x="369" y="221"/>
                  </a:lnTo>
                  <a:lnTo>
                    <a:pt x="367" y="219"/>
                  </a:lnTo>
                  <a:lnTo>
                    <a:pt x="366" y="219"/>
                  </a:lnTo>
                  <a:lnTo>
                    <a:pt x="366" y="219"/>
                  </a:lnTo>
                  <a:lnTo>
                    <a:pt x="364" y="221"/>
                  </a:lnTo>
                  <a:lnTo>
                    <a:pt x="362" y="221"/>
                  </a:lnTo>
                  <a:lnTo>
                    <a:pt x="362" y="221"/>
                  </a:lnTo>
                  <a:lnTo>
                    <a:pt x="360" y="223"/>
                  </a:lnTo>
                  <a:lnTo>
                    <a:pt x="360" y="223"/>
                  </a:lnTo>
                  <a:lnTo>
                    <a:pt x="360" y="227"/>
                  </a:lnTo>
                  <a:lnTo>
                    <a:pt x="360" y="227"/>
                  </a:lnTo>
                  <a:lnTo>
                    <a:pt x="358" y="228"/>
                  </a:lnTo>
                  <a:lnTo>
                    <a:pt x="358" y="230"/>
                  </a:lnTo>
                  <a:lnTo>
                    <a:pt x="354" y="232"/>
                  </a:lnTo>
                  <a:lnTo>
                    <a:pt x="352" y="234"/>
                  </a:lnTo>
                  <a:lnTo>
                    <a:pt x="352" y="234"/>
                  </a:lnTo>
                  <a:lnTo>
                    <a:pt x="350" y="234"/>
                  </a:lnTo>
                  <a:lnTo>
                    <a:pt x="348" y="236"/>
                  </a:lnTo>
                  <a:lnTo>
                    <a:pt x="345" y="240"/>
                  </a:lnTo>
                  <a:lnTo>
                    <a:pt x="339" y="242"/>
                  </a:lnTo>
                  <a:lnTo>
                    <a:pt x="339" y="244"/>
                  </a:lnTo>
                  <a:lnTo>
                    <a:pt x="337" y="244"/>
                  </a:lnTo>
                  <a:lnTo>
                    <a:pt x="335" y="244"/>
                  </a:lnTo>
                  <a:lnTo>
                    <a:pt x="333" y="242"/>
                  </a:lnTo>
                  <a:lnTo>
                    <a:pt x="333" y="244"/>
                  </a:lnTo>
                  <a:lnTo>
                    <a:pt x="333" y="244"/>
                  </a:lnTo>
                  <a:lnTo>
                    <a:pt x="331" y="244"/>
                  </a:lnTo>
                  <a:lnTo>
                    <a:pt x="333" y="248"/>
                  </a:lnTo>
                  <a:lnTo>
                    <a:pt x="333" y="248"/>
                  </a:lnTo>
                  <a:lnTo>
                    <a:pt x="333" y="248"/>
                  </a:lnTo>
                  <a:lnTo>
                    <a:pt x="335" y="249"/>
                  </a:lnTo>
                  <a:lnTo>
                    <a:pt x="337" y="249"/>
                  </a:lnTo>
                  <a:lnTo>
                    <a:pt x="337" y="251"/>
                  </a:lnTo>
                  <a:lnTo>
                    <a:pt x="337" y="253"/>
                  </a:lnTo>
                  <a:lnTo>
                    <a:pt x="337" y="257"/>
                  </a:lnTo>
                  <a:lnTo>
                    <a:pt x="337" y="259"/>
                  </a:lnTo>
                  <a:lnTo>
                    <a:pt x="337" y="259"/>
                  </a:lnTo>
                  <a:lnTo>
                    <a:pt x="335" y="259"/>
                  </a:lnTo>
                  <a:lnTo>
                    <a:pt x="335" y="261"/>
                  </a:lnTo>
                  <a:lnTo>
                    <a:pt x="335" y="261"/>
                  </a:lnTo>
                  <a:lnTo>
                    <a:pt x="335" y="261"/>
                  </a:lnTo>
                  <a:lnTo>
                    <a:pt x="333" y="263"/>
                  </a:lnTo>
                  <a:lnTo>
                    <a:pt x="333" y="265"/>
                  </a:lnTo>
                  <a:lnTo>
                    <a:pt x="335" y="265"/>
                  </a:lnTo>
                  <a:lnTo>
                    <a:pt x="335" y="267"/>
                  </a:lnTo>
                  <a:lnTo>
                    <a:pt x="337" y="268"/>
                  </a:lnTo>
                  <a:lnTo>
                    <a:pt x="337" y="268"/>
                  </a:lnTo>
                  <a:lnTo>
                    <a:pt x="337" y="268"/>
                  </a:lnTo>
                  <a:lnTo>
                    <a:pt x="337" y="272"/>
                  </a:lnTo>
                  <a:lnTo>
                    <a:pt x="337" y="274"/>
                  </a:lnTo>
                  <a:lnTo>
                    <a:pt x="337" y="276"/>
                  </a:lnTo>
                  <a:lnTo>
                    <a:pt x="337" y="276"/>
                  </a:lnTo>
                  <a:lnTo>
                    <a:pt x="339" y="280"/>
                  </a:lnTo>
                  <a:lnTo>
                    <a:pt x="339" y="284"/>
                  </a:lnTo>
                  <a:lnTo>
                    <a:pt x="339" y="284"/>
                  </a:lnTo>
                  <a:lnTo>
                    <a:pt x="339" y="284"/>
                  </a:lnTo>
                  <a:lnTo>
                    <a:pt x="341" y="284"/>
                  </a:lnTo>
                  <a:lnTo>
                    <a:pt x="345" y="282"/>
                  </a:lnTo>
                  <a:lnTo>
                    <a:pt x="352" y="280"/>
                  </a:lnTo>
                  <a:lnTo>
                    <a:pt x="354" y="278"/>
                  </a:lnTo>
                  <a:lnTo>
                    <a:pt x="356" y="274"/>
                  </a:lnTo>
                  <a:lnTo>
                    <a:pt x="358" y="270"/>
                  </a:lnTo>
                  <a:lnTo>
                    <a:pt x="362" y="267"/>
                  </a:lnTo>
                  <a:lnTo>
                    <a:pt x="366" y="267"/>
                  </a:lnTo>
                  <a:lnTo>
                    <a:pt x="367" y="267"/>
                  </a:lnTo>
                  <a:lnTo>
                    <a:pt x="369" y="267"/>
                  </a:lnTo>
                  <a:lnTo>
                    <a:pt x="369" y="267"/>
                  </a:lnTo>
                  <a:lnTo>
                    <a:pt x="371" y="265"/>
                  </a:lnTo>
                  <a:lnTo>
                    <a:pt x="373" y="261"/>
                  </a:lnTo>
                  <a:lnTo>
                    <a:pt x="373" y="261"/>
                  </a:lnTo>
                  <a:lnTo>
                    <a:pt x="375" y="259"/>
                  </a:lnTo>
                  <a:lnTo>
                    <a:pt x="379" y="259"/>
                  </a:lnTo>
                  <a:lnTo>
                    <a:pt x="381" y="259"/>
                  </a:lnTo>
                  <a:lnTo>
                    <a:pt x="381" y="257"/>
                  </a:lnTo>
                  <a:lnTo>
                    <a:pt x="383" y="253"/>
                  </a:lnTo>
                  <a:lnTo>
                    <a:pt x="388" y="248"/>
                  </a:lnTo>
                  <a:lnTo>
                    <a:pt x="390" y="248"/>
                  </a:lnTo>
                  <a:lnTo>
                    <a:pt x="396" y="246"/>
                  </a:lnTo>
                  <a:lnTo>
                    <a:pt x="398" y="246"/>
                  </a:lnTo>
                  <a:lnTo>
                    <a:pt x="400" y="242"/>
                  </a:lnTo>
                  <a:lnTo>
                    <a:pt x="402" y="240"/>
                  </a:lnTo>
                  <a:lnTo>
                    <a:pt x="406" y="232"/>
                  </a:lnTo>
                  <a:lnTo>
                    <a:pt x="409" y="228"/>
                  </a:lnTo>
                  <a:lnTo>
                    <a:pt x="415" y="225"/>
                  </a:lnTo>
                  <a:lnTo>
                    <a:pt x="421" y="221"/>
                  </a:lnTo>
                  <a:lnTo>
                    <a:pt x="446" y="217"/>
                  </a:lnTo>
                  <a:lnTo>
                    <a:pt x="451" y="217"/>
                  </a:lnTo>
                  <a:lnTo>
                    <a:pt x="453" y="217"/>
                  </a:lnTo>
                  <a:lnTo>
                    <a:pt x="455" y="217"/>
                  </a:lnTo>
                  <a:lnTo>
                    <a:pt x="457" y="217"/>
                  </a:lnTo>
                  <a:lnTo>
                    <a:pt x="459" y="215"/>
                  </a:lnTo>
                  <a:lnTo>
                    <a:pt x="461" y="213"/>
                  </a:lnTo>
                  <a:lnTo>
                    <a:pt x="461" y="211"/>
                  </a:lnTo>
                  <a:lnTo>
                    <a:pt x="463" y="211"/>
                  </a:lnTo>
                  <a:lnTo>
                    <a:pt x="465" y="211"/>
                  </a:lnTo>
                  <a:lnTo>
                    <a:pt x="465" y="211"/>
                  </a:lnTo>
                  <a:lnTo>
                    <a:pt x="467" y="213"/>
                  </a:lnTo>
                  <a:lnTo>
                    <a:pt x="467" y="213"/>
                  </a:lnTo>
                  <a:lnTo>
                    <a:pt x="468" y="213"/>
                  </a:lnTo>
                  <a:lnTo>
                    <a:pt x="468" y="211"/>
                  </a:lnTo>
                  <a:lnTo>
                    <a:pt x="470" y="211"/>
                  </a:lnTo>
                  <a:lnTo>
                    <a:pt x="472" y="209"/>
                  </a:lnTo>
                  <a:lnTo>
                    <a:pt x="472" y="209"/>
                  </a:lnTo>
                  <a:lnTo>
                    <a:pt x="474" y="211"/>
                  </a:lnTo>
                  <a:lnTo>
                    <a:pt x="478" y="211"/>
                  </a:lnTo>
                  <a:lnTo>
                    <a:pt x="480" y="213"/>
                  </a:lnTo>
                  <a:lnTo>
                    <a:pt x="480" y="215"/>
                  </a:lnTo>
                  <a:lnTo>
                    <a:pt x="484" y="217"/>
                  </a:lnTo>
                  <a:lnTo>
                    <a:pt x="484" y="219"/>
                  </a:lnTo>
                  <a:lnTo>
                    <a:pt x="488" y="221"/>
                  </a:lnTo>
                  <a:lnTo>
                    <a:pt x="488" y="223"/>
                  </a:lnTo>
                  <a:lnTo>
                    <a:pt x="488" y="225"/>
                  </a:lnTo>
                  <a:lnTo>
                    <a:pt x="486" y="227"/>
                  </a:lnTo>
                  <a:lnTo>
                    <a:pt x="486" y="228"/>
                  </a:lnTo>
                  <a:lnTo>
                    <a:pt x="488" y="230"/>
                  </a:lnTo>
                  <a:lnTo>
                    <a:pt x="501" y="236"/>
                  </a:lnTo>
                  <a:lnTo>
                    <a:pt x="501" y="236"/>
                  </a:lnTo>
                  <a:lnTo>
                    <a:pt x="503" y="238"/>
                  </a:lnTo>
                  <a:lnTo>
                    <a:pt x="503" y="238"/>
                  </a:lnTo>
                  <a:lnTo>
                    <a:pt x="505" y="238"/>
                  </a:lnTo>
                  <a:lnTo>
                    <a:pt x="505" y="238"/>
                  </a:lnTo>
                  <a:lnTo>
                    <a:pt x="507" y="238"/>
                  </a:lnTo>
                  <a:lnTo>
                    <a:pt x="507" y="238"/>
                  </a:lnTo>
                  <a:lnTo>
                    <a:pt x="507" y="238"/>
                  </a:lnTo>
                  <a:lnTo>
                    <a:pt x="508" y="238"/>
                  </a:lnTo>
                  <a:lnTo>
                    <a:pt x="508" y="238"/>
                  </a:lnTo>
                  <a:lnTo>
                    <a:pt x="510" y="240"/>
                  </a:lnTo>
                  <a:lnTo>
                    <a:pt x="510" y="238"/>
                  </a:lnTo>
                  <a:lnTo>
                    <a:pt x="512" y="238"/>
                  </a:lnTo>
                  <a:lnTo>
                    <a:pt x="512" y="236"/>
                  </a:lnTo>
                  <a:lnTo>
                    <a:pt x="512" y="234"/>
                  </a:lnTo>
                  <a:lnTo>
                    <a:pt x="512" y="234"/>
                  </a:lnTo>
                  <a:lnTo>
                    <a:pt x="512" y="232"/>
                  </a:lnTo>
                  <a:lnTo>
                    <a:pt x="510" y="232"/>
                  </a:lnTo>
                  <a:lnTo>
                    <a:pt x="510" y="232"/>
                  </a:lnTo>
                  <a:lnTo>
                    <a:pt x="510" y="230"/>
                  </a:lnTo>
                  <a:lnTo>
                    <a:pt x="510" y="228"/>
                  </a:lnTo>
                  <a:lnTo>
                    <a:pt x="508" y="228"/>
                  </a:lnTo>
                  <a:lnTo>
                    <a:pt x="507" y="225"/>
                  </a:lnTo>
                  <a:lnTo>
                    <a:pt x="491" y="206"/>
                  </a:lnTo>
                  <a:lnTo>
                    <a:pt x="489" y="202"/>
                  </a:lnTo>
                  <a:lnTo>
                    <a:pt x="489" y="200"/>
                  </a:lnTo>
                  <a:lnTo>
                    <a:pt x="489" y="196"/>
                  </a:lnTo>
                  <a:lnTo>
                    <a:pt x="489" y="194"/>
                  </a:lnTo>
                  <a:lnTo>
                    <a:pt x="489" y="194"/>
                  </a:lnTo>
                  <a:lnTo>
                    <a:pt x="489" y="192"/>
                  </a:lnTo>
                  <a:lnTo>
                    <a:pt x="489" y="190"/>
                  </a:lnTo>
                  <a:lnTo>
                    <a:pt x="489" y="190"/>
                  </a:lnTo>
                  <a:lnTo>
                    <a:pt x="488" y="189"/>
                  </a:lnTo>
                  <a:lnTo>
                    <a:pt x="488" y="189"/>
                  </a:lnTo>
                  <a:lnTo>
                    <a:pt x="488" y="185"/>
                  </a:lnTo>
                  <a:lnTo>
                    <a:pt x="488" y="183"/>
                  </a:lnTo>
                  <a:lnTo>
                    <a:pt x="489" y="181"/>
                  </a:lnTo>
                  <a:lnTo>
                    <a:pt x="491" y="181"/>
                  </a:lnTo>
                  <a:lnTo>
                    <a:pt x="495" y="177"/>
                  </a:lnTo>
                  <a:lnTo>
                    <a:pt x="497" y="177"/>
                  </a:lnTo>
                  <a:lnTo>
                    <a:pt x="499" y="171"/>
                  </a:lnTo>
                  <a:lnTo>
                    <a:pt x="501" y="171"/>
                  </a:lnTo>
                  <a:lnTo>
                    <a:pt x="503" y="171"/>
                  </a:lnTo>
                  <a:lnTo>
                    <a:pt x="505" y="170"/>
                  </a:lnTo>
                  <a:lnTo>
                    <a:pt x="505" y="170"/>
                  </a:lnTo>
                  <a:lnTo>
                    <a:pt x="507" y="170"/>
                  </a:lnTo>
                  <a:lnTo>
                    <a:pt x="507" y="168"/>
                  </a:lnTo>
                  <a:lnTo>
                    <a:pt x="507" y="168"/>
                  </a:lnTo>
                  <a:lnTo>
                    <a:pt x="507" y="168"/>
                  </a:lnTo>
                  <a:lnTo>
                    <a:pt x="508" y="166"/>
                  </a:lnTo>
                  <a:lnTo>
                    <a:pt x="508" y="166"/>
                  </a:lnTo>
                  <a:lnTo>
                    <a:pt x="510" y="164"/>
                  </a:lnTo>
                  <a:lnTo>
                    <a:pt x="510" y="164"/>
                  </a:lnTo>
                  <a:lnTo>
                    <a:pt x="512" y="164"/>
                  </a:lnTo>
                  <a:lnTo>
                    <a:pt x="512" y="162"/>
                  </a:lnTo>
                  <a:lnTo>
                    <a:pt x="518" y="158"/>
                  </a:lnTo>
                  <a:lnTo>
                    <a:pt x="518" y="156"/>
                  </a:lnTo>
                  <a:lnTo>
                    <a:pt x="520" y="154"/>
                  </a:lnTo>
                  <a:lnTo>
                    <a:pt x="522" y="154"/>
                  </a:lnTo>
                  <a:lnTo>
                    <a:pt x="522" y="152"/>
                  </a:lnTo>
                  <a:lnTo>
                    <a:pt x="524" y="152"/>
                  </a:lnTo>
                  <a:lnTo>
                    <a:pt x="526" y="152"/>
                  </a:lnTo>
                  <a:lnTo>
                    <a:pt x="528" y="154"/>
                  </a:lnTo>
                  <a:lnTo>
                    <a:pt x="528" y="156"/>
                  </a:lnTo>
                  <a:lnTo>
                    <a:pt x="528" y="156"/>
                  </a:lnTo>
                  <a:lnTo>
                    <a:pt x="529" y="156"/>
                  </a:lnTo>
                  <a:lnTo>
                    <a:pt x="531" y="154"/>
                  </a:lnTo>
                  <a:lnTo>
                    <a:pt x="531" y="154"/>
                  </a:lnTo>
                  <a:lnTo>
                    <a:pt x="531" y="152"/>
                  </a:lnTo>
                  <a:lnTo>
                    <a:pt x="531" y="151"/>
                  </a:lnTo>
                  <a:lnTo>
                    <a:pt x="531" y="149"/>
                  </a:lnTo>
                  <a:lnTo>
                    <a:pt x="533" y="145"/>
                  </a:lnTo>
                  <a:lnTo>
                    <a:pt x="533" y="145"/>
                  </a:lnTo>
                  <a:lnTo>
                    <a:pt x="533" y="14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1" name="Freeform 73">
              <a:extLst>
                <a:ext uri="{FF2B5EF4-FFF2-40B4-BE49-F238E27FC236}">
                  <a16:creationId xmlns:a16="http://schemas.microsoft.com/office/drawing/2014/main" id="{303F04DD-F9E9-5C46-AE04-314FAE15E02A}"/>
                </a:ext>
              </a:extLst>
            </p:cNvPr>
            <p:cNvSpPr>
              <a:spLocks/>
            </p:cNvSpPr>
            <p:nvPr/>
          </p:nvSpPr>
          <p:spPr bwMode="auto">
            <a:xfrm>
              <a:off x="7212013" y="2744001"/>
              <a:ext cx="846138" cy="450850"/>
            </a:xfrm>
            <a:custGeom>
              <a:avLst/>
              <a:gdLst>
                <a:gd name="T0" fmla="*/ 520 w 533"/>
                <a:gd name="T1" fmla="*/ 111 h 284"/>
                <a:gd name="T2" fmla="*/ 486 w 533"/>
                <a:gd name="T3" fmla="*/ 93 h 284"/>
                <a:gd name="T4" fmla="*/ 451 w 533"/>
                <a:gd name="T5" fmla="*/ 84 h 284"/>
                <a:gd name="T6" fmla="*/ 451 w 533"/>
                <a:gd name="T7" fmla="*/ 42 h 284"/>
                <a:gd name="T8" fmla="*/ 427 w 533"/>
                <a:gd name="T9" fmla="*/ 23 h 284"/>
                <a:gd name="T10" fmla="*/ 430 w 533"/>
                <a:gd name="T11" fmla="*/ 14 h 284"/>
                <a:gd name="T12" fmla="*/ 387 w 533"/>
                <a:gd name="T13" fmla="*/ 2 h 284"/>
                <a:gd name="T14" fmla="*/ 367 w 533"/>
                <a:gd name="T15" fmla="*/ 15 h 284"/>
                <a:gd name="T16" fmla="*/ 354 w 533"/>
                <a:gd name="T17" fmla="*/ 19 h 284"/>
                <a:gd name="T18" fmla="*/ 333 w 533"/>
                <a:gd name="T19" fmla="*/ 29 h 284"/>
                <a:gd name="T20" fmla="*/ 312 w 533"/>
                <a:gd name="T21" fmla="*/ 25 h 284"/>
                <a:gd name="T22" fmla="*/ 282 w 533"/>
                <a:gd name="T23" fmla="*/ 6 h 284"/>
                <a:gd name="T24" fmla="*/ 255 w 533"/>
                <a:gd name="T25" fmla="*/ 21 h 284"/>
                <a:gd name="T26" fmla="*/ 230 w 533"/>
                <a:gd name="T27" fmla="*/ 52 h 284"/>
                <a:gd name="T28" fmla="*/ 215 w 533"/>
                <a:gd name="T29" fmla="*/ 59 h 284"/>
                <a:gd name="T30" fmla="*/ 194 w 533"/>
                <a:gd name="T31" fmla="*/ 71 h 284"/>
                <a:gd name="T32" fmla="*/ 152 w 533"/>
                <a:gd name="T33" fmla="*/ 88 h 284"/>
                <a:gd name="T34" fmla="*/ 122 w 533"/>
                <a:gd name="T35" fmla="*/ 118 h 284"/>
                <a:gd name="T36" fmla="*/ 110 w 533"/>
                <a:gd name="T37" fmla="*/ 124 h 284"/>
                <a:gd name="T38" fmla="*/ 103 w 533"/>
                <a:gd name="T39" fmla="*/ 145 h 284"/>
                <a:gd name="T40" fmla="*/ 80 w 533"/>
                <a:gd name="T41" fmla="*/ 162 h 284"/>
                <a:gd name="T42" fmla="*/ 68 w 533"/>
                <a:gd name="T43" fmla="*/ 162 h 284"/>
                <a:gd name="T44" fmla="*/ 61 w 533"/>
                <a:gd name="T45" fmla="*/ 162 h 284"/>
                <a:gd name="T46" fmla="*/ 26 w 533"/>
                <a:gd name="T47" fmla="*/ 171 h 284"/>
                <a:gd name="T48" fmla="*/ 5 w 533"/>
                <a:gd name="T49" fmla="*/ 196 h 284"/>
                <a:gd name="T50" fmla="*/ 28 w 533"/>
                <a:gd name="T51" fmla="*/ 202 h 284"/>
                <a:gd name="T52" fmla="*/ 42 w 533"/>
                <a:gd name="T53" fmla="*/ 225 h 284"/>
                <a:gd name="T54" fmla="*/ 38 w 533"/>
                <a:gd name="T55" fmla="*/ 240 h 284"/>
                <a:gd name="T56" fmla="*/ 68 w 533"/>
                <a:gd name="T57" fmla="*/ 255 h 284"/>
                <a:gd name="T58" fmla="*/ 114 w 533"/>
                <a:gd name="T59" fmla="*/ 242 h 284"/>
                <a:gd name="T60" fmla="*/ 167 w 533"/>
                <a:gd name="T61" fmla="*/ 249 h 284"/>
                <a:gd name="T62" fmla="*/ 200 w 533"/>
                <a:gd name="T63" fmla="*/ 244 h 284"/>
                <a:gd name="T64" fmla="*/ 209 w 533"/>
                <a:gd name="T65" fmla="*/ 227 h 284"/>
                <a:gd name="T66" fmla="*/ 246 w 533"/>
                <a:gd name="T67" fmla="*/ 189 h 284"/>
                <a:gd name="T68" fmla="*/ 249 w 533"/>
                <a:gd name="T69" fmla="*/ 183 h 284"/>
                <a:gd name="T70" fmla="*/ 276 w 533"/>
                <a:gd name="T71" fmla="*/ 183 h 284"/>
                <a:gd name="T72" fmla="*/ 345 w 533"/>
                <a:gd name="T73" fmla="*/ 154 h 284"/>
                <a:gd name="T74" fmla="*/ 377 w 533"/>
                <a:gd name="T75" fmla="*/ 147 h 284"/>
                <a:gd name="T76" fmla="*/ 387 w 533"/>
                <a:gd name="T77" fmla="*/ 173 h 284"/>
                <a:gd name="T78" fmla="*/ 396 w 533"/>
                <a:gd name="T79" fmla="*/ 189 h 284"/>
                <a:gd name="T80" fmla="*/ 398 w 533"/>
                <a:gd name="T81" fmla="*/ 206 h 284"/>
                <a:gd name="T82" fmla="*/ 406 w 533"/>
                <a:gd name="T83" fmla="*/ 202 h 284"/>
                <a:gd name="T84" fmla="*/ 406 w 533"/>
                <a:gd name="T85" fmla="*/ 211 h 284"/>
                <a:gd name="T86" fmla="*/ 400 w 533"/>
                <a:gd name="T87" fmla="*/ 217 h 284"/>
                <a:gd name="T88" fmla="*/ 375 w 533"/>
                <a:gd name="T89" fmla="*/ 225 h 284"/>
                <a:gd name="T90" fmla="*/ 360 w 533"/>
                <a:gd name="T91" fmla="*/ 223 h 284"/>
                <a:gd name="T92" fmla="*/ 339 w 533"/>
                <a:gd name="T93" fmla="*/ 242 h 284"/>
                <a:gd name="T94" fmla="*/ 335 w 533"/>
                <a:gd name="T95" fmla="*/ 249 h 284"/>
                <a:gd name="T96" fmla="*/ 333 w 533"/>
                <a:gd name="T97" fmla="*/ 263 h 284"/>
                <a:gd name="T98" fmla="*/ 339 w 533"/>
                <a:gd name="T99" fmla="*/ 280 h 284"/>
                <a:gd name="T100" fmla="*/ 366 w 533"/>
                <a:gd name="T101" fmla="*/ 267 h 284"/>
                <a:gd name="T102" fmla="*/ 383 w 533"/>
                <a:gd name="T103" fmla="*/ 253 h 284"/>
                <a:gd name="T104" fmla="*/ 446 w 533"/>
                <a:gd name="T105" fmla="*/ 217 h 284"/>
                <a:gd name="T106" fmla="*/ 467 w 533"/>
                <a:gd name="T107" fmla="*/ 213 h 284"/>
                <a:gd name="T108" fmla="*/ 484 w 533"/>
                <a:gd name="T109" fmla="*/ 217 h 284"/>
                <a:gd name="T110" fmla="*/ 503 w 533"/>
                <a:gd name="T111" fmla="*/ 238 h 284"/>
                <a:gd name="T112" fmla="*/ 512 w 533"/>
                <a:gd name="T113" fmla="*/ 236 h 284"/>
                <a:gd name="T114" fmla="*/ 489 w 533"/>
                <a:gd name="T115" fmla="*/ 202 h 284"/>
                <a:gd name="T116" fmla="*/ 488 w 533"/>
                <a:gd name="T117" fmla="*/ 183 h 284"/>
                <a:gd name="T118" fmla="*/ 507 w 533"/>
                <a:gd name="T119" fmla="*/ 168 h 284"/>
                <a:gd name="T120" fmla="*/ 520 w 533"/>
                <a:gd name="T121" fmla="*/ 154 h 284"/>
                <a:gd name="T122" fmla="*/ 531 w 533"/>
                <a:gd name="T123" fmla="*/ 15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3" h="284">
                  <a:moveTo>
                    <a:pt x="533" y="141"/>
                  </a:moveTo>
                  <a:lnTo>
                    <a:pt x="529" y="137"/>
                  </a:lnTo>
                  <a:lnTo>
                    <a:pt x="528" y="133"/>
                  </a:lnTo>
                  <a:lnTo>
                    <a:pt x="528" y="130"/>
                  </a:lnTo>
                  <a:lnTo>
                    <a:pt x="531" y="124"/>
                  </a:lnTo>
                  <a:lnTo>
                    <a:pt x="529" y="120"/>
                  </a:lnTo>
                  <a:lnTo>
                    <a:pt x="528" y="118"/>
                  </a:lnTo>
                  <a:lnTo>
                    <a:pt x="522" y="114"/>
                  </a:lnTo>
                  <a:lnTo>
                    <a:pt x="520" y="114"/>
                  </a:lnTo>
                  <a:lnTo>
                    <a:pt x="520" y="111"/>
                  </a:lnTo>
                  <a:lnTo>
                    <a:pt x="520" y="111"/>
                  </a:lnTo>
                  <a:lnTo>
                    <a:pt x="518" y="111"/>
                  </a:lnTo>
                  <a:lnTo>
                    <a:pt x="518" y="111"/>
                  </a:lnTo>
                  <a:lnTo>
                    <a:pt x="510" y="105"/>
                  </a:lnTo>
                  <a:lnTo>
                    <a:pt x="508" y="105"/>
                  </a:lnTo>
                  <a:lnTo>
                    <a:pt x="503" y="107"/>
                  </a:lnTo>
                  <a:lnTo>
                    <a:pt x="501" y="109"/>
                  </a:lnTo>
                  <a:lnTo>
                    <a:pt x="497" y="109"/>
                  </a:lnTo>
                  <a:lnTo>
                    <a:pt x="495" y="109"/>
                  </a:lnTo>
                  <a:lnTo>
                    <a:pt x="491" y="107"/>
                  </a:lnTo>
                  <a:lnTo>
                    <a:pt x="489" y="99"/>
                  </a:lnTo>
                  <a:lnTo>
                    <a:pt x="486" y="93"/>
                  </a:lnTo>
                  <a:lnTo>
                    <a:pt x="480" y="90"/>
                  </a:lnTo>
                  <a:lnTo>
                    <a:pt x="472" y="82"/>
                  </a:lnTo>
                  <a:lnTo>
                    <a:pt x="465" y="80"/>
                  </a:lnTo>
                  <a:lnTo>
                    <a:pt x="459" y="82"/>
                  </a:lnTo>
                  <a:lnTo>
                    <a:pt x="457" y="88"/>
                  </a:lnTo>
                  <a:lnTo>
                    <a:pt x="455" y="93"/>
                  </a:lnTo>
                  <a:lnTo>
                    <a:pt x="455" y="99"/>
                  </a:lnTo>
                  <a:lnTo>
                    <a:pt x="453" y="99"/>
                  </a:lnTo>
                  <a:lnTo>
                    <a:pt x="451" y="93"/>
                  </a:lnTo>
                  <a:lnTo>
                    <a:pt x="448" y="90"/>
                  </a:lnTo>
                  <a:lnTo>
                    <a:pt x="451" y="84"/>
                  </a:lnTo>
                  <a:lnTo>
                    <a:pt x="448" y="80"/>
                  </a:lnTo>
                  <a:lnTo>
                    <a:pt x="455" y="76"/>
                  </a:lnTo>
                  <a:lnTo>
                    <a:pt x="463" y="69"/>
                  </a:lnTo>
                  <a:lnTo>
                    <a:pt x="463" y="65"/>
                  </a:lnTo>
                  <a:lnTo>
                    <a:pt x="461" y="59"/>
                  </a:lnTo>
                  <a:lnTo>
                    <a:pt x="457" y="54"/>
                  </a:lnTo>
                  <a:lnTo>
                    <a:pt x="455" y="52"/>
                  </a:lnTo>
                  <a:lnTo>
                    <a:pt x="455" y="46"/>
                  </a:lnTo>
                  <a:lnTo>
                    <a:pt x="453" y="44"/>
                  </a:lnTo>
                  <a:lnTo>
                    <a:pt x="451" y="42"/>
                  </a:lnTo>
                  <a:lnTo>
                    <a:pt x="451" y="42"/>
                  </a:lnTo>
                  <a:lnTo>
                    <a:pt x="449" y="42"/>
                  </a:lnTo>
                  <a:lnTo>
                    <a:pt x="449" y="40"/>
                  </a:lnTo>
                  <a:lnTo>
                    <a:pt x="449" y="40"/>
                  </a:lnTo>
                  <a:lnTo>
                    <a:pt x="442" y="34"/>
                  </a:lnTo>
                  <a:lnTo>
                    <a:pt x="440" y="29"/>
                  </a:lnTo>
                  <a:lnTo>
                    <a:pt x="434" y="31"/>
                  </a:lnTo>
                  <a:lnTo>
                    <a:pt x="427" y="36"/>
                  </a:lnTo>
                  <a:lnTo>
                    <a:pt x="425" y="27"/>
                  </a:lnTo>
                  <a:lnTo>
                    <a:pt x="425" y="25"/>
                  </a:lnTo>
                  <a:lnTo>
                    <a:pt x="427" y="25"/>
                  </a:lnTo>
                  <a:lnTo>
                    <a:pt x="427" y="23"/>
                  </a:lnTo>
                  <a:lnTo>
                    <a:pt x="438" y="21"/>
                  </a:lnTo>
                  <a:lnTo>
                    <a:pt x="438" y="19"/>
                  </a:lnTo>
                  <a:lnTo>
                    <a:pt x="440" y="17"/>
                  </a:lnTo>
                  <a:lnTo>
                    <a:pt x="442" y="14"/>
                  </a:lnTo>
                  <a:lnTo>
                    <a:pt x="442" y="12"/>
                  </a:lnTo>
                  <a:lnTo>
                    <a:pt x="440" y="10"/>
                  </a:lnTo>
                  <a:lnTo>
                    <a:pt x="440" y="10"/>
                  </a:lnTo>
                  <a:lnTo>
                    <a:pt x="438" y="10"/>
                  </a:lnTo>
                  <a:lnTo>
                    <a:pt x="436" y="12"/>
                  </a:lnTo>
                  <a:lnTo>
                    <a:pt x="432" y="14"/>
                  </a:lnTo>
                  <a:lnTo>
                    <a:pt x="430" y="14"/>
                  </a:lnTo>
                  <a:lnTo>
                    <a:pt x="427" y="12"/>
                  </a:lnTo>
                  <a:lnTo>
                    <a:pt x="425" y="8"/>
                  </a:lnTo>
                  <a:lnTo>
                    <a:pt x="423" y="6"/>
                  </a:lnTo>
                  <a:lnTo>
                    <a:pt x="423" y="2"/>
                  </a:lnTo>
                  <a:lnTo>
                    <a:pt x="421" y="0"/>
                  </a:lnTo>
                  <a:lnTo>
                    <a:pt x="415" y="0"/>
                  </a:lnTo>
                  <a:lnTo>
                    <a:pt x="409" y="0"/>
                  </a:lnTo>
                  <a:lnTo>
                    <a:pt x="404" y="0"/>
                  </a:lnTo>
                  <a:lnTo>
                    <a:pt x="396" y="4"/>
                  </a:lnTo>
                  <a:lnTo>
                    <a:pt x="388" y="2"/>
                  </a:lnTo>
                  <a:lnTo>
                    <a:pt x="387" y="2"/>
                  </a:lnTo>
                  <a:lnTo>
                    <a:pt x="385" y="2"/>
                  </a:lnTo>
                  <a:lnTo>
                    <a:pt x="385" y="10"/>
                  </a:lnTo>
                  <a:lnTo>
                    <a:pt x="383" y="15"/>
                  </a:lnTo>
                  <a:lnTo>
                    <a:pt x="375" y="15"/>
                  </a:lnTo>
                  <a:lnTo>
                    <a:pt x="371" y="12"/>
                  </a:lnTo>
                  <a:lnTo>
                    <a:pt x="369" y="14"/>
                  </a:lnTo>
                  <a:lnTo>
                    <a:pt x="369" y="14"/>
                  </a:lnTo>
                  <a:lnTo>
                    <a:pt x="367" y="14"/>
                  </a:lnTo>
                  <a:lnTo>
                    <a:pt x="367" y="14"/>
                  </a:lnTo>
                  <a:lnTo>
                    <a:pt x="366" y="15"/>
                  </a:lnTo>
                  <a:lnTo>
                    <a:pt x="367" y="15"/>
                  </a:lnTo>
                  <a:lnTo>
                    <a:pt x="366" y="17"/>
                  </a:lnTo>
                  <a:lnTo>
                    <a:pt x="364" y="17"/>
                  </a:lnTo>
                  <a:lnTo>
                    <a:pt x="364" y="17"/>
                  </a:lnTo>
                  <a:lnTo>
                    <a:pt x="364" y="21"/>
                  </a:lnTo>
                  <a:lnTo>
                    <a:pt x="364" y="25"/>
                  </a:lnTo>
                  <a:lnTo>
                    <a:pt x="364" y="25"/>
                  </a:lnTo>
                  <a:lnTo>
                    <a:pt x="360" y="25"/>
                  </a:lnTo>
                  <a:lnTo>
                    <a:pt x="358" y="25"/>
                  </a:lnTo>
                  <a:lnTo>
                    <a:pt x="358" y="23"/>
                  </a:lnTo>
                  <a:lnTo>
                    <a:pt x="356" y="19"/>
                  </a:lnTo>
                  <a:lnTo>
                    <a:pt x="354" y="19"/>
                  </a:lnTo>
                  <a:lnTo>
                    <a:pt x="354" y="25"/>
                  </a:lnTo>
                  <a:lnTo>
                    <a:pt x="350" y="25"/>
                  </a:lnTo>
                  <a:lnTo>
                    <a:pt x="345" y="25"/>
                  </a:lnTo>
                  <a:lnTo>
                    <a:pt x="341" y="27"/>
                  </a:lnTo>
                  <a:lnTo>
                    <a:pt x="341" y="33"/>
                  </a:lnTo>
                  <a:lnTo>
                    <a:pt x="337" y="33"/>
                  </a:lnTo>
                  <a:lnTo>
                    <a:pt x="335" y="33"/>
                  </a:lnTo>
                  <a:lnTo>
                    <a:pt x="335" y="31"/>
                  </a:lnTo>
                  <a:lnTo>
                    <a:pt x="335" y="31"/>
                  </a:lnTo>
                  <a:lnTo>
                    <a:pt x="335" y="29"/>
                  </a:lnTo>
                  <a:lnTo>
                    <a:pt x="333" y="29"/>
                  </a:lnTo>
                  <a:lnTo>
                    <a:pt x="333" y="29"/>
                  </a:lnTo>
                  <a:lnTo>
                    <a:pt x="326" y="27"/>
                  </a:lnTo>
                  <a:lnTo>
                    <a:pt x="326" y="27"/>
                  </a:lnTo>
                  <a:lnTo>
                    <a:pt x="320" y="23"/>
                  </a:lnTo>
                  <a:lnTo>
                    <a:pt x="314" y="23"/>
                  </a:lnTo>
                  <a:lnTo>
                    <a:pt x="312" y="21"/>
                  </a:lnTo>
                  <a:lnTo>
                    <a:pt x="312" y="21"/>
                  </a:lnTo>
                  <a:lnTo>
                    <a:pt x="312" y="23"/>
                  </a:lnTo>
                  <a:lnTo>
                    <a:pt x="314" y="25"/>
                  </a:lnTo>
                  <a:lnTo>
                    <a:pt x="314" y="25"/>
                  </a:lnTo>
                  <a:lnTo>
                    <a:pt x="312" y="25"/>
                  </a:lnTo>
                  <a:lnTo>
                    <a:pt x="307" y="21"/>
                  </a:lnTo>
                  <a:lnTo>
                    <a:pt x="303" y="21"/>
                  </a:lnTo>
                  <a:lnTo>
                    <a:pt x="299" y="21"/>
                  </a:lnTo>
                  <a:lnTo>
                    <a:pt x="297" y="21"/>
                  </a:lnTo>
                  <a:lnTo>
                    <a:pt x="295" y="21"/>
                  </a:lnTo>
                  <a:lnTo>
                    <a:pt x="293" y="21"/>
                  </a:lnTo>
                  <a:lnTo>
                    <a:pt x="295" y="15"/>
                  </a:lnTo>
                  <a:lnTo>
                    <a:pt x="293" y="15"/>
                  </a:lnTo>
                  <a:lnTo>
                    <a:pt x="287" y="8"/>
                  </a:lnTo>
                  <a:lnTo>
                    <a:pt x="286" y="6"/>
                  </a:lnTo>
                  <a:lnTo>
                    <a:pt x="282" y="6"/>
                  </a:lnTo>
                  <a:lnTo>
                    <a:pt x="278" y="6"/>
                  </a:lnTo>
                  <a:lnTo>
                    <a:pt x="278" y="6"/>
                  </a:lnTo>
                  <a:lnTo>
                    <a:pt x="272" y="14"/>
                  </a:lnTo>
                  <a:lnTo>
                    <a:pt x="270" y="15"/>
                  </a:lnTo>
                  <a:lnTo>
                    <a:pt x="270" y="15"/>
                  </a:lnTo>
                  <a:lnTo>
                    <a:pt x="266" y="17"/>
                  </a:lnTo>
                  <a:lnTo>
                    <a:pt x="263" y="17"/>
                  </a:lnTo>
                  <a:lnTo>
                    <a:pt x="261" y="17"/>
                  </a:lnTo>
                  <a:lnTo>
                    <a:pt x="257" y="17"/>
                  </a:lnTo>
                  <a:lnTo>
                    <a:pt x="257" y="19"/>
                  </a:lnTo>
                  <a:lnTo>
                    <a:pt x="255" y="21"/>
                  </a:lnTo>
                  <a:lnTo>
                    <a:pt x="255" y="23"/>
                  </a:lnTo>
                  <a:lnTo>
                    <a:pt x="253" y="23"/>
                  </a:lnTo>
                  <a:lnTo>
                    <a:pt x="249" y="23"/>
                  </a:lnTo>
                  <a:lnTo>
                    <a:pt x="247" y="29"/>
                  </a:lnTo>
                  <a:lnTo>
                    <a:pt x="251" y="33"/>
                  </a:lnTo>
                  <a:lnTo>
                    <a:pt x="255" y="36"/>
                  </a:lnTo>
                  <a:lnTo>
                    <a:pt x="249" y="42"/>
                  </a:lnTo>
                  <a:lnTo>
                    <a:pt x="246" y="46"/>
                  </a:lnTo>
                  <a:lnTo>
                    <a:pt x="240" y="46"/>
                  </a:lnTo>
                  <a:lnTo>
                    <a:pt x="236" y="50"/>
                  </a:lnTo>
                  <a:lnTo>
                    <a:pt x="230" y="52"/>
                  </a:lnTo>
                  <a:lnTo>
                    <a:pt x="226" y="54"/>
                  </a:lnTo>
                  <a:lnTo>
                    <a:pt x="225" y="54"/>
                  </a:lnTo>
                  <a:lnTo>
                    <a:pt x="223" y="55"/>
                  </a:lnTo>
                  <a:lnTo>
                    <a:pt x="221" y="55"/>
                  </a:lnTo>
                  <a:lnTo>
                    <a:pt x="219" y="55"/>
                  </a:lnTo>
                  <a:lnTo>
                    <a:pt x="217" y="55"/>
                  </a:lnTo>
                  <a:lnTo>
                    <a:pt x="215" y="57"/>
                  </a:lnTo>
                  <a:lnTo>
                    <a:pt x="215" y="57"/>
                  </a:lnTo>
                  <a:lnTo>
                    <a:pt x="215" y="57"/>
                  </a:lnTo>
                  <a:lnTo>
                    <a:pt x="215" y="59"/>
                  </a:lnTo>
                  <a:lnTo>
                    <a:pt x="215" y="59"/>
                  </a:lnTo>
                  <a:lnTo>
                    <a:pt x="215" y="59"/>
                  </a:lnTo>
                  <a:lnTo>
                    <a:pt x="215" y="61"/>
                  </a:lnTo>
                  <a:lnTo>
                    <a:pt x="213" y="61"/>
                  </a:lnTo>
                  <a:lnTo>
                    <a:pt x="211" y="61"/>
                  </a:lnTo>
                  <a:lnTo>
                    <a:pt x="211" y="61"/>
                  </a:lnTo>
                  <a:lnTo>
                    <a:pt x="211" y="63"/>
                  </a:lnTo>
                  <a:lnTo>
                    <a:pt x="206" y="65"/>
                  </a:lnTo>
                  <a:lnTo>
                    <a:pt x="204" y="65"/>
                  </a:lnTo>
                  <a:lnTo>
                    <a:pt x="198" y="71"/>
                  </a:lnTo>
                  <a:lnTo>
                    <a:pt x="196" y="71"/>
                  </a:lnTo>
                  <a:lnTo>
                    <a:pt x="194" y="71"/>
                  </a:lnTo>
                  <a:lnTo>
                    <a:pt x="194" y="71"/>
                  </a:lnTo>
                  <a:lnTo>
                    <a:pt x="192" y="71"/>
                  </a:lnTo>
                  <a:lnTo>
                    <a:pt x="190" y="73"/>
                  </a:lnTo>
                  <a:lnTo>
                    <a:pt x="188" y="73"/>
                  </a:lnTo>
                  <a:lnTo>
                    <a:pt x="186" y="73"/>
                  </a:lnTo>
                  <a:lnTo>
                    <a:pt x="183" y="73"/>
                  </a:lnTo>
                  <a:lnTo>
                    <a:pt x="173" y="73"/>
                  </a:lnTo>
                  <a:lnTo>
                    <a:pt x="164" y="78"/>
                  </a:lnTo>
                  <a:lnTo>
                    <a:pt x="160" y="80"/>
                  </a:lnTo>
                  <a:lnTo>
                    <a:pt x="156" y="84"/>
                  </a:lnTo>
                  <a:lnTo>
                    <a:pt x="152" y="88"/>
                  </a:lnTo>
                  <a:lnTo>
                    <a:pt x="148" y="90"/>
                  </a:lnTo>
                  <a:lnTo>
                    <a:pt x="145" y="92"/>
                  </a:lnTo>
                  <a:lnTo>
                    <a:pt x="145" y="95"/>
                  </a:lnTo>
                  <a:lnTo>
                    <a:pt x="145" y="99"/>
                  </a:lnTo>
                  <a:lnTo>
                    <a:pt x="143" y="103"/>
                  </a:lnTo>
                  <a:lnTo>
                    <a:pt x="139" y="105"/>
                  </a:lnTo>
                  <a:lnTo>
                    <a:pt x="131" y="111"/>
                  </a:lnTo>
                  <a:lnTo>
                    <a:pt x="129" y="114"/>
                  </a:lnTo>
                  <a:lnTo>
                    <a:pt x="127" y="116"/>
                  </a:lnTo>
                  <a:lnTo>
                    <a:pt x="124" y="116"/>
                  </a:lnTo>
                  <a:lnTo>
                    <a:pt x="122" y="118"/>
                  </a:lnTo>
                  <a:lnTo>
                    <a:pt x="122" y="118"/>
                  </a:lnTo>
                  <a:lnTo>
                    <a:pt x="118" y="122"/>
                  </a:lnTo>
                  <a:lnTo>
                    <a:pt x="118" y="124"/>
                  </a:lnTo>
                  <a:lnTo>
                    <a:pt x="116" y="124"/>
                  </a:lnTo>
                  <a:lnTo>
                    <a:pt x="114" y="126"/>
                  </a:lnTo>
                  <a:lnTo>
                    <a:pt x="112" y="126"/>
                  </a:lnTo>
                  <a:lnTo>
                    <a:pt x="112" y="126"/>
                  </a:lnTo>
                  <a:lnTo>
                    <a:pt x="112" y="124"/>
                  </a:lnTo>
                  <a:lnTo>
                    <a:pt x="110" y="124"/>
                  </a:lnTo>
                  <a:lnTo>
                    <a:pt x="110" y="124"/>
                  </a:lnTo>
                  <a:lnTo>
                    <a:pt x="110" y="124"/>
                  </a:lnTo>
                  <a:lnTo>
                    <a:pt x="105" y="128"/>
                  </a:lnTo>
                  <a:lnTo>
                    <a:pt x="101" y="130"/>
                  </a:lnTo>
                  <a:lnTo>
                    <a:pt x="99" y="133"/>
                  </a:lnTo>
                  <a:lnTo>
                    <a:pt x="97" y="135"/>
                  </a:lnTo>
                  <a:lnTo>
                    <a:pt x="97" y="137"/>
                  </a:lnTo>
                  <a:lnTo>
                    <a:pt x="99" y="139"/>
                  </a:lnTo>
                  <a:lnTo>
                    <a:pt x="103" y="139"/>
                  </a:lnTo>
                  <a:lnTo>
                    <a:pt x="103" y="139"/>
                  </a:lnTo>
                  <a:lnTo>
                    <a:pt x="103" y="141"/>
                  </a:lnTo>
                  <a:lnTo>
                    <a:pt x="103" y="145"/>
                  </a:lnTo>
                  <a:lnTo>
                    <a:pt x="103" y="145"/>
                  </a:lnTo>
                  <a:lnTo>
                    <a:pt x="103" y="145"/>
                  </a:lnTo>
                  <a:lnTo>
                    <a:pt x="103" y="147"/>
                  </a:lnTo>
                  <a:lnTo>
                    <a:pt x="101" y="151"/>
                  </a:lnTo>
                  <a:lnTo>
                    <a:pt x="97" y="152"/>
                  </a:lnTo>
                  <a:lnTo>
                    <a:pt x="95" y="154"/>
                  </a:lnTo>
                  <a:lnTo>
                    <a:pt x="91" y="154"/>
                  </a:lnTo>
                  <a:lnTo>
                    <a:pt x="91" y="154"/>
                  </a:lnTo>
                  <a:lnTo>
                    <a:pt x="89" y="158"/>
                  </a:lnTo>
                  <a:lnTo>
                    <a:pt x="87" y="158"/>
                  </a:lnTo>
                  <a:lnTo>
                    <a:pt x="82" y="160"/>
                  </a:lnTo>
                  <a:lnTo>
                    <a:pt x="80" y="162"/>
                  </a:lnTo>
                  <a:lnTo>
                    <a:pt x="78" y="162"/>
                  </a:lnTo>
                  <a:lnTo>
                    <a:pt x="78" y="162"/>
                  </a:lnTo>
                  <a:lnTo>
                    <a:pt x="76" y="158"/>
                  </a:lnTo>
                  <a:lnTo>
                    <a:pt x="76" y="158"/>
                  </a:lnTo>
                  <a:lnTo>
                    <a:pt x="74" y="160"/>
                  </a:lnTo>
                  <a:lnTo>
                    <a:pt x="74" y="162"/>
                  </a:lnTo>
                  <a:lnTo>
                    <a:pt x="72" y="164"/>
                  </a:lnTo>
                  <a:lnTo>
                    <a:pt x="70" y="164"/>
                  </a:lnTo>
                  <a:lnTo>
                    <a:pt x="70" y="164"/>
                  </a:lnTo>
                  <a:lnTo>
                    <a:pt x="70" y="162"/>
                  </a:lnTo>
                  <a:lnTo>
                    <a:pt x="68" y="162"/>
                  </a:lnTo>
                  <a:lnTo>
                    <a:pt x="68" y="164"/>
                  </a:lnTo>
                  <a:lnTo>
                    <a:pt x="66" y="166"/>
                  </a:lnTo>
                  <a:lnTo>
                    <a:pt x="65" y="166"/>
                  </a:lnTo>
                  <a:lnTo>
                    <a:pt x="65" y="164"/>
                  </a:lnTo>
                  <a:lnTo>
                    <a:pt x="63" y="160"/>
                  </a:lnTo>
                  <a:lnTo>
                    <a:pt x="63" y="158"/>
                  </a:lnTo>
                  <a:lnTo>
                    <a:pt x="61" y="158"/>
                  </a:lnTo>
                  <a:lnTo>
                    <a:pt x="61" y="160"/>
                  </a:lnTo>
                  <a:lnTo>
                    <a:pt x="61" y="160"/>
                  </a:lnTo>
                  <a:lnTo>
                    <a:pt x="61" y="162"/>
                  </a:lnTo>
                  <a:lnTo>
                    <a:pt x="61" y="162"/>
                  </a:lnTo>
                  <a:lnTo>
                    <a:pt x="61" y="164"/>
                  </a:lnTo>
                  <a:lnTo>
                    <a:pt x="59" y="164"/>
                  </a:lnTo>
                  <a:lnTo>
                    <a:pt x="59" y="164"/>
                  </a:lnTo>
                  <a:lnTo>
                    <a:pt x="51" y="164"/>
                  </a:lnTo>
                  <a:lnTo>
                    <a:pt x="49" y="164"/>
                  </a:lnTo>
                  <a:lnTo>
                    <a:pt x="45" y="166"/>
                  </a:lnTo>
                  <a:lnTo>
                    <a:pt x="40" y="171"/>
                  </a:lnTo>
                  <a:lnTo>
                    <a:pt x="36" y="171"/>
                  </a:lnTo>
                  <a:lnTo>
                    <a:pt x="34" y="171"/>
                  </a:lnTo>
                  <a:lnTo>
                    <a:pt x="30" y="171"/>
                  </a:lnTo>
                  <a:lnTo>
                    <a:pt x="26" y="171"/>
                  </a:lnTo>
                  <a:lnTo>
                    <a:pt x="24" y="171"/>
                  </a:lnTo>
                  <a:lnTo>
                    <a:pt x="21" y="170"/>
                  </a:lnTo>
                  <a:lnTo>
                    <a:pt x="19" y="168"/>
                  </a:lnTo>
                  <a:lnTo>
                    <a:pt x="5" y="170"/>
                  </a:lnTo>
                  <a:lnTo>
                    <a:pt x="4" y="173"/>
                  </a:lnTo>
                  <a:lnTo>
                    <a:pt x="0" y="179"/>
                  </a:lnTo>
                  <a:lnTo>
                    <a:pt x="0" y="183"/>
                  </a:lnTo>
                  <a:lnTo>
                    <a:pt x="2" y="190"/>
                  </a:lnTo>
                  <a:lnTo>
                    <a:pt x="2" y="192"/>
                  </a:lnTo>
                  <a:lnTo>
                    <a:pt x="5" y="194"/>
                  </a:lnTo>
                  <a:lnTo>
                    <a:pt x="5" y="196"/>
                  </a:lnTo>
                  <a:lnTo>
                    <a:pt x="7" y="198"/>
                  </a:lnTo>
                  <a:lnTo>
                    <a:pt x="9" y="198"/>
                  </a:lnTo>
                  <a:lnTo>
                    <a:pt x="11" y="198"/>
                  </a:lnTo>
                  <a:lnTo>
                    <a:pt x="13" y="200"/>
                  </a:lnTo>
                  <a:lnTo>
                    <a:pt x="13" y="200"/>
                  </a:lnTo>
                  <a:lnTo>
                    <a:pt x="15" y="202"/>
                  </a:lnTo>
                  <a:lnTo>
                    <a:pt x="15" y="204"/>
                  </a:lnTo>
                  <a:lnTo>
                    <a:pt x="15" y="204"/>
                  </a:lnTo>
                  <a:lnTo>
                    <a:pt x="19" y="204"/>
                  </a:lnTo>
                  <a:lnTo>
                    <a:pt x="26" y="202"/>
                  </a:lnTo>
                  <a:lnTo>
                    <a:pt x="28" y="202"/>
                  </a:lnTo>
                  <a:lnTo>
                    <a:pt x="32" y="202"/>
                  </a:lnTo>
                  <a:lnTo>
                    <a:pt x="32" y="202"/>
                  </a:lnTo>
                  <a:lnTo>
                    <a:pt x="36" y="198"/>
                  </a:lnTo>
                  <a:lnTo>
                    <a:pt x="36" y="198"/>
                  </a:lnTo>
                  <a:lnTo>
                    <a:pt x="38" y="202"/>
                  </a:lnTo>
                  <a:lnTo>
                    <a:pt x="47" y="215"/>
                  </a:lnTo>
                  <a:lnTo>
                    <a:pt x="47" y="217"/>
                  </a:lnTo>
                  <a:lnTo>
                    <a:pt x="45" y="219"/>
                  </a:lnTo>
                  <a:lnTo>
                    <a:pt x="44" y="221"/>
                  </a:lnTo>
                  <a:lnTo>
                    <a:pt x="42" y="223"/>
                  </a:lnTo>
                  <a:lnTo>
                    <a:pt x="42" y="225"/>
                  </a:lnTo>
                  <a:lnTo>
                    <a:pt x="42" y="227"/>
                  </a:lnTo>
                  <a:lnTo>
                    <a:pt x="42" y="227"/>
                  </a:lnTo>
                  <a:lnTo>
                    <a:pt x="42" y="228"/>
                  </a:lnTo>
                  <a:lnTo>
                    <a:pt x="40" y="228"/>
                  </a:lnTo>
                  <a:lnTo>
                    <a:pt x="40" y="228"/>
                  </a:lnTo>
                  <a:lnTo>
                    <a:pt x="40" y="230"/>
                  </a:lnTo>
                  <a:lnTo>
                    <a:pt x="38" y="230"/>
                  </a:lnTo>
                  <a:lnTo>
                    <a:pt x="38" y="232"/>
                  </a:lnTo>
                  <a:lnTo>
                    <a:pt x="38" y="234"/>
                  </a:lnTo>
                  <a:lnTo>
                    <a:pt x="38" y="236"/>
                  </a:lnTo>
                  <a:lnTo>
                    <a:pt x="38" y="240"/>
                  </a:lnTo>
                  <a:lnTo>
                    <a:pt x="44" y="246"/>
                  </a:lnTo>
                  <a:lnTo>
                    <a:pt x="45" y="248"/>
                  </a:lnTo>
                  <a:lnTo>
                    <a:pt x="45" y="248"/>
                  </a:lnTo>
                  <a:lnTo>
                    <a:pt x="47" y="253"/>
                  </a:lnTo>
                  <a:lnTo>
                    <a:pt x="45" y="255"/>
                  </a:lnTo>
                  <a:lnTo>
                    <a:pt x="49" y="255"/>
                  </a:lnTo>
                  <a:lnTo>
                    <a:pt x="59" y="257"/>
                  </a:lnTo>
                  <a:lnTo>
                    <a:pt x="63" y="255"/>
                  </a:lnTo>
                  <a:lnTo>
                    <a:pt x="65" y="255"/>
                  </a:lnTo>
                  <a:lnTo>
                    <a:pt x="68" y="255"/>
                  </a:lnTo>
                  <a:lnTo>
                    <a:pt x="68" y="255"/>
                  </a:lnTo>
                  <a:lnTo>
                    <a:pt x="72" y="253"/>
                  </a:lnTo>
                  <a:lnTo>
                    <a:pt x="84" y="249"/>
                  </a:lnTo>
                  <a:lnTo>
                    <a:pt x="89" y="248"/>
                  </a:lnTo>
                  <a:lnTo>
                    <a:pt x="95" y="248"/>
                  </a:lnTo>
                  <a:lnTo>
                    <a:pt x="97" y="246"/>
                  </a:lnTo>
                  <a:lnTo>
                    <a:pt x="99" y="244"/>
                  </a:lnTo>
                  <a:lnTo>
                    <a:pt x="99" y="244"/>
                  </a:lnTo>
                  <a:lnTo>
                    <a:pt x="101" y="242"/>
                  </a:lnTo>
                  <a:lnTo>
                    <a:pt x="103" y="240"/>
                  </a:lnTo>
                  <a:lnTo>
                    <a:pt x="106" y="242"/>
                  </a:lnTo>
                  <a:lnTo>
                    <a:pt x="114" y="242"/>
                  </a:lnTo>
                  <a:lnTo>
                    <a:pt x="122" y="246"/>
                  </a:lnTo>
                  <a:lnTo>
                    <a:pt x="125" y="248"/>
                  </a:lnTo>
                  <a:lnTo>
                    <a:pt x="125" y="248"/>
                  </a:lnTo>
                  <a:lnTo>
                    <a:pt x="125" y="248"/>
                  </a:lnTo>
                  <a:lnTo>
                    <a:pt x="125" y="249"/>
                  </a:lnTo>
                  <a:lnTo>
                    <a:pt x="125" y="249"/>
                  </a:lnTo>
                  <a:lnTo>
                    <a:pt x="127" y="251"/>
                  </a:lnTo>
                  <a:lnTo>
                    <a:pt x="129" y="251"/>
                  </a:lnTo>
                  <a:lnTo>
                    <a:pt x="133" y="253"/>
                  </a:lnTo>
                  <a:lnTo>
                    <a:pt x="165" y="249"/>
                  </a:lnTo>
                  <a:lnTo>
                    <a:pt x="167" y="249"/>
                  </a:lnTo>
                  <a:lnTo>
                    <a:pt x="169" y="249"/>
                  </a:lnTo>
                  <a:lnTo>
                    <a:pt x="171" y="251"/>
                  </a:lnTo>
                  <a:lnTo>
                    <a:pt x="173" y="253"/>
                  </a:lnTo>
                  <a:lnTo>
                    <a:pt x="175" y="253"/>
                  </a:lnTo>
                  <a:lnTo>
                    <a:pt x="179" y="251"/>
                  </a:lnTo>
                  <a:lnTo>
                    <a:pt x="181" y="251"/>
                  </a:lnTo>
                  <a:lnTo>
                    <a:pt x="186" y="249"/>
                  </a:lnTo>
                  <a:lnTo>
                    <a:pt x="190" y="249"/>
                  </a:lnTo>
                  <a:lnTo>
                    <a:pt x="196" y="248"/>
                  </a:lnTo>
                  <a:lnTo>
                    <a:pt x="198" y="246"/>
                  </a:lnTo>
                  <a:lnTo>
                    <a:pt x="200" y="244"/>
                  </a:lnTo>
                  <a:lnTo>
                    <a:pt x="202" y="242"/>
                  </a:lnTo>
                  <a:lnTo>
                    <a:pt x="202" y="242"/>
                  </a:lnTo>
                  <a:lnTo>
                    <a:pt x="206" y="240"/>
                  </a:lnTo>
                  <a:lnTo>
                    <a:pt x="207" y="238"/>
                  </a:lnTo>
                  <a:lnTo>
                    <a:pt x="207" y="236"/>
                  </a:lnTo>
                  <a:lnTo>
                    <a:pt x="207" y="236"/>
                  </a:lnTo>
                  <a:lnTo>
                    <a:pt x="207" y="232"/>
                  </a:lnTo>
                  <a:lnTo>
                    <a:pt x="207" y="230"/>
                  </a:lnTo>
                  <a:lnTo>
                    <a:pt x="207" y="228"/>
                  </a:lnTo>
                  <a:lnTo>
                    <a:pt x="209" y="227"/>
                  </a:lnTo>
                  <a:lnTo>
                    <a:pt x="209" y="227"/>
                  </a:lnTo>
                  <a:lnTo>
                    <a:pt x="219" y="215"/>
                  </a:lnTo>
                  <a:lnTo>
                    <a:pt x="223" y="213"/>
                  </a:lnTo>
                  <a:lnTo>
                    <a:pt x="223" y="213"/>
                  </a:lnTo>
                  <a:lnTo>
                    <a:pt x="226" y="209"/>
                  </a:lnTo>
                  <a:lnTo>
                    <a:pt x="230" y="208"/>
                  </a:lnTo>
                  <a:lnTo>
                    <a:pt x="234" y="204"/>
                  </a:lnTo>
                  <a:lnTo>
                    <a:pt x="246" y="192"/>
                  </a:lnTo>
                  <a:lnTo>
                    <a:pt x="246" y="192"/>
                  </a:lnTo>
                  <a:lnTo>
                    <a:pt x="247" y="190"/>
                  </a:lnTo>
                  <a:lnTo>
                    <a:pt x="247" y="190"/>
                  </a:lnTo>
                  <a:lnTo>
                    <a:pt x="246" y="189"/>
                  </a:lnTo>
                  <a:lnTo>
                    <a:pt x="246" y="189"/>
                  </a:lnTo>
                  <a:lnTo>
                    <a:pt x="244" y="187"/>
                  </a:lnTo>
                  <a:lnTo>
                    <a:pt x="244" y="185"/>
                  </a:lnTo>
                  <a:lnTo>
                    <a:pt x="244" y="185"/>
                  </a:lnTo>
                  <a:lnTo>
                    <a:pt x="244" y="183"/>
                  </a:lnTo>
                  <a:lnTo>
                    <a:pt x="246" y="181"/>
                  </a:lnTo>
                  <a:lnTo>
                    <a:pt x="247" y="181"/>
                  </a:lnTo>
                  <a:lnTo>
                    <a:pt x="247" y="181"/>
                  </a:lnTo>
                  <a:lnTo>
                    <a:pt x="247" y="181"/>
                  </a:lnTo>
                  <a:lnTo>
                    <a:pt x="249" y="181"/>
                  </a:lnTo>
                  <a:lnTo>
                    <a:pt x="249" y="183"/>
                  </a:lnTo>
                  <a:lnTo>
                    <a:pt x="249" y="183"/>
                  </a:lnTo>
                  <a:lnTo>
                    <a:pt x="251" y="185"/>
                  </a:lnTo>
                  <a:lnTo>
                    <a:pt x="253" y="185"/>
                  </a:lnTo>
                  <a:lnTo>
                    <a:pt x="255" y="187"/>
                  </a:lnTo>
                  <a:lnTo>
                    <a:pt x="265" y="183"/>
                  </a:lnTo>
                  <a:lnTo>
                    <a:pt x="266" y="187"/>
                  </a:lnTo>
                  <a:lnTo>
                    <a:pt x="270" y="185"/>
                  </a:lnTo>
                  <a:lnTo>
                    <a:pt x="270" y="185"/>
                  </a:lnTo>
                  <a:lnTo>
                    <a:pt x="272" y="185"/>
                  </a:lnTo>
                  <a:lnTo>
                    <a:pt x="274" y="185"/>
                  </a:lnTo>
                  <a:lnTo>
                    <a:pt x="276" y="183"/>
                  </a:lnTo>
                  <a:lnTo>
                    <a:pt x="280" y="181"/>
                  </a:lnTo>
                  <a:lnTo>
                    <a:pt x="284" y="179"/>
                  </a:lnTo>
                  <a:lnTo>
                    <a:pt x="289" y="177"/>
                  </a:lnTo>
                  <a:lnTo>
                    <a:pt x="297" y="175"/>
                  </a:lnTo>
                  <a:lnTo>
                    <a:pt x="297" y="175"/>
                  </a:lnTo>
                  <a:lnTo>
                    <a:pt x="299" y="173"/>
                  </a:lnTo>
                  <a:lnTo>
                    <a:pt x="307" y="170"/>
                  </a:lnTo>
                  <a:lnTo>
                    <a:pt x="310" y="168"/>
                  </a:lnTo>
                  <a:lnTo>
                    <a:pt x="339" y="158"/>
                  </a:lnTo>
                  <a:lnTo>
                    <a:pt x="343" y="154"/>
                  </a:lnTo>
                  <a:lnTo>
                    <a:pt x="345" y="154"/>
                  </a:lnTo>
                  <a:lnTo>
                    <a:pt x="345" y="154"/>
                  </a:lnTo>
                  <a:lnTo>
                    <a:pt x="347" y="156"/>
                  </a:lnTo>
                  <a:lnTo>
                    <a:pt x="348" y="156"/>
                  </a:lnTo>
                  <a:lnTo>
                    <a:pt x="350" y="156"/>
                  </a:lnTo>
                  <a:lnTo>
                    <a:pt x="350" y="158"/>
                  </a:lnTo>
                  <a:lnTo>
                    <a:pt x="354" y="158"/>
                  </a:lnTo>
                  <a:lnTo>
                    <a:pt x="362" y="156"/>
                  </a:lnTo>
                  <a:lnTo>
                    <a:pt x="366" y="154"/>
                  </a:lnTo>
                  <a:lnTo>
                    <a:pt x="367" y="152"/>
                  </a:lnTo>
                  <a:lnTo>
                    <a:pt x="369" y="151"/>
                  </a:lnTo>
                  <a:lnTo>
                    <a:pt x="377" y="147"/>
                  </a:lnTo>
                  <a:lnTo>
                    <a:pt x="383" y="145"/>
                  </a:lnTo>
                  <a:lnTo>
                    <a:pt x="406" y="145"/>
                  </a:lnTo>
                  <a:lnTo>
                    <a:pt x="406" y="145"/>
                  </a:lnTo>
                  <a:lnTo>
                    <a:pt x="406" y="145"/>
                  </a:lnTo>
                  <a:lnTo>
                    <a:pt x="406" y="147"/>
                  </a:lnTo>
                  <a:lnTo>
                    <a:pt x="404" y="149"/>
                  </a:lnTo>
                  <a:lnTo>
                    <a:pt x="402" y="152"/>
                  </a:lnTo>
                  <a:lnTo>
                    <a:pt x="398" y="158"/>
                  </a:lnTo>
                  <a:lnTo>
                    <a:pt x="390" y="168"/>
                  </a:lnTo>
                  <a:lnTo>
                    <a:pt x="388" y="171"/>
                  </a:lnTo>
                  <a:lnTo>
                    <a:pt x="387" y="173"/>
                  </a:lnTo>
                  <a:lnTo>
                    <a:pt x="388" y="175"/>
                  </a:lnTo>
                  <a:lnTo>
                    <a:pt x="388" y="175"/>
                  </a:lnTo>
                  <a:lnTo>
                    <a:pt x="388" y="181"/>
                  </a:lnTo>
                  <a:lnTo>
                    <a:pt x="390" y="183"/>
                  </a:lnTo>
                  <a:lnTo>
                    <a:pt x="390" y="183"/>
                  </a:lnTo>
                  <a:lnTo>
                    <a:pt x="390" y="185"/>
                  </a:lnTo>
                  <a:lnTo>
                    <a:pt x="392" y="185"/>
                  </a:lnTo>
                  <a:lnTo>
                    <a:pt x="392" y="185"/>
                  </a:lnTo>
                  <a:lnTo>
                    <a:pt x="392" y="187"/>
                  </a:lnTo>
                  <a:lnTo>
                    <a:pt x="394" y="187"/>
                  </a:lnTo>
                  <a:lnTo>
                    <a:pt x="396" y="189"/>
                  </a:lnTo>
                  <a:lnTo>
                    <a:pt x="396" y="189"/>
                  </a:lnTo>
                  <a:lnTo>
                    <a:pt x="398" y="190"/>
                  </a:lnTo>
                  <a:lnTo>
                    <a:pt x="398" y="194"/>
                  </a:lnTo>
                  <a:lnTo>
                    <a:pt x="398" y="196"/>
                  </a:lnTo>
                  <a:lnTo>
                    <a:pt x="396" y="200"/>
                  </a:lnTo>
                  <a:lnTo>
                    <a:pt x="396" y="200"/>
                  </a:lnTo>
                  <a:lnTo>
                    <a:pt x="396" y="200"/>
                  </a:lnTo>
                  <a:lnTo>
                    <a:pt x="398" y="202"/>
                  </a:lnTo>
                  <a:lnTo>
                    <a:pt x="398" y="202"/>
                  </a:lnTo>
                  <a:lnTo>
                    <a:pt x="398" y="204"/>
                  </a:lnTo>
                  <a:lnTo>
                    <a:pt x="398" y="206"/>
                  </a:lnTo>
                  <a:lnTo>
                    <a:pt x="398" y="206"/>
                  </a:lnTo>
                  <a:lnTo>
                    <a:pt x="398" y="206"/>
                  </a:lnTo>
                  <a:lnTo>
                    <a:pt x="398" y="206"/>
                  </a:lnTo>
                  <a:lnTo>
                    <a:pt x="402" y="202"/>
                  </a:lnTo>
                  <a:lnTo>
                    <a:pt x="402" y="202"/>
                  </a:lnTo>
                  <a:lnTo>
                    <a:pt x="402" y="202"/>
                  </a:lnTo>
                  <a:lnTo>
                    <a:pt x="404" y="202"/>
                  </a:lnTo>
                  <a:lnTo>
                    <a:pt x="404" y="202"/>
                  </a:lnTo>
                  <a:lnTo>
                    <a:pt x="404" y="200"/>
                  </a:lnTo>
                  <a:lnTo>
                    <a:pt x="406" y="200"/>
                  </a:lnTo>
                  <a:lnTo>
                    <a:pt x="406" y="202"/>
                  </a:lnTo>
                  <a:lnTo>
                    <a:pt x="408" y="202"/>
                  </a:lnTo>
                  <a:lnTo>
                    <a:pt x="408" y="204"/>
                  </a:lnTo>
                  <a:lnTo>
                    <a:pt x="409" y="206"/>
                  </a:lnTo>
                  <a:lnTo>
                    <a:pt x="409" y="206"/>
                  </a:lnTo>
                  <a:lnTo>
                    <a:pt x="409" y="209"/>
                  </a:lnTo>
                  <a:lnTo>
                    <a:pt x="409" y="209"/>
                  </a:lnTo>
                  <a:lnTo>
                    <a:pt x="409" y="209"/>
                  </a:lnTo>
                  <a:lnTo>
                    <a:pt x="408" y="209"/>
                  </a:lnTo>
                  <a:lnTo>
                    <a:pt x="408" y="209"/>
                  </a:lnTo>
                  <a:lnTo>
                    <a:pt x="406" y="211"/>
                  </a:lnTo>
                  <a:lnTo>
                    <a:pt x="406" y="211"/>
                  </a:lnTo>
                  <a:lnTo>
                    <a:pt x="406" y="211"/>
                  </a:lnTo>
                  <a:lnTo>
                    <a:pt x="406" y="213"/>
                  </a:lnTo>
                  <a:lnTo>
                    <a:pt x="406" y="213"/>
                  </a:lnTo>
                  <a:lnTo>
                    <a:pt x="404" y="215"/>
                  </a:lnTo>
                  <a:lnTo>
                    <a:pt x="404" y="215"/>
                  </a:lnTo>
                  <a:lnTo>
                    <a:pt x="404" y="215"/>
                  </a:lnTo>
                  <a:lnTo>
                    <a:pt x="404" y="215"/>
                  </a:lnTo>
                  <a:lnTo>
                    <a:pt x="402" y="215"/>
                  </a:lnTo>
                  <a:lnTo>
                    <a:pt x="402" y="215"/>
                  </a:lnTo>
                  <a:lnTo>
                    <a:pt x="400" y="217"/>
                  </a:lnTo>
                  <a:lnTo>
                    <a:pt x="400" y="217"/>
                  </a:lnTo>
                  <a:lnTo>
                    <a:pt x="400" y="219"/>
                  </a:lnTo>
                  <a:lnTo>
                    <a:pt x="400" y="219"/>
                  </a:lnTo>
                  <a:lnTo>
                    <a:pt x="400" y="219"/>
                  </a:lnTo>
                  <a:lnTo>
                    <a:pt x="396" y="217"/>
                  </a:lnTo>
                  <a:lnTo>
                    <a:pt x="396" y="217"/>
                  </a:lnTo>
                  <a:lnTo>
                    <a:pt x="396" y="217"/>
                  </a:lnTo>
                  <a:lnTo>
                    <a:pt x="394" y="219"/>
                  </a:lnTo>
                  <a:lnTo>
                    <a:pt x="394" y="219"/>
                  </a:lnTo>
                  <a:lnTo>
                    <a:pt x="390" y="217"/>
                  </a:lnTo>
                  <a:lnTo>
                    <a:pt x="390" y="217"/>
                  </a:lnTo>
                  <a:lnTo>
                    <a:pt x="375" y="225"/>
                  </a:lnTo>
                  <a:lnTo>
                    <a:pt x="373" y="223"/>
                  </a:lnTo>
                  <a:lnTo>
                    <a:pt x="371" y="223"/>
                  </a:lnTo>
                  <a:lnTo>
                    <a:pt x="369" y="221"/>
                  </a:lnTo>
                  <a:lnTo>
                    <a:pt x="367" y="219"/>
                  </a:lnTo>
                  <a:lnTo>
                    <a:pt x="366" y="219"/>
                  </a:lnTo>
                  <a:lnTo>
                    <a:pt x="366" y="219"/>
                  </a:lnTo>
                  <a:lnTo>
                    <a:pt x="364" y="221"/>
                  </a:lnTo>
                  <a:lnTo>
                    <a:pt x="362" y="221"/>
                  </a:lnTo>
                  <a:lnTo>
                    <a:pt x="362" y="221"/>
                  </a:lnTo>
                  <a:lnTo>
                    <a:pt x="360" y="223"/>
                  </a:lnTo>
                  <a:lnTo>
                    <a:pt x="360" y="223"/>
                  </a:lnTo>
                  <a:lnTo>
                    <a:pt x="360" y="227"/>
                  </a:lnTo>
                  <a:lnTo>
                    <a:pt x="360" y="227"/>
                  </a:lnTo>
                  <a:lnTo>
                    <a:pt x="358" y="228"/>
                  </a:lnTo>
                  <a:lnTo>
                    <a:pt x="358" y="230"/>
                  </a:lnTo>
                  <a:lnTo>
                    <a:pt x="354" y="232"/>
                  </a:lnTo>
                  <a:lnTo>
                    <a:pt x="352" y="234"/>
                  </a:lnTo>
                  <a:lnTo>
                    <a:pt x="352" y="234"/>
                  </a:lnTo>
                  <a:lnTo>
                    <a:pt x="350" y="234"/>
                  </a:lnTo>
                  <a:lnTo>
                    <a:pt x="348" y="236"/>
                  </a:lnTo>
                  <a:lnTo>
                    <a:pt x="345" y="240"/>
                  </a:lnTo>
                  <a:lnTo>
                    <a:pt x="339" y="242"/>
                  </a:lnTo>
                  <a:lnTo>
                    <a:pt x="339" y="244"/>
                  </a:lnTo>
                  <a:lnTo>
                    <a:pt x="337" y="244"/>
                  </a:lnTo>
                  <a:lnTo>
                    <a:pt x="335" y="244"/>
                  </a:lnTo>
                  <a:lnTo>
                    <a:pt x="333" y="242"/>
                  </a:lnTo>
                  <a:lnTo>
                    <a:pt x="333" y="244"/>
                  </a:lnTo>
                  <a:lnTo>
                    <a:pt x="333" y="244"/>
                  </a:lnTo>
                  <a:lnTo>
                    <a:pt x="331" y="244"/>
                  </a:lnTo>
                  <a:lnTo>
                    <a:pt x="333" y="248"/>
                  </a:lnTo>
                  <a:lnTo>
                    <a:pt x="333" y="248"/>
                  </a:lnTo>
                  <a:lnTo>
                    <a:pt x="333" y="248"/>
                  </a:lnTo>
                  <a:lnTo>
                    <a:pt x="335" y="249"/>
                  </a:lnTo>
                  <a:lnTo>
                    <a:pt x="337" y="249"/>
                  </a:lnTo>
                  <a:lnTo>
                    <a:pt x="337" y="251"/>
                  </a:lnTo>
                  <a:lnTo>
                    <a:pt x="337" y="253"/>
                  </a:lnTo>
                  <a:lnTo>
                    <a:pt x="337" y="257"/>
                  </a:lnTo>
                  <a:lnTo>
                    <a:pt x="337" y="259"/>
                  </a:lnTo>
                  <a:lnTo>
                    <a:pt x="337" y="259"/>
                  </a:lnTo>
                  <a:lnTo>
                    <a:pt x="335" y="259"/>
                  </a:lnTo>
                  <a:lnTo>
                    <a:pt x="335" y="261"/>
                  </a:lnTo>
                  <a:lnTo>
                    <a:pt x="335" y="261"/>
                  </a:lnTo>
                  <a:lnTo>
                    <a:pt x="335" y="261"/>
                  </a:lnTo>
                  <a:lnTo>
                    <a:pt x="333" y="263"/>
                  </a:lnTo>
                  <a:lnTo>
                    <a:pt x="333" y="265"/>
                  </a:lnTo>
                  <a:lnTo>
                    <a:pt x="335" y="265"/>
                  </a:lnTo>
                  <a:lnTo>
                    <a:pt x="335" y="267"/>
                  </a:lnTo>
                  <a:lnTo>
                    <a:pt x="337" y="268"/>
                  </a:lnTo>
                  <a:lnTo>
                    <a:pt x="337" y="268"/>
                  </a:lnTo>
                  <a:lnTo>
                    <a:pt x="337" y="268"/>
                  </a:lnTo>
                  <a:lnTo>
                    <a:pt x="337" y="272"/>
                  </a:lnTo>
                  <a:lnTo>
                    <a:pt x="337" y="274"/>
                  </a:lnTo>
                  <a:lnTo>
                    <a:pt x="337" y="276"/>
                  </a:lnTo>
                  <a:lnTo>
                    <a:pt x="337" y="276"/>
                  </a:lnTo>
                  <a:lnTo>
                    <a:pt x="339" y="280"/>
                  </a:lnTo>
                  <a:lnTo>
                    <a:pt x="339" y="284"/>
                  </a:lnTo>
                  <a:lnTo>
                    <a:pt x="339" y="284"/>
                  </a:lnTo>
                  <a:lnTo>
                    <a:pt x="339" y="284"/>
                  </a:lnTo>
                  <a:lnTo>
                    <a:pt x="341" y="284"/>
                  </a:lnTo>
                  <a:lnTo>
                    <a:pt x="345" y="282"/>
                  </a:lnTo>
                  <a:lnTo>
                    <a:pt x="352" y="280"/>
                  </a:lnTo>
                  <a:lnTo>
                    <a:pt x="354" y="278"/>
                  </a:lnTo>
                  <a:lnTo>
                    <a:pt x="356" y="274"/>
                  </a:lnTo>
                  <a:lnTo>
                    <a:pt x="358" y="270"/>
                  </a:lnTo>
                  <a:lnTo>
                    <a:pt x="362" y="267"/>
                  </a:lnTo>
                  <a:lnTo>
                    <a:pt x="366" y="267"/>
                  </a:lnTo>
                  <a:lnTo>
                    <a:pt x="367" y="267"/>
                  </a:lnTo>
                  <a:lnTo>
                    <a:pt x="369" y="267"/>
                  </a:lnTo>
                  <a:lnTo>
                    <a:pt x="369" y="267"/>
                  </a:lnTo>
                  <a:lnTo>
                    <a:pt x="371" y="265"/>
                  </a:lnTo>
                  <a:lnTo>
                    <a:pt x="373" y="261"/>
                  </a:lnTo>
                  <a:lnTo>
                    <a:pt x="373" y="261"/>
                  </a:lnTo>
                  <a:lnTo>
                    <a:pt x="375" y="259"/>
                  </a:lnTo>
                  <a:lnTo>
                    <a:pt x="379" y="259"/>
                  </a:lnTo>
                  <a:lnTo>
                    <a:pt x="381" y="259"/>
                  </a:lnTo>
                  <a:lnTo>
                    <a:pt x="381" y="257"/>
                  </a:lnTo>
                  <a:lnTo>
                    <a:pt x="383" y="253"/>
                  </a:lnTo>
                  <a:lnTo>
                    <a:pt x="388" y="248"/>
                  </a:lnTo>
                  <a:lnTo>
                    <a:pt x="390" y="248"/>
                  </a:lnTo>
                  <a:lnTo>
                    <a:pt x="396" y="246"/>
                  </a:lnTo>
                  <a:lnTo>
                    <a:pt x="398" y="246"/>
                  </a:lnTo>
                  <a:lnTo>
                    <a:pt x="400" y="242"/>
                  </a:lnTo>
                  <a:lnTo>
                    <a:pt x="402" y="240"/>
                  </a:lnTo>
                  <a:lnTo>
                    <a:pt x="406" y="232"/>
                  </a:lnTo>
                  <a:lnTo>
                    <a:pt x="409" y="228"/>
                  </a:lnTo>
                  <a:lnTo>
                    <a:pt x="415" y="225"/>
                  </a:lnTo>
                  <a:lnTo>
                    <a:pt x="421" y="221"/>
                  </a:lnTo>
                  <a:lnTo>
                    <a:pt x="446" y="217"/>
                  </a:lnTo>
                  <a:lnTo>
                    <a:pt x="451" y="217"/>
                  </a:lnTo>
                  <a:lnTo>
                    <a:pt x="453" y="217"/>
                  </a:lnTo>
                  <a:lnTo>
                    <a:pt x="455" y="217"/>
                  </a:lnTo>
                  <a:lnTo>
                    <a:pt x="457" y="217"/>
                  </a:lnTo>
                  <a:lnTo>
                    <a:pt x="459" y="215"/>
                  </a:lnTo>
                  <a:lnTo>
                    <a:pt x="461" y="213"/>
                  </a:lnTo>
                  <a:lnTo>
                    <a:pt x="461" y="211"/>
                  </a:lnTo>
                  <a:lnTo>
                    <a:pt x="463" y="211"/>
                  </a:lnTo>
                  <a:lnTo>
                    <a:pt x="465" y="211"/>
                  </a:lnTo>
                  <a:lnTo>
                    <a:pt x="465" y="211"/>
                  </a:lnTo>
                  <a:lnTo>
                    <a:pt x="467" y="213"/>
                  </a:lnTo>
                  <a:lnTo>
                    <a:pt x="467" y="213"/>
                  </a:lnTo>
                  <a:lnTo>
                    <a:pt x="468" y="213"/>
                  </a:lnTo>
                  <a:lnTo>
                    <a:pt x="468" y="211"/>
                  </a:lnTo>
                  <a:lnTo>
                    <a:pt x="470" y="211"/>
                  </a:lnTo>
                  <a:lnTo>
                    <a:pt x="472" y="209"/>
                  </a:lnTo>
                  <a:lnTo>
                    <a:pt x="472" y="209"/>
                  </a:lnTo>
                  <a:lnTo>
                    <a:pt x="474" y="211"/>
                  </a:lnTo>
                  <a:lnTo>
                    <a:pt x="478" y="211"/>
                  </a:lnTo>
                  <a:lnTo>
                    <a:pt x="480" y="213"/>
                  </a:lnTo>
                  <a:lnTo>
                    <a:pt x="480" y="215"/>
                  </a:lnTo>
                  <a:lnTo>
                    <a:pt x="484" y="217"/>
                  </a:lnTo>
                  <a:lnTo>
                    <a:pt x="484" y="219"/>
                  </a:lnTo>
                  <a:lnTo>
                    <a:pt x="488" y="221"/>
                  </a:lnTo>
                  <a:lnTo>
                    <a:pt x="488" y="223"/>
                  </a:lnTo>
                  <a:lnTo>
                    <a:pt x="488" y="225"/>
                  </a:lnTo>
                  <a:lnTo>
                    <a:pt x="486" y="227"/>
                  </a:lnTo>
                  <a:lnTo>
                    <a:pt x="486" y="228"/>
                  </a:lnTo>
                  <a:lnTo>
                    <a:pt x="488" y="230"/>
                  </a:lnTo>
                  <a:lnTo>
                    <a:pt x="501" y="236"/>
                  </a:lnTo>
                  <a:lnTo>
                    <a:pt x="501" y="236"/>
                  </a:lnTo>
                  <a:lnTo>
                    <a:pt x="503" y="238"/>
                  </a:lnTo>
                  <a:lnTo>
                    <a:pt x="503" y="238"/>
                  </a:lnTo>
                  <a:lnTo>
                    <a:pt x="505" y="238"/>
                  </a:lnTo>
                  <a:lnTo>
                    <a:pt x="505" y="238"/>
                  </a:lnTo>
                  <a:lnTo>
                    <a:pt x="507" y="238"/>
                  </a:lnTo>
                  <a:lnTo>
                    <a:pt x="507" y="238"/>
                  </a:lnTo>
                  <a:lnTo>
                    <a:pt x="507" y="238"/>
                  </a:lnTo>
                  <a:lnTo>
                    <a:pt x="508" y="238"/>
                  </a:lnTo>
                  <a:lnTo>
                    <a:pt x="508" y="238"/>
                  </a:lnTo>
                  <a:lnTo>
                    <a:pt x="510" y="240"/>
                  </a:lnTo>
                  <a:lnTo>
                    <a:pt x="510" y="238"/>
                  </a:lnTo>
                  <a:lnTo>
                    <a:pt x="512" y="238"/>
                  </a:lnTo>
                  <a:lnTo>
                    <a:pt x="512" y="236"/>
                  </a:lnTo>
                  <a:lnTo>
                    <a:pt x="512" y="234"/>
                  </a:lnTo>
                  <a:lnTo>
                    <a:pt x="512" y="234"/>
                  </a:lnTo>
                  <a:lnTo>
                    <a:pt x="512" y="232"/>
                  </a:lnTo>
                  <a:lnTo>
                    <a:pt x="510" y="232"/>
                  </a:lnTo>
                  <a:lnTo>
                    <a:pt x="510" y="232"/>
                  </a:lnTo>
                  <a:lnTo>
                    <a:pt x="510" y="230"/>
                  </a:lnTo>
                  <a:lnTo>
                    <a:pt x="510" y="228"/>
                  </a:lnTo>
                  <a:lnTo>
                    <a:pt x="508" y="228"/>
                  </a:lnTo>
                  <a:lnTo>
                    <a:pt x="507" y="225"/>
                  </a:lnTo>
                  <a:lnTo>
                    <a:pt x="491" y="206"/>
                  </a:lnTo>
                  <a:lnTo>
                    <a:pt x="489" y="202"/>
                  </a:lnTo>
                  <a:lnTo>
                    <a:pt x="489" y="200"/>
                  </a:lnTo>
                  <a:lnTo>
                    <a:pt x="489" y="196"/>
                  </a:lnTo>
                  <a:lnTo>
                    <a:pt x="489" y="194"/>
                  </a:lnTo>
                  <a:lnTo>
                    <a:pt x="489" y="194"/>
                  </a:lnTo>
                  <a:lnTo>
                    <a:pt x="489" y="192"/>
                  </a:lnTo>
                  <a:lnTo>
                    <a:pt x="489" y="190"/>
                  </a:lnTo>
                  <a:lnTo>
                    <a:pt x="489" y="190"/>
                  </a:lnTo>
                  <a:lnTo>
                    <a:pt x="488" y="189"/>
                  </a:lnTo>
                  <a:lnTo>
                    <a:pt x="488" y="189"/>
                  </a:lnTo>
                  <a:lnTo>
                    <a:pt x="488" y="185"/>
                  </a:lnTo>
                  <a:lnTo>
                    <a:pt x="488" y="183"/>
                  </a:lnTo>
                  <a:lnTo>
                    <a:pt x="489" y="181"/>
                  </a:lnTo>
                  <a:lnTo>
                    <a:pt x="491" y="181"/>
                  </a:lnTo>
                  <a:lnTo>
                    <a:pt x="495" y="177"/>
                  </a:lnTo>
                  <a:lnTo>
                    <a:pt x="497" y="177"/>
                  </a:lnTo>
                  <a:lnTo>
                    <a:pt x="499" y="171"/>
                  </a:lnTo>
                  <a:lnTo>
                    <a:pt x="501" y="171"/>
                  </a:lnTo>
                  <a:lnTo>
                    <a:pt x="503" y="171"/>
                  </a:lnTo>
                  <a:lnTo>
                    <a:pt x="505" y="170"/>
                  </a:lnTo>
                  <a:lnTo>
                    <a:pt x="505" y="170"/>
                  </a:lnTo>
                  <a:lnTo>
                    <a:pt x="507" y="170"/>
                  </a:lnTo>
                  <a:lnTo>
                    <a:pt x="507" y="168"/>
                  </a:lnTo>
                  <a:lnTo>
                    <a:pt x="507" y="168"/>
                  </a:lnTo>
                  <a:lnTo>
                    <a:pt x="507" y="168"/>
                  </a:lnTo>
                  <a:lnTo>
                    <a:pt x="508" y="166"/>
                  </a:lnTo>
                  <a:lnTo>
                    <a:pt x="508" y="166"/>
                  </a:lnTo>
                  <a:lnTo>
                    <a:pt x="510" y="164"/>
                  </a:lnTo>
                  <a:lnTo>
                    <a:pt x="510" y="164"/>
                  </a:lnTo>
                  <a:lnTo>
                    <a:pt x="512" y="164"/>
                  </a:lnTo>
                  <a:lnTo>
                    <a:pt x="512" y="162"/>
                  </a:lnTo>
                  <a:lnTo>
                    <a:pt x="518" y="158"/>
                  </a:lnTo>
                  <a:lnTo>
                    <a:pt x="518" y="156"/>
                  </a:lnTo>
                  <a:lnTo>
                    <a:pt x="520" y="154"/>
                  </a:lnTo>
                  <a:lnTo>
                    <a:pt x="522" y="154"/>
                  </a:lnTo>
                  <a:lnTo>
                    <a:pt x="522" y="152"/>
                  </a:lnTo>
                  <a:lnTo>
                    <a:pt x="524" y="152"/>
                  </a:lnTo>
                  <a:lnTo>
                    <a:pt x="526" y="152"/>
                  </a:lnTo>
                  <a:lnTo>
                    <a:pt x="528" y="154"/>
                  </a:lnTo>
                  <a:lnTo>
                    <a:pt x="528" y="156"/>
                  </a:lnTo>
                  <a:lnTo>
                    <a:pt x="528" y="156"/>
                  </a:lnTo>
                  <a:lnTo>
                    <a:pt x="529" y="156"/>
                  </a:lnTo>
                  <a:lnTo>
                    <a:pt x="531" y="154"/>
                  </a:lnTo>
                  <a:lnTo>
                    <a:pt x="531" y="154"/>
                  </a:lnTo>
                  <a:lnTo>
                    <a:pt x="531" y="152"/>
                  </a:lnTo>
                  <a:lnTo>
                    <a:pt x="531" y="151"/>
                  </a:lnTo>
                  <a:lnTo>
                    <a:pt x="531" y="149"/>
                  </a:lnTo>
                  <a:lnTo>
                    <a:pt x="533" y="145"/>
                  </a:lnTo>
                  <a:lnTo>
                    <a:pt x="533" y="145"/>
                  </a:lnTo>
                  <a:lnTo>
                    <a:pt x="533" y="141"/>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2" name="Freeform 74">
              <a:extLst>
                <a:ext uri="{FF2B5EF4-FFF2-40B4-BE49-F238E27FC236}">
                  <a16:creationId xmlns:a16="http://schemas.microsoft.com/office/drawing/2014/main" id="{56D6FBBA-28E2-14B0-A51C-1EA8CE5744D9}"/>
                </a:ext>
              </a:extLst>
            </p:cNvPr>
            <p:cNvSpPr>
              <a:spLocks noEditPoints="1"/>
            </p:cNvSpPr>
            <p:nvPr/>
          </p:nvSpPr>
          <p:spPr bwMode="auto">
            <a:xfrm>
              <a:off x="5033963" y="4383888"/>
              <a:ext cx="1182688" cy="993775"/>
            </a:xfrm>
            <a:custGeom>
              <a:avLst/>
              <a:gdLst>
                <a:gd name="T0" fmla="*/ 724 w 745"/>
                <a:gd name="T1" fmla="*/ 9 h 626"/>
                <a:gd name="T2" fmla="*/ 684 w 745"/>
                <a:gd name="T3" fmla="*/ 36 h 626"/>
                <a:gd name="T4" fmla="*/ 650 w 745"/>
                <a:gd name="T5" fmla="*/ 21 h 626"/>
                <a:gd name="T6" fmla="*/ 623 w 745"/>
                <a:gd name="T7" fmla="*/ 15 h 626"/>
                <a:gd name="T8" fmla="*/ 615 w 745"/>
                <a:gd name="T9" fmla="*/ 28 h 626"/>
                <a:gd name="T10" fmla="*/ 585 w 745"/>
                <a:gd name="T11" fmla="*/ 61 h 626"/>
                <a:gd name="T12" fmla="*/ 560 w 745"/>
                <a:gd name="T13" fmla="*/ 72 h 626"/>
                <a:gd name="T14" fmla="*/ 535 w 745"/>
                <a:gd name="T15" fmla="*/ 70 h 626"/>
                <a:gd name="T16" fmla="*/ 520 w 745"/>
                <a:gd name="T17" fmla="*/ 99 h 626"/>
                <a:gd name="T18" fmla="*/ 467 w 745"/>
                <a:gd name="T19" fmla="*/ 124 h 626"/>
                <a:gd name="T20" fmla="*/ 444 w 745"/>
                <a:gd name="T21" fmla="*/ 150 h 626"/>
                <a:gd name="T22" fmla="*/ 428 w 745"/>
                <a:gd name="T23" fmla="*/ 175 h 626"/>
                <a:gd name="T24" fmla="*/ 398 w 745"/>
                <a:gd name="T25" fmla="*/ 192 h 626"/>
                <a:gd name="T26" fmla="*/ 381 w 745"/>
                <a:gd name="T27" fmla="*/ 205 h 626"/>
                <a:gd name="T28" fmla="*/ 356 w 745"/>
                <a:gd name="T29" fmla="*/ 198 h 626"/>
                <a:gd name="T30" fmla="*/ 337 w 745"/>
                <a:gd name="T31" fmla="*/ 207 h 626"/>
                <a:gd name="T32" fmla="*/ 356 w 745"/>
                <a:gd name="T33" fmla="*/ 221 h 626"/>
                <a:gd name="T34" fmla="*/ 341 w 745"/>
                <a:gd name="T35" fmla="*/ 224 h 626"/>
                <a:gd name="T36" fmla="*/ 322 w 745"/>
                <a:gd name="T37" fmla="*/ 207 h 626"/>
                <a:gd name="T38" fmla="*/ 307 w 745"/>
                <a:gd name="T39" fmla="*/ 234 h 626"/>
                <a:gd name="T40" fmla="*/ 261 w 745"/>
                <a:gd name="T41" fmla="*/ 245 h 626"/>
                <a:gd name="T42" fmla="*/ 226 w 745"/>
                <a:gd name="T43" fmla="*/ 285 h 626"/>
                <a:gd name="T44" fmla="*/ 196 w 745"/>
                <a:gd name="T45" fmla="*/ 295 h 626"/>
                <a:gd name="T46" fmla="*/ 148 w 745"/>
                <a:gd name="T47" fmla="*/ 302 h 626"/>
                <a:gd name="T48" fmla="*/ 124 w 745"/>
                <a:gd name="T49" fmla="*/ 321 h 626"/>
                <a:gd name="T50" fmla="*/ 91 w 745"/>
                <a:gd name="T51" fmla="*/ 318 h 626"/>
                <a:gd name="T52" fmla="*/ 30 w 745"/>
                <a:gd name="T53" fmla="*/ 331 h 626"/>
                <a:gd name="T54" fmla="*/ 26 w 745"/>
                <a:gd name="T55" fmla="*/ 361 h 626"/>
                <a:gd name="T56" fmla="*/ 21 w 745"/>
                <a:gd name="T57" fmla="*/ 399 h 626"/>
                <a:gd name="T58" fmla="*/ 4 w 745"/>
                <a:gd name="T59" fmla="*/ 424 h 626"/>
                <a:gd name="T60" fmla="*/ 17 w 745"/>
                <a:gd name="T61" fmla="*/ 458 h 626"/>
                <a:gd name="T62" fmla="*/ 34 w 745"/>
                <a:gd name="T63" fmla="*/ 470 h 626"/>
                <a:gd name="T64" fmla="*/ 63 w 745"/>
                <a:gd name="T65" fmla="*/ 466 h 626"/>
                <a:gd name="T66" fmla="*/ 59 w 745"/>
                <a:gd name="T67" fmla="*/ 487 h 626"/>
                <a:gd name="T68" fmla="*/ 53 w 745"/>
                <a:gd name="T69" fmla="*/ 496 h 626"/>
                <a:gd name="T70" fmla="*/ 19 w 745"/>
                <a:gd name="T71" fmla="*/ 479 h 626"/>
                <a:gd name="T72" fmla="*/ 23 w 745"/>
                <a:gd name="T73" fmla="*/ 512 h 626"/>
                <a:gd name="T74" fmla="*/ 38 w 745"/>
                <a:gd name="T75" fmla="*/ 513 h 626"/>
                <a:gd name="T76" fmla="*/ 53 w 745"/>
                <a:gd name="T77" fmla="*/ 512 h 626"/>
                <a:gd name="T78" fmla="*/ 82 w 745"/>
                <a:gd name="T79" fmla="*/ 517 h 626"/>
                <a:gd name="T80" fmla="*/ 105 w 745"/>
                <a:gd name="T81" fmla="*/ 504 h 626"/>
                <a:gd name="T82" fmla="*/ 118 w 745"/>
                <a:gd name="T83" fmla="*/ 510 h 626"/>
                <a:gd name="T84" fmla="*/ 141 w 745"/>
                <a:gd name="T85" fmla="*/ 536 h 626"/>
                <a:gd name="T86" fmla="*/ 152 w 745"/>
                <a:gd name="T87" fmla="*/ 559 h 626"/>
                <a:gd name="T88" fmla="*/ 169 w 745"/>
                <a:gd name="T89" fmla="*/ 576 h 626"/>
                <a:gd name="T90" fmla="*/ 150 w 745"/>
                <a:gd name="T91" fmla="*/ 601 h 626"/>
                <a:gd name="T92" fmla="*/ 164 w 745"/>
                <a:gd name="T93" fmla="*/ 622 h 626"/>
                <a:gd name="T94" fmla="*/ 200 w 745"/>
                <a:gd name="T95" fmla="*/ 588 h 626"/>
                <a:gd name="T96" fmla="*/ 238 w 745"/>
                <a:gd name="T97" fmla="*/ 580 h 626"/>
                <a:gd name="T98" fmla="*/ 274 w 745"/>
                <a:gd name="T99" fmla="*/ 569 h 626"/>
                <a:gd name="T100" fmla="*/ 308 w 745"/>
                <a:gd name="T101" fmla="*/ 546 h 626"/>
                <a:gd name="T102" fmla="*/ 320 w 745"/>
                <a:gd name="T103" fmla="*/ 546 h 626"/>
                <a:gd name="T104" fmla="*/ 326 w 745"/>
                <a:gd name="T105" fmla="*/ 512 h 626"/>
                <a:gd name="T106" fmla="*/ 318 w 745"/>
                <a:gd name="T107" fmla="*/ 437 h 626"/>
                <a:gd name="T108" fmla="*/ 347 w 745"/>
                <a:gd name="T109" fmla="*/ 321 h 626"/>
                <a:gd name="T110" fmla="*/ 387 w 745"/>
                <a:gd name="T111" fmla="*/ 308 h 626"/>
                <a:gd name="T112" fmla="*/ 419 w 745"/>
                <a:gd name="T113" fmla="*/ 274 h 626"/>
                <a:gd name="T114" fmla="*/ 482 w 745"/>
                <a:gd name="T115" fmla="*/ 268 h 626"/>
                <a:gd name="T116" fmla="*/ 522 w 745"/>
                <a:gd name="T117" fmla="*/ 224 h 626"/>
                <a:gd name="T118" fmla="*/ 579 w 745"/>
                <a:gd name="T119" fmla="*/ 164 h 626"/>
                <a:gd name="T120" fmla="*/ 619 w 745"/>
                <a:gd name="T121" fmla="*/ 129 h 626"/>
                <a:gd name="T122" fmla="*/ 697 w 745"/>
                <a:gd name="T123" fmla="*/ 65 h 626"/>
                <a:gd name="T124" fmla="*/ 514 w 745"/>
                <a:gd name="T125" fmla="*/ 23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5" h="626">
                  <a:moveTo>
                    <a:pt x="743" y="6"/>
                  </a:moveTo>
                  <a:lnTo>
                    <a:pt x="743" y="6"/>
                  </a:lnTo>
                  <a:lnTo>
                    <a:pt x="743" y="6"/>
                  </a:lnTo>
                  <a:lnTo>
                    <a:pt x="743" y="8"/>
                  </a:lnTo>
                  <a:lnTo>
                    <a:pt x="741" y="9"/>
                  </a:lnTo>
                  <a:lnTo>
                    <a:pt x="739" y="8"/>
                  </a:lnTo>
                  <a:lnTo>
                    <a:pt x="739" y="8"/>
                  </a:lnTo>
                  <a:lnTo>
                    <a:pt x="739" y="6"/>
                  </a:lnTo>
                  <a:lnTo>
                    <a:pt x="739" y="6"/>
                  </a:lnTo>
                  <a:lnTo>
                    <a:pt x="739" y="4"/>
                  </a:lnTo>
                  <a:lnTo>
                    <a:pt x="739" y="2"/>
                  </a:lnTo>
                  <a:lnTo>
                    <a:pt x="741" y="2"/>
                  </a:lnTo>
                  <a:lnTo>
                    <a:pt x="741" y="2"/>
                  </a:lnTo>
                  <a:lnTo>
                    <a:pt x="743" y="4"/>
                  </a:lnTo>
                  <a:lnTo>
                    <a:pt x="743" y="6"/>
                  </a:lnTo>
                  <a:lnTo>
                    <a:pt x="745" y="6"/>
                  </a:lnTo>
                  <a:lnTo>
                    <a:pt x="743" y="2"/>
                  </a:lnTo>
                  <a:lnTo>
                    <a:pt x="743" y="2"/>
                  </a:lnTo>
                  <a:lnTo>
                    <a:pt x="743" y="2"/>
                  </a:lnTo>
                  <a:lnTo>
                    <a:pt x="741" y="0"/>
                  </a:lnTo>
                  <a:lnTo>
                    <a:pt x="741" y="0"/>
                  </a:lnTo>
                  <a:lnTo>
                    <a:pt x="737" y="0"/>
                  </a:lnTo>
                  <a:lnTo>
                    <a:pt x="737" y="0"/>
                  </a:lnTo>
                  <a:lnTo>
                    <a:pt x="735" y="0"/>
                  </a:lnTo>
                  <a:lnTo>
                    <a:pt x="735" y="2"/>
                  </a:lnTo>
                  <a:lnTo>
                    <a:pt x="735" y="2"/>
                  </a:lnTo>
                  <a:lnTo>
                    <a:pt x="735" y="2"/>
                  </a:lnTo>
                  <a:lnTo>
                    <a:pt x="735" y="4"/>
                  </a:lnTo>
                  <a:lnTo>
                    <a:pt x="735" y="4"/>
                  </a:lnTo>
                  <a:lnTo>
                    <a:pt x="735" y="6"/>
                  </a:lnTo>
                  <a:lnTo>
                    <a:pt x="735" y="6"/>
                  </a:lnTo>
                  <a:lnTo>
                    <a:pt x="733" y="8"/>
                  </a:lnTo>
                  <a:lnTo>
                    <a:pt x="733" y="8"/>
                  </a:lnTo>
                  <a:lnTo>
                    <a:pt x="733" y="8"/>
                  </a:lnTo>
                  <a:lnTo>
                    <a:pt x="731" y="8"/>
                  </a:lnTo>
                  <a:lnTo>
                    <a:pt x="731" y="6"/>
                  </a:lnTo>
                  <a:lnTo>
                    <a:pt x="724" y="9"/>
                  </a:lnTo>
                  <a:lnTo>
                    <a:pt x="724" y="11"/>
                  </a:lnTo>
                  <a:lnTo>
                    <a:pt x="720" y="13"/>
                  </a:lnTo>
                  <a:lnTo>
                    <a:pt x="720" y="13"/>
                  </a:lnTo>
                  <a:lnTo>
                    <a:pt x="718" y="13"/>
                  </a:lnTo>
                  <a:lnTo>
                    <a:pt x="718" y="13"/>
                  </a:lnTo>
                  <a:lnTo>
                    <a:pt x="716" y="13"/>
                  </a:lnTo>
                  <a:lnTo>
                    <a:pt x="716" y="13"/>
                  </a:lnTo>
                  <a:lnTo>
                    <a:pt x="716" y="13"/>
                  </a:lnTo>
                  <a:lnTo>
                    <a:pt x="716" y="15"/>
                  </a:lnTo>
                  <a:lnTo>
                    <a:pt x="716" y="15"/>
                  </a:lnTo>
                  <a:lnTo>
                    <a:pt x="716" y="17"/>
                  </a:lnTo>
                  <a:lnTo>
                    <a:pt x="716" y="17"/>
                  </a:lnTo>
                  <a:lnTo>
                    <a:pt x="714" y="17"/>
                  </a:lnTo>
                  <a:lnTo>
                    <a:pt x="714" y="19"/>
                  </a:lnTo>
                  <a:lnTo>
                    <a:pt x="714" y="19"/>
                  </a:lnTo>
                  <a:lnTo>
                    <a:pt x="714" y="19"/>
                  </a:lnTo>
                  <a:lnTo>
                    <a:pt x="714" y="19"/>
                  </a:lnTo>
                  <a:lnTo>
                    <a:pt x="716" y="21"/>
                  </a:lnTo>
                  <a:lnTo>
                    <a:pt x="716" y="21"/>
                  </a:lnTo>
                  <a:lnTo>
                    <a:pt x="714" y="21"/>
                  </a:lnTo>
                  <a:lnTo>
                    <a:pt x="712" y="25"/>
                  </a:lnTo>
                  <a:lnTo>
                    <a:pt x="710" y="27"/>
                  </a:lnTo>
                  <a:lnTo>
                    <a:pt x="710" y="27"/>
                  </a:lnTo>
                  <a:lnTo>
                    <a:pt x="709" y="27"/>
                  </a:lnTo>
                  <a:lnTo>
                    <a:pt x="709" y="27"/>
                  </a:lnTo>
                  <a:lnTo>
                    <a:pt x="709" y="27"/>
                  </a:lnTo>
                  <a:lnTo>
                    <a:pt x="707" y="28"/>
                  </a:lnTo>
                  <a:lnTo>
                    <a:pt x="707" y="30"/>
                  </a:lnTo>
                  <a:lnTo>
                    <a:pt x="705" y="32"/>
                  </a:lnTo>
                  <a:lnTo>
                    <a:pt x="703" y="34"/>
                  </a:lnTo>
                  <a:lnTo>
                    <a:pt x="701" y="34"/>
                  </a:lnTo>
                  <a:lnTo>
                    <a:pt x="695" y="36"/>
                  </a:lnTo>
                  <a:lnTo>
                    <a:pt x="690" y="36"/>
                  </a:lnTo>
                  <a:lnTo>
                    <a:pt x="688" y="38"/>
                  </a:lnTo>
                  <a:lnTo>
                    <a:pt x="686" y="36"/>
                  </a:lnTo>
                  <a:lnTo>
                    <a:pt x="686" y="36"/>
                  </a:lnTo>
                  <a:lnTo>
                    <a:pt x="684" y="36"/>
                  </a:lnTo>
                  <a:lnTo>
                    <a:pt x="682" y="36"/>
                  </a:lnTo>
                  <a:lnTo>
                    <a:pt x="680" y="36"/>
                  </a:lnTo>
                  <a:lnTo>
                    <a:pt x="680" y="34"/>
                  </a:lnTo>
                  <a:lnTo>
                    <a:pt x="678" y="34"/>
                  </a:lnTo>
                  <a:lnTo>
                    <a:pt x="678" y="34"/>
                  </a:lnTo>
                  <a:lnTo>
                    <a:pt x="672" y="34"/>
                  </a:lnTo>
                  <a:lnTo>
                    <a:pt x="667" y="34"/>
                  </a:lnTo>
                  <a:lnTo>
                    <a:pt x="663" y="36"/>
                  </a:lnTo>
                  <a:lnTo>
                    <a:pt x="663" y="34"/>
                  </a:lnTo>
                  <a:lnTo>
                    <a:pt x="663" y="34"/>
                  </a:lnTo>
                  <a:lnTo>
                    <a:pt x="661" y="34"/>
                  </a:lnTo>
                  <a:lnTo>
                    <a:pt x="661" y="34"/>
                  </a:lnTo>
                  <a:lnTo>
                    <a:pt x="661" y="34"/>
                  </a:lnTo>
                  <a:lnTo>
                    <a:pt x="661" y="32"/>
                  </a:lnTo>
                  <a:lnTo>
                    <a:pt x="659" y="32"/>
                  </a:lnTo>
                  <a:lnTo>
                    <a:pt x="659" y="30"/>
                  </a:lnTo>
                  <a:lnTo>
                    <a:pt x="659" y="30"/>
                  </a:lnTo>
                  <a:lnTo>
                    <a:pt x="659" y="30"/>
                  </a:lnTo>
                  <a:lnTo>
                    <a:pt x="659" y="28"/>
                  </a:lnTo>
                  <a:lnTo>
                    <a:pt x="657" y="27"/>
                  </a:lnTo>
                  <a:lnTo>
                    <a:pt x="657" y="25"/>
                  </a:lnTo>
                  <a:lnTo>
                    <a:pt x="655" y="25"/>
                  </a:lnTo>
                  <a:lnTo>
                    <a:pt x="655" y="21"/>
                  </a:lnTo>
                  <a:lnTo>
                    <a:pt x="653" y="17"/>
                  </a:lnTo>
                  <a:lnTo>
                    <a:pt x="651" y="15"/>
                  </a:lnTo>
                  <a:lnTo>
                    <a:pt x="651" y="15"/>
                  </a:lnTo>
                  <a:lnTo>
                    <a:pt x="650" y="15"/>
                  </a:lnTo>
                  <a:lnTo>
                    <a:pt x="650" y="15"/>
                  </a:lnTo>
                  <a:lnTo>
                    <a:pt x="650" y="17"/>
                  </a:lnTo>
                  <a:lnTo>
                    <a:pt x="650" y="17"/>
                  </a:lnTo>
                  <a:lnTo>
                    <a:pt x="650" y="17"/>
                  </a:lnTo>
                  <a:lnTo>
                    <a:pt x="650" y="17"/>
                  </a:lnTo>
                  <a:lnTo>
                    <a:pt x="650" y="19"/>
                  </a:lnTo>
                  <a:lnTo>
                    <a:pt x="650" y="19"/>
                  </a:lnTo>
                  <a:lnTo>
                    <a:pt x="650" y="19"/>
                  </a:lnTo>
                  <a:lnTo>
                    <a:pt x="650" y="21"/>
                  </a:lnTo>
                  <a:lnTo>
                    <a:pt x="650" y="21"/>
                  </a:lnTo>
                  <a:lnTo>
                    <a:pt x="650" y="23"/>
                  </a:lnTo>
                  <a:lnTo>
                    <a:pt x="648" y="23"/>
                  </a:lnTo>
                  <a:lnTo>
                    <a:pt x="648" y="23"/>
                  </a:lnTo>
                  <a:lnTo>
                    <a:pt x="648" y="23"/>
                  </a:lnTo>
                  <a:lnTo>
                    <a:pt x="648" y="21"/>
                  </a:lnTo>
                  <a:lnTo>
                    <a:pt x="646" y="15"/>
                  </a:lnTo>
                  <a:lnTo>
                    <a:pt x="644" y="15"/>
                  </a:lnTo>
                  <a:lnTo>
                    <a:pt x="644" y="13"/>
                  </a:lnTo>
                  <a:lnTo>
                    <a:pt x="640" y="9"/>
                  </a:lnTo>
                  <a:lnTo>
                    <a:pt x="638" y="8"/>
                  </a:lnTo>
                  <a:lnTo>
                    <a:pt x="638" y="6"/>
                  </a:lnTo>
                  <a:lnTo>
                    <a:pt x="636" y="4"/>
                  </a:lnTo>
                  <a:lnTo>
                    <a:pt x="636" y="4"/>
                  </a:lnTo>
                  <a:lnTo>
                    <a:pt x="634" y="4"/>
                  </a:lnTo>
                  <a:lnTo>
                    <a:pt x="634" y="6"/>
                  </a:lnTo>
                  <a:lnTo>
                    <a:pt x="634" y="6"/>
                  </a:lnTo>
                  <a:lnTo>
                    <a:pt x="634" y="8"/>
                  </a:lnTo>
                  <a:lnTo>
                    <a:pt x="634" y="8"/>
                  </a:lnTo>
                  <a:lnTo>
                    <a:pt x="632" y="9"/>
                  </a:lnTo>
                  <a:lnTo>
                    <a:pt x="630" y="9"/>
                  </a:lnTo>
                  <a:lnTo>
                    <a:pt x="630" y="11"/>
                  </a:lnTo>
                  <a:lnTo>
                    <a:pt x="630" y="11"/>
                  </a:lnTo>
                  <a:lnTo>
                    <a:pt x="629" y="13"/>
                  </a:lnTo>
                  <a:lnTo>
                    <a:pt x="629" y="15"/>
                  </a:lnTo>
                  <a:lnTo>
                    <a:pt x="629" y="15"/>
                  </a:lnTo>
                  <a:lnTo>
                    <a:pt x="627" y="15"/>
                  </a:lnTo>
                  <a:lnTo>
                    <a:pt x="627" y="15"/>
                  </a:lnTo>
                  <a:lnTo>
                    <a:pt x="627" y="15"/>
                  </a:lnTo>
                  <a:lnTo>
                    <a:pt x="625" y="13"/>
                  </a:lnTo>
                  <a:lnTo>
                    <a:pt x="625" y="11"/>
                  </a:lnTo>
                  <a:lnTo>
                    <a:pt x="625" y="9"/>
                  </a:lnTo>
                  <a:lnTo>
                    <a:pt x="623" y="9"/>
                  </a:lnTo>
                  <a:lnTo>
                    <a:pt x="623" y="9"/>
                  </a:lnTo>
                  <a:lnTo>
                    <a:pt x="623" y="9"/>
                  </a:lnTo>
                  <a:lnTo>
                    <a:pt x="623" y="9"/>
                  </a:lnTo>
                  <a:lnTo>
                    <a:pt x="623" y="13"/>
                  </a:lnTo>
                  <a:lnTo>
                    <a:pt x="623" y="15"/>
                  </a:lnTo>
                  <a:lnTo>
                    <a:pt x="623" y="15"/>
                  </a:lnTo>
                  <a:lnTo>
                    <a:pt x="621" y="15"/>
                  </a:lnTo>
                  <a:lnTo>
                    <a:pt x="621" y="15"/>
                  </a:lnTo>
                  <a:lnTo>
                    <a:pt x="621" y="17"/>
                  </a:lnTo>
                  <a:lnTo>
                    <a:pt x="621" y="17"/>
                  </a:lnTo>
                  <a:lnTo>
                    <a:pt x="621" y="17"/>
                  </a:lnTo>
                  <a:lnTo>
                    <a:pt x="621" y="17"/>
                  </a:lnTo>
                  <a:lnTo>
                    <a:pt x="621" y="19"/>
                  </a:lnTo>
                  <a:lnTo>
                    <a:pt x="621" y="19"/>
                  </a:lnTo>
                  <a:lnTo>
                    <a:pt x="621" y="21"/>
                  </a:lnTo>
                  <a:lnTo>
                    <a:pt x="619" y="19"/>
                  </a:lnTo>
                  <a:lnTo>
                    <a:pt x="617" y="19"/>
                  </a:lnTo>
                  <a:lnTo>
                    <a:pt x="615" y="17"/>
                  </a:lnTo>
                  <a:lnTo>
                    <a:pt x="613" y="17"/>
                  </a:lnTo>
                  <a:lnTo>
                    <a:pt x="613" y="17"/>
                  </a:lnTo>
                  <a:lnTo>
                    <a:pt x="613" y="17"/>
                  </a:lnTo>
                  <a:lnTo>
                    <a:pt x="611" y="15"/>
                  </a:lnTo>
                  <a:lnTo>
                    <a:pt x="609" y="15"/>
                  </a:lnTo>
                  <a:lnTo>
                    <a:pt x="609" y="15"/>
                  </a:lnTo>
                  <a:lnTo>
                    <a:pt x="609" y="17"/>
                  </a:lnTo>
                  <a:lnTo>
                    <a:pt x="608" y="17"/>
                  </a:lnTo>
                  <a:lnTo>
                    <a:pt x="608" y="17"/>
                  </a:lnTo>
                  <a:lnTo>
                    <a:pt x="608" y="19"/>
                  </a:lnTo>
                  <a:lnTo>
                    <a:pt x="608" y="19"/>
                  </a:lnTo>
                  <a:lnTo>
                    <a:pt x="608" y="19"/>
                  </a:lnTo>
                  <a:lnTo>
                    <a:pt x="609" y="21"/>
                  </a:lnTo>
                  <a:lnTo>
                    <a:pt x="609" y="21"/>
                  </a:lnTo>
                  <a:lnTo>
                    <a:pt x="609" y="23"/>
                  </a:lnTo>
                  <a:lnTo>
                    <a:pt x="609" y="23"/>
                  </a:lnTo>
                  <a:lnTo>
                    <a:pt x="611" y="25"/>
                  </a:lnTo>
                  <a:lnTo>
                    <a:pt x="611" y="27"/>
                  </a:lnTo>
                  <a:lnTo>
                    <a:pt x="613" y="27"/>
                  </a:lnTo>
                  <a:lnTo>
                    <a:pt x="613" y="27"/>
                  </a:lnTo>
                  <a:lnTo>
                    <a:pt x="613" y="27"/>
                  </a:lnTo>
                  <a:lnTo>
                    <a:pt x="613" y="27"/>
                  </a:lnTo>
                  <a:lnTo>
                    <a:pt x="615" y="27"/>
                  </a:lnTo>
                  <a:lnTo>
                    <a:pt x="615" y="28"/>
                  </a:lnTo>
                  <a:lnTo>
                    <a:pt x="615" y="28"/>
                  </a:lnTo>
                  <a:lnTo>
                    <a:pt x="615" y="28"/>
                  </a:lnTo>
                  <a:lnTo>
                    <a:pt x="615" y="28"/>
                  </a:lnTo>
                  <a:lnTo>
                    <a:pt x="617" y="28"/>
                  </a:lnTo>
                  <a:lnTo>
                    <a:pt x="617" y="30"/>
                  </a:lnTo>
                  <a:lnTo>
                    <a:pt x="615" y="30"/>
                  </a:lnTo>
                  <a:lnTo>
                    <a:pt x="615" y="32"/>
                  </a:lnTo>
                  <a:lnTo>
                    <a:pt x="613" y="32"/>
                  </a:lnTo>
                  <a:lnTo>
                    <a:pt x="611" y="32"/>
                  </a:lnTo>
                  <a:lnTo>
                    <a:pt x="609" y="34"/>
                  </a:lnTo>
                  <a:lnTo>
                    <a:pt x="608" y="36"/>
                  </a:lnTo>
                  <a:lnTo>
                    <a:pt x="606" y="38"/>
                  </a:lnTo>
                  <a:lnTo>
                    <a:pt x="604" y="40"/>
                  </a:lnTo>
                  <a:lnTo>
                    <a:pt x="598" y="42"/>
                  </a:lnTo>
                  <a:lnTo>
                    <a:pt x="598" y="42"/>
                  </a:lnTo>
                  <a:lnTo>
                    <a:pt x="596" y="40"/>
                  </a:lnTo>
                  <a:lnTo>
                    <a:pt x="596" y="40"/>
                  </a:lnTo>
                  <a:lnTo>
                    <a:pt x="594" y="40"/>
                  </a:lnTo>
                  <a:lnTo>
                    <a:pt x="594" y="40"/>
                  </a:lnTo>
                  <a:lnTo>
                    <a:pt x="592" y="40"/>
                  </a:lnTo>
                  <a:lnTo>
                    <a:pt x="592" y="40"/>
                  </a:lnTo>
                  <a:lnTo>
                    <a:pt x="590" y="42"/>
                  </a:lnTo>
                  <a:lnTo>
                    <a:pt x="589" y="44"/>
                  </a:lnTo>
                  <a:lnTo>
                    <a:pt x="587" y="46"/>
                  </a:lnTo>
                  <a:lnTo>
                    <a:pt x="587" y="48"/>
                  </a:lnTo>
                  <a:lnTo>
                    <a:pt x="585" y="49"/>
                  </a:lnTo>
                  <a:lnTo>
                    <a:pt x="583" y="51"/>
                  </a:lnTo>
                  <a:lnTo>
                    <a:pt x="583" y="51"/>
                  </a:lnTo>
                  <a:lnTo>
                    <a:pt x="583" y="53"/>
                  </a:lnTo>
                  <a:lnTo>
                    <a:pt x="583" y="53"/>
                  </a:lnTo>
                  <a:lnTo>
                    <a:pt x="583" y="53"/>
                  </a:lnTo>
                  <a:lnTo>
                    <a:pt x="581" y="55"/>
                  </a:lnTo>
                  <a:lnTo>
                    <a:pt x="581" y="55"/>
                  </a:lnTo>
                  <a:lnTo>
                    <a:pt x="581" y="57"/>
                  </a:lnTo>
                  <a:lnTo>
                    <a:pt x="583" y="59"/>
                  </a:lnTo>
                  <a:lnTo>
                    <a:pt x="585" y="61"/>
                  </a:lnTo>
                  <a:lnTo>
                    <a:pt x="585" y="61"/>
                  </a:lnTo>
                  <a:lnTo>
                    <a:pt x="585" y="61"/>
                  </a:lnTo>
                  <a:lnTo>
                    <a:pt x="587" y="61"/>
                  </a:lnTo>
                  <a:lnTo>
                    <a:pt x="587" y="61"/>
                  </a:lnTo>
                  <a:lnTo>
                    <a:pt x="587" y="61"/>
                  </a:lnTo>
                  <a:lnTo>
                    <a:pt x="587" y="61"/>
                  </a:lnTo>
                  <a:lnTo>
                    <a:pt x="587" y="63"/>
                  </a:lnTo>
                  <a:lnTo>
                    <a:pt x="583" y="68"/>
                  </a:lnTo>
                  <a:lnTo>
                    <a:pt x="583" y="68"/>
                  </a:lnTo>
                  <a:lnTo>
                    <a:pt x="583" y="70"/>
                  </a:lnTo>
                  <a:lnTo>
                    <a:pt x="583" y="70"/>
                  </a:lnTo>
                  <a:lnTo>
                    <a:pt x="583" y="70"/>
                  </a:lnTo>
                  <a:lnTo>
                    <a:pt x="583" y="72"/>
                  </a:lnTo>
                  <a:lnTo>
                    <a:pt x="585" y="72"/>
                  </a:lnTo>
                  <a:lnTo>
                    <a:pt x="583" y="76"/>
                  </a:lnTo>
                  <a:lnTo>
                    <a:pt x="583" y="76"/>
                  </a:lnTo>
                  <a:lnTo>
                    <a:pt x="581" y="76"/>
                  </a:lnTo>
                  <a:lnTo>
                    <a:pt x="581" y="76"/>
                  </a:lnTo>
                  <a:lnTo>
                    <a:pt x="579" y="76"/>
                  </a:lnTo>
                  <a:lnTo>
                    <a:pt x="579" y="78"/>
                  </a:lnTo>
                  <a:lnTo>
                    <a:pt x="575" y="78"/>
                  </a:lnTo>
                  <a:lnTo>
                    <a:pt x="575" y="78"/>
                  </a:lnTo>
                  <a:lnTo>
                    <a:pt x="571" y="80"/>
                  </a:lnTo>
                  <a:lnTo>
                    <a:pt x="569" y="78"/>
                  </a:lnTo>
                  <a:lnTo>
                    <a:pt x="569" y="78"/>
                  </a:lnTo>
                  <a:lnTo>
                    <a:pt x="569" y="78"/>
                  </a:lnTo>
                  <a:lnTo>
                    <a:pt x="569" y="76"/>
                  </a:lnTo>
                  <a:lnTo>
                    <a:pt x="569" y="74"/>
                  </a:lnTo>
                  <a:lnTo>
                    <a:pt x="569" y="74"/>
                  </a:lnTo>
                  <a:lnTo>
                    <a:pt x="569" y="74"/>
                  </a:lnTo>
                  <a:lnTo>
                    <a:pt x="568" y="74"/>
                  </a:lnTo>
                  <a:lnTo>
                    <a:pt x="566" y="74"/>
                  </a:lnTo>
                  <a:lnTo>
                    <a:pt x="566" y="72"/>
                  </a:lnTo>
                  <a:lnTo>
                    <a:pt x="564" y="72"/>
                  </a:lnTo>
                  <a:lnTo>
                    <a:pt x="564" y="72"/>
                  </a:lnTo>
                  <a:lnTo>
                    <a:pt x="562" y="72"/>
                  </a:lnTo>
                  <a:lnTo>
                    <a:pt x="560" y="72"/>
                  </a:lnTo>
                  <a:lnTo>
                    <a:pt x="560" y="72"/>
                  </a:lnTo>
                  <a:lnTo>
                    <a:pt x="560" y="74"/>
                  </a:lnTo>
                  <a:lnTo>
                    <a:pt x="560" y="76"/>
                  </a:lnTo>
                  <a:lnTo>
                    <a:pt x="560" y="78"/>
                  </a:lnTo>
                  <a:lnTo>
                    <a:pt x="560" y="78"/>
                  </a:lnTo>
                  <a:lnTo>
                    <a:pt x="558" y="80"/>
                  </a:lnTo>
                  <a:lnTo>
                    <a:pt x="558" y="80"/>
                  </a:lnTo>
                  <a:lnTo>
                    <a:pt x="554" y="82"/>
                  </a:lnTo>
                  <a:lnTo>
                    <a:pt x="552" y="84"/>
                  </a:lnTo>
                  <a:lnTo>
                    <a:pt x="550" y="86"/>
                  </a:lnTo>
                  <a:lnTo>
                    <a:pt x="549" y="86"/>
                  </a:lnTo>
                  <a:lnTo>
                    <a:pt x="549" y="86"/>
                  </a:lnTo>
                  <a:lnTo>
                    <a:pt x="549" y="87"/>
                  </a:lnTo>
                  <a:lnTo>
                    <a:pt x="549" y="89"/>
                  </a:lnTo>
                  <a:lnTo>
                    <a:pt x="549" y="89"/>
                  </a:lnTo>
                  <a:lnTo>
                    <a:pt x="547" y="91"/>
                  </a:lnTo>
                  <a:lnTo>
                    <a:pt x="547" y="91"/>
                  </a:lnTo>
                  <a:lnTo>
                    <a:pt x="545" y="91"/>
                  </a:lnTo>
                  <a:lnTo>
                    <a:pt x="545" y="91"/>
                  </a:lnTo>
                  <a:lnTo>
                    <a:pt x="543" y="91"/>
                  </a:lnTo>
                  <a:lnTo>
                    <a:pt x="543" y="89"/>
                  </a:lnTo>
                  <a:lnTo>
                    <a:pt x="541" y="89"/>
                  </a:lnTo>
                  <a:lnTo>
                    <a:pt x="541" y="89"/>
                  </a:lnTo>
                  <a:lnTo>
                    <a:pt x="541" y="87"/>
                  </a:lnTo>
                  <a:lnTo>
                    <a:pt x="541" y="87"/>
                  </a:lnTo>
                  <a:lnTo>
                    <a:pt x="541" y="86"/>
                  </a:lnTo>
                  <a:lnTo>
                    <a:pt x="543" y="84"/>
                  </a:lnTo>
                  <a:lnTo>
                    <a:pt x="543" y="82"/>
                  </a:lnTo>
                  <a:lnTo>
                    <a:pt x="543" y="82"/>
                  </a:lnTo>
                  <a:lnTo>
                    <a:pt x="543" y="82"/>
                  </a:lnTo>
                  <a:lnTo>
                    <a:pt x="543" y="80"/>
                  </a:lnTo>
                  <a:lnTo>
                    <a:pt x="541" y="80"/>
                  </a:lnTo>
                  <a:lnTo>
                    <a:pt x="541" y="80"/>
                  </a:lnTo>
                  <a:lnTo>
                    <a:pt x="537" y="74"/>
                  </a:lnTo>
                  <a:lnTo>
                    <a:pt x="535" y="74"/>
                  </a:lnTo>
                  <a:lnTo>
                    <a:pt x="535" y="72"/>
                  </a:lnTo>
                  <a:lnTo>
                    <a:pt x="535" y="72"/>
                  </a:lnTo>
                  <a:lnTo>
                    <a:pt x="535" y="70"/>
                  </a:lnTo>
                  <a:lnTo>
                    <a:pt x="535" y="68"/>
                  </a:lnTo>
                  <a:lnTo>
                    <a:pt x="535" y="68"/>
                  </a:lnTo>
                  <a:lnTo>
                    <a:pt x="535" y="67"/>
                  </a:lnTo>
                  <a:lnTo>
                    <a:pt x="535" y="67"/>
                  </a:lnTo>
                  <a:lnTo>
                    <a:pt x="535" y="67"/>
                  </a:lnTo>
                  <a:lnTo>
                    <a:pt x="535" y="65"/>
                  </a:lnTo>
                  <a:lnTo>
                    <a:pt x="535" y="65"/>
                  </a:lnTo>
                  <a:lnTo>
                    <a:pt x="533" y="65"/>
                  </a:lnTo>
                  <a:lnTo>
                    <a:pt x="533" y="65"/>
                  </a:lnTo>
                  <a:lnTo>
                    <a:pt x="533" y="65"/>
                  </a:lnTo>
                  <a:lnTo>
                    <a:pt x="531" y="65"/>
                  </a:lnTo>
                  <a:lnTo>
                    <a:pt x="531" y="63"/>
                  </a:lnTo>
                  <a:lnTo>
                    <a:pt x="529" y="63"/>
                  </a:lnTo>
                  <a:lnTo>
                    <a:pt x="528" y="63"/>
                  </a:lnTo>
                  <a:lnTo>
                    <a:pt x="528" y="65"/>
                  </a:lnTo>
                  <a:lnTo>
                    <a:pt x="526" y="67"/>
                  </a:lnTo>
                  <a:lnTo>
                    <a:pt x="526" y="68"/>
                  </a:lnTo>
                  <a:lnTo>
                    <a:pt x="522" y="72"/>
                  </a:lnTo>
                  <a:lnTo>
                    <a:pt x="522" y="72"/>
                  </a:lnTo>
                  <a:lnTo>
                    <a:pt x="522" y="74"/>
                  </a:lnTo>
                  <a:lnTo>
                    <a:pt x="522" y="74"/>
                  </a:lnTo>
                  <a:lnTo>
                    <a:pt x="522" y="76"/>
                  </a:lnTo>
                  <a:lnTo>
                    <a:pt x="522" y="78"/>
                  </a:lnTo>
                  <a:lnTo>
                    <a:pt x="520" y="82"/>
                  </a:lnTo>
                  <a:lnTo>
                    <a:pt x="520" y="82"/>
                  </a:lnTo>
                  <a:lnTo>
                    <a:pt x="520" y="82"/>
                  </a:lnTo>
                  <a:lnTo>
                    <a:pt x="520" y="84"/>
                  </a:lnTo>
                  <a:lnTo>
                    <a:pt x="520" y="86"/>
                  </a:lnTo>
                  <a:lnTo>
                    <a:pt x="520" y="86"/>
                  </a:lnTo>
                  <a:lnTo>
                    <a:pt x="520" y="87"/>
                  </a:lnTo>
                  <a:lnTo>
                    <a:pt x="516" y="93"/>
                  </a:lnTo>
                  <a:lnTo>
                    <a:pt x="516" y="93"/>
                  </a:lnTo>
                  <a:lnTo>
                    <a:pt x="516" y="95"/>
                  </a:lnTo>
                  <a:lnTo>
                    <a:pt x="516" y="95"/>
                  </a:lnTo>
                  <a:lnTo>
                    <a:pt x="518" y="97"/>
                  </a:lnTo>
                  <a:lnTo>
                    <a:pt x="520" y="99"/>
                  </a:lnTo>
                  <a:lnTo>
                    <a:pt x="520" y="99"/>
                  </a:lnTo>
                  <a:lnTo>
                    <a:pt x="520" y="101"/>
                  </a:lnTo>
                  <a:lnTo>
                    <a:pt x="520" y="101"/>
                  </a:lnTo>
                  <a:lnTo>
                    <a:pt x="520" y="101"/>
                  </a:lnTo>
                  <a:lnTo>
                    <a:pt x="518" y="103"/>
                  </a:lnTo>
                  <a:lnTo>
                    <a:pt x="518" y="103"/>
                  </a:lnTo>
                  <a:lnTo>
                    <a:pt x="518" y="105"/>
                  </a:lnTo>
                  <a:lnTo>
                    <a:pt x="518" y="106"/>
                  </a:lnTo>
                  <a:lnTo>
                    <a:pt x="518" y="106"/>
                  </a:lnTo>
                  <a:lnTo>
                    <a:pt x="518" y="108"/>
                  </a:lnTo>
                  <a:lnTo>
                    <a:pt x="518" y="108"/>
                  </a:lnTo>
                  <a:lnTo>
                    <a:pt x="516" y="110"/>
                  </a:lnTo>
                  <a:lnTo>
                    <a:pt x="514" y="108"/>
                  </a:lnTo>
                  <a:lnTo>
                    <a:pt x="512" y="110"/>
                  </a:lnTo>
                  <a:lnTo>
                    <a:pt x="512" y="110"/>
                  </a:lnTo>
                  <a:lnTo>
                    <a:pt x="512" y="112"/>
                  </a:lnTo>
                  <a:lnTo>
                    <a:pt x="510" y="112"/>
                  </a:lnTo>
                  <a:lnTo>
                    <a:pt x="510" y="114"/>
                  </a:lnTo>
                  <a:lnTo>
                    <a:pt x="510" y="114"/>
                  </a:lnTo>
                  <a:lnTo>
                    <a:pt x="508" y="114"/>
                  </a:lnTo>
                  <a:lnTo>
                    <a:pt x="508" y="114"/>
                  </a:lnTo>
                  <a:lnTo>
                    <a:pt x="507" y="114"/>
                  </a:lnTo>
                  <a:lnTo>
                    <a:pt x="507" y="114"/>
                  </a:lnTo>
                  <a:lnTo>
                    <a:pt x="505" y="114"/>
                  </a:lnTo>
                  <a:lnTo>
                    <a:pt x="505" y="114"/>
                  </a:lnTo>
                  <a:lnTo>
                    <a:pt x="505" y="114"/>
                  </a:lnTo>
                  <a:lnTo>
                    <a:pt x="503" y="112"/>
                  </a:lnTo>
                  <a:lnTo>
                    <a:pt x="501" y="110"/>
                  </a:lnTo>
                  <a:lnTo>
                    <a:pt x="499" y="110"/>
                  </a:lnTo>
                  <a:lnTo>
                    <a:pt x="495" y="108"/>
                  </a:lnTo>
                  <a:lnTo>
                    <a:pt x="491" y="108"/>
                  </a:lnTo>
                  <a:lnTo>
                    <a:pt x="488" y="112"/>
                  </a:lnTo>
                  <a:lnTo>
                    <a:pt x="484" y="114"/>
                  </a:lnTo>
                  <a:lnTo>
                    <a:pt x="480" y="114"/>
                  </a:lnTo>
                  <a:lnTo>
                    <a:pt x="472" y="120"/>
                  </a:lnTo>
                  <a:lnTo>
                    <a:pt x="465" y="122"/>
                  </a:lnTo>
                  <a:lnTo>
                    <a:pt x="465" y="122"/>
                  </a:lnTo>
                  <a:lnTo>
                    <a:pt x="467" y="124"/>
                  </a:lnTo>
                  <a:lnTo>
                    <a:pt x="467" y="125"/>
                  </a:lnTo>
                  <a:lnTo>
                    <a:pt x="467" y="125"/>
                  </a:lnTo>
                  <a:lnTo>
                    <a:pt x="468" y="127"/>
                  </a:lnTo>
                  <a:lnTo>
                    <a:pt x="468" y="127"/>
                  </a:lnTo>
                  <a:lnTo>
                    <a:pt x="468" y="129"/>
                  </a:lnTo>
                  <a:lnTo>
                    <a:pt x="468" y="129"/>
                  </a:lnTo>
                  <a:lnTo>
                    <a:pt x="467" y="129"/>
                  </a:lnTo>
                  <a:lnTo>
                    <a:pt x="467" y="129"/>
                  </a:lnTo>
                  <a:lnTo>
                    <a:pt x="465" y="131"/>
                  </a:lnTo>
                  <a:lnTo>
                    <a:pt x="463" y="131"/>
                  </a:lnTo>
                  <a:lnTo>
                    <a:pt x="463" y="131"/>
                  </a:lnTo>
                  <a:lnTo>
                    <a:pt x="463" y="131"/>
                  </a:lnTo>
                  <a:lnTo>
                    <a:pt x="461" y="133"/>
                  </a:lnTo>
                  <a:lnTo>
                    <a:pt x="461" y="133"/>
                  </a:lnTo>
                  <a:lnTo>
                    <a:pt x="459" y="135"/>
                  </a:lnTo>
                  <a:lnTo>
                    <a:pt x="459" y="135"/>
                  </a:lnTo>
                  <a:lnTo>
                    <a:pt x="459" y="135"/>
                  </a:lnTo>
                  <a:lnTo>
                    <a:pt x="457" y="137"/>
                  </a:lnTo>
                  <a:lnTo>
                    <a:pt x="455" y="137"/>
                  </a:lnTo>
                  <a:lnTo>
                    <a:pt x="455" y="137"/>
                  </a:lnTo>
                  <a:lnTo>
                    <a:pt x="453" y="137"/>
                  </a:lnTo>
                  <a:lnTo>
                    <a:pt x="451" y="137"/>
                  </a:lnTo>
                  <a:lnTo>
                    <a:pt x="451" y="139"/>
                  </a:lnTo>
                  <a:lnTo>
                    <a:pt x="451" y="139"/>
                  </a:lnTo>
                  <a:lnTo>
                    <a:pt x="449" y="139"/>
                  </a:lnTo>
                  <a:lnTo>
                    <a:pt x="448" y="141"/>
                  </a:lnTo>
                  <a:lnTo>
                    <a:pt x="448" y="141"/>
                  </a:lnTo>
                  <a:lnTo>
                    <a:pt x="448" y="141"/>
                  </a:lnTo>
                  <a:lnTo>
                    <a:pt x="448" y="143"/>
                  </a:lnTo>
                  <a:lnTo>
                    <a:pt x="448" y="145"/>
                  </a:lnTo>
                  <a:lnTo>
                    <a:pt x="448" y="145"/>
                  </a:lnTo>
                  <a:lnTo>
                    <a:pt x="448" y="145"/>
                  </a:lnTo>
                  <a:lnTo>
                    <a:pt x="446" y="146"/>
                  </a:lnTo>
                  <a:lnTo>
                    <a:pt x="446" y="146"/>
                  </a:lnTo>
                  <a:lnTo>
                    <a:pt x="446" y="148"/>
                  </a:lnTo>
                  <a:lnTo>
                    <a:pt x="444" y="148"/>
                  </a:lnTo>
                  <a:lnTo>
                    <a:pt x="444" y="150"/>
                  </a:lnTo>
                  <a:lnTo>
                    <a:pt x="442" y="152"/>
                  </a:lnTo>
                  <a:lnTo>
                    <a:pt x="442" y="152"/>
                  </a:lnTo>
                  <a:lnTo>
                    <a:pt x="442" y="152"/>
                  </a:lnTo>
                  <a:lnTo>
                    <a:pt x="442" y="152"/>
                  </a:lnTo>
                  <a:lnTo>
                    <a:pt x="442" y="154"/>
                  </a:lnTo>
                  <a:lnTo>
                    <a:pt x="442" y="154"/>
                  </a:lnTo>
                  <a:lnTo>
                    <a:pt x="444" y="154"/>
                  </a:lnTo>
                  <a:lnTo>
                    <a:pt x="444" y="154"/>
                  </a:lnTo>
                  <a:lnTo>
                    <a:pt x="444" y="156"/>
                  </a:lnTo>
                  <a:lnTo>
                    <a:pt x="444" y="156"/>
                  </a:lnTo>
                  <a:lnTo>
                    <a:pt x="442" y="156"/>
                  </a:lnTo>
                  <a:lnTo>
                    <a:pt x="442" y="158"/>
                  </a:lnTo>
                  <a:lnTo>
                    <a:pt x="442" y="158"/>
                  </a:lnTo>
                  <a:lnTo>
                    <a:pt x="442" y="158"/>
                  </a:lnTo>
                  <a:lnTo>
                    <a:pt x="442" y="162"/>
                  </a:lnTo>
                  <a:lnTo>
                    <a:pt x="442" y="162"/>
                  </a:lnTo>
                  <a:lnTo>
                    <a:pt x="442" y="164"/>
                  </a:lnTo>
                  <a:lnTo>
                    <a:pt x="440" y="164"/>
                  </a:lnTo>
                  <a:lnTo>
                    <a:pt x="440" y="165"/>
                  </a:lnTo>
                  <a:lnTo>
                    <a:pt x="442" y="165"/>
                  </a:lnTo>
                  <a:lnTo>
                    <a:pt x="442" y="165"/>
                  </a:lnTo>
                  <a:lnTo>
                    <a:pt x="440" y="167"/>
                  </a:lnTo>
                  <a:lnTo>
                    <a:pt x="440" y="169"/>
                  </a:lnTo>
                  <a:lnTo>
                    <a:pt x="438" y="169"/>
                  </a:lnTo>
                  <a:lnTo>
                    <a:pt x="438" y="171"/>
                  </a:lnTo>
                  <a:lnTo>
                    <a:pt x="436" y="171"/>
                  </a:lnTo>
                  <a:lnTo>
                    <a:pt x="436" y="173"/>
                  </a:lnTo>
                  <a:lnTo>
                    <a:pt x="436" y="173"/>
                  </a:lnTo>
                  <a:lnTo>
                    <a:pt x="436" y="173"/>
                  </a:lnTo>
                  <a:lnTo>
                    <a:pt x="434" y="175"/>
                  </a:lnTo>
                  <a:lnTo>
                    <a:pt x="434" y="175"/>
                  </a:lnTo>
                  <a:lnTo>
                    <a:pt x="434" y="175"/>
                  </a:lnTo>
                  <a:lnTo>
                    <a:pt x="432" y="175"/>
                  </a:lnTo>
                  <a:lnTo>
                    <a:pt x="430" y="175"/>
                  </a:lnTo>
                  <a:lnTo>
                    <a:pt x="430" y="175"/>
                  </a:lnTo>
                  <a:lnTo>
                    <a:pt x="430" y="175"/>
                  </a:lnTo>
                  <a:lnTo>
                    <a:pt x="428" y="175"/>
                  </a:lnTo>
                  <a:lnTo>
                    <a:pt x="427" y="175"/>
                  </a:lnTo>
                  <a:lnTo>
                    <a:pt x="427" y="173"/>
                  </a:lnTo>
                  <a:lnTo>
                    <a:pt x="427" y="173"/>
                  </a:lnTo>
                  <a:lnTo>
                    <a:pt x="427" y="173"/>
                  </a:lnTo>
                  <a:lnTo>
                    <a:pt x="427" y="173"/>
                  </a:lnTo>
                  <a:lnTo>
                    <a:pt x="425" y="173"/>
                  </a:lnTo>
                  <a:lnTo>
                    <a:pt x="425" y="173"/>
                  </a:lnTo>
                  <a:lnTo>
                    <a:pt x="425" y="173"/>
                  </a:lnTo>
                  <a:lnTo>
                    <a:pt x="423" y="175"/>
                  </a:lnTo>
                  <a:lnTo>
                    <a:pt x="423" y="177"/>
                  </a:lnTo>
                  <a:lnTo>
                    <a:pt x="423" y="177"/>
                  </a:lnTo>
                  <a:lnTo>
                    <a:pt x="421" y="179"/>
                  </a:lnTo>
                  <a:lnTo>
                    <a:pt x="419" y="179"/>
                  </a:lnTo>
                  <a:lnTo>
                    <a:pt x="419" y="179"/>
                  </a:lnTo>
                  <a:lnTo>
                    <a:pt x="419" y="179"/>
                  </a:lnTo>
                  <a:lnTo>
                    <a:pt x="417" y="179"/>
                  </a:lnTo>
                  <a:lnTo>
                    <a:pt x="415" y="179"/>
                  </a:lnTo>
                  <a:lnTo>
                    <a:pt x="413" y="179"/>
                  </a:lnTo>
                  <a:lnTo>
                    <a:pt x="411" y="179"/>
                  </a:lnTo>
                  <a:lnTo>
                    <a:pt x="411" y="181"/>
                  </a:lnTo>
                  <a:lnTo>
                    <a:pt x="411" y="181"/>
                  </a:lnTo>
                  <a:lnTo>
                    <a:pt x="411" y="181"/>
                  </a:lnTo>
                  <a:lnTo>
                    <a:pt x="411" y="184"/>
                  </a:lnTo>
                  <a:lnTo>
                    <a:pt x="411" y="184"/>
                  </a:lnTo>
                  <a:lnTo>
                    <a:pt x="411" y="186"/>
                  </a:lnTo>
                  <a:lnTo>
                    <a:pt x="411" y="186"/>
                  </a:lnTo>
                  <a:lnTo>
                    <a:pt x="409" y="188"/>
                  </a:lnTo>
                  <a:lnTo>
                    <a:pt x="409" y="188"/>
                  </a:lnTo>
                  <a:lnTo>
                    <a:pt x="406" y="188"/>
                  </a:lnTo>
                  <a:lnTo>
                    <a:pt x="404" y="190"/>
                  </a:lnTo>
                  <a:lnTo>
                    <a:pt x="402" y="190"/>
                  </a:lnTo>
                  <a:lnTo>
                    <a:pt x="400" y="190"/>
                  </a:lnTo>
                  <a:lnTo>
                    <a:pt x="400" y="190"/>
                  </a:lnTo>
                  <a:lnTo>
                    <a:pt x="400" y="190"/>
                  </a:lnTo>
                  <a:lnTo>
                    <a:pt x="398" y="190"/>
                  </a:lnTo>
                  <a:lnTo>
                    <a:pt x="398" y="190"/>
                  </a:lnTo>
                  <a:lnTo>
                    <a:pt x="398" y="192"/>
                  </a:lnTo>
                  <a:lnTo>
                    <a:pt x="398" y="192"/>
                  </a:lnTo>
                  <a:lnTo>
                    <a:pt x="396" y="192"/>
                  </a:lnTo>
                  <a:lnTo>
                    <a:pt x="394" y="192"/>
                  </a:lnTo>
                  <a:lnTo>
                    <a:pt x="394" y="192"/>
                  </a:lnTo>
                  <a:lnTo>
                    <a:pt x="394" y="192"/>
                  </a:lnTo>
                  <a:lnTo>
                    <a:pt x="392" y="192"/>
                  </a:lnTo>
                  <a:lnTo>
                    <a:pt x="390" y="192"/>
                  </a:lnTo>
                  <a:lnTo>
                    <a:pt x="390" y="192"/>
                  </a:lnTo>
                  <a:lnTo>
                    <a:pt x="390" y="190"/>
                  </a:lnTo>
                  <a:lnTo>
                    <a:pt x="388" y="190"/>
                  </a:lnTo>
                  <a:lnTo>
                    <a:pt x="388" y="190"/>
                  </a:lnTo>
                  <a:lnTo>
                    <a:pt x="387" y="190"/>
                  </a:lnTo>
                  <a:lnTo>
                    <a:pt x="387" y="190"/>
                  </a:lnTo>
                  <a:lnTo>
                    <a:pt x="387" y="192"/>
                  </a:lnTo>
                  <a:lnTo>
                    <a:pt x="387" y="192"/>
                  </a:lnTo>
                  <a:lnTo>
                    <a:pt x="387" y="192"/>
                  </a:lnTo>
                  <a:lnTo>
                    <a:pt x="387" y="194"/>
                  </a:lnTo>
                  <a:lnTo>
                    <a:pt x="387" y="194"/>
                  </a:lnTo>
                  <a:lnTo>
                    <a:pt x="387" y="194"/>
                  </a:lnTo>
                  <a:lnTo>
                    <a:pt x="387" y="196"/>
                  </a:lnTo>
                  <a:lnTo>
                    <a:pt x="387" y="196"/>
                  </a:lnTo>
                  <a:lnTo>
                    <a:pt x="387" y="196"/>
                  </a:lnTo>
                  <a:lnTo>
                    <a:pt x="387" y="196"/>
                  </a:lnTo>
                  <a:lnTo>
                    <a:pt x="385" y="196"/>
                  </a:lnTo>
                  <a:lnTo>
                    <a:pt x="385" y="196"/>
                  </a:lnTo>
                  <a:lnTo>
                    <a:pt x="385" y="196"/>
                  </a:lnTo>
                  <a:lnTo>
                    <a:pt x="383" y="196"/>
                  </a:lnTo>
                  <a:lnTo>
                    <a:pt x="383" y="198"/>
                  </a:lnTo>
                  <a:lnTo>
                    <a:pt x="383" y="198"/>
                  </a:lnTo>
                  <a:lnTo>
                    <a:pt x="381" y="200"/>
                  </a:lnTo>
                  <a:lnTo>
                    <a:pt x="383" y="202"/>
                  </a:lnTo>
                  <a:lnTo>
                    <a:pt x="383" y="202"/>
                  </a:lnTo>
                  <a:lnTo>
                    <a:pt x="383" y="202"/>
                  </a:lnTo>
                  <a:lnTo>
                    <a:pt x="383" y="203"/>
                  </a:lnTo>
                  <a:lnTo>
                    <a:pt x="383" y="205"/>
                  </a:lnTo>
                  <a:lnTo>
                    <a:pt x="381" y="205"/>
                  </a:lnTo>
                  <a:lnTo>
                    <a:pt x="381" y="205"/>
                  </a:lnTo>
                  <a:lnTo>
                    <a:pt x="381" y="207"/>
                  </a:lnTo>
                  <a:lnTo>
                    <a:pt x="379" y="207"/>
                  </a:lnTo>
                  <a:lnTo>
                    <a:pt x="379" y="207"/>
                  </a:lnTo>
                  <a:lnTo>
                    <a:pt x="379" y="207"/>
                  </a:lnTo>
                  <a:lnTo>
                    <a:pt x="377" y="205"/>
                  </a:lnTo>
                  <a:lnTo>
                    <a:pt x="375" y="205"/>
                  </a:lnTo>
                  <a:lnTo>
                    <a:pt x="375" y="205"/>
                  </a:lnTo>
                  <a:lnTo>
                    <a:pt x="375" y="205"/>
                  </a:lnTo>
                  <a:lnTo>
                    <a:pt x="373" y="205"/>
                  </a:lnTo>
                  <a:lnTo>
                    <a:pt x="371" y="205"/>
                  </a:lnTo>
                  <a:lnTo>
                    <a:pt x="369" y="203"/>
                  </a:lnTo>
                  <a:lnTo>
                    <a:pt x="369" y="203"/>
                  </a:lnTo>
                  <a:lnTo>
                    <a:pt x="367" y="203"/>
                  </a:lnTo>
                  <a:lnTo>
                    <a:pt x="366" y="203"/>
                  </a:lnTo>
                  <a:lnTo>
                    <a:pt x="366" y="203"/>
                  </a:lnTo>
                  <a:lnTo>
                    <a:pt x="366" y="203"/>
                  </a:lnTo>
                  <a:lnTo>
                    <a:pt x="364" y="203"/>
                  </a:lnTo>
                  <a:lnTo>
                    <a:pt x="364" y="205"/>
                  </a:lnTo>
                  <a:lnTo>
                    <a:pt x="364" y="205"/>
                  </a:lnTo>
                  <a:lnTo>
                    <a:pt x="362" y="205"/>
                  </a:lnTo>
                  <a:lnTo>
                    <a:pt x="362" y="203"/>
                  </a:lnTo>
                  <a:lnTo>
                    <a:pt x="362" y="203"/>
                  </a:lnTo>
                  <a:lnTo>
                    <a:pt x="362" y="203"/>
                  </a:lnTo>
                  <a:lnTo>
                    <a:pt x="362" y="203"/>
                  </a:lnTo>
                  <a:lnTo>
                    <a:pt x="364" y="202"/>
                  </a:lnTo>
                  <a:lnTo>
                    <a:pt x="364" y="202"/>
                  </a:lnTo>
                  <a:lnTo>
                    <a:pt x="362" y="202"/>
                  </a:lnTo>
                  <a:lnTo>
                    <a:pt x="362" y="202"/>
                  </a:lnTo>
                  <a:lnTo>
                    <a:pt x="360" y="200"/>
                  </a:lnTo>
                  <a:lnTo>
                    <a:pt x="362" y="200"/>
                  </a:lnTo>
                  <a:lnTo>
                    <a:pt x="360" y="200"/>
                  </a:lnTo>
                  <a:lnTo>
                    <a:pt x="360" y="200"/>
                  </a:lnTo>
                  <a:lnTo>
                    <a:pt x="360" y="200"/>
                  </a:lnTo>
                  <a:lnTo>
                    <a:pt x="358" y="200"/>
                  </a:lnTo>
                  <a:lnTo>
                    <a:pt x="358" y="198"/>
                  </a:lnTo>
                  <a:lnTo>
                    <a:pt x="356" y="198"/>
                  </a:lnTo>
                  <a:lnTo>
                    <a:pt x="356" y="198"/>
                  </a:lnTo>
                  <a:lnTo>
                    <a:pt x="354" y="196"/>
                  </a:lnTo>
                  <a:lnTo>
                    <a:pt x="354" y="198"/>
                  </a:lnTo>
                  <a:lnTo>
                    <a:pt x="352" y="198"/>
                  </a:lnTo>
                  <a:lnTo>
                    <a:pt x="352" y="198"/>
                  </a:lnTo>
                  <a:lnTo>
                    <a:pt x="352" y="200"/>
                  </a:lnTo>
                  <a:lnTo>
                    <a:pt x="350" y="200"/>
                  </a:lnTo>
                  <a:lnTo>
                    <a:pt x="350" y="200"/>
                  </a:lnTo>
                  <a:lnTo>
                    <a:pt x="348" y="200"/>
                  </a:lnTo>
                  <a:lnTo>
                    <a:pt x="348" y="200"/>
                  </a:lnTo>
                  <a:lnTo>
                    <a:pt x="348" y="202"/>
                  </a:lnTo>
                  <a:lnTo>
                    <a:pt x="348" y="202"/>
                  </a:lnTo>
                  <a:lnTo>
                    <a:pt x="348" y="202"/>
                  </a:lnTo>
                  <a:lnTo>
                    <a:pt x="348" y="203"/>
                  </a:lnTo>
                  <a:lnTo>
                    <a:pt x="348" y="205"/>
                  </a:lnTo>
                  <a:lnTo>
                    <a:pt x="347" y="205"/>
                  </a:lnTo>
                  <a:lnTo>
                    <a:pt x="347" y="205"/>
                  </a:lnTo>
                  <a:lnTo>
                    <a:pt x="347" y="207"/>
                  </a:lnTo>
                  <a:lnTo>
                    <a:pt x="347" y="207"/>
                  </a:lnTo>
                  <a:lnTo>
                    <a:pt x="345" y="207"/>
                  </a:lnTo>
                  <a:lnTo>
                    <a:pt x="345" y="209"/>
                  </a:lnTo>
                  <a:lnTo>
                    <a:pt x="343" y="207"/>
                  </a:lnTo>
                  <a:lnTo>
                    <a:pt x="341" y="207"/>
                  </a:lnTo>
                  <a:lnTo>
                    <a:pt x="341" y="207"/>
                  </a:lnTo>
                  <a:lnTo>
                    <a:pt x="341" y="205"/>
                  </a:lnTo>
                  <a:lnTo>
                    <a:pt x="339" y="205"/>
                  </a:lnTo>
                  <a:lnTo>
                    <a:pt x="339" y="203"/>
                  </a:lnTo>
                  <a:lnTo>
                    <a:pt x="339" y="203"/>
                  </a:lnTo>
                  <a:lnTo>
                    <a:pt x="339" y="203"/>
                  </a:lnTo>
                  <a:lnTo>
                    <a:pt x="339" y="203"/>
                  </a:lnTo>
                  <a:lnTo>
                    <a:pt x="339" y="203"/>
                  </a:lnTo>
                  <a:lnTo>
                    <a:pt x="339" y="203"/>
                  </a:lnTo>
                  <a:lnTo>
                    <a:pt x="337" y="203"/>
                  </a:lnTo>
                  <a:lnTo>
                    <a:pt x="337" y="203"/>
                  </a:lnTo>
                  <a:lnTo>
                    <a:pt x="337" y="205"/>
                  </a:lnTo>
                  <a:lnTo>
                    <a:pt x="337" y="205"/>
                  </a:lnTo>
                  <a:lnTo>
                    <a:pt x="337" y="205"/>
                  </a:lnTo>
                  <a:lnTo>
                    <a:pt x="337" y="207"/>
                  </a:lnTo>
                  <a:lnTo>
                    <a:pt x="337" y="207"/>
                  </a:lnTo>
                  <a:lnTo>
                    <a:pt x="337" y="207"/>
                  </a:lnTo>
                  <a:lnTo>
                    <a:pt x="339" y="207"/>
                  </a:lnTo>
                  <a:lnTo>
                    <a:pt x="339" y="209"/>
                  </a:lnTo>
                  <a:lnTo>
                    <a:pt x="339" y="209"/>
                  </a:lnTo>
                  <a:lnTo>
                    <a:pt x="339" y="209"/>
                  </a:lnTo>
                  <a:lnTo>
                    <a:pt x="339" y="209"/>
                  </a:lnTo>
                  <a:lnTo>
                    <a:pt x="337" y="211"/>
                  </a:lnTo>
                  <a:lnTo>
                    <a:pt x="337" y="211"/>
                  </a:lnTo>
                  <a:lnTo>
                    <a:pt x="337" y="211"/>
                  </a:lnTo>
                  <a:lnTo>
                    <a:pt x="337" y="211"/>
                  </a:lnTo>
                  <a:lnTo>
                    <a:pt x="337" y="213"/>
                  </a:lnTo>
                  <a:lnTo>
                    <a:pt x="335" y="213"/>
                  </a:lnTo>
                  <a:lnTo>
                    <a:pt x="337" y="213"/>
                  </a:lnTo>
                  <a:lnTo>
                    <a:pt x="339" y="213"/>
                  </a:lnTo>
                  <a:lnTo>
                    <a:pt x="339" y="215"/>
                  </a:lnTo>
                  <a:lnTo>
                    <a:pt x="341" y="215"/>
                  </a:lnTo>
                  <a:lnTo>
                    <a:pt x="345" y="215"/>
                  </a:lnTo>
                  <a:lnTo>
                    <a:pt x="345" y="217"/>
                  </a:lnTo>
                  <a:lnTo>
                    <a:pt x="347" y="217"/>
                  </a:lnTo>
                  <a:lnTo>
                    <a:pt x="347" y="217"/>
                  </a:lnTo>
                  <a:lnTo>
                    <a:pt x="347" y="217"/>
                  </a:lnTo>
                  <a:lnTo>
                    <a:pt x="348" y="219"/>
                  </a:lnTo>
                  <a:lnTo>
                    <a:pt x="348" y="217"/>
                  </a:lnTo>
                  <a:lnTo>
                    <a:pt x="348" y="217"/>
                  </a:lnTo>
                  <a:lnTo>
                    <a:pt x="348" y="215"/>
                  </a:lnTo>
                  <a:lnTo>
                    <a:pt x="350" y="215"/>
                  </a:lnTo>
                  <a:lnTo>
                    <a:pt x="350" y="217"/>
                  </a:lnTo>
                  <a:lnTo>
                    <a:pt x="352" y="215"/>
                  </a:lnTo>
                  <a:lnTo>
                    <a:pt x="356" y="217"/>
                  </a:lnTo>
                  <a:lnTo>
                    <a:pt x="356" y="217"/>
                  </a:lnTo>
                  <a:lnTo>
                    <a:pt x="358" y="219"/>
                  </a:lnTo>
                  <a:lnTo>
                    <a:pt x="358" y="219"/>
                  </a:lnTo>
                  <a:lnTo>
                    <a:pt x="358" y="219"/>
                  </a:lnTo>
                  <a:lnTo>
                    <a:pt x="356" y="219"/>
                  </a:lnTo>
                  <a:lnTo>
                    <a:pt x="356" y="219"/>
                  </a:lnTo>
                  <a:lnTo>
                    <a:pt x="356" y="221"/>
                  </a:lnTo>
                  <a:lnTo>
                    <a:pt x="356" y="221"/>
                  </a:lnTo>
                  <a:lnTo>
                    <a:pt x="356" y="221"/>
                  </a:lnTo>
                  <a:lnTo>
                    <a:pt x="358" y="222"/>
                  </a:lnTo>
                  <a:lnTo>
                    <a:pt x="356" y="222"/>
                  </a:lnTo>
                  <a:lnTo>
                    <a:pt x="354" y="222"/>
                  </a:lnTo>
                  <a:lnTo>
                    <a:pt x="354" y="224"/>
                  </a:lnTo>
                  <a:lnTo>
                    <a:pt x="354" y="224"/>
                  </a:lnTo>
                  <a:lnTo>
                    <a:pt x="354" y="226"/>
                  </a:lnTo>
                  <a:lnTo>
                    <a:pt x="354" y="226"/>
                  </a:lnTo>
                  <a:lnTo>
                    <a:pt x="354" y="228"/>
                  </a:lnTo>
                  <a:lnTo>
                    <a:pt x="354" y="228"/>
                  </a:lnTo>
                  <a:lnTo>
                    <a:pt x="356" y="228"/>
                  </a:lnTo>
                  <a:lnTo>
                    <a:pt x="356" y="228"/>
                  </a:lnTo>
                  <a:lnTo>
                    <a:pt x="356" y="228"/>
                  </a:lnTo>
                  <a:lnTo>
                    <a:pt x="358" y="230"/>
                  </a:lnTo>
                  <a:lnTo>
                    <a:pt x="358" y="230"/>
                  </a:lnTo>
                  <a:lnTo>
                    <a:pt x="358" y="230"/>
                  </a:lnTo>
                  <a:lnTo>
                    <a:pt x="358" y="230"/>
                  </a:lnTo>
                  <a:lnTo>
                    <a:pt x="356" y="232"/>
                  </a:lnTo>
                  <a:lnTo>
                    <a:pt x="354" y="232"/>
                  </a:lnTo>
                  <a:lnTo>
                    <a:pt x="354" y="232"/>
                  </a:lnTo>
                  <a:lnTo>
                    <a:pt x="352" y="232"/>
                  </a:lnTo>
                  <a:lnTo>
                    <a:pt x="350" y="232"/>
                  </a:lnTo>
                  <a:lnTo>
                    <a:pt x="350" y="232"/>
                  </a:lnTo>
                  <a:lnTo>
                    <a:pt x="348" y="232"/>
                  </a:lnTo>
                  <a:lnTo>
                    <a:pt x="348" y="232"/>
                  </a:lnTo>
                  <a:lnTo>
                    <a:pt x="347" y="230"/>
                  </a:lnTo>
                  <a:lnTo>
                    <a:pt x="347" y="230"/>
                  </a:lnTo>
                  <a:lnTo>
                    <a:pt x="345" y="230"/>
                  </a:lnTo>
                  <a:lnTo>
                    <a:pt x="345" y="228"/>
                  </a:lnTo>
                  <a:lnTo>
                    <a:pt x="345" y="228"/>
                  </a:lnTo>
                  <a:lnTo>
                    <a:pt x="345" y="228"/>
                  </a:lnTo>
                  <a:lnTo>
                    <a:pt x="343" y="226"/>
                  </a:lnTo>
                  <a:lnTo>
                    <a:pt x="343" y="226"/>
                  </a:lnTo>
                  <a:lnTo>
                    <a:pt x="343" y="226"/>
                  </a:lnTo>
                  <a:lnTo>
                    <a:pt x="341" y="226"/>
                  </a:lnTo>
                  <a:lnTo>
                    <a:pt x="341" y="224"/>
                  </a:lnTo>
                  <a:lnTo>
                    <a:pt x="339" y="224"/>
                  </a:lnTo>
                  <a:lnTo>
                    <a:pt x="339" y="226"/>
                  </a:lnTo>
                  <a:lnTo>
                    <a:pt x="339" y="226"/>
                  </a:lnTo>
                  <a:lnTo>
                    <a:pt x="339" y="226"/>
                  </a:lnTo>
                  <a:lnTo>
                    <a:pt x="337" y="228"/>
                  </a:lnTo>
                  <a:lnTo>
                    <a:pt x="337" y="228"/>
                  </a:lnTo>
                  <a:lnTo>
                    <a:pt x="337" y="228"/>
                  </a:lnTo>
                  <a:lnTo>
                    <a:pt x="337" y="228"/>
                  </a:lnTo>
                  <a:lnTo>
                    <a:pt x="337" y="226"/>
                  </a:lnTo>
                  <a:lnTo>
                    <a:pt x="337" y="226"/>
                  </a:lnTo>
                  <a:lnTo>
                    <a:pt x="337" y="224"/>
                  </a:lnTo>
                  <a:lnTo>
                    <a:pt x="335" y="224"/>
                  </a:lnTo>
                  <a:lnTo>
                    <a:pt x="335" y="224"/>
                  </a:lnTo>
                  <a:lnTo>
                    <a:pt x="333" y="224"/>
                  </a:lnTo>
                  <a:lnTo>
                    <a:pt x="333" y="222"/>
                  </a:lnTo>
                  <a:lnTo>
                    <a:pt x="333" y="222"/>
                  </a:lnTo>
                  <a:lnTo>
                    <a:pt x="333" y="222"/>
                  </a:lnTo>
                  <a:lnTo>
                    <a:pt x="333" y="222"/>
                  </a:lnTo>
                  <a:lnTo>
                    <a:pt x="331" y="221"/>
                  </a:lnTo>
                  <a:lnTo>
                    <a:pt x="331" y="221"/>
                  </a:lnTo>
                  <a:lnTo>
                    <a:pt x="331" y="219"/>
                  </a:lnTo>
                  <a:lnTo>
                    <a:pt x="331" y="219"/>
                  </a:lnTo>
                  <a:lnTo>
                    <a:pt x="331" y="217"/>
                  </a:lnTo>
                  <a:lnTo>
                    <a:pt x="331" y="217"/>
                  </a:lnTo>
                  <a:lnTo>
                    <a:pt x="331" y="215"/>
                  </a:lnTo>
                  <a:lnTo>
                    <a:pt x="329" y="213"/>
                  </a:lnTo>
                  <a:lnTo>
                    <a:pt x="327" y="211"/>
                  </a:lnTo>
                  <a:lnTo>
                    <a:pt x="327" y="209"/>
                  </a:lnTo>
                  <a:lnTo>
                    <a:pt x="326" y="209"/>
                  </a:lnTo>
                  <a:lnTo>
                    <a:pt x="326" y="209"/>
                  </a:lnTo>
                  <a:lnTo>
                    <a:pt x="324" y="209"/>
                  </a:lnTo>
                  <a:lnTo>
                    <a:pt x="324" y="209"/>
                  </a:lnTo>
                  <a:lnTo>
                    <a:pt x="324" y="207"/>
                  </a:lnTo>
                  <a:lnTo>
                    <a:pt x="322" y="207"/>
                  </a:lnTo>
                  <a:lnTo>
                    <a:pt x="322" y="209"/>
                  </a:lnTo>
                  <a:lnTo>
                    <a:pt x="322" y="209"/>
                  </a:lnTo>
                  <a:lnTo>
                    <a:pt x="322" y="207"/>
                  </a:lnTo>
                  <a:lnTo>
                    <a:pt x="320" y="205"/>
                  </a:lnTo>
                  <a:lnTo>
                    <a:pt x="320" y="205"/>
                  </a:lnTo>
                  <a:lnTo>
                    <a:pt x="318" y="207"/>
                  </a:lnTo>
                  <a:lnTo>
                    <a:pt x="318" y="207"/>
                  </a:lnTo>
                  <a:lnTo>
                    <a:pt x="316" y="209"/>
                  </a:lnTo>
                  <a:lnTo>
                    <a:pt x="316" y="209"/>
                  </a:lnTo>
                  <a:lnTo>
                    <a:pt x="316" y="211"/>
                  </a:lnTo>
                  <a:lnTo>
                    <a:pt x="316" y="211"/>
                  </a:lnTo>
                  <a:lnTo>
                    <a:pt x="314" y="211"/>
                  </a:lnTo>
                  <a:lnTo>
                    <a:pt x="314" y="211"/>
                  </a:lnTo>
                  <a:lnTo>
                    <a:pt x="314" y="211"/>
                  </a:lnTo>
                  <a:lnTo>
                    <a:pt x="314" y="211"/>
                  </a:lnTo>
                  <a:lnTo>
                    <a:pt x="312" y="211"/>
                  </a:lnTo>
                  <a:lnTo>
                    <a:pt x="312" y="211"/>
                  </a:lnTo>
                  <a:lnTo>
                    <a:pt x="310" y="211"/>
                  </a:lnTo>
                  <a:lnTo>
                    <a:pt x="310" y="213"/>
                  </a:lnTo>
                  <a:lnTo>
                    <a:pt x="310" y="213"/>
                  </a:lnTo>
                  <a:lnTo>
                    <a:pt x="307" y="213"/>
                  </a:lnTo>
                  <a:lnTo>
                    <a:pt x="307" y="217"/>
                  </a:lnTo>
                  <a:lnTo>
                    <a:pt x="305" y="217"/>
                  </a:lnTo>
                  <a:lnTo>
                    <a:pt x="305" y="219"/>
                  </a:lnTo>
                  <a:lnTo>
                    <a:pt x="305" y="219"/>
                  </a:lnTo>
                  <a:lnTo>
                    <a:pt x="303" y="221"/>
                  </a:lnTo>
                  <a:lnTo>
                    <a:pt x="303" y="222"/>
                  </a:lnTo>
                  <a:lnTo>
                    <a:pt x="303" y="222"/>
                  </a:lnTo>
                  <a:lnTo>
                    <a:pt x="303" y="222"/>
                  </a:lnTo>
                  <a:lnTo>
                    <a:pt x="305" y="224"/>
                  </a:lnTo>
                  <a:lnTo>
                    <a:pt x="307" y="224"/>
                  </a:lnTo>
                  <a:lnTo>
                    <a:pt x="307" y="224"/>
                  </a:lnTo>
                  <a:lnTo>
                    <a:pt x="307" y="226"/>
                  </a:lnTo>
                  <a:lnTo>
                    <a:pt x="307" y="226"/>
                  </a:lnTo>
                  <a:lnTo>
                    <a:pt x="307" y="226"/>
                  </a:lnTo>
                  <a:lnTo>
                    <a:pt x="308" y="228"/>
                  </a:lnTo>
                  <a:lnTo>
                    <a:pt x="308" y="228"/>
                  </a:lnTo>
                  <a:lnTo>
                    <a:pt x="308" y="232"/>
                  </a:lnTo>
                  <a:lnTo>
                    <a:pt x="308" y="232"/>
                  </a:lnTo>
                  <a:lnTo>
                    <a:pt x="307" y="234"/>
                  </a:lnTo>
                  <a:lnTo>
                    <a:pt x="307" y="236"/>
                  </a:lnTo>
                  <a:lnTo>
                    <a:pt x="307" y="236"/>
                  </a:lnTo>
                  <a:lnTo>
                    <a:pt x="305" y="238"/>
                  </a:lnTo>
                  <a:lnTo>
                    <a:pt x="305" y="238"/>
                  </a:lnTo>
                  <a:lnTo>
                    <a:pt x="303" y="238"/>
                  </a:lnTo>
                  <a:lnTo>
                    <a:pt x="303" y="240"/>
                  </a:lnTo>
                  <a:lnTo>
                    <a:pt x="303" y="240"/>
                  </a:lnTo>
                  <a:lnTo>
                    <a:pt x="301" y="243"/>
                  </a:lnTo>
                  <a:lnTo>
                    <a:pt x="299" y="245"/>
                  </a:lnTo>
                  <a:lnTo>
                    <a:pt x="297" y="245"/>
                  </a:lnTo>
                  <a:lnTo>
                    <a:pt x="295" y="245"/>
                  </a:lnTo>
                  <a:lnTo>
                    <a:pt x="295" y="245"/>
                  </a:lnTo>
                  <a:lnTo>
                    <a:pt x="293" y="245"/>
                  </a:lnTo>
                  <a:lnTo>
                    <a:pt x="293" y="243"/>
                  </a:lnTo>
                  <a:lnTo>
                    <a:pt x="291" y="242"/>
                  </a:lnTo>
                  <a:lnTo>
                    <a:pt x="291" y="240"/>
                  </a:lnTo>
                  <a:lnTo>
                    <a:pt x="289" y="240"/>
                  </a:lnTo>
                  <a:lnTo>
                    <a:pt x="289" y="240"/>
                  </a:lnTo>
                  <a:lnTo>
                    <a:pt x="287" y="240"/>
                  </a:lnTo>
                  <a:lnTo>
                    <a:pt x="286" y="240"/>
                  </a:lnTo>
                  <a:lnTo>
                    <a:pt x="284" y="236"/>
                  </a:lnTo>
                  <a:lnTo>
                    <a:pt x="282" y="236"/>
                  </a:lnTo>
                  <a:lnTo>
                    <a:pt x="282" y="236"/>
                  </a:lnTo>
                  <a:lnTo>
                    <a:pt x="280" y="238"/>
                  </a:lnTo>
                  <a:lnTo>
                    <a:pt x="278" y="240"/>
                  </a:lnTo>
                  <a:lnTo>
                    <a:pt x="278" y="240"/>
                  </a:lnTo>
                  <a:lnTo>
                    <a:pt x="274" y="240"/>
                  </a:lnTo>
                  <a:lnTo>
                    <a:pt x="272" y="240"/>
                  </a:lnTo>
                  <a:lnTo>
                    <a:pt x="270" y="242"/>
                  </a:lnTo>
                  <a:lnTo>
                    <a:pt x="270" y="243"/>
                  </a:lnTo>
                  <a:lnTo>
                    <a:pt x="268" y="243"/>
                  </a:lnTo>
                  <a:lnTo>
                    <a:pt x="268" y="242"/>
                  </a:lnTo>
                  <a:lnTo>
                    <a:pt x="266" y="243"/>
                  </a:lnTo>
                  <a:lnTo>
                    <a:pt x="265" y="243"/>
                  </a:lnTo>
                  <a:lnTo>
                    <a:pt x="263" y="245"/>
                  </a:lnTo>
                  <a:lnTo>
                    <a:pt x="263" y="245"/>
                  </a:lnTo>
                  <a:lnTo>
                    <a:pt x="261" y="245"/>
                  </a:lnTo>
                  <a:lnTo>
                    <a:pt x="261" y="245"/>
                  </a:lnTo>
                  <a:lnTo>
                    <a:pt x="257" y="245"/>
                  </a:lnTo>
                  <a:lnTo>
                    <a:pt x="257" y="245"/>
                  </a:lnTo>
                  <a:lnTo>
                    <a:pt x="253" y="247"/>
                  </a:lnTo>
                  <a:lnTo>
                    <a:pt x="251" y="247"/>
                  </a:lnTo>
                  <a:lnTo>
                    <a:pt x="251" y="249"/>
                  </a:lnTo>
                  <a:lnTo>
                    <a:pt x="251" y="249"/>
                  </a:lnTo>
                  <a:lnTo>
                    <a:pt x="249" y="251"/>
                  </a:lnTo>
                  <a:lnTo>
                    <a:pt x="247" y="251"/>
                  </a:lnTo>
                  <a:lnTo>
                    <a:pt x="242" y="251"/>
                  </a:lnTo>
                  <a:lnTo>
                    <a:pt x="242" y="251"/>
                  </a:lnTo>
                  <a:lnTo>
                    <a:pt x="240" y="251"/>
                  </a:lnTo>
                  <a:lnTo>
                    <a:pt x="238" y="251"/>
                  </a:lnTo>
                  <a:lnTo>
                    <a:pt x="236" y="251"/>
                  </a:lnTo>
                  <a:lnTo>
                    <a:pt x="236" y="253"/>
                  </a:lnTo>
                  <a:lnTo>
                    <a:pt x="234" y="253"/>
                  </a:lnTo>
                  <a:lnTo>
                    <a:pt x="232" y="257"/>
                  </a:lnTo>
                  <a:lnTo>
                    <a:pt x="232" y="257"/>
                  </a:lnTo>
                  <a:lnTo>
                    <a:pt x="230" y="259"/>
                  </a:lnTo>
                  <a:lnTo>
                    <a:pt x="232" y="261"/>
                  </a:lnTo>
                  <a:lnTo>
                    <a:pt x="232" y="261"/>
                  </a:lnTo>
                  <a:lnTo>
                    <a:pt x="232" y="262"/>
                  </a:lnTo>
                  <a:lnTo>
                    <a:pt x="232" y="262"/>
                  </a:lnTo>
                  <a:lnTo>
                    <a:pt x="230" y="264"/>
                  </a:lnTo>
                  <a:lnTo>
                    <a:pt x="230" y="266"/>
                  </a:lnTo>
                  <a:lnTo>
                    <a:pt x="230" y="268"/>
                  </a:lnTo>
                  <a:lnTo>
                    <a:pt x="230" y="270"/>
                  </a:lnTo>
                  <a:lnTo>
                    <a:pt x="230" y="272"/>
                  </a:lnTo>
                  <a:lnTo>
                    <a:pt x="230" y="272"/>
                  </a:lnTo>
                  <a:lnTo>
                    <a:pt x="232" y="274"/>
                  </a:lnTo>
                  <a:lnTo>
                    <a:pt x="232" y="278"/>
                  </a:lnTo>
                  <a:lnTo>
                    <a:pt x="232" y="281"/>
                  </a:lnTo>
                  <a:lnTo>
                    <a:pt x="230" y="283"/>
                  </a:lnTo>
                  <a:lnTo>
                    <a:pt x="230" y="283"/>
                  </a:lnTo>
                  <a:lnTo>
                    <a:pt x="228" y="285"/>
                  </a:lnTo>
                  <a:lnTo>
                    <a:pt x="226" y="285"/>
                  </a:lnTo>
                  <a:lnTo>
                    <a:pt x="226" y="285"/>
                  </a:lnTo>
                  <a:lnTo>
                    <a:pt x="225" y="285"/>
                  </a:lnTo>
                  <a:lnTo>
                    <a:pt x="225" y="283"/>
                  </a:lnTo>
                  <a:lnTo>
                    <a:pt x="223" y="283"/>
                  </a:lnTo>
                  <a:lnTo>
                    <a:pt x="223" y="283"/>
                  </a:lnTo>
                  <a:lnTo>
                    <a:pt x="217" y="283"/>
                  </a:lnTo>
                  <a:lnTo>
                    <a:pt x="215" y="283"/>
                  </a:lnTo>
                  <a:lnTo>
                    <a:pt x="215" y="283"/>
                  </a:lnTo>
                  <a:lnTo>
                    <a:pt x="213" y="283"/>
                  </a:lnTo>
                  <a:lnTo>
                    <a:pt x="213" y="283"/>
                  </a:lnTo>
                  <a:lnTo>
                    <a:pt x="211" y="283"/>
                  </a:lnTo>
                  <a:lnTo>
                    <a:pt x="209" y="283"/>
                  </a:lnTo>
                  <a:lnTo>
                    <a:pt x="209" y="285"/>
                  </a:lnTo>
                  <a:lnTo>
                    <a:pt x="207" y="285"/>
                  </a:lnTo>
                  <a:lnTo>
                    <a:pt x="206" y="285"/>
                  </a:lnTo>
                  <a:lnTo>
                    <a:pt x="204" y="287"/>
                  </a:lnTo>
                  <a:lnTo>
                    <a:pt x="202" y="287"/>
                  </a:lnTo>
                  <a:lnTo>
                    <a:pt x="202" y="289"/>
                  </a:lnTo>
                  <a:lnTo>
                    <a:pt x="202" y="291"/>
                  </a:lnTo>
                  <a:lnTo>
                    <a:pt x="204" y="293"/>
                  </a:lnTo>
                  <a:lnTo>
                    <a:pt x="204" y="295"/>
                  </a:lnTo>
                  <a:lnTo>
                    <a:pt x="204" y="295"/>
                  </a:lnTo>
                  <a:lnTo>
                    <a:pt x="202" y="297"/>
                  </a:lnTo>
                  <a:lnTo>
                    <a:pt x="202" y="297"/>
                  </a:lnTo>
                  <a:lnTo>
                    <a:pt x="202" y="297"/>
                  </a:lnTo>
                  <a:lnTo>
                    <a:pt x="200" y="297"/>
                  </a:lnTo>
                  <a:lnTo>
                    <a:pt x="198" y="295"/>
                  </a:lnTo>
                  <a:lnTo>
                    <a:pt x="198" y="295"/>
                  </a:lnTo>
                  <a:lnTo>
                    <a:pt x="198" y="293"/>
                  </a:lnTo>
                  <a:lnTo>
                    <a:pt x="198" y="293"/>
                  </a:lnTo>
                  <a:lnTo>
                    <a:pt x="198" y="291"/>
                  </a:lnTo>
                  <a:lnTo>
                    <a:pt x="198" y="291"/>
                  </a:lnTo>
                  <a:lnTo>
                    <a:pt x="196" y="291"/>
                  </a:lnTo>
                  <a:lnTo>
                    <a:pt x="196" y="291"/>
                  </a:lnTo>
                  <a:lnTo>
                    <a:pt x="194" y="291"/>
                  </a:lnTo>
                  <a:lnTo>
                    <a:pt x="194" y="293"/>
                  </a:lnTo>
                  <a:lnTo>
                    <a:pt x="194" y="293"/>
                  </a:lnTo>
                  <a:lnTo>
                    <a:pt x="196" y="295"/>
                  </a:lnTo>
                  <a:lnTo>
                    <a:pt x="196" y="295"/>
                  </a:lnTo>
                  <a:lnTo>
                    <a:pt x="196" y="297"/>
                  </a:lnTo>
                  <a:lnTo>
                    <a:pt x="196" y="297"/>
                  </a:lnTo>
                  <a:lnTo>
                    <a:pt x="196" y="299"/>
                  </a:lnTo>
                  <a:lnTo>
                    <a:pt x="194" y="300"/>
                  </a:lnTo>
                  <a:lnTo>
                    <a:pt x="194" y="300"/>
                  </a:lnTo>
                  <a:lnTo>
                    <a:pt x="192" y="302"/>
                  </a:lnTo>
                  <a:lnTo>
                    <a:pt x="190" y="302"/>
                  </a:lnTo>
                  <a:lnTo>
                    <a:pt x="190" y="304"/>
                  </a:lnTo>
                  <a:lnTo>
                    <a:pt x="188" y="304"/>
                  </a:lnTo>
                  <a:lnTo>
                    <a:pt x="186" y="304"/>
                  </a:lnTo>
                  <a:lnTo>
                    <a:pt x="185" y="304"/>
                  </a:lnTo>
                  <a:lnTo>
                    <a:pt x="185" y="304"/>
                  </a:lnTo>
                  <a:lnTo>
                    <a:pt x="181" y="302"/>
                  </a:lnTo>
                  <a:lnTo>
                    <a:pt x="181" y="302"/>
                  </a:lnTo>
                  <a:lnTo>
                    <a:pt x="181" y="300"/>
                  </a:lnTo>
                  <a:lnTo>
                    <a:pt x="179" y="299"/>
                  </a:lnTo>
                  <a:lnTo>
                    <a:pt x="179" y="299"/>
                  </a:lnTo>
                  <a:lnTo>
                    <a:pt x="177" y="297"/>
                  </a:lnTo>
                  <a:lnTo>
                    <a:pt x="175" y="297"/>
                  </a:lnTo>
                  <a:lnTo>
                    <a:pt x="173" y="297"/>
                  </a:lnTo>
                  <a:lnTo>
                    <a:pt x="173" y="299"/>
                  </a:lnTo>
                  <a:lnTo>
                    <a:pt x="171" y="299"/>
                  </a:lnTo>
                  <a:lnTo>
                    <a:pt x="171" y="300"/>
                  </a:lnTo>
                  <a:lnTo>
                    <a:pt x="169" y="300"/>
                  </a:lnTo>
                  <a:lnTo>
                    <a:pt x="169" y="300"/>
                  </a:lnTo>
                  <a:lnTo>
                    <a:pt x="167" y="300"/>
                  </a:lnTo>
                  <a:lnTo>
                    <a:pt x="165" y="300"/>
                  </a:lnTo>
                  <a:lnTo>
                    <a:pt x="164" y="299"/>
                  </a:lnTo>
                  <a:lnTo>
                    <a:pt x="160" y="299"/>
                  </a:lnTo>
                  <a:lnTo>
                    <a:pt x="158" y="299"/>
                  </a:lnTo>
                  <a:lnTo>
                    <a:pt x="156" y="299"/>
                  </a:lnTo>
                  <a:lnTo>
                    <a:pt x="154" y="299"/>
                  </a:lnTo>
                  <a:lnTo>
                    <a:pt x="152" y="300"/>
                  </a:lnTo>
                  <a:lnTo>
                    <a:pt x="150" y="300"/>
                  </a:lnTo>
                  <a:lnTo>
                    <a:pt x="150" y="300"/>
                  </a:lnTo>
                  <a:lnTo>
                    <a:pt x="148" y="302"/>
                  </a:lnTo>
                  <a:lnTo>
                    <a:pt x="148" y="302"/>
                  </a:lnTo>
                  <a:lnTo>
                    <a:pt x="146" y="304"/>
                  </a:lnTo>
                  <a:lnTo>
                    <a:pt x="145" y="304"/>
                  </a:lnTo>
                  <a:lnTo>
                    <a:pt x="145" y="302"/>
                  </a:lnTo>
                  <a:lnTo>
                    <a:pt x="143" y="302"/>
                  </a:lnTo>
                  <a:lnTo>
                    <a:pt x="143" y="302"/>
                  </a:lnTo>
                  <a:lnTo>
                    <a:pt x="141" y="304"/>
                  </a:lnTo>
                  <a:lnTo>
                    <a:pt x="143" y="306"/>
                  </a:lnTo>
                  <a:lnTo>
                    <a:pt x="143" y="306"/>
                  </a:lnTo>
                  <a:lnTo>
                    <a:pt x="141" y="308"/>
                  </a:lnTo>
                  <a:lnTo>
                    <a:pt x="141" y="308"/>
                  </a:lnTo>
                  <a:lnTo>
                    <a:pt x="141" y="310"/>
                  </a:lnTo>
                  <a:lnTo>
                    <a:pt x="141" y="310"/>
                  </a:lnTo>
                  <a:lnTo>
                    <a:pt x="141" y="312"/>
                  </a:lnTo>
                  <a:lnTo>
                    <a:pt x="141" y="312"/>
                  </a:lnTo>
                  <a:lnTo>
                    <a:pt x="141" y="314"/>
                  </a:lnTo>
                  <a:lnTo>
                    <a:pt x="139" y="314"/>
                  </a:lnTo>
                  <a:lnTo>
                    <a:pt x="137" y="314"/>
                  </a:lnTo>
                  <a:lnTo>
                    <a:pt x="137" y="314"/>
                  </a:lnTo>
                  <a:lnTo>
                    <a:pt x="135" y="316"/>
                  </a:lnTo>
                  <a:lnTo>
                    <a:pt x="135" y="316"/>
                  </a:lnTo>
                  <a:lnTo>
                    <a:pt x="135" y="318"/>
                  </a:lnTo>
                  <a:lnTo>
                    <a:pt x="135" y="318"/>
                  </a:lnTo>
                  <a:lnTo>
                    <a:pt x="135" y="318"/>
                  </a:lnTo>
                  <a:lnTo>
                    <a:pt x="133" y="319"/>
                  </a:lnTo>
                  <a:lnTo>
                    <a:pt x="133" y="319"/>
                  </a:lnTo>
                  <a:lnTo>
                    <a:pt x="133" y="321"/>
                  </a:lnTo>
                  <a:lnTo>
                    <a:pt x="131" y="321"/>
                  </a:lnTo>
                  <a:lnTo>
                    <a:pt x="131" y="321"/>
                  </a:lnTo>
                  <a:lnTo>
                    <a:pt x="131" y="321"/>
                  </a:lnTo>
                  <a:lnTo>
                    <a:pt x="129" y="321"/>
                  </a:lnTo>
                  <a:lnTo>
                    <a:pt x="129" y="321"/>
                  </a:lnTo>
                  <a:lnTo>
                    <a:pt x="129" y="323"/>
                  </a:lnTo>
                  <a:lnTo>
                    <a:pt x="127" y="323"/>
                  </a:lnTo>
                  <a:lnTo>
                    <a:pt x="127" y="323"/>
                  </a:lnTo>
                  <a:lnTo>
                    <a:pt x="124" y="321"/>
                  </a:lnTo>
                  <a:lnTo>
                    <a:pt x="124" y="321"/>
                  </a:lnTo>
                  <a:lnTo>
                    <a:pt x="124" y="319"/>
                  </a:lnTo>
                  <a:lnTo>
                    <a:pt x="122" y="318"/>
                  </a:lnTo>
                  <a:lnTo>
                    <a:pt x="122" y="316"/>
                  </a:lnTo>
                  <a:lnTo>
                    <a:pt x="122" y="316"/>
                  </a:lnTo>
                  <a:lnTo>
                    <a:pt x="122" y="316"/>
                  </a:lnTo>
                  <a:lnTo>
                    <a:pt x="120" y="316"/>
                  </a:lnTo>
                  <a:lnTo>
                    <a:pt x="120" y="316"/>
                  </a:lnTo>
                  <a:lnTo>
                    <a:pt x="120" y="318"/>
                  </a:lnTo>
                  <a:lnTo>
                    <a:pt x="118" y="318"/>
                  </a:lnTo>
                  <a:lnTo>
                    <a:pt x="118" y="319"/>
                  </a:lnTo>
                  <a:lnTo>
                    <a:pt x="118" y="319"/>
                  </a:lnTo>
                  <a:lnTo>
                    <a:pt x="116" y="318"/>
                  </a:lnTo>
                  <a:lnTo>
                    <a:pt x="114" y="318"/>
                  </a:lnTo>
                  <a:lnTo>
                    <a:pt x="112" y="318"/>
                  </a:lnTo>
                  <a:lnTo>
                    <a:pt x="112" y="318"/>
                  </a:lnTo>
                  <a:lnTo>
                    <a:pt x="110" y="318"/>
                  </a:lnTo>
                  <a:lnTo>
                    <a:pt x="108" y="316"/>
                  </a:lnTo>
                  <a:lnTo>
                    <a:pt x="106" y="316"/>
                  </a:lnTo>
                  <a:lnTo>
                    <a:pt x="106" y="316"/>
                  </a:lnTo>
                  <a:lnTo>
                    <a:pt x="105" y="318"/>
                  </a:lnTo>
                  <a:lnTo>
                    <a:pt x="105" y="318"/>
                  </a:lnTo>
                  <a:lnTo>
                    <a:pt x="103" y="318"/>
                  </a:lnTo>
                  <a:lnTo>
                    <a:pt x="103" y="318"/>
                  </a:lnTo>
                  <a:lnTo>
                    <a:pt x="103" y="318"/>
                  </a:lnTo>
                  <a:lnTo>
                    <a:pt x="101" y="319"/>
                  </a:lnTo>
                  <a:lnTo>
                    <a:pt x="101" y="319"/>
                  </a:lnTo>
                  <a:lnTo>
                    <a:pt x="99" y="319"/>
                  </a:lnTo>
                  <a:lnTo>
                    <a:pt x="99" y="319"/>
                  </a:lnTo>
                  <a:lnTo>
                    <a:pt x="97" y="319"/>
                  </a:lnTo>
                  <a:lnTo>
                    <a:pt x="97" y="318"/>
                  </a:lnTo>
                  <a:lnTo>
                    <a:pt x="97" y="318"/>
                  </a:lnTo>
                  <a:lnTo>
                    <a:pt x="95" y="318"/>
                  </a:lnTo>
                  <a:lnTo>
                    <a:pt x="95" y="318"/>
                  </a:lnTo>
                  <a:lnTo>
                    <a:pt x="93" y="318"/>
                  </a:lnTo>
                  <a:lnTo>
                    <a:pt x="93" y="318"/>
                  </a:lnTo>
                  <a:lnTo>
                    <a:pt x="91" y="318"/>
                  </a:lnTo>
                  <a:lnTo>
                    <a:pt x="91" y="318"/>
                  </a:lnTo>
                  <a:lnTo>
                    <a:pt x="91" y="318"/>
                  </a:lnTo>
                  <a:lnTo>
                    <a:pt x="89" y="318"/>
                  </a:lnTo>
                  <a:lnTo>
                    <a:pt x="89" y="318"/>
                  </a:lnTo>
                  <a:lnTo>
                    <a:pt x="87" y="318"/>
                  </a:lnTo>
                  <a:lnTo>
                    <a:pt x="85" y="318"/>
                  </a:lnTo>
                  <a:lnTo>
                    <a:pt x="85" y="318"/>
                  </a:lnTo>
                  <a:lnTo>
                    <a:pt x="84" y="316"/>
                  </a:lnTo>
                  <a:lnTo>
                    <a:pt x="84" y="316"/>
                  </a:lnTo>
                  <a:lnTo>
                    <a:pt x="84" y="316"/>
                  </a:lnTo>
                  <a:lnTo>
                    <a:pt x="82" y="316"/>
                  </a:lnTo>
                  <a:lnTo>
                    <a:pt x="82" y="314"/>
                  </a:lnTo>
                  <a:lnTo>
                    <a:pt x="82" y="316"/>
                  </a:lnTo>
                  <a:lnTo>
                    <a:pt x="80" y="316"/>
                  </a:lnTo>
                  <a:lnTo>
                    <a:pt x="80" y="316"/>
                  </a:lnTo>
                  <a:lnTo>
                    <a:pt x="78" y="316"/>
                  </a:lnTo>
                  <a:lnTo>
                    <a:pt x="76" y="314"/>
                  </a:lnTo>
                  <a:lnTo>
                    <a:pt x="70" y="314"/>
                  </a:lnTo>
                  <a:lnTo>
                    <a:pt x="66" y="310"/>
                  </a:lnTo>
                  <a:lnTo>
                    <a:pt x="66" y="310"/>
                  </a:lnTo>
                  <a:lnTo>
                    <a:pt x="66" y="310"/>
                  </a:lnTo>
                  <a:lnTo>
                    <a:pt x="55" y="310"/>
                  </a:lnTo>
                  <a:lnTo>
                    <a:pt x="51" y="310"/>
                  </a:lnTo>
                  <a:lnTo>
                    <a:pt x="49" y="310"/>
                  </a:lnTo>
                  <a:lnTo>
                    <a:pt x="47" y="308"/>
                  </a:lnTo>
                  <a:lnTo>
                    <a:pt x="47" y="308"/>
                  </a:lnTo>
                  <a:lnTo>
                    <a:pt x="42" y="310"/>
                  </a:lnTo>
                  <a:lnTo>
                    <a:pt x="40" y="310"/>
                  </a:lnTo>
                  <a:lnTo>
                    <a:pt x="32" y="314"/>
                  </a:lnTo>
                  <a:lnTo>
                    <a:pt x="28" y="318"/>
                  </a:lnTo>
                  <a:lnTo>
                    <a:pt x="28" y="319"/>
                  </a:lnTo>
                  <a:lnTo>
                    <a:pt x="28" y="321"/>
                  </a:lnTo>
                  <a:lnTo>
                    <a:pt x="28" y="323"/>
                  </a:lnTo>
                  <a:lnTo>
                    <a:pt x="28" y="327"/>
                  </a:lnTo>
                  <a:lnTo>
                    <a:pt x="28" y="329"/>
                  </a:lnTo>
                  <a:lnTo>
                    <a:pt x="28" y="331"/>
                  </a:lnTo>
                  <a:lnTo>
                    <a:pt x="30" y="331"/>
                  </a:lnTo>
                  <a:lnTo>
                    <a:pt x="30" y="331"/>
                  </a:lnTo>
                  <a:lnTo>
                    <a:pt x="30" y="331"/>
                  </a:lnTo>
                  <a:lnTo>
                    <a:pt x="30" y="331"/>
                  </a:lnTo>
                  <a:lnTo>
                    <a:pt x="32" y="333"/>
                  </a:lnTo>
                  <a:lnTo>
                    <a:pt x="32" y="337"/>
                  </a:lnTo>
                  <a:lnTo>
                    <a:pt x="34" y="338"/>
                  </a:lnTo>
                  <a:lnTo>
                    <a:pt x="34" y="338"/>
                  </a:lnTo>
                  <a:lnTo>
                    <a:pt x="32" y="338"/>
                  </a:lnTo>
                  <a:lnTo>
                    <a:pt x="32" y="338"/>
                  </a:lnTo>
                  <a:lnTo>
                    <a:pt x="30" y="338"/>
                  </a:lnTo>
                  <a:lnTo>
                    <a:pt x="30" y="338"/>
                  </a:lnTo>
                  <a:lnTo>
                    <a:pt x="30" y="338"/>
                  </a:lnTo>
                  <a:lnTo>
                    <a:pt x="28" y="338"/>
                  </a:lnTo>
                  <a:lnTo>
                    <a:pt x="28" y="338"/>
                  </a:lnTo>
                  <a:lnTo>
                    <a:pt x="26" y="340"/>
                  </a:lnTo>
                  <a:lnTo>
                    <a:pt x="26" y="342"/>
                  </a:lnTo>
                  <a:lnTo>
                    <a:pt x="26" y="342"/>
                  </a:lnTo>
                  <a:lnTo>
                    <a:pt x="26" y="342"/>
                  </a:lnTo>
                  <a:lnTo>
                    <a:pt x="26" y="342"/>
                  </a:lnTo>
                  <a:lnTo>
                    <a:pt x="26" y="348"/>
                  </a:lnTo>
                  <a:lnTo>
                    <a:pt x="26" y="352"/>
                  </a:lnTo>
                  <a:lnTo>
                    <a:pt x="26" y="354"/>
                  </a:lnTo>
                  <a:lnTo>
                    <a:pt x="26" y="354"/>
                  </a:lnTo>
                  <a:lnTo>
                    <a:pt x="26" y="354"/>
                  </a:lnTo>
                  <a:lnTo>
                    <a:pt x="26" y="354"/>
                  </a:lnTo>
                  <a:lnTo>
                    <a:pt x="24" y="352"/>
                  </a:lnTo>
                  <a:lnTo>
                    <a:pt x="23" y="352"/>
                  </a:lnTo>
                  <a:lnTo>
                    <a:pt x="23" y="352"/>
                  </a:lnTo>
                  <a:lnTo>
                    <a:pt x="23" y="354"/>
                  </a:lnTo>
                  <a:lnTo>
                    <a:pt x="23" y="354"/>
                  </a:lnTo>
                  <a:lnTo>
                    <a:pt x="23" y="354"/>
                  </a:lnTo>
                  <a:lnTo>
                    <a:pt x="24" y="356"/>
                  </a:lnTo>
                  <a:lnTo>
                    <a:pt x="24" y="358"/>
                  </a:lnTo>
                  <a:lnTo>
                    <a:pt x="24" y="359"/>
                  </a:lnTo>
                  <a:lnTo>
                    <a:pt x="26" y="359"/>
                  </a:lnTo>
                  <a:lnTo>
                    <a:pt x="26" y="359"/>
                  </a:lnTo>
                  <a:lnTo>
                    <a:pt x="26" y="361"/>
                  </a:lnTo>
                  <a:lnTo>
                    <a:pt x="26" y="361"/>
                  </a:lnTo>
                  <a:lnTo>
                    <a:pt x="28" y="367"/>
                  </a:lnTo>
                  <a:lnTo>
                    <a:pt x="28" y="369"/>
                  </a:lnTo>
                  <a:lnTo>
                    <a:pt x="28" y="369"/>
                  </a:lnTo>
                  <a:lnTo>
                    <a:pt x="30" y="369"/>
                  </a:lnTo>
                  <a:lnTo>
                    <a:pt x="32" y="371"/>
                  </a:lnTo>
                  <a:lnTo>
                    <a:pt x="34" y="371"/>
                  </a:lnTo>
                  <a:lnTo>
                    <a:pt x="34" y="371"/>
                  </a:lnTo>
                  <a:lnTo>
                    <a:pt x="36" y="373"/>
                  </a:lnTo>
                  <a:lnTo>
                    <a:pt x="36" y="378"/>
                  </a:lnTo>
                  <a:lnTo>
                    <a:pt x="38" y="384"/>
                  </a:lnTo>
                  <a:lnTo>
                    <a:pt x="38" y="384"/>
                  </a:lnTo>
                  <a:lnTo>
                    <a:pt x="38" y="388"/>
                  </a:lnTo>
                  <a:lnTo>
                    <a:pt x="38" y="388"/>
                  </a:lnTo>
                  <a:lnTo>
                    <a:pt x="38" y="390"/>
                  </a:lnTo>
                  <a:lnTo>
                    <a:pt x="38" y="390"/>
                  </a:lnTo>
                  <a:lnTo>
                    <a:pt x="38" y="392"/>
                  </a:lnTo>
                  <a:lnTo>
                    <a:pt x="36" y="392"/>
                  </a:lnTo>
                  <a:lnTo>
                    <a:pt x="36" y="392"/>
                  </a:lnTo>
                  <a:lnTo>
                    <a:pt x="36" y="394"/>
                  </a:lnTo>
                  <a:lnTo>
                    <a:pt x="34" y="396"/>
                  </a:lnTo>
                  <a:lnTo>
                    <a:pt x="34" y="397"/>
                  </a:lnTo>
                  <a:lnTo>
                    <a:pt x="34" y="397"/>
                  </a:lnTo>
                  <a:lnTo>
                    <a:pt x="30" y="401"/>
                  </a:lnTo>
                  <a:lnTo>
                    <a:pt x="30" y="401"/>
                  </a:lnTo>
                  <a:lnTo>
                    <a:pt x="30" y="401"/>
                  </a:lnTo>
                  <a:lnTo>
                    <a:pt x="28" y="401"/>
                  </a:lnTo>
                  <a:lnTo>
                    <a:pt x="28" y="401"/>
                  </a:lnTo>
                  <a:lnTo>
                    <a:pt x="28" y="401"/>
                  </a:lnTo>
                  <a:lnTo>
                    <a:pt x="28" y="399"/>
                  </a:lnTo>
                  <a:lnTo>
                    <a:pt x="26" y="399"/>
                  </a:lnTo>
                  <a:lnTo>
                    <a:pt x="26" y="399"/>
                  </a:lnTo>
                  <a:lnTo>
                    <a:pt x="26" y="399"/>
                  </a:lnTo>
                  <a:lnTo>
                    <a:pt x="24" y="399"/>
                  </a:lnTo>
                  <a:lnTo>
                    <a:pt x="24" y="399"/>
                  </a:lnTo>
                  <a:lnTo>
                    <a:pt x="23" y="399"/>
                  </a:lnTo>
                  <a:lnTo>
                    <a:pt x="23" y="399"/>
                  </a:lnTo>
                  <a:lnTo>
                    <a:pt x="21" y="399"/>
                  </a:lnTo>
                  <a:lnTo>
                    <a:pt x="21" y="399"/>
                  </a:lnTo>
                  <a:lnTo>
                    <a:pt x="19" y="399"/>
                  </a:lnTo>
                  <a:lnTo>
                    <a:pt x="17" y="397"/>
                  </a:lnTo>
                  <a:lnTo>
                    <a:pt x="15" y="397"/>
                  </a:lnTo>
                  <a:lnTo>
                    <a:pt x="13" y="397"/>
                  </a:lnTo>
                  <a:lnTo>
                    <a:pt x="5" y="394"/>
                  </a:lnTo>
                  <a:lnTo>
                    <a:pt x="4" y="394"/>
                  </a:lnTo>
                  <a:lnTo>
                    <a:pt x="2" y="396"/>
                  </a:lnTo>
                  <a:lnTo>
                    <a:pt x="2" y="397"/>
                  </a:lnTo>
                  <a:lnTo>
                    <a:pt x="2" y="399"/>
                  </a:lnTo>
                  <a:lnTo>
                    <a:pt x="2" y="399"/>
                  </a:lnTo>
                  <a:lnTo>
                    <a:pt x="2" y="401"/>
                  </a:lnTo>
                  <a:lnTo>
                    <a:pt x="2" y="401"/>
                  </a:lnTo>
                  <a:lnTo>
                    <a:pt x="0" y="401"/>
                  </a:lnTo>
                  <a:lnTo>
                    <a:pt x="0" y="403"/>
                  </a:lnTo>
                  <a:lnTo>
                    <a:pt x="0" y="403"/>
                  </a:lnTo>
                  <a:lnTo>
                    <a:pt x="0" y="403"/>
                  </a:lnTo>
                  <a:lnTo>
                    <a:pt x="2" y="403"/>
                  </a:lnTo>
                  <a:lnTo>
                    <a:pt x="4" y="405"/>
                  </a:lnTo>
                  <a:lnTo>
                    <a:pt x="4" y="405"/>
                  </a:lnTo>
                  <a:lnTo>
                    <a:pt x="5" y="405"/>
                  </a:lnTo>
                  <a:lnTo>
                    <a:pt x="7" y="405"/>
                  </a:lnTo>
                  <a:lnTo>
                    <a:pt x="7" y="407"/>
                  </a:lnTo>
                  <a:lnTo>
                    <a:pt x="7" y="407"/>
                  </a:lnTo>
                  <a:lnTo>
                    <a:pt x="9" y="407"/>
                  </a:lnTo>
                  <a:lnTo>
                    <a:pt x="9" y="407"/>
                  </a:lnTo>
                  <a:lnTo>
                    <a:pt x="9" y="409"/>
                  </a:lnTo>
                  <a:lnTo>
                    <a:pt x="9" y="409"/>
                  </a:lnTo>
                  <a:lnTo>
                    <a:pt x="9" y="411"/>
                  </a:lnTo>
                  <a:lnTo>
                    <a:pt x="9" y="413"/>
                  </a:lnTo>
                  <a:lnTo>
                    <a:pt x="9" y="415"/>
                  </a:lnTo>
                  <a:lnTo>
                    <a:pt x="7" y="422"/>
                  </a:lnTo>
                  <a:lnTo>
                    <a:pt x="7" y="422"/>
                  </a:lnTo>
                  <a:lnTo>
                    <a:pt x="7" y="422"/>
                  </a:lnTo>
                  <a:lnTo>
                    <a:pt x="7" y="422"/>
                  </a:lnTo>
                  <a:lnTo>
                    <a:pt x="5" y="424"/>
                  </a:lnTo>
                  <a:lnTo>
                    <a:pt x="4" y="424"/>
                  </a:lnTo>
                  <a:lnTo>
                    <a:pt x="4" y="424"/>
                  </a:lnTo>
                  <a:lnTo>
                    <a:pt x="4" y="428"/>
                  </a:lnTo>
                  <a:lnTo>
                    <a:pt x="4" y="428"/>
                  </a:lnTo>
                  <a:lnTo>
                    <a:pt x="4" y="430"/>
                  </a:lnTo>
                  <a:lnTo>
                    <a:pt x="4" y="432"/>
                  </a:lnTo>
                  <a:lnTo>
                    <a:pt x="2" y="434"/>
                  </a:lnTo>
                  <a:lnTo>
                    <a:pt x="2" y="435"/>
                  </a:lnTo>
                  <a:lnTo>
                    <a:pt x="2" y="437"/>
                  </a:lnTo>
                  <a:lnTo>
                    <a:pt x="2" y="439"/>
                  </a:lnTo>
                  <a:lnTo>
                    <a:pt x="4" y="443"/>
                  </a:lnTo>
                  <a:lnTo>
                    <a:pt x="4" y="443"/>
                  </a:lnTo>
                  <a:lnTo>
                    <a:pt x="4" y="445"/>
                  </a:lnTo>
                  <a:lnTo>
                    <a:pt x="5" y="445"/>
                  </a:lnTo>
                  <a:lnTo>
                    <a:pt x="5" y="445"/>
                  </a:lnTo>
                  <a:lnTo>
                    <a:pt x="7" y="445"/>
                  </a:lnTo>
                  <a:lnTo>
                    <a:pt x="7" y="447"/>
                  </a:lnTo>
                  <a:lnTo>
                    <a:pt x="7" y="447"/>
                  </a:lnTo>
                  <a:lnTo>
                    <a:pt x="9" y="449"/>
                  </a:lnTo>
                  <a:lnTo>
                    <a:pt x="9" y="451"/>
                  </a:lnTo>
                  <a:lnTo>
                    <a:pt x="9" y="451"/>
                  </a:lnTo>
                  <a:lnTo>
                    <a:pt x="9" y="451"/>
                  </a:lnTo>
                  <a:lnTo>
                    <a:pt x="11" y="451"/>
                  </a:lnTo>
                  <a:lnTo>
                    <a:pt x="11" y="451"/>
                  </a:lnTo>
                  <a:lnTo>
                    <a:pt x="13" y="451"/>
                  </a:lnTo>
                  <a:lnTo>
                    <a:pt x="13" y="451"/>
                  </a:lnTo>
                  <a:lnTo>
                    <a:pt x="13" y="451"/>
                  </a:lnTo>
                  <a:lnTo>
                    <a:pt x="15" y="451"/>
                  </a:lnTo>
                  <a:lnTo>
                    <a:pt x="17" y="451"/>
                  </a:lnTo>
                  <a:lnTo>
                    <a:pt x="19" y="451"/>
                  </a:lnTo>
                  <a:lnTo>
                    <a:pt x="19" y="451"/>
                  </a:lnTo>
                  <a:lnTo>
                    <a:pt x="19" y="453"/>
                  </a:lnTo>
                  <a:lnTo>
                    <a:pt x="19" y="453"/>
                  </a:lnTo>
                  <a:lnTo>
                    <a:pt x="19" y="455"/>
                  </a:lnTo>
                  <a:lnTo>
                    <a:pt x="19" y="455"/>
                  </a:lnTo>
                  <a:lnTo>
                    <a:pt x="19" y="456"/>
                  </a:lnTo>
                  <a:lnTo>
                    <a:pt x="19" y="456"/>
                  </a:lnTo>
                  <a:lnTo>
                    <a:pt x="17" y="458"/>
                  </a:lnTo>
                  <a:lnTo>
                    <a:pt x="17" y="458"/>
                  </a:lnTo>
                  <a:lnTo>
                    <a:pt x="17" y="458"/>
                  </a:lnTo>
                  <a:lnTo>
                    <a:pt x="17" y="458"/>
                  </a:lnTo>
                  <a:lnTo>
                    <a:pt x="15" y="458"/>
                  </a:lnTo>
                  <a:lnTo>
                    <a:pt x="15" y="458"/>
                  </a:lnTo>
                  <a:lnTo>
                    <a:pt x="15" y="458"/>
                  </a:lnTo>
                  <a:lnTo>
                    <a:pt x="15" y="458"/>
                  </a:lnTo>
                  <a:lnTo>
                    <a:pt x="13" y="458"/>
                  </a:lnTo>
                  <a:lnTo>
                    <a:pt x="13" y="458"/>
                  </a:lnTo>
                  <a:lnTo>
                    <a:pt x="13" y="460"/>
                  </a:lnTo>
                  <a:lnTo>
                    <a:pt x="13" y="460"/>
                  </a:lnTo>
                  <a:lnTo>
                    <a:pt x="13" y="462"/>
                  </a:lnTo>
                  <a:lnTo>
                    <a:pt x="13" y="462"/>
                  </a:lnTo>
                  <a:lnTo>
                    <a:pt x="13" y="464"/>
                  </a:lnTo>
                  <a:lnTo>
                    <a:pt x="13" y="464"/>
                  </a:lnTo>
                  <a:lnTo>
                    <a:pt x="15" y="466"/>
                  </a:lnTo>
                  <a:lnTo>
                    <a:pt x="15" y="466"/>
                  </a:lnTo>
                  <a:lnTo>
                    <a:pt x="19" y="468"/>
                  </a:lnTo>
                  <a:lnTo>
                    <a:pt x="19" y="468"/>
                  </a:lnTo>
                  <a:lnTo>
                    <a:pt x="19" y="468"/>
                  </a:lnTo>
                  <a:lnTo>
                    <a:pt x="19" y="470"/>
                  </a:lnTo>
                  <a:lnTo>
                    <a:pt x="19" y="470"/>
                  </a:lnTo>
                  <a:lnTo>
                    <a:pt x="17" y="470"/>
                  </a:lnTo>
                  <a:lnTo>
                    <a:pt x="17" y="472"/>
                  </a:lnTo>
                  <a:lnTo>
                    <a:pt x="17" y="472"/>
                  </a:lnTo>
                  <a:lnTo>
                    <a:pt x="23" y="474"/>
                  </a:lnTo>
                  <a:lnTo>
                    <a:pt x="26" y="474"/>
                  </a:lnTo>
                  <a:lnTo>
                    <a:pt x="28" y="474"/>
                  </a:lnTo>
                  <a:lnTo>
                    <a:pt x="30" y="475"/>
                  </a:lnTo>
                  <a:lnTo>
                    <a:pt x="32" y="475"/>
                  </a:lnTo>
                  <a:lnTo>
                    <a:pt x="32" y="475"/>
                  </a:lnTo>
                  <a:lnTo>
                    <a:pt x="34" y="474"/>
                  </a:lnTo>
                  <a:lnTo>
                    <a:pt x="34" y="474"/>
                  </a:lnTo>
                  <a:lnTo>
                    <a:pt x="34" y="474"/>
                  </a:lnTo>
                  <a:lnTo>
                    <a:pt x="34" y="470"/>
                  </a:lnTo>
                  <a:lnTo>
                    <a:pt x="34" y="470"/>
                  </a:lnTo>
                  <a:lnTo>
                    <a:pt x="34" y="470"/>
                  </a:lnTo>
                  <a:lnTo>
                    <a:pt x="36" y="468"/>
                  </a:lnTo>
                  <a:lnTo>
                    <a:pt x="36" y="466"/>
                  </a:lnTo>
                  <a:lnTo>
                    <a:pt x="38" y="464"/>
                  </a:lnTo>
                  <a:lnTo>
                    <a:pt x="38" y="464"/>
                  </a:lnTo>
                  <a:lnTo>
                    <a:pt x="40" y="464"/>
                  </a:lnTo>
                  <a:lnTo>
                    <a:pt x="40" y="466"/>
                  </a:lnTo>
                  <a:lnTo>
                    <a:pt x="42" y="466"/>
                  </a:lnTo>
                  <a:lnTo>
                    <a:pt x="44" y="466"/>
                  </a:lnTo>
                  <a:lnTo>
                    <a:pt x="45" y="466"/>
                  </a:lnTo>
                  <a:lnTo>
                    <a:pt x="47" y="466"/>
                  </a:lnTo>
                  <a:lnTo>
                    <a:pt x="49" y="466"/>
                  </a:lnTo>
                  <a:lnTo>
                    <a:pt x="49" y="466"/>
                  </a:lnTo>
                  <a:lnTo>
                    <a:pt x="49" y="466"/>
                  </a:lnTo>
                  <a:lnTo>
                    <a:pt x="49" y="466"/>
                  </a:lnTo>
                  <a:lnTo>
                    <a:pt x="49" y="466"/>
                  </a:lnTo>
                  <a:lnTo>
                    <a:pt x="49" y="468"/>
                  </a:lnTo>
                  <a:lnTo>
                    <a:pt x="51" y="468"/>
                  </a:lnTo>
                  <a:lnTo>
                    <a:pt x="51" y="470"/>
                  </a:lnTo>
                  <a:lnTo>
                    <a:pt x="55" y="470"/>
                  </a:lnTo>
                  <a:lnTo>
                    <a:pt x="55" y="470"/>
                  </a:lnTo>
                  <a:lnTo>
                    <a:pt x="57" y="470"/>
                  </a:lnTo>
                  <a:lnTo>
                    <a:pt x="57" y="472"/>
                  </a:lnTo>
                  <a:lnTo>
                    <a:pt x="59" y="474"/>
                  </a:lnTo>
                  <a:lnTo>
                    <a:pt x="61" y="474"/>
                  </a:lnTo>
                  <a:lnTo>
                    <a:pt x="61" y="474"/>
                  </a:lnTo>
                  <a:lnTo>
                    <a:pt x="61" y="474"/>
                  </a:lnTo>
                  <a:lnTo>
                    <a:pt x="63" y="474"/>
                  </a:lnTo>
                  <a:lnTo>
                    <a:pt x="61" y="472"/>
                  </a:lnTo>
                  <a:lnTo>
                    <a:pt x="59" y="470"/>
                  </a:lnTo>
                  <a:lnTo>
                    <a:pt x="59" y="470"/>
                  </a:lnTo>
                  <a:lnTo>
                    <a:pt x="59" y="468"/>
                  </a:lnTo>
                  <a:lnTo>
                    <a:pt x="59" y="468"/>
                  </a:lnTo>
                  <a:lnTo>
                    <a:pt x="59" y="466"/>
                  </a:lnTo>
                  <a:lnTo>
                    <a:pt x="59" y="466"/>
                  </a:lnTo>
                  <a:lnTo>
                    <a:pt x="61" y="466"/>
                  </a:lnTo>
                  <a:lnTo>
                    <a:pt x="61" y="466"/>
                  </a:lnTo>
                  <a:lnTo>
                    <a:pt x="63" y="466"/>
                  </a:lnTo>
                  <a:lnTo>
                    <a:pt x="63" y="466"/>
                  </a:lnTo>
                  <a:lnTo>
                    <a:pt x="63" y="466"/>
                  </a:lnTo>
                  <a:lnTo>
                    <a:pt x="65" y="466"/>
                  </a:lnTo>
                  <a:lnTo>
                    <a:pt x="65" y="468"/>
                  </a:lnTo>
                  <a:lnTo>
                    <a:pt x="65" y="468"/>
                  </a:lnTo>
                  <a:lnTo>
                    <a:pt x="65" y="468"/>
                  </a:lnTo>
                  <a:lnTo>
                    <a:pt x="65" y="468"/>
                  </a:lnTo>
                  <a:lnTo>
                    <a:pt x="65" y="468"/>
                  </a:lnTo>
                  <a:lnTo>
                    <a:pt x="68" y="470"/>
                  </a:lnTo>
                  <a:lnTo>
                    <a:pt x="68" y="470"/>
                  </a:lnTo>
                  <a:lnTo>
                    <a:pt x="68" y="470"/>
                  </a:lnTo>
                  <a:lnTo>
                    <a:pt x="68" y="470"/>
                  </a:lnTo>
                  <a:lnTo>
                    <a:pt x="68" y="472"/>
                  </a:lnTo>
                  <a:lnTo>
                    <a:pt x="68" y="474"/>
                  </a:lnTo>
                  <a:lnTo>
                    <a:pt x="68" y="474"/>
                  </a:lnTo>
                  <a:lnTo>
                    <a:pt x="68" y="475"/>
                  </a:lnTo>
                  <a:lnTo>
                    <a:pt x="68" y="477"/>
                  </a:lnTo>
                  <a:lnTo>
                    <a:pt x="68" y="477"/>
                  </a:lnTo>
                  <a:lnTo>
                    <a:pt x="68" y="479"/>
                  </a:lnTo>
                  <a:lnTo>
                    <a:pt x="68" y="479"/>
                  </a:lnTo>
                  <a:lnTo>
                    <a:pt x="68" y="479"/>
                  </a:lnTo>
                  <a:lnTo>
                    <a:pt x="68" y="479"/>
                  </a:lnTo>
                  <a:lnTo>
                    <a:pt x="66" y="481"/>
                  </a:lnTo>
                  <a:lnTo>
                    <a:pt x="63" y="481"/>
                  </a:lnTo>
                  <a:lnTo>
                    <a:pt x="61" y="481"/>
                  </a:lnTo>
                  <a:lnTo>
                    <a:pt x="61" y="481"/>
                  </a:lnTo>
                  <a:lnTo>
                    <a:pt x="61" y="481"/>
                  </a:lnTo>
                  <a:lnTo>
                    <a:pt x="59" y="483"/>
                  </a:lnTo>
                  <a:lnTo>
                    <a:pt x="57" y="485"/>
                  </a:lnTo>
                  <a:lnTo>
                    <a:pt x="57" y="485"/>
                  </a:lnTo>
                  <a:lnTo>
                    <a:pt x="57" y="485"/>
                  </a:lnTo>
                  <a:lnTo>
                    <a:pt x="57" y="485"/>
                  </a:lnTo>
                  <a:lnTo>
                    <a:pt x="57" y="485"/>
                  </a:lnTo>
                  <a:lnTo>
                    <a:pt x="59" y="487"/>
                  </a:lnTo>
                  <a:lnTo>
                    <a:pt x="59" y="487"/>
                  </a:lnTo>
                  <a:lnTo>
                    <a:pt x="59" y="487"/>
                  </a:lnTo>
                  <a:lnTo>
                    <a:pt x="59" y="487"/>
                  </a:lnTo>
                  <a:lnTo>
                    <a:pt x="59" y="489"/>
                  </a:lnTo>
                  <a:lnTo>
                    <a:pt x="57" y="491"/>
                  </a:lnTo>
                  <a:lnTo>
                    <a:pt x="57" y="491"/>
                  </a:lnTo>
                  <a:lnTo>
                    <a:pt x="57" y="493"/>
                  </a:lnTo>
                  <a:lnTo>
                    <a:pt x="57" y="493"/>
                  </a:lnTo>
                  <a:lnTo>
                    <a:pt x="57" y="493"/>
                  </a:lnTo>
                  <a:lnTo>
                    <a:pt x="59" y="494"/>
                  </a:lnTo>
                  <a:lnTo>
                    <a:pt x="59" y="494"/>
                  </a:lnTo>
                  <a:lnTo>
                    <a:pt x="59" y="496"/>
                  </a:lnTo>
                  <a:lnTo>
                    <a:pt x="59" y="496"/>
                  </a:lnTo>
                  <a:lnTo>
                    <a:pt x="59" y="498"/>
                  </a:lnTo>
                  <a:lnTo>
                    <a:pt x="59" y="498"/>
                  </a:lnTo>
                  <a:lnTo>
                    <a:pt x="61" y="498"/>
                  </a:lnTo>
                  <a:lnTo>
                    <a:pt x="61" y="500"/>
                  </a:lnTo>
                  <a:lnTo>
                    <a:pt x="61" y="500"/>
                  </a:lnTo>
                  <a:lnTo>
                    <a:pt x="63" y="500"/>
                  </a:lnTo>
                  <a:lnTo>
                    <a:pt x="61" y="502"/>
                  </a:lnTo>
                  <a:lnTo>
                    <a:pt x="61" y="502"/>
                  </a:lnTo>
                  <a:lnTo>
                    <a:pt x="61" y="504"/>
                  </a:lnTo>
                  <a:lnTo>
                    <a:pt x="63" y="506"/>
                  </a:lnTo>
                  <a:lnTo>
                    <a:pt x="63" y="506"/>
                  </a:lnTo>
                  <a:lnTo>
                    <a:pt x="63" y="506"/>
                  </a:lnTo>
                  <a:lnTo>
                    <a:pt x="63" y="508"/>
                  </a:lnTo>
                  <a:lnTo>
                    <a:pt x="61" y="508"/>
                  </a:lnTo>
                  <a:lnTo>
                    <a:pt x="61" y="508"/>
                  </a:lnTo>
                  <a:lnTo>
                    <a:pt x="59" y="506"/>
                  </a:lnTo>
                  <a:lnTo>
                    <a:pt x="57" y="506"/>
                  </a:lnTo>
                  <a:lnTo>
                    <a:pt x="57" y="506"/>
                  </a:lnTo>
                  <a:lnTo>
                    <a:pt x="57" y="506"/>
                  </a:lnTo>
                  <a:lnTo>
                    <a:pt x="57" y="504"/>
                  </a:lnTo>
                  <a:lnTo>
                    <a:pt x="57" y="504"/>
                  </a:lnTo>
                  <a:lnTo>
                    <a:pt x="57" y="502"/>
                  </a:lnTo>
                  <a:lnTo>
                    <a:pt x="57" y="502"/>
                  </a:lnTo>
                  <a:lnTo>
                    <a:pt x="55" y="500"/>
                  </a:lnTo>
                  <a:lnTo>
                    <a:pt x="53" y="496"/>
                  </a:lnTo>
                  <a:lnTo>
                    <a:pt x="53" y="496"/>
                  </a:lnTo>
                  <a:lnTo>
                    <a:pt x="53" y="496"/>
                  </a:lnTo>
                  <a:lnTo>
                    <a:pt x="53" y="496"/>
                  </a:lnTo>
                  <a:lnTo>
                    <a:pt x="51" y="496"/>
                  </a:lnTo>
                  <a:lnTo>
                    <a:pt x="51" y="494"/>
                  </a:lnTo>
                  <a:lnTo>
                    <a:pt x="49" y="494"/>
                  </a:lnTo>
                  <a:lnTo>
                    <a:pt x="49" y="494"/>
                  </a:lnTo>
                  <a:lnTo>
                    <a:pt x="49" y="494"/>
                  </a:lnTo>
                  <a:lnTo>
                    <a:pt x="42" y="496"/>
                  </a:lnTo>
                  <a:lnTo>
                    <a:pt x="42" y="496"/>
                  </a:lnTo>
                  <a:lnTo>
                    <a:pt x="40" y="496"/>
                  </a:lnTo>
                  <a:lnTo>
                    <a:pt x="38" y="496"/>
                  </a:lnTo>
                  <a:lnTo>
                    <a:pt x="36" y="496"/>
                  </a:lnTo>
                  <a:lnTo>
                    <a:pt x="36" y="496"/>
                  </a:lnTo>
                  <a:lnTo>
                    <a:pt x="34" y="496"/>
                  </a:lnTo>
                  <a:lnTo>
                    <a:pt x="34" y="494"/>
                  </a:lnTo>
                  <a:lnTo>
                    <a:pt x="34" y="494"/>
                  </a:lnTo>
                  <a:lnTo>
                    <a:pt x="32" y="493"/>
                  </a:lnTo>
                  <a:lnTo>
                    <a:pt x="32" y="493"/>
                  </a:lnTo>
                  <a:lnTo>
                    <a:pt x="28" y="493"/>
                  </a:lnTo>
                  <a:lnTo>
                    <a:pt x="28" y="493"/>
                  </a:lnTo>
                  <a:lnTo>
                    <a:pt x="26" y="491"/>
                  </a:lnTo>
                  <a:lnTo>
                    <a:pt x="26" y="491"/>
                  </a:lnTo>
                  <a:lnTo>
                    <a:pt x="26" y="491"/>
                  </a:lnTo>
                  <a:lnTo>
                    <a:pt x="24" y="491"/>
                  </a:lnTo>
                  <a:lnTo>
                    <a:pt x="24" y="489"/>
                  </a:lnTo>
                  <a:lnTo>
                    <a:pt x="24" y="487"/>
                  </a:lnTo>
                  <a:lnTo>
                    <a:pt x="23" y="483"/>
                  </a:lnTo>
                  <a:lnTo>
                    <a:pt x="23" y="481"/>
                  </a:lnTo>
                  <a:lnTo>
                    <a:pt x="23" y="481"/>
                  </a:lnTo>
                  <a:lnTo>
                    <a:pt x="23" y="481"/>
                  </a:lnTo>
                  <a:lnTo>
                    <a:pt x="23" y="481"/>
                  </a:lnTo>
                  <a:lnTo>
                    <a:pt x="23" y="481"/>
                  </a:lnTo>
                  <a:lnTo>
                    <a:pt x="21" y="481"/>
                  </a:lnTo>
                  <a:lnTo>
                    <a:pt x="21" y="481"/>
                  </a:lnTo>
                  <a:lnTo>
                    <a:pt x="19" y="479"/>
                  </a:lnTo>
                  <a:lnTo>
                    <a:pt x="19" y="479"/>
                  </a:lnTo>
                  <a:lnTo>
                    <a:pt x="19" y="479"/>
                  </a:lnTo>
                  <a:lnTo>
                    <a:pt x="19" y="479"/>
                  </a:lnTo>
                  <a:lnTo>
                    <a:pt x="17" y="479"/>
                  </a:lnTo>
                  <a:lnTo>
                    <a:pt x="17" y="479"/>
                  </a:lnTo>
                  <a:lnTo>
                    <a:pt x="17" y="481"/>
                  </a:lnTo>
                  <a:lnTo>
                    <a:pt x="17" y="481"/>
                  </a:lnTo>
                  <a:lnTo>
                    <a:pt x="15" y="481"/>
                  </a:lnTo>
                  <a:lnTo>
                    <a:pt x="15" y="481"/>
                  </a:lnTo>
                  <a:lnTo>
                    <a:pt x="13" y="483"/>
                  </a:lnTo>
                  <a:lnTo>
                    <a:pt x="13" y="483"/>
                  </a:lnTo>
                  <a:lnTo>
                    <a:pt x="15" y="483"/>
                  </a:lnTo>
                  <a:lnTo>
                    <a:pt x="19" y="489"/>
                  </a:lnTo>
                  <a:lnTo>
                    <a:pt x="21" y="491"/>
                  </a:lnTo>
                  <a:lnTo>
                    <a:pt x="21" y="491"/>
                  </a:lnTo>
                  <a:lnTo>
                    <a:pt x="21" y="491"/>
                  </a:lnTo>
                  <a:lnTo>
                    <a:pt x="21" y="493"/>
                  </a:lnTo>
                  <a:lnTo>
                    <a:pt x="21" y="493"/>
                  </a:lnTo>
                  <a:lnTo>
                    <a:pt x="19" y="494"/>
                  </a:lnTo>
                  <a:lnTo>
                    <a:pt x="21" y="496"/>
                  </a:lnTo>
                  <a:lnTo>
                    <a:pt x="21" y="496"/>
                  </a:lnTo>
                  <a:lnTo>
                    <a:pt x="21" y="496"/>
                  </a:lnTo>
                  <a:lnTo>
                    <a:pt x="21" y="498"/>
                  </a:lnTo>
                  <a:lnTo>
                    <a:pt x="23" y="498"/>
                  </a:lnTo>
                  <a:lnTo>
                    <a:pt x="24" y="500"/>
                  </a:lnTo>
                  <a:lnTo>
                    <a:pt x="24" y="502"/>
                  </a:lnTo>
                  <a:lnTo>
                    <a:pt x="26" y="504"/>
                  </a:lnTo>
                  <a:lnTo>
                    <a:pt x="26" y="504"/>
                  </a:lnTo>
                  <a:lnTo>
                    <a:pt x="26" y="506"/>
                  </a:lnTo>
                  <a:lnTo>
                    <a:pt x="26" y="506"/>
                  </a:lnTo>
                  <a:lnTo>
                    <a:pt x="26" y="506"/>
                  </a:lnTo>
                  <a:lnTo>
                    <a:pt x="26" y="508"/>
                  </a:lnTo>
                  <a:lnTo>
                    <a:pt x="26" y="508"/>
                  </a:lnTo>
                  <a:lnTo>
                    <a:pt x="26" y="508"/>
                  </a:lnTo>
                  <a:lnTo>
                    <a:pt x="24" y="508"/>
                  </a:lnTo>
                  <a:lnTo>
                    <a:pt x="24" y="510"/>
                  </a:lnTo>
                  <a:lnTo>
                    <a:pt x="24" y="510"/>
                  </a:lnTo>
                  <a:lnTo>
                    <a:pt x="24" y="510"/>
                  </a:lnTo>
                  <a:lnTo>
                    <a:pt x="24" y="512"/>
                  </a:lnTo>
                  <a:lnTo>
                    <a:pt x="23" y="512"/>
                  </a:lnTo>
                  <a:lnTo>
                    <a:pt x="23" y="513"/>
                  </a:lnTo>
                  <a:lnTo>
                    <a:pt x="23" y="513"/>
                  </a:lnTo>
                  <a:lnTo>
                    <a:pt x="23" y="515"/>
                  </a:lnTo>
                  <a:lnTo>
                    <a:pt x="23" y="517"/>
                  </a:lnTo>
                  <a:lnTo>
                    <a:pt x="23" y="519"/>
                  </a:lnTo>
                  <a:lnTo>
                    <a:pt x="23" y="521"/>
                  </a:lnTo>
                  <a:lnTo>
                    <a:pt x="23" y="521"/>
                  </a:lnTo>
                  <a:lnTo>
                    <a:pt x="24" y="521"/>
                  </a:lnTo>
                  <a:lnTo>
                    <a:pt x="24" y="519"/>
                  </a:lnTo>
                  <a:lnTo>
                    <a:pt x="24" y="519"/>
                  </a:lnTo>
                  <a:lnTo>
                    <a:pt x="24" y="517"/>
                  </a:lnTo>
                  <a:lnTo>
                    <a:pt x="24" y="517"/>
                  </a:lnTo>
                  <a:lnTo>
                    <a:pt x="24" y="517"/>
                  </a:lnTo>
                  <a:lnTo>
                    <a:pt x="26" y="517"/>
                  </a:lnTo>
                  <a:lnTo>
                    <a:pt x="26" y="517"/>
                  </a:lnTo>
                  <a:lnTo>
                    <a:pt x="26" y="519"/>
                  </a:lnTo>
                  <a:lnTo>
                    <a:pt x="26" y="519"/>
                  </a:lnTo>
                  <a:lnTo>
                    <a:pt x="28" y="521"/>
                  </a:lnTo>
                  <a:lnTo>
                    <a:pt x="28" y="521"/>
                  </a:lnTo>
                  <a:lnTo>
                    <a:pt x="30" y="521"/>
                  </a:lnTo>
                  <a:lnTo>
                    <a:pt x="30" y="521"/>
                  </a:lnTo>
                  <a:lnTo>
                    <a:pt x="30" y="521"/>
                  </a:lnTo>
                  <a:lnTo>
                    <a:pt x="30" y="519"/>
                  </a:lnTo>
                  <a:lnTo>
                    <a:pt x="32" y="519"/>
                  </a:lnTo>
                  <a:lnTo>
                    <a:pt x="32" y="519"/>
                  </a:lnTo>
                  <a:lnTo>
                    <a:pt x="32" y="519"/>
                  </a:lnTo>
                  <a:lnTo>
                    <a:pt x="34" y="519"/>
                  </a:lnTo>
                  <a:lnTo>
                    <a:pt x="36" y="519"/>
                  </a:lnTo>
                  <a:lnTo>
                    <a:pt x="36" y="519"/>
                  </a:lnTo>
                  <a:lnTo>
                    <a:pt x="38" y="519"/>
                  </a:lnTo>
                  <a:lnTo>
                    <a:pt x="38" y="519"/>
                  </a:lnTo>
                  <a:lnTo>
                    <a:pt x="38" y="517"/>
                  </a:lnTo>
                  <a:lnTo>
                    <a:pt x="38" y="517"/>
                  </a:lnTo>
                  <a:lnTo>
                    <a:pt x="38" y="515"/>
                  </a:lnTo>
                  <a:lnTo>
                    <a:pt x="38" y="515"/>
                  </a:lnTo>
                  <a:lnTo>
                    <a:pt x="38" y="513"/>
                  </a:lnTo>
                  <a:lnTo>
                    <a:pt x="38" y="513"/>
                  </a:lnTo>
                  <a:lnTo>
                    <a:pt x="38" y="512"/>
                  </a:lnTo>
                  <a:lnTo>
                    <a:pt x="36" y="512"/>
                  </a:lnTo>
                  <a:lnTo>
                    <a:pt x="36" y="512"/>
                  </a:lnTo>
                  <a:lnTo>
                    <a:pt x="36" y="512"/>
                  </a:lnTo>
                  <a:lnTo>
                    <a:pt x="36" y="512"/>
                  </a:lnTo>
                  <a:lnTo>
                    <a:pt x="36" y="510"/>
                  </a:lnTo>
                  <a:lnTo>
                    <a:pt x="36" y="510"/>
                  </a:lnTo>
                  <a:lnTo>
                    <a:pt x="38" y="510"/>
                  </a:lnTo>
                  <a:lnTo>
                    <a:pt x="38" y="510"/>
                  </a:lnTo>
                  <a:lnTo>
                    <a:pt x="38" y="510"/>
                  </a:lnTo>
                  <a:lnTo>
                    <a:pt x="38" y="508"/>
                  </a:lnTo>
                  <a:lnTo>
                    <a:pt x="38" y="508"/>
                  </a:lnTo>
                  <a:lnTo>
                    <a:pt x="38" y="508"/>
                  </a:lnTo>
                  <a:lnTo>
                    <a:pt x="38" y="508"/>
                  </a:lnTo>
                  <a:lnTo>
                    <a:pt x="38" y="508"/>
                  </a:lnTo>
                  <a:lnTo>
                    <a:pt x="38" y="506"/>
                  </a:lnTo>
                  <a:lnTo>
                    <a:pt x="38" y="506"/>
                  </a:lnTo>
                  <a:lnTo>
                    <a:pt x="38" y="506"/>
                  </a:lnTo>
                  <a:lnTo>
                    <a:pt x="40" y="506"/>
                  </a:lnTo>
                  <a:lnTo>
                    <a:pt x="40" y="506"/>
                  </a:lnTo>
                  <a:lnTo>
                    <a:pt x="40" y="506"/>
                  </a:lnTo>
                  <a:lnTo>
                    <a:pt x="40" y="506"/>
                  </a:lnTo>
                  <a:lnTo>
                    <a:pt x="40" y="508"/>
                  </a:lnTo>
                  <a:lnTo>
                    <a:pt x="40" y="508"/>
                  </a:lnTo>
                  <a:lnTo>
                    <a:pt x="40" y="510"/>
                  </a:lnTo>
                  <a:lnTo>
                    <a:pt x="42" y="510"/>
                  </a:lnTo>
                  <a:lnTo>
                    <a:pt x="44" y="508"/>
                  </a:lnTo>
                  <a:lnTo>
                    <a:pt x="44" y="508"/>
                  </a:lnTo>
                  <a:lnTo>
                    <a:pt x="44" y="508"/>
                  </a:lnTo>
                  <a:lnTo>
                    <a:pt x="45" y="508"/>
                  </a:lnTo>
                  <a:lnTo>
                    <a:pt x="45" y="510"/>
                  </a:lnTo>
                  <a:lnTo>
                    <a:pt x="47" y="510"/>
                  </a:lnTo>
                  <a:lnTo>
                    <a:pt x="49" y="510"/>
                  </a:lnTo>
                  <a:lnTo>
                    <a:pt x="49" y="510"/>
                  </a:lnTo>
                  <a:lnTo>
                    <a:pt x="51" y="510"/>
                  </a:lnTo>
                  <a:lnTo>
                    <a:pt x="51" y="512"/>
                  </a:lnTo>
                  <a:lnTo>
                    <a:pt x="53" y="512"/>
                  </a:lnTo>
                  <a:lnTo>
                    <a:pt x="53" y="512"/>
                  </a:lnTo>
                  <a:lnTo>
                    <a:pt x="55" y="512"/>
                  </a:lnTo>
                  <a:lnTo>
                    <a:pt x="55" y="512"/>
                  </a:lnTo>
                  <a:lnTo>
                    <a:pt x="57" y="512"/>
                  </a:lnTo>
                  <a:lnTo>
                    <a:pt x="59" y="512"/>
                  </a:lnTo>
                  <a:lnTo>
                    <a:pt x="61" y="512"/>
                  </a:lnTo>
                  <a:lnTo>
                    <a:pt x="63" y="512"/>
                  </a:lnTo>
                  <a:lnTo>
                    <a:pt x="63" y="512"/>
                  </a:lnTo>
                  <a:lnTo>
                    <a:pt x="63" y="513"/>
                  </a:lnTo>
                  <a:lnTo>
                    <a:pt x="63" y="513"/>
                  </a:lnTo>
                  <a:lnTo>
                    <a:pt x="63" y="515"/>
                  </a:lnTo>
                  <a:lnTo>
                    <a:pt x="65" y="515"/>
                  </a:lnTo>
                  <a:lnTo>
                    <a:pt x="65" y="515"/>
                  </a:lnTo>
                  <a:lnTo>
                    <a:pt x="65" y="517"/>
                  </a:lnTo>
                  <a:lnTo>
                    <a:pt x="66" y="517"/>
                  </a:lnTo>
                  <a:lnTo>
                    <a:pt x="66" y="521"/>
                  </a:lnTo>
                  <a:lnTo>
                    <a:pt x="66" y="521"/>
                  </a:lnTo>
                  <a:lnTo>
                    <a:pt x="66" y="523"/>
                  </a:lnTo>
                  <a:lnTo>
                    <a:pt x="66" y="525"/>
                  </a:lnTo>
                  <a:lnTo>
                    <a:pt x="66" y="525"/>
                  </a:lnTo>
                  <a:lnTo>
                    <a:pt x="68" y="525"/>
                  </a:lnTo>
                  <a:lnTo>
                    <a:pt x="68" y="525"/>
                  </a:lnTo>
                  <a:lnTo>
                    <a:pt x="68" y="525"/>
                  </a:lnTo>
                  <a:lnTo>
                    <a:pt x="70" y="525"/>
                  </a:lnTo>
                  <a:lnTo>
                    <a:pt x="72" y="525"/>
                  </a:lnTo>
                  <a:lnTo>
                    <a:pt x="72" y="525"/>
                  </a:lnTo>
                  <a:lnTo>
                    <a:pt x="74" y="523"/>
                  </a:lnTo>
                  <a:lnTo>
                    <a:pt x="76" y="521"/>
                  </a:lnTo>
                  <a:lnTo>
                    <a:pt x="78" y="521"/>
                  </a:lnTo>
                  <a:lnTo>
                    <a:pt x="80" y="521"/>
                  </a:lnTo>
                  <a:lnTo>
                    <a:pt x="80" y="521"/>
                  </a:lnTo>
                  <a:lnTo>
                    <a:pt x="82" y="521"/>
                  </a:lnTo>
                  <a:lnTo>
                    <a:pt x="80" y="521"/>
                  </a:lnTo>
                  <a:lnTo>
                    <a:pt x="80" y="519"/>
                  </a:lnTo>
                  <a:lnTo>
                    <a:pt x="80" y="519"/>
                  </a:lnTo>
                  <a:lnTo>
                    <a:pt x="82" y="519"/>
                  </a:lnTo>
                  <a:lnTo>
                    <a:pt x="82" y="517"/>
                  </a:lnTo>
                  <a:lnTo>
                    <a:pt x="82" y="517"/>
                  </a:lnTo>
                  <a:lnTo>
                    <a:pt x="84" y="517"/>
                  </a:lnTo>
                  <a:lnTo>
                    <a:pt x="85" y="517"/>
                  </a:lnTo>
                  <a:lnTo>
                    <a:pt x="85" y="517"/>
                  </a:lnTo>
                  <a:lnTo>
                    <a:pt x="85" y="519"/>
                  </a:lnTo>
                  <a:lnTo>
                    <a:pt x="87" y="519"/>
                  </a:lnTo>
                  <a:lnTo>
                    <a:pt x="87" y="519"/>
                  </a:lnTo>
                  <a:lnTo>
                    <a:pt x="87" y="519"/>
                  </a:lnTo>
                  <a:lnTo>
                    <a:pt x="87" y="519"/>
                  </a:lnTo>
                  <a:lnTo>
                    <a:pt x="89" y="517"/>
                  </a:lnTo>
                  <a:lnTo>
                    <a:pt x="89" y="517"/>
                  </a:lnTo>
                  <a:lnTo>
                    <a:pt x="89" y="515"/>
                  </a:lnTo>
                  <a:lnTo>
                    <a:pt x="89" y="515"/>
                  </a:lnTo>
                  <a:lnTo>
                    <a:pt x="91" y="515"/>
                  </a:lnTo>
                  <a:lnTo>
                    <a:pt x="93" y="513"/>
                  </a:lnTo>
                  <a:lnTo>
                    <a:pt x="93" y="513"/>
                  </a:lnTo>
                  <a:lnTo>
                    <a:pt x="93" y="513"/>
                  </a:lnTo>
                  <a:lnTo>
                    <a:pt x="95" y="512"/>
                  </a:lnTo>
                  <a:lnTo>
                    <a:pt x="95" y="512"/>
                  </a:lnTo>
                  <a:lnTo>
                    <a:pt x="97" y="510"/>
                  </a:lnTo>
                  <a:lnTo>
                    <a:pt x="99" y="510"/>
                  </a:lnTo>
                  <a:lnTo>
                    <a:pt x="99" y="510"/>
                  </a:lnTo>
                  <a:lnTo>
                    <a:pt x="99" y="508"/>
                  </a:lnTo>
                  <a:lnTo>
                    <a:pt x="99" y="508"/>
                  </a:lnTo>
                  <a:lnTo>
                    <a:pt x="99" y="508"/>
                  </a:lnTo>
                  <a:lnTo>
                    <a:pt x="99" y="506"/>
                  </a:lnTo>
                  <a:lnTo>
                    <a:pt x="97" y="506"/>
                  </a:lnTo>
                  <a:lnTo>
                    <a:pt x="97" y="506"/>
                  </a:lnTo>
                  <a:lnTo>
                    <a:pt x="97" y="504"/>
                  </a:lnTo>
                  <a:lnTo>
                    <a:pt x="97" y="504"/>
                  </a:lnTo>
                  <a:lnTo>
                    <a:pt x="97" y="504"/>
                  </a:lnTo>
                  <a:lnTo>
                    <a:pt x="99" y="502"/>
                  </a:lnTo>
                  <a:lnTo>
                    <a:pt x="99" y="502"/>
                  </a:lnTo>
                  <a:lnTo>
                    <a:pt x="99" y="502"/>
                  </a:lnTo>
                  <a:lnTo>
                    <a:pt x="101" y="504"/>
                  </a:lnTo>
                  <a:lnTo>
                    <a:pt x="103" y="504"/>
                  </a:lnTo>
                  <a:lnTo>
                    <a:pt x="105" y="504"/>
                  </a:lnTo>
                  <a:lnTo>
                    <a:pt x="105" y="504"/>
                  </a:lnTo>
                  <a:lnTo>
                    <a:pt x="105" y="504"/>
                  </a:lnTo>
                  <a:lnTo>
                    <a:pt x="106" y="504"/>
                  </a:lnTo>
                  <a:lnTo>
                    <a:pt x="106" y="504"/>
                  </a:lnTo>
                  <a:lnTo>
                    <a:pt x="108" y="504"/>
                  </a:lnTo>
                  <a:lnTo>
                    <a:pt x="108" y="504"/>
                  </a:lnTo>
                  <a:lnTo>
                    <a:pt x="108" y="504"/>
                  </a:lnTo>
                  <a:lnTo>
                    <a:pt x="110" y="502"/>
                  </a:lnTo>
                  <a:lnTo>
                    <a:pt x="110" y="502"/>
                  </a:lnTo>
                  <a:lnTo>
                    <a:pt x="110" y="502"/>
                  </a:lnTo>
                  <a:lnTo>
                    <a:pt x="112" y="500"/>
                  </a:lnTo>
                  <a:lnTo>
                    <a:pt x="112" y="500"/>
                  </a:lnTo>
                  <a:lnTo>
                    <a:pt x="112" y="500"/>
                  </a:lnTo>
                  <a:lnTo>
                    <a:pt x="112" y="500"/>
                  </a:lnTo>
                  <a:lnTo>
                    <a:pt x="112" y="502"/>
                  </a:lnTo>
                  <a:lnTo>
                    <a:pt x="112" y="502"/>
                  </a:lnTo>
                  <a:lnTo>
                    <a:pt x="112" y="504"/>
                  </a:lnTo>
                  <a:lnTo>
                    <a:pt x="112" y="504"/>
                  </a:lnTo>
                  <a:lnTo>
                    <a:pt x="112" y="506"/>
                  </a:lnTo>
                  <a:lnTo>
                    <a:pt x="112" y="506"/>
                  </a:lnTo>
                  <a:lnTo>
                    <a:pt x="110" y="508"/>
                  </a:lnTo>
                  <a:lnTo>
                    <a:pt x="110" y="508"/>
                  </a:lnTo>
                  <a:lnTo>
                    <a:pt x="110" y="508"/>
                  </a:lnTo>
                  <a:lnTo>
                    <a:pt x="110" y="510"/>
                  </a:lnTo>
                  <a:lnTo>
                    <a:pt x="110" y="512"/>
                  </a:lnTo>
                  <a:lnTo>
                    <a:pt x="110" y="512"/>
                  </a:lnTo>
                  <a:lnTo>
                    <a:pt x="110" y="513"/>
                  </a:lnTo>
                  <a:lnTo>
                    <a:pt x="110" y="513"/>
                  </a:lnTo>
                  <a:lnTo>
                    <a:pt x="112" y="513"/>
                  </a:lnTo>
                  <a:lnTo>
                    <a:pt x="112" y="512"/>
                  </a:lnTo>
                  <a:lnTo>
                    <a:pt x="114" y="510"/>
                  </a:lnTo>
                  <a:lnTo>
                    <a:pt x="114" y="510"/>
                  </a:lnTo>
                  <a:lnTo>
                    <a:pt x="116" y="510"/>
                  </a:lnTo>
                  <a:lnTo>
                    <a:pt x="116" y="510"/>
                  </a:lnTo>
                  <a:lnTo>
                    <a:pt x="118" y="510"/>
                  </a:lnTo>
                  <a:lnTo>
                    <a:pt x="118" y="510"/>
                  </a:lnTo>
                  <a:lnTo>
                    <a:pt x="118" y="510"/>
                  </a:lnTo>
                  <a:lnTo>
                    <a:pt x="122" y="508"/>
                  </a:lnTo>
                  <a:lnTo>
                    <a:pt x="125" y="510"/>
                  </a:lnTo>
                  <a:lnTo>
                    <a:pt x="127" y="513"/>
                  </a:lnTo>
                  <a:lnTo>
                    <a:pt x="127" y="515"/>
                  </a:lnTo>
                  <a:lnTo>
                    <a:pt x="127" y="515"/>
                  </a:lnTo>
                  <a:lnTo>
                    <a:pt x="127" y="517"/>
                  </a:lnTo>
                  <a:lnTo>
                    <a:pt x="125" y="519"/>
                  </a:lnTo>
                  <a:lnTo>
                    <a:pt x="125" y="521"/>
                  </a:lnTo>
                  <a:lnTo>
                    <a:pt x="125" y="521"/>
                  </a:lnTo>
                  <a:lnTo>
                    <a:pt x="127" y="523"/>
                  </a:lnTo>
                  <a:lnTo>
                    <a:pt x="127" y="523"/>
                  </a:lnTo>
                  <a:lnTo>
                    <a:pt x="127" y="525"/>
                  </a:lnTo>
                  <a:lnTo>
                    <a:pt x="127" y="525"/>
                  </a:lnTo>
                  <a:lnTo>
                    <a:pt x="127" y="525"/>
                  </a:lnTo>
                  <a:lnTo>
                    <a:pt x="127" y="527"/>
                  </a:lnTo>
                  <a:lnTo>
                    <a:pt x="125" y="527"/>
                  </a:lnTo>
                  <a:lnTo>
                    <a:pt x="124" y="525"/>
                  </a:lnTo>
                  <a:lnTo>
                    <a:pt x="124" y="525"/>
                  </a:lnTo>
                  <a:lnTo>
                    <a:pt x="124" y="527"/>
                  </a:lnTo>
                  <a:lnTo>
                    <a:pt x="124" y="527"/>
                  </a:lnTo>
                  <a:lnTo>
                    <a:pt x="124" y="529"/>
                  </a:lnTo>
                  <a:lnTo>
                    <a:pt x="124" y="529"/>
                  </a:lnTo>
                  <a:lnTo>
                    <a:pt x="125" y="531"/>
                  </a:lnTo>
                  <a:lnTo>
                    <a:pt x="125" y="531"/>
                  </a:lnTo>
                  <a:lnTo>
                    <a:pt x="127" y="529"/>
                  </a:lnTo>
                  <a:lnTo>
                    <a:pt x="127" y="529"/>
                  </a:lnTo>
                  <a:lnTo>
                    <a:pt x="129" y="529"/>
                  </a:lnTo>
                  <a:lnTo>
                    <a:pt x="129" y="529"/>
                  </a:lnTo>
                  <a:lnTo>
                    <a:pt x="131" y="531"/>
                  </a:lnTo>
                  <a:lnTo>
                    <a:pt x="133" y="534"/>
                  </a:lnTo>
                  <a:lnTo>
                    <a:pt x="135" y="534"/>
                  </a:lnTo>
                  <a:lnTo>
                    <a:pt x="135" y="534"/>
                  </a:lnTo>
                  <a:lnTo>
                    <a:pt x="135" y="534"/>
                  </a:lnTo>
                  <a:lnTo>
                    <a:pt x="137" y="534"/>
                  </a:lnTo>
                  <a:lnTo>
                    <a:pt x="137" y="534"/>
                  </a:lnTo>
                  <a:lnTo>
                    <a:pt x="139" y="536"/>
                  </a:lnTo>
                  <a:lnTo>
                    <a:pt x="141" y="536"/>
                  </a:lnTo>
                  <a:lnTo>
                    <a:pt x="143" y="536"/>
                  </a:lnTo>
                  <a:lnTo>
                    <a:pt x="143" y="536"/>
                  </a:lnTo>
                  <a:lnTo>
                    <a:pt x="145" y="536"/>
                  </a:lnTo>
                  <a:lnTo>
                    <a:pt x="145" y="534"/>
                  </a:lnTo>
                  <a:lnTo>
                    <a:pt x="146" y="534"/>
                  </a:lnTo>
                  <a:lnTo>
                    <a:pt x="146" y="534"/>
                  </a:lnTo>
                  <a:lnTo>
                    <a:pt x="146" y="534"/>
                  </a:lnTo>
                  <a:lnTo>
                    <a:pt x="148" y="536"/>
                  </a:lnTo>
                  <a:lnTo>
                    <a:pt x="148" y="536"/>
                  </a:lnTo>
                  <a:lnTo>
                    <a:pt x="148" y="536"/>
                  </a:lnTo>
                  <a:lnTo>
                    <a:pt x="150" y="536"/>
                  </a:lnTo>
                  <a:lnTo>
                    <a:pt x="150" y="536"/>
                  </a:lnTo>
                  <a:lnTo>
                    <a:pt x="152" y="536"/>
                  </a:lnTo>
                  <a:lnTo>
                    <a:pt x="152" y="536"/>
                  </a:lnTo>
                  <a:lnTo>
                    <a:pt x="152" y="536"/>
                  </a:lnTo>
                  <a:lnTo>
                    <a:pt x="152" y="536"/>
                  </a:lnTo>
                  <a:lnTo>
                    <a:pt x="152" y="538"/>
                  </a:lnTo>
                  <a:lnTo>
                    <a:pt x="152" y="540"/>
                  </a:lnTo>
                  <a:lnTo>
                    <a:pt x="152" y="540"/>
                  </a:lnTo>
                  <a:lnTo>
                    <a:pt x="152" y="542"/>
                  </a:lnTo>
                  <a:lnTo>
                    <a:pt x="152" y="544"/>
                  </a:lnTo>
                  <a:lnTo>
                    <a:pt x="152" y="544"/>
                  </a:lnTo>
                  <a:lnTo>
                    <a:pt x="152" y="546"/>
                  </a:lnTo>
                  <a:lnTo>
                    <a:pt x="152" y="546"/>
                  </a:lnTo>
                  <a:lnTo>
                    <a:pt x="152" y="548"/>
                  </a:lnTo>
                  <a:lnTo>
                    <a:pt x="152" y="548"/>
                  </a:lnTo>
                  <a:lnTo>
                    <a:pt x="152" y="553"/>
                  </a:lnTo>
                  <a:lnTo>
                    <a:pt x="152" y="553"/>
                  </a:lnTo>
                  <a:lnTo>
                    <a:pt x="152" y="553"/>
                  </a:lnTo>
                  <a:lnTo>
                    <a:pt x="150" y="553"/>
                  </a:lnTo>
                  <a:lnTo>
                    <a:pt x="150" y="555"/>
                  </a:lnTo>
                  <a:lnTo>
                    <a:pt x="150" y="555"/>
                  </a:lnTo>
                  <a:lnTo>
                    <a:pt x="150" y="555"/>
                  </a:lnTo>
                  <a:lnTo>
                    <a:pt x="150" y="557"/>
                  </a:lnTo>
                  <a:lnTo>
                    <a:pt x="152" y="557"/>
                  </a:lnTo>
                  <a:lnTo>
                    <a:pt x="152" y="557"/>
                  </a:lnTo>
                  <a:lnTo>
                    <a:pt x="152" y="559"/>
                  </a:lnTo>
                  <a:lnTo>
                    <a:pt x="152" y="559"/>
                  </a:lnTo>
                  <a:lnTo>
                    <a:pt x="154" y="561"/>
                  </a:lnTo>
                  <a:lnTo>
                    <a:pt x="154" y="561"/>
                  </a:lnTo>
                  <a:lnTo>
                    <a:pt x="154" y="561"/>
                  </a:lnTo>
                  <a:lnTo>
                    <a:pt x="156" y="561"/>
                  </a:lnTo>
                  <a:lnTo>
                    <a:pt x="156" y="561"/>
                  </a:lnTo>
                  <a:lnTo>
                    <a:pt x="158" y="561"/>
                  </a:lnTo>
                  <a:lnTo>
                    <a:pt x="158" y="561"/>
                  </a:lnTo>
                  <a:lnTo>
                    <a:pt x="158" y="561"/>
                  </a:lnTo>
                  <a:lnTo>
                    <a:pt x="160" y="561"/>
                  </a:lnTo>
                  <a:lnTo>
                    <a:pt x="160" y="561"/>
                  </a:lnTo>
                  <a:lnTo>
                    <a:pt x="160" y="561"/>
                  </a:lnTo>
                  <a:lnTo>
                    <a:pt x="160" y="561"/>
                  </a:lnTo>
                  <a:lnTo>
                    <a:pt x="162" y="563"/>
                  </a:lnTo>
                  <a:lnTo>
                    <a:pt x="165" y="565"/>
                  </a:lnTo>
                  <a:lnTo>
                    <a:pt x="165" y="565"/>
                  </a:lnTo>
                  <a:lnTo>
                    <a:pt x="165" y="565"/>
                  </a:lnTo>
                  <a:lnTo>
                    <a:pt x="165" y="565"/>
                  </a:lnTo>
                  <a:lnTo>
                    <a:pt x="167" y="565"/>
                  </a:lnTo>
                  <a:lnTo>
                    <a:pt x="167" y="565"/>
                  </a:lnTo>
                  <a:lnTo>
                    <a:pt x="167" y="565"/>
                  </a:lnTo>
                  <a:lnTo>
                    <a:pt x="169" y="563"/>
                  </a:lnTo>
                  <a:lnTo>
                    <a:pt x="169" y="563"/>
                  </a:lnTo>
                  <a:lnTo>
                    <a:pt x="169" y="565"/>
                  </a:lnTo>
                  <a:lnTo>
                    <a:pt x="171" y="565"/>
                  </a:lnTo>
                  <a:lnTo>
                    <a:pt x="171" y="565"/>
                  </a:lnTo>
                  <a:lnTo>
                    <a:pt x="171" y="567"/>
                  </a:lnTo>
                  <a:lnTo>
                    <a:pt x="171" y="567"/>
                  </a:lnTo>
                  <a:lnTo>
                    <a:pt x="171" y="569"/>
                  </a:lnTo>
                  <a:lnTo>
                    <a:pt x="171" y="571"/>
                  </a:lnTo>
                  <a:lnTo>
                    <a:pt x="171" y="571"/>
                  </a:lnTo>
                  <a:lnTo>
                    <a:pt x="171" y="571"/>
                  </a:lnTo>
                  <a:lnTo>
                    <a:pt x="169" y="572"/>
                  </a:lnTo>
                  <a:lnTo>
                    <a:pt x="169" y="572"/>
                  </a:lnTo>
                  <a:lnTo>
                    <a:pt x="169" y="574"/>
                  </a:lnTo>
                  <a:lnTo>
                    <a:pt x="169" y="574"/>
                  </a:lnTo>
                  <a:lnTo>
                    <a:pt x="169" y="576"/>
                  </a:lnTo>
                  <a:lnTo>
                    <a:pt x="167" y="578"/>
                  </a:lnTo>
                  <a:lnTo>
                    <a:pt x="167" y="578"/>
                  </a:lnTo>
                  <a:lnTo>
                    <a:pt x="165" y="580"/>
                  </a:lnTo>
                  <a:lnTo>
                    <a:pt x="165" y="582"/>
                  </a:lnTo>
                  <a:lnTo>
                    <a:pt x="165" y="584"/>
                  </a:lnTo>
                  <a:lnTo>
                    <a:pt x="165" y="584"/>
                  </a:lnTo>
                  <a:lnTo>
                    <a:pt x="165" y="586"/>
                  </a:lnTo>
                  <a:lnTo>
                    <a:pt x="164" y="586"/>
                  </a:lnTo>
                  <a:lnTo>
                    <a:pt x="162" y="588"/>
                  </a:lnTo>
                  <a:lnTo>
                    <a:pt x="162" y="588"/>
                  </a:lnTo>
                  <a:lnTo>
                    <a:pt x="162" y="588"/>
                  </a:lnTo>
                  <a:lnTo>
                    <a:pt x="162" y="590"/>
                  </a:lnTo>
                  <a:lnTo>
                    <a:pt x="160" y="591"/>
                  </a:lnTo>
                  <a:lnTo>
                    <a:pt x="160" y="591"/>
                  </a:lnTo>
                  <a:lnTo>
                    <a:pt x="160" y="591"/>
                  </a:lnTo>
                  <a:lnTo>
                    <a:pt x="160" y="593"/>
                  </a:lnTo>
                  <a:lnTo>
                    <a:pt x="156" y="597"/>
                  </a:lnTo>
                  <a:lnTo>
                    <a:pt x="156" y="597"/>
                  </a:lnTo>
                  <a:lnTo>
                    <a:pt x="156" y="599"/>
                  </a:lnTo>
                  <a:lnTo>
                    <a:pt x="156" y="599"/>
                  </a:lnTo>
                  <a:lnTo>
                    <a:pt x="158" y="599"/>
                  </a:lnTo>
                  <a:lnTo>
                    <a:pt x="158" y="599"/>
                  </a:lnTo>
                  <a:lnTo>
                    <a:pt x="160" y="601"/>
                  </a:lnTo>
                  <a:lnTo>
                    <a:pt x="162" y="603"/>
                  </a:lnTo>
                  <a:lnTo>
                    <a:pt x="162" y="603"/>
                  </a:lnTo>
                  <a:lnTo>
                    <a:pt x="162" y="605"/>
                  </a:lnTo>
                  <a:lnTo>
                    <a:pt x="162" y="605"/>
                  </a:lnTo>
                  <a:lnTo>
                    <a:pt x="160" y="605"/>
                  </a:lnTo>
                  <a:lnTo>
                    <a:pt x="158" y="605"/>
                  </a:lnTo>
                  <a:lnTo>
                    <a:pt x="152" y="601"/>
                  </a:lnTo>
                  <a:lnTo>
                    <a:pt x="152" y="599"/>
                  </a:lnTo>
                  <a:lnTo>
                    <a:pt x="152" y="599"/>
                  </a:lnTo>
                  <a:lnTo>
                    <a:pt x="152" y="599"/>
                  </a:lnTo>
                  <a:lnTo>
                    <a:pt x="150" y="599"/>
                  </a:lnTo>
                  <a:lnTo>
                    <a:pt x="150" y="599"/>
                  </a:lnTo>
                  <a:lnTo>
                    <a:pt x="150" y="601"/>
                  </a:lnTo>
                  <a:lnTo>
                    <a:pt x="150" y="601"/>
                  </a:lnTo>
                  <a:lnTo>
                    <a:pt x="150" y="603"/>
                  </a:lnTo>
                  <a:lnTo>
                    <a:pt x="150" y="605"/>
                  </a:lnTo>
                  <a:lnTo>
                    <a:pt x="148" y="605"/>
                  </a:lnTo>
                  <a:lnTo>
                    <a:pt x="148" y="605"/>
                  </a:lnTo>
                  <a:lnTo>
                    <a:pt x="148" y="605"/>
                  </a:lnTo>
                  <a:lnTo>
                    <a:pt x="146" y="605"/>
                  </a:lnTo>
                  <a:lnTo>
                    <a:pt x="146" y="605"/>
                  </a:lnTo>
                  <a:lnTo>
                    <a:pt x="146" y="605"/>
                  </a:lnTo>
                  <a:lnTo>
                    <a:pt x="145" y="607"/>
                  </a:lnTo>
                  <a:lnTo>
                    <a:pt x="145" y="607"/>
                  </a:lnTo>
                  <a:lnTo>
                    <a:pt x="145" y="607"/>
                  </a:lnTo>
                  <a:lnTo>
                    <a:pt x="145" y="607"/>
                  </a:lnTo>
                  <a:lnTo>
                    <a:pt x="143" y="607"/>
                  </a:lnTo>
                  <a:lnTo>
                    <a:pt x="143" y="605"/>
                  </a:lnTo>
                  <a:lnTo>
                    <a:pt x="143" y="605"/>
                  </a:lnTo>
                  <a:lnTo>
                    <a:pt x="141" y="605"/>
                  </a:lnTo>
                  <a:lnTo>
                    <a:pt x="141" y="605"/>
                  </a:lnTo>
                  <a:lnTo>
                    <a:pt x="141" y="605"/>
                  </a:lnTo>
                  <a:lnTo>
                    <a:pt x="141" y="607"/>
                  </a:lnTo>
                  <a:lnTo>
                    <a:pt x="141" y="607"/>
                  </a:lnTo>
                  <a:lnTo>
                    <a:pt x="141" y="609"/>
                  </a:lnTo>
                  <a:lnTo>
                    <a:pt x="141" y="610"/>
                  </a:lnTo>
                  <a:lnTo>
                    <a:pt x="141" y="610"/>
                  </a:lnTo>
                  <a:lnTo>
                    <a:pt x="141" y="612"/>
                  </a:lnTo>
                  <a:lnTo>
                    <a:pt x="141" y="614"/>
                  </a:lnTo>
                  <a:lnTo>
                    <a:pt x="139" y="614"/>
                  </a:lnTo>
                  <a:lnTo>
                    <a:pt x="143" y="620"/>
                  </a:lnTo>
                  <a:lnTo>
                    <a:pt x="146" y="622"/>
                  </a:lnTo>
                  <a:lnTo>
                    <a:pt x="150" y="626"/>
                  </a:lnTo>
                  <a:lnTo>
                    <a:pt x="154" y="626"/>
                  </a:lnTo>
                  <a:lnTo>
                    <a:pt x="154" y="626"/>
                  </a:lnTo>
                  <a:lnTo>
                    <a:pt x="154" y="626"/>
                  </a:lnTo>
                  <a:lnTo>
                    <a:pt x="156" y="626"/>
                  </a:lnTo>
                  <a:lnTo>
                    <a:pt x="158" y="626"/>
                  </a:lnTo>
                  <a:lnTo>
                    <a:pt x="158" y="626"/>
                  </a:lnTo>
                  <a:lnTo>
                    <a:pt x="160" y="626"/>
                  </a:lnTo>
                  <a:lnTo>
                    <a:pt x="164" y="622"/>
                  </a:lnTo>
                  <a:lnTo>
                    <a:pt x="164" y="620"/>
                  </a:lnTo>
                  <a:lnTo>
                    <a:pt x="164" y="618"/>
                  </a:lnTo>
                  <a:lnTo>
                    <a:pt x="164" y="618"/>
                  </a:lnTo>
                  <a:lnTo>
                    <a:pt x="164" y="616"/>
                  </a:lnTo>
                  <a:lnTo>
                    <a:pt x="164" y="616"/>
                  </a:lnTo>
                  <a:lnTo>
                    <a:pt x="165" y="616"/>
                  </a:lnTo>
                  <a:lnTo>
                    <a:pt x="165" y="616"/>
                  </a:lnTo>
                  <a:lnTo>
                    <a:pt x="165" y="616"/>
                  </a:lnTo>
                  <a:lnTo>
                    <a:pt x="167" y="616"/>
                  </a:lnTo>
                  <a:lnTo>
                    <a:pt x="167" y="616"/>
                  </a:lnTo>
                  <a:lnTo>
                    <a:pt x="171" y="614"/>
                  </a:lnTo>
                  <a:lnTo>
                    <a:pt x="171" y="614"/>
                  </a:lnTo>
                  <a:lnTo>
                    <a:pt x="171" y="612"/>
                  </a:lnTo>
                  <a:lnTo>
                    <a:pt x="175" y="607"/>
                  </a:lnTo>
                  <a:lnTo>
                    <a:pt x="177" y="599"/>
                  </a:lnTo>
                  <a:lnTo>
                    <a:pt x="177" y="597"/>
                  </a:lnTo>
                  <a:lnTo>
                    <a:pt x="177" y="597"/>
                  </a:lnTo>
                  <a:lnTo>
                    <a:pt x="177" y="595"/>
                  </a:lnTo>
                  <a:lnTo>
                    <a:pt x="177" y="593"/>
                  </a:lnTo>
                  <a:lnTo>
                    <a:pt x="177" y="593"/>
                  </a:lnTo>
                  <a:lnTo>
                    <a:pt x="179" y="591"/>
                  </a:lnTo>
                  <a:lnTo>
                    <a:pt x="179" y="590"/>
                  </a:lnTo>
                  <a:lnTo>
                    <a:pt x="181" y="590"/>
                  </a:lnTo>
                  <a:lnTo>
                    <a:pt x="181" y="590"/>
                  </a:lnTo>
                  <a:lnTo>
                    <a:pt x="183" y="590"/>
                  </a:lnTo>
                  <a:lnTo>
                    <a:pt x="183" y="590"/>
                  </a:lnTo>
                  <a:lnTo>
                    <a:pt x="185" y="588"/>
                  </a:lnTo>
                  <a:lnTo>
                    <a:pt x="185" y="588"/>
                  </a:lnTo>
                  <a:lnTo>
                    <a:pt x="185" y="586"/>
                  </a:lnTo>
                  <a:lnTo>
                    <a:pt x="186" y="586"/>
                  </a:lnTo>
                  <a:lnTo>
                    <a:pt x="190" y="586"/>
                  </a:lnTo>
                  <a:lnTo>
                    <a:pt x="192" y="586"/>
                  </a:lnTo>
                  <a:lnTo>
                    <a:pt x="194" y="584"/>
                  </a:lnTo>
                  <a:lnTo>
                    <a:pt x="198" y="584"/>
                  </a:lnTo>
                  <a:lnTo>
                    <a:pt x="198" y="584"/>
                  </a:lnTo>
                  <a:lnTo>
                    <a:pt x="200" y="586"/>
                  </a:lnTo>
                  <a:lnTo>
                    <a:pt x="200" y="588"/>
                  </a:lnTo>
                  <a:lnTo>
                    <a:pt x="200" y="588"/>
                  </a:lnTo>
                  <a:lnTo>
                    <a:pt x="200" y="588"/>
                  </a:lnTo>
                  <a:lnTo>
                    <a:pt x="202" y="588"/>
                  </a:lnTo>
                  <a:lnTo>
                    <a:pt x="204" y="588"/>
                  </a:lnTo>
                  <a:lnTo>
                    <a:pt x="204" y="586"/>
                  </a:lnTo>
                  <a:lnTo>
                    <a:pt x="204" y="586"/>
                  </a:lnTo>
                  <a:lnTo>
                    <a:pt x="204" y="586"/>
                  </a:lnTo>
                  <a:lnTo>
                    <a:pt x="204" y="584"/>
                  </a:lnTo>
                  <a:lnTo>
                    <a:pt x="206" y="584"/>
                  </a:lnTo>
                  <a:lnTo>
                    <a:pt x="206" y="582"/>
                  </a:lnTo>
                  <a:lnTo>
                    <a:pt x="207" y="584"/>
                  </a:lnTo>
                  <a:lnTo>
                    <a:pt x="209" y="584"/>
                  </a:lnTo>
                  <a:lnTo>
                    <a:pt x="209" y="584"/>
                  </a:lnTo>
                  <a:lnTo>
                    <a:pt x="211" y="584"/>
                  </a:lnTo>
                  <a:lnTo>
                    <a:pt x="211" y="584"/>
                  </a:lnTo>
                  <a:lnTo>
                    <a:pt x="211" y="584"/>
                  </a:lnTo>
                  <a:lnTo>
                    <a:pt x="211" y="586"/>
                  </a:lnTo>
                  <a:lnTo>
                    <a:pt x="211" y="586"/>
                  </a:lnTo>
                  <a:lnTo>
                    <a:pt x="213" y="588"/>
                  </a:lnTo>
                  <a:lnTo>
                    <a:pt x="215" y="588"/>
                  </a:lnTo>
                  <a:lnTo>
                    <a:pt x="215" y="588"/>
                  </a:lnTo>
                  <a:lnTo>
                    <a:pt x="217" y="588"/>
                  </a:lnTo>
                  <a:lnTo>
                    <a:pt x="217" y="588"/>
                  </a:lnTo>
                  <a:lnTo>
                    <a:pt x="219" y="588"/>
                  </a:lnTo>
                  <a:lnTo>
                    <a:pt x="221" y="588"/>
                  </a:lnTo>
                  <a:lnTo>
                    <a:pt x="225" y="588"/>
                  </a:lnTo>
                  <a:lnTo>
                    <a:pt x="225" y="588"/>
                  </a:lnTo>
                  <a:lnTo>
                    <a:pt x="226" y="588"/>
                  </a:lnTo>
                  <a:lnTo>
                    <a:pt x="226" y="586"/>
                  </a:lnTo>
                  <a:lnTo>
                    <a:pt x="230" y="584"/>
                  </a:lnTo>
                  <a:lnTo>
                    <a:pt x="232" y="578"/>
                  </a:lnTo>
                  <a:lnTo>
                    <a:pt x="234" y="578"/>
                  </a:lnTo>
                  <a:lnTo>
                    <a:pt x="234" y="578"/>
                  </a:lnTo>
                  <a:lnTo>
                    <a:pt x="236" y="578"/>
                  </a:lnTo>
                  <a:lnTo>
                    <a:pt x="238" y="578"/>
                  </a:lnTo>
                  <a:lnTo>
                    <a:pt x="238" y="580"/>
                  </a:lnTo>
                  <a:lnTo>
                    <a:pt x="238" y="580"/>
                  </a:lnTo>
                  <a:lnTo>
                    <a:pt x="240" y="580"/>
                  </a:lnTo>
                  <a:lnTo>
                    <a:pt x="242" y="578"/>
                  </a:lnTo>
                  <a:lnTo>
                    <a:pt x="244" y="576"/>
                  </a:lnTo>
                  <a:lnTo>
                    <a:pt x="246" y="574"/>
                  </a:lnTo>
                  <a:lnTo>
                    <a:pt x="246" y="572"/>
                  </a:lnTo>
                  <a:lnTo>
                    <a:pt x="246" y="572"/>
                  </a:lnTo>
                  <a:lnTo>
                    <a:pt x="249" y="571"/>
                  </a:lnTo>
                  <a:lnTo>
                    <a:pt x="249" y="571"/>
                  </a:lnTo>
                  <a:lnTo>
                    <a:pt x="249" y="569"/>
                  </a:lnTo>
                  <a:lnTo>
                    <a:pt x="249" y="569"/>
                  </a:lnTo>
                  <a:lnTo>
                    <a:pt x="249" y="567"/>
                  </a:lnTo>
                  <a:lnTo>
                    <a:pt x="249" y="567"/>
                  </a:lnTo>
                  <a:lnTo>
                    <a:pt x="251" y="565"/>
                  </a:lnTo>
                  <a:lnTo>
                    <a:pt x="251" y="563"/>
                  </a:lnTo>
                  <a:lnTo>
                    <a:pt x="251" y="563"/>
                  </a:lnTo>
                  <a:lnTo>
                    <a:pt x="251" y="561"/>
                  </a:lnTo>
                  <a:lnTo>
                    <a:pt x="251" y="561"/>
                  </a:lnTo>
                  <a:lnTo>
                    <a:pt x="251" y="561"/>
                  </a:lnTo>
                  <a:lnTo>
                    <a:pt x="253" y="559"/>
                  </a:lnTo>
                  <a:lnTo>
                    <a:pt x="255" y="559"/>
                  </a:lnTo>
                  <a:lnTo>
                    <a:pt x="257" y="559"/>
                  </a:lnTo>
                  <a:lnTo>
                    <a:pt x="259" y="559"/>
                  </a:lnTo>
                  <a:lnTo>
                    <a:pt x="259" y="561"/>
                  </a:lnTo>
                  <a:lnTo>
                    <a:pt x="261" y="561"/>
                  </a:lnTo>
                  <a:lnTo>
                    <a:pt x="263" y="563"/>
                  </a:lnTo>
                  <a:lnTo>
                    <a:pt x="263" y="565"/>
                  </a:lnTo>
                  <a:lnTo>
                    <a:pt x="263" y="565"/>
                  </a:lnTo>
                  <a:lnTo>
                    <a:pt x="265" y="565"/>
                  </a:lnTo>
                  <a:lnTo>
                    <a:pt x="266" y="565"/>
                  </a:lnTo>
                  <a:lnTo>
                    <a:pt x="272" y="565"/>
                  </a:lnTo>
                  <a:lnTo>
                    <a:pt x="274" y="565"/>
                  </a:lnTo>
                  <a:lnTo>
                    <a:pt x="274" y="565"/>
                  </a:lnTo>
                  <a:lnTo>
                    <a:pt x="274" y="567"/>
                  </a:lnTo>
                  <a:lnTo>
                    <a:pt x="274" y="567"/>
                  </a:lnTo>
                  <a:lnTo>
                    <a:pt x="274" y="569"/>
                  </a:lnTo>
                  <a:lnTo>
                    <a:pt x="274" y="569"/>
                  </a:lnTo>
                  <a:lnTo>
                    <a:pt x="274" y="569"/>
                  </a:lnTo>
                  <a:lnTo>
                    <a:pt x="278" y="571"/>
                  </a:lnTo>
                  <a:lnTo>
                    <a:pt x="278" y="571"/>
                  </a:lnTo>
                  <a:lnTo>
                    <a:pt x="280" y="571"/>
                  </a:lnTo>
                  <a:lnTo>
                    <a:pt x="282" y="571"/>
                  </a:lnTo>
                  <a:lnTo>
                    <a:pt x="282" y="571"/>
                  </a:lnTo>
                  <a:lnTo>
                    <a:pt x="284" y="571"/>
                  </a:lnTo>
                  <a:lnTo>
                    <a:pt x="284" y="569"/>
                  </a:lnTo>
                  <a:lnTo>
                    <a:pt x="284" y="569"/>
                  </a:lnTo>
                  <a:lnTo>
                    <a:pt x="284" y="569"/>
                  </a:lnTo>
                  <a:lnTo>
                    <a:pt x="282" y="569"/>
                  </a:lnTo>
                  <a:lnTo>
                    <a:pt x="282" y="567"/>
                  </a:lnTo>
                  <a:lnTo>
                    <a:pt x="282" y="567"/>
                  </a:lnTo>
                  <a:lnTo>
                    <a:pt x="280" y="567"/>
                  </a:lnTo>
                  <a:lnTo>
                    <a:pt x="280" y="567"/>
                  </a:lnTo>
                  <a:lnTo>
                    <a:pt x="280" y="565"/>
                  </a:lnTo>
                  <a:lnTo>
                    <a:pt x="280" y="565"/>
                  </a:lnTo>
                  <a:lnTo>
                    <a:pt x="280" y="565"/>
                  </a:lnTo>
                  <a:lnTo>
                    <a:pt x="282" y="563"/>
                  </a:lnTo>
                  <a:lnTo>
                    <a:pt x="282" y="563"/>
                  </a:lnTo>
                  <a:lnTo>
                    <a:pt x="284" y="565"/>
                  </a:lnTo>
                  <a:lnTo>
                    <a:pt x="284" y="565"/>
                  </a:lnTo>
                  <a:lnTo>
                    <a:pt x="286" y="563"/>
                  </a:lnTo>
                  <a:lnTo>
                    <a:pt x="291" y="561"/>
                  </a:lnTo>
                  <a:lnTo>
                    <a:pt x="299" y="557"/>
                  </a:lnTo>
                  <a:lnTo>
                    <a:pt x="299" y="555"/>
                  </a:lnTo>
                  <a:lnTo>
                    <a:pt x="299" y="555"/>
                  </a:lnTo>
                  <a:lnTo>
                    <a:pt x="299" y="553"/>
                  </a:lnTo>
                  <a:lnTo>
                    <a:pt x="299" y="553"/>
                  </a:lnTo>
                  <a:lnTo>
                    <a:pt x="299" y="553"/>
                  </a:lnTo>
                  <a:lnTo>
                    <a:pt x="299" y="552"/>
                  </a:lnTo>
                  <a:lnTo>
                    <a:pt x="301" y="552"/>
                  </a:lnTo>
                  <a:lnTo>
                    <a:pt x="301" y="550"/>
                  </a:lnTo>
                  <a:lnTo>
                    <a:pt x="303" y="548"/>
                  </a:lnTo>
                  <a:lnTo>
                    <a:pt x="305" y="548"/>
                  </a:lnTo>
                  <a:lnTo>
                    <a:pt x="307" y="548"/>
                  </a:lnTo>
                  <a:lnTo>
                    <a:pt x="307" y="546"/>
                  </a:lnTo>
                  <a:lnTo>
                    <a:pt x="308" y="546"/>
                  </a:lnTo>
                  <a:lnTo>
                    <a:pt x="308" y="546"/>
                  </a:lnTo>
                  <a:lnTo>
                    <a:pt x="308" y="544"/>
                  </a:lnTo>
                  <a:lnTo>
                    <a:pt x="307" y="544"/>
                  </a:lnTo>
                  <a:lnTo>
                    <a:pt x="307" y="544"/>
                  </a:lnTo>
                  <a:lnTo>
                    <a:pt x="307" y="544"/>
                  </a:lnTo>
                  <a:lnTo>
                    <a:pt x="307" y="542"/>
                  </a:lnTo>
                  <a:lnTo>
                    <a:pt x="305" y="542"/>
                  </a:lnTo>
                  <a:lnTo>
                    <a:pt x="307" y="542"/>
                  </a:lnTo>
                  <a:lnTo>
                    <a:pt x="307" y="542"/>
                  </a:lnTo>
                  <a:lnTo>
                    <a:pt x="307" y="540"/>
                  </a:lnTo>
                  <a:lnTo>
                    <a:pt x="307" y="542"/>
                  </a:lnTo>
                  <a:lnTo>
                    <a:pt x="308" y="542"/>
                  </a:lnTo>
                  <a:lnTo>
                    <a:pt x="310" y="544"/>
                  </a:lnTo>
                  <a:lnTo>
                    <a:pt x="312" y="544"/>
                  </a:lnTo>
                  <a:lnTo>
                    <a:pt x="312" y="544"/>
                  </a:lnTo>
                  <a:lnTo>
                    <a:pt x="312" y="544"/>
                  </a:lnTo>
                  <a:lnTo>
                    <a:pt x="312" y="546"/>
                  </a:lnTo>
                  <a:lnTo>
                    <a:pt x="312" y="546"/>
                  </a:lnTo>
                  <a:lnTo>
                    <a:pt x="312" y="546"/>
                  </a:lnTo>
                  <a:lnTo>
                    <a:pt x="312" y="546"/>
                  </a:lnTo>
                  <a:lnTo>
                    <a:pt x="312" y="548"/>
                  </a:lnTo>
                  <a:lnTo>
                    <a:pt x="312" y="548"/>
                  </a:lnTo>
                  <a:lnTo>
                    <a:pt x="312" y="548"/>
                  </a:lnTo>
                  <a:lnTo>
                    <a:pt x="314" y="548"/>
                  </a:lnTo>
                  <a:lnTo>
                    <a:pt x="316" y="548"/>
                  </a:lnTo>
                  <a:lnTo>
                    <a:pt x="316" y="548"/>
                  </a:lnTo>
                  <a:lnTo>
                    <a:pt x="322" y="550"/>
                  </a:lnTo>
                  <a:lnTo>
                    <a:pt x="324" y="550"/>
                  </a:lnTo>
                  <a:lnTo>
                    <a:pt x="327" y="548"/>
                  </a:lnTo>
                  <a:lnTo>
                    <a:pt x="327" y="548"/>
                  </a:lnTo>
                  <a:lnTo>
                    <a:pt x="327" y="548"/>
                  </a:lnTo>
                  <a:lnTo>
                    <a:pt x="326" y="548"/>
                  </a:lnTo>
                  <a:lnTo>
                    <a:pt x="326" y="548"/>
                  </a:lnTo>
                  <a:lnTo>
                    <a:pt x="324" y="546"/>
                  </a:lnTo>
                  <a:lnTo>
                    <a:pt x="324" y="546"/>
                  </a:lnTo>
                  <a:lnTo>
                    <a:pt x="324" y="546"/>
                  </a:lnTo>
                  <a:lnTo>
                    <a:pt x="320" y="546"/>
                  </a:lnTo>
                  <a:lnTo>
                    <a:pt x="316" y="546"/>
                  </a:lnTo>
                  <a:lnTo>
                    <a:pt x="314" y="544"/>
                  </a:lnTo>
                  <a:lnTo>
                    <a:pt x="314" y="544"/>
                  </a:lnTo>
                  <a:lnTo>
                    <a:pt x="314" y="544"/>
                  </a:lnTo>
                  <a:lnTo>
                    <a:pt x="312" y="540"/>
                  </a:lnTo>
                  <a:lnTo>
                    <a:pt x="308" y="538"/>
                  </a:lnTo>
                  <a:lnTo>
                    <a:pt x="308" y="536"/>
                  </a:lnTo>
                  <a:lnTo>
                    <a:pt x="308" y="532"/>
                  </a:lnTo>
                  <a:lnTo>
                    <a:pt x="310" y="531"/>
                  </a:lnTo>
                  <a:lnTo>
                    <a:pt x="310" y="529"/>
                  </a:lnTo>
                  <a:lnTo>
                    <a:pt x="312" y="529"/>
                  </a:lnTo>
                  <a:lnTo>
                    <a:pt x="312" y="527"/>
                  </a:lnTo>
                  <a:lnTo>
                    <a:pt x="312" y="527"/>
                  </a:lnTo>
                  <a:lnTo>
                    <a:pt x="312" y="527"/>
                  </a:lnTo>
                  <a:lnTo>
                    <a:pt x="314" y="529"/>
                  </a:lnTo>
                  <a:lnTo>
                    <a:pt x="314" y="529"/>
                  </a:lnTo>
                  <a:lnTo>
                    <a:pt x="314" y="531"/>
                  </a:lnTo>
                  <a:lnTo>
                    <a:pt x="314" y="532"/>
                  </a:lnTo>
                  <a:lnTo>
                    <a:pt x="316" y="532"/>
                  </a:lnTo>
                  <a:lnTo>
                    <a:pt x="316" y="531"/>
                  </a:lnTo>
                  <a:lnTo>
                    <a:pt x="316" y="523"/>
                  </a:lnTo>
                  <a:lnTo>
                    <a:pt x="316" y="523"/>
                  </a:lnTo>
                  <a:lnTo>
                    <a:pt x="320" y="527"/>
                  </a:lnTo>
                  <a:lnTo>
                    <a:pt x="322" y="531"/>
                  </a:lnTo>
                  <a:lnTo>
                    <a:pt x="326" y="536"/>
                  </a:lnTo>
                  <a:lnTo>
                    <a:pt x="329" y="544"/>
                  </a:lnTo>
                  <a:lnTo>
                    <a:pt x="329" y="544"/>
                  </a:lnTo>
                  <a:lnTo>
                    <a:pt x="329" y="542"/>
                  </a:lnTo>
                  <a:lnTo>
                    <a:pt x="329" y="542"/>
                  </a:lnTo>
                  <a:lnTo>
                    <a:pt x="327" y="536"/>
                  </a:lnTo>
                  <a:lnTo>
                    <a:pt x="326" y="529"/>
                  </a:lnTo>
                  <a:lnTo>
                    <a:pt x="324" y="527"/>
                  </a:lnTo>
                  <a:lnTo>
                    <a:pt x="324" y="525"/>
                  </a:lnTo>
                  <a:lnTo>
                    <a:pt x="324" y="523"/>
                  </a:lnTo>
                  <a:lnTo>
                    <a:pt x="326" y="521"/>
                  </a:lnTo>
                  <a:lnTo>
                    <a:pt x="326" y="515"/>
                  </a:lnTo>
                  <a:lnTo>
                    <a:pt x="326" y="512"/>
                  </a:lnTo>
                  <a:lnTo>
                    <a:pt x="318" y="498"/>
                  </a:lnTo>
                  <a:lnTo>
                    <a:pt x="316" y="494"/>
                  </a:lnTo>
                  <a:lnTo>
                    <a:pt x="314" y="483"/>
                  </a:lnTo>
                  <a:lnTo>
                    <a:pt x="314" y="479"/>
                  </a:lnTo>
                  <a:lnTo>
                    <a:pt x="316" y="475"/>
                  </a:lnTo>
                  <a:lnTo>
                    <a:pt x="314" y="474"/>
                  </a:lnTo>
                  <a:lnTo>
                    <a:pt x="312" y="475"/>
                  </a:lnTo>
                  <a:lnTo>
                    <a:pt x="310" y="475"/>
                  </a:lnTo>
                  <a:lnTo>
                    <a:pt x="310" y="477"/>
                  </a:lnTo>
                  <a:lnTo>
                    <a:pt x="308" y="479"/>
                  </a:lnTo>
                  <a:lnTo>
                    <a:pt x="307" y="477"/>
                  </a:lnTo>
                  <a:lnTo>
                    <a:pt x="308" y="475"/>
                  </a:lnTo>
                  <a:lnTo>
                    <a:pt x="308" y="475"/>
                  </a:lnTo>
                  <a:lnTo>
                    <a:pt x="310" y="475"/>
                  </a:lnTo>
                  <a:lnTo>
                    <a:pt x="310" y="474"/>
                  </a:lnTo>
                  <a:lnTo>
                    <a:pt x="312" y="474"/>
                  </a:lnTo>
                  <a:lnTo>
                    <a:pt x="314" y="472"/>
                  </a:lnTo>
                  <a:lnTo>
                    <a:pt x="316" y="472"/>
                  </a:lnTo>
                  <a:lnTo>
                    <a:pt x="318" y="466"/>
                  </a:lnTo>
                  <a:lnTo>
                    <a:pt x="320" y="464"/>
                  </a:lnTo>
                  <a:lnTo>
                    <a:pt x="320" y="460"/>
                  </a:lnTo>
                  <a:lnTo>
                    <a:pt x="320" y="453"/>
                  </a:lnTo>
                  <a:lnTo>
                    <a:pt x="320" y="447"/>
                  </a:lnTo>
                  <a:lnTo>
                    <a:pt x="320" y="445"/>
                  </a:lnTo>
                  <a:lnTo>
                    <a:pt x="320" y="445"/>
                  </a:lnTo>
                  <a:lnTo>
                    <a:pt x="322" y="443"/>
                  </a:lnTo>
                  <a:lnTo>
                    <a:pt x="322" y="443"/>
                  </a:lnTo>
                  <a:lnTo>
                    <a:pt x="320" y="443"/>
                  </a:lnTo>
                  <a:lnTo>
                    <a:pt x="320" y="443"/>
                  </a:lnTo>
                  <a:lnTo>
                    <a:pt x="318" y="443"/>
                  </a:lnTo>
                  <a:lnTo>
                    <a:pt x="316" y="443"/>
                  </a:lnTo>
                  <a:lnTo>
                    <a:pt x="316" y="443"/>
                  </a:lnTo>
                  <a:lnTo>
                    <a:pt x="318" y="441"/>
                  </a:lnTo>
                  <a:lnTo>
                    <a:pt x="318" y="441"/>
                  </a:lnTo>
                  <a:lnTo>
                    <a:pt x="320" y="441"/>
                  </a:lnTo>
                  <a:lnTo>
                    <a:pt x="320" y="439"/>
                  </a:lnTo>
                  <a:lnTo>
                    <a:pt x="318" y="437"/>
                  </a:lnTo>
                  <a:lnTo>
                    <a:pt x="318" y="437"/>
                  </a:lnTo>
                  <a:lnTo>
                    <a:pt x="318" y="434"/>
                  </a:lnTo>
                  <a:lnTo>
                    <a:pt x="316" y="434"/>
                  </a:lnTo>
                  <a:lnTo>
                    <a:pt x="314" y="432"/>
                  </a:lnTo>
                  <a:lnTo>
                    <a:pt x="314" y="430"/>
                  </a:lnTo>
                  <a:lnTo>
                    <a:pt x="312" y="430"/>
                  </a:lnTo>
                  <a:lnTo>
                    <a:pt x="312" y="430"/>
                  </a:lnTo>
                  <a:lnTo>
                    <a:pt x="312" y="424"/>
                  </a:lnTo>
                  <a:lnTo>
                    <a:pt x="310" y="409"/>
                  </a:lnTo>
                  <a:lnTo>
                    <a:pt x="310" y="407"/>
                  </a:lnTo>
                  <a:lnTo>
                    <a:pt x="308" y="405"/>
                  </a:lnTo>
                  <a:lnTo>
                    <a:pt x="308" y="401"/>
                  </a:lnTo>
                  <a:lnTo>
                    <a:pt x="308" y="394"/>
                  </a:lnTo>
                  <a:lnTo>
                    <a:pt x="310" y="382"/>
                  </a:lnTo>
                  <a:lnTo>
                    <a:pt x="312" y="373"/>
                  </a:lnTo>
                  <a:lnTo>
                    <a:pt x="310" y="373"/>
                  </a:lnTo>
                  <a:lnTo>
                    <a:pt x="314" y="367"/>
                  </a:lnTo>
                  <a:lnTo>
                    <a:pt x="314" y="365"/>
                  </a:lnTo>
                  <a:lnTo>
                    <a:pt x="316" y="363"/>
                  </a:lnTo>
                  <a:lnTo>
                    <a:pt x="318" y="359"/>
                  </a:lnTo>
                  <a:lnTo>
                    <a:pt x="320" y="359"/>
                  </a:lnTo>
                  <a:lnTo>
                    <a:pt x="322" y="356"/>
                  </a:lnTo>
                  <a:lnTo>
                    <a:pt x="322" y="354"/>
                  </a:lnTo>
                  <a:lnTo>
                    <a:pt x="322" y="354"/>
                  </a:lnTo>
                  <a:lnTo>
                    <a:pt x="322" y="352"/>
                  </a:lnTo>
                  <a:lnTo>
                    <a:pt x="324" y="350"/>
                  </a:lnTo>
                  <a:lnTo>
                    <a:pt x="324" y="348"/>
                  </a:lnTo>
                  <a:lnTo>
                    <a:pt x="327" y="337"/>
                  </a:lnTo>
                  <a:lnTo>
                    <a:pt x="329" y="335"/>
                  </a:lnTo>
                  <a:lnTo>
                    <a:pt x="335" y="327"/>
                  </a:lnTo>
                  <a:lnTo>
                    <a:pt x="339" y="325"/>
                  </a:lnTo>
                  <a:lnTo>
                    <a:pt x="343" y="325"/>
                  </a:lnTo>
                  <a:lnTo>
                    <a:pt x="345" y="323"/>
                  </a:lnTo>
                  <a:lnTo>
                    <a:pt x="345" y="323"/>
                  </a:lnTo>
                  <a:lnTo>
                    <a:pt x="347" y="321"/>
                  </a:lnTo>
                  <a:lnTo>
                    <a:pt x="347" y="321"/>
                  </a:lnTo>
                  <a:lnTo>
                    <a:pt x="347" y="321"/>
                  </a:lnTo>
                  <a:lnTo>
                    <a:pt x="348" y="321"/>
                  </a:lnTo>
                  <a:lnTo>
                    <a:pt x="352" y="319"/>
                  </a:lnTo>
                  <a:lnTo>
                    <a:pt x="352" y="319"/>
                  </a:lnTo>
                  <a:lnTo>
                    <a:pt x="354" y="318"/>
                  </a:lnTo>
                  <a:lnTo>
                    <a:pt x="354" y="318"/>
                  </a:lnTo>
                  <a:lnTo>
                    <a:pt x="356" y="319"/>
                  </a:lnTo>
                  <a:lnTo>
                    <a:pt x="356" y="318"/>
                  </a:lnTo>
                  <a:lnTo>
                    <a:pt x="358" y="318"/>
                  </a:lnTo>
                  <a:lnTo>
                    <a:pt x="360" y="318"/>
                  </a:lnTo>
                  <a:lnTo>
                    <a:pt x="364" y="318"/>
                  </a:lnTo>
                  <a:lnTo>
                    <a:pt x="364" y="316"/>
                  </a:lnTo>
                  <a:lnTo>
                    <a:pt x="364" y="316"/>
                  </a:lnTo>
                  <a:lnTo>
                    <a:pt x="366" y="316"/>
                  </a:lnTo>
                  <a:lnTo>
                    <a:pt x="366" y="316"/>
                  </a:lnTo>
                  <a:lnTo>
                    <a:pt x="366" y="316"/>
                  </a:lnTo>
                  <a:lnTo>
                    <a:pt x="367" y="316"/>
                  </a:lnTo>
                  <a:lnTo>
                    <a:pt x="371" y="316"/>
                  </a:lnTo>
                  <a:lnTo>
                    <a:pt x="373" y="316"/>
                  </a:lnTo>
                  <a:lnTo>
                    <a:pt x="375" y="318"/>
                  </a:lnTo>
                  <a:lnTo>
                    <a:pt x="377" y="321"/>
                  </a:lnTo>
                  <a:lnTo>
                    <a:pt x="377" y="325"/>
                  </a:lnTo>
                  <a:lnTo>
                    <a:pt x="377" y="333"/>
                  </a:lnTo>
                  <a:lnTo>
                    <a:pt x="379" y="333"/>
                  </a:lnTo>
                  <a:lnTo>
                    <a:pt x="379" y="331"/>
                  </a:lnTo>
                  <a:lnTo>
                    <a:pt x="383" y="323"/>
                  </a:lnTo>
                  <a:lnTo>
                    <a:pt x="385" y="316"/>
                  </a:lnTo>
                  <a:lnTo>
                    <a:pt x="385" y="312"/>
                  </a:lnTo>
                  <a:lnTo>
                    <a:pt x="385" y="308"/>
                  </a:lnTo>
                  <a:lnTo>
                    <a:pt x="383" y="304"/>
                  </a:lnTo>
                  <a:lnTo>
                    <a:pt x="385" y="304"/>
                  </a:lnTo>
                  <a:lnTo>
                    <a:pt x="385" y="306"/>
                  </a:lnTo>
                  <a:lnTo>
                    <a:pt x="385" y="306"/>
                  </a:lnTo>
                  <a:lnTo>
                    <a:pt x="387" y="304"/>
                  </a:lnTo>
                  <a:lnTo>
                    <a:pt x="385" y="304"/>
                  </a:lnTo>
                  <a:lnTo>
                    <a:pt x="387" y="302"/>
                  </a:lnTo>
                  <a:lnTo>
                    <a:pt x="387" y="306"/>
                  </a:lnTo>
                  <a:lnTo>
                    <a:pt x="387" y="308"/>
                  </a:lnTo>
                  <a:lnTo>
                    <a:pt x="387" y="310"/>
                  </a:lnTo>
                  <a:lnTo>
                    <a:pt x="387" y="316"/>
                  </a:lnTo>
                  <a:lnTo>
                    <a:pt x="387" y="318"/>
                  </a:lnTo>
                  <a:lnTo>
                    <a:pt x="387" y="319"/>
                  </a:lnTo>
                  <a:lnTo>
                    <a:pt x="388" y="321"/>
                  </a:lnTo>
                  <a:lnTo>
                    <a:pt x="390" y="321"/>
                  </a:lnTo>
                  <a:lnTo>
                    <a:pt x="390" y="323"/>
                  </a:lnTo>
                  <a:lnTo>
                    <a:pt x="394" y="325"/>
                  </a:lnTo>
                  <a:lnTo>
                    <a:pt x="394" y="327"/>
                  </a:lnTo>
                  <a:lnTo>
                    <a:pt x="394" y="327"/>
                  </a:lnTo>
                  <a:lnTo>
                    <a:pt x="396" y="327"/>
                  </a:lnTo>
                  <a:lnTo>
                    <a:pt x="396" y="327"/>
                  </a:lnTo>
                  <a:lnTo>
                    <a:pt x="396" y="327"/>
                  </a:lnTo>
                  <a:lnTo>
                    <a:pt x="396" y="325"/>
                  </a:lnTo>
                  <a:lnTo>
                    <a:pt x="396" y="323"/>
                  </a:lnTo>
                  <a:lnTo>
                    <a:pt x="396" y="323"/>
                  </a:lnTo>
                  <a:lnTo>
                    <a:pt x="396" y="323"/>
                  </a:lnTo>
                  <a:lnTo>
                    <a:pt x="394" y="321"/>
                  </a:lnTo>
                  <a:lnTo>
                    <a:pt x="394" y="321"/>
                  </a:lnTo>
                  <a:lnTo>
                    <a:pt x="398" y="318"/>
                  </a:lnTo>
                  <a:lnTo>
                    <a:pt x="400" y="316"/>
                  </a:lnTo>
                  <a:lnTo>
                    <a:pt x="404" y="314"/>
                  </a:lnTo>
                  <a:lnTo>
                    <a:pt x="408" y="310"/>
                  </a:lnTo>
                  <a:lnTo>
                    <a:pt x="409" y="310"/>
                  </a:lnTo>
                  <a:lnTo>
                    <a:pt x="409" y="308"/>
                  </a:lnTo>
                  <a:lnTo>
                    <a:pt x="409" y="302"/>
                  </a:lnTo>
                  <a:lnTo>
                    <a:pt x="409" y="300"/>
                  </a:lnTo>
                  <a:lnTo>
                    <a:pt x="411" y="299"/>
                  </a:lnTo>
                  <a:lnTo>
                    <a:pt x="413" y="293"/>
                  </a:lnTo>
                  <a:lnTo>
                    <a:pt x="415" y="287"/>
                  </a:lnTo>
                  <a:lnTo>
                    <a:pt x="417" y="283"/>
                  </a:lnTo>
                  <a:lnTo>
                    <a:pt x="419" y="280"/>
                  </a:lnTo>
                  <a:lnTo>
                    <a:pt x="419" y="278"/>
                  </a:lnTo>
                  <a:lnTo>
                    <a:pt x="419" y="278"/>
                  </a:lnTo>
                  <a:lnTo>
                    <a:pt x="419" y="276"/>
                  </a:lnTo>
                  <a:lnTo>
                    <a:pt x="419" y="276"/>
                  </a:lnTo>
                  <a:lnTo>
                    <a:pt x="419" y="274"/>
                  </a:lnTo>
                  <a:lnTo>
                    <a:pt x="425" y="270"/>
                  </a:lnTo>
                  <a:lnTo>
                    <a:pt x="427" y="270"/>
                  </a:lnTo>
                  <a:lnTo>
                    <a:pt x="427" y="270"/>
                  </a:lnTo>
                  <a:lnTo>
                    <a:pt x="428" y="270"/>
                  </a:lnTo>
                  <a:lnTo>
                    <a:pt x="430" y="270"/>
                  </a:lnTo>
                  <a:lnTo>
                    <a:pt x="430" y="270"/>
                  </a:lnTo>
                  <a:lnTo>
                    <a:pt x="432" y="270"/>
                  </a:lnTo>
                  <a:lnTo>
                    <a:pt x="432" y="270"/>
                  </a:lnTo>
                  <a:lnTo>
                    <a:pt x="434" y="270"/>
                  </a:lnTo>
                  <a:lnTo>
                    <a:pt x="434" y="272"/>
                  </a:lnTo>
                  <a:lnTo>
                    <a:pt x="434" y="272"/>
                  </a:lnTo>
                  <a:lnTo>
                    <a:pt x="434" y="272"/>
                  </a:lnTo>
                  <a:lnTo>
                    <a:pt x="434" y="274"/>
                  </a:lnTo>
                  <a:lnTo>
                    <a:pt x="440" y="272"/>
                  </a:lnTo>
                  <a:lnTo>
                    <a:pt x="442" y="272"/>
                  </a:lnTo>
                  <a:lnTo>
                    <a:pt x="444" y="272"/>
                  </a:lnTo>
                  <a:lnTo>
                    <a:pt x="446" y="272"/>
                  </a:lnTo>
                  <a:lnTo>
                    <a:pt x="446" y="270"/>
                  </a:lnTo>
                  <a:lnTo>
                    <a:pt x="448" y="270"/>
                  </a:lnTo>
                  <a:lnTo>
                    <a:pt x="448" y="270"/>
                  </a:lnTo>
                  <a:lnTo>
                    <a:pt x="448" y="272"/>
                  </a:lnTo>
                  <a:lnTo>
                    <a:pt x="448" y="274"/>
                  </a:lnTo>
                  <a:lnTo>
                    <a:pt x="449" y="274"/>
                  </a:lnTo>
                  <a:lnTo>
                    <a:pt x="453" y="274"/>
                  </a:lnTo>
                  <a:lnTo>
                    <a:pt x="453" y="274"/>
                  </a:lnTo>
                  <a:lnTo>
                    <a:pt x="455" y="274"/>
                  </a:lnTo>
                  <a:lnTo>
                    <a:pt x="457" y="274"/>
                  </a:lnTo>
                  <a:lnTo>
                    <a:pt x="459" y="276"/>
                  </a:lnTo>
                  <a:lnTo>
                    <a:pt x="461" y="276"/>
                  </a:lnTo>
                  <a:lnTo>
                    <a:pt x="461" y="276"/>
                  </a:lnTo>
                  <a:lnTo>
                    <a:pt x="465" y="276"/>
                  </a:lnTo>
                  <a:lnTo>
                    <a:pt x="467" y="274"/>
                  </a:lnTo>
                  <a:lnTo>
                    <a:pt x="474" y="270"/>
                  </a:lnTo>
                  <a:lnTo>
                    <a:pt x="476" y="270"/>
                  </a:lnTo>
                  <a:lnTo>
                    <a:pt x="478" y="270"/>
                  </a:lnTo>
                  <a:lnTo>
                    <a:pt x="482" y="268"/>
                  </a:lnTo>
                  <a:lnTo>
                    <a:pt x="482" y="268"/>
                  </a:lnTo>
                  <a:lnTo>
                    <a:pt x="484" y="266"/>
                  </a:lnTo>
                  <a:lnTo>
                    <a:pt x="484" y="266"/>
                  </a:lnTo>
                  <a:lnTo>
                    <a:pt x="486" y="266"/>
                  </a:lnTo>
                  <a:lnTo>
                    <a:pt x="488" y="266"/>
                  </a:lnTo>
                  <a:lnTo>
                    <a:pt x="488" y="266"/>
                  </a:lnTo>
                  <a:lnTo>
                    <a:pt x="489" y="264"/>
                  </a:lnTo>
                  <a:lnTo>
                    <a:pt x="491" y="262"/>
                  </a:lnTo>
                  <a:lnTo>
                    <a:pt x="493" y="264"/>
                  </a:lnTo>
                  <a:lnTo>
                    <a:pt x="495" y="262"/>
                  </a:lnTo>
                  <a:lnTo>
                    <a:pt x="499" y="261"/>
                  </a:lnTo>
                  <a:lnTo>
                    <a:pt x="503" y="259"/>
                  </a:lnTo>
                  <a:lnTo>
                    <a:pt x="505" y="259"/>
                  </a:lnTo>
                  <a:lnTo>
                    <a:pt x="507" y="257"/>
                  </a:lnTo>
                  <a:lnTo>
                    <a:pt x="512" y="251"/>
                  </a:lnTo>
                  <a:lnTo>
                    <a:pt x="516" y="251"/>
                  </a:lnTo>
                  <a:lnTo>
                    <a:pt x="514" y="249"/>
                  </a:lnTo>
                  <a:lnTo>
                    <a:pt x="514" y="247"/>
                  </a:lnTo>
                  <a:lnTo>
                    <a:pt x="514" y="247"/>
                  </a:lnTo>
                  <a:lnTo>
                    <a:pt x="514" y="245"/>
                  </a:lnTo>
                  <a:lnTo>
                    <a:pt x="514" y="245"/>
                  </a:lnTo>
                  <a:lnTo>
                    <a:pt x="514" y="247"/>
                  </a:lnTo>
                  <a:lnTo>
                    <a:pt x="516" y="247"/>
                  </a:lnTo>
                  <a:lnTo>
                    <a:pt x="516" y="247"/>
                  </a:lnTo>
                  <a:lnTo>
                    <a:pt x="516" y="247"/>
                  </a:lnTo>
                  <a:lnTo>
                    <a:pt x="516" y="247"/>
                  </a:lnTo>
                  <a:lnTo>
                    <a:pt x="516" y="245"/>
                  </a:lnTo>
                  <a:lnTo>
                    <a:pt x="518" y="242"/>
                  </a:lnTo>
                  <a:lnTo>
                    <a:pt x="520" y="238"/>
                  </a:lnTo>
                  <a:lnTo>
                    <a:pt x="520" y="234"/>
                  </a:lnTo>
                  <a:lnTo>
                    <a:pt x="522" y="228"/>
                  </a:lnTo>
                  <a:lnTo>
                    <a:pt x="522" y="224"/>
                  </a:lnTo>
                  <a:lnTo>
                    <a:pt x="522" y="219"/>
                  </a:lnTo>
                  <a:lnTo>
                    <a:pt x="520" y="217"/>
                  </a:lnTo>
                  <a:lnTo>
                    <a:pt x="520" y="215"/>
                  </a:lnTo>
                  <a:lnTo>
                    <a:pt x="520" y="217"/>
                  </a:lnTo>
                  <a:lnTo>
                    <a:pt x="520" y="221"/>
                  </a:lnTo>
                  <a:lnTo>
                    <a:pt x="522" y="224"/>
                  </a:lnTo>
                  <a:lnTo>
                    <a:pt x="520" y="224"/>
                  </a:lnTo>
                  <a:lnTo>
                    <a:pt x="518" y="224"/>
                  </a:lnTo>
                  <a:lnTo>
                    <a:pt x="518" y="224"/>
                  </a:lnTo>
                  <a:lnTo>
                    <a:pt x="518" y="224"/>
                  </a:lnTo>
                  <a:lnTo>
                    <a:pt x="516" y="224"/>
                  </a:lnTo>
                  <a:lnTo>
                    <a:pt x="516" y="224"/>
                  </a:lnTo>
                  <a:lnTo>
                    <a:pt x="516" y="224"/>
                  </a:lnTo>
                  <a:lnTo>
                    <a:pt x="516" y="224"/>
                  </a:lnTo>
                  <a:lnTo>
                    <a:pt x="514" y="224"/>
                  </a:lnTo>
                  <a:lnTo>
                    <a:pt x="512" y="222"/>
                  </a:lnTo>
                  <a:lnTo>
                    <a:pt x="510" y="221"/>
                  </a:lnTo>
                  <a:lnTo>
                    <a:pt x="510" y="219"/>
                  </a:lnTo>
                  <a:lnTo>
                    <a:pt x="510" y="217"/>
                  </a:lnTo>
                  <a:lnTo>
                    <a:pt x="514" y="211"/>
                  </a:lnTo>
                  <a:lnTo>
                    <a:pt x="514" y="207"/>
                  </a:lnTo>
                  <a:lnTo>
                    <a:pt x="516" y="205"/>
                  </a:lnTo>
                  <a:lnTo>
                    <a:pt x="520" y="203"/>
                  </a:lnTo>
                  <a:lnTo>
                    <a:pt x="522" y="200"/>
                  </a:lnTo>
                  <a:lnTo>
                    <a:pt x="524" y="198"/>
                  </a:lnTo>
                  <a:lnTo>
                    <a:pt x="526" y="196"/>
                  </a:lnTo>
                  <a:lnTo>
                    <a:pt x="528" y="196"/>
                  </a:lnTo>
                  <a:lnTo>
                    <a:pt x="529" y="192"/>
                  </a:lnTo>
                  <a:lnTo>
                    <a:pt x="531" y="190"/>
                  </a:lnTo>
                  <a:lnTo>
                    <a:pt x="554" y="177"/>
                  </a:lnTo>
                  <a:lnTo>
                    <a:pt x="558" y="175"/>
                  </a:lnTo>
                  <a:lnTo>
                    <a:pt x="562" y="173"/>
                  </a:lnTo>
                  <a:lnTo>
                    <a:pt x="566" y="173"/>
                  </a:lnTo>
                  <a:lnTo>
                    <a:pt x="566" y="171"/>
                  </a:lnTo>
                  <a:lnTo>
                    <a:pt x="568" y="169"/>
                  </a:lnTo>
                  <a:lnTo>
                    <a:pt x="569" y="169"/>
                  </a:lnTo>
                  <a:lnTo>
                    <a:pt x="569" y="171"/>
                  </a:lnTo>
                  <a:lnTo>
                    <a:pt x="569" y="171"/>
                  </a:lnTo>
                  <a:lnTo>
                    <a:pt x="575" y="167"/>
                  </a:lnTo>
                  <a:lnTo>
                    <a:pt x="575" y="167"/>
                  </a:lnTo>
                  <a:lnTo>
                    <a:pt x="577" y="167"/>
                  </a:lnTo>
                  <a:lnTo>
                    <a:pt x="577" y="165"/>
                  </a:lnTo>
                  <a:lnTo>
                    <a:pt x="579" y="164"/>
                  </a:lnTo>
                  <a:lnTo>
                    <a:pt x="581" y="164"/>
                  </a:lnTo>
                  <a:lnTo>
                    <a:pt x="585" y="162"/>
                  </a:lnTo>
                  <a:lnTo>
                    <a:pt x="589" y="160"/>
                  </a:lnTo>
                  <a:lnTo>
                    <a:pt x="596" y="156"/>
                  </a:lnTo>
                  <a:lnTo>
                    <a:pt x="598" y="154"/>
                  </a:lnTo>
                  <a:lnTo>
                    <a:pt x="600" y="154"/>
                  </a:lnTo>
                  <a:lnTo>
                    <a:pt x="600" y="154"/>
                  </a:lnTo>
                  <a:lnTo>
                    <a:pt x="602" y="152"/>
                  </a:lnTo>
                  <a:lnTo>
                    <a:pt x="602" y="152"/>
                  </a:lnTo>
                  <a:lnTo>
                    <a:pt x="600" y="148"/>
                  </a:lnTo>
                  <a:lnTo>
                    <a:pt x="602" y="148"/>
                  </a:lnTo>
                  <a:lnTo>
                    <a:pt x="604" y="148"/>
                  </a:lnTo>
                  <a:lnTo>
                    <a:pt x="604" y="148"/>
                  </a:lnTo>
                  <a:lnTo>
                    <a:pt x="606" y="146"/>
                  </a:lnTo>
                  <a:lnTo>
                    <a:pt x="608" y="146"/>
                  </a:lnTo>
                  <a:lnTo>
                    <a:pt x="608" y="145"/>
                  </a:lnTo>
                  <a:lnTo>
                    <a:pt x="608" y="145"/>
                  </a:lnTo>
                  <a:lnTo>
                    <a:pt x="606" y="145"/>
                  </a:lnTo>
                  <a:lnTo>
                    <a:pt x="604" y="143"/>
                  </a:lnTo>
                  <a:lnTo>
                    <a:pt x="602" y="143"/>
                  </a:lnTo>
                  <a:lnTo>
                    <a:pt x="602" y="141"/>
                  </a:lnTo>
                  <a:lnTo>
                    <a:pt x="604" y="141"/>
                  </a:lnTo>
                  <a:lnTo>
                    <a:pt x="606" y="141"/>
                  </a:lnTo>
                  <a:lnTo>
                    <a:pt x="606" y="143"/>
                  </a:lnTo>
                  <a:lnTo>
                    <a:pt x="606" y="143"/>
                  </a:lnTo>
                  <a:lnTo>
                    <a:pt x="606" y="143"/>
                  </a:lnTo>
                  <a:lnTo>
                    <a:pt x="606" y="143"/>
                  </a:lnTo>
                  <a:lnTo>
                    <a:pt x="606" y="143"/>
                  </a:lnTo>
                  <a:lnTo>
                    <a:pt x="608" y="143"/>
                  </a:lnTo>
                  <a:lnTo>
                    <a:pt x="608" y="143"/>
                  </a:lnTo>
                  <a:lnTo>
                    <a:pt x="608" y="143"/>
                  </a:lnTo>
                  <a:lnTo>
                    <a:pt x="609" y="143"/>
                  </a:lnTo>
                  <a:lnTo>
                    <a:pt x="609" y="143"/>
                  </a:lnTo>
                  <a:lnTo>
                    <a:pt x="611" y="141"/>
                  </a:lnTo>
                  <a:lnTo>
                    <a:pt x="617" y="135"/>
                  </a:lnTo>
                  <a:lnTo>
                    <a:pt x="619" y="133"/>
                  </a:lnTo>
                  <a:lnTo>
                    <a:pt x="619" y="129"/>
                  </a:lnTo>
                  <a:lnTo>
                    <a:pt x="619" y="127"/>
                  </a:lnTo>
                  <a:lnTo>
                    <a:pt x="621" y="125"/>
                  </a:lnTo>
                  <a:lnTo>
                    <a:pt x="621" y="124"/>
                  </a:lnTo>
                  <a:lnTo>
                    <a:pt x="621" y="122"/>
                  </a:lnTo>
                  <a:lnTo>
                    <a:pt x="621" y="122"/>
                  </a:lnTo>
                  <a:lnTo>
                    <a:pt x="623" y="122"/>
                  </a:lnTo>
                  <a:lnTo>
                    <a:pt x="623" y="124"/>
                  </a:lnTo>
                  <a:lnTo>
                    <a:pt x="623" y="124"/>
                  </a:lnTo>
                  <a:lnTo>
                    <a:pt x="625" y="122"/>
                  </a:lnTo>
                  <a:lnTo>
                    <a:pt x="629" y="120"/>
                  </a:lnTo>
                  <a:lnTo>
                    <a:pt x="629" y="118"/>
                  </a:lnTo>
                  <a:lnTo>
                    <a:pt x="630" y="118"/>
                  </a:lnTo>
                  <a:lnTo>
                    <a:pt x="630" y="116"/>
                  </a:lnTo>
                  <a:lnTo>
                    <a:pt x="630" y="116"/>
                  </a:lnTo>
                  <a:lnTo>
                    <a:pt x="632" y="116"/>
                  </a:lnTo>
                  <a:lnTo>
                    <a:pt x="632" y="112"/>
                  </a:lnTo>
                  <a:lnTo>
                    <a:pt x="634" y="112"/>
                  </a:lnTo>
                  <a:lnTo>
                    <a:pt x="636" y="108"/>
                  </a:lnTo>
                  <a:lnTo>
                    <a:pt x="651" y="101"/>
                  </a:lnTo>
                  <a:lnTo>
                    <a:pt x="680" y="87"/>
                  </a:lnTo>
                  <a:lnTo>
                    <a:pt x="682" y="84"/>
                  </a:lnTo>
                  <a:lnTo>
                    <a:pt x="684" y="82"/>
                  </a:lnTo>
                  <a:lnTo>
                    <a:pt x="684" y="80"/>
                  </a:lnTo>
                  <a:lnTo>
                    <a:pt x="684" y="80"/>
                  </a:lnTo>
                  <a:lnTo>
                    <a:pt x="686" y="78"/>
                  </a:lnTo>
                  <a:lnTo>
                    <a:pt x="686" y="78"/>
                  </a:lnTo>
                  <a:lnTo>
                    <a:pt x="686" y="76"/>
                  </a:lnTo>
                  <a:lnTo>
                    <a:pt x="688" y="74"/>
                  </a:lnTo>
                  <a:lnTo>
                    <a:pt x="690" y="72"/>
                  </a:lnTo>
                  <a:lnTo>
                    <a:pt x="693" y="70"/>
                  </a:lnTo>
                  <a:lnTo>
                    <a:pt x="695" y="68"/>
                  </a:lnTo>
                  <a:lnTo>
                    <a:pt x="699" y="65"/>
                  </a:lnTo>
                  <a:lnTo>
                    <a:pt x="703" y="61"/>
                  </a:lnTo>
                  <a:lnTo>
                    <a:pt x="705" y="59"/>
                  </a:lnTo>
                  <a:lnTo>
                    <a:pt x="703" y="61"/>
                  </a:lnTo>
                  <a:lnTo>
                    <a:pt x="699" y="63"/>
                  </a:lnTo>
                  <a:lnTo>
                    <a:pt x="697" y="65"/>
                  </a:lnTo>
                  <a:lnTo>
                    <a:pt x="695" y="65"/>
                  </a:lnTo>
                  <a:lnTo>
                    <a:pt x="693" y="65"/>
                  </a:lnTo>
                  <a:lnTo>
                    <a:pt x="695" y="63"/>
                  </a:lnTo>
                  <a:lnTo>
                    <a:pt x="695" y="63"/>
                  </a:lnTo>
                  <a:lnTo>
                    <a:pt x="697" y="63"/>
                  </a:lnTo>
                  <a:lnTo>
                    <a:pt x="699" y="63"/>
                  </a:lnTo>
                  <a:lnTo>
                    <a:pt x="699" y="63"/>
                  </a:lnTo>
                  <a:lnTo>
                    <a:pt x="701" y="61"/>
                  </a:lnTo>
                  <a:lnTo>
                    <a:pt x="701" y="61"/>
                  </a:lnTo>
                  <a:lnTo>
                    <a:pt x="703" y="59"/>
                  </a:lnTo>
                  <a:lnTo>
                    <a:pt x="705" y="59"/>
                  </a:lnTo>
                  <a:lnTo>
                    <a:pt x="707" y="55"/>
                  </a:lnTo>
                  <a:lnTo>
                    <a:pt x="710" y="51"/>
                  </a:lnTo>
                  <a:lnTo>
                    <a:pt x="712" y="51"/>
                  </a:lnTo>
                  <a:lnTo>
                    <a:pt x="712" y="49"/>
                  </a:lnTo>
                  <a:lnTo>
                    <a:pt x="714" y="48"/>
                  </a:lnTo>
                  <a:lnTo>
                    <a:pt x="722" y="38"/>
                  </a:lnTo>
                  <a:lnTo>
                    <a:pt x="722" y="36"/>
                  </a:lnTo>
                  <a:lnTo>
                    <a:pt x="730" y="25"/>
                  </a:lnTo>
                  <a:lnTo>
                    <a:pt x="733" y="23"/>
                  </a:lnTo>
                  <a:lnTo>
                    <a:pt x="735" y="21"/>
                  </a:lnTo>
                  <a:lnTo>
                    <a:pt x="737" y="19"/>
                  </a:lnTo>
                  <a:lnTo>
                    <a:pt x="741" y="13"/>
                  </a:lnTo>
                  <a:lnTo>
                    <a:pt x="741" y="11"/>
                  </a:lnTo>
                  <a:lnTo>
                    <a:pt x="745" y="8"/>
                  </a:lnTo>
                  <a:lnTo>
                    <a:pt x="745" y="8"/>
                  </a:lnTo>
                  <a:lnTo>
                    <a:pt x="743" y="6"/>
                  </a:lnTo>
                  <a:close/>
                  <a:moveTo>
                    <a:pt x="512" y="238"/>
                  </a:moveTo>
                  <a:lnTo>
                    <a:pt x="512" y="238"/>
                  </a:lnTo>
                  <a:lnTo>
                    <a:pt x="514" y="236"/>
                  </a:lnTo>
                  <a:lnTo>
                    <a:pt x="514" y="236"/>
                  </a:lnTo>
                  <a:lnTo>
                    <a:pt x="514" y="236"/>
                  </a:lnTo>
                  <a:lnTo>
                    <a:pt x="514" y="236"/>
                  </a:lnTo>
                  <a:lnTo>
                    <a:pt x="514" y="236"/>
                  </a:lnTo>
                  <a:lnTo>
                    <a:pt x="516" y="236"/>
                  </a:lnTo>
                  <a:lnTo>
                    <a:pt x="516" y="238"/>
                  </a:lnTo>
                  <a:lnTo>
                    <a:pt x="514" y="238"/>
                  </a:lnTo>
                  <a:lnTo>
                    <a:pt x="514" y="238"/>
                  </a:lnTo>
                  <a:lnTo>
                    <a:pt x="512" y="238"/>
                  </a:lnTo>
                  <a:lnTo>
                    <a:pt x="512" y="238"/>
                  </a:lnTo>
                  <a:lnTo>
                    <a:pt x="512" y="238"/>
                  </a:lnTo>
                  <a:lnTo>
                    <a:pt x="514" y="240"/>
                  </a:lnTo>
                  <a:lnTo>
                    <a:pt x="512" y="240"/>
                  </a:lnTo>
                  <a:lnTo>
                    <a:pt x="512" y="240"/>
                  </a:lnTo>
                  <a:lnTo>
                    <a:pt x="510" y="240"/>
                  </a:lnTo>
                  <a:lnTo>
                    <a:pt x="508" y="238"/>
                  </a:lnTo>
                  <a:lnTo>
                    <a:pt x="507" y="238"/>
                  </a:lnTo>
                  <a:lnTo>
                    <a:pt x="505" y="238"/>
                  </a:lnTo>
                  <a:lnTo>
                    <a:pt x="505" y="238"/>
                  </a:lnTo>
                  <a:lnTo>
                    <a:pt x="505" y="236"/>
                  </a:lnTo>
                  <a:lnTo>
                    <a:pt x="505" y="236"/>
                  </a:lnTo>
                  <a:lnTo>
                    <a:pt x="505" y="236"/>
                  </a:lnTo>
                  <a:lnTo>
                    <a:pt x="507" y="236"/>
                  </a:lnTo>
                  <a:lnTo>
                    <a:pt x="507" y="234"/>
                  </a:lnTo>
                  <a:lnTo>
                    <a:pt x="507" y="234"/>
                  </a:lnTo>
                  <a:lnTo>
                    <a:pt x="508" y="234"/>
                  </a:lnTo>
                  <a:lnTo>
                    <a:pt x="507" y="236"/>
                  </a:lnTo>
                  <a:lnTo>
                    <a:pt x="508" y="236"/>
                  </a:lnTo>
                  <a:lnTo>
                    <a:pt x="508" y="238"/>
                  </a:lnTo>
                  <a:lnTo>
                    <a:pt x="512" y="238"/>
                  </a:lnTo>
                  <a:close/>
                  <a:moveTo>
                    <a:pt x="392" y="325"/>
                  </a:moveTo>
                  <a:lnTo>
                    <a:pt x="388" y="323"/>
                  </a:lnTo>
                  <a:lnTo>
                    <a:pt x="385" y="321"/>
                  </a:lnTo>
                  <a:lnTo>
                    <a:pt x="385" y="321"/>
                  </a:lnTo>
                  <a:lnTo>
                    <a:pt x="383" y="323"/>
                  </a:lnTo>
                  <a:lnTo>
                    <a:pt x="388" y="329"/>
                  </a:lnTo>
                  <a:lnTo>
                    <a:pt x="390" y="331"/>
                  </a:lnTo>
                  <a:lnTo>
                    <a:pt x="390" y="331"/>
                  </a:lnTo>
                  <a:lnTo>
                    <a:pt x="392" y="331"/>
                  </a:lnTo>
                  <a:lnTo>
                    <a:pt x="394" y="329"/>
                  </a:lnTo>
                  <a:lnTo>
                    <a:pt x="394" y="329"/>
                  </a:lnTo>
                  <a:lnTo>
                    <a:pt x="394" y="327"/>
                  </a:lnTo>
                  <a:lnTo>
                    <a:pt x="392" y="32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3" name="Freeform 75">
              <a:extLst>
                <a:ext uri="{FF2B5EF4-FFF2-40B4-BE49-F238E27FC236}">
                  <a16:creationId xmlns:a16="http://schemas.microsoft.com/office/drawing/2014/main" id="{58541813-4904-D024-F82E-546C81470242}"/>
                </a:ext>
              </a:extLst>
            </p:cNvPr>
            <p:cNvSpPr>
              <a:spLocks noEditPoints="1"/>
            </p:cNvSpPr>
            <p:nvPr/>
          </p:nvSpPr>
          <p:spPr bwMode="auto">
            <a:xfrm>
              <a:off x="5033963" y="4383888"/>
              <a:ext cx="1182688" cy="993775"/>
            </a:xfrm>
            <a:custGeom>
              <a:avLst/>
              <a:gdLst>
                <a:gd name="T0" fmla="*/ 724 w 745"/>
                <a:gd name="T1" fmla="*/ 9 h 626"/>
                <a:gd name="T2" fmla="*/ 684 w 745"/>
                <a:gd name="T3" fmla="*/ 36 h 626"/>
                <a:gd name="T4" fmla="*/ 650 w 745"/>
                <a:gd name="T5" fmla="*/ 21 h 626"/>
                <a:gd name="T6" fmla="*/ 623 w 745"/>
                <a:gd name="T7" fmla="*/ 15 h 626"/>
                <a:gd name="T8" fmla="*/ 615 w 745"/>
                <a:gd name="T9" fmla="*/ 28 h 626"/>
                <a:gd name="T10" fmla="*/ 585 w 745"/>
                <a:gd name="T11" fmla="*/ 61 h 626"/>
                <a:gd name="T12" fmla="*/ 560 w 745"/>
                <a:gd name="T13" fmla="*/ 72 h 626"/>
                <a:gd name="T14" fmla="*/ 535 w 745"/>
                <a:gd name="T15" fmla="*/ 70 h 626"/>
                <a:gd name="T16" fmla="*/ 520 w 745"/>
                <a:gd name="T17" fmla="*/ 99 h 626"/>
                <a:gd name="T18" fmla="*/ 467 w 745"/>
                <a:gd name="T19" fmla="*/ 124 h 626"/>
                <a:gd name="T20" fmla="*/ 444 w 745"/>
                <a:gd name="T21" fmla="*/ 150 h 626"/>
                <a:gd name="T22" fmla="*/ 428 w 745"/>
                <a:gd name="T23" fmla="*/ 175 h 626"/>
                <a:gd name="T24" fmla="*/ 398 w 745"/>
                <a:gd name="T25" fmla="*/ 192 h 626"/>
                <a:gd name="T26" fmla="*/ 381 w 745"/>
                <a:gd name="T27" fmla="*/ 205 h 626"/>
                <a:gd name="T28" fmla="*/ 356 w 745"/>
                <a:gd name="T29" fmla="*/ 198 h 626"/>
                <a:gd name="T30" fmla="*/ 337 w 745"/>
                <a:gd name="T31" fmla="*/ 207 h 626"/>
                <a:gd name="T32" fmla="*/ 356 w 745"/>
                <a:gd name="T33" fmla="*/ 221 h 626"/>
                <a:gd name="T34" fmla="*/ 341 w 745"/>
                <a:gd name="T35" fmla="*/ 224 h 626"/>
                <a:gd name="T36" fmla="*/ 322 w 745"/>
                <a:gd name="T37" fmla="*/ 207 h 626"/>
                <a:gd name="T38" fmla="*/ 307 w 745"/>
                <a:gd name="T39" fmla="*/ 234 h 626"/>
                <a:gd name="T40" fmla="*/ 261 w 745"/>
                <a:gd name="T41" fmla="*/ 245 h 626"/>
                <a:gd name="T42" fmla="*/ 226 w 745"/>
                <a:gd name="T43" fmla="*/ 285 h 626"/>
                <a:gd name="T44" fmla="*/ 196 w 745"/>
                <a:gd name="T45" fmla="*/ 295 h 626"/>
                <a:gd name="T46" fmla="*/ 148 w 745"/>
                <a:gd name="T47" fmla="*/ 302 h 626"/>
                <a:gd name="T48" fmla="*/ 124 w 745"/>
                <a:gd name="T49" fmla="*/ 321 h 626"/>
                <a:gd name="T50" fmla="*/ 91 w 745"/>
                <a:gd name="T51" fmla="*/ 318 h 626"/>
                <a:gd name="T52" fmla="*/ 30 w 745"/>
                <a:gd name="T53" fmla="*/ 331 h 626"/>
                <a:gd name="T54" fmla="*/ 26 w 745"/>
                <a:gd name="T55" fmla="*/ 361 h 626"/>
                <a:gd name="T56" fmla="*/ 21 w 745"/>
                <a:gd name="T57" fmla="*/ 399 h 626"/>
                <a:gd name="T58" fmla="*/ 4 w 745"/>
                <a:gd name="T59" fmla="*/ 424 h 626"/>
                <a:gd name="T60" fmla="*/ 17 w 745"/>
                <a:gd name="T61" fmla="*/ 458 h 626"/>
                <a:gd name="T62" fmla="*/ 34 w 745"/>
                <a:gd name="T63" fmla="*/ 470 h 626"/>
                <a:gd name="T64" fmla="*/ 63 w 745"/>
                <a:gd name="T65" fmla="*/ 466 h 626"/>
                <a:gd name="T66" fmla="*/ 59 w 745"/>
                <a:gd name="T67" fmla="*/ 487 h 626"/>
                <a:gd name="T68" fmla="*/ 53 w 745"/>
                <a:gd name="T69" fmla="*/ 496 h 626"/>
                <a:gd name="T70" fmla="*/ 19 w 745"/>
                <a:gd name="T71" fmla="*/ 479 h 626"/>
                <a:gd name="T72" fmla="*/ 23 w 745"/>
                <a:gd name="T73" fmla="*/ 512 h 626"/>
                <a:gd name="T74" fmla="*/ 38 w 745"/>
                <a:gd name="T75" fmla="*/ 513 h 626"/>
                <a:gd name="T76" fmla="*/ 53 w 745"/>
                <a:gd name="T77" fmla="*/ 512 h 626"/>
                <a:gd name="T78" fmla="*/ 82 w 745"/>
                <a:gd name="T79" fmla="*/ 517 h 626"/>
                <a:gd name="T80" fmla="*/ 105 w 745"/>
                <a:gd name="T81" fmla="*/ 504 h 626"/>
                <a:gd name="T82" fmla="*/ 118 w 745"/>
                <a:gd name="T83" fmla="*/ 510 h 626"/>
                <a:gd name="T84" fmla="*/ 141 w 745"/>
                <a:gd name="T85" fmla="*/ 536 h 626"/>
                <a:gd name="T86" fmla="*/ 152 w 745"/>
                <a:gd name="T87" fmla="*/ 559 h 626"/>
                <a:gd name="T88" fmla="*/ 169 w 745"/>
                <a:gd name="T89" fmla="*/ 576 h 626"/>
                <a:gd name="T90" fmla="*/ 150 w 745"/>
                <a:gd name="T91" fmla="*/ 601 h 626"/>
                <a:gd name="T92" fmla="*/ 164 w 745"/>
                <a:gd name="T93" fmla="*/ 622 h 626"/>
                <a:gd name="T94" fmla="*/ 200 w 745"/>
                <a:gd name="T95" fmla="*/ 588 h 626"/>
                <a:gd name="T96" fmla="*/ 238 w 745"/>
                <a:gd name="T97" fmla="*/ 580 h 626"/>
                <a:gd name="T98" fmla="*/ 274 w 745"/>
                <a:gd name="T99" fmla="*/ 569 h 626"/>
                <a:gd name="T100" fmla="*/ 308 w 745"/>
                <a:gd name="T101" fmla="*/ 546 h 626"/>
                <a:gd name="T102" fmla="*/ 320 w 745"/>
                <a:gd name="T103" fmla="*/ 546 h 626"/>
                <a:gd name="T104" fmla="*/ 326 w 745"/>
                <a:gd name="T105" fmla="*/ 512 h 626"/>
                <a:gd name="T106" fmla="*/ 318 w 745"/>
                <a:gd name="T107" fmla="*/ 437 h 626"/>
                <a:gd name="T108" fmla="*/ 347 w 745"/>
                <a:gd name="T109" fmla="*/ 321 h 626"/>
                <a:gd name="T110" fmla="*/ 387 w 745"/>
                <a:gd name="T111" fmla="*/ 308 h 626"/>
                <a:gd name="T112" fmla="*/ 419 w 745"/>
                <a:gd name="T113" fmla="*/ 274 h 626"/>
                <a:gd name="T114" fmla="*/ 482 w 745"/>
                <a:gd name="T115" fmla="*/ 268 h 626"/>
                <a:gd name="T116" fmla="*/ 522 w 745"/>
                <a:gd name="T117" fmla="*/ 224 h 626"/>
                <a:gd name="T118" fmla="*/ 579 w 745"/>
                <a:gd name="T119" fmla="*/ 164 h 626"/>
                <a:gd name="T120" fmla="*/ 619 w 745"/>
                <a:gd name="T121" fmla="*/ 129 h 626"/>
                <a:gd name="T122" fmla="*/ 697 w 745"/>
                <a:gd name="T123" fmla="*/ 65 h 626"/>
                <a:gd name="T124" fmla="*/ 514 w 745"/>
                <a:gd name="T125" fmla="*/ 23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5" h="626">
                  <a:moveTo>
                    <a:pt x="743" y="6"/>
                  </a:moveTo>
                  <a:lnTo>
                    <a:pt x="743" y="6"/>
                  </a:lnTo>
                  <a:lnTo>
                    <a:pt x="743" y="6"/>
                  </a:lnTo>
                  <a:lnTo>
                    <a:pt x="743" y="8"/>
                  </a:lnTo>
                  <a:lnTo>
                    <a:pt x="741" y="9"/>
                  </a:lnTo>
                  <a:lnTo>
                    <a:pt x="739" y="8"/>
                  </a:lnTo>
                  <a:lnTo>
                    <a:pt x="739" y="8"/>
                  </a:lnTo>
                  <a:lnTo>
                    <a:pt x="739" y="6"/>
                  </a:lnTo>
                  <a:lnTo>
                    <a:pt x="739" y="6"/>
                  </a:lnTo>
                  <a:lnTo>
                    <a:pt x="739" y="4"/>
                  </a:lnTo>
                  <a:lnTo>
                    <a:pt x="739" y="2"/>
                  </a:lnTo>
                  <a:lnTo>
                    <a:pt x="741" y="2"/>
                  </a:lnTo>
                  <a:lnTo>
                    <a:pt x="741" y="2"/>
                  </a:lnTo>
                  <a:lnTo>
                    <a:pt x="743" y="4"/>
                  </a:lnTo>
                  <a:lnTo>
                    <a:pt x="743" y="6"/>
                  </a:lnTo>
                  <a:lnTo>
                    <a:pt x="745" y="6"/>
                  </a:lnTo>
                  <a:lnTo>
                    <a:pt x="743" y="2"/>
                  </a:lnTo>
                  <a:lnTo>
                    <a:pt x="743" y="2"/>
                  </a:lnTo>
                  <a:lnTo>
                    <a:pt x="743" y="2"/>
                  </a:lnTo>
                  <a:lnTo>
                    <a:pt x="741" y="0"/>
                  </a:lnTo>
                  <a:lnTo>
                    <a:pt x="741" y="0"/>
                  </a:lnTo>
                  <a:lnTo>
                    <a:pt x="737" y="0"/>
                  </a:lnTo>
                  <a:lnTo>
                    <a:pt x="737" y="0"/>
                  </a:lnTo>
                  <a:lnTo>
                    <a:pt x="735" y="0"/>
                  </a:lnTo>
                  <a:lnTo>
                    <a:pt x="735" y="2"/>
                  </a:lnTo>
                  <a:lnTo>
                    <a:pt x="735" y="2"/>
                  </a:lnTo>
                  <a:lnTo>
                    <a:pt x="735" y="2"/>
                  </a:lnTo>
                  <a:lnTo>
                    <a:pt x="735" y="4"/>
                  </a:lnTo>
                  <a:lnTo>
                    <a:pt x="735" y="4"/>
                  </a:lnTo>
                  <a:lnTo>
                    <a:pt x="735" y="6"/>
                  </a:lnTo>
                  <a:lnTo>
                    <a:pt x="735" y="6"/>
                  </a:lnTo>
                  <a:lnTo>
                    <a:pt x="733" y="8"/>
                  </a:lnTo>
                  <a:lnTo>
                    <a:pt x="733" y="8"/>
                  </a:lnTo>
                  <a:lnTo>
                    <a:pt x="733" y="8"/>
                  </a:lnTo>
                  <a:lnTo>
                    <a:pt x="731" y="8"/>
                  </a:lnTo>
                  <a:lnTo>
                    <a:pt x="731" y="6"/>
                  </a:lnTo>
                  <a:lnTo>
                    <a:pt x="724" y="9"/>
                  </a:lnTo>
                  <a:lnTo>
                    <a:pt x="724" y="11"/>
                  </a:lnTo>
                  <a:lnTo>
                    <a:pt x="720" y="13"/>
                  </a:lnTo>
                  <a:lnTo>
                    <a:pt x="720" y="13"/>
                  </a:lnTo>
                  <a:lnTo>
                    <a:pt x="718" y="13"/>
                  </a:lnTo>
                  <a:lnTo>
                    <a:pt x="718" y="13"/>
                  </a:lnTo>
                  <a:lnTo>
                    <a:pt x="716" y="13"/>
                  </a:lnTo>
                  <a:lnTo>
                    <a:pt x="716" y="13"/>
                  </a:lnTo>
                  <a:lnTo>
                    <a:pt x="716" y="13"/>
                  </a:lnTo>
                  <a:lnTo>
                    <a:pt x="716" y="15"/>
                  </a:lnTo>
                  <a:lnTo>
                    <a:pt x="716" y="15"/>
                  </a:lnTo>
                  <a:lnTo>
                    <a:pt x="716" y="17"/>
                  </a:lnTo>
                  <a:lnTo>
                    <a:pt x="716" y="17"/>
                  </a:lnTo>
                  <a:lnTo>
                    <a:pt x="714" y="17"/>
                  </a:lnTo>
                  <a:lnTo>
                    <a:pt x="714" y="19"/>
                  </a:lnTo>
                  <a:lnTo>
                    <a:pt x="714" y="19"/>
                  </a:lnTo>
                  <a:lnTo>
                    <a:pt x="714" y="19"/>
                  </a:lnTo>
                  <a:lnTo>
                    <a:pt x="714" y="19"/>
                  </a:lnTo>
                  <a:lnTo>
                    <a:pt x="716" y="21"/>
                  </a:lnTo>
                  <a:lnTo>
                    <a:pt x="716" y="21"/>
                  </a:lnTo>
                  <a:lnTo>
                    <a:pt x="714" y="21"/>
                  </a:lnTo>
                  <a:lnTo>
                    <a:pt x="712" y="25"/>
                  </a:lnTo>
                  <a:lnTo>
                    <a:pt x="710" y="27"/>
                  </a:lnTo>
                  <a:lnTo>
                    <a:pt x="710" y="27"/>
                  </a:lnTo>
                  <a:lnTo>
                    <a:pt x="709" y="27"/>
                  </a:lnTo>
                  <a:lnTo>
                    <a:pt x="709" y="27"/>
                  </a:lnTo>
                  <a:lnTo>
                    <a:pt x="709" y="27"/>
                  </a:lnTo>
                  <a:lnTo>
                    <a:pt x="707" y="28"/>
                  </a:lnTo>
                  <a:lnTo>
                    <a:pt x="707" y="30"/>
                  </a:lnTo>
                  <a:lnTo>
                    <a:pt x="705" y="32"/>
                  </a:lnTo>
                  <a:lnTo>
                    <a:pt x="703" y="34"/>
                  </a:lnTo>
                  <a:lnTo>
                    <a:pt x="701" y="34"/>
                  </a:lnTo>
                  <a:lnTo>
                    <a:pt x="695" y="36"/>
                  </a:lnTo>
                  <a:lnTo>
                    <a:pt x="690" y="36"/>
                  </a:lnTo>
                  <a:lnTo>
                    <a:pt x="688" y="38"/>
                  </a:lnTo>
                  <a:lnTo>
                    <a:pt x="686" y="36"/>
                  </a:lnTo>
                  <a:lnTo>
                    <a:pt x="686" y="36"/>
                  </a:lnTo>
                  <a:lnTo>
                    <a:pt x="684" y="36"/>
                  </a:lnTo>
                  <a:lnTo>
                    <a:pt x="682" y="36"/>
                  </a:lnTo>
                  <a:lnTo>
                    <a:pt x="680" y="36"/>
                  </a:lnTo>
                  <a:lnTo>
                    <a:pt x="680" y="34"/>
                  </a:lnTo>
                  <a:lnTo>
                    <a:pt x="678" y="34"/>
                  </a:lnTo>
                  <a:lnTo>
                    <a:pt x="678" y="34"/>
                  </a:lnTo>
                  <a:lnTo>
                    <a:pt x="672" y="34"/>
                  </a:lnTo>
                  <a:lnTo>
                    <a:pt x="667" y="34"/>
                  </a:lnTo>
                  <a:lnTo>
                    <a:pt x="663" y="36"/>
                  </a:lnTo>
                  <a:lnTo>
                    <a:pt x="663" y="34"/>
                  </a:lnTo>
                  <a:lnTo>
                    <a:pt x="663" y="34"/>
                  </a:lnTo>
                  <a:lnTo>
                    <a:pt x="661" y="34"/>
                  </a:lnTo>
                  <a:lnTo>
                    <a:pt x="661" y="34"/>
                  </a:lnTo>
                  <a:lnTo>
                    <a:pt x="661" y="34"/>
                  </a:lnTo>
                  <a:lnTo>
                    <a:pt x="661" y="32"/>
                  </a:lnTo>
                  <a:lnTo>
                    <a:pt x="659" y="32"/>
                  </a:lnTo>
                  <a:lnTo>
                    <a:pt x="659" y="30"/>
                  </a:lnTo>
                  <a:lnTo>
                    <a:pt x="659" y="30"/>
                  </a:lnTo>
                  <a:lnTo>
                    <a:pt x="659" y="30"/>
                  </a:lnTo>
                  <a:lnTo>
                    <a:pt x="659" y="28"/>
                  </a:lnTo>
                  <a:lnTo>
                    <a:pt x="657" y="27"/>
                  </a:lnTo>
                  <a:lnTo>
                    <a:pt x="657" y="25"/>
                  </a:lnTo>
                  <a:lnTo>
                    <a:pt x="655" y="25"/>
                  </a:lnTo>
                  <a:lnTo>
                    <a:pt x="655" y="21"/>
                  </a:lnTo>
                  <a:lnTo>
                    <a:pt x="653" y="17"/>
                  </a:lnTo>
                  <a:lnTo>
                    <a:pt x="651" y="15"/>
                  </a:lnTo>
                  <a:lnTo>
                    <a:pt x="651" y="15"/>
                  </a:lnTo>
                  <a:lnTo>
                    <a:pt x="650" y="15"/>
                  </a:lnTo>
                  <a:lnTo>
                    <a:pt x="650" y="15"/>
                  </a:lnTo>
                  <a:lnTo>
                    <a:pt x="650" y="17"/>
                  </a:lnTo>
                  <a:lnTo>
                    <a:pt x="650" y="17"/>
                  </a:lnTo>
                  <a:lnTo>
                    <a:pt x="650" y="17"/>
                  </a:lnTo>
                  <a:lnTo>
                    <a:pt x="650" y="17"/>
                  </a:lnTo>
                  <a:lnTo>
                    <a:pt x="650" y="19"/>
                  </a:lnTo>
                  <a:lnTo>
                    <a:pt x="650" y="19"/>
                  </a:lnTo>
                  <a:lnTo>
                    <a:pt x="650" y="19"/>
                  </a:lnTo>
                  <a:lnTo>
                    <a:pt x="650" y="21"/>
                  </a:lnTo>
                  <a:lnTo>
                    <a:pt x="650" y="21"/>
                  </a:lnTo>
                  <a:lnTo>
                    <a:pt x="650" y="23"/>
                  </a:lnTo>
                  <a:lnTo>
                    <a:pt x="648" y="23"/>
                  </a:lnTo>
                  <a:lnTo>
                    <a:pt x="648" y="23"/>
                  </a:lnTo>
                  <a:lnTo>
                    <a:pt x="648" y="23"/>
                  </a:lnTo>
                  <a:lnTo>
                    <a:pt x="648" y="21"/>
                  </a:lnTo>
                  <a:lnTo>
                    <a:pt x="646" y="15"/>
                  </a:lnTo>
                  <a:lnTo>
                    <a:pt x="644" y="15"/>
                  </a:lnTo>
                  <a:lnTo>
                    <a:pt x="644" y="13"/>
                  </a:lnTo>
                  <a:lnTo>
                    <a:pt x="640" y="9"/>
                  </a:lnTo>
                  <a:lnTo>
                    <a:pt x="638" y="8"/>
                  </a:lnTo>
                  <a:lnTo>
                    <a:pt x="638" y="6"/>
                  </a:lnTo>
                  <a:lnTo>
                    <a:pt x="636" y="4"/>
                  </a:lnTo>
                  <a:lnTo>
                    <a:pt x="636" y="4"/>
                  </a:lnTo>
                  <a:lnTo>
                    <a:pt x="634" y="4"/>
                  </a:lnTo>
                  <a:lnTo>
                    <a:pt x="634" y="6"/>
                  </a:lnTo>
                  <a:lnTo>
                    <a:pt x="634" y="6"/>
                  </a:lnTo>
                  <a:lnTo>
                    <a:pt x="634" y="8"/>
                  </a:lnTo>
                  <a:lnTo>
                    <a:pt x="634" y="8"/>
                  </a:lnTo>
                  <a:lnTo>
                    <a:pt x="632" y="9"/>
                  </a:lnTo>
                  <a:lnTo>
                    <a:pt x="630" y="9"/>
                  </a:lnTo>
                  <a:lnTo>
                    <a:pt x="630" y="11"/>
                  </a:lnTo>
                  <a:lnTo>
                    <a:pt x="630" y="11"/>
                  </a:lnTo>
                  <a:lnTo>
                    <a:pt x="629" y="13"/>
                  </a:lnTo>
                  <a:lnTo>
                    <a:pt x="629" y="15"/>
                  </a:lnTo>
                  <a:lnTo>
                    <a:pt x="629" y="15"/>
                  </a:lnTo>
                  <a:lnTo>
                    <a:pt x="627" y="15"/>
                  </a:lnTo>
                  <a:lnTo>
                    <a:pt x="627" y="15"/>
                  </a:lnTo>
                  <a:lnTo>
                    <a:pt x="627" y="15"/>
                  </a:lnTo>
                  <a:lnTo>
                    <a:pt x="625" y="13"/>
                  </a:lnTo>
                  <a:lnTo>
                    <a:pt x="625" y="11"/>
                  </a:lnTo>
                  <a:lnTo>
                    <a:pt x="625" y="9"/>
                  </a:lnTo>
                  <a:lnTo>
                    <a:pt x="623" y="9"/>
                  </a:lnTo>
                  <a:lnTo>
                    <a:pt x="623" y="9"/>
                  </a:lnTo>
                  <a:lnTo>
                    <a:pt x="623" y="9"/>
                  </a:lnTo>
                  <a:lnTo>
                    <a:pt x="623" y="9"/>
                  </a:lnTo>
                  <a:lnTo>
                    <a:pt x="623" y="13"/>
                  </a:lnTo>
                  <a:lnTo>
                    <a:pt x="623" y="15"/>
                  </a:lnTo>
                  <a:lnTo>
                    <a:pt x="623" y="15"/>
                  </a:lnTo>
                  <a:lnTo>
                    <a:pt x="621" y="15"/>
                  </a:lnTo>
                  <a:lnTo>
                    <a:pt x="621" y="15"/>
                  </a:lnTo>
                  <a:lnTo>
                    <a:pt x="621" y="17"/>
                  </a:lnTo>
                  <a:lnTo>
                    <a:pt x="621" y="17"/>
                  </a:lnTo>
                  <a:lnTo>
                    <a:pt x="621" y="17"/>
                  </a:lnTo>
                  <a:lnTo>
                    <a:pt x="621" y="17"/>
                  </a:lnTo>
                  <a:lnTo>
                    <a:pt x="621" y="19"/>
                  </a:lnTo>
                  <a:lnTo>
                    <a:pt x="621" y="19"/>
                  </a:lnTo>
                  <a:lnTo>
                    <a:pt x="621" y="21"/>
                  </a:lnTo>
                  <a:lnTo>
                    <a:pt x="619" y="19"/>
                  </a:lnTo>
                  <a:lnTo>
                    <a:pt x="617" y="19"/>
                  </a:lnTo>
                  <a:lnTo>
                    <a:pt x="615" y="17"/>
                  </a:lnTo>
                  <a:lnTo>
                    <a:pt x="613" y="17"/>
                  </a:lnTo>
                  <a:lnTo>
                    <a:pt x="613" y="17"/>
                  </a:lnTo>
                  <a:lnTo>
                    <a:pt x="613" y="17"/>
                  </a:lnTo>
                  <a:lnTo>
                    <a:pt x="611" y="15"/>
                  </a:lnTo>
                  <a:lnTo>
                    <a:pt x="609" y="15"/>
                  </a:lnTo>
                  <a:lnTo>
                    <a:pt x="609" y="15"/>
                  </a:lnTo>
                  <a:lnTo>
                    <a:pt x="609" y="17"/>
                  </a:lnTo>
                  <a:lnTo>
                    <a:pt x="608" y="17"/>
                  </a:lnTo>
                  <a:lnTo>
                    <a:pt x="608" y="17"/>
                  </a:lnTo>
                  <a:lnTo>
                    <a:pt x="608" y="19"/>
                  </a:lnTo>
                  <a:lnTo>
                    <a:pt x="608" y="19"/>
                  </a:lnTo>
                  <a:lnTo>
                    <a:pt x="608" y="19"/>
                  </a:lnTo>
                  <a:lnTo>
                    <a:pt x="609" y="21"/>
                  </a:lnTo>
                  <a:lnTo>
                    <a:pt x="609" y="21"/>
                  </a:lnTo>
                  <a:lnTo>
                    <a:pt x="609" y="23"/>
                  </a:lnTo>
                  <a:lnTo>
                    <a:pt x="609" y="23"/>
                  </a:lnTo>
                  <a:lnTo>
                    <a:pt x="611" y="25"/>
                  </a:lnTo>
                  <a:lnTo>
                    <a:pt x="611" y="27"/>
                  </a:lnTo>
                  <a:lnTo>
                    <a:pt x="613" y="27"/>
                  </a:lnTo>
                  <a:lnTo>
                    <a:pt x="613" y="27"/>
                  </a:lnTo>
                  <a:lnTo>
                    <a:pt x="613" y="27"/>
                  </a:lnTo>
                  <a:lnTo>
                    <a:pt x="613" y="27"/>
                  </a:lnTo>
                  <a:lnTo>
                    <a:pt x="615" y="27"/>
                  </a:lnTo>
                  <a:lnTo>
                    <a:pt x="615" y="28"/>
                  </a:lnTo>
                  <a:lnTo>
                    <a:pt x="615" y="28"/>
                  </a:lnTo>
                  <a:lnTo>
                    <a:pt x="615" y="28"/>
                  </a:lnTo>
                  <a:lnTo>
                    <a:pt x="615" y="28"/>
                  </a:lnTo>
                  <a:lnTo>
                    <a:pt x="617" y="28"/>
                  </a:lnTo>
                  <a:lnTo>
                    <a:pt x="617" y="30"/>
                  </a:lnTo>
                  <a:lnTo>
                    <a:pt x="615" y="30"/>
                  </a:lnTo>
                  <a:lnTo>
                    <a:pt x="615" y="32"/>
                  </a:lnTo>
                  <a:lnTo>
                    <a:pt x="613" y="32"/>
                  </a:lnTo>
                  <a:lnTo>
                    <a:pt x="611" y="32"/>
                  </a:lnTo>
                  <a:lnTo>
                    <a:pt x="609" y="34"/>
                  </a:lnTo>
                  <a:lnTo>
                    <a:pt x="608" y="36"/>
                  </a:lnTo>
                  <a:lnTo>
                    <a:pt x="606" y="38"/>
                  </a:lnTo>
                  <a:lnTo>
                    <a:pt x="604" y="40"/>
                  </a:lnTo>
                  <a:lnTo>
                    <a:pt x="598" y="42"/>
                  </a:lnTo>
                  <a:lnTo>
                    <a:pt x="598" y="42"/>
                  </a:lnTo>
                  <a:lnTo>
                    <a:pt x="596" y="40"/>
                  </a:lnTo>
                  <a:lnTo>
                    <a:pt x="596" y="40"/>
                  </a:lnTo>
                  <a:lnTo>
                    <a:pt x="594" y="40"/>
                  </a:lnTo>
                  <a:lnTo>
                    <a:pt x="594" y="40"/>
                  </a:lnTo>
                  <a:lnTo>
                    <a:pt x="592" y="40"/>
                  </a:lnTo>
                  <a:lnTo>
                    <a:pt x="592" y="40"/>
                  </a:lnTo>
                  <a:lnTo>
                    <a:pt x="590" y="42"/>
                  </a:lnTo>
                  <a:lnTo>
                    <a:pt x="589" y="44"/>
                  </a:lnTo>
                  <a:lnTo>
                    <a:pt x="587" y="46"/>
                  </a:lnTo>
                  <a:lnTo>
                    <a:pt x="587" y="48"/>
                  </a:lnTo>
                  <a:lnTo>
                    <a:pt x="585" y="49"/>
                  </a:lnTo>
                  <a:lnTo>
                    <a:pt x="583" y="51"/>
                  </a:lnTo>
                  <a:lnTo>
                    <a:pt x="583" y="51"/>
                  </a:lnTo>
                  <a:lnTo>
                    <a:pt x="583" y="53"/>
                  </a:lnTo>
                  <a:lnTo>
                    <a:pt x="583" y="53"/>
                  </a:lnTo>
                  <a:lnTo>
                    <a:pt x="583" y="53"/>
                  </a:lnTo>
                  <a:lnTo>
                    <a:pt x="581" y="55"/>
                  </a:lnTo>
                  <a:lnTo>
                    <a:pt x="581" y="55"/>
                  </a:lnTo>
                  <a:lnTo>
                    <a:pt x="581" y="57"/>
                  </a:lnTo>
                  <a:lnTo>
                    <a:pt x="583" y="59"/>
                  </a:lnTo>
                  <a:lnTo>
                    <a:pt x="585" y="61"/>
                  </a:lnTo>
                  <a:lnTo>
                    <a:pt x="585" y="61"/>
                  </a:lnTo>
                  <a:lnTo>
                    <a:pt x="585" y="61"/>
                  </a:lnTo>
                  <a:lnTo>
                    <a:pt x="587" y="61"/>
                  </a:lnTo>
                  <a:lnTo>
                    <a:pt x="587" y="61"/>
                  </a:lnTo>
                  <a:lnTo>
                    <a:pt x="587" y="61"/>
                  </a:lnTo>
                  <a:lnTo>
                    <a:pt x="587" y="61"/>
                  </a:lnTo>
                  <a:lnTo>
                    <a:pt x="587" y="63"/>
                  </a:lnTo>
                  <a:lnTo>
                    <a:pt x="583" y="68"/>
                  </a:lnTo>
                  <a:lnTo>
                    <a:pt x="583" y="68"/>
                  </a:lnTo>
                  <a:lnTo>
                    <a:pt x="583" y="70"/>
                  </a:lnTo>
                  <a:lnTo>
                    <a:pt x="583" y="70"/>
                  </a:lnTo>
                  <a:lnTo>
                    <a:pt x="583" y="70"/>
                  </a:lnTo>
                  <a:lnTo>
                    <a:pt x="583" y="72"/>
                  </a:lnTo>
                  <a:lnTo>
                    <a:pt x="585" y="72"/>
                  </a:lnTo>
                  <a:lnTo>
                    <a:pt x="583" y="76"/>
                  </a:lnTo>
                  <a:lnTo>
                    <a:pt x="583" y="76"/>
                  </a:lnTo>
                  <a:lnTo>
                    <a:pt x="581" y="76"/>
                  </a:lnTo>
                  <a:lnTo>
                    <a:pt x="581" y="76"/>
                  </a:lnTo>
                  <a:lnTo>
                    <a:pt x="579" y="76"/>
                  </a:lnTo>
                  <a:lnTo>
                    <a:pt x="579" y="78"/>
                  </a:lnTo>
                  <a:lnTo>
                    <a:pt x="575" y="78"/>
                  </a:lnTo>
                  <a:lnTo>
                    <a:pt x="575" y="78"/>
                  </a:lnTo>
                  <a:lnTo>
                    <a:pt x="571" y="80"/>
                  </a:lnTo>
                  <a:lnTo>
                    <a:pt x="569" y="78"/>
                  </a:lnTo>
                  <a:lnTo>
                    <a:pt x="569" y="78"/>
                  </a:lnTo>
                  <a:lnTo>
                    <a:pt x="569" y="78"/>
                  </a:lnTo>
                  <a:lnTo>
                    <a:pt x="569" y="76"/>
                  </a:lnTo>
                  <a:lnTo>
                    <a:pt x="569" y="74"/>
                  </a:lnTo>
                  <a:lnTo>
                    <a:pt x="569" y="74"/>
                  </a:lnTo>
                  <a:lnTo>
                    <a:pt x="569" y="74"/>
                  </a:lnTo>
                  <a:lnTo>
                    <a:pt x="568" y="74"/>
                  </a:lnTo>
                  <a:lnTo>
                    <a:pt x="566" y="74"/>
                  </a:lnTo>
                  <a:lnTo>
                    <a:pt x="566" y="72"/>
                  </a:lnTo>
                  <a:lnTo>
                    <a:pt x="564" y="72"/>
                  </a:lnTo>
                  <a:lnTo>
                    <a:pt x="564" y="72"/>
                  </a:lnTo>
                  <a:lnTo>
                    <a:pt x="562" y="72"/>
                  </a:lnTo>
                  <a:lnTo>
                    <a:pt x="560" y="72"/>
                  </a:lnTo>
                  <a:lnTo>
                    <a:pt x="560" y="72"/>
                  </a:lnTo>
                  <a:lnTo>
                    <a:pt x="560" y="74"/>
                  </a:lnTo>
                  <a:lnTo>
                    <a:pt x="560" y="76"/>
                  </a:lnTo>
                  <a:lnTo>
                    <a:pt x="560" y="78"/>
                  </a:lnTo>
                  <a:lnTo>
                    <a:pt x="560" y="78"/>
                  </a:lnTo>
                  <a:lnTo>
                    <a:pt x="558" y="80"/>
                  </a:lnTo>
                  <a:lnTo>
                    <a:pt x="558" y="80"/>
                  </a:lnTo>
                  <a:lnTo>
                    <a:pt x="554" y="82"/>
                  </a:lnTo>
                  <a:lnTo>
                    <a:pt x="552" y="84"/>
                  </a:lnTo>
                  <a:lnTo>
                    <a:pt x="550" y="86"/>
                  </a:lnTo>
                  <a:lnTo>
                    <a:pt x="549" y="86"/>
                  </a:lnTo>
                  <a:lnTo>
                    <a:pt x="549" y="86"/>
                  </a:lnTo>
                  <a:lnTo>
                    <a:pt x="549" y="87"/>
                  </a:lnTo>
                  <a:lnTo>
                    <a:pt x="549" y="89"/>
                  </a:lnTo>
                  <a:lnTo>
                    <a:pt x="549" y="89"/>
                  </a:lnTo>
                  <a:lnTo>
                    <a:pt x="547" y="91"/>
                  </a:lnTo>
                  <a:lnTo>
                    <a:pt x="547" y="91"/>
                  </a:lnTo>
                  <a:lnTo>
                    <a:pt x="545" y="91"/>
                  </a:lnTo>
                  <a:lnTo>
                    <a:pt x="545" y="91"/>
                  </a:lnTo>
                  <a:lnTo>
                    <a:pt x="543" y="91"/>
                  </a:lnTo>
                  <a:lnTo>
                    <a:pt x="543" y="89"/>
                  </a:lnTo>
                  <a:lnTo>
                    <a:pt x="541" y="89"/>
                  </a:lnTo>
                  <a:lnTo>
                    <a:pt x="541" y="89"/>
                  </a:lnTo>
                  <a:lnTo>
                    <a:pt x="541" y="87"/>
                  </a:lnTo>
                  <a:lnTo>
                    <a:pt x="541" y="87"/>
                  </a:lnTo>
                  <a:lnTo>
                    <a:pt x="541" y="86"/>
                  </a:lnTo>
                  <a:lnTo>
                    <a:pt x="543" y="84"/>
                  </a:lnTo>
                  <a:lnTo>
                    <a:pt x="543" y="82"/>
                  </a:lnTo>
                  <a:lnTo>
                    <a:pt x="543" y="82"/>
                  </a:lnTo>
                  <a:lnTo>
                    <a:pt x="543" y="82"/>
                  </a:lnTo>
                  <a:lnTo>
                    <a:pt x="543" y="80"/>
                  </a:lnTo>
                  <a:lnTo>
                    <a:pt x="541" y="80"/>
                  </a:lnTo>
                  <a:lnTo>
                    <a:pt x="541" y="80"/>
                  </a:lnTo>
                  <a:lnTo>
                    <a:pt x="537" y="74"/>
                  </a:lnTo>
                  <a:lnTo>
                    <a:pt x="535" y="74"/>
                  </a:lnTo>
                  <a:lnTo>
                    <a:pt x="535" y="72"/>
                  </a:lnTo>
                  <a:lnTo>
                    <a:pt x="535" y="72"/>
                  </a:lnTo>
                  <a:lnTo>
                    <a:pt x="535" y="70"/>
                  </a:lnTo>
                  <a:lnTo>
                    <a:pt x="535" y="68"/>
                  </a:lnTo>
                  <a:lnTo>
                    <a:pt x="535" y="68"/>
                  </a:lnTo>
                  <a:lnTo>
                    <a:pt x="535" y="67"/>
                  </a:lnTo>
                  <a:lnTo>
                    <a:pt x="535" y="67"/>
                  </a:lnTo>
                  <a:lnTo>
                    <a:pt x="535" y="67"/>
                  </a:lnTo>
                  <a:lnTo>
                    <a:pt x="535" y="65"/>
                  </a:lnTo>
                  <a:lnTo>
                    <a:pt x="535" y="65"/>
                  </a:lnTo>
                  <a:lnTo>
                    <a:pt x="533" y="65"/>
                  </a:lnTo>
                  <a:lnTo>
                    <a:pt x="533" y="65"/>
                  </a:lnTo>
                  <a:lnTo>
                    <a:pt x="533" y="65"/>
                  </a:lnTo>
                  <a:lnTo>
                    <a:pt x="531" y="65"/>
                  </a:lnTo>
                  <a:lnTo>
                    <a:pt x="531" y="63"/>
                  </a:lnTo>
                  <a:lnTo>
                    <a:pt x="529" y="63"/>
                  </a:lnTo>
                  <a:lnTo>
                    <a:pt x="528" y="63"/>
                  </a:lnTo>
                  <a:lnTo>
                    <a:pt x="528" y="65"/>
                  </a:lnTo>
                  <a:lnTo>
                    <a:pt x="526" y="67"/>
                  </a:lnTo>
                  <a:lnTo>
                    <a:pt x="526" y="68"/>
                  </a:lnTo>
                  <a:lnTo>
                    <a:pt x="522" y="72"/>
                  </a:lnTo>
                  <a:lnTo>
                    <a:pt x="522" y="72"/>
                  </a:lnTo>
                  <a:lnTo>
                    <a:pt x="522" y="74"/>
                  </a:lnTo>
                  <a:lnTo>
                    <a:pt x="522" y="74"/>
                  </a:lnTo>
                  <a:lnTo>
                    <a:pt x="522" y="76"/>
                  </a:lnTo>
                  <a:lnTo>
                    <a:pt x="522" y="78"/>
                  </a:lnTo>
                  <a:lnTo>
                    <a:pt x="520" y="82"/>
                  </a:lnTo>
                  <a:lnTo>
                    <a:pt x="520" y="82"/>
                  </a:lnTo>
                  <a:lnTo>
                    <a:pt x="520" y="82"/>
                  </a:lnTo>
                  <a:lnTo>
                    <a:pt x="520" y="84"/>
                  </a:lnTo>
                  <a:lnTo>
                    <a:pt x="520" y="86"/>
                  </a:lnTo>
                  <a:lnTo>
                    <a:pt x="520" y="86"/>
                  </a:lnTo>
                  <a:lnTo>
                    <a:pt x="520" y="87"/>
                  </a:lnTo>
                  <a:lnTo>
                    <a:pt x="516" y="93"/>
                  </a:lnTo>
                  <a:lnTo>
                    <a:pt x="516" y="93"/>
                  </a:lnTo>
                  <a:lnTo>
                    <a:pt x="516" y="95"/>
                  </a:lnTo>
                  <a:lnTo>
                    <a:pt x="516" y="95"/>
                  </a:lnTo>
                  <a:lnTo>
                    <a:pt x="518" y="97"/>
                  </a:lnTo>
                  <a:lnTo>
                    <a:pt x="520" y="99"/>
                  </a:lnTo>
                  <a:lnTo>
                    <a:pt x="520" y="99"/>
                  </a:lnTo>
                  <a:lnTo>
                    <a:pt x="520" y="101"/>
                  </a:lnTo>
                  <a:lnTo>
                    <a:pt x="520" y="101"/>
                  </a:lnTo>
                  <a:lnTo>
                    <a:pt x="520" y="101"/>
                  </a:lnTo>
                  <a:lnTo>
                    <a:pt x="518" y="103"/>
                  </a:lnTo>
                  <a:lnTo>
                    <a:pt x="518" y="103"/>
                  </a:lnTo>
                  <a:lnTo>
                    <a:pt x="518" y="105"/>
                  </a:lnTo>
                  <a:lnTo>
                    <a:pt x="518" y="106"/>
                  </a:lnTo>
                  <a:lnTo>
                    <a:pt x="518" y="106"/>
                  </a:lnTo>
                  <a:lnTo>
                    <a:pt x="518" y="108"/>
                  </a:lnTo>
                  <a:lnTo>
                    <a:pt x="518" y="108"/>
                  </a:lnTo>
                  <a:lnTo>
                    <a:pt x="516" y="110"/>
                  </a:lnTo>
                  <a:lnTo>
                    <a:pt x="514" y="108"/>
                  </a:lnTo>
                  <a:lnTo>
                    <a:pt x="512" y="110"/>
                  </a:lnTo>
                  <a:lnTo>
                    <a:pt x="512" y="110"/>
                  </a:lnTo>
                  <a:lnTo>
                    <a:pt x="512" y="112"/>
                  </a:lnTo>
                  <a:lnTo>
                    <a:pt x="510" y="112"/>
                  </a:lnTo>
                  <a:lnTo>
                    <a:pt x="510" y="114"/>
                  </a:lnTo>
                  <a:lnTo>
                    <a:pt x="510" y="114"/>
                  </a:lnTo>
                  <a:lnTo>
                    <a:pt x="508" y="114"/>
                  </a:lnTo>
                  <a:lnTo>
                    <a:pt x="508" y="114"/>
                  </a:lnTo>
                  <a:lnTo>
                    <a:pt x="507" y="114"/>
                  </a:lnTo>
                  <a:lnTo>
                    <a:pt x="507" y="114"/>
                  </a:lnTo>
                  <a:lnTo>
                    <a:pt x="505" y="114"/>
                  </a:lnTo>
                  <a:lnTo>
                    <a:pt x="505" y="114"/>
                  </a:lnTo>
                  <a:lnTo>
                    <a:pt x="505" y="114"/>
                  </a:lnTo>
                  <a:lnTo>
                    <a:pt x="503" y="112"/>
                  </a:lnTo>
                  <a:lnTo>
                    <a:pt x="501" y="110"/>
                  </a:lnTo>
                  <a:lnTo>
                    <a:pt x="499" y="110"/>
                  </a:lnTo>
                  <a:lnTo>
                    <a:pt x="495" y="108"/>
                  </a:lnTo>
                  <a:lnTo>
                    <a:pt x="491" y="108"/>
                  </a:lnTo>
                  <a:lnTo>
                    <a:pt x="488" y="112"/>
                  </a:lnTo>
                  <a:lnTo>
                    <a:pt x="484" y="114"/>
                  </a:lnTo>
                  <a:lnTo>
                    <a:pt x="480" y="114"/>
                  </a:lnTo>
                  <a:lnTo>
                    <a:pt x="472" y="120"/>
                  </a:lnTo>
                  <a:lnTo>
                    <a:pt x="465" y="122"/>
                  </a:lnTo>
                  <a:lnTo>
                    <a:pt x="465" y="122"/>
                  </a:lnTo>
                  <a:lnTo>
                    <a:pt x="467" y="124"/>
                  </a:lnTo>
                  <a:lnTo>
                    <a:pt x="467" y="125"/>
                  </a:lnTo>
                  <a:lnTo>
                    <a:pt x="467" y="125"/>
                  </a:lnTo>
                  <a:lnTo>
                    <a:pt x="468" y="127"/>
                  </a:lnTo>
                  <a:lnTo>
                    <a:pt x="468" y="127"/>
                  </a:lnTo>
                  <a:lnTo>
                    <a:pt x="468" y="129"/>
                  </a:lnTo>
                  <a:lnTo>
                    <a:pt x="468" y="129"/>
                  </a:lnTo>
                  <a:lnTo>
                    <a:pt x="467" y="129"/>
                  </a:lnTo>
                  <a:lnTo>
                    <a:pt x="467" y="129"/>
                  </a:lnTo>
                  <a:lnTo>
                    <a:pt x="465" y="131"/>
                  </a:lnTo>
                  <a:lnTo>
                    <a:pt x="463" y="131"/>
                  </a:lnTo>
                  <a:lnTo>
                    <a:pt x="463" y="131"/>
                  </a:lnTo>
                  <a:lnTo>
                    <a:pt x="463" y="131"/>
                  </a:lnTo>
                  <a:lnTo>
                    <a:pt x="461" y="133"/>
                  </a:lnTo>
                  <a:lnTo>
                    <a:pt x="461" y="133"/>
                  </a:lnTo>
                  <a:lnTo>
                    <a:pt x="459" y="135"/>
                  </a:lnTo>
                  <a:lnTo>
                    <a:pt x="459" y="135"/>
                  </a:lnTo>
                  <a:lnTo>
                    <a:pt x="459" y="135"/>
                  </a:lnTo>
                  <a:lnTo>
                    <a:pt x="457" y="137"/>
                  </a:lnTo>
                  <a:lnTo>
                    <a:pt x="455" y="137"/>
                  </a:lnTo>
                  <a:lnTo>
                    <a:pt x="455" y="137"/>
                  </a:lnTo>
                  <a:lnTo>
                    <a:pt x="453" y="137"/>
                  </a:lnTo>
                  <a:lnTo>
                    <a:pt x="451" y="137"/>
                  </a:lnTo>
                  <a:lnTo>
                    <a:pt x="451" y="139"/>
                  </a:lnTo>
                  <a:lnTo>
                    <a:pt x="451" y="139"/>
                  </a:lnTo>
                  <a:lnTo>
                    <a:pt x="449" y="139"/>
                  </a:lnTo>
                  <a:lnTo>
                    <a:pt x="448" y="141"/>
                  </a:lnTo>
                  <a:lnTo>
                    <a:pt x="448" y="141"/>
                  </a:lnTo>
                  <a:lnTo>
                    <a:pt x="448" y="141"/>
                  </a:lnTo>
                  <a:lnTo>
                    <a:pt x="448" y="143"/>
                  </a:lnTo>
                  <a:lnTo>
                    <a:pt x="448" y="145"/>
                  </a:lnTo>
                  <a:lnTo>
                    <a:pt x="448" y="145"/>
                  </a:lnTo>
                  <a:lnTo>
                    <a:pt x="448" y="145"/>
                  </a:lnTo>
                  <a:lnTo>
                    <a:pt x="446" y="146"/>
                  </a:lnTo>
                  <a:lnTo>
                    <a:pt x="446" y="146"/>
                  </a:lnTo>
                  <a:lnTo>
                    <a:pt x="446" y="148"/>
                  </a:lnTo>
                  <a:lnTo>
                    <a:pt x="444" y="148"/>
                  </a:lnTo>
                  <a:lnTo>
                    <a:pt x="444" y="150"/>
                  </a:lnTo>
                  <a:lnTo>
                    <a:pt x="442" y="152"/>
                  </a:lnTo>
                  <a:lnTo>
                    <a:pt x="442" y="152"/>
                  </a:lnTo>
                  <a:lnTo>
                    <a:pt x="442" y="152"/>
                  </a:lnTo>
                  <a:lnTo>
                    <a:pt x="442" y="152"/>
                  </a:lnTo>
                  <a:lnTo>
                    <a:pt x="442" y="154"/>
                  </a:lnTo>
                  <a:lnTo>
                    <a:pt x="442" y="154"/>
                  </a:lnTo>
                  <a:lnTo>
                    <a:pt x="444" y="154"/>
                  </a:lnTo>
                  <a:lnTo>
                    <a:pt x="444" y="154"/>
                  </a:lnTo>
                  <a:lnTo>
                    <a:pt x="444" y="156"/>
                  </a:lnTo>
                  <a:lnTo>
                    <a:pt x="444" y="156"/>
                  </a:lnTo>
                  <a:lnTo>
                    <a:pt x="442" y="156"/>
                  </a:lnTo>
                  <a:lnTo>
                    <a:pt x="442" y="158"/>
                  </a:lnTo>
                  <a:lnTo>
                    <a:pt x="442" y="158"/>
                  </a:lnTo>
                  <a:lnTo>
                    <a:pt x="442" y="158"/>
                  </a:lnTo>
                  <a:lnTo>
                    <a:pt x="442" y="162"/>
                  </a:lnTo>
                  <a:lnTo>
                    <a:pt x="442" y="162"/>
                  </a:lnTo>
                  <a:lnTo>
                    <a:pt x="442" y="164"/>
                  </a:lnTo>
                  <a:lnTo>
                    <a:pt x="440" y="164"/>
                  </a:lnTo>
                  <a:lnTo>
                    <a:pt x="440" y="165"/>
                  </a:lnTo>
                  <a:lnTo>
                    <a:pt x="442" y="165"/>
                  </a:lnTo>
                  <a:lnTo>
                    <a:pt x="442" y="165"/>
                  </a:lnTo>
                  <a:lnTo>
                    <a:pt x="440" y="167"/>
                  </a:lnTo>
                  <a:lnTo>
                    <a:pt x="440" y="169"/>
                  </a:lnTo>
                  <a:lnTo>
                    <a:pt x="438" y="169"/>
                  </a:lnTo>
                  <a:lnTo>
                    <a:pt x="438" y="171"/>
                  </a:lnTo>
                  <a:lnTo>
                    <a:pt x="436" y="171"/>
                  </a:lnTo>
                  <a:lnTo>
                    <a:pt x="436" y="173"/>
                  </a:lnTo>
                  <a:lnTo>
                    <a:pt x="436" y="173"/>
                  </a:lnTo>
                  <a:lnTo>
                    <a:pt x="436" y="173"/>
                  </a:lnTo>
                  <a:lnTo>
                    <a:pt x="434" y="175"/>
                  </a:lnTo>
                  <a:lnTo>
                    <a:pt x="434" y="175"/>
                  </a:lnTo>
                  <a:lnTo>
                    <a:pt x="434" y="175"/>
                  </a:lnTo>
                  <a:lnTo>
                    <a:pt x="432" y="175"/>
                  </a:lnTo>
                  <a:lnTo>
                    <a:pt x="430" y="175"/>
                  </a:lnTo>
                  <a:lnTo>
                    <a:pt x="430" y="175"/>
                  </a:lnTo>
                  <a:lnTo>
                    <a:pt x="430" y="175"/>
                  </a:lnTo>
                  <a:lnTo>
                    <a:pt x="428" y="175"/>
                  </a:lnTo>
                  <a:lnTo>
                    <a:pt x="427" y="175"/>
                  </a:lnTo>
                  <a:lnTo>
                    <a:pt x="427" y="173"/>
                  </a:lnTo>
                  <a:lnTo>
                    <a:pt x="427" y="173"/>
                  </a:lnTo>
                  <a:lnTo>
                    <a:pt x="427" y="173"/>
                  </a:lnTo>
                  <a:lnTo>
                    <a:pt x="427" y="173"/>
                  </a:lnTo>
                  <a:lnTo>
                    <a:pt x="425" y="173"/>
                  </a:lnTo>
                  <a:lnTo>
                    <a:pt x="425" y="173"/>
                  </a:lnTo>
                  <a:lnTo>
                    <a:pt x="425" y="173"/>
                  </a:lnTo>
                  <a:lnTo>
                    <a:pt x="423" y="175"/>
                  </a:lnTo>
                  <a:lnTo>
                    <a:pt x="423" y="177"/>
                  </a:lnTo>
                  <a:lnTo>
                    <a:pt x="423" y="177"/>
                  </a:lnTo>
                  <a:lnTo>
                    <a:pt x="421" y="179"/>
                  </a:lnTo>
                  <a:lnTo>
                    <a:pt x="419" y="179"/>
                  </a:lnTo>
                  <a:lnTo>
                    <a:pt x="419" y="179"/>
                  </a:lnTo>
                  <a:lnTo>
                    <a:pt x="419" y="179"/>
                  </a:lnTo>
                  <a:lnTo>
                    <a:pt x="417" y="179"/>
                  </a:lnTo>
                  <a:lnTo>
                    <a:pt x="415" y="179"/>
                  </a:lnTo>
                  <a:lnTo>
                    <a:pt x="413" y="179"/>
                  </a:lnTo>
                  <a:lnTo>
                    <a:pt x="411" y="179"/>
                  </a:lnTo>
                  <a:lnTo>
                    <a:pt x="411" y="181"/>
                  </a:lnTo>
                  <a:lnTo>
                    <a:pt x="411" y="181"/>
                  </a:lnTo>
                  <a:lnTo>
                    <a:pt x="411" y="181"/>
                  </a:lnTo>
                  <a:lnTo>
                    <a:pt x="411" y="184"/>
                  </a:lnTo>
                  <a:lnTo>
                    <a:pt x="411" y="184"/>
                  </a:lnTo>
                  <a:lnTo>
                    <a:pt x="411" y="186"/>
                  </a:lnTo>
                  <a:lnTo>
                    <a:pt x="411" y="186"/>
                  </a:lnTo>
                  <a:lnTo>
                    <a:pt x="409" y="188"/>
                  </a:lnTo>
                  <a:lnTo>
                    <a:pt x="409" y="188"/>
                  </a:lnTo>
                  <a:lnTo>
                    <a:pt x="406" y="188"/>
                  </a:lnTo>
                  <a:lnTo>
                    <a:pt x="404" y="190"/>
                  </a:lnTo>
                  <a:lnTo>
                    <a:pt x="402" y="190"/>
                  </a:lnTo>
                  <a:lnTo>
                    <a:pt x="400" y="190"/>
                  </a:lnTo>
                  <a:lnTo>
                    <a:pt x="400" y="190"/>
                  </a:lnTo>
                  <a:lnTo>
                    <a:pt x="400" y="190"/>
                  </a:lnTo>
                  <a:lnTo>
                    <a:pt x="398" y="190"/>
                  </a:lnTo>
                  <a:lnTo>
                    <a:pt x="398" y="190"/>
                  </a:lnTo>
                  <a:lnTo>
                    <a:pt x="398" y="192"/>
                  </a:lnTo>
                  <a:lnTo>
                    <a:pt x="398" y="192"/>
                  </a:lnTo>
                  <a:lnTo>
                    <a:pt x="396" y="192"/>
                  </a:lnTo>
                  <a:lnTo>
                    <a:pt x="394" y="192"/>
                  </a:lnTo>
                  <a:lnTo>
                    <a:pt x="394" y="192"/>
                  </a:lnTo>
                  <a:lnTo>
                    <a:pt x="394" y="192"/>
                  </a:lnTo>
                  <a:lnTo>
                    <a:pt x="392" y="192"/>
                  </a:lnTo>
                  <a:lnTo>
                    <a:pt x="390" y="192"/>
                  </a:lnTo>
                  <a:lnTo>
                    <a:pt x="390" y="192"/>
                  </a:lnTo>
                  <a:lnTo>
                    <a:pt x="390" y="190"/>
                  </a:lnTo>
                  <a:lnTo>
                    <a:pt x="388" y="190"/>
                  </a:lnTo>
                  <a:lnTo>
                    <a:pt x="388" y="190"/>
                  </a:lnTo>
                  <a:lnTo>
                    <a:pt x="387" y="190"/>
                  </a:lnTo>
                  <a:lnTo>
                    <a:pt x="387" y="190"/>
                  </a:lnTo>
                  <a:lnTo>
                    <a:pt x="387" y="192"/>
                  </a:lnTo>
                  <a:lnTo>
                    <a:pt x="387" y="192"/>
                  </a:lnTo>
                  <a:lnTo>
                    <a:pt x="387" y="192"/>
                  </a:lnTo>
                  <a:lnTo>
                    <a:pt x="387" y="194"/>
                  </a:lnTo>
                  <a:lnTo>
                    <a:pt x="387" y="194"/>
                  </a:lnTo>
                  <a:lnTo>
                    <a:pt x="387" y="194"/>
                  </a:lnTo>
                  <a:lnTo>
                    <a:pt x="387" y="196"/>
                  </a:lnTo>
                  <a:lnTo>
                    <a:pt x="387" y="196"/>
                  </a:lnTo>
                  <a:lnTo>
                    <a:pt x="387" y="196"/>
                  </a:lnTo>
                  <a:lnTo>
                    <a:pt x="387" y="196"/>
                  </a:lnTo>
                  <a:lnTo>
                    <a:pt x="385" y="196"/>
                  </a:lnTo>
                  <a:lnTo>
                    <a:pt x="385" y="196"/>
                  </a:lnTo>
                  <a:lnTo>
                    <a:pt x="385" y="196"/>
                  </a:lnTo>
                  <a:lnTo>
                    <a:pt x="383" y="196"/>
                  </a:lnTo>
                  <a:lnTo>
                    <a:pt x="383" y="198"/>
                  </a:lnTo>
                  <a:lnTo>
                    <a:pt x="383" y="198"/>
                  </a:lnTo>
                  <a:lnTo>
                    <a:pt x="381" y="200"/>
                  </a:lnTo>
                  <a:lnTo>
                    <a:pt x="383" y="202"/>
                  </a:lnTo>
                  <a:lnTo>
                    <a:pt x="383" y="202"/>
                  </a:lnTo>
                  <a:lnTo>
                    <a:pt x="383" y="202"/>
                  </a:lnTo>
                  <a:lnTo>
                    <a:pt x="383" y="203"/>
                  </a:lnTo>
                  <a:lnTo>
                    <a:pt x="383" y="205"/>
                  </a:lnTo>
                  <a:lnTo>
                    <a:pt x="381" y="205"/>
                  </a:lnTo>
                  <a:lnTo>
                    <a:pt x="381" y="205"/>
                  </a:lnTo>
                  <a:lnTo>
                    <a:pt x="381" y="207"/>
                  </a:lnTo>
                  <a:lnTo>
                    <a:pt x="379" y="207"/>
                  </a:lnTo>
                  <a:lnTo>
                    <a:pt x="379" y="207"/>
                  </a:lnTo>
                  <a:lnTo>
                    <a:pt x="379" y="207"/>
                  </a:lnTo>
                  <a:lnTo>
                    <a:pt x="377" y="205"/>
                  </a:lnTo>
                  <a:lnTo>
                    <a:pt x="375" y="205"/>
                  </a:lnTo>
                  <a:lnTo>
                    <a:pt x="375" y="205"/>
                  </a:lnTo>
                  <a:lnTo>
                    <a:pt x="375" y="205"/>
                  </a:lnTo>
                  <a:lnTo>
                    <a:pt x="373" y="205"/>
                  </a:lnTo>
                  <a:lnTo>
                    <a:pt x="371" y="205"/>
                  </a:lnTo>
                  <a:lnTo>
                    <a:pt x="369" y="203"/>
                  </a:lnTo>
                  <a:lnTo>
                    <a:pt x="369" y="203"/>
                  </a:lnTo>
                  <a:lnTo>
                    <a:pt x="367" y="203"/>
                  </a:lnTo>
                  <a:lnTo>
                    <a:pt x="366" y="203"/>
                  </a:lnTo>
                  <a:lnTo>
                    <a:pt x="366" y="203"/>
                  </a:lnTo>
                  <a:lnTo>
                    <a:pt x="366" y="203"/>
                  </a:lnTo>
                  <a:lnTo>
                    <a:pt x="364" y="203"/>
                  </a:lnTo>
                  <a:lnTo>
                    <a:pt x="364" y="205"/>
                  </a:lnTo>
                  <a:lnTo>
                    <a:pt x="364" y="205"/>
                  </a:lnTo>
                  <a:lnTo>
                    <a:pt x="362" y="205"/>
                  </a:lnTo>
                  <a:lnTo>
                    <a:pt x="362" y="203"/>
                  </a:lnTo>
                  <a:lnTo>
                    <a:pt x="362" y="203"/>
                  </a:lnTo>
                  <a:lnTo>
                    <a:pt x="362" y="203"/>
                  </a:lnTo>
                  <a:lnTo>
                    <a:pt x="362" y="203"/>
                  </a:lnTo>
                  <a:lnTo>
                    <a:pt x="364" y="202"/>
                  </a:lnTo>
                  <a:lnTo>
                    <a:pt x="364" y="202"/>
                  </a:lnTo>
                  <a:lnTo>
                    <a:pt x="362" y="202"/>
                  </a:lnTo>
                  <a:lnTo>
                    <a:pt x="362" y="202"/>
                  </a:lnTo>
                  <a:lnTo>
                    <a:pt x="360" y="200"/>
                  </a:lnTo>
                  <a:lnTo>
                    <a:pt x="362" y="200"/>
                  </a:lnTo>
                  <a:lnTo>
                    <a:pt x="360" y="200"/>
                  </a:lnTo>
                  <a:lnTo>
                    <a:pt x="360" y="200"/>
                  </a:lnTo>
                  <a:lnTo>
                    <a:pt x="360" y="200"/>
                  </a:lnTo>
                  <a:lnTo>
                    <a:pt x="358" y="200"/>
                  </a:lnTo>
                  <a:lnTo>
                    <a:pt x="358" y="198"/>
                  </a:lnTo>
                  <a:lnTo>
                    <a:pt x="356" y="198"/>
                  </a:lnTo>
                  <a:lnTo>
                    <a:pt x="356" y="198"/>
                  </a:lnTo>
                  <a:lnTo>
                    <a:pt x="354" y="196"/>
                  </a:lnTo>
                  <a:lnTo>
                    <a:pt x="354" y="198"/>
                  </a:lnTo>
                  <a:lnTo>
                    <a:pt x="352" y="198"/>
                  </a:lnTo>
                  <a:lnTo>
                    <a:pt x="352" y="198"/>
                  </a:lnTo>
                  <a:lnTo>
                    <a:pt x="352" y="200"/>
                  </a:lnTo>
                  <a:lnTo>
                    <a:pt x="350" y="200"/>
                  </a:lnTo>
                  <a:lnTo>
                    <a:pt x="350" y="200"/>
                  </a:lnTo>
                  <a:lnTo>
                    <a:pt x="348" y="200"/>
                  </a:lnTo>
                  <a:lnTo>
                    <a:pt x="348" y="200"/>
                  </a:lnTo>
                  <a:lnTo>
                    <a:pt x="348" y="202"/>
                  </a:lnTo>
                  <a:lnTo>
                    <a:pt x="348" y="202"/>
                  </a:lnTo>
                  <a:lnTo>
                    <a:pt x="348" y="202"/>
                  </a:lnTo>
                  <a:lnTo>
                    <a:pt x="348" y="203"/>
                  </a:lnTo>
                  <a:lnTo>
                    <a:pt x="348" y="205"/>
                  </a:lnTo>
                  <a:lnTo>
                    <a:pt x="347" y="205"/>
                  </a:lnTo>
                  <a:lnTo>
                    <a:pt x="347" y="205"/>
                  </a:lnTo>
                  <a:lnTo>
                    <a:pt x="347" y="207"/>
                  </a:lnTo>
                  <a:lnTo>
                    <a:pt x="347" y="207"/>
                  </a:lnTo>
                  <a:lnTo>
                    <a:pt x="345" y="207"/>
                  </a:lnTo>
                  <a:lnTo>
                    <a:pt x="345" y="209"/>
                  </a:lnTo>
                  <a:lnTo>
                    <a:pt x="343" y="207"/>
                  </a:lnTo>
                  <a:lnTo>
                    <a:pt x="341" y="207"/>
                  </a:lnTo>
                  <a:lnTo>
                    <a:pt x="341" y="207"/>
                  </a:lnTo>
                  <a:lnTo>
                    <a:pt x="341" y="205"/>
                  </a:lnTo>
                  <a:lnTo>
                    <a:pt x="339" y="205"/>
                  </a:lnTo>
                  <a:lnTo>
                    <a:pt x="339" y="203"/>
                  </a:lnTo>
                  <a:lnTo>
                    <a:pt x="339" y="203"/>
                  </a:lnTo>
                  <a:lnTo>
                    <a:pt x="339" y="203"/>
                  </a:lnTo>
                  <a:lnTo>
                    <a:pt x="339" y="203"/>
                  </a:lnTo>
                  <a:lnTo>
                    <a:pt x="339" y="203"/>
                  </a:lnTo>
                  <a:lnTo>
                    <a:pt x="339" y="203"/>
                  </a:lnTo>
                  <a:lnTo>
                    <a:pt x="337" y="203"/>
                  </a:lnTo>
                  <a:lnTo>
                    <a:pt x="337" y="203"/>
                  </a:lnTo>
                  <a:lnTo>
                    <a:pt x="337" y="205"/>
                  </a:lnTo>
                  <a:lnTo>
                    <a:pt x="337" y="205"/>
                  </a:lnTo>
                  <a:lnTo>
                    <a:pt x="337" y="205"/>
                  </a:lnTo>
                  <a:lnTo>
                    <a:pt x="337" y="207"/>
                  </a:lnTo>
                  <a:lnTo>
                    <a:pt x="337" y="207"/>
                  </a:lnTo>
                  <a:lnTo>
                    <a:pt x="337" y="207"/>
                  </a:lnTo>
                  <a:lnTo>
                    <a:pt x="339" y="207"/>
                  </a:lnTo>
                  <a:lnTo>
                    <a:pt x="339" y="209"/>
                  </a:lnTo>
                  <a:lnTo>
                    <a:pt x="339" y="209"/>
                  </a:lnTo>
                  <a:lnTo>
                    <a:pt x="339" y="209"/>
                  </a:lnTo>
                  <a:lnTo>
                    <a:pt x="339" y="209"/>
                  </a:lnTo>
                  <a:lnTo>
                    <a:pt x="337" y="211"/>
                  </a:lnTo>
                  <a:lnTo>
                    <a:pt x="337" y="211"/>
                  </a:lnTo>
                  <a:lnTo>
                    <a:pt x="337" y="211"/>
                  </a:lnTo>
                  <a:lnTo>
                    <a:pt x="337" y="211"/>
                  </a:lnTo>
                  <a:lnTo>
                    <a:pt x="337" y="213"/>
                  </a:lnTo>
                  <a:lnTo>
                    <a:pt x="335" y="213"/>
                  </a:lnTo>
                  <a:lnTo>
                    <a:pt x="337" y="213"/>
                  </a:lnTo>
                  <a:lnTo>
                    <a:pt x="339" y="213"/>
                  </a:lnTo>
                  <a:lnTo>
                    <a:pt x="339" y="215"/>
                  </a:lnTo>
                  <a:lnTo>
                    <a:pt x="341" y="215"/>
                  </a:lnTo>
                  <a:lnTo>
                    <a:pt x="345" y="215"/>
                  </a:lnTo>
                  <a:lnTo>
                    <a:pt x="345" y="217"/>
                  </a:lnTo>
                  <a:lnTo>
                    <a:pt x="347" y="217"/>
                  </a:lnTo>
                  <a:lnTo>
                    <a:pt x="347" y="217"/>
                  </a:lnTo>
                  <a:lnTo>
                    <a:pt x="347" y="217"/>
                  </a:lnTo>
                  <a:lnTo>
                    <a:pt x="348" y="219"/>
                  </a:lnTo>
                  <a:lnTo>
                    <a:pt x="348" y="217"/>
                  </a:lnTo>
                  <a:lnTo>
                    <a:pt x="348" y="217"/>
                  </a:lnTo>
                  <a:lnTo>
                    <a:pt x="348" y="215"/>
                  </a:lnTo>
                  <a:lnTo>
                    <a:pt x="350" y="215"/>
                  </a:lnTo>
                  <a:lnTo>
                    <a:pt x="350" y="217"/>
                  </a:lnTo>
                  <a:lnTo>
                    <a:pt x="352" y="215"/>
                  </a:lnTo>
                  <a:lnTo>
                    <a:pt x="356" y="217"/>
                  </a:lnTo>
                  <a:lnTo>
                    <a:pt x="356" y="217"/>
                  </a:lnTo>
                  <a:lnTo>
                    <a:pt x="358" y="219"/>
                  </a:lnTo>
                  <a:lnTo>
                    <a:pt x="358" y="219"/>
                  </a:lnTo>
                  <a:lnTo>
                    <a:pt x="358" y="219"/>
                  </a:lnTo>
                  <a:lnTo>
                    <a:pt x="356" y="219"/>
                  </a:lnTo>
                  <a:lnTo>
                    <a:pt x="356" y="219"/>
                  </a:lnTo>
                  <a:lnTo>
                    <a:pt x="356" y="221"/>
                  </a:lnTo>
                  <a:lnTo>
                    <a:pt x="356" y="221"/>
                  </a:lnTo>
                  <a:lnTo>
                    <a:pt x="356" y="221"/>
                  </a:lnTo>
                  <a:lnTo>
                    <a:pt x="358" y="222"/>
                  </a:lnTo>
                  <a:lnTo>
                    <a:pt x="356" y="222"/>
                  </a:lnTo>
                  <a:lnTo>
                    <a:pt x="354" y="222"/>
                  </a:lnTo>
                  <a:lnTo>
                    <a:pt x="354" y="224"/>
                  </a:lnTo>
                  <a:lnTo>
                    <a:pt x="354" y="224"/>
                  </a:lnTo>
                  <a:lnTo>
                    <a:pt x="354" y="226"/>
                  </a:lnTo>
                  <a:lnTo>
                    <a:pt x="354" y="226"/>
                  </a:lnTo>
                  <a:lnTo>
                    <a:pt x="354" y="228"/>
                  </a:lnTo>
                  <a:lnTo>
                    <a:pt x="354" y="228"/>
                  </a:lnTo>
                  <a:lnTo>
                    <a:pt x="356" y="228"/>
                  </a:lnTo>
                  <a:lnTo>
                    <a:pt x="356" y="228"/>
                  </a:lnTo>
                  <a:lnTo>
                    <a:pt x="356" y="228"/>
                  </a:lnTo>
                  <a:lnTo>
                    <a:pt x="358" y="230"/>
                  </a:lnTo>
                  <a:lnTo>
                    <a:pt x="358" y="230"/>
                  </a:lnTo>
                  <a:lnTo>
                    <a:pt x="358" y="230"/>
                  </a:lnTo>
                  <a:lnTo>
                    <a:pt x="358" y="230"/>
                  </a:lnTo>
                  <a:lnTo>
                    <a:pt x="356" y="232"/>
                  </a:lnTo>
                  <a:lnTo>
                    <a:pt x="354" y="232"/>
                  </a:lnTo>
                  <a:lnTo>
                    <a:pt x="354" y="232"/>
                  </a:lnTo>
                  <a:lnTo>
                    <a:pt x="352" y="232"/>
                  </a:lnTo>
                  <a:lnTo>
                    <a:pt x="350" y="232"/>
                  </a:lnTo>
                  <a:lnTo>
                    <a:pt x="350" y="232"/>
                  </a:lnTo>
                  <a:lnTo>
                    <a:pt x="348" y="232"/>
                  </a:lnTo>
                  <a:lnTo>
                    <a:pt x="348" y="232"/>
                  </a:lnTo>
                  <a:lnTo>
                    <a:pt x="347" y="230"/>
                  </a:lnTo>
                  <a:lnTo>
                    <a:pt x="347" y="230"/>
                  </a:lnTo>
                  <a:lnTo>
                    <a:pt x="345" y="230"/>
                  </a:lnTo>
                  <a:lnTo>
                    <a:pt x="345" y="228"/>
                  </a:lnTo>
                  <a:lnTo>
                    <a:pt x="345" y="228"/>
                  </a:lnTo>
                  <a:lnTo>
                    <a:pt x="345" y="228"/>
                  </a:lnTo>
                  <a:lnTo>
                    <a:pt x="343" y="226"/>
                  </a:lnTo>
                  <a:lnTo>
                    <a:pt x="343" y="226"/>
                  </a:lnTo>
                  <a:lnTo>
                    <a:pt x="343" y="226"/>
                  </a:lnTo>
                  <a:lnTo>
                    <a:pt x="341" y="226"/>
                  </a:lnTo>
                  <a:lnTo>
                    <a:pt x="341" y="224"/>
                  </a:lnTo>
                  <a:lnTo>
                    <a:pt x="339" y="224"/>
                  </a:lnTo>
                  <a:lnTo>
                    <a:pt x="339" y="226"/>
                  </a:lnTo>
                  <a:lnTo>
                    <a:pt x="339" y="226"/>
                  </a:lnTo>
                  <a:lnTo>
                    <a:pt x="339" y="226"/>
                  </a:lnTo>
                  <a:lnTo>
                    <a:pt x="337" y="228"/>
                  </a:lnTo>
                  <a:lnTo>
                    <a:pt x="337" y="228"/>
                  </a:lnTo>
                  <a:lnTo>
                    <a:pt x="337" y="228"/>
                  </a:lnTo>
                  <a:lnTo>
                    <a:pt x="337" y="228"/>
                  </a:lnTo>
                  <a:lnTo>
                    <a:pt x="337" y="226"/>
                  </a:lnTo>
                  <a:lnTo>
                    <a:pt x="337" y="226"/>
                  </a:lnTo>
                  <a:lnTo>
                    <a:pt x="337" y="224"/>
                  </a:lnTo>
                  <a:lnTo>
                    <a:pt x="335" y="224"/>
                  </a:lnTo>
                  <a:lnTo>
                    <a:pt x="335" y="224"/>
                  </a:lnTo>
                  <a:lnTo>
                    <a:pt x="333" y="224"/>
                  </a:lnTo>
                  <a:lnTo>
                    <a:pt x="333" y="222"/>
                  </a:lnTo>
                  <a:lnTo>
                    <a:pt x="333" y="222"/>
                  </a:lnTo>
                  <a:lnTo>
                    <a:pt x="333" y="222"/>
                  </a:lnTo>
                  <a:lnTo>
                    <a:pt x="333" y="222"/>
                  </a:lnTo>
                  <a:lnTo>
                    <a:pt x="331" y="221"/>
                  </a:lnTo>
                  <a:lnTo>
                    <a:pt x="331" y="221"/>
                  </a:lnTo>
                  <a:lnTo>
                    <a:pt x="331" y="219"/>
                  </a:lnTo>
                  <a:lnTo>
                    <a:pt x="331" y="219"/>
                  </a:lnTo>
                  <a:lnTo>
                    <a:pt x="331" y="217"/>
                  </a:lnTo>
                  <a:lnTo>
                    <a:pt x="331" y="217"/>
                  </a:lnTo>
                  <a:lnTo>
                    <a:pt x="331" y="215"/>
                  </a:lnTo>
                  <a:lnTo>
                    <a:pt x="329" y="213"/>
                  </a:lnTo>
                  <a:lnTo>
                    <a:pt x="327" y="211"/>
                  </a:lnTo>
                  <a:lnTo>
                    <a:pt x="327" y="209"/>
                  </a:lnTo>
                  <a:lnTo>
                    <a:pt x="326" y="209"/>
                  </a:lnTo>
                  <a:lnTo>
                    <a:pt x="326" y="209"/>
                  </a:lnTo>
                  <a:lnTo>
                    <a:pt x="324" y="209"/>
                  </a:lnTo>
                  <a:lnTo>
                    <a:pt x="324" y="209"/>
                  </a:lnTo>
                  <a:lnTo>
                    <a:pt x="324" y="207"/>
                  </a:lnTo>
                  <a:lnTo>
                    <a:pt x="322" y="207"/>
                  </a:lnTo>
                  <a:lnTo>
                    <a:pt x="322" y="209"/>
                  </a:lnTo>
                  <a:lnTo>
                    <a:pt x="322" y="209"/>
                  </a:lnTo>
                  <a:lnTo>
                    <a:pt x="322" y="207"/>
                  </a:lnTo>
                  <a:lnTo>
                    <a:pt x="320" y="205"/>
                  </a:lnTo>
                  <a:lnTo>
                    <a:pt x="320" y="205"/>
                  </a:lnTo>
                  <a:lnTo>
                    <a:pt x="318" y="207"/>
                  </a:lnTo>
                  <a:lnTo>
                    <a:pt x="318" y="207"/>
                  </a:lnTo>
                  <a:lnTo>
                    <a:pt x="316" y="209"/>
                  </a:lnTo>
                  <a:lnTo>
                    <a:pt x="316" y="209"/>
                  </a:lnTo>
                  <a:lnTo>
                    <a:pt x="316" y="211"/>
                  </a:lnTo>
                  <a:lnTo>
                    <a:pt x="316" y="211"/>
                  </a:lnTo>
                  <a:lnTo>
                    <a:pt x="314" y="211"/>
                  </a:lnTo>
                  <a:lnTo>
                    <a:pt x="314" y="211"/>
                  </a:lnTo>
                  <a:lnTo>
                    <a:pt x="314" y="211"/>
                  </a:lnTo>
                  <a:lnTo>
                    <a:pt x="314" y="211"/>
                  </a:lnTo>
                  <a:lnTo>
                    <a:pt x="312" y="211"/>
                  </a:lnTo>
                  <a:lnTo>
                    <a:pt x="312" y="211"/>
                  </a:lnTo>
                  <a:lnTo>
                    <a:pt x="310" y="211"/>
                  </a:lnTo>
                  <a:lnTo>
                    <a:pt x="310" y="213"/>
                  </a:lnTo>
                  <a:lnTo>
                    <a:pt x="310" y="213"/>
                  </a:lnTo>
                  <a:lnTo>
                    <a:pt x="307" y="213"/>
                  </a:lnTo>
                  <a:lnTo>
                    <a:pt x="307" y="217"/>
                  </a:lnTo>
                  <a:lnTo>
                    <a:pt x="305" y="217"/>
                  </a:lnTo>
                  <a:lnTo>
                    <a:pt x="305" y="219"/>
                  </a:lnTo>
                  <a:lnTo>
                    <a:pt x="305" y="219"/>
                  </a:lnTo>
                  <a:lnTo>
                    <a:pt x="303" y="221"/>
                  </a:lnTo>
                  <a:lnTo>
                    <a:pt x="303" y="222"/>
                  </a:lnTo>
                  <a:lnTo>
                    <a:pt x="303" y="222"/>
                  </a:lnTo>
                  <a:lnTo>
                    <a:pt x="303" y="222"/>
                  </a:lnTo>
                  <a:lnTo>
                    <a:pt x="305" y="224"/>
                  </a:lnTo>
                  <a:lnTo>
                    <a:pt x="307" y="224"/>
                  </a:lnTo>
                  <a:lnTo>
                    <a:pt x="307" y="224"/>
                  </a:lnTo>
                  <a:lnTo>
                    <a:pt x="307" y="226"/>
                  </a:lnTo>
                  <a:lnTo>
                    <a:pt x="307" y="226"/>
                  </a:lnTo>
                  <a:lnTo>
                    <a:pt x="307" y="226"/>
                  </a:lnTo>
                  <a:lnTo>
                    <a:pt x="308" y="228"/>
                  </a:lnTo>
                  <a:lnTo>
                    <a:pt x="308" y="228"/>
                  </a:lnTo>
                  <a:lnTo>
                    <a:pt x="308" y="232"/>
                  </a:lnTo>
                  <a:lnTo>
                    <a:pt x="308" y="232"/>
                  </a:lnTo>
                  <a:lnTo>
                    <a:pt x="307" y="234"/>
                  </a:lnTo>
                  <a:lnTo>
                    <a:pt x="307" y="236"/>
                  </a:lnTo>
                  <a:lnTo>
                    <a:pt x="307" y="236"/>
                  </a:lnTo>
                  <a:lnTo>
                    <a:pt x="305" y="238"/>
                  </a:lnTo>
                  <a:lnTo>
                    <a:pt x="305" y="238"/>
                  </a:lnTo>
                  <a:lnTo>
                    <a:pt x="303" y="238"/>
                  </a:lnTo>
                  <a:lnTo>
                    <a:pt x="303" y="240"/>
                  </a:lnTo>
                  <a:lnTo>
                    <a:pt x="303" y="240"/>
                  </a:lnTo>
                  <a:lnTo>
                    <a:pt x="301" y="243"/>
                  </a:lnTo>
                  <a:lnTo>
                    <a:pt x="299" y="245"/>
                  </a:lnTo>
                  <a:lnTo>
                    <a:pt x="297" y="245"/>
                  </a:lnTo>
                  <a:lnTo>
                    <a:pt x="295" y="245"/>
                  </a:lnTo>
                  <a:lnTo>
                    <a:pt x="295" y="245"/>
                  </a:lnTo>
                  <a:lnTo>
                    <a:pt x="293" y="245"/>
                  </a:lnTo>
                  <a:lnTo>
                    <a:pt x="293" y="243"/>
                  </a:lnTo>
                  <a:lnTo>
                    <a:pt x="291" y="242"/>
                  </a:lnTo>
                  <a:lnTo>
                    <a:pt x="291" y="240"/>
                  </a:lnTo>
                  <a:lnTo>
                    <a:pt x="289" y="240"/>
                  </a:lnTo>
                  <a:lnTo>
                    <a:pt x="289" y="240"/>
                  </a:lnTo>
                  <a:lnTo>
                    <a:pt x="287" y="240"/>
                  </a:lnTo>
                  <a:lnTo>
                    <a:pt x="286" y="240"/>
                  </a:lnTo>
                  <a:lnTo>
                    <a:pt x="284" y="236"/>
                  </a:lnTo>
                  <a:lnTo>
                    <a:pt x="282" y="236"/>
                  </a:lnTo>
                  <a:lnTo>
                    <a:pt x="282" y="236"/>
                  </a:lnTo>
                  <a:lnTo>
                    <a:pt x="280" y="238"/>
                  </a:lnTo>
                  <a:lnTo>
                    <a:pt x="278" y="240"/>
                  </a:lnTo>
                  <a:lnTo>
                    <a:pt x="278" y="240"/>
                  </a:lnTo>
                  <a:lnTo>
                    <a:pt x="274" y="240"/>
                  </a:lnTo>
                  <a:lnTo>
                    <a:pt x="272" y="240"/>
                  </a:lnTo>
                  <a:lnTo>
                    <a:pt x="270" y="242"/>
                  </a:lnTo>
                  <a:lnTo>
                    <a:pt x="270" y="243"/>
                  </a:lnTo>
                  <a:lnTo>
                    <a:pt x="268" y="243"/>
                  </a:lnTo>
                  <a:lnTo>
                    <a:pt x="268" y="242"/>
                  </a:lnTo>
                  <a:lnTo>
                    <a:pt x="266" y="243"/>
                  </a:lnTo>
                  <a:lnTo>
                    <a:pt x="265" y="243"/>
                  </a:lnTo>
                  <a:lnTo>
                    <a:pt x="263" y="245"/>
                  </a:lnTo>
                  <a:lnTo>
                    <a:pt x="263" y="245"/>
                  </a:lnTo>
                  <a:lnTo>
                    <a:pt x="261" y="245"/>
                  </a:lnTo>
                  <a:lnTo>
                    <a:pt x="261" y="245"/>
                  </a:lnTo>
                  <a:lnTo>
                    <a:pt x="257" y="245"/>
                  </a:lnTo>
                  <a:lnTo>
                    <a:pt x="257" y="245"/>
                  </a:lnTo>
                  <a:lnTo>
                    <a:pt x="253" y="247"/>
                  </a:lnTo>
                  <a:lnTo>
                    <a:pt x="251" y="247"/>
                  </a:lnTo>
                  <a:lnTo>
                    <a:pt x="251" y="249"/>
                  </a:lnTo>
                  <a:lnTo>
                    <a:pt x="251" y="249"/>
                  </a:lnTo>
                  <a:lnTo>
                    <a:pt x="249" y="251"/>
                  </a:lnTo>
                  <a:lnTo>
                    <a:pt x="247" y="251"/>
                  </a:lnTo>
                  <a:lnTo>
                    <a:pt x="242" y="251"/>
                  </a:lnTo>
                  <a:lnTo>
                    <a:pt x="242" y="251"/>
                  </a:lnTo>
                  <a:lnTo>
                    <a:pt x="240" y="251"/>
                  </a:lnTo>
                  <a:lnTo>
                    <a:pt x="238" y="251"/>
                  </a:lnTo>
                  <a:lnTo>
                    <a:pt x="236" y="251"/>
                  </a:lnTo>
                  <a:lnTo>
                    <a:pt x="236" y="253"/>
                  </a:lnTo>
                  <a:lnTo>
                    <a:pt x="234" y="253"/>
                  </a:lnTo>
                  <a:lnTo>
                    <a:pt x="232" y="257"/>
                  </a:lnTo>
                  <a:lnTo>
                    <a:pt x="232" y="257"/>
                  </a:lnTo>
                  <a:lnTo>
                    <a:pt x="230" y="259"/>
                  </a:lnTo>
                  <a:lnTo>
                    <a:pt x="232" y="261"/>
                  </a:lnTo>
                  <a:lnTo>
                    <a:pt x="232" y="261"/>
                  </a:lnTo>
                  <a:lnTo>
                    <a:pt x="232" y="262"/>
                  </a:lnTo>
                  <a:lnTo>
                    <a:pt x="232" y="262"/>
                  </a:lnTo>
                  <a:lnTo>
                    <a:pt x="230" y="264"/>
                  </a:lnTo>
                  <a:lnTo>
                    <a:pt x="230" y="266"/>
                  </a:lnTo>
                  <a:lnTo>
                    <a:pt x="230" y="268"/>
                  </a:lnTo>
                  <a:lnTo>
                    <a:pt x="230" y="270"/>
                  </a:lnTo>
                  <a:lnTo>
                    <a:pt x="230" y="272"/>
                  </a:lnTo>
                  <a:lnTo>
                    <a:pt x="230" y="272"/>
                  </a:lnTo>
                  <a:lnTo>
                    <a:pt x="232" y="274"/>
                  </a:lnTo>
                  <a:lnTo>
                    <a:pt x="232" y="278"/>
                  </a:lnTo>
                  <a:lnTo>
                    <a:pt x="232" y="281"/>
                  </a:lnTo>
                  <a:lnTo>
                    <a:pt x="230" y="283"/>
                  </a:lnTo>
                  <a:lnTo>
                    <a:pt x="230" y="283"/>
                  </a:lnTo>
                  <a:lnTo>
                    <a:pt x="228" y="285"/>
                  </a:lnTo>
                  <a:lnTo>
                    <a:pt x="226" y="285"/>
                  </a:lnTo>
                  <a:lnTo>
                    <a:pt x="226" y="285"/>
                  </a:lnTo>
                  <a:lnTo>
                    <a:pt x="225" y="285"/>
                  </a:lnTo>
                  <a:lnTo>
                    <a:pt x="225" y="283"/>
                  </a:lnTo>
                  <a:lnTo>
                    <a:pt x="223" y="283"/>
                  </a:lnTo>
                  <a:lnTo>
                    <a:pt x="223" y="283"/>
                  </a:lnTo>
                  <a:lnTo>
                    <a:pt x="217" y="283"/>
                  </a:lnTo>
                  <a:lnTo>
                    <a:pt x="215" y="283"/>
                  </a:lnTo>
                  <a:lnTo>
                    <a:pt x="215" y="283"/>
                  </a:lnTo>
                  <a:lnTo>
                    <a:pt x="213" y="283"/>
                  </a:lnTo>
                  <a:lnTo>
                    <a:pt x="213" y="283"/>
                  </a:lnTo>
                  <a:lnTo>
                    <a:pt x="211" y="283"/>
                  </a:lnTo>
                  <a:lnTo>
                    <a:pt x="209" y="283"/>
                  </a:lnTo>
                  <a:lnTo>
                    <a:pt x="209" y="285"/>
                  </a:lnTo>
                  <a:lnTo>
                    <a:pt x="207" y="285"/>
                  </a:lnTo>
                  <a:lnTo>
                    <a:pt x="206" y="285"/>
                  </a:lnTo>
                  <a:lnTo>
                    <a:pt x="204" y="287"/>
                  </a:lnTo>
                  <a:lnTo>
                    <a:pt x="202" y="287"/>
                  </a:lnTo>
                  <a:lnTo>
                    <a:pt x="202" y="289"/>
                  </a:lnTo>
                  <a:lnTo>
                    <a:pt x="202" y="291"/>
                  </a:lnTo>
                  <a:lnTo>
                    <a:pt x="204" y="293"/>
                  </a:lnTo>
                  <a:lnTo>
                    <a:pt x="204" y="295"/>
                  </a:lnTo>
                  <a:lnTo>
                    <a:pt x="204" y="295"/>
                  </a:lnTo>
                  <a:lnTo>
                    <a:pt x="202" y="297"/>
                  </a:lnTo>
                  <a:lnTo>
                    <a:pt x="202" y="297"/>
                  </a:lnTo>
                  <a:lnTo>
                    <a:pt x="202" y="297"/>
                  </a:lnTo>
                  <a:lnTo>
                    <a:pt x="200" y="297"/>
                  </a:lnTo>
                  <a:lnTo>
                    <a:pt x="198" y="295"/>
                  </a:lnTo>
                  <a:lnTo>
                    <a:pt x="198" y="295"/>
                  </a:lnTo>
                  <a:lnTo>
                    <a:pt x="198" y="293"/>
                  </a:lnTo>
                  <a:lnTo>
                    <a:pt x="198" y="293"/>
                  </a:lnTo>
                  <a:lnTo>
                    <a:pt x="198" y="291"/>
                  </a:lnTo>
                  <a:lnTo>
                    <a:pt x="198" y="291"/>
                  </a:lnTo>
                  <a:lnTo>
                    <a:pt x="196" y="291"/>
                  </a:lnTo>
                  <a:lnTo>
                    <a:pt x="196" y="291"/>
                  </a:lnTo>
                  <a:lnTo>
                    <a:pt x="194" y="291"/>
                  </a:lnTo>
                  <a:lnTo>
                    <a:pt x="194" y="293"/>
                  </a:lnTo>
                  <a:lnTo>
                    <a:pt x="194" y="293"/>
                  </a:lnTo>
                  <a:lnTo>
                    <a:pt x="196" y="295"/>
                  </a:lnTo>
                  <a:lnTo>
                    <a:pt x="196" y="295"/>
                  </a:lnTo>
                  <a:lnTo>
                    <a:pt x="196" y="297"/>
                  </a:lnTo>
                  <a:lnTo>
                    <a:pt x="196" y="297"/>
                  </a:lnTo>
                  <a:lnTo>
                    <a:pt x="196" y="299"/>
                  </a:lnTo>
                  <a:lnTo>
                    <a:pt x="194" y="300"/>
                  </a:lnTo>
                  <a:lnTo>
                    <a:pt x="194" y="300"/>
                  </a:lnTo>
                  <a:lnTo>
                    <a:pt x="192" y="302"/>
                  </a:lnTo>
                  <a:lnTo>
                    <a:pt x="190" y="302"/>
                  </a:lnTo>
                  <a:lnTo>
                    <a:pt x="190" y="304"/>
                  </a:lnTo>
                  <a:lnTo>
                    <a:pt x="188" y="304"/>
                  </a:lnTo>
                  <a:lnTo>
                    <a:pt x="186" y="304"/>
                  </a:lnTo>
                  <a:lnTo>
                    <a:pt x="185" y="304"/>
                  </a:lnTo>
                  <a:lnTo>
                    <a:pt x="185" y="304"/>
                  </a:lnTo>
                  <a:lnTo>
                    <a:pt x="181" y="302"/>
                  </a:lnTo>
                  <a:lnTo>
                    <a:pt x="181" y="302"/>
                  </a:lnTo>
                  <a:lnTo>
                    <a:pt x="181" y="300"/>
                  </a:lnTo>
                  <a:lnTo>
                    <a:pt x="179" y="299"/>
                  </a:lnTo>
                  <a:lnTo>
                    <a:pt x="179" y="299"/>
                  </a:lnTo>
                  <a:lnTo>
                    <a:pt x="177" y="297"/>
                  </a:lnTo>
                  <a:lnTo>
                    <a:pt x="175" y="297"/>
                  </a:lnTo>
                  <a:lnTo>
                    <a:pt x="173" y="297"/>
                  </a:lnTo>
                  <a:lnTo>
                    <a:pt x="173" y="299"/>
                  </a:lnTo>
                  <a:lnTo>
                    <a:pt x="171" y="299"/>
                  </a:lnTo>
                  <a:lnTo>
                    <a:pt x="171" y="300"/>
                  </a:lnTo>
                  <a:lnTo>
                    <a:pt x="169" y="300"/>
                  </a:lnTo>
                  <a:lnTo>
                    <a:pt x="169" y="300"/>
                  </a:lnTo>
                  <a:lnTo>
                    <a:pt x="167" y="300"/>
                  </a:lnTo>
                  <a:lnTo>
                    <a:pt x="165" y="300"/>
                  </a:lnTo>
                  <a:lnTo>
                    <a:pt x="164" y="299"/>
                  </a:lnTo>
                  <a:lnTo>
                    <a:pt x="160" y="299"/>
                  </a:lnTo>
                  <a:lnTo>
                    <a:pt x="158" y="299"/>
                  </a:lnTo>
                  <a:lnTo>
                    <a:pt x="156" y="299"/>
                  </a:lnTo>
                  <a:lnTo>
                    <a:pt x="154" y="299"/>
                  </a:lnTo>
                  <a:lnTo>
                    <a:pt x="152" y="300"/>
                  </a:lnTo>
                  <a:lnTo>
                    <a:pt x="150" y="300"/>
                  </a:lnTo>
                  <a:lnTo>
                    <a:pt x="150" y="300"/>
                  </a:lnTo>
                  <a:lnTo>
                    <a:pt x="148" y="302"/>
                  </a:lnTo>
                  <a:lnTo>
                    <a:pt x="148" y="302"/>
                  </a:lnTo>
                  <a:lnTo>
                    <a:pt x="146" y="304"/>
                  </a:lnTo>
                  <a:lnTo>
                    <a:pt x="145" y="304"/>
                  </a:lnTo>
                  <a:lnTo>
                    <a:pt x="145" y="302"/>
                  </a:lnTo>
                  <a:lnTo>
                    <a:pt x="143" y="302"/>
                  </a:lnTo>
                  <a:lnTo>
                    <a:pt x="143" y="302"/>
                  </a:lnTo>
                  <a:lnTo>
                    <a:pt x="141" y="304"/>
                  </a:lnTo>
                  <a:lnTo>
                    <a:pt x="143" y="306"/>
                  </a:lnTo>
                  <a:lnTo>
                    <a:pt x="143" y="306"/>
                  </a:lnTo>
                  <a:lnTo>
                    <a:pt x="141" y="308"/>
                  </a:lnTo>
                  <a:lnTo>
                    <a:pt x="141" y="308"/>
                  </a:lnTo>
                  <a:lnTo>
                    <a:pt x="141" y="310"/>
                  </a:lnTo>
                  <a:lnTo>
                    <a:pt x="141" y="310"/>
                  </a:lnTo>
                  <a:lnTo>
                    <a:pt x="141" y="312"/>
                  </a:lnTo>
                  <a:lnTo>
                    <a:pt x="141" y="312"/>
                  </a:lnTo>
                  <a:lnTo>
                    <a:pt x="141" y="314"/>
                  </a:lnTo>
                  <a:lnTo>
                    <a:pt x="139" y="314"/>
                  </a:lnTo>
                  <a:lnTo>
                    <a:pt x="137" y="314"/>
                  </a:lnTo>
                  <a:lnTo>
                    <a:pt x="137" y="314"/>
                  </a:lnTo>
                  <a:lnTo>
                    <a:pt x="135" y="316"/>
                  </a:lnTo>
                  <a:lnTo>
                    <a:pt x="135" y="316"/>
                  </a:lnTo>
                  <a:lnTo>
                    <a:pt x="135" y="318"/>
                  </a:lnTo>
                  <a:lnTo>
                    <a:pt x="135" y="318"/>
                  </a:lnTo>
                  <a:lnTo>
                    <a:pt x="135" y="318"/>
                  </a:lnTo>
                  <a:lnTo>
                    <a:pt x="133" y="319"/>
                  </a:lnTo>
                  <a:lnTo>
                    <a:pt x="133" y="319"/>
                  </a:lnTo>
                  <a:lnTo>
                    <a:pt x="133" y="321"/>
                  </a:lnTo>
                  <a:lnTo>
                    <a:pt x="131" y="321"/>
                  </a:lnTo>
                  <a:lnTo>
                    <a:pt x="131" y="321"/>
                  </a:lnTo>
                  <a:lnTo>
                    <a:pt x="131" y="321"/>
                  </a:lnTo>
                  <a:lnTo>
                    <a:pt x="129" y="321"/>
                  </a:lnTo>
                  <a:lnTo>
                    <a:pt x="129" y="321"/>
                  </a:lnTo>
                  <a:lnTo>
                    <a:pt x="129" y="323"/>
                  </a:lnTo>
                  <a:lnTo>
                    <a:pt x="127" y="323"/>
                  </a:lnTo>
                  <a:lnTo>
                    <a:pt x="127" y="323"/>
                  </a:lnTo>
                  <a:lnTo>
                    <a:pt x="124" y="321"/>
                  </a:lnTo>
                  <a:lnTo>
                    <a:pt x="124" y="321"/>
                  </a:lnTo>
                  <a:lnTo>
                    <a:pt x="124" y="319"/>
                  </a:lnTo>
                  <a:lnTo>
                    <a:pt x="122" y="318"/>
                  </a:lnTo>
                  <a:lnTo>
                    <a:pt x="122" y="316"/>
                  </a:lnTo>
                  <a:lnTo>
                    <a:pt x="122" y="316"/>
                  </a:lnTo>
                  <a:lnTo>
                    <a:pt x="122" y="316"/>
                  </a:lnTo>
                  <a:lnTo>
                    <a:pt x="120" y="316"/>
                  </a:lnTo>
                  <a:lnTo>
                    <a:pt x="120" y="316"/>
                  </a:lnTo>
                  <a:lnTo>
                    <a:pt x="120" y="318"/>
                  </a:lnTo>
                  <a:lnTo>
                    <a:pt x="118" y="318"/>
                  </a:lnTo>
                  <a:lnTo>
                    <a:pt x="118" y="319"/>
                  </a:lnTo>
                  <a:lnTo>
                    <a:pt x="118" y="319"/>
                  </a:lnTo>
                  <a:lnTo>
                    <a:pt x="116" y="318"/>
                  </a:lnTo>
                  <a:lnTo>
                    <a:pt x="114" y="318"/>
                  </a:lnTo>
                  <a:lnTo>
                    <a:pt x="112" y="318"/>
                  </a:lnTo>
                  <a:lnTo>
                    <a:pt x="112" y="318"/>
                  </a:lnTo>
                  <a:lnTo>
                    <a:pt x="110" y="318"/>
                  </a:lnTo>
                  <a:lnTo>
                    <a:pt x="108" y="316"/>
                  </a:lnTo>
                  <a:lnTo>
                    <a:pt x="106" y="316"/>
                  </a:lnTo>
                  <a:lnTo>
                    <a:pt x="106" y="316"/>
                  </a:lnTo>
                  <a:lnTo>
                    <a:pt x="105" y="318"/>
                  </a:lnTo>
                  <a:lnTo>
                    <a:pt x="105" y="318"/>
                  </a:lnTo>
                  <a:lnTo>
                    <a:pt x="103" y="318"/>
                  </a:lnTo>
                  <a:lnTo>
                    <a:pt x="103" y="318"/>
                  </a:lnTo>
                  <a:lnTo>
                    <a:pt x="103" y="318"/>
                  </a:lnTo>
                  <a:lnTo>
                    <a:pt x="101" y="319"/>
                  </a:lnTo>
                  <a:lnTo>
                    <a:pt x="101" y="319"/>
                  </a:lnTo>
                  <a:lnTo>
                    <a:pt x="99" y="319"/>
                  </a:lnTo>
                  <a:lnTo>
                    <a:pt x="99" y="319"/>
                  </a:lnTo>
                  <a:lnTo>
                    <a:pt x="97" y="319"/>
                  </a:lnTo>
                  <a:lnTo>
                    <a:pt x="97" y="318"/>
                  </a:lnTo>
                  <a:lnTo>
                    <a:pt x="97" y="318"/>
                  </a:lnTo>
                  <a:lnTo>
                    <a:pt x="95" y="318"/>
                  </a:lnTo>
                  <a:lnTo>
                    <a:pt x="95" y="318"/>
                  </a:lnTo>
                  <a:lnTo>
                    <a:pt x="93" y="318"/>
                  </a:lnTo>
                  <a:lnTo>
                    <a:pt x="93" y="318"/>
                  </a:lnTo>
                  <a:lnTo>
                    <a:pt x="91" y="318"/>
                  </a:lnTo>
                  <a:lnTo>
                    <a:pt x="91" y="318"/>
                  </a:lnTo>
                  <a:lnTo>
                    <a:pt x="91" y="318"/>
                  </a:lnTo>
                  <a:lnTo>
                    <a:pt x="89" y="318"/>
                  </a:lnTo>
                  <a:lnTo>
                    <a:pt x="89" y="318"/>
                  </a:lnTo>
                  <a:lnTo>
                    <a:pt x="87" y="318"/>
                  </a:lnTo>
                  <a:lnTo>
                    <a:pt x="85" y="318"/>
                  </a:lnTo>
                  <a:lnTo>
                    <a:pt x="85" y="318"/>
                  </a:lnTo>
                  <a:lnTo>
                    <a:pt x="84" y="316"/>
                  </a:lnTo>
                  <a:lnTo>
                    <a:pt x="84" y="316"/>
                  </a:lnTo>
                  <a:lnTo>
                    <a:pt x="84" y="316"/>
                  </a:lnTo>
                  <a:lnTo>
                    <a:pt x="82" y="316"/>
                  </a:lnTo>
                  <a:lnTo>
                    <a:pt x="82" y="314"/>
                  </a:lnTo>
                  <a:lnTo>
                    <a:pt x="82" y="316"/>
                  </a:lnTo>
                  <a:lnTo>
                    <a:pt x="80" y="316"/>
                  </a:lnTo>
                  <a:lnTo>
                    <a:pt x="80" y="316"/>
                  </a:lnTo>
                  <a:lnTo>
                    <a:pt x="78" y="316"/>
                  </a:lnTo>
                  <a:lnTo>
                    <a:pt x="76" y="314"/>
                  </a:lnTo>
                  <a:lnTo>
                    <a:pt x="70" y="314"/>
                  </a:lnTo>
                  <a:lnTo>
                    <a:pt x="66" y="310"/>
                  </a:lnTo>
                  <a:lnTo>
                    <a:pt x="66" y="310"/>
                  </a:lnTo>
                  <a:lnTo>
                    <a:pt x="66" y="310"/>
                  </a:lnTo>
                  <a:lnTo>
                    <a:pt x="55" y="310"/>
                  </a:lnTo>
                  <a:lnTo>
                    <a:pt x="51" y="310"/>
                  </a:lnTo>
                  <a:lnTo>
                    <a:pt x="49" y="310"/>
                  </a:lnTo>
                  <a:lnTo>
                    <a:pt x="47" y="308"/>
                  </a:lnTo>
                  <a:lnTo>
                    <a:pt x="47" y="308"/>
                  </a:lnTo>
                  <a:lnTo>
                    <a:pt x="42" y="310"/>
                  </a:lnTo>
                  <a:lnTo>
                    <a:pt x="40" y="310"/>
                  </a:lnTo>
                  <a:lnTo>
                    <a:pt x="32" y="314"/>
                  </a:lnTo>
                  <a:lnTo>
                    <a:pt x="28" y="318"/>
                  </a:lnTo>
                  <a:lnTo>
                    <a:pt x="28" y="319"/>
                  </a:lnTo>
                  <a:lnTo>
                    <a:pt x="28" y="321"/>
                  </a:lnTo>
                  <a:lnTo>
                    <a:pt x="28" y="323"/>
                  </a:lnTo>
                  <a:lnTo>
                    <a:pt x="28" y="327"/>
                  </a:lnTo>
                  <a:lnTo>
                    <a:pt x="28" y="329"/>
                  </a:lnTo>
                  <a:lnTo>
                    <a:pt x="28" y="331"/>
                  </a:lnTo>
                  <a:lnTo>
                    <a:pt x="30" y="331"/>
                  </a:lnTo>
                  <a:lnTo>
                    <a:pt x="30" y="331"/>
                  </a:lnTo>
                  <a:lnTo>
                    <a:pt x="30" y="331"/>
                  </a:lnTo>
                  <a:lnTo>
                    <a:pt x="30" y="331"/>
                  </a:lnTo>
                  <a:lnTo>
                    <a:pt x="32" y="333"/>
                  </a:lnTo>
                  <a:lnTo>
                    <a:pt x="32" y="337"/>
                  </a:lnTo>
                  <a:lnTo>
                    <a:pt x="34" y="338"/>
                  </a:lnTo>
                  <a:lnTo>
                    <a:pt x="34" y="338"/>
                  </a:lnTo>
                  <a:lnTo>
                    <a:pt x="32" y="338"/>
                  </a:lnTo>
                  <a:lnTo>
                    <a:pt x="32" y="338"/>
                  </a:lnTo>
                  <a:lnTo>
                    <a:pt x="30" y="338"/>
                  </a:lnTo>
                  <a:lnTo>
                    <a:pt x="30" y="338"/>
                  </a:lnTo>
                  <a:lnTo>
                    <a:pt x="30" y="338"/>
                  </a:lnTo>
                  <a:lnTo>
                    <a:pt x="28" y="338"/>
                  </a:lnTo>
                  <a:lnTo>
                    <a:pt x="28" y="338"/>
                  </a:lnTo>
                  <a:lnTo>
                    <a:pt x="26" y="340"/>
                  </a:lnTo>
                  <a:lnTo>
                    <a:pt x="26" y="342"/>
                  </a:lnTo>
                  <a:lnTo>
                    <a:pt x="26" y="342"/>
                  </a:lnTo>
                  <a:lnTo>
                    <a:pt x="26" y="342"/>
                  </a:lnTo>
                  <a:lnTo>
                    <a:pt x="26" y="342"/>
                  </a:lnTo>
                  <a:lnTo>
                    <a:pt x="26" y="348"/>
                  </a:lnTo>
                  <a:lnTo>
                    <a:pt x="26" y="352"/>
                  </a:lnTo>
                  <a:lnTo>
                    <a:pt x="26" y="354"/>
                  </a:lnTo>
                  <a:lnTo>
                    <a:pt x="26" y="354"/>
                  </a:lnTo>
                  <a:lnTo>
                    <a:pt x="26" y="354"/>
                  </a:lnTo>
                  <a:lnTo>
                    <a:pt x="26" y="354"/>
                  </a:lnTo>
                  <a:lnTo>
                    <a:pt x="24" y="352"/>
                  </a:lnTo>
                  <a:lnTo>
                    <a:pt x="23" y="352"/>
                  </a:lnTo>
                  <a:lnTo>
                    <a:pt x="23" y="352"/>
                  </a:lnTo>
                  <a:lnTo>
                    <a:pt x="23" y="354"/>
                  </a:lnTo>
                  <a:lnTo>
                    <a:pt x="23" y="354"/>
                  </a:lnTo>
                  <a:lnTo>
                    <a:pt x="23" y="354"/>
                  </a:lnTo>
                  <a:lnTo>
                    <a:pt x="24" y="356"/>
                  </a:lnTo>
                  <a:lnTo>
                    <a:pt x="24" y="358"/>
                  </a:lnTo>
                  <a:lnTo>
                    <a:pt x="24" y="359"/>
                  </a:lnTo>
                  <a:lnTo>
                    <a:pt x="26" y="359"/>
                  </a:lnTo>
                  <a:lnTo>
                    <a:pt x="26" y="359"/>
                  </a:lnTo>
                  <a:lnTo>
                    <a:pt x="26" y="361"/>
                  </a:lnTo>
                  <a:lnTo>
                    <a:pt x="26" y="361"/>
                  </a:lnTo>
                  <a:lnTo>
                    <a:pt x="28" y="367"/>
                  </a:lnTo>
                  <a:lnTo>
                    <a:pt x="28" y="369"/>
                  </a:lnTo>
                  <a:lnTo>
                    <a:pt x="28" y="369"/>
                  </a:lnTo>
                  <a:lnTo>
                    <a:pt x="30" y="369"/>
                  </a:lnTo>
                  <a:lnTo>
                    <a:pt x="32" y="371"/>
                  </a:lnTo>
                  <a:lnTo>
                    <a:pt x="34" y="371"/>
                  </a:lnTo>
                  <a:lnTo>
                    <a:pt x="34" y="371"/>
                  </a:lnTo>
                  <a:lnTo>
                    <a:pt x="36" y="373"/>
                  </a:lnTo>
                  <a:lnTo>
                    <a:pt x="36" y="378"/>
                  </a:lnTo>
                  <a:lnTo>
                    <a:pt x="38" y="384"/>
                  </a:lnTo>
                  <a:lnTo>
                    <a:pt x="38" y="384"/>
                  </a:lnTo>
                  <a:lnTo>
                    <a:pt x="38" y="388"/>
                  </a:lnTo>
                  <a:lnTo>
                    <a:pt x="38" y="388"/>
                  </a:lnTo>
                  <a:lnTo>
                    <a:pt x="38" y="390"/>
                  </a:lnTo>
                  <a:lnTo>
                    <a:pt x="38" y="390"/>
                  </a:lnTo>
                  <a:lnTo>
                    <a:pt x="38" y="392"/>
                  </a:lnTo>
                  <a:lnTo>
                    <a:pt x="36" y="392"/>
                  </a:lnTo>
                  <a:lnTo>
                    <a:pt x="36" y="392"/>
                  </a:lnTo>
                  <a:lnTo>
                    <a:pt x="36" y="394"/>
                  </a:lnTo>
                  <a:lnTo>
                    <a:pt x="34" y="396"/>
                  </a:lnTo>
                  <a:lnTo>
                    <a:pt x="34" y="397"/>
                  </a:lnTo>
                  <a:lnTo>
                    <a:pt x="34" y="397"/>
                  </a:lnTo>
                  <a:lnTo>
                    <a:pt x="30" y="401"/>
                  </a:lnTo>
                  <a:lnTo>
                    <a:pt x="30" y="401"/>
                  </a:lnTo>
                  <a:lnTo>
                    <a:pt x="30" y="401"/>
                  </a:lnTo>
                  <a:lnTo>
                    <a:pt x="28" y="401"/>
                  </a:lnTo>
                  <a:lnTo>
                    <a:pt x="28" y="401"/>
                  </a:lnTo>
                  <a:lnTo>
                    <a:pt x="28" y="401"/>
                  </a:lnTo>
                  <a:lnTo>
                    <a:pt x="28" y="399"/>
                  </a:lnTo>
                  <a:lnTo>
                    <a:pt x="26" y="399"/>
                  </a:lnTo>
                  <a:lnTo>
                    <a:pt x="26" y="399"/>
                  </a:lnTo>
                  <a:lnTo>
                    <a:pt x="26" y="399"/>
                  </a:lnTo>
                  <a:lnTo>
                    <a:pt x="24" y="399"/>
                  </a:lnTo>
                  <a:lnTo>
                    <a:pt x="24" y="399"/>
                  </a:lnTo>
                  <a:lnTo>
                    <a:pt x="23" y="399"/>
                  </a:lnTo>
                  <a:lnTo>
                    <a:pt x="23" y="399"/>
                  </a:lnTo>
                  <a:lnTo>
                    <a:pt x="21" y="399"/>
                  </a:lnTo>
                  <a:lnTo>
                    <a:pt x="21" y="399"/>
                  </a:lnTo>
                  <a:lnTo>
                    <a:pt x="19" y="399"/>
                  </a:lnTo>
                  <a:lnTo>
                    <a:pt x="17" y="397"/>
                  </a:lnTo>
                  <a:lnTo>
                    <a:pt x="15" y="397"/>
                  </a:lnTo>
                  <a:lnTo>
                    <a:pt x="13" y="397"/>
                  </a:lnTo>
                  <a:lnTo>
                    <a:pt x="5" y="394"/>
                  </a:lnTo>
                  <a:lnTo>
                    <a:pt x="4" y="394"/>
                  </a:lnTo>
                  <a:lnTo>
                    <a:pt x="2" y="396"/>
                  </a:lnTo>
                  <a:lnTo>
                    <a:pt x="2" y="397"/>
                  </a:lnTo>
                  <a:lnTo>
                    <a:pt x="2" y="399"/>
                  </a:lnTo>
                  <a:lnTo>
                    <a:pt x="2" y="399"/>
                  </a:lnTo>
                  <a:lnTo>
                    <a:pt x="2" y="401"/>
                  </a:lnTo>
                  <a:lnTo>
                    <a:pt x="2" y="401"/>
                  </a:lnTo>
                  <a:lnTo>
                    <a:pt x="0" y="401"/>
                  </a:lnTo>
                  <a:lnTo>
                    <a:pt x="0" y="403"/>
                  </a:lnTo>
                  <a:lnTo>
                    <a:pt x="0" y="403"/>
                  </a:lnTo>
                  <a:lnTo>
                    <a:pt x="0" y="403"/>
                  </a:lnTo>
                  <a:lnTo>
                    <a:pt x="2" y="403"/>
                  </a:lnTo>
                  <a:lnTo>
                    <a:pt x="4" y="405"/>
                  </a:lnTo>
                  <a:lnTo>
                    <a:pt x="4" y="405"/>
                  </a:lnTo>
                  <a:lnTo>
                    <a:pt x="5" y="405"/>
                  </a:lnTo>
                  <a:lnTo>
                    <a:pt x="7" y="405"/>
                  </a:lnTo>
                  <a:lnTo>
                    <a:pt x="7" y="407"/>
                  </a:lnTo>
                  <a:lnTo>
                    <a:pt x="7" y="407"/>
                  </a:lnTo>
                  <a:lnTo>
                    <a:pt x="9" y="407"/>
                  </a:lnTo>
                  <a:lnTo>
                    <a:pt x="9" y="407"/>
                  </a:lnTo>
                  <a:lnTo>
                    <a:pt x="9" y="409"/>
                  </a:lnTo>
                  <a:lnTo>
                    <a:pt x="9" y="409"/>
                  </a:lnTo>
                  <a:lnTo>
                    <a:pt x="9" y="411"/>
                  </a:lnTo>
                  <a:lnTo>
                    <a:pt x="9" y="413"/>
                  </a:lnTo>
                  <a:lnTo>
                    <a:pt x="9" y="415"/>
                  </a:lnTo>
                  <a:lnTo>
                    <a:pt x="7" y="422"/>
                  </a:lnTo>
                  <a:lnTo>
                    <a:pt x="7" y="422"/>
                  </a:lnTo>
                  <a:lnTo>
                    <a:pt x="7" y="422"/>
                  </a:lnTo>
                  <a:lnTo>
                    <a:pt x="7" y="422"/>
                  </a:lnTo>
                  <a:lnTo>
                    <a:pt x="5" y="424"/>
                  </a:lnTo>
                  <a:lnTo>
                    <a:pt x="4" y="424"/>
                  </a:lnTo>
                  <a:lnTo>
                    <a:pt x="4" y="424"/>
                  </a:lnTo>
                  <a:lnTo>
                    <a:pt x="4" y="428"/>
                  </a:lnTo>
                  <a:lnTo>
                    <a:pt x="4" y="428"/>
                  </a:lnTo>
                  <a:lnTo>
                    <a:pt x="4" y="430"/>
                  </a:lnTo>
                  <a:lnTo>
                    <a:pt x="4" y="432"/>
                  </a:lnTo>
                  <a:lnTo>
                    <a:pt x="2" y="434"/>
                  </a:lnTo>
                  <a:lnTo>
                    <a:pt x="2" y="435"/>
                  </a:lnTo>
                  <a:lnTo>
                    <a:pt x="2" y="437"/>
                  </a:lnTo>
                  <a:lnTo>
                    <a:pt x="2" y="439"/>
                  </a:lnTo>
                  <a:lnTo>
                    <a:pt x="4" y="443"/>
                  </a:lnTo>
                  <a:lnTo>
                    <a:pt x="4" y="443"/>
                  </a:lnTo>
                  <a:lnTo>
                    <a:pt x="4" y="445"/>
                  </a:lnTo>
                  <a:lnTo>
                    <a:pt x="5" y="445"/>
                  </a:lnTo>
                  <a:lnTo>
                    <a:pt x="5" y="445"/>
                  </a:lnTo>
                  <a:lnTo>
                    <a:pt x="7" y="445"/>
                  </a:lnTo>
                  <a:lnTo>
                    <a:pt x="7" y="447"/>
                  </a:lnTo>
                  <a:lnTo>
                    <a:pt x="7" y="447"/>
                  </a:lnTo>
                  <a:lnTo>
                    <a:pt x="9" y="449"/>
                  </a:lnTo>
                  <a:lnTo>
                    <a:pt x="9" y="451"/>
                  </a:lnTo>
                  <a:lnTo>
                    <a:pt x="9" y="451"/>
                  </a:lnTo>
                  <a:lnTo>
                    <a:pt x="9" y="451"/>
                  </a:lnTo>
                  <a:lnTo>
                    <a:pt x="11" y="451"/>
                  </a:lnTo>
                  <a:lnTo>
                    <a:pt x="11" y="451"/>
                  </a:lnTo>
                  <a:lnTo>
                    <a:pt x="13" y="451"/>
                  </a:lnTo>
                  <a:lnTo>
                    <a:pt x="13" y="451"/>
                  </a:lnTo>
                  <a:lnTo>
                    <a:pt x="13" y="451"/>
                  </a:lnTo>
                  <a:lnTo>
                    <a:pt x="15" y="451"/>
                  </a:lnTo>
                  <a:lnTo>
                    <a:pt x="17" y="451"/>
                  </a:lnTo>
                  <a:lnTo>
                    <a:pt x="19" y="451"/>
                  </a:lnTo>
                  <a:lnTo>
                    <a:pt x="19" y="451"/>
                  </a:lnTo>
                  <a:lnTo>
                    <a:pt x="19" y="453"/>
                  </a:lnTo>
                  <a:lnTo>
                    <a:pt x="19" y="453"/>
                  </a:lnTo>
                  <a:lnTo>
                    <a:pt x="19" y="455"/>
                  </a:lnTo>
                  <a:lnTo>
                    <a:pt x="19" y="455"/>
                  </a:lnTo>
                  <a:lnTo>
                    <a:pt x="19" y="456"/>
                  </a:lnTo>
                  <a:lnTo>
                    <a:pt x="19" y="456"/>
                  </a:lnTo>
                  <a:lnTo>
                    <a:pt x="17" y="458"/>
                  </a:lnTo>
                  <a:lnTo>
                    <a:pt x="17" y="458"/>
                  </a:lnTo>
                  <a:lnTo>
                    <a:pt x="17" y="458"/>
                  </a:lnTo>
                  <a:lnTo>
                    <a:pt x="17" y="458"/>
                  </a:lnTo>
                  <a:lnTo>
                    <a:pt x="15" y="458"/>
                  </a:lnTo>
                  <a:lnTo>
                    <a:pt x="15" y="458"/>
                  </a:lnTo>
                  <a:lnTo>
                    <a:pt x="15" y="458"/>
                  </a:lnTo>
                  <a:lnTo>
                    <a:pt x="15" y="458"/>
                  </a:lnTo>
                  <a:lnTo>
                    <a:pt x="13" y="458"/>
                  </a:lnTo>
                  <a:lnTo>
                    <a:pt x="13" y="458"/>
                  </a:lnTo>
                  <a:lnTo>
                    <a:pt x="13" y="460"/>
                  </a:lnTo>
                  <a:lnTo>
                    <a:pt x="13" y="460"/>
                  </a:lnTo>
                  <a:lnTo>
                    <a:pt x="13" y="462"/>
                  </a:lnTo>
                  <a:lnTo>
                    <a:pt x="13" y="462"/>
                  </a:lnTo>
                  <a:lnTo>
                    <a:pt x="13" y="464"/>
                  </a:lnTo>
                  <a:lnTo>
                    <a:pt x="13" y="464"/>
                  </a:lnTo>
                  <a:lnTo>
                    <a:pt x="15" y="466"/>
                  </a:lnTo>
                  <a:lnTo>
                    <a:pt x="15" y="466"/>
                  </a:lnTo>
                  <a:lnTo>
                    <a:pt x="19" y="468"/>
                  </a:lnTo>
                  <a:lnTo>
                    <a:pt x="19" y="468"/>
                  </a:lnTo>
                  <a:lnTo>
                    <a:pt x="19" y="468"/>
                  </a:lnTo>
                  <a:lnTo>
                    <a:pt x="19" y="470"/>
                  </a:lnTo>
                  <a:lnTo>
                    <a:pt x="19" y="470"/>
                  </a:lnTo>
                  <a:lnTo>
                    <a:pt x="17" y="470"/>
                  </a:lnTo>
                  <a:lnTo>
                    <a:pt x="17" y="472"/>
                  </a:lnTo>
                  <a:lnTo>
                    <a:pt x="17" y="472"/>
                  </a:lnTo>
                  <a:lnTo>
                    <a:pt x="23" y="474"/>
                  </a:lnTo>
                  <a:lnTo>
                    <a:pt x="26" y="474"/>
                  </a:lnTo>
                  <a:lnTo>
                    <a:pt x="28" y="474"/>
                  </a:lnTo>
                  <a:lnTo>
                    <a:pt x="30" y="475"/>
                  </a:lnTo>
                  <a:lnTo>
                    <a:pt x="32" y="475"/>
                  </a:lnTo>
                  <a:lnTo>
                    <a:pt x="32" y="475"/>
                  </a:lnTo>
                  <a:lnTo>
                    <a:pt x="34" y="474"/>
                  </a:lnTo>
                  <a:lnTo>
                    <a:pt x="34" y="474"/>
                  </a:lnTo>
                  <a:lnTo>
                    <a:pt x="34" y="474"/>
                  </a:lnTo>
                  <a:lnTo>
                    <a:pt x="34" y="470"/>
                  </a:lnTo>
                  <a:lnTo>
                    <a:pt x="34" y="470"/>
                  </a:lnTo>
                  <a:lnTo>
                    <a:pt x="34" y="470"/>
                  </a:lnTo>
                  <a:lnTo>
                    <a:pt x="36" y="468"/>
                  </a:lnTo>
                  <a:lnTo>
                    <a:pt x="36" y="466"/>
                  </a:lnTo>
                  <a:lnTo>
                    <a:pt x="38" y="464"/>
                  </a:lnTo>
                  <a:lnTo>
                    <a:pt x="38" y="464"/>
                  </a:lnTo>
                  <a:lnTo>
                    <a:pt x="40" y="464"/>
                  </a:lnTo>
                  <a:lnTo>
                    <a:pt x="40" y="466"/>
                  </a:lnTo>
                  <a:lnTo>
                    <a:pt x="42" y="466"/>
                  </a:lnTo>
                  <a:lnTo>
                    <a:pt x="44" y="466"/>
                  </a:lnTo>
                  <a:lnTo>
                    <a:pt x="45" y="466"/>
                  </a:lnTo>
                  <a:lnTo>
                    <a:pt x="47" y="466"/>
                  </a:lnTo>
                  <a:lnTo>
                    <a:pt x="49" y="466"/>
                  </a:lnTo>
                  <a:lnTo>
                    <a:pt x="49" y="466"/>
                  </a:lnTo>
                  <a:lnTo>
                    <a:pt x="49" y="466"/>
                  </a:lnTo>
                  <a:lnTo>
                    <a:pt x="49" y="466"/>
                  </a:lnTo>
                  <a:lnTo>
                    <a:pt x="49" y="466"/>
                  </a:lnTo>
                  <a:lnTo>
                    <a:pt x="49" y="468"/>
                  </a:lnTo>
                  <a:lnTo>
                    <a:pt x="51" y="468"/>
                  </a:lnTo>
                  <a:lnTo>
                    <a:pt x="51" y="470"/>
                  </a:lnTo>
                  <a:lnTo>
                    <a:pt x="55" y="470"/>
                  </a:lnTo>
                  <a:lnTo>
                    <a:pt x="55" y="470"/>
                  </a:lnTo>
                  <a:lnTo>
                    <a:pt x="57" y="470"/>
                  </a:lnTo>
                  <a:lnTo>
                    <a:pt x="57" y="472"/>
                  </a:lnTo>
                  <a:lnTo>
                    <a:pt x="59" y="474"/>
                  </a:lnTo>
                  <a:lnTo>
                    <a:pt x="61" y="474"/>
                  </a:lnTo>
                  <a:lnTo>
                    <a:pt x="61" y="474"/>
                  </a:lnTo>
                  <a:lnTo>
                    <a:pt x="61" y="474"/>
                  </a:lnTo>
                  <a:lnTo>
                    <a:pt x="63" y="474"/>
                  </a:lnTo>
                  <a:lnTo>
                    <a:pt x="61" y="472"/>
                  </a:lnTo>
                  <a:lnTo>
                    <a:pt x="59" y="470"/>
                  </a:lnTo>
                  <a:lnTo>
                    <a:pt x="59" y="470"/>
                  </a:lnTo>
                  <a:lnTo>
                    <a:pt x="59" y="468"/>
                  </a:lnTo>
                  <a:lnTo>
                    <a:pt x="59" y="468"/>
                  </a:lnTo>
                  <a:lnTo>
                    <a:pt x="59" y="466"/>
                  </a:lnTo>
                  <a:lnTo>
                    <a:pt x="59" y="466"/>
                  </a:lnTo>
                  <a:lnTo>
                    <a:pt x="61" y="466"/>
                  </a:lnTo>
                  <a:lnTo>
                    <a:pt x="61" y="466"/>
                  </a:lnTo>
                  <a:lnTo>
                    <a:pt x="63" y="466"/>
                  </a:lnTo>
                  <a:lnTo>
                    <a:pt x="63" y="466"/>
                  </a:lnTo>
                  <a:lnTo>
                    <a:pt x="63" y="466"/>
                  </a:lnTo>
                  <a:lnTo>
                    <a:pt x="65" y="466"/>
                  </a:lnTo>
                  <a:lnTo>
                    <a:pt x="65" y="468"/>
                  </a:lnTo>
                  <a:lnTo>
                    <a:pt x="65" y="468"/>
                  </a:lnTo>
                  <a:lnTo>
                    <a:pt x="65" y="468"/>
                  </a:lnTo>
                  <a:lnTo>
                    <a:pt x="65" y="468"/>
                  </a:lnTo>
                  <a:lnTo>
                    <a:pt x="65" y="468"/>
                  </a:lnTo>
                  <a:lnTo>
                    <a:pt x="68" y="470"/>
                  </a:lnTo>
                  <a:lnTo>
                    <a:pt x="68" y="470"/>
                  </a:lnTo>
                  <a:lnTo>
                    <a:pt x="68" y="470"/>
                  </a:lnTo>
                  <a:lnTo>
                    <a:pt x="68" y="470"/>
                  </a:lnTo>
                  <a:lnTo>
                    <a:pt x="68" y="472"/>
                  </a:lnTo>
                  <a:lnTo>
                    <a:pt x="68" y="474"/>
                  </a:lnTo>
                  <a:lnTo>
                    <a:pt x="68" y="474"/>
                  </a:lnTo>
                  <a:lnTo>
                    <a:pt x="68" y="475"/>
                  </a:lnTo>
                  <a:lnTo>
                    <a:pt x="68" y="477"/>
                  </a:lnTo>
                  <a:lnTo>
                    <a:pt x="68" y="477"/>
                  </a:lnTo>
                  <a:lnTo>
                    <a:pt x="68" y="479"/>
                  </a:lnTo>
                  <a:lnTo>
                    <a:pt x="68" y="479"/>
                  </a:lnTo>
                  <a:lnTo>
                    <a:pt x="68" y="479"/>
                  </a:lnTo>
                  <a:lnTo>
                    <a:pt x="68" y="479"/>
                  </a:lnTo>
                  <a:lnTo>
                    <a:pt x="66" y="481"/>
                  </a:lnTo>
                  <a:lnTo>
                    <a:pt x="63" y="481"/>
                  </a:lnTo>
                  <a:lnTo>
                    <a:pt x="61" y="481"/>
                  </a:lnTo>
                  <a:lnTo>
                    <a:pt x="61" y="481"/>
                  </a:lnTo>
                  <a:lnTo>
                    <a:pt x="61" y="481"/>
                  </a:lnTo>
                  <a:lnTo>
                    <a:pt x="59" y="483"/>
                  </a:lnTo>
                  <a:lnTo>
                    <a:pt x="57" y="485"/>
                  </a:lnTo>
                  <a:lnTo>
                    <a:pt x="57" y="485"/>
                  </a:lnTo>
                  <a:lnTo>
                    <a:pt x="57" y="485"/>
                  </a:lnTo>
                  <a:lnTo>
                    <a:pt x="57" y="485"/>
                  </a:lnTo>
                  <a:lnTo>
                    <a:pt x="57" y="485"/>
                  </a:lnTo>
                  <a:lnTo>
                    <a:pt x="59" y="487"/>
                  </a:lnTo>
                  <a:lnTo>
                    <a:pt x="59" y="487"/>
                  </a:lnTo>
                  <a:lnTo>
                    <a:pt x="59" y="487"/>
                  </a:lnTo>
                  <a:lnTo>
                    <a:pt x="59" y="487"/>
                  </a:lnTo>
                  <a:lnTo>
                    <a:pt x="59" y="489"/>
                  </a:lnTo>
                  <a:lnTo>
                    <a:pt x="57" y="491"/>
                  </a:lnTo>
                  <a:lnTo>
                    <a:pt x="57" y="491"/>
                  </a:lnTo>
                  <a:lnTo>
                    <a:pt x="57" y="493"/>
                  </a:lnTo>
                  <a:lnTo>
                    <a:pt x="57" y="493"/>
                  </a:lnTo>
                  <a:lnTo>
                    <a:pt x="57" y="493"/>
                  </a:lnTo>
                  <a:lnTo>
                    <a:pt x="59" y="494"/>
                  </a:lnTo>
                  <a:lnTo>
                    <a:pt x="59" y="494"/>
                  </a:lnTo>
                  <a:lnTo>
                    <a:pt x="59" y="496"/>
                  </a:lnTo>
                  <a:lnTo>
                    <a:pt x="59" y="496"/>
                  </a:lnTo>
                  <a:lnTo>
                    <a:pt x="59" y="498"/>
                  </a:lnTo>
                  <a:lnTo>
                    <a:pt x="59" y="498"/>
                  </a:lnTo>
                  <a:lnTo>
                    <a:pt x="61" y="498"/>
                  </a:lnTo>
                  <a:lnTo>
                    <a:pt x="61" y="500"/>
                  </a:lnTo>
                  <a:lnTo>
                    <a:pt x="61" y="500"/>
                  </a:lnTo>
                  <a:lnTo>
                    <a:pt x="63" y="500"/>
                  </a:lnTo>
                  <a:lnTo>
                    <a:pt x="61" y="502"/>
                  </a:lnTo>
                  <a:lnTo>
                    <a:pt x="61" y="502"/>
                  </a:lnTo>
                  <a:lnTo>
                    <a:pt x="61" y="504"/>
                  </a:lnTo>
                  <a:lnTo>
                    <a:pt x="63" y="506"/>
                  </a:lnTo>
                  <a:lnTo>
                    <a:pt x="63" y="506"/>
                  </a:lnTo>
                  <a:lnTo>
                    <a:pt x="63" y="506"/>
                  </a:lnTo>
                  <a:lnTo>
                    <a:pt x="63" y="508"/>
                  </a:lnTo>
                  <a:lnTo>
                    <a:pt x="61" y="508"/>
                  </a:lnTo>
                  <a:lnTo>
                    <a:pt x="61" y="508"/>
                  </a:lnTo>
                  <a:lnTo>
                    <a:pt x="59" y="506"/>
                  </a:lnTo>
                  <a:lnTo>
                    <a:pt x="57" y="506"/>
                  </a:lnTo>
                  <a:lnTo>
                    <a:pt x="57" y="506"/>
                  </a:lnTo>
                  <a:lnTo>
                    <a:pt x="57" y="506"/>
                  </a:lnTo>
                  <a:lnTo>
                    <a:pt x="57" y="504"/>
                  </a:lnTo>
                  <a:lnTo>
                    <a:pt x="57" y="504"/>
                  </a:lnTo>
                  <a:lnTo>
                    <a:pt x="57" y="502"/>
                  </a:lnTo>
                  <a:lnTo>
                    <a:pt x="57" y="502"/>
                  </a:lnTo>
                  <a:lnTo>
                    <a:pt x="55" y="500"/>
                  </a:lnTo>
                  <a:lnTo>
                    <a:pt x="53" y="496"/>
                  </a:lnTo>
                  <a:lnTo>
                    <a:pt x="53" y="496"/>
                  </a:lnTo>
                  <a:lnTo>
                    <a:pt x="53" y="496"/>
                  </a:lnTo>
                  <a:lnTo>
                    <a:pt x="53" y="496"/>
                  </a:lnTo>
                  <a:lnTo>
                    <a:pt x="51" y="496"/>
                  </a:lnTo>
                  <a:lnTo>
                    <a:pt x="51" y="494"/>
                  </a:lnTo>
                  <a:lnTo>
                    <a:pt x="49" y="494"/>
                  </a:lnTo>
                  <a:lnTo>
                    <a:pt x="49" y="494"/>
                  </a:lnTo>
                  <a:lnTo>
                    <a:pt x="49" y="494"/>
                  </a:lnTo>
                  <a:lnTo>
                    <a:pt x="42" y="496"/>
                  </a:lnTo>
                  <a:lnTo>
                    <a:pt x="42" y="496"/>
                  </a:lnTo>
                  <a:lnTo>
                    <a:pt x="40" y="496"/>
                  </a:lnTo>
                  <a:lnTo>
                    <a:pt x="38" y="496"/>
                  </a:lnTo>
                  <a:lnTo>
                    <a:pt x="36" y="496"/>
                  </a:lnTo>
                  <a:lnTo>
                    <a:pt x="36" y="496"/>
                  </a:lnTo>
                  <a:lnTo>
                    <a:pt x="34" y="496"/>
                  </a:lnTo>
                  <a:lnTo>
                    <a:pt x="34" y="494"/>
                  </a:lnTo>
                  <a:lnTo>
                    <a:pt x="34" y="494"/>
                  </a:lnTo>
                  <a:lnTo>
                    <a:pt x="32" y="493"/>
                  </a:lnTo>
                  <a:lnTo>
                    <a:pt x="32" y="493"/>
                  </a:lnTo>
                  <a:lnTo>
                    <a:pt x="28" y="493"/>
                  </a:lnTo>
                  <a:lnTo>
                    <a:pt x="28" y="493"/>
                  </a:lnTo>
                  <a:lnTo>
                    <a:pt x="26" y="491"/>
                  </a:lnTo>
                  <a:lnTo>
                    <a:pt x="26" y="491"/>
                  </a:lnTo>
                  <a:lnTo>
                    <a:pt x="26" y="491"/>
                  </a:lnTo>
                  <a:lnTo>
                    <a:pt x="24" y="491"/>
                  </a:lnTo>
                  <a:lnTo>
                    <a:pt x="24" y="489"/>
                  </a:lnTo>
                  <a:lnTo>
                    <a:pt x="24" y="487"/>
                  </a:lnTo>
                  <a:lnTo>
                    <a:pt x="23" y="483"/>
                  </a:lnTo>
                  <a:lnTo>
                    <a:pt x="23" y="481"/>
                  </a:lnTo>
                  <a:lnTo>
                    <a:pt x="23" y="481"/>
                  </a:lnTo>
                  <a:lnTo>
                    <a:pt x="23" y="481"/>
                  </a:lnTo>
                  <a:lnTo>
                    <a:pt x="23" y="481"/>
                  </a:lnTo>
                  <a:lnTo>
                    <a:pt x="23" y="481"/>
                  </a:lnTo>
                  <a:lnTo>
                    <a:pt x="21" y="481"/>
                  </a:lnTo>
                  <a:lnTo>
                    <a:pt x="21" y="481"/>
                  </a:lnTo>
                  <a:lnTo>
                    <a:pt x="19" y="479"/>
                  </a:lnTo>
                  <a:lnTo>
                    <a:pt x="19" y="479"/>
                  </a:lnTo>
                  <a:lnTo>
                    <a:pt x="19" y="479"/>
                  </a:lnTo>
                  <a:lnTo>
                    <a:pt x="19" y="479"/>
                  </a:lnTo>
                  <a:lnTo>
                    <a:pt x="17" y="479"/>
                  </a:lnTo>
                  <a:lnTo>
                    <a:pt x="17" y="479"/>
                  </a:lnTo>
                  <a:lnTo>
                    <a:pt x="17" y="481"/>
                  </a:lnTo>
                  <a:lnTo>
                    <a:pt x="17" y="481"/>
                  </a:lnTo>
                  <a:lnTo>
                    <a:pt x="15" y="481"/>
                  </a:lnTo>
                  <a:lnTo>
                    <a:pt x="15" y="481"/>
                  </a:lnTo>
                  <a:lnTo>
                    <a:pt x="13" y="483"/>
                  </a:lnTo>
                  <a:lnTo>
                    <a:pt x="13" y="483"/>
                  </a:lnTo>
                  <a:lnTo>
                    <a:pt x="15" y="483"/>
                  </a:lnTo>
                  <a:lnTo>
                    <a:pt x="19" y="489"/>
                  </a:lnTo>
                  <a:lnTo>
                    <a:pt x="21" y="491"/>
                  </a:lnTo>
                  <a:lnTo>
                    <a:pt x="21" y="491"/>
                  </a:lnTo>
                  <a:lnTo>
                    <a:pt x="21" y="491"/>
                  </a:lnTo>
                  <a:lnTo>
                    <a:pt x="21" y="493"/>
                  </a:lnTo>
                  <a:lnTo>
                    <a:pt x="21" y="493"/>
                  </a:lnTo>
                  <a:lnTo>
                    <a:pt x="19" y="494"/>
                  </a:lnTo>
                  <a:lnTo>
                    <a:pt x="21" y="496"/>
                  </a:lnTo>
                  <a:lnTo>
                    <a:pt x="21" y="496"/>
                  </a:lnTo>
                  <a:lnTo>
                    <a:pt x="21" y="496"/>
                  </a:lnTo>
                  <a:lnTo>
                    <a:pt x="21" y="498"/>
                  </a:lnTo>
                  <a:lnTo>
                    <a:pt x="23" y="498"/>
                  </a:lnTo>
                  <a:lnTo>
                    <a:pt x="24" y="500"/>
                  </a:lnTo>
                  <a:lnTo>
                    <a:pt x="24" y="502"/>
                  </a:lnTo>
                  <a:lnTo>
                    <a:pt x="26" y="504"/>
                  </a:lnTo>
                  <a:lnTo>
                    <a:pt x="26" y="504"/>
                  </a:lnTo>
                  <a:lnTo>
                    <a:pt x="26" y="506"/>
                  </a:lnTo>
                  <a:lnTo>
                    <a:pt x="26" y="506"/>
                  </a:lnTo>
                  <a:lnTo>
                    <a:pt x="26" y="506"/>
                  </a:lnTo>
                  <a:lnTo>
                    <a:pt x="26" y="508"/>
                  </a:lnTo>
                  <a:lnTo>
                    <a:pt x="26" y="508"/>
                  </a:lnTo>
                  <a:lnTo>
                    <a:pt x="26" y="508"/>
                  </a:lnTo>
                  <a:lnTo>
                    <a:pt x="24" y="508"/>
                  </a:lnTo>
                  <a:lnTo>
                    <a:pt x="24" y="510"/>
                  </a:lnTo>
                  <a:lnTo>
                    <a:pt x="24" y="510"/>
                  </a:lnTo>
                  <a:lnTo>
                    <a:pt x="24" y="510"/>
                  </a:lnTo>
                  <a:lnTo>
                    <a:pt x="24" y="512"/>
                  </a:lnTo>
                  <a:lnTo>
                    <a:pt x="23" y="512"/>
                  </a:lnTo>
                  <a:lnTo>
                    <a:pt x="23" y="513"/>
                  </a:lnTo>
                  <a:lnTo>
                    <a:pt x="23" y="513"/>
                  </a:lnTo>
                  <a:lnTo>
                    <a:pt x="23" y="515"/>
                  </a:lnTo>
                  <a:lnTo>
                    <a:pt x="23" y="517"/>
                  </a:lnTo>
                  <a:lnTo>
                    <a:pt x="23" y="519"/>
                  </a:lnTo>
                  <a:lnTo>
                    <a:pt x="23" y="521"/>
                  </a:lnTo>
                  <a:lnTo>
                    <a:pt x="23" y="521"/>
                  </a:lnTo>
                  <a:lnTo>
                    <a:pt x="24" y="521"/>
                  </a:lnTo>
                  <a:lnTo>
                    <a:pt x="24" y="519"/>
                  </a:lnTo>
                  <a:lnTo>
                    <a:pt x="24" y="519"/>
                  </a:lnTo>
                  <a:lnTo>
                    <a:pt x="24" y="517"/>
                  </a:lnTo>
                  <a:lnTo>
                    <a:pt x="24" y="517"/>
                  </a:lnTo>
                  <a:lnTo>
                    <a:pt x="24" y="517"/>
                  </a:lnTo>
                  <a:lnTo>
                    <a:pt x="26" y="517"/>
                  </a:lnTo>
                  <a:lnTo>
                    <a:pt x="26" y="517"/>
                  </a:lnTo>
                  <a:lnTo>
                    <a:pt x="26" y="519"/>
                  </a:lnTo>
                  <a:lnTo>
                    <a:pt x="26" y="519"/>
                  </a:lnTo>
                  <a:lnTo>
                    <a:pt x="28" y="521"/>
                  </a:lnTo>
                  <a:lnTo>
                    <a:pt x="28" y="521"/>
                  </a:lnTo>
                  <a:lnTo>
                    <a:pt x="30" y="521"/>
                  </a:lnTo>
                  <a:lnTo>
                    <a:pt x="30" y="521"/>
                  </a:lnTo>
                  <a:lnTo>
                    <a:pt x="30" y="521"/>
                  </a:lnTo>
                  <a:lnTo>
                    <a:pt x="30" y="519"/>
                  </a:lnTo>
                  <a:lnTo>
                    <a:pt x="32" y="519"/>
                  </a:lnTo>
                  <a:lnTo>
                    <a:pt x="32" y="519"/>
                  </a:lnTo>
                  <a:lnTo>
                    <a:pt x="32" y="519"/>
                  </a:lnTo>
                  <a:lnTo>
                    <a:pt x="34" y="519"/>
                  </a:lnTo>
                  <a:lnTo>
                    <a:pt x="36" y="519"/>
                  </a:lnTo>
                  <a:lnTo>
                    <a:pt x="36" y="519"/>
                  </a:lnTo>
                  <a:lnTo>
                    <a:pt x="38" y="519"/>
                  </a:lnTo>
                  <a:lnTo>
                    <a:pt x="38" y="519"/>
                  </a:lnTo>
                  <a:lnTo>
                    <a:pt x="38" y="517"/>
                  </a:lnTo>
                  <a:lnTo>
                    <a:pt x="38" y="517"/>
                  </a:lnTo>
                  <a:lnTo>
                    <a:pt x="38" y="515"/>
                  </a:lnTo>
                  <a:lnTo>
                    <a:pt x="38" y="515"/>
                  </a:lnTo>
                  <a:lnTo>
                    <a:pt x="38" y="513"/>
                  </a:lnTo>
                  <a:lnTo>
                    <a:pt x="38" y="513"/>
                  </a:lnTo>
                  <a:lnTo>
                    <a:pt x="38" y="512"/>
                  </a:lnTo>
                  <a:lnTo>
                    <a:pt x="36" y="512"/>
                  </a:lnTo>
                  <a:lnTo>
                    <a:pt x="36" y="512"/>
                  </a:lnTo>
                  <a:lnTo>
                    <a:pt x="36" y="512"/>
                  </a:lnTo>
                  <a:lnTo>
                    <a:pt x="36" y="512"/>
                  </a:lnTo>
                  <a:lnTo>
                    <a:pt x="36" y="510"/>
                  </a:lnTo>
                  <a:lnTo>
                    <a:pt x="36" y="510"/>
                  </a:lnTo>
                  <a:lnTo>
                    <a:pt x="38" y="510"/>
                  </a:lnTo>
                  <a:lnTo>
                    <a:pt x="38" y="510"/>
                  </a:lnTo>
                  <a:lnTo>
                    <a:pt x="38" y="510"/>
                  </a:lnTo>
                  <a:lnTo>
                    <a:pt x="38" y="508"/>
                  </a:lnTo>
                  <a:lnTo>
                    <a:pt x="38" y="508"/>
                  </a:lnTo>
                  <a:lnTo>
                    <a:pt x="38" y="508"/>
                  </a:lnTo>
                  <a:lnTo>
                    <a:pt x="38" y="508"/>
                  </a:lnTo>
                  <a:lnTo>
                    <a:pt x="38" y="508"/>
                  </a:lnTo>
                  <a:lnTo>
                    <a:pt x="38" y="506"/>
                  </a:lnTo>
                  <a:lnTo>
                    <a:pt x="38" y="506"/>
                  </a:lnTo>
                  <a:lnTo>
                    <a:pt x="38" y="506"/>
                  </a:lnTo>
                  <a:lnTo>
                    <a:pt x="40" y="506"/>
                  </a:lnTo>
                  <a:lnTo>
                    <a:pt x="40" y="506"/>
                  </a:lnTo>
                  <a:lnTo>
                    <a:pt x="40" y="506"/>
                  </a:lnTo>
                  <a:lnTo>
                    <a:pt x="40" y="506"/>
                  </a:lnTo>
                  <a:lnTo>
                    <a:pt x="40" y="508"/>
                  </a:lnTo>
                  <a:lnTo>
                    <a:pt x="40" y="508"/>
                  </a:lnTo>
                  <a:lnTo>
                    <a:pt x="40" y="510"/>
                  </a:lnTo>
                  <a:lnTo>
                    <a:pt x="42" y="510"/>
                  </a:lnTo>
                  <a:lnTo>
                    <a:pt x="44" y="508"/>
                  </a:lnTo>
                  <a:lnTo>
                    <a:pt x="44" y="508"/>
                  </a:lnTo>
                  <a:lnTo>
                    <a:pt x="44" y="508"/>
                  </a:lnTo>
                  <a:lnTo>
                    <a:pt x="45" y="508"/>
                  </a:lnTo>
                  <a:lnTo>
                    <a:pt x="45" y="510"/>
                  </a:lnTo>
                  <a:lnTo>
                    <a:pt x="47" y="510"/>
                  </a:lnTo>
                  <a:lnTo>
                    <a:pt x="49" y="510"/>
                  </a:lnTo>
                  <a:lnTo>
                    <a:pt x="49" y="510"/>
                  </a:lnTo>
                  <a:lnTo>
                    <a:pt x="51" y="510"/>
                  </a:lnTo>
                  <a:lnTo>
                    <a:pt x="51" y="512"/>
                  </a:lnTo>
                  <a:lnTo>
                    <a:pt x="53" y="512"/>
                  </a:lnTo>
                  <a:lnTo>
                    <a:pt x="53" y="512"/>
                  </a:lnTo>
                  <a:lnTo>
                    <a:pt x="55" y="512"/>
                  </a:lnTo>
                  <a:lnTo>
                    <a:pt x="55" y="512"/>
                  </a:lnTo>
                  <a:lnTo>
                    <a:pt x="57" y="512"/>
                  </a:lnTo>
                  <a:lnTo>
                    <a:pt x="59" y="512"/>
                  </a:lnTo>
                  <a:lnTo>
                    <a:pt x="61" y="512"/>
                  </a:lnTo>
                  <a:lnTo>
                    <a:pt x="63" y="512"/>
                  </a:lnTo>
                  <a:lnTo>
                    <a:pt x="63" y="512"/>
                  </a:lnTo>
                  <a:lnTo>
                    <a:pt x="63" y="513"/>
                  </a:lnTo>
                  <a:lnTo>
                    <a:pt x="63" y="513"/>
                  </a:lnTo>
                  <a:lnTo>
                    <a:pt x="63" y="515"/>
                  </a:lnTo>
                  <a:lnTo>
                    <a:pt x="65" y="515"/>
                  </a:lnTo>
                  <a:lnTo>
                    <a:pt x="65" y="515"/>
                  </a:lnTo>
                  <a:lnTo>
                    <a:pt x="65" y="517"/>
                  </a:lnTo>
                  <a:lnTo>
                    <a:pt x="66" y="517"/>
                  </a:lnTo>
                  <a:lnTo>
                    <a:pt x="66" y="521"/>
                  </a:lnTo>
                  <a:lnTo>
                    <a:pt x="66" y="521"/>
                  </a:lnTo>
                  <a:lnTo>
                    <a:pt x="66" y="523"/>
                  </a:lnTo>
                  <a:lnTo>
                    <a:pt x="66" y="525"/>
                  </a:lnTo>
                  <a:lnTo>
                    <a:pt x="66" y="525"/>
                  </a:lnTo>
                  <a:lnTo>
                    <a:pt x="68" y="525"/>
                  </a:lnTo>
                  <a:lnTo>
                    <a:pt x="68" y="525"/>
                  </a:lnTo>
                  <a:lnTo>
                    <a:pt x="68" y="525"/>
                  </a:lnTo>
                  <a:lnTo>
                    <a:pt x="70" y="525"/>
                  </a:lnTo>
                  <a:lnTo>
                    <a:pt x="72" y="525"/>
                  </a:lnTo>
                  <a:lnTo>
                    <a:pt x="72" y="525"/>
                  </a:lnTo>
                  <a:lnTo>
                    <a:pt x="74" y="523"/>
                  </a:lnTo>
                  <a:lnTo>
                    <a:pt x="76" y="521"/>
                  </a:lnTo>
                  <a:lnTo>
                    <a:pt x="78" y="521"/>
                  </a:lnTo>
                  <a:lnTo>
                    <a:pt x="80" y="521"/>
                  </a:lnTo>
                  <a:lnTo>
                    <a:pt x="80" y="521"/>
                  </a:lnTo>
                  <a:lnTo>
                    <a:pt x="82" y="521"/>
                  </a:lnTo>
                  <a:lnTo>
                    <a:pt x="80" y="521"/>
                  </a:lnTo>
                  <a:lnTo>
                    <a:pt x="80" y="519"/>
                  </a:lnTo>
                  <a:lnTo>
                    <a:pt x="80" y="519"/>
                  </a:lnTo>
                  <a:lnTo>
                    <a:pt x="82" y="519"/>
                  </a:lnTo>
                  <a:lnTo>
                    <a:pt x="82" y="517"/>
                  </a:lnTo>
                  <a:lnTo>
                    <a:pt x="82" y="517"/>
                  </a:lnTo>
                  <a:lnTo>
                    <a:pt x="84" y="517"/>
                  </a:lnTo>
                  <a:lnTo>
                    <a:pt x="85" y="517"/>
                  </a:lnTo>
                  <a:lnTo>
                    <a:pt x="85" y="517"/>
                  </a:lnTo>
                  <a:lnTo>
                    <a:pt x="85" y="519"/>
                  </a:lnTo>
                  <a:lnTo>
                    <a:pt x="87" y="519"/>
                  </a:lnTo>
                  <a:lnTo>
                    <a:pt x="87" y="519"/>
                  </a:lnTo>
                  <a:lnTo>
                    <a:pt x="87" y="519"/>
                  </a:lnTo>
                  <a:lnTo>
                    <a:pt x="87" y="519"/>
                  </a:lnTo>
                  <a:lnTo>
                    <a:pt x="89" y="517"/>
                  </a:lnTo>
                  <a:lnTo>
                    <a:pt x="89" y="517"/>
                  </a:lnTo>
                  <a:lnTo>
                    <a:pt x="89" y="515"/>
                  </a:lnTo>
                  <a:lnTo>
                    <a:pt x="89" y="515"/>
                  </a:lnTo>
                  <a:lnTo>
                    <a:pt x="91" y="515"/>
                  </a:lnTo>
                  <a:lnTo>
                    <a:pt x="93" y="513"/>
                  </a:lnTo>
                  <a:lnTo>
                    <a:pt x="93" y="513"/>
                  </a:lnTo>
                  <a:lnTo>
                    <a:pt x="93" y="513"/>
                  </a:lnTo>
                  <a:lnTo>
                    <a:pt x="95" y="512"/>
                  </a:lnTo>
                  <a:lnTo>
                    <a:pt x="95" y="512"/>
                  </a:lnTo>
                  <a:lnTo>
                    <a:pt x="97" y="510"/>
                  </a:lnTo>
                  <a:lnTo>
                    <a:pt x="99" y="510"/>
                  </a:lnTo>
                  <a:lnTo>
                    <a:pt x="99" y="510"/>
                  </a:lnTo>
                  <a:lnTo>
                    <a:pt x="99" y="508"/>
                  </a:lnTo>
                  <a:lnTo>
                    <a:pt x="99" y="508"/>
                  </a:lnTo>
                  <a:lnTo>
                    <a:pt x="99" y="508"/>
                  </a:lnTo>
                  <a:lnTo>
                    <a:pt x="99" y="506"/>
                  </a:lnTo>
                  <a:lnTo>
                    <a:pt x="97" y="506"/>
                  </a:lnTo>
                  <a:lnTo>
                    <a:pt x="97" y="506"/>
                  </a:lnTo>
                  <a:lnTo>
                    <a:pt x="97" y="504"/>
                  </a:lnTo>
                  <a:lnTo>
                    <a:pt x="97" y="504"/>
                  </a:lnTo>
                  <a:lnTo>
                    <a:pt x="97" y="504"/>
                  </a:lnTo>
                  <a:lnTo>
                    <a:pt x="99" y="502"/>
                  </a:lnTo>
                  <a:lnTo>
                    <a:pt x="99" y="502"/>
                  </a:lnTo>
                  <a:lnTo>
                    <a:pt x="99" y="502"/>
                  </a:lnTo>
                  <a:lnTo>
                    <a:pt x="101" y="504"/>
                  </a:lnTo>
                  <a:lnTo>
                    <a:pt x="103" y="504"/>
                  </a:lnTo>
                  <a:lnTo>
                    <a:pt x="105" y="504"/>
                  </a:lnTo>
                  <a:lnTo>
                    <a:pt x="105" y="504"/>
                  </a:lnTo>
                  <a:lnTo>
                    <a:pt x="105" y="504"/>
                  </a:lnTo>
                  <a:lnTo>
                    <a:pt x="106" y="504"/>
                  </a:lnTo>
                  <a:lnTo>
                    <a:pt x="106" y="504"/>
                  </a:lnTo>
                  <a:lnTo>
                    <a:pt x="108" y="504"/>
                  </a:lnTo>
                  <a:lnTo>
                    <a:pt x="108" y="504"/>
                  </a:lnTo>
                  <a:lnTo>
                    <a:pt x="108" y="504"/>
                  </a:lnTo>
                  <a:lnTo>
                    <a:pt x="110" y="502"/>
                  </a:lnTo>
                  <a:lnTo>
                    <a:pt x="110" y="502"/>
                  </a:lnTo>
                  <a:lnTo>
                    <a:pt x="110" y="502"/>
                  </a:lnTo>
                  <a:lnTo>
                    <a:pt x="112" y="500"/>
                  </a:lnTo>
                  <a:lnTo>
                    <a:pt x="112" y="500"/>
                  </a:lnTo>
                  <a:lnTo>
                    <a:pt x="112" y="500"/>
                  </a:lnTo>
                  <a:lnTo>
                    <a:pt x="112" y="500"/>
                  </a:lnTo>
                  <a:lnTo>
                    <a:pt x="112" y="502"/>
                  </a:lnTo>
                  <a:lnTo>
                    <a:pt x="112" y="502"/>
                  </a:lnTo>
                  <a:lnTo>
                    <a:pt x="112" y="504"/>
                  </a:lnTo>
                  <a:lnTo>
                    <a:pt x="112" y="504"/>
                  </a:lnTo>
                  <a:lnTo>
                    <a:pt x="112" y="506"/>
                  </a:lnTo>
                  <a:lnTo>
                    <a:pt x="112" y="506"/>
                  </a:lnTo>
                  <a:lnTo>
                    <a:pt x="110" y="508"/>
                  </a:lnTo>
                  <a:lnTo>
                    <a:pt x="110" y="508"/>
                  </a:lnTo>
                  <a:lnTo>
                    <a:pt x="110" y="508"/>
                  </a:lnTo>
                  <a:lnTo>
                    <a:pt x="110" y="510"/>
                  </a:lnTo>
                  <a:lnTo>
                    <a:pt x="110" y="512"/>
                  </a:lnTo>
                  <a:lnTo>
                    <a:pt x="110" y="512"/>
                  </a:lnTo>
                  <a:lnTo>
                    <a:pt x="110" y="513"/>
                  </a:lnTo>
                  <a:lnTo>
                    <a:pt x="110" y="513"/>
                  </a:lnTo>
                  <a:lnTo>
                    <a:pt x="112" y="513"/>
                  </a:lnTo>
                  <a:lnTo>
                    <a:pt x="112" y="512"/>
                  </a:lnTo>
                  <a:lnTo>
                    <a:pt x="114" y="510"/>
                  </a:lnTo>
                  <a:lnTo>
                    <a:pt x="114" y="510"/>
                  </a:lnTo>
                  <a:lnTo>
                    <a:pt x="116" y="510"/>
                  </a:lnTo>
                  <a:lnTo>
                    <a:pt x="116" y="510"/>
                  </a:lnTo>
                  <a:lnTo>
                    <a:pt x="118" y="510"/>
                  </a:lnTo>
                  <a:lnTo>
                    <a:pt x="118" y="510"/>
                  </a:lnTo>
                  <a:lnTo>
                    <a:pt x="118" y="510"/>
                  </a:lnTo>
                  <a:lnTo>
                    <a:pt x="122" y="508"/>
                  </a:lnTo>
                  <a:lnTo>
                    <a:pt x="125" y="510"/>
                  </a:lnTo>
                  <a:lnTo>
                    <a:pt x="127" y="513"/>
                  </a:lnTo>
                  <a:lnTo>
                    <a:pt x="127" y="515"/>
                  </a:lnTo>
                  <a:lnTo>
                    <a:pt x="127" y="515"/>
                  </a:lnTo>
                  <a:lnTo>
                    <a:pt x="127" y="517"/>
                  </a:lnTo>
                  <a:lnTo>
                    <a:pt x="125" y="519"/>
                  </a:lnTo>
                  <a:lnTo>
                    <a:pt x="125" y="521"/>
                  </a:lnTo>
                  <a:lnTo>
                    <a:pt x="125" y="521"/>
                  </a:lnTo>
                  <a:lnTo>
                    <a:pt x="127" y="523"/>
                  </a:lnTo>
                  <a:lnTo>
                    <a:pt x="127" y="523"/>
                  </a:lnTo>
                  <a:lnTo>
                    <a:pt x="127" y="525"/>
                  </a:lnTo>
                  <a:lnTo>
                    <a:pt x="127" y="525"/>
                  </a:lnTo>
                  <a:lnTo>
                    <a:pt x="127" y="525"/>
                  </a:lnTo>
                  <a:lnTo>
                    <a:pt x="127" y="527"/>
                  </a:lnTo>
                  <a:lnTo>
                    <a:pt x="125" y="527"/>
                  </a:lnTo>
                  <a:lnTo>
                    <a:pt x="124" y="525"/>
                  </a:lnTo>
                  <a:lnTo>
                    <a:pt x="124" y="525"/>
                  </a:lnTo>
                  <a:lnTo>
                    <a:pt x="124" y="527"/>
                  </a:lnTo>
                  <a:lnTo>
                    <a:pt x="124" y="527"/>
                  </a:lnTo>
                  <a:lnTo>
                    <a:pt x="124" y="529"/>
                  </a:lnTo>
                  <a:lnTo>
                    <a:pt x="124" y="529"/>
                  </a:lnTo>
                  <a:lnTo>
                    <a:pt x="125" y="531"/>
                  </a:lnTo>
                  <a:lnTo>
                    <a:pt x="125" y="531"/>
                  </a:lnTo>
                  <a:lnTo>
                    <a:pt x="127" y="529"/>
                  </a:lnTo>
                  <a:lnTo>
                    <a:pt x="127" y="529"/>
                  </a:lnTo>
                  <a:lnTo>
                    <a:pt x="129" y="529"/>
                  </a:lnTo>
                  <a:lnTo>
                    <a:pt x="129" y="529"/>
                  </a:lnTo>
                  <a:lnTo>
                    <a:pt x="131" y="531"/>
                  </a:lnTo>
                  <a:lnTo>
                    <a:pt x="133" y="534"/>
                  </a:lnTo>
                  <a:lnTo>
                    <a:pt x="135" y="534"/>
                  </a:lnTo>
                  <a:lnTo>
                    <a:pt x="135" y="534"/>
                  </a:lnTo>
                  <a:lnTo>
                    <a:pt x="135" y="534"/>
                  </a:lnTo>
                  <a:lnTo>
                    <a:pt x="137" y="534"/>
                  </a:lnTo>
                  <a:lnTo>
                    <a:pt x="137" y="534"/>
                  </a:lnTo>
                  <a:lnTo>
                    <a:pt x="139" y="536"/>
                  </a:lnTo>
                  <a:lnTo>
                    <a:pt x="141" y="536"/>
                  </a:lnTo>
                  <a:lnTo>
                    <a:pt x="143" y="536"/>
                  </a:lnTo>
                  <a:lnTo>
                    <a:pt x="143" y="536"/>
                  </a:lnTo>
                  <a:lnTo>
                    <a:pt x="145" y="536"/>
                  </a:lnTo>
                  <a:lnTo>
                    <a:pt x="145" y="534"/>
                  </a:lnTo>
                  <a:lnTo>
                    <a:pt x="146" y="534"/>
                  </a:lnTo>
                  <a:lnTo>
                    <a:pt x="146" y="534"/>
                  </a:lnTo>
                  <a:lnTo>
                    <a:pt x="146" y="534"/>
                  </a:lnTo>
                  <a:lnTo>
                    <a:pt x="148" y="536"/>
                  </a:lnTo>
                  <a:lnTo>
                    <a:pt x="148" y="536"/>
                  </a:lnTo>
                  <a:lnTo>
                    <a:pt x="148" y="536"/>
                  </a:lnTo>
                  <a:lnTo>
                    <a:pt x="150" y="536"/>
                  </a:lnTo>
                  <a:lnTo>
                    <a:pt x="150" y="536"/>
                  </a:lnTo>
                  <a:lnTo>
                    <a:pt x="152" y="536"/>
                  </a:lnTo>
                  <a:lnTo>
                    <a:pt x="152" y="536"/>
                  </a:lnTo>
                  <a:lnTo>
                    <a:pt x="152" y="536"/>
                  </a:lnTo>
                  <a:lnTo>
                    <a:pt x="152" y="536"/>
                  </a:lnTo>
                  <a:lnTo>
                    <a:pt x="152" y="538"/>
                  </a:lnTo>
                  <a:lnTo>
                    <a:pt x="152" y="540"/>
                  </a:lnTo>
                  <a:lnTo>
                    <a:pt x="152" y="540"/>
                  </a:lnTo>
                  <a:lnTo>
                    <a:pt x="152" y="542"/>
                  </a:lnTo>
                  <a:lnTo>
                    <a:pt x="152" y="544"/>
                  </a:lnTo>
                  <a:lnTo>
                    <a:pt x="152" y="544"/>
                  </a:lnTo>
                  <a:lnTo>
                    <a:pt x="152" y="546"/>
                  </a:lnTo>
                  <a:lnTo>
                    <a:pt x="152" y="546"/>
                  </a:lnTo>
                  <a:lnTo>
                    <a:pt x="152" y="548"/>
                  </a:lnTo>
                  <a:lnTo>
                    <a:pt x="152" y="548"/>
                  </a:lnTo>
                  <a:lnTo>
                    <a:pt x="152" y="553"/>
                  </a:lnTo>
                  <a:lnTo>
                    <a:pt x="152" y="553"/>
                  </a:lnTo>
                  <a:lnTo>
                    <a:pt x="152" y="553"/>
                  </a:lnTo>
                  <a:lnTo>
                    <a:pt x="150" y="553"/>
                  </a:lnTo>
                  <a:lnTo>
                    <a:pt x="150" y="555"/>
                  </a:lnTo>
                  <a:lnTo>
                    <a:pt x="150" y="555"/>
                  </a:lnTo>
                  <a:lnTo>
                    <a:pt x="150" y="555"/>
                  </a:lnTo>
                  <a:lnTo>
                    <a:pt x="150" y="557"/>
                  </a:lnTo>
                  <a:lnTo>
                    <a:pt x="152" y="557"/>
                  </a:lnTo>
                  <a:lnTo>
                    <a:pt x="152" y="557"/>
                  </a:lnTo>
                  <a:lnTo>
                    <a:pt x="152" y="559"/>
                  </a:lnTo>
                  <a:lnTo>
                    <a:pt x="152" y="559"/>
                  </a:lnTo>
                  <a:lnTo>
                    <a:pt x="154" y="561"/>
                  </a:lnTo>
                  <a:lnTo>
                    <a:pt x="154" y="561"/>
                  </a:lnTo>
                  <a:lnTo>
                    <a:pt x="154" y="561"/>
                  </a:lnTo>
                  <a:lnTo>
                    <a:pt x="156" y="561"/>
                  </a:lnTo>
                  <a:lnTo>
                    <a:pt x="156" y="561"/>
                  </a:lnTo>
                  <a:lnTo>
                    <a:pt x="158" y="561"/>
                  </a:lnTo>
                  <a:lnTo>
                    <a:pt x="158" y="561"/>
                  </a:lnTo>
                  <a:lnTo>
                    <a:pt x="158" y="561"/>
                  </a:lnTo>
                  <a:lnTo>
                    <a:pt x="160" y="561"/>
                  </a:lnTo>
                  <a:lnTo>
                    <a:pt x="160" y="561"/>
                  </a:lnTo>
                  <a:lnTo>
                    <a:pt x="160" y="561"/>
                  </a:lnTo>
                  <a:lnTo>
                    <a:pt x="160" y="561"/>
                  </a:lnTo>
                  <a:lnTo>
                    <a:pt x="162" y="563"/>
                  </a:lnTo>
                  <a:lnTo>
                    <a:pt x="165" y="565"/>
                  </a:lnTo>
                  <a:lnTo>
                    <a:pt x="165" y="565"/>
                  </a:lnTo>
                  <a:lnTo>
                    <a:pt x="165" y="565"/>
                  </a:lnTo>
                  <a:lnTo>
                    <a:pt x="165" y="565"/>
                  </a:lnTo>
                  <a:lnTo>
                    <a:pt x="167" y="565"/>
                  </a:lnTo>
                  <a:lnTo>
                    <a:pt x="167" y="565"/>
                  </a:lnTo>
                  <a:lnTo>
                    <a:pt x="167" y="565"/>
                  </a:lnTo>
                  <a:lnTo>
                    <a:pt x="169" y="563"/>
                  </a:lnTo>
                  <a:lnTo>
                    <a:pt x="169" y="563"/>
                  </a:lnTo>
                  <a:lnTo>
                    <a:pt x="169" y="565"/>
                  </a:lnTo>
                  <a:lnTo>
                    <a:pt x="171" y="565"/>
                  </a:lnTo>
                  <a:lnTo>
                    <a:pt x="171" y="565"/>
                  </a:lnTo>
                  <a:lnTo>
                    <a:pt x="171" y="567"/>
                  </a:lnTo>
                  <a:lnTo>
                    <a:pt x="171" y="567"/>
                  </a:lnTo>
                  <a:lnTo>
                    <a:pt x="171" y="569"/>
                  </a:lnTo>
                  <a:lnTo>
                    <a:pt x="171" y="571"/>
                  </a:lnTo>
                  <a:lnTo>
                    <a:pt x="171" y="571"/>
                  </a:lnTo>
                  <a:lnTo>
                    <a:pt x="171" y="571"/>
                  </a:lnTo>
                  <a:lnTo>
                    <a:pt x="169" y="572"/>
                  </a:lnTo>
                  <a:lnTo>
                    <a:pt x="169" y="572"/>
                  </a:lnTo>
                  <a:lnTo>
                    <a:pt x="169" y="574"/>
                  </a:lnTo>
                  <a:lnTo>
                    <a:pt x="169" y="574"/>
                  </a:lnTo>
                  <a:lnTo>
                    <a:pt x="169" y="576"/>
                  </a:lnTo>
                  <a:lnTo>
                    <a:pt x="167" y="578"/>
                  </a:lnTo>
                  <a:lnTo>
                    <a:pt x="167" y="578"/>
                  </a:lnTo>
                  <a:lnTo>
                    <a:pt x="165" y="580"/>
                  </a:lnTo>
                  <a:lnTo>
                    <a:pt x="165" y="582"/>
                  </a:lnTo>
                  <a:lnTo>
                    <a:pt x="165" y="584"/>
                  </a:lnTo>
                  <a:lnTo>
                    <a:pt x="165" y="584"/>
                  </a:lnTo>
                  <a:lnTo>
                    <a:pt x="165" y="586"/>
                  </a:lnTo>
                  <a:lnTo>
                    <a:pt x="164" y="586"/>
                  </a:lnTo>
                  <a:lnTo>
                    <a:pt x="162" y="588"/>
                  </a:lnTo>
                  <a:lnTo>
                    <a:pt x="162" y="588"/>
                  </a:lnTo>
                  <a:lnTo>
                    <a:pt x="162" y="588"/>
                  </a:lnTo>
                  <a:lnTo>
                    <a:pt x="162" y="590"/>
                  </a:lnTo>
                  <a:lnTo>
                    <a:pt x="160" y="591"/>
                  </a:lnTo>
                  <a:lnTo>
                    <a:pt x="160" y="591"/>
                  </a:lnTo>
                  <a:lnTo>
                    <a:pt x="160" y="591"/>
                  </a:lnTo>
                  <a:lnTo>
                    <a:pt x="160" y="593"/>
                  </a:lnTo>
                  <a:lnTo>
                    <a:pt x="156" y="597"/>
                  </a:lnTo>
                  <a:lnTo>
                    <a:pt x="156" y="597"/>
                  </a:lnTo>
                  <a:lnTo>
                    <a:pt x="156" y="599"/>
                  </a:lnTo>
                  <a:lnTo>
                    <a:pt x="156" y="599"/>
                  </a:lnTo>
                  <a:lnTo>
                    <a:pt x="158" y="599"/>
                  </a:lnTo>
                  <a:lnTo>
                    <a:pt x="158" y="599"/>
                  </a:lnTo>
                  <a:lnTo>
                    <a:pt x="160" y="601"/>
                  </a:lnTo>
                  <a:lnTo>
                    <a:pt x="162" y="603"/>
                  </a:lnTo>
                  <a:lnTo>
                    <a:pt x="162" y="603"/>
                  </a:lnTo>
                  <a:lnTo>
                    <a:pt x="162" y="605"/>
                  </a:lnTo>
                  <a:lnTo>
                    <a:pt x="162" y="605"/>
                  </a:lnTo>
                  <a:lnTo>
                    <a:pt x="160" y="605"/>
                  </a:lnTo>
                  <a:lnTo>
                    <a:pt x="158" y="605"/>
                  </a:lnTo>
                  <a:lnTo>
                    <a:pt x="152" y="601"/>
                  </a:lnTo>
                  <a:lnTo>
                    <a:pt x="152" y="599"/>
                  </a:lnTo>
                  <a:lnTo>
                    <a:pt x="152" y="599"/>
                  </a:lnTo>
                  <a:lnTo>
                    <a:pt x="152" y="599"/>
                  </a:lnTo>
                  <a:lnTo>
                    <a:pt x="150" y="599"/>
                  </a:lnTo>
                  <a:lnTo>
                    <a:pt x="150" y="599"/>
                  </a:lnTo>
                  <a:lnTo>
                    <a:pt x="150" y="601"/>
                  </a:lnTo>
                  <a:lnTo>
                    <a:pt x="150" y="601"/>
                  </a:lnTo>
                  <a:lnTo>
                    <a:pt x="150" y="603"/>
                  </a:lnTo>
                  <a:lnTo>
                    <a:pt x="150" y="605"/>
                  </a:lnTo>
                  <a:lnTo>
                    <a:pt x="148" y="605"/>
                  </a:lnTo>
                  <a:lnTo>
                    <a:pt x="148" y="605"/>
                  </a:lnTo>
                  <a:lnTo>
                    <a:pt x="148" y="605"/>
                  </a:lnTo>
                  <a:lnTo>
                    <a:pt x="146" y="605"/>
                  </a:lnTo>
                  <a:lnTo>
                    <a:pt x="146" y="605"/>
                  </a:lnTo>
                  <a:lnTo>
                    <a:pt x="146" y="605"/>
                  </a:lnTo>
                  <a:lnTo>
                    <a:pt x="145" y="607"/>
                  </a:lnTo>
                  <a:lnTo>
                    <a:pt x="145" y="607"/>
                  </a:lnTo>
                  <a:lnTo>
                    <a:pt x="145" y="607"/>
                  </a:lnTo>
                  <a:lnTo>
                    <a:pt x="145" y="607"/>
                  </a:lnTo>
                  <a:lnTo>
                    <a:pt x="143" y="607"/>
                  </a:lnTo>
                  <a:lnTo>
                    <a:pt x="143" y="605"/>
                  </a:lnTo>
                  <a:lnTo>
                    <a:pt x="143" y="605"/>
                  </a:lnTo>
                  <a:lnTo>
                    <a:pt x="141" y="605"/>
                  </a:lnTo>
                  <a:lnTo>
                    <a:pt x="141" y="605"/>
                  </a:lnTo>
                  <a:lnTo>
                    <a:pt x="141" y="605"/>
                  </a:lnTo>
                  <a:lnTo>
                    <a:pt x="141" y="607"/>
                  </a:lnTo>
                  <a:lnTo>
                    <a:pt x="141" y="607"/>
                  </a:lnTo>
                  <a:lnTo>
                    <a:pt x="141" y="609"/>
                  </a:lnTo>
                  <a:lnTo>
                    <a:pt x="141" y="610"/>
                  </a:lnTo>
                  <a:lnTo>
                    <a:pt x="141" y="610"/>
                  </a:lnTo>
                  <a:lnTo>
                    <a:pt x="141" y="612"/>
                  </a:lnTo>
                  <a:lnTo>
                    <a:pt x="141" y="614"/>
                  </a:lnTo>
                  <a:lnTo>
                    <a:pt x="139" y="614"/>
                  </a:lnTo>
                  <a:lnTo>
                    <a:pt x="143" y="620"/>
                  </a:lnTo>
                  <a:lnTo>
                    <a:pt x="146" y="622"/>
                  </a:lnTo>
                  <a:lnTo>
                    <a:pt x="150" y="626"/>
                  </a:lnTo>
                  <a:lnTo>
                    <a:pt x="154" y="626"/>
                  </a:lnTo>
                  <a:lnTo>
                    <a:pt x="154" y="626"/>
                  </a:lnTo>
                  <a:lnTo>
                    <a:pt x="154" y="626"/>
                  </a:lnTo>
                  <a:lnTo>
                    <a:pt x="156" y="626"/>
                  </a:lnTo>
                  <a:lnTo>
                    <a:pt x="158" y="626"/>
                  </a:lnTo>
                  <a:lnTo>
                    <a:pt x="158" y="626"/>
                  </a:lnTo>
                  <a:lnTo>
                    <a:pt x="160" y="626"/>
                  </a:lnTo>
                  <a:lnTo>
                    <a:pt x="164" y="622"/>
                  </a:lnTo>
                  <a:lnTo>
                    <a:pt x="164" y="620"/>
                  </a:lnTo>
                  <a:lnTo>
                    <a:pt x="164" y="618"/>
                  </a:lnTo>
                  <a:lnTo>
                    <a:pt x="164" y="618"/>
                  </a:lnTo>
                  <a:lnTo>
                    <a:pt x="164" y="616"/>
                  </a:lnTo>
                  <a:lnTo>
                    <a:pt x="164" y="616"/>
                  </a:lnTo>
                  <a:lnTo>
                    <a:pt x="165" y="616"/>
                  </a:lnTo>
                  <a:lnTo>
                    <a:pt x="165" y="616"/>
                  </a:lnTo>
                  <a:lnTo>
                    <a:pt x="165" y="616"/>
                  </a:lnTo>
                  <a:lnTo>
                    <a:pt x="167" y="616"/>
                  </a:lnTo>
                  <a:lnTo>
                    <a:pt x="167" y="616"/>
                  </a:lnTo>
                  <a:lnTo>
                    <a:pt x="171" y="614"/>
                  </a:lnTo>
                  <a:lnTo>
                    <a:pt x="171" y="614"/>
                  </a:lnTo>
                  <a:lnTo>
                    <a:pt x="171" y="612"/>
                  </a:lnTo>
                  <a:lnTo>
                    <a:pt x="175" y="607"/>
                  </a:lnTo>
                  <a:lnTo>
                    <a:pt x="177" y="599"/>
                  </a:lnTo>
                  <a:lnTo>
                    <a:pt x="177" y="597"/>
                  </a:lnTo>
                  <a:lnTo>
                    <a:pt x="177" y="597"/>
                  </a:lnTo>
                  <a:lnTo>
                    <a:pt x="177" y="595"/>
                  </a:lnTo>
                  <a:lnTo>
                    <a:pt x="177" y="593"/>
                  </a:lnTo>
                  <a:lnTo>
                    <a:pt x="177" y="593"/>
                  </a:lnTo>
                  <a:lnTo>
                    <a:pt x="179" y="591"/>
                  </a:lnTo>
                  <a:lnTo>
                    <a:pt x="179" y="590"/>
                  </a:lnTo>
                  <a:lnTo>
                    <a:pt x="181" y="590"/>
                  </a:lnTo>
                  <a:lnTo>
                    <a:pt x="181" y="590"/>
                  </a:lnTo>
                  <a:lnTo>
                    <a:pt x="183" y="590"/>
                  </a:lnTo>
                  <a:lnTo>
                    <a:pt x="183" y="590"/>
                  </a:lnTo>
                  <a:lnTo>
                    <a:pt x="185" y="588"/>
                  </a:lnTo>
                  <a:lnTo>
                    <a:pt x="185" y="588"/>
                  </a:lnTo>
                  <a:lnTo>
                    <a:pt x="185" y="586"/>
                  </a:lnTo>
                  <a:lnTo>
                    <a:pt x="186" y="586"/>
                  </a:lnTo>
                  <a:lnTo>
                    <a:pt x="190" y="586"/>
                  </a:lnTo>
                  <a:lnTo>
                    <a:pt x="192" y="586"/>
                  </a:lnTo>
                  <a:lnTo>
                    <a:pt x="194" y="584"/>
                  </a:lnTo>
                  <a:lnTo>
                    <a:pt x="198" y="584"/>
                  </a:lnTo>
                  <a:lnTo>
                    <a:pt x="198" y="584"/>
                  </a:lnTo>
                  <a:lnTo>
                    <a:pt x="200" y="586"/>
                  </a:lnTo>
                  <a:lnTo>
                    <a:pt x="200" y="588"/>
                  </a:lnTo>
                  <a:lnTo>
                    <a:pt x="200" y="588"/>
                  </a:lnTo>
                  <a:lnTo>
                    <a:pt x="200" y="588"/>
                  </a:lnTo>
                  <a:lnTo>
                    <a:pt x="202" y="588"/>
                  </a:lnTo>
                  <a:lnTo>
                    <a:pt x="204" y="588"/>
                  </a:lnTo>
                  <a:lnTo>
                    <a:pt x="204" y="586"/>
                  </a:lnTo>
                  <a:lnTo>
                    <a:pt x="204" y="586"/>
                  </a:lnTo>
                  <a:lnTo>
                    <a:pt x="204" y="586"/>
                  </a:lnTo>
                  <a:lnTo>
                    <a:pt x="204" y="584"/>
                  </a:lnTo>
                  <a:lnTo>
                    <a:pt x="206" y="584"/>
                  </a:lnTo>
                  <a:lnTo>
                    <a:pt x="206" y="582"/>
                  </a:lnTo>
                  <a:lnTo>
                    <a:pt x="207" y="584"/>
                  </a:lnTo>
                  <a:lnTo>
                    <a:pt x="209" y="584"/>
                  </a:lnTo>
                  <a:lnTo>
                    <a:pt x="209" y="584"/>
                  </a:lnTo>
                  <a:lnTo>
                    <a:pt x="211" y="584"/>
                  </a:lnTo>
                  <a:lnTo>
                    <a:pt x="211" y="584"/>
                  </a:lnTo>
                  <a:lnTo>
                    <a:pt x="211" y="584"/>
                  </a:lnTo>
                  <a:lnTo>
                    <a:pt x="211" y="586"/>
                  </a:lnTo>
                  <a:lnTo>
                    <a:pt x="211" y="586"/>
                  </a:lnTo>
                  <a:lnTo>
                    <a:pt x="213" y="588"/>
                  </a:lnTo>
                  <a:lnTo>
                    <a:pt x="215" y="588"/>
                  </a:lnTo>
                  <a:lnTo>
                    <a:pt x="215" y="588"/>
                  </a:lnTo>
                  <a:lnTo>
                    <a:pt x="217" y="588"/>
                  </a:lnTo>
                  <a:lnTo>
                    <a:pt x="217" y="588"/>
                  </a:lnTo>
                  <a:lnTo>
                    <a:pt x="219" y="588"/>
                  </a:lnTo>
                  <a:lnTo>
                    <a:pt x="221" y="588"/>
                  </a:lnTo>
                  <a:lnTo>
                    <a:pt x="225" y="588"/>
                  </a:lnTo>
                  <a:lnTo>
                    <a:pt x="225" y="588"/>
                  </a:lnTo>
                  <a:lnTo>
                    <a:pt x="226" y="588"/>
                  </a:lnTo>
                  <a:lnTo>
                    <a:pt x="226" y="586"/>
                  </a:lnTo>
                  <a:lnTo>
                    <a:pt x="230" y="584"/>
                  </a:lnTo>
                  <a:lnTo>
                    <a:pt x="232" y="578"/>
                  </a:lnTo>
                  <a:lnTo>
                    <a:pt x="234" y="578"/>
                  </a:lnTo>
                  <a:lnTo>
                    <a:pt x="234" y="578"/>
                  </a:lnTo>
                  <a:lnTo>
                    <a:pt x="236" y="578"/>
                  </a:lnTo>
                  <a:lnTo>
                    <a:pt x="238" y="578"/>
                  </a:lnTo>
                  <a:lnTo>
                    <a:pt x="238" y="580"/>
                  </a:lnTo>
                  <a:lnTo>
                    <a:pt x="238" y="580"/>
                  </a:lnTo>
                  <a:lnTo>
                    <a:pt x="240" y="580"/>
                  </a:lnTo>
                  <a:lnTo>
                    <a:pt x="242" y="578"/>
                  </a:lnTo>
                  <a:lnTo>
                    <a:pt x="244" y="576"/>
                  </a:lnTo>
                  <a:lnTo>
                    <a:pt x="246" y="574"/>
                  </a:lnTo>
                  <a:lnTo>
                    <a:pt x="246" y="572"/>
                  </a:lnTo>
                  <a:lnTo>
                    <a:pt x="246" y="572"/>
                  </a:lnTo>
                  <a:lnTo>
                    <a:pt x="249" y="571"/>
                  </a:lnTo>
                  <a:lnTo>
                    <a:pt x="249" y="571"/>
                  </a:lnTo>
                  <a:lnTo>
                    <a:pt x="249" y="569"/>
                  </a:lnTo>
                  <a:lnTo>
                    <a:pt x="249" y="569"/>
                  </a:lnTo>
                  <a:lnTo>
                    <a:pt x="249" y="567"/>
                  </a:lnTo>
                  <a:lnTo>
                    <a:pt x="249" y="567"/>
                  </a:lnTo>
                  <a:lnTo>
                    <a:pt x="251" y="565"/>
                  </a:lnTo>
                  <a:lnTo>
                    <a:pt x="251" y="563"/>
                  </a:lnTo>
                  <a:lnTo>
                    <a:pt x="251" y="563"/>
                  </a:lnTo>
                  <a:lnTo>
                    <a:pt x="251" y="561"/>
                  </a:lnTo>
                  <a:lnTo>
                    <a:pt x="251" y="561"/>
                  </a:lnTo>
                  <a:lnTo>
                    <a:pt x="251" y="561"/>
                  </a:lnTo>
                  <a:lnTo>
                    <a:pt x="253" y="559"/>
                  </a:lnTo>
                  <a:lnTo>
                    <a:pt x="255" y="559"/>
                  </a:lnTo>
                  <a:lnTo>
                    <a:pt x="257" y="559"/>
                  </a:lnTo>
                  <a:lnTo>
                    <a:pt x="259" y="559"/>
                  </a:lnTo>
                  <a:lnTo>
                    <a:pt x="259" y="561"/>
                  </a:lnTo>
                  <a:lnTo>
                    <a:pt x="261" y="561"/>
                  </a:lnTo>
                  <a:lnTo>
                    <a:pt x="263" y="563"/>
                  </a:lnTo>
                  <a:lnTo>
                    <a:pt x="263" y="565"/>
                  </a:lnTo>
                  <a:lnTo>
                    <a:pt x="263" y="565"/>
                  </a:lnTo>
                  <a:lnTo>
                    <a:pt x="265" y="565"/>
                  </a:lnTo>
                  <a:lnTo>
                    <a:pt x="266" y="565"/>
                  </a:lnTo>
                  <a:lnTo>
                    <a:pt x="272" y="565"/>
                  </a:lnTo>
                  <a:lnTo>
                    <a:pt x="274" y="565"/>
                  </a:lnTo>
                  <a:lnTo>
                    <a:pt x="274" y="565"/>
                  </a:lnTo>
                  <a:lnTo>
                    <a:pt x="274" y="567"/>
                  </a:lnTo>
                  <a:lnTo>
                    <a:pt x="274" y="567"/>
                  </a:lnTo>
                  <a:lnTo>
                    <a:pt x="274" y="569"/>
                  </a:lnTo>
                  <a:lnTo>
                    <a:pt x="274" y="569"/>
                  </a:lnTo>
                  <a:lnTo>
                    <a:pt x="274" y="569"/>
                  </a:lnTo>
                  <a:lnTo>
                    <a:pt x="278" y="571"/>
                  </a:lnTo>
                  <a:lnTo>
                    <a:pt x="278" y="571"/>
                  </a:lnTo>
                  <a:lnTo>
                    <a:pt x="280" y="571"/>
                  </a:lnTo>
                  <a:lnTo>
                    <a:pt x="282" y="571"/>
                  </a:lnTo>
                  <a:lnTo>
                    <a:pt x="282" y="571"/>
                  </a:lnTo>
                  <a:lnTo>
                    <a:pt x="284" y="571"/>
                  </a:lnTo>
                  <a:lnTo>
                    <a:pt x="284" y="569"/>
                  </a:lnTo>
                  <a:lnTo>
                    <a:pt x="284" y="569"/>
                  </a:lnTo>
                  <a:lnTo>
                    <a:pt x="284" y="569"/>
                  </a:lnTo>
                  <a:lnTo>
                    <a:pt x="282" y="569"/>
                  </a:lnTo>
                  <a:lnTo>
                    <a:pt x="282" y="567"/>
                  </a:lnTo>
                  <a:lnTo>
                    <a:pt x="282" y="567"/>
                  </a:lnTo>
                  <a:lnTo>
                    <a:pt x="280" y="567"/>
                  </a:lnTo>
                  <a:lnTo>
                    <a:pt x="280" y="567"/>
                  </a:lnTo>
                  <a:lnTo>
                    <a:pt x="280" y="565"/>
                  </a:lnTo>
                  <a:lnTo>
                    <a:pt x="280" y="565"/>
                  </a:lnTo>
                  <a:lnTo>
                    <a:pt x="280" y="565"/>
                  </a:lnTo>
                  <a:lnTo>
                    <a:pt x="282" y="563"/>
                  </a:lnTo>
                  <a:lnTo>
                    <a:pt x="282" y="563"/>
                  </a:lnTo>
                  <a:lnTo>
                    <a:pt x="284" y="565"/>
                  </a:lnTo>
                  <a:lnTo>
                    <a:pt x="284" y="565"/>
                  </a:lnTo>
                  <a:lnTo>
                    <a:pt x="286" y="563"/>
                  </a:lnTo>
                  <a:lnTo>
                    <a:pt x="291" y="561"/>
                  </a:lnTo>
                  <a:lnTo>
                    <a:pt x="299" y="557"/>
                  </a:lnTo>
                  <a:lnTo>
                    <a:pt x="299" y="555"/>
                  </a:lnTo>
                  <a:lnTo>
                    <a:pt x="299" y="555"/>
                  </a:lnTo>
                  <a:lnTo>
                    <a:pt x="299" y="553"/>
                  </a:lnTo>
                  <a:lnTo>
                    <a:pt x="299" y="553"/>
                  </a:lnTo>
                  <a:lnTo>
                    <a:pt x="299" y="553"/>
                  </a:lnTo>
                  <a:lnTo>
                    <a:pt x="299" y="552"/>
                  </a:lnTo>
                  <a:lnTo>
                    <a:pt x="301" y="552"/>
                  </a:lnTo>
                  <a:lnTo>
                    <a:pt x="301" y="550"/>
                  </a:lnTo>
                  <a:lnTo>
                    <a:pt x="303" y="548"/>
                  </a:lnTo>
                  <a:lnTo>
                    <a:pt x="305" y="548"/>
                  </a:lnTo>
                  <a:lnTo>
                    <a:pt x="307" y="548"/>
                  </a:lnTo>
                  <a:lnTo>
                    <a:pt x="307" y="546"/>
                  </a:lnTo>
                  <a:lnTo>
                    <a:pt x="308" y="546"/>
                  </a:lnTo>
                  <a:lnTo>
                    <a:pt x="308" y="546"/>
                  </a:lnTo>
                  <a:lnTo>
                    <a:pt x="308" y="544"/>
                  </a:lnTo>
                  <a:lnTo>
                    <a:pt x="307" y="544"/>
                  </a:lnTo>
                  <a:lnTo>
                    <a:pt x="307" y="544"/>
                  </a:lnTo>
                  <a:lnTo>
                    <a:pt x="307" y="544"/>
                  </a:lnTo>
                  <a:lnTo>
                    <a:pt x="307" y="542"/>
                  </a:lnTo>
                  <a:lnTo>
                    <a:pt x="305" y="542"/>
                  </a:lnTo>
                  <a:lnTo>
                    <a:pt x="307" y="542"/>
                  </a:lnTo>
                  <a:lnTo>
                    <a:pt x="307" y="542"/>
                  </a:lnTo>
                  <a:lnTo>
                    <a:pt x="307" y="540"/>
                  </a:lnTo>
                  <a:lnTo>
                    <a:pt x="307" y="542"/>
                  </a:lnTo>
                  <a:lnTo>
                    <a:pt x="308" y="542"/>
                  </a:lnTo>
                  <a:lnTo>
                    <a:pt x="310" y="544"/>
                  </a:lnTo>
                  <a:lnTo>
                    <a:pt x="312" y="544"/>
                  </a:lnTo>
                  <a:lnTo>
                    <a:pt x="312" y="544"/>
                  </a:lnTo>
                  <a:lnTo>
                    <a:pt x="312" y="544"/>
                  </a:lnTo>
                  <a:lnTo>
                    <a:pt x="312" y="546"/>
                  </a:lnTo>
                  <a:lnTo>
                    <a:pt x="312" y="546"/>
                  </a:lnTo>
                  <a:lnTo>
                    <a:pt x="312" y="546"/>
                  </a:lnTo>
                  <a:lnTo>
                    <a:pt x="312" y="546"/>
                  </a:lnTo>
                  <a:lnTo>
                    <a:pt x="312" y="548"/>
                  </a:lnTo>
                  <a:lnTo>
                    <a:pt x="312" y="548"/>
                  </a:lnTo>
                  <a:lnTo>
                    <a:pt x="312" y="548"/>
                  </a:lnTo>
                  <a:lnTo>
                    <a:pt x="314" y="548"/>
                  </a:lnTo>
                  <a:lnTo>
                    <a:pt x="316" y="548"/>
                  </a:lnTo>
                  <a:lnTo>
                    <a:pt x="316" y="548"/>
                  </a:lnTo>
                  <a:lnTo>
                    <a:pt x="322" y="550"/>
                  </a:lnTo>
                  <a:lnTo>
                    <a:pt x="324" y="550"/>
                  </a:lnTo>
                  <a:lnTo>
                    <a:pt x="327" y="548"/>
                  </a:lnTo>
                  <a:lnTo>
                    <a:pt x="327" y="548"/>
                  </a:lnTo>
                  <a:lnTo>
                    <a:pt x="327" y="548"/>
                  </a:lnTo>
                  <a:lnTo>
                    <a:pt x="326" y="548"/>
                  </a:lnTo>
                  <a:lnTo>
                    <a:pt x="326" y="548"/>
                  </a:lnTo>
                  <a:lnTo>
                    <a:pt x="324" y="546"/>
                  </a:lnTo>
                  <a:lnTo>
                    <a:pt x="324" y="546"/>
                  </a:lnTo>
                  <a:lnTo>
                    <a:pt x="324" y="546"/>
                  </a:lnTo>
                  <a:lnTo>
                    <a:pt x="320" y="546"/>
                  </a:lnTo>
                  <a:lnTo>
                    <a:pt x="316" y="546"/>
                  </a:lnTo>
                  <a:lnTo>
                    <a:pt x="314" y="544"/>
                  </a:lnTo>
                  <a:lnTo>
                    <a:pt x="314" y="544"/>
                  </a:lnTo>
                  <a:lnTo>
                    <a:pt x="314" y="544"/>
                  </a:lnTo>
                  <a:lnTo>
                    <a:pt x="312" y="540"/>
                  </a:lnTo>
                  <a:lnTo>
                    <a:pt x="308" y="538"/>
                  </a:lnTo>
                  <a:lnTo>
                    <a:pt x="308" y="536"/>
                  </a:lnTo>
                  <a:lnTo>
                    <a:pt x="308" y="532"/>
                  </a:lnTo>
                  <a:lnTo>
                    <a:pt x="310" y="531"/>
                  </a:lnTo>
                  <a:lnTo>
                    <a:pt x="310" y="529"/>
                  </a:lnTo>
                  <a:lnTo>
                    <a:pt x="312" y="529"/>
                  </a:lnTo>
                  <a:lnTo>
                    <a:pt x="312" y="527"/>
                  </a:lnTo>
                  <a:lnTo>
                    <a:pt x="312" y="527"/>
                  </a:lnTo>
                  <a:lnTo>
                    <a:pt x="312" y="527"/>
                  </a:lnTo>
                  <a:lnTo>
                    <a:pt x="314" y="529"/>
                  </a:lnTo>
                  <a:lnTo>
                    <a:pt x="314" y="529"/>
                  </a:lnTo>
                  <a:lnTo>
                    <a:pt x="314" y="531"/>
                  </a:lnTo>
                  <a:lnTo>
                    <a:pt x="314" y="532"/>
                  </a:lnTo>
                  <a:lnTo>
                    <a:pt x="316" y="532"/>
                  </a:lnTo>
                  <a:lnTo>
                    <a:pt x="316" y="531"/>
                  </a:lnTo>
                  <a:lnTo>
                    <a:pt x="316" y="523"/>
                  </a:lnTo>
                  <a:lnTo>
                    <a:pt x="316" y="523"/>
                  </a:lnTo>
                  <a:lnTo>
                    <a:pt x="320" y="527"/>
                  </a:lnTo>
                  <a:lnTo>
                    <a:pt x="322" y="531"/>
                  </a:lnTo>
                  <a:lnTo>
                    <a:pt x="326" y="536"/>
                  </a:lnTo>
                  <a:lnTo>
                    <a:pt x="329" y="544"/>
                  </a:lnTo>
                  <a:lnTo>
                    <a:pt x="329" y="544"/>
                  </a:lnTo>
                  <a:lnTo>
                    <a:pt x="329" y="542"/>
                  </a:lnTo>
                  <a:lnTo>
                    <a:pt x="329" y="542"/>
                  </a:lnTo>
                  <a:lnTo>
                    <a:pt x="327" y="536"/>
                  </a:lnTo>
                  <a:lnTo>
                    <a:pt x="326" y="529"/>
                  </a:lnTo>
                  <a:lnTo>
                    <a:pt x="324" y="527"/>
                  </a:lnTo>
                  <a:lnTo>
                    <a:pt x="324" y="525"/>
                  </a:lnTo>
                  <a:lnTo>
                    <a:pt x="324" y="523"/>
                  </a:lnTo>
                  <a:lnTo>
                    <a:pt x="326" y="521"/>
                  </a:lnTo>
                  <a:lnTo>
                    <a:pt x="326" y="515"/>
                  </a:lnTo>
                  <a:lnTo>
                    <a:pt x="326" y="512"/>
                  </a:lnTo>
                  <a:lnTo>
                    <a:pt x="318" y="498"/>
                  </a:lnTo>
                  <a:lnTo>
                    <a:pt x="316" y="494"/>
                  </a:lnTo>
                  <a:lnTo>
                    <a:pt x="314" y="483"/>
                  </a:lnTo>
                  <a:lnTo>
                    <a:pt x="314" y="479"/>
                  </a:lnTo>
                  <a:lnTo>
                    <a:pt x="316" y="475"/>
                  </a:lnTo>
                  <a:lnTo>
                    <a:pt x="314" y="474"/>
                  </a:lnTo>
                  <a:lnTo>
                    <a:pt x="312" y="475"/>
                  </a:lnTo>
                  <a:lnTo>
                    <a:pt x="310" y="475"/>
                  </a:lnTo>
                  <a:lnTo>
                    <a:pt x="310" y="477"/>
                  </a:lnTo>
                  <a:lnTo>
                    <a:pt x="308" y="479"/>
                  </a:lnTo>
                  <a:lnTo>
                    <a:pt x="307" y="477"/>
                  </a:lnTo>
                  <a:lnTo>
                    <a:pt x="308" y="475"/>
                  </a:lnTo>
                  <a:lnTo>
                    <a:pt x="308" y="475"/>
                  </a:lnTo>
                  <a:lnTo>
                    <a:pt x="310" y="475"/>
                  </a:lnTo>
                  <a:lnTo>
                    <a:pt x="310" y="474"/>
                  </a:lnTo>
                  <a:lnTo>
                    <a:pt x="312" y="474"/>
                  </a:lnTo>
                  <a:lnTo>
                    <a:pt x="314" y="472"/>
                  </a:lnTo>
                  <a:lnTo>
                    <a:pt x="316" y="472"/>
                  </a:lnTo>
                  <a:lnTo>
                    <a:pt x="318" y="466"/>
                  </a:lnTo>
                  <a:lnTo>
                    <a:pt x="320" y="464"/>
                  </a:lnTo>
                  <a:lnTo>
                    <a:pt x="320" y="460"/>
                  </a:lnTo>
                  <a:lnTo>
                    <a:pt x="320" y="453"/>
                  </a:lnTo>
                  <a:lnTo>
                    <a:pt x="320" y="447"/>
                  </a:lnTo>
                  <a:lnTo>
                    <a:pt x="320" y="445"/>
                  </a:lnTo>
                  <a:lnTo>
                    <a:pt x="320" y="445"/>
                  </a:lnTo>
                  <a:lnTo>
                    <a:pt x="322" y="443"/>
                  </a:lnTo>
                  <a:lnTo>
                    <a:pt x="322" y="443"/>
                  </a:lnTo>
                  <a:lnTo>
                    <a:pt x="320" y="443"/>
                  </a:lnTo>
                  <a:lnTo>
                    <a:pt x="320" y="443"/>
                  </a:lnTo>
                  <a:lnTo>
                    <a:pt x="318" y="443"/>
                  </a:lnTo>
                  <a:lnTo>
                    <a:pt x="316" y="443"/>
                  </a:lnTo>
                  <a:lnTo>
                    <a:pt x="316" y="443"/>
                  </a:lnTo>
                  <a:lnTo>
                    <a:pt x="318" y="441"/>
                  </a:lnTo>
                  <a:lnTo>
                    <a:pt x="318" y="441"/>
                  </a:lnTo>
                  <a:lnTo>
                    <a:pt x="320" y="441"/>
                  </a:lnTo>
                  <a:lnTo>
                    <a:pt x="320" y="439"/>
                  </a:lnTo>
                  <a:lnTo>
                    <a:pt x="318" y="437"/>
                  </a:lnTo>
                  <a:lnTo>
                    <a:pt x="318" y="437"/>
                  </a:lnTo>
                  <a:lnTo>
                    <a:pt x="318" y="434"/>
                  </a:lnTo>
                  <a:lnTo>
                    <a:pt x="316" y="434"/>
                  </a:lnTo>
                  <a:lnTo>
                    <a:pt x="314" y="432"/>
                  </a:lnTo>
                  <a:lnTo>
                    <a:pt x="314" y="430"/>
                  </a:lnTo>
                  <a:lnTo>
                    <a:pt x="312" y="430"/>
                  </a:lnTo>
                  <a:lnTo>
                    <a:pt x="312" y="430"/>
                  </a:lnTo>
                  <a:lnTo>
                    <a:pt x="312" y="424"/>
                  </a:lnTo>
                  <a:lnTo>
                    <a:pt x="310" y="409"/>
                  </a:lnTo>
                  <a:lnTo>
                    <a:pt x="310" y="407"/>
                  </a:lnTo>
                  <a:lnTo>
                    <a:pt x="308" y="405"/>
                  </a:lnTo>
                  <a:lnTo>
                    <a:pt x="308" y="401"/>
                  </a:lnTo>
                  <a:lnTo>
                    <a:pt x="308" y="394"/>
                  </a:lnTo>
                  <a:lnTo>
                    <a:pt x="310" y="382"/>
                  </a:lnTo>
                  <a:lnTo>
                    <a:pt x="312" y="373"/>
                  </a:lnTo>
                  <a:lnTo>
                    <a:pt x="310" y="373"/>
                  </a:lnTo>
                  <a:lnTo>
                    <a:pt x="314" y="367"/>
                  </a:lnTo>
                  <a:lnTo>
                    <a:pt x="314" y="365"/>
                  </a:lnTo>
                  <a:lnTo>
                    <a:pt x="316" y="363"/>
                  </a:lnTo>
                  <a:lnTo>
                    <a:pt x="318" y="359"/>
                  </a:lnTo>
                  <a:lnTo>
                    <a:pt x="320" y="359"/>
                  </a:lnTo>
                  <a:lnTo>
                    <a:pt x="322" y="356"/>
                  </a:lnTo>
                  <a:lnTo>
                    <a:pt x="322" y="354"/>
                  </a:lnTo>
                  <a:lnTo>
                    <a:pt x="322" y="354"/>
                  </a:lnTo>
                  <a:lnTo>
                    <a:pt x="322" y="352"/>
                  </a:lnTo>
                  <a:lnTo>
                    <a:pt x="324" y="350"/>
                  </a:lnTo>
                  <a:lnTo>
                    <a:pt x="324" y="348"/>
                  </a:lnTo>
                  <a:lnTo>
                    <a:pt x="327" y="337"/>
                  </a:lnTo>
                  <a:lnTo>
                    <a:pt x="329" y="335"/>
                  </a:lnTo>
                  <a:lnTo>
                    <a:pt x="335" y="327"/>
                  </a:lnTo>
                  <a:lnTo>
                    <a:pt x="339" y="325"/>
                  </a:lnTo>
                  <a:lnTo>
                    <a:pt x="343" y="325"/>
                  </a:lnTo>
                  <a:lnTo>
                    <a:pt x="345" y="323"/>
                  </a:lnTo>
                  <a:lnTo>
                    <a:pt x="345" y="323"/>
                  </a:lnTo>
                  <a:lnTo>
                    <a:pt x="347" y="321"/>
                  </a:lnTo>
                  <a:lnTo>
                    <a:pt x="347" y="321"/>
                  </a:lnTo>
                  <a:lnTo>
                    <a:pt x="347" y="321"/>
                  </a:lnTo>
                  <a:lnTo>
                    <a:pt x="348" y="321"/>
                  </a:lnTo>
                  <a:lnTo>
                    <a:pt x="352" y="319"/>
                  </a:lnTo>
                  <a:lnTo>
                    <a:pt x="352" y="319"/>
                  </a:lnTo>
                  <a:lnTo>
                    <a:pt x="354" y="318"/>
                  </a:lnTo>
                  <a:lnTo>
                    <a:pt x="354" y="318"/>
                  </a:lnTo>
                  <a:lnTo>
                    <a:pt x="356" y="319"/>
                  </a:lnTo>
                  <a:lnTo>
                    <a:pt x="356" y="318"/>
                  </a:lnTo>
                  <a:lnTo>
                    <a:pt x="358" y="318"/>
                  </a:lnTo>
                  <a:lnTo>
                    <a:pt x="360" y="318"/>
                  </a:lnTo>
                  <a:lnTo>
                    <a:pt x="364" y="318"/>
                  </a:lnTo>
                  <a:lnTo>
                    <a:pt x="364" y="316"/>
                  </a:lnTo>
                  <a:lnTo>
                    <a:pt x="364" y="316"/>
                  </a:lnTo>
                  <a:lnTo>
                    <a:pt x="366" y="316"/>
                  </a:lnTo>
                  <a:lnTo>
                    <a:pt x="366" y="316"/>
                  </a:lnTo>
                  <a:lnTo>
                    <a:pt x="366" y="316"/>
                  </a:lnTo>
                  <a:lnTo>
                    <a:pt x="367" y="316"/>
                  </a:lnTo>
                  <a:lnTo>
                    <a:pt x="371" y="316"/>
                  </a:lnTo>
                  <a:lnTo>
                    <a:pt x="373" y="316"/>
                  </a:lnTo>
                  <a:lnTo>
                    <a:pt x="375" y="318"/>
                  </a:lnTo>
                  <a:lnTo>
                    <a:pt x="377" y="321"/>
                  </a:lnTo>
                  <a:lnTo>
                    <a:pt x="377" y="325"/>
                  </a:lnTo>
                  <a:lnTo>
                    <a:pt x="377" y="333"/>
                  </a:lnTo>
                  <a:lnTo>
                    <a:pt x="379" y="333"/>
                  </a:lnTo>
                  <a:lnTo>
                    <a:pt x="379" y="331"/>
                  </a:lnTo>
                  <a:lnTo>
                    <a:pt x="383" y="323"/>
                  </a:lnTo>
                  <a:lnTo>
                    <a:pt x="385" y="316"/>
                  </a:lnTo>
                  <a:lnTo>
                    <a:pt x="385" y="312"/>
                  </a:lnTo>
                  <a:lnTo>
                    <a:pt x="385" y="308"/>
                  </a:lnTo>
                  <a:lnTo>
                    <a:pt x="383" y="304"/>
                  </a:lnTo>
                  <a:lnTo>
                    <a:pt x="385" y="304"/>
                  </a:lnTo>
                  <a:lnTo>
                    <a:pt x="385" y="306"/>
                  </a:lnTo>
                  <a:lnTo>
                    <a:pt x="385" y="306"/>
                  </a:lnTo>
                  <a:lnTo>
                    <a:pt x="387" y="304"/>
                  </a:lnTo>
                  <a:lnTo>
                    <a:pt x="385" y="304"/>
                  </a:lnTo>
                  <a:lnTo>
                    <a:pt x="387" y="302"/>
                  </a:lnTo>
                  <a:lnTo>
                    <a:pt x="387" y="306"/>
                  </a:lnTo>
                  <a:lnTo>
                    <a:pt x="387" y="308"/>
                  </a:lnTo>
                  <a:lnTo>
                    <a:pt x="387" y="310"/>
                  </a:lnTo>
                  <a:lnTo>
                    <a:pt x="387" y="316"/>
                  </a:lnTo>
                  <a:lnTo>
                    <a:pt x="387" y="318"/>
                  </a:lnTo>
                  <a:lnTo>
                    <a:pt x="387" y="319"/>
                  </a:lnTo>
                  <a:lnTo>
                    <a:pt x="388" y="321"/>
                  </a:lnTo>
                  <a:lnTo>
                    <a:pt x="390" y="321"/>
                  </a:lnTo>
                  <a:lnTo>
                    <a:pt x="390" y="323"/>
                  </a:lnTo>
                  <a:lnTo>
                    <a:pt x="394" y="325"/>
                  </a:lnTo>
                  <a:lnTo>
                    <a:pt x="394" y="327"/>
                  </a:lnTo>
                  <a:lnTo>
                    <a:pt x="394" y="327"/>
                  </a:lnTo>
                  <a:lnTo>
                    <a:pt x="396" y="327"/>
                  </a:lnTo>
                  <a:lnTo>
                    <a:pt x="396" y="327"/>
                  </a:lnTo>
                  <a:lnTo>
                    <a:pt x="396" y="327"/>
                  </a:lnTo>
                  <a:lnTo>
                    <a:pt x="396" y="325"/>
                  </a:lnTo>
                  <a:lnTo>
                    <a:pt x="396" y="323"/>
                  </a:lnTo>
                  <a:lnTo>
                    <a:pt x="396" y="323"/>
                  </a:lnTo>
                  <a:lnTo>
                    <a:pt x="396" y="323"/>
                  </a:lnTo>
                  <a:lnTo>
                    <a:pt x="394" y="321"/>
                  </a:lnTo>
                  <a:lnTo>
                    <a:pt x="394" y="321"/>
                  </a:lnTo>
                  <a:lnTo>
                    <a:pt x="398" y="318"/>
                  </a:lnTo>
                  <a:lnTo>
                    <a:pt x="400" y="316"/>
                  </a:lnTo>
                  <a:lnTo>
                    <a:pt x="404" y="314"/>
                  </a:lnTo>
                  <a:lnTo>
                    <a:pt x="408" y="310"/>
                  </a:lnTo>
                  <a:lnTo>
                    <a:pt x="409" y="310"/>
                  </a:lnTo>
                  <a:lnTo>
                    <a:pt x="409" y="308"/>
                  </a:lnTo>
                  <a:lnTo>
                    <a:pt x="409" y="302"/>
                  </a:lnTo>
                  <a:lnTo>
                    <a:pt x="409" y="300"/>
                  </a:lnTo>
                  <a:lnTo>
                    <a:pt x="411" y="299"/>
                  </a:lnTo>
                  <a:lnTo>
                    <a:pt x="413" y="293"/>
                  </a:lnTo>
                  <a:lnTo>
                    <a:pt x="415" y="287"/>
                  </a:lnTo>
                  <a:lnTo>
                    <a:pt x="417" y="283"/>
                  </a:lnTo>
                  <a:lnTo>
                    <a:pt x="419" y="280"/>
                  </a:lnTo>
                  <a:lnTo>
                    <a:pt x="419" y="278"/>
                  </a:lnTo>
                  <a:lnTo>
                    <a:pt x="419" y="278"/>
                  </a:lnTo>
                  <a:lnTo>
                    <a:pt x="419" y="276"/>
                  </a:lnTo>
                  <a:lnTo>
                    <a:pt x="419" y="276"/>
                  </a:lnTo>
                  <a:lnTo>
                    <a:pt x="419" y="274"/>
                  </a:lnTo>
                  <a:lnTo>
                    <a:pt x="425" y="270"/>
                  </a:lnTo>
                  <a:lnTo>
                    <a:pt x="427" y="270"/>
                  </a:lnTo>
                  <a:lnTo>
                    <a:pt x="427" y="270"/>
                  </a:lnTo>
                  <a:lnTo>
                    <a:pt x="428" y="270"/>
                  </a:lnTo>
                  <a:lnTo>
                    <a:pt x="430" y="270"/>
                  </a:lnTo>
                  <a:lnTo>
                    <a:pt x="430" y="270"/>
                  </a:lnTo>
                  <a:lnTo>
                    <a:pt x="432" y="270"/>
                  </a:lnTo>
                  <a:lnTo>
                    <a:pt x="432" y="270"/>
                  </a:lnTo>
                  <a:lnTo>
                    <a:pt x="434" y="270"/>
                  </a:lnTo>
                  <a:lnTo>
                    <a:pt x="434" y="272"/>
                  </a:lnTo>
                  <a:lnTo>
                    <a:pt x="434" y="272"/>
                  </a:lnTo>
                  <a:lnTo>
                    <a:pt x="434" y="272"/>
                  </a:lnTo>
                  <a:lnTo>
                    <a:pt x="434" y="274"/>
                  </a:lnTo>
                  <a:lnTo>
                    <a:pt x="440" y="272"/>
                  </a:lnTo>
                  <a:lnTo>
                    <a:pt x="442" y="272"/>
                  </a:lnTo>
                  <a:lnTo>
                    <a:pt x="444" y="272"/>
                  </a:lnTo>
                  <a:lnTo>
                    <a:pt x="446" y="272"/>
                  </a:lnTo>
                  <a:lnTo>
                    <a:pt x="446" y="270"/>
                  </a:lnTo>
                  <a:lnTo>
                    <a:pt x="448" y="270"/>
                  </a:lnTo>
                  <a:lnTo>
                    <a:pt x="448" y="270"/>
                  </a:lnTo>
                  <a:lnTo>
                    <a:pt x="448" y="272"/>
                  </a:lnTo>
                  <a:lnTo>
                    <a:pt x="448" y="274"/>
                  </a:lnTo>
                  <a:lnTo>
                    <a:pt x="449" y="274"/>
                  </a:lnTo>
                  <a:lnTo>
                    <a:pt x="453" y="274"/>
                  </a:lnTo>
                  <a:lnTo>
                    <a:pt x="453" y="274"/>
                  </a:lnTo>
                  <a:lnTo>
                    <a:pt x="455" y="274"/>
                  </a:lnTo>
                  <a:lnTo>
                    <a:pt x="457" y="274"/>
                  </a:lnTo>
                  <a:lnTo>
                    <a:pt x="459" y="276"/>
                  </a:lnTo>
                  <a:lnTo>
                    <a:pt x="461" y="276"/>
                  </a:lnTo>
                  <a:lnTo>
                    <a:pt x="461" y="276"/>
                  </a:lnTo>
                  <a:lnTo>
                    <a:pt x="465" y="276"/>
                  </a:lnTo>
                  <a:lnTo>
                    <a:pt x="467" y="274"/>
                  </a:lnTo>
                  <a:lnTo>
                    <a:pt x="474" y="270"/>
                  </a:lnTo>
                  <a:lnTo>
                    <a:pt x="476" y="270"/>
                  </a:lnTo>
                  <a:lnTo>
                    <a:pt x="478" y="270"/>
                  </a:lnTo>
                  <a:lnTo>
                    <a:pt x="482" y="268"/>
                  </a:lnTo>
                  <a:lnTo>
                    <a:pt x="482" y="268"/>
                  </a:lnTo>
                  <a:lnTo>
                    <a:pt x="484" y="266"/>
                  </a:lnTo>
                  <a:lnTo>
                    <a:pt x="484" y="266"/>
                  </a:lnTo>
                  <a:lnTo>
                    <a:pt x="486" y="266"/>
                  </a:lnTo>
                  <a:lnTo>
                    <a:pt x="488" y="266"/>
                  </a:lnTo>
                  <a:lnTo>
                    <a:pt x="488" y="266"/>
                  </a:lnTo>
                  <a:lnTo>
                    <a:pt x="489" y="264"/>
                  </a:lnTo>
                  <a:lnTo>
                    <a:pt x="491" y="262"/>
                  </a:lnTo>
                  <a:lnTo>
                    <a:pt x="493" y="264"/>
                  </a:lnTo>
                  <a:lnTo>
                    <a:pt x="495" y="262"/>
                  </a:lnTo>
                  <a:lnTo>
                    <a:pt x="499" y="261"/>
                  </a:lnTo>
                  <a:lnTo>
                    <a:pt x="503" y="259"/>
                  </a:lnTo>
                  <a:lnTo>
                    <a:pt x="505" y="259"/>
                  </a:lnTo>
                  <a:lnTo>
                    <a:pt x="507" y="257"/>
                  </a:lnTo>
                  <a:lnTo>
                    <a:pt x="512" y="251"/>
                  </a:lnTo>
                  <a:lnTo>
                    <a:pt x="516" y="251"/>
                  </a:lnTo>
                  <a:lnTo>
                    <a:pt x="514" y="249"/>
                  </a:lnTo>
                  <a:lnTo>
                    <a:pt x="514" y="247"/>
                  </a:lnTo>
                  <a:lnTo>
                    <a:pt x="514" y="247"/>
                  </a:lnTo>
                  <a:lnTo>
                    <a:pt x="514" y="245"/>
                  </a:lnTo>
                  <a:lnTo>
                    <a:pt x="514" y="245"/>
                  </a:lnTo>
                  <a:lnTo>
                    <a:pt x="514" y="247"/>
                  </a:lnTo>
                  <a:lnTo>
                    <a:pt x="516" y="247"/>
                  </a:lnTo>
                  <a:lnTo>
                    <a:pt x="516" y="247"/>
                  </a:lnTo>
                  <a:lnTo>
                    <a:pt x="516" y="247"/>
                  </a:lnTo>
                  <a:lnTo>
                    <a:pt x="516" y="247"/>
                  </a:lnTo>
                  <a:lnTo>
                    <a:pt x="516" y="245"/>
                  </a:lnTo>
                  <a:lnTo>
                    <a:pt x="518" y="242"/>
                  </a:lnTo>
                  <a:lnTo>
                    <a:pt x="520" y="238"/>
                  </a:lnTo>
                  <a:lnTo>
                    <a:pt x="520" y="234"/>
                  </a:lnTo>
                  <a:lnTo>
                    <a:pt x="522" y="228"/>
                  </a:lnTo>
                  <a:lnTo>
                    <a:pt x="522" y="224"/>
                  </a:lnTo>
                  <a:lnTo>
                    <a:pt x="522" y="219"/>
                  </a:lnTo>
                  <a:lnTo>
                    <a:pt x="520" y="217"/>
                  </a:lnTo>
                  <a:lnTo>
                    <a:pt x="520" y="215"/>
                  </a:lnTo>
                  <a:lnTo>
                    <a:pt x="520" y="217"/>
                  </a:lnTo>
                  <a:lnTo>
                    <a:pt x="520" y="221"/>
                  </a:lnTo>
                  <a:lnTo>
                    <a:pt x="522" y="224"/>
                  </a:lnTo>
                  <a:lnTo>
                    <a:pt x="520" y="224"/>
                  </a:lnTo>
                  <a:lnTo>
                    <a:pt x="518" y="224"/>
                  </a:lnTo>
                  <a:lnTo>
                    <a:pt x="518" y="224"/>
                  </a:lnTo>
                  <a:lnTo>
                    <a:pt x="518" y="224"/>
                  </a:lnTo>
                  <a:lnTo>
                    <a:pt x="516" y="224"/>
                  </a:lnTo>
                  <a:lnTo>
                    <a:pt x="516" y="224"/>
                  </a:lnTo>
                  <a:lnTo>
                    <a:pt x="516" y="224"/>
                  </a:lnTo>
                  <a:lnTo>
                    <a:pt x="516" y="224"/>
                  </a:lnTo>
                  <a:lnTo>
                    <a:pt x="514" y="224"/>
                  </a:lnTo>
                  <a:lnTo>
                    <a:pt x="512" y="222"/>
                  </a:lnTo>
                  <a:lnTo>
                    <a:pt x="510" y="221"/>
                  </a:lnTo>
                  <a:lnTo>
                    <a:pt x="510" y="219"/>
                  </a:lnTo>
                  <a:lnTo>
                    <a:pt x="510" y="217"/>
                  </a:lnTo>
                  <a:lnTo>
                    <a:pt x="514" y="211"/>
                  </a:lnTo>
                  <a:lnTo>
                    <a:pt x="514" y="207"/>
                  </a:lnTo>
                  <a:lnTo>
                    <a:pt x="516" y="205"/>
                  </a:lnTo>
                  <a:lnTo>
                    <a:pt x="520" y="203"/>
                  </a:lnTo>
                  <a:lnTo>
                    <a:pt x="522" y="200"/>
                  </a:lnTo>
                  <a:lnTo>
                    <a:pt x="524" y="198"/>
                  </a:lnTo>
                  <a:lnTo>
                    <a:pt x="526" y="196"/>
                  </a:lnTo>
                  <a:lnTo>
                    <a:pt x="528" y="196"/>
                  </a:lnTo>
                  <a:lnTo>
                    <a:pt x="529" y="192"/>
                  </a:lnTo>
                  <a:lnTo>
                    <a:pt x="531" y="190"/>
                  </a:lnTo>
                  <a:lnTo>
                    <a:pt x="554" y="177"/>
                  </a:lnTo>
                  <a:lnTo>
                    <a:pt x="558" y="175"/>
                  </a:lnTo>
                  <a:lnTo>
                    <a:pt x="562" y="173"/>
                  </a:lnTo>
                  <a:lnTo>
                    <a:pt x="566" y="173"/>
                  </a:lnTo>
                  <a:lnTo>
                    <a:pt x="566" y="171"/>
                  </a:lnTo>
                  <a:lnTo>
                    <a:pt x="568" y="169"/>
                  </a:lnTo>
                  <a:lnTo>
                    <a:pt x="569" y="169"/>
                  </a:lnTo>
                  <a:lnTo>
                    <a:pt x="569" y="171"/>
                  </a:lnTo>
                  <a:lnTo>
                    <a:pt x="569" y="171"/>
                  </a:lnTo>
                  <a:lnTo>
                    <a:pt x="575" y="167"/>
                  </a:lnTo>
                  <a:lnTo>
                    <a:pt x="575" y="167"/>
                  </a:lnTo>
                  <a:lnTo>
                    <a:pt x="577" y="167"/>
                  </a:lnTo>
                  <a:lnTo>
                    <a:pt x="577" y="165"/>
                  </a:lnTo>
                  <a:lnTo>
                    <a:pt x="579" y="164"/>
                  </a:lnTo>
                  <a:lnTo>
                    <a:pt x="581" y="164"/>
                  </a:lnTo>
                  <a:lnTo>
                    <a:pt x="585" y="162"/>
                  </a:lnTo>
                  <a:lnTo>
                    <a:pt x="589" y="160"/>
                  </a:lnTo>
                  <a:lnTo>
                    <a:pt x="596" y="156"/>
                  </a:lnTo>
                  <a:lnTo>
                    <a:pt x="598" y="154"/>
                  </a:lnTo>
                  <a:lnTo>
                    <a:pt x="600" y="154"/>
                  </a:lnTo>
                  <a:lnTo>
                    <a:pt x="600" y="154"/>
                  </a:lnTo>
                  <a:lnTo>
                    <a:pt x="602" y="152"/>
                  </a:lnTo>
                  <a:lnTo>
                    <a:pt x="602" y="152"/>
                  </a:lnTo>
                  <a:lnTo>
                    <a:pt x="600" y="148"/>
                  </a:lnTo>
                  <a:lnTo>
                    <a:pt x="602" y="148"/>
                  </a:lnTo>
                  <a:lnTo>
                    <a:pt x="604" y="148"/>
                  </a:lnTo>
                  <a:lnTo>
                    <a:pt x="604" y="148"/>
                  </a:lnTo>
                  <a:lnTo>
                    <a:pt x="606" y="146"/>
                  </a:lnTo>
                  <a:lnTo>
                    <a:pt x="608" y="146"/>
                  </a:lnTo>
                  <a:lnTo>
                    <a:pt x="608" y="145"/>
                  </a:lnTo>
                  <a:lnTo>
                    <a:pt x="608" y="145"/>
                  </a:lnTo>
                  <a:lnTo>
                    <a:pt x="606" y="145"/>
                  </a:lnTo>
                  <a:lnTo>
                    <a:pt x="604" y="143"/>
                  </a:lnTo>
                  <a:lnTo>
                    <a:pt x="602" y="143"/>
                  </a:lnTo>
                  <a:lnTo>
                    <a:pt x="602" y="141"/>
                  </a:lnTo>
                  <a:lnTo>
                    <a:pt x="604" y="141"/>
                  </a:lnTo>
                  <a:lnTo>
                    <a:pt x="606" y="141"/>
                  </a:lnTo>
                  <a:lnTo>
                    <a:pt x="606" y="143"/>
                  </a:lnTo>
                  <a:lnTo>
                    <a:pt x="606" y="143"/>
                  </a:lnTo>
                  <a:lnTo>
                    <a:pt x="606" y="143"/>
                  </a:lnTo>
                  <a:lnTo>
                    <a:pt x="606" y="143"/>
                  </a:lnTo>
                  <a:lnTo>
                    <a:pt x="606" y="143"/>
                  </a:lnTo>
                  <a:lnTo>
                    <a:pt x="608" y="143"/>
                  </a:lnTo>
                  <a:lnTo>
                    <a:pt x="608" y="143"/>
                  </a:lnTo>
                  <a:lnTo>
                    <a:pt x="608" y="143"/>
                  </a:lnTo>
                  <a:lnTo>
                    <a:pt x="609" y="143"/>
                  </a:lnTo>
                  <a:lnTo>
                    <a:pt x="609" y="143"/>
                  </a:lnTo>
                  <a:lnTo>
                    <a:pt x="611" y="141"/>
                  </a:lnTo>
                  <a:lnTo>
                    <a:pt x="617" y="135"/>
                  </a:lnTo>
                  <a:lnTo>
                    <a:pt x="619" y="133"/>
                  </a:lnTo>
                  <a:lnTo>
                    <a:pt x="619" y="129"/>
                  </a:lnTo>
                  <a:lnTo>
                    <a:pt x="619" y="127"/>
                  </a:lnTo>
                  <a:lnTo>
                    <a:pt x="621" y="125"/>
                  </a:lnTo>
                  <a:lnTo>
                    <a:pt x="621" y="124"/>
                  </a:lnTo>
                  <a:lnTo>
                    <a:pt x="621" y="122"/>
                  </a:lnTo>
                  <a:lnTo>
                    <a:pt x="621" y="122"/>
                  </a:lnTo>
                  <a:lnTo>
                    <a:pt x="623" y="122"/>
                  </a:lnTo>
                  <a:lnTo>
                    <a:pt x="623" y="124"/>
                  </a:lnTo>
                  <a:lnTo>
                    <a:pt x="623" y="124"/>
                  </a:lnTo>
                  <a:lnTo>
                    <a:pt x="625" y="122"/>
                  </a:lnTo>
                  <a:lnTo>
                    <a:pt x="629" y="120"/>
                  </a:lnTo>
                  <a:lnTo>
                    <a:pt x="629" y="118"/>
                  </a:lnTo>
                  <a:lnTo>
                    <a:pt x="630" y="118"/>
                  </a:lnTo>
                  <a:lnTo>
                    <a:pt x="630" y="116"/>
                  </a:lnTo>
                  <a:lnTo>
                    <a:pt x="630" y="116"/>
                  </a:lnTo>
                  <a:lnTo>
                    <a:pt x="632" y="116"/>
                  </a:lnTo>
                  <a:lnTo>
                    <a:pt x="632" y="112"/>
                  </a:lnTo>
                  <a:lnTo>
                    <a:pt x="634" y="112"/>
                  </a:lnTo>
                  <a:lnTo>
                    <a:pt x="636" y="108"/>
                  </a:lnTo>
                  <a:lnTo>
                    <a:pt x="651" y="101"/>
                  </a:lnTo>
                  <a:lnTo>
                    <a:pt x="680" y="87"/>
                  </a:lnTo>
                  <a:lnTo>
                    <a:pt x="682" y="84"/>
                  </a:lnTo>
                  <a:lnTo>
                    <a:pt x="684" y="82"/>
                  </a:lnTo>
                  <a:lnTo>
                    <a:pt x="684" y="80"/>
                  </a:lnTo>
                  <a:lnTo>
                    <a:pt x="684" y="80"/>
                  </a:lnTo>
                  <a:lnTo>
                    <a:pt x="686" y="78"/>
                  </a:lnTo>
                  <a:lnTo>
                    <a:pt x="686" y="78"/>
                  </a:lnTo>
                  <a:lnTo>
                    <a:pt x="686" y="76"/>
                  </a:lnTo>
                  <a:lnTo>
                    <a:pt x="688" y="74"/>
                  </a:lnTo>
                  <a:lnTo>
                    <a:pt x="690" y="72"/>
                  </a:lnTo>
                  <a:lnTo>
                    <a:pt x="693" y="70"/>
                  </a:lnTo>
                  <a:lnTo>
                    <a:pt x="695" y="68"/>
                  </a:lnTo>
                  <a:lnTo>
                    <a:pt x="699" y="65"/>
                  </a:lnTo>
                  <a:lnTo>
                    <a:pt x="703" y="61"/>
                  </a:lnTo>
                  <a:lnTo>
                    <a:pt x="705" y="59"/>
                  </a:lnTo>
                  <a:lnTo>
                    <a:pt x="703" y="61"/>
                  </a:lnTo>
                  <a:lnTo>
                    <a:pt x="699" y="63"/>
                  </a:lnTo>
                  <a:lnTo>
                    <a:pt x="697" y="65"/>
                  </a:lnTo>
                  <a:lnTo>
                    <a:pt x="695" y="65"/>
                  </a:lnTo>
                  <a:lnTo>
                    <a:pt x="693" y="65"/>
                  </a:lnTo>
                  <a:lnTo>
                    <a:pt x="695" y="63"/>
                  </a:lnTo>
                  <a:lnTo>
                    <a:pt x="695" y="63"/>
                  </a:lnTo>
                  <a:lnTo>
                    <a:pt x="697" y="63"/>
                  </a:lnTo>
                  <a:lnTo>
                    <a:pt x="699" y="63"/>
                  </a:lnTo>
                  <a:lnTo>
                    <a:pt x="699" y="63"/>
                  </a:lnTo>
                  <a:lnTo>
                    <a:pt x="701" y="61"/>
                  </a:lnTo>
                  <a:lnTo>
                    <a:pt x="701" y="61"/>
                  </a:lnTo>
                  <a:lnTo>
                    <a:pt x="703" y="59"/>
                  </a:lnTo>
                  <a:lnTo>
                    <a:pt x="705" y="59"/>
                  </a:lnTo>
                  <a:lnTo>
                    <a:pt x="707" y="55"/>
                  </a:lnTo>
                  <a:lnTo>
                    <a:pt x="710" y="51"/>
                  </a:lnTo>
                  <a:lnTo>
                    <a:pt x="712" y="51"/>
                  </a:lnTo>
                  <a:lnTo>
                    <a:pt x="712" y="49"/>
                  </a:lnTo>
                  <a:lnTo>
                    <a:pt x="714" y="48"/>
                  </a:lnTo>
                  <a:lnTo>
                    <a:pt x="722" y="38"/>
                  </a:lnTo>
                  <a:lnTo>
                    <a:pt x="722" y="36"/>
                  </a:lnTo>
                  <a:lnTo>
                    <a:pt x="730" y="25"/>
                  </a:lnTo>
                  <a:lnTo>
                    <a:pt x="733" y="23"/>
                  </a:lnTo>
                  <a:lnTo>
                    <a:pt x="735" y="21"/>
                  </a:lnTo>
                  <a:lnTo>
                    <a:pt x="737" y="19"/>
                  </a:lnTo>
                  <a:lnTo>
                    <a:pt x="741" y="13"/>
                  </a:lnTo>
                  <a:lnTo>
                    <a:pt x="741" y="11"/>
                  </a:lnTo>
                  <a:lnTo>
                    <a:pt x="745" y="8"/>
                  </a:lnTo>
                  <a:lnTo>
                    <a:pt x="745" y="8"/>
                  </a:lnTo>
                  <a:lnTo>
                    <a:pt x="743" y="6"/>
                  </a:lnTo>
                  <a:close/>
                  <a:moveTo>
                    <a:pt x="512" y="238"/>
                  </a:moveTo>
                  <a:lnTo>
                    <a:pt x="512" y="238"/>
                  </a:lnTo>
                  <a:lnTo>
                    <a:pt x="514" y="236"/>
                  </a:lnTo>
                  <a:lnTo>
                    <a:pt x="514" y="236"/>
                  </a:lnTo>
                  <a:lnTo>
                    <a:pt x="514" y="236"/>
                  </a:lnTo>
                  <a:lnTo>
                    <a:pt x="514" y="236"/>
                  </a:lnTo>
                  <a:lnTo>
                    <a:pt x="514" y="236"/>
                  </a:lnTo>
                  <a:lnTo>
                    <a:pt x="516" y="236"/>
                  </a:lnTo>
                  <a:lnTo>
                    <a:pt x="516" y="238"/>
                  </a:lnTo>
                  <a:lnTo>
                    <a:pt x="514" y="238"/>
                  </a:lnTo>
                  <a:lnTo>
                    <a:pt x="514" y="238"/>
                  </a:lnTo>
                  <a:lnTo>
                    <a:pt x="512" y="238"/>
                  </a:lnTo>
                  <a:lnTo>
                    <a:pt x="512" y="238"/>
                  </a:lnTo>
                  <a:lnTo>
                    <a:pt x="512" y="238"/>
                  </a:lnTo>
                  <a:lnTo>
                    <a:pt x="514" y="240"/>
                  </a:lnTo>
                  <a:lnTo>
                    <a:pt x="512" y="240"/>
                  </a:lnTo>
                  <a:lnTo>
                    <a:pt x="512" y="240"/>
                  </a:lnTo>
                  <a:lnTo>
                    <a:pt x="510" y="240"/>
                  </a:lnTo>
                  <a:lnTo>
                    <a:pt x="508" y="238"/>
                  </a:lnTo>
                  <a:lnTo>
                    <a:pt x="507" y="238"/>
                  </a:lnTo>
                  <a:lnTo>
                    <a:pt x="505" y="238"/>
                  </a:lnTo>
                  <a:lnTo>
                    <a:pt x="505" y="238"/>
                  </a:lnTo>
                  <a:lnTo>
                    <a:pt x="505" y="236"/>
                  </a:lnTo>
                  <a:lnTo>
                    <a:pt x="505" y="236"/>
                  </a:lnTo>
                  <a:lnTo>
                    <a:pt x="505" y="236"/>
                  </a:lnTo>
                  <a:lnTo>
                    <a:pt x="507" y="236"/>
                  </a:lnTo>
                  <a:lnTo>
                    <a:pt x="507" y="234"/>
                  </a:lnTo>
                  <a:lnTo>
                    <a:pt x="507" y="234"/>
                  </a:lnTo>
                  <a:lnTo>
                    <a:pt x="508" y="234"/>
                  </a:lnTo>
                  <a:lnTo>
                    <a:pt x="507" y="236"/>
                  </a:lnTo>
                  <a:lnTo>
                    <a:pt x="508" y="236"/>
                  </a:lnTo>
                  <a:lnTo>
                    <a:pt x="508" y="238"/>
                  </a:lnTo>
                  <a:lnTo>
                    <a:pt x="512" y="238"/>
                  </a:lnTo>
                  <a:close/>
                  <a:moveTo>
                    <a:pt x="392" y="325"/>
                  </a:moveTo>
                  <a:lnTo>
                    <a:pt x="388" y="323"/>
                  </a:lnTo>
                  <a:lnTo>
                    <a:pt x="385" y="321"/>
                  </a:lnTo>
                  <a:lnTo>
                    <a:pt x="385" y="321"/>
                  </a:lnTo>
                  <a:lnTo>
                    <a:pt x="383" y="323"/>
                  </a:lnTo>
                  <a:lnTo>
                    <a:pt x="388" y="329"/>
                  </a:lnTo>
                  <a:lnTo>
                    <a:pt x="390" y="331"/>
                  </a:lnTo>
                  <a:lnTo>
                    <a:pt x="390" y="331"/>
                  </a:lnTo>
                  <a:lnTo>
                    <a:pt x="392" y="331"/>
                  </a:lnTo>
                  <a:lnTo>
                    <a:pt x="394" y="329"/>
                  </a:lnTo>
                  <a:lnTo>
                    <a:pt x="394" y="329"/>
                  </a:lnTo>
                  <a:lnTo>
                    <a:pt x="394" y="327"/>
                  </a:lnTo>
                  <a:lnTo>
                    <a:pt x="392" y="325"/>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4" name="Freeform 76">
              <a:extLst>
                <a:ext uri="{FF2B5EF4-FFF2-40B4-BE49-F238E27FC236}">
                  <a16:creationId xmlns:a16="http://schemas.microsoft.com/office/drawing/2014/main" id="{B1DB0D75-B749-975C-EEBE-8A1D208CC699}"/>
                </a:ext>
              </a:extLst>
            </p:cNvPr>
            <p:cNvSpPr>
              <a:spLocks noEditPoints="1"/>
            </p:cNvSpPr>
            <p:nvPr/>
          </p:nvSpPr>
          <p:spPr bwMode="auto">
            <a:xfrm>
              <a:off x="7305675" y="5220501"/>
              <a:ext cx="301625" cy="1031875"/>
            </a:xfrm>
            <a:custGeom>
              <a:avLst/>
              <a:gdLst>
                <a:gd name="T0" fmla="*/ 147 w 190"/>
                <a:gd name="T1" fmla="*/ 605 h 650"/>
                <a:gd name="T2" fmla="*/ 131 w 190"/>
                <a:gd name="T3" fmla="*/ 625 h 650"/>
                <a:gd name="T4" fmla="*/ 143 w 190"/>
                <a:gd name="T5" fmla="*/ 637 h 650"/>
                <a:gd name="T6" fmla="*/ 152 w 190"/>
                <a:gd name="T7" fmla="*/ 645 h 650"/>
                <a:gd name="T8" fmla="*/ 158 w 190"/>
                <a:gd name="T9" fmla="*/ 625 h 650"/>
                <a:gd name="T10" fmla="*/ 135 w 190"/>
                <a:gd name="T11" fmla="*/ 589 h 650"/>
                <a:gd name="T12" fmla="*/ 131 w 190"/>
                <a:gd name="T13" fmla="*/ 603 h 650"/>
                <a:gd name="T14" fmla="*/ 103 w 190"/>
                <a:gd name="T15" fmla="*/ 532 h 650"/>
                <a:gd name="T16" fmla="*/ 106 w 190"/>
                <a:gd name="T17" fmla="*/ 546 h 650"/>
                <a:gd name="T18" fmla="*/ 124 w 190"/>
                <a:gd name="T19" fmla="*/ 534 h 650"/>
                <a:gd name="T20" fmla="*/ 120 w 190"/>
                <a:gd name="T21" fmla="*/ 530 h 650"/>
                <a:gd name="T22" fmla="*/ 118 w 190"/>
                <a:gd name="T23" fmla="*/ 511 h 650"/>
                <a:gd name="T24" fmla="*/ 120 w 190"/>
                <a:gd name="T25" fmla="*/ 527 h 650"/>
                <a:gd name="T26" fmla="*/ 120 w 190"/>
                <a:gd name="T27" fmla="*/ 530 h 650"/>
                <a:gd name="T28" fmla="*/ 78 w 190"/>
                <a:gd name="T29" fmla="*/ 506 h 650"/>
                <a:gd name="T30" fmla="*/ 127 w 190"/>
                <a:gd name="T31" fmla="*/ 492 h 650"/>
                <a:gd name="T32" fmla="*/ 51 w 190"/>
                <a:gd name="T33" fmla="*/ 416 h 650"/>
                <a:gd name="T34" fmla="*/ 57 w 190"/>
                <a:gd name="T35" fmla="*/ 422 h 650"/>
                <a:gd name="T36" fmla="*/ 17 w 190"/>
                <a:gd name="T37" fmla="*/ 274 h 650"/>
                <a:gd name="T38" fmla="*/ 15 w 190"/>
                <a:gd name="T39" fmla="*/ 296 h 650"/>
                <a:gd name="T40" fmla="*/ 30 w 190"/>
                <a:gd name="T41" fmla="*/ 287 h 650"/>
                <a:gd name="T42" fmla="*/ 42 w 190"/>
                <a:gd name="T43" fmla="*/ 207 h 650"/>
                <a:gd name="T44" fmla="*/ 36 w 190"/>
                <a:gd name="T45" fmla="*/ 218 h 650"/>
                <a:gd name="T46" fmla="*/ 0 w 190"/>
                <a:gd name="T47" fmla="*/ 198 h 650"/>
                <a:gd name="T48" fmla="*/ 74 w 190"/>
                <a:gd name="T49" fmla="*/ 156 h 650"/>
                <a:gd name="T50" fmla="*/ 74 w 190"/>
                <a:gd name="T51" fmla="*/ 165 h 650"/>
                <a:gd name="T52" fmla="*/ 80 w 190"/>
                <a:gd name="T53" fmla="*/ 150 h 650"/>
                <a:gd name="T54" fmla="*/ 78 w 190"/>
                <a:gd name="T55" fmla="*/ 141 h 650"/>
                <a:gd name="T56" fmla="*/ 47 w 190"/>
                <a:gd name="T57" fmla="*/ 74 h 650"/>
                <a:gd name="T58" fmla="*/ 42 w 190"/>
                <a:gd name="T59" fmla="*/ 76 h 650"/>
                <a:gd name="T60" fmla="*/ 68 w 190"/>
                <a:gd name="T61" fmla="*/ 112 h 650"/>
                <a:gd name="T62" fmla="*/ 68 w 190"/>
                <a:gd name="T63" fmla="*/ 82 h 650"/>
                <a:gd name="T64" fmla="*/ 61 w 190"/>
                <a:gd name="T65" fmla="*/ 72 h 650"/>
                <a:gd name="T66" fmla="*/ 66 w 190"/>
                <a:gd name="T67" fmla="*/ 63 h 650"/>
                <a:gd name="T68" fmla="*/ 70 w 190"/>
                <a:gd name="T69" fmla="*/ 61 h 650"/>
                <a:gd name="T70" fmla="*/ 72 w 190"/>
                <a:gd name="T71" fmla="*/ 36 h 650"/>
                <a:gd name="T72" fmla="*/ 80 w 190"/>
                <a:gd name="T73" fmla="*/ 26 h 650"/>
                <a:gd name="T74" fmla="*/ 72 w 190"/>
                <a:gd name="T75" fmla="*/ 9 h 650"/>
                <a:gd name="T76" fmla="*/ 66 w 190"/>
                <a:gd name="T77" fmla="*/ 15 h 650"/>
                <a:gd name="T78" fmla="*/ 57 w 190"/>
                <a:gd name="T79" fmla="*/ 34 h 650"/>
                <a:gd name="T80" fmla="*/ 59 w 190"/>
                <a:gd name="T81" fmla="*/ 51 h 650"/>
                <a:gd name="T82" fmla="*/ 51 w 190"/>
                <a:gd name="T83" fmla="*/ 80 h 650"/>
                <a:gd name="T84" fmla="*/ 49 w 190"/>
                <a:gd name="T85" fmla="*/ 97 h 650"/>
                <a:gd name="T86" fmla="*/ 53 w 190"/>
                <a:gd name="T87" fmla="*/ 133 h 650"/>
                <a:gd name="T88" fmla="*/ 51 w 190"/>
                <a:gd name="T89" fmla="*/ 141 h 650"/>
                <a:gd name="T90" fmla="*/ 46 w 190"/>
                <a:gd name="T91" fmla="*/ 139 h 650"/>
                <a:gd name="T92" fmla="*/ 38 w 190"/>
                <a:gd name="T93" fmla="*/ 165 h 650"/>
                <a:gd name="T94" fmla="*/ 30 w 190"/>
                <a:gd name="T95" fmla="*/ 169 h 650"/>
                <a:gd name="T96" fmla="*/ 32 w 190"/>
                <a:gd name="T97" fmla="*/ 179 h 650"/>
                <a:gd name="T98" fmla="*/ 40 w 190"/>
                <a:gd name="T99" fmla="*/ 192 h 650"/>
                <a:gd name="T100" fmla="*/ 40 w 190"/>
                <a:gd name="T101" fmla="*/ 201 h 650"/>
                <a:gd name="T102" fmla="*/ 51 w 190"/>
                <a:gd name="T103" fmla="*/ 194 h 650"/>
                <a:gd name="T104" fmla="*/ 44 w 190"/>
                <a:gd name="T105" fmla="*/ 196 h 650"/>
                <a:gd name="T106" fmla="*/ 51 w 190"/>
                <a:gd name="T107" fmla="*/ 165 h 650"/>
                <a:gd name="T108" fmla="*/ 51 w 190"/>
                <a:gd name="T109" fmla="*/ 156 h 650"/>
                <a:gd name="T110" fmla="*/ 57 w 190"/>
                <a:gd name="T111" fmla="*/ 144 h 650"/>
                <a:gd name="T112" fmla="*/ 63 w 190"/>
                <a:gd name="T113" fmla="*/ 133 h 650"/>
                <a:gd name="T114" fmla="*/ 63 w 190"/>
                <a:gd name="T115" fmla="*/ 125 h 650"/>
                <a:gd name="T116" fmla="*/ 65 w 190"/>
                <a:gd name="T117" fmla="*/ 118 h 650"/>
                <a:gd name="T118" fmla="*/ 72 w 190"/>
                <a:gd name="T119" fmla="*/ 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650">
                  <a:moveTo>
                    <a:pt x="156" y="624"/>
                  </a:moveTo>
                  <a:lnTo>
                    <a:pt x="156" y="624"/>
                  </a:lnTo>
                  <a:lnTo>
                    <a:pt x="156" y="620"/>
                  </a:lnTo>
                  <a:lnTo>
                    <a:pt x="154" y="618"/>
                  </a:lnTo>
                  <a:lnTo>
                    <a:pt x="154" y="616"/>
                  </a:lnTo>
                  <a:lnTo>
                    <a:pt x="154" y="612"/>
                  </a:lnTo>
                  <a:lnTo>
                    <a:pt x="152" y="610"/>
                  </a:lnTo>
                  <a:lnTo>
                    <a:pt x="152" y="610"/>
                  </a:lnTo>
                  <a:lnTo>
                    <a:pt x="152" y="608"/>
                  </a:lnTo>
                  <a:lnTo>
                    <a:pt x="150" y="606"/>
                  </a:lnTo>
                  <a:lnTo>
                    <a:pt x="148" y="605"/>
                  </a:lnTo>
                  <a:lnTo>
                    <a:pt x="147" y="605"/>
                  </a:lnTo>
                  <a:lnTo>
                    <a:pt x="147" y="605"/>
                  </a:lnTo>
                  <a:lnTo>
                    <a:pt x="143" y="606"/>
                  </a:lnTo>
                  <a:lnTo>
                    <a:pt x="143" y="606"/>
                  </a:lnTo>
                  <a:lnTo>
                    <a:pt x="141" y="606"/>
                  </a:lnTo>
                  <a:lnTo>
                    <a:pt x="141" y="606"/>
                  </a:lnTo>
                  <a:lnTo>
                    <a:pt x="139" y="608"/>
                  </a:lnTo>
                  <a:lnTo>
                    <a:pt x="139" y="608"/>
                  </a:lnTo>
                  <a:lnTo>
                    <a:pt x="139" y="608"/>
                  </a:lnTo>
                  <a:lnTo>
                    <a:pt x="137" y="608"/>
                  </a:lnTo>
                  <a:lnTo>
                    <a:pt x="135" y="608"/>
                  </a:lnTo>
                  <a:lnTo>
                    <a:pt x="135" y="610"/>
                  </a:lnTo>
                  <a:lnTo>
                    <a:pt x="133" y="614"/>
                  </a:lnTo>
                  <a:lnTo>
                    <a:pt x="131" y="616"/>
                  </a:lnTo>
                  <a:lnTo>
                    <a:pt x="131" y="625"/>
                  </a:lnTo>
                  <a:lnTo>
                    <a:pt x="133" y="624"/>
                  </a:lnTo>
                  <a:lnTo>
                    <a:pt x="135" y="624"/>
                  </a:lnTo>
                  <a:lnTo>
                    <a:pt x="137" y="625"/>
                  </a:lnTo>
                  <a:lnTo>
                    <a:pt x="139" y="627"/>
                  </a:lnTo>
                  <a:lnTo>
                    <a:pt x="139" y="629"/>
                  </a:lnTo>
                  <a:lnTo>
                    <a:pt x="141" y="631"/>
                  </a:lnTo>
                  <a:lnTo>
                    <a:pt x="141" y="633"/>
                  </a:lnTo>
                  <a:lnTo>
                    <a:pt x="143" y="633"/>
                  </a:lnTo>
                  <a:lnTo>
                    <a:pt x="143" y="635"/>
                  </a:lnTo>
                  <a:lnTo>
                    <a:pt x="143" y="635"/>
                  </a:lnTo>
                  <a:lnTo>
                    <a:pt x="143" y="637"/>
                  </a:lnTo>
                  <a:lnTo>
                    <a:pt x="145" y="637"/>
                  </a:lnTo>
                  <a:lnTo>
                    <a:pt x="143" y="637"/>
                  </a:lnTo>
                  <a:lnTo>
                    <a:pt x="143" y="639"/>
                  </a:lnTo>
                  <a:lnTo>
                    <a:pt x="145" y="639"/>
                  </a:lnTo>
                  <a:lnTo>
                    <a:pt x="145" y="641"/>
                  </a:lnTo>
                  <a:lnTo>
                    <a:pt x="145" y="641"/>
                  </a:lnTo>
                  <a:lnTo>
                    <a:pt x="145" y="643"/>
                  </a:lnTo>
                  <a:lnTo>
                    <a:pt x="147" y="643"/>
                  </a:lnTo>
                  <a:lnTo>
                    <a:pt x="147" y="645"/>
                  </a:lnTo>
                  <a:lnTo>
                    <a:pt x="147" y="646"/>
                  </a:lnTo>
                  <a:lnTo>
                    <a:pt x="147" y="648"/>
                  </a:lnTo>
                  <a:lnTo>
                    <a:pt x="147" y="648"/>
                  </a:lnTo>
                  <a:lnTo>
                    <a:pt x="148" y="650"/>
                  </a:lnTo>
                  <a:lnTo>
                    <a:pt x="150" y="646"/>
                  </a:lnTo>
                  <a:lnTo>
                    <a:pt x="152" y="645"/>
                  </a:lnTo>
                  <a:lnTo>
                    <a:pt x="152" y="645"/>
                  </a:lnTo>
                  <a:lnTo>
                    <a:pt x="154" y="645"/>
                  </a:lnTo>
                  <a:lnTo>
                    <a:pt x="154" y="645"/>
                  </a:lnTo>
                  <a:lnTo>
                    <a:pt x="154" y="645"/>
                  </a:lnTo>
                  <a:lnTo>
                    <a:pt x="156" y="645"/>
                  </a:lnTo>
                  <a:lnTo>
                    <a:pt x="156" y="643"/>
                  </a:lnTo>
                  <a:lnTo>
                    <a:pt x="154" y="643"/>
                  </a:lnTo>
                  <a:lnTo>
                    <a:pt x="154" y="643"/>
                  </a:lnTo>
                  <a:lnTo>
                    <a:pt x="154" y="641"/>
                  </a:lnTo>
                  <a:lnTo>
                    <a:pt x="154" y="637"/>
                  </a:lnTo>
                  <a:lnTo>
                    <a:pt x="158" y="633"/>
                  </a:lnTo>
                  <a:lnTo>
                    <a:pt x="158" y="629"/>
                  </a:lnTo>
                  <a:lnTo>
                    <a:pt x="158" y="625"/>
                  </a:lnTo>
                  <a:lnTo>
                    <a:pt x="156" y="624"/>
                  </a:lnTo>
                  <a:close/>
                  <a:moveTo>
                    <a:pt x="137" y="597"/>
                  </a:moveTo>
                  <a:lnTo>
                    <a:pt x="139" y="597"/>
                  </a:lnTo>
                  <a:lnTo>
                    <a:pt x="139" y="595"/>
                  </a:lnTo>
                  <a:lnTo>
                    <a:pt x="139" y="593"/>
                  </a:lnTo>
                  <a:lnTo>
                    <a:pt x="139" y="591"/>
                  </a:lnTo>
                  <a:lnTo>
                    <a:pt x="139" y="591"/>
                  </a:lnTo>
                  <a:lnTo>
                    <a:pt x="137" y="589"/>
                  </a:lnTo>
                  <a:lnTo>
                    <a:pt x="137" y="589"/>
                  </a:lnTo>
                  <a:lnTo>
                    <a:pt x="137" y="587"/>
                  </a:lnTo>
                  <a:lnTo>
                    <a:pt x="137" y="586"/>
                  </a:lnTo>
                  <a:lnTo>
                    <a:pt x="135" y="587"/>
                  </a:lnTo>
                  <a:lnTo>
                    <a:pt x="135" y="589"/>
                  </a:lnTo>
                  <a:lnTo>
                    <a:pt x="133" y="591"/>
                  </a:lnTo>
                  <a:lnTo>
                    <a:pt x="131" y="591"/>
                  </a:lnTo>
                  <a:lnTo>
                    <a:pt x="129" y="593"/>
                  </a:lnTo>
                  <a:lnTo>
                    <a:pt x="127" y="595"/>
                  </a:lnTo>
                  <a:lnTo>
                    <a:pt x="127" y="597"/>
                  </a:lnTo>
                  <a:lnTo>
                    <a:pt x="127" y="597"/>
                  </a:lnTo>
                  <a:lnTo>
                    <a:pt x="129" y="599"/>
                  </a:lnTo>
                  <a:lnTo>
                    <a:pt x="129" y="599"/>
                  </a:lnTo>
                  <a:lnTo>
                    <a:pt x="129" y="601"/>
                  </a:lnTo>
                  <a:lnTo>
                    <a:pt x="129" y="601"/>
                  </a:lnTo>
                  <a:lnTo>
                    <a:pt x="129" y="603"/>
                  </a:lnTo>
                  <a:lnTo>
                    <a:pt x="129" y="603"/>
                  </a:lnTo>
                  <a:lnTo>
                    <a:pt x="131" y="603"/>
                  </a:lnTo>
                  <a:lnTo>
                    <a:pt x="135" y="599"/>
                  </a:lnTo>
                  <a:lnTo>
                    <a:pt x="137" y="597"/>
                  </a:lnTo>
                  <a:close/>
                  <a:moveTo>
                    <a:pt x="112" y="538"/>
                  </a:moveTo>
                  <a:lnTo>
                    <a:pt x="112" y="538"/>
                  </a:lnTo>
                  <a:lnTo>
                    <a:pt x="110" y="538"/>
                  </a:lnTo>
                  <a:lnTo>
                    <a:pt x="108" y="536"/>
                  </a:lnTo>
                  <a:lnTo>
                    <a:pt x="108" y="536"/>
                  </a:lnTo>
                  <a:lnTo>
                    <a:pt x="108" y="534"/>
                  </a:lnTo>
                  <a:lnTo>
                    <a:pt x="108" y="532"/>
                  </a:lnTo>
                  <a:lnTo>
                    <a:pt x="108" y="532"/>
                  </a:lnTo>
                  <a:lnTo>
                    <a:pt x="106" y="532"/>
                  </a:lnTo>
                  <a:lnTo>
                    <a:pt x="105" y="532"/>
                  </a:lnTo>
                  <a:lnTo>
                    <a:pt x="103" y="532"/>
                  </a:lnTo>
                  <a:lnTo>
                    <a:pt x="101" y="534"/>
                  </a:lnTo>
                  <a:lnTo>
                    <a:pt x="101" y="538"/>
                  </a:lnTo>
                  <a:lnTo>
                    <a:pt x="101" y="540"/>
                  </a:lnTo>
                  <a:lnTo>
                    <a:pt x="101" y="540"/>
                  </a:lnTo>
                  <a:lnTo>
                    <a:pt x="103" y="540"/>
                  </a:lnTo>
                  <a:lnTo>
                    <a:pt x="103" y="540"/>
                  </a:lnTo>
                  <a:lnTo>
                    <a:pt x="103" y="540"/>
                  </a:lnTo>
                  <a:lnTo>
                    <a:pt x="105" y="540"/>
                  </a:lnTo>
                  <a:lnTo>
                    <a:pt x="103" y="542"/>
                  </a:lnTo>
                  <a:lnTo>
                    <a:pt x="103" y="542"/>
                  </a:lnTo>
                  <a:lnTo>
                    <a:pt x="105" y="544"/>
                  </a:lnTo>
                  <a:lnTo>
                    <a:pt x="105" y="544"/>
                  </a:lnTo>
                  <a:lnTo>
                    <a:pt x="106" y="546"/>
                  </a:lnTo>
                  <a:lnTo>
                    <a:pt x="106" y="544"/>
                  </a:lnTo>
                  <a:lnTo>
                    <a:pt x="108" y="544"/>
                  </a:lnTo>
                  <a:lnTo>
                    <a:pt x="108" y="544"/>
                  </a:lnTo>
                  <a:lnTo>
                    <a:pt x="110" y="544"/>
                  </a:lnTo>
                  <a:lnTo>
                    <a:pt x="110" y="544"/>
                  </a:lnTo>
                  <a:lnTo>
                    <a:pt x="112" y="544"/>
                  </a:lnTo>
                  <a:lnTo>
                    <a:pt x="114" y="546"/>
                  </a:lnTo>
                  <a:lnTo>
                    <a:pt x="114" y="546"/>
                  </a:lnTo>
                  <a:lnTo>
                    <a:pt x="114" y="544"/>
                  </a:lnTo>
                  <a:lnTo>
                    <a:pt x="114" y="542"/>
                  </a:lnTo>
                  <a:lnTo>
                    <a:pt x="114" y="542"/>
                  </a:lnTo>
                  <a:lnTo>
                    <a:pt x="112" y="538"/>
                  </a:lnTo>
                  <a:close/>
                  <a:moveTo>
                    <a:pt x="124" y="534"/>
                  </a:moveTo>
                  <a:lnTo>
                    <a:pt x="124" y="532"/>
                  </a:lnTo>
                  <a:lnTo>
                    <a:pt x="122" y="532"/>
                  </a:lnTo>
                  <a:lnTo>
                    <a:pt x="122" y="532"/>
                  </a:lnTo>
                  <a:lnTo>
                    <a:pt x="122" y="534"/>
                  </a:lnTo>
                  <a:lnTo>
                    <a:pt x="120" y="532"/>
                  </a:lnTo>
                  <a:lnTo>
                    <a:pt x="120" y="534"/>
                  </a:lnTo>
                  <a:lnTo>
                    <a:pt x="120" y="536"/>
                  </a:lnTo>
                  <a:lnTo>
                    <a:pt x="120" y="536"/>
                  </a:lnTo>
                  <a:lnTo>
                    <a:pt x="126" y="540"/>
                  </a:lnTo>
                  <a:lnTo>
                    <a:pt x="126" y="536"/>
                  </a:lnTo>
                  <a:lnTo>
                    <a:pt x="126" y="534"/>
                  </a:lnTo>
                  <a:lnTo>
                    <a:pt x="124" y="534"/>
                  </a:lnTo>
                  <a:close/>
                  <a:moveTo>
                    <a:pt x="120" y="530"/>
                  </a:moveTo>
                  <a:lnTo>
                    <a:pt x="120" y="530"/>
                  </a:lnTo>
                  <a:lnTo>
                    <a:pt x="122" y="530"/>
                  </a:lnTo>
                  <a:lnTo>
                    <a:pt x="122" y="528"/>
                  </a:lnTo>
                  <a:lnTo>
                    <a:pt x="122" y="528"/>
                  </a:lnTo>
                  <a:lnTo>
                    <a:pt x="120" y="525"/>
                  </a:lnTo>
                  <a:lnTo>
                    <a:pt x="120" y="521"/>
                  </a:lnTo>
                  <a:lnTo>
                    <a:pt x="118" y="519"/>
                  </a:lnTo>
                  <a:lnTo>
                    <a:pt x="120" y="517"/>
                  </a:lnTo>
                  <a:lnTo>
                    <a:pt x="120" y="517"/>
                  </a:lnTo>
                  <a:lnTo>
                    <a:pt x="122" y="515"/>
                  </a:lnTo>
                  <a:lnTo>
                    <a:pt x="122" y="513"/>
                  </a:lnTo>
                  <a:lnTo>
                    <a:pt x="120" y="513"/>
                  </a:lnTo>
                  <a:lnTo>
                    <a:pt x="118" y="511"/>
                  </a:lnTo>
                  <a:lnTo>
                    <a:pt x="116" y="513"/>
                  </a:lnTo>
                  <a:lnTo>
                    <a:pt x="116" y="513"/>
                  </a:lnTo>
                  <a:lnTo>
                    <a:pt x="116" y="515"/>
                  </a:lnTo>
                  <a:lnTo>
                    <a:pt x="114" y="517"/>
                  </a:lnTo>
                  <a:lnTo>
                    <a:pt x="114" y="517"/>
                  </a:lnTo>
                  <a:lnTo>
                    <a:pt x="114" y="519"/>
                  </a:lnTo>
                  <a:lnTo>
                    <a:pt x="114" y="519"/>
                  </a:lnTo>
                  <a:lnTo>
                    <a:pt x="114" y="525"/>
                  </a:lnTo>
                  <a:lnTo>
                    <a:pt x="116" y="527"/>
                  </a:lnTo>
                  <a:lnTo>
                    <a:pt x="116" y="528"/>
                  </a:lnTo>
                  <a:lnTo>
                    <a:pt x="118" y="527"/>
                  </a:lnTo>
                  <a:lnTo>
                    <a:pt x="118" y="527"/>
                  </a:lnTo>
                  <a:lnTo>
                    <a:pt x="120" y="527"/>
                  </a:lnTo>
                  <a:lnTo>
                    <a:pt x="120" y="527"/>
                  </a:lnTo>
                  <a:lnTo>
                    <a:pt x="120" y="528"/>
                  </a:lnTo>
                  <a:lnTo>
                    <a:pt x="118" y="528"/>
                  </a:lnTo>
                  <a:lnTo>
                    <a:pt x="118" y="528"/>
                  </a:lnTo>
                  <a:lnTo>
                    <a:pt x="118" y="528"/>
                  </a:lnTo>
                  <a:lnTo>
                    <a:pt x="118" y="528"/>
                  </a:lnTo>
                  <a:lnTo>
                    <a:pt x="116" y="530"/>
                  </a:lnTo>
                  <a:lnTo>
                    <a:pt x="116" y="530"/>
                  </a:lnTo>
                  <a:lnTo>
                    <a:pt x="116" y="532"/>
                  </a:lnTo>
                  <a:lnTo>
                    <a:pt x="116" y="534"/>
                  </a:lnTo>
                  <a:lnTo>
                    <a:pt x="118" y="534"/>
                  </a:lnTo>
                  <a:lnTo>
                    <a:pt x="120" y="532"/>
                  </a:lnTo>
                  <a:lnTo>
                    <a:pt x="120" y="530"/>
                  </a:lnTo>
                  <a:lnTo>
                    <a:pt x="120" y="530"/>
                  </a:lnTo>
                  <a:close/>
                  <a:moveTo>
                    <a:pt x="87" y="511"/>
                  </a:moveTo>
                  <a:lnTo>
                    <a:pt x="84" y="511"/>
                  </a:lnTo>
                  <a:lnTo>
                    <a:pt x="82" y="509"/>
                  </a:lnTo>
                  <a:lnTo>
                    <a:pt x="82" y="508"/>
                  </a:lnTo>
                  <a:lnTo>
                    <a:pt x="82" y="506"/>
                  </a:lnTo>
                  <a:lnTo>
                    <a:pt x="82" y="502"/>
                  </a:lnTo>
                  <a:lnTo>
                    <a:pt x="82" y="500"/>
                  </a:lnTo>
                  <a:lnTo>
                    <a:pt x="80" y="500"/>
                  </a:lnTo>
                  <a:lnTo>
                    <a:pt x="78" y="502"/>
                  </a:lnTo>
                  <a:lnTo>
                    <a:pt x="78" y="502"/>
                  </a:lnTo>
                  <a:lnTo>
                    <a:pt x="78" y="504"/>
                  </a:lnTo>
                  <a:lnTo>
                    <a:pt x="78" y="506"/>
                  </a:lnTo>
                  <a:lnTo>
                    <a:pt x="78" y="508"/>
                  </a:lnTo>
                  <a:lnTo>
                    <a:pt x="80" y="511"/>
                  </a:lnTo>
                  <a:lnTo>
                    <a:pt x="82" y="513"/>
                  </a:lnTo>
                  <a:lnTo>
                    <a:pt x="84" y="513"/>
                  </a:lnTo>
                  <a:lnTo>
                    <a:pt x="86" y="515"/>
                  </a:lnTo>
                  <a:lnTo>
                    <a:pt x="87" y="515"/>
                  </a:lnTo>
                  <a:lnTo>
                    <a:pt x="87" y="513"/>
                  </a:lnTo>
                  <a:lnTo>
                    <a:pt x="87" y="513"/>
                  </a:lnTo>
                  <a:lnTo>
                    <a:pt x="87" y="511"/>
                  </a:lnTo>
                  <a:close/>
                  <a:moveTo>
                    <a:pt x="127" y="487"/>
                  </a:moveTo>
                  <a:lnTo>
                    <a:pt x="127" y="489"/>
                  </a:lnTo>
                  <a:lnTo>
                    <a:pt x="127" y="492"/>
                  </a:lnTo>
                  <a:lnTo>
                    <a:pt x="127" y="492"/>
                  </a:lnTo>
                  <a:lnTo>
                    <a:pt x="127" y="492"/>
                  </a:lnTo>
                  <a:lnTo>
                    <a:pt x="129" y="490"/>
                  </a:lnTo>
                  <a:lnTo>
                    <a:pt x="129" y="489"/>
                  </a:lnTo>
                  <a:lnTo>
                    <a:pt x="129" y="489"/>
                  </a:lnTo>
                  <a:lnTo>
                    <a:pt x="129" y="487"/>
                  </a:lnTo>
                  <a:lnTo>
                    <a:pt x="129" y="485"/>
                  </a:lnTo>
                  <a:lnTo>
                    <a:pt x="127" y="483"/>
                  </a:lnTo>
                  <a:lnTo>
                    <a:pt x="127" y="481"/>
                  </a:lnTo>
                  <a:lnTo>
                    <a:pt x="127" y="481"/>
                  </a:lnTo>
                  <a:lnTo>
                    <a:pt x="127" y="483"/>
                  </a:lnTo>
                  <a:lnTo>
                    <a:pt x="127" y="487"/>
                  </a:lnTo>
                  <a:close/>
                  <a:moveTo>
                    <a:pt x="53" y="418"/>
                  </a:moveTo>
                  <a:lnTo>
                    <a:pt x="51" y="416"/>
                  </a:lnTo>
                  <a:lnTo>
                    <a:pt x="49" y="416"/>
                  </a:lnTo>
                  <a:lnTo>
                    <a:pt x="49" y="416"/>
                  </a:lnTo>
                  <a:lnTo>
                    <a:pt x="49" y="418"/>
                  </a:lnTo>
                  <a:lnTo>
                    <a:pt x="49" y="418"/>
                  </a:lnTo>
                  <a:lnTo>
                    <a:pt x="47" y="420"/>
                  </a:lnTo>
                  <a:lnTo>
                    <a:pt x="46" y="420"/>
                  </a:lnTo>
                  <a:lnTo>
                    <a:pt x="46" y="422"/>
                  </a:lnTo>
                  <a:lnTo>
                    <a:pt x="46" y="424"/>
                  </a:lnTo>
                  <a:lnTo>
                    <a:pt x="46" y="426"/>
                  </a:lnTo>
                  <a:lnTo>
                    <a:pt x="47" y="428"/>
                  </a:lnTo>
                  <a:lnTo>
                    <a:pt x="53" y="430"/>
                  </a:lnTo>
                  <a:lnTo>
                    <a:pt x="57" y="426"/>
                  </a:lnTo>
                  <a:lnTo>
                    <a:pt x="57" y="422"/>
                  </a:lnTo>
                  <a:lnTo>
                    <a:pt x="55" y="418"/>
                  </a:lnTo>
                  <a:lnTo>
                    <a:pt x="53" y="418"/>
                  </a:lnTo>
                  <a:close/>
                  <a:moveTo>
                    <a:pt x="34" y="274"/>
                  </a:moveTo>
                  <a:lnTo>
                    <a:pt x="34" y="274"/>
                  </a:lnTo>
                  <a:lnTo>
                    <a:pt x="32" y="270"/>
                  </a:lnTo>
                  <a:lnTo>
                    <a:pt x="32" y="268"/>
                  </a:lnTo>
                  <a:lnTo>
                    <a:pt x="30" y="264"/>
                  </a:lnTo>
                  <a:lnTo>
                    <a:pt x="28" y="262"/>
                  </a:lnTo>
                  <a:lnTo>
                    <a:pt x="25" y="264"/>
                  </a:lnTo>
                  <a:lnTo>
                    <a:pt x="19" y="268"/>
                  </a:lnTo>
                  <a:lnTo>
                    <a:pt x="19" y="270"/>
                  </a:lnTo>
                  <a:lnTo>
                    <a:pt x="19" y="272"/>
                  </a:lnTo>
                  <a:lnTo>
                    <a:pt x="17" y="274"/>
                  </a:lnTo>
                  <a:lnTo>
                    <a:pt x="15" y="274"/>
                  </a:lnTo>
                  <a:lnTo>
                    <a:pt x="15" y="274"/>
                  </a:lnTo>
                  <a:lnTo>
                    <a:pt x="15" y="274"/>
                  </a:lnTo>
                  <a:lnTo>
                    <a:pt x="15" y="277"/>
                  </a:lnTo>
                  <a:lnTo>
                    <a:pt x="15" y="279"/>
                  </a:lnTo>
                  <a:lnTo>
                    <a:pt x="15" y="283"/>
                  </a:lnTo>
                  <a:lnTo>
                    <a:pt x="15" y="285"/>
                  </a:lnTo>
                  <a:lnTo>
                    <a:pt x="17" y="287"/>
                  </a:lnTo>
                  <a:lnTo>
                    <a:pt x="19" y="289"/>
                  </a:lnTo>
                  <a:lnTo>
                    <a:pt x="19" y="291"/>
                  </a:lnTo>
                  <a:lnTo>
                    <a:pt x="17" y="293"/>
                  </a:lnTo>
                  <a:lnTo>
                    <a:pt x="15" y="296"/>
                  </a:lnTo>
                  <a:lnTo>
                    <a:pt x="15" y="296"/>
                  </a:lnTo>
                  <a:lnTo>
                    <a:pt x="17" y="296"/>
                  </a:lnTo>
                  <a:lnTo>
                    <a:pt x="19" y="296"/>
                  </a:lnTo>
                  <a:lnTo>
                    <a:pt x="21" y="296"/>
                  </a:lnTo>
                  <a:lnTo>
                    <a:pt x="23" y="296"/>
                  </a:lnTo>
                  <a:lnTo>
                    <a:pt x="25" y="298"/>
                  </a:lnTo>
                  <a:lnTo>
                    <a:pt x="26" y="298"/>
                  </a:lnTo>
                  <a:lnTo>
                    <a:pt x="28" y="298"/>
                  </a:lnTo>
                  <a:lnTo>
                    <a:pt x="30" y="296"/>
                  </a:lnTo>
                  <a:lnTo>
                    <a:pt x="32" y="293"/>
                  </a:lnTo>
                  <a:lnTo>
                    <a:pt x="30" y="291"/>
                  </a:lnTo>
                  <a:lnTo>
                    <a:pt x="30" y="291"/>
                  </a:lnTo>
                  <a:lnTo>
                    <a:pt x="30" y="289"/>
                  </a:lnTo>
                  <a:lnTo>
                    <a:pt x="30" y="287"/>
                  </a:lnTo>
                  <a:lnTo>
                    <a:pt x="32" y="287"/>
                  </a:lnTo>
                  <a:lnTo>
                    <a:pt x="32" y="285"/>
                  </a:lnTo>
                  <a:lnTo>
                    <a:pt x="34" y="283"/>
                  </a:lnTo>
                  <a:lnTo>
                    <a:pt x="34" y="281"/>
                  </a:lnTo>
                  <a:lnTo>
                    <a:pt x="34" y="277"/>
                  </a:lnTo>
                  <a:lnTo>
                    <a:pt x="34" y="274"/>
                  </a:lnTo>
                  <a:close/>
                  <a:moveTo>
                    <a:pt x="44" y="215"/>
                  </a:moveTo>
                  <a:lnTo>
                    <a:pt x="42" y="215"/>
                  </a:lnTo>
                  <a:lnTo>
                    <a:pt x="42" y="213"/>
                  </a:lnTo>
                  <a:lnTo>
                    <a:pt x="44" y="211"/>
                  </a:lnTo>
                  <a:lnTo>
                    <a:pt x="44" y="211"/>
                  </a:lnTo>
                  <a:lnTo>
                    <a:pt x="44" y="209"/>
                  </a:lnTo>
                  <a:lnTo>
                    <a:pt x="42" y="207"/>
                  </a:lnTo>
                  <a:lnTo>
                    <a:pt x="40" y="205"/>
                  </a:lnTo>
                  <a:lnTo>
                    <a:pt x="38" y="205"/>
                  </a:lnTo>
                  <a:lnTo>
                    <a:pt x="38" y="209"/>
                  </a:lnTo>
                  <a:lnTo>
                    <a:pt x="38" y="211"/>
                  </a:lnTo>
                  <a:lnTo>
                    <a:pt x="38" y="213"/>
                  </a:lnTo>
                  <a:lnTo>
                    <a:pt x="38" y="215"/>
                  </a:lnTo>
                  <a:lnTo>
                    <a:pt x="38" y="215"/>
                  </a:lnTo>
                  <a:lnTo>
                    <a:pt x="36" y="215"/>
                  </a:lnTo>
                  <a:lnTo>
                    <a:pt x="36" y="215"/>
                  </a:lnTo>
                  <a:lnTo>
                    <a:pt x="34" y="215"/>
                  </a:lnTo>
                  <a:lnTo>
                    <a:pt x="34" y="218"/>
                  </a:lnTo>
                  <a:lnTo>
                    <a:pt x="36" y="218"/>
                  </a:lnTo>
                  <a:lnTo>
                    <a:pt x="36" y="218"/>
                  </a:lnTo>
                  <a:lnTo>
                    <a:pt x="36" y="218"/>
                  </a:lnTo>
                  <a:lnTo>
                    <a:pt x="38" y="220"/>
                  </a:lnTo>
                  <a:lnTo>
                    <a:pt x="40" y="218"/>
                  </a:lnTo>
                  <a:lnTo>
                    <a:pt x="42" y="218"/>
                  </a:lnTo>
                  <a:lnTo>
                    <a:pt x="44" y="218"/>
                  </a:lnTo>
                  <a:lnTo>
                    <a:pt x="44" y="217"/>
                  </a:lnTo>
                  <a:lnTo>
                    <a:pt x="44" y="217"/>
                  </a:lnTo>
                  <a:lnTo>
                    <a:pt x="44" y="215"/>
                  </a:lnTo>
                  <a:close/>
                  <a:moveTo>
                    <a:pt x="4" y="198"/>
                  </a:moveTo>
                  <a:lnTo>
                    <a:pt x="4" y="198"/>
                  </a:lnTo>
                  <a:lnTo>
                    <a:pt x="2" y="198"/>
                  </a:lnTo>
                  <a:lnTo>
                    <a:pt x="0" y="198"/>
                  </a:lnTo>
                  <a:lnTo>
                    <a:pt x="0" y="198"/>
                  </a:lnTo>
                  <a:lnTo>
                    <a:pt x="2" y="199"/>
                  </a:lnTo>
                  <a:lnTo>
                    <a:pt x="2" y="203"/>
                  </a:lnTo>
                  <a:lnTo>
                    <a:pt x="4" y="203"/>
                  </a:lnTo>
                  <a:lnTo>
                    <a:pt x="6" y="203"/>
                  </a:lnTo>
                  <a:lnTo>
                    <a:pt x="6" y="201"/>
                  </a:lnTo>
                  <a:lnTo>
                    <a:pt x="6" y="199"/>
                  </a:lnTo>
                  <a:lnTo>
                    <a:pt x="6" y="198"/>
                  </a:lnTo>
                  <a:lnTo>
                    <a:pt x="4" y="198"/>
                  </a:lnTo>
                  <a:close/>
                  <a:moveTo>
                    <a:pt x="76" y="163"/>
                  </a:moveTo>
                  <a:lnTo>
                    <a:pt x="76" y="163"/>
                  </a:lnTo>
                  <a:lnTo>
                    <a:pt x="76" y="161"/>
                  </a:lnTo>
                  <a:lnTo>
                    <a:pt x="74" y="158"/>
                  </a:lnTo>
                  <a:lnTo>
                    <a:pt x="74" y="156"/>
                  </a:lnTo>
                  <a:lnTo>
                    <a:pt x="74" y="156"/>
                  </a:lnTo>
                  <a:lnTo>
                    <a:pt x="70" y="156"/>
                  </a:lnTo>
                  <a:lnTo>
                    <a:pt x="70" y="156"/>
                  </a:lnTo>
                  <a:lnTo>
                    <a:pt x="68" y="158"/>
                  </a:lnTo>
                  <a:lnTo>
                    <a:pt x="66" y="160"/>
                  </a:lnTo>
                  <a:lnTo>
                    <a:pt x="68" y="161"/>
                  </a:lnTo>
                  <a:lnTo>
                    <a:pt x="68" y="161"/>
                  </a:lnTo>
                  <a:lnTo>
                    <a:pt x="70" y="161"/>
                  </a:lnTo>
                  <a:lnTo>
                    <a:pt x="70" y="163"/>
                  </a:lnTo>
                  <a:lnTo>
                    <a:pt x="70" y="163"/>
                  </a:lnTo>
                  <a:lnTo>
                    <a:pt x="72" y="163"/>
                  </a:lnTo>
                  <a:lnTo>
                    <a:pt x="74" y="163"/>
                  </a:lnTo>
                  <a:lnTo>
                    <a:pt x="74" y="165"/>
                  </a:lnTo>
                  <a:lnTo>
                    <a:pt x="74" y="165"/>
                  </a:lnTo>
                  <a:lnTo>
                    <a:pt x="76" y="167"/>
                  </a:lnTo>
                  <a:lnTo>
                    <a:pt x="76" y="169"/>
                  </a:lnTo>
                  <a:lnTo>
                    <a:pt x="78" y="169"/>
                  </a:lnTo>
                  <a:lnTo>
                    <a:pt x="76" y="163"/>
                  </a:lnTo>
                  <a:close/>
                  <a:moveTo>
                    <a:pt x="78" y="141"/>
                  </a:moveTo>
                  <a:lnTo>
                    <a:pt x="78" y="142"/>
                  </a:lnTo>
                  <a:lnTo>
                    <a:pt x="78" y="144"/>
                  </a:lnTo>
                  <a:lnTo>
                    <a:pt x="78" y="146"/>
                  </a:lnTo>
                  <a:lnTo>
                    <a:pt x="78" y="146"/>
                  </a:lnTo>
                  <a:lnTo>
                    <a:pt x="80" y="148"/>
                  </a:lnTo>
                  <a:lnTo>
                    <a:pt x="80" y="150"/>
                  </a:lnTo>
                  <a:lnTo>
                    <a:pt x="80" y="150"/>
                  </a:lnTo>
                  <a:lnTo>
                    <a:pt x="82" y="150"/>
                  </a:lnTo>
                  <a:lnTo>
                    <a:pt x="82" y="148"/>
                  </a:lnTo>
                  <a:lnTo>
                    <a:pt x="82" y="144"/>
                  </a:lnTo>
                  <a:lnTo>
                    <a:pt x="82" y="144"/>
                  </a:lnTo>
                  <a:lnTo>
                    <a:pt x="82" y="142"/>
                  </a:lnTo>
                  <a:lnTo>
                    <a:pt x="82" y="142"/>
                  </a:lnTo>
                  <a:lnTo>
                    <a:pt x="82" y="141"/>
                  </a:lnTo>
                  <a:lnTo>
                    <a:pt x="82" y="141"/>
                  </a:lnTo>
                  <a:lnTo>
                    <a:pt x="82" y="141"/>
                  </a:lnTo>
                  <a:lnTo>
                    <a:pt x="80" y="141"/>
                  </a:lnTo>
                  <a:lnTo>
                    <a:pt x="80" y="141"/>
                  </a:lnTo>
                  <a:lnTo>
                    <a:pt x="78" y="141"/>
                  </a:lnTo>
                  <a:lnTo>
                    <a:pt x="78" y="141"/>
                  </a:lnTo>
                  <a:close/>
                  <a:moveTo>
                    <a:pt x="152" y="133"/>
                  </a:moveTo>
                  <a:lnTo>
                    <a:pt x="152" y="133"/>
                  </a:lnTo>
                  <a:lnTo>
                    <a:pt x="150" y="133"/>
                  </a:lnTo>
                  <a:lnTo>
                    <a:pt x="150" y="135"/>
                  </a:lnTo>
                  <a:lnTo>
                    <a:pt x="152" y="133"/>
                  </a:lnTo>
                  <a:close/>
                  <a:moveTo>
                    <a:pt x="44" y="83"/>
                  </a:moveTo>
                  <a:lnTo>
                    <a:pt x="44" y="82"/>
                  </a:lnTo>
                  <a:lnTo>
                    <a:pt x="44" y="82"/>
                  </a:lnTo>
                  <a:lnTo>
                    <a:pt x="44" y="80"/>
                  </a:lnTo>
                  <a:lnTo>
                    <a:pt x="44" y="80"/>
                  </a:lnTo>
                  <a:lnTo>
                    <a:pt x="46" y="78"/>
                  </a:lnTo>
                  <a:lnTo>
                    <a:pt x="47" y="76"/>
                  </a:lnTo>
                  <a:lnTo>
                    <a:pt x="47" y="74"/>
                  </a:lnTo>
                  <a:lnTo>
                    <a:pt x="47" y="70"/>
                  </a:lnTo>
                  <a:lnTo>
                    <a:pt x="47" y="68"/>
                  </a:lnTo>
                  <a:lnTo>
                    <a:pt x="47" y="68"/>
                  </a:lnTo>
                  <a:lnTo>
                    <a:pt x="47" y="66"/>
                  </a:lnTo>
                  <a:lnTo>
                    <a:pt x="47" y="66"/>
                  </a:lnTo>
                  <a:lnTo>
                    <a:pt x="46" y="66"/>
                  </a:lnTo>
                  <a:lnTo>
                    <a:pt x="46" y="66"/>
                  </a:lnTo>
                  <a:lnTo>
                    <a:pt x="46" y="66"/>
                  </a:lnTo>
                  <a:lnTo>
                    <a:pt x="44" y="66"/>
                  </a:lnTo>
                  <a:lnTo>
                    <a:pt x="44" y="66"/>
                  </a:lnTo>
                  <a:lnTo>
                    <a:pt x="44" y="68"/>
                  </a:lnTo>
                  <a:lnTo>
                    <a:pt x="44" y="70"/>
                  </a:lnTo>
                  <a:lnTo>
                    <a:pt x="42" y="76"/>
                  </a:lnTo>
                  <a:lnTo>
                    <a:pt x="42" y="76"/>
                  </a:lnTo>
                  <a:lnTo>
                    <a:pt x="42" y="78"/>
                  </a:lnTo>
                  <a:lnTo>
                    <a:pt x="44" y="83"/>
                  </a:lnTo>
                  <a:lnTo>
                    <a:pt x="44" y="83"/>
                  </a:lnTo>
                  <a:close/>
                  <a:moveTo>
                    <a:pt x="190" y="23"/>
                  </a:moveTo>
                  <a:lnTo>
                    <a:pt x="188" y="25"/>
                  </a:lnTo>
                  <a:lnTo>
                    <a:pt x="190" y="25"/>
                  </a:lnTo>
                  <a:lnTo>
                    <a:pt x="190" y="25"/>
                  </a:lnTo>
                  <a:lnTo>
                    <a:pt x="190" y="23"/>
                  </a:lnTo>
                  <a:close/>
                  <a:moveTo>
                    <a:pt x="68" y="116"/>
                  </a:moveTo>
                  <a:lnTo>
                    <a:pt x="68" y="116"/>
                  </a:lnTo>
                  <a:lnTo>
                    <a:pt x="68" y="114"/>
                  </a:lnTo>
                  <a:lnTo>
                    <a:pt x="68" y="112"/>
                  </a:lnTo>
                  <a:lnTo>
                    <a:pt x="70" y="112"/>
                  </a:lnTo>
                  <a:lnTo>
                    <a:pt x="70" y="110"/>
                  </a:lnTo>
                  <a:lnTo>
                    <a:pt x="72" y="106"/>
                  </a:lnTo>
                  <a:lnTo>
                    <a:pt x="70" y="102"/>
                  </a:lnTo>
                  <a:lnTo>
                    <a:pt x="70" y="101"/>
                  </a:lnTo>
                  <a:lnTo>
                    <a:pt x="70" y="97"/>
                  </a:lnTo>
                  <a:lnTo>
                    <a:pt x="70" y="93"/>
                  </a:lnTo>
                  <a:lnTo>
                    <a:pt x="70" y="91"/>
                  </a:lnTo>
                  <a:lnTo>
                    <a:pt x="70" y="89"/>
                  </a:lnTo>
                  <a:lnTo>
                    <a:pt x="70" y="87"/>
                  </a:lnTo>
                  <a:lnTo>
                    <a:pt x="68" y="85"/>
                  </a:lnTo>
                  <a:lnTo>
                    <a:pt x="68" y="83"/>
                  </a:lnTo>
                  <a:lnTo>
                    <a:pt x="68" y="82"/>
                  </a:lnTo>
                  <a:lnTo>
                    <a:pt x="68" y="80"/>
                  </a:lnTo>
                  <a:lnTo>
                    <a:pt x="68" y="78"/>
                  </a:lnTo>
                  <a:lnTo>
                    <a:pt x="66" y="76"/>
                  </a:lnTo>
                  <a:lnTo>
                    <a:pt x="66" y="74"/>
                  </a:lnTo>
                  <a:lnTo>
                    <a:pt x="66" y="74"/>
                  </a:lnTo>
                  <a:lnTo>
                    <a:pt x="65" y="74"/>
                  </a:lnTo>
                  <a:lnTo>
                    <a:pt x="65" y="72"/>
                  </a:lnTo>
                  <a:lnTo>
                    <a:pt x="65" y="72"/>
                  </a:lnTo>
                  <a:lnTo>
                    <a:pt x="63" y="74"/>
                  </a:lnTo>
                  <a:lnTo>
                    <a:pt x="63" y="74"/>
                  </a:lnTo>
                  <a:lnTo>
                    <a:pt x="61" y="74"/>
                  </a:lnTo>
                  <a:lnTo>
                    <a:pt x="61" y="74"/>
                  </a:lnTo>
                  <a:lnTo>
                    <a:pt x="61" y="72"/>
                  </a:lnTo>
                  <a:lnTo>
                    <a:pt x="61" y="72"/>
                  </a:lnTo>
                  <a:lnTo>
                    <a:pt x="61" y="72"/>
                  </a:lnTo>
                  <a:lnTo>
                    <a:pt x="63" y="66"/>
                  </a:lnTo>
                  <a:lnTo>
                    <a:pt x="63" y="66"/>
                  </a:lnTo>
                  <a:lnTo>
                    <a:pt x="65" y="66"/>
                  </a:lnTo>
                  <a:lnTo>
                    <a:pt x="65" y="66"/>
                  </a:lnTo>
                  <a:lnTo>
                    <a:pt x="66" y="66"/>
                  </a:lnTo>
                  <a:lnTo>
                    <a:pt x="66" y="68"/>
                  </a:lnTo>
                  <a:lnTo>
                    <a:pt x="66" y="68"/>
                  </a:lnTo>
                  <a:lnTo>
                    <a:pt x="68" y="68"/>
                  </a:lnTo>
                  <a:lnTo>
                    <a:pt x="68" y="66"/>
                  </a:lnTo>
                  <a:lnTo>
                    <a:pt x="68" y="64"/>
                  </a:lnTo>
                  <a:lnTo>
                    <a:pt x="66" y="63"/>
                  </a:lnTo>
                  <a:lnTo>
                    <a:pt x="65" y="63"/>
                  </a:lnTo>
                  <a:lnTo>
                    <a:pt x="65" y="61"/>
                  </a:lnTo>
                  <a:lnTo>
                    <a:pt x="66" y="59"/>
                  </a:lnTo>
                  <a:lnTo>
                    <a:pt x="68" y="59"/>
                  </a:lnTo>
                  <a:lnTo>
                    <a:pt x="68" y="57"/>
                  </a:lnTo>
                  <a:lnTo>
                    <a:pt x="68" y="57"/>
                  </a:lnTo>
                  <a:lnTo>
                    <a:pt x="68" y="59"/>
                  </a:lnTo>
                  <a:lnTo>
                    <a:pt x="68" y="61"/>
                  </a:lnTo>
                  <a:lnTo>
                    <a:pt x="68" y="61"/>
                  </a:lnTo>
                  <a:lnTo>
                    <a:pt x="70" y="63"/>
                  </a:lnTo>
                  <a:lnTo>
                    <a:pt x="70" y="63"/>
                  </a:lnTo>
                  <a:lnTo>
                    <a:pt x="70" y="61"/>
                  </a:lnTo>
                  <a:lnTo>
                    <a:pt x="70" y="61"/>
                  </a:lnTo>
                  <a:lnTo>
                    <a:pt x="72" y="61"/>
                  </a:lnTo>
                  <a:lnTo>
                    <a:pt x="74" y="61"/>
                  </a:lnTo>
                  <a:lnTo>
                    <a:pt x="76" y="59"/>
                  </a:lnTo>
                  <a:lnTo>
                    <a:pt x="76" y="55"/>
                  </a:lnTo>
                  <a:lnTo>
                    <a:pt x="76" y="53"/>
                  </a:lnTo>
                  <a:lnTo>
                    <a:pt x="76" y="45"/>
                  </a:lnTo>
                  <a:lnTo>
                    <a:pt x="78" y="44"/>
                  </a:lnTo>
                  <a:lnTo>
                    <a:pt x="80" y="40"/>
                  </a:lnTo>
                  <a:lnTo>
                    <a:pt x="80" y="40"/>
                  </a:lnTo>
                  <a:lnTo>
                    <a:pt x="76" y="38"/>
                  </a:lnTo>
                  <a:lnTo>
                    <a:pt x="76" y="36"/>
                  </a:lnTo>
                  <a:lnTo>
                    <a:pt x="74" y="34"/>
                  </a:lnTo>
                  <a:lnTo>
                    <a:pt x="72" y="36"/>
                  </a:lnTo>
                  <a:lnTo>
                    <a:pt x="70" y="34"/>
                  </a:lnTo>
                  <a:lnTo>
                    <a:pt x="70" y="34"/>
                  </a:lnTo>
                  <a:lnTo>
                    <a:pt x="70" y="32"/>
                  </a:lnTo>
                  <a:lnTo>
                    <a:pt x="70" y="30"/>
                  </a:lnTo>
                  <a:lnTo>
                    <a:pt x="72" y="30"/>
                  </a:lnTo>
                  <a:lnTo>
                    <a:pt x="72" y="32"/>
                  </a:lnTo>
                  <a:lnTo>
                    <a:pt x="72" y="34"/>
                  </a:lnTo>
                  <a:lnTo>
                    <a:pt x="74" y="32"/>
                  </a:lnTo>
                  <a:lnTo>
                    <a:pt x="76" y="32"/>
                  </a:lnTo>
                  <a:lnTo>
                    <a:pt x="76" y="30"/>
                  </a:lnTo>
                  <a:lnTo>
                    <a:pt x="76" y="30"/>
                  </a:lnTo>
                  <a:lnTo>
                    <a:pt x="78" y="28"/>
                  </a:lnTo>
                  <a:lnTo>
                    <a:pt x="80" y="26"/>
                  </a:lnTo>
                  <a:lnTo>
                    <a:pt x="80" y="26"/>
                  </a:lnTo>
                  <a:lnTo>
                    <a:pt x="80" y="26"/>
                  </a:lnTo>
                  <a:lnTo>
                    <a:pt x="78" y="26"/>
                  </a:lnTo>
                  <a:lnTo>
                    <a:pt x="78" y="26"/>
                  </a:lnTo>
                  <a:lnTo>
                    <a:pt x="78" y="21"/>
                  </a:lnTo>
                  <a:lnTo>
                    <a:pt x="78" y="17"/>
                  </a:lnTo>
                  <a:lnTo>
                    <a:pt x="78" y="13"/>
                  </a:lnTo>
                  <a:lnTo>
                    <a:pt x="76" y="11"/>
                  </a:lnTo>
                  <a:lnTo>
                    <a:pt x="76" y="11"/>
                  </a:lnTo>
                  <a:lnTo>
                    <a:pt x="74" y="11"/>
                  </a:lnTo>
                  <a:lnTo>
                    <a:pt x="74" y="11"/>
                  </a:lnTo>
                  <a:lnTo>
                    <a:pt x="74" y="11"/>
                  </a:lnTo>
                  <a:lnTo>
                    <a:pt x="72" y="9"/>
                  </a:lnTo>
                  <a:lnTo>
                    <a:pt x="72" y="11"/>
                  </a:lnTo>
                  <a:lnTo>
                    <a:pt x="72" y="11"/>
                  </a:lnTo>
                  <a:lnTo>
                    <a:pt x="72" y="11"/>
                  </a:lnTo>
                  <a:lnTo>
                    <a:pt x="72" y="13"/>
                  </a:lnTo>
                  <a:lnTo>
                    <a:pt x="72" y="13"/>
                  </a:lnTo>
                  <a:lnTo>
                    <a:pt x="72" y="13"/>
                  </a:lnTo>
                  <a:lnTo>
                    <a:pt x="72" y="13"/>
                  </a:lnTo>
                  <a:lnTo>
                    <a:pt x="70" y="11"/>
                  </a:lnTo>
                  <a:lnTo>
                    <a:pt x="70" y="13"/>
                  </a:lnTo>
                  <a:lnTo>
                    <a:pt x="68" y="13"/>
                  </a:lnTo>
                  <a:lnTo>
                    <a:pt x="66" y="13"/>
                  </a:lnTo>
                  <a:lnTo>
                    <a:pt x="66" y="13"/>
                  </a:lnTo>
                  <a:lnTo>
                    <a:pt x="66" y="15"/>
                  </a:lnTo>
                  <a:lnTo>
                    <a:pt x="66" y="17"/>
                  </a:lnTo>
                  <a:lnTo>
                    <a:pt x="66" y="17"/>
                  </a:lnTo>
                  <a:lnTo>
                    <a:pt x="65" y="19"/>
                  </a:lnTo>
                  <a:lnTo>
                    <a:pt x="63" y="21"/>
                  </a:lnTo>
                  <a:lnTo>
                    <a:pt x="63" y="21"/>
                  </a:lnTo>
                  <a:lnTo>
                    <a:pt x="63" y="23"/>
                  </a:lnTo>
                  <a:lnTo>
                    <a:pt x="63" y="23"/>
                  </a:lnTo>
                  <a:lnTo>
                    <a:pt x="63" y="25"/>
                  </a:lnTo>
                  <a:lnTo>
                    <a:pt x="63" y="26"/>
                  </a:lnTo>
                  <a:lnTo>
                    <a:pt x="63" y="26"/>
                  </a:lnTo>
                  <a:lnTo>
                    <a:pt x="61" y="28"/>
                  </a:lnTo>
                  <a:lnTo>
                    <a:pt x="59" y="32"/>
                  </a:lnTo>
                  <a:lnTo>
                    <a:pt x="57" y="34"/>
                  </a:lnTo>
                  <a:lnTo>
                    <a:pt x="59" y="36"/>
                  </a:lnTo>
                  <a:lnTo>
                    <a:pt x="59" y="36"/>
                  </a:lnTo>
                  <a:lnTo>
                    <a:pt x="59" y="38"/>
                  </a:lnTo>
                  <a:lnTo>
                    <a:pt x="59" y="42"/>
                  </a:lnTo>
                  <a:lnTo>
                    <a:pt x="59" y="42"/>
                  </a:lnTo>
                  <a:lnTo>
                    <a:pt x="57" y="44"/>
                  </a:lnTo>
                  <a:lnTo>
                    <a:pt x="57" y="45"/>
                  </a:lnTo>
                  <a:lnTo>
                    <a:pt x="57" y="47"/>
                  </a:lnTo>
                  <a:lnTo>
                    <a:pt x="57" y="47"/>
                  </a:lnTo>
                  <a:lnTo>
                    <a:pt x="57" y="49"/>
                  </a:lnTo>
                  <a:lnTo>
                    <a:pt x="59" y="51"/>
                  </a:lnTo>
                  <a:lnTo>
                    <a:pt x="59" y="51"/>
                  </a:lnTo>
                  <a:lnTo>
                    <a:pt x="59" y="51"/>
                  </a:lnTo>
                  <a:lnTo>
                    <a:pt x="59" y="51"/>
                  </a:lnTo>
                  <a:lnTo>
                    <a:pt x="57" y="55"/>
                  </a:lnTo>
                  <a:lnTo>
                    <a:pt x="55" y="61"/>
                  </a:lnTo>
                  <a:lnTo>
                    <a:pt x="55" y="63"/>
                  </a:lnTo>
                  <a:lnTo>
                    <a:pt x="57" y="64"/>
                  </a:lnTo>
                  <a:lnTo>
                    <a:pt x="57" y="64"/>
                  </a:lnTo>
                  <a:lnTo>
                    <a:pt x="57" y="66"/>
                  </a:lnTo>
                  <a:lnTo>
                    <a:pt x="55" y="68"/>
                  </a:lnTo>
                  <a:lnTo>
                    <a:pt x="55" y="74"/>
                  </a:lnTo>
                  <a:lnTo>
                    <a:pt x="55" y="76"/>
                  </a:lnTo>
                  <a:lnTo>
                    <a:pt x="53" y="78"/>
                  </a:lnTo>
                  <a:lnTo>
                    <a:pt x="53" y="80"/>
                  </a:lnTo>
                  <a:lnTo>
                    <a:pt x="51" y="80"/>
                  </a:lnTo>
                  <a:lnTo>
                    <a:pt x="49" y="80"/>
                  </a:lnTo>
                  <a:lnTo>
                    <a:pt x="49" y="82"/>
                  </a:lnTo>
                  <a:lnTo>
                    <a:pt x="47" y="82"/>
                  </a:lnTo>
                  <a:lnTo>
                    <a:pt x="47" y="83"/>
                  </a:lnTo>
                  <a:lnTo>
                    <a:pt x="49" y="87"/>
                  </a:lnTo>
                  <a:lnTo>
                    <a:pt x="49" y="93"/>
                  </a:lnTo>
                  <a:lnTo>
                    <a:pt x="49" y="95"/>
                  </a:lnTo>
                  <a:lnTo>
                    <a:pt x="51" y="95"/>
                  </a:lnTo>
                  <a:lnTo>
                    <a:pt x="51" y="97"/>
                  </a:lnTo>
                  <a:lnTo>
                    <a:pt x="51" y="97"/>
                  </a:lnTo>
                  <a:lnTo>
                    <a:pt x="51" y="97"/>
                  </a:lnTo>
                  <a:lnTo>
                    <a:pt x="51" y="97"/>
                  </a:lnTo>
                  <a:lnTo>
                    <a:pt x="49" y="97"/>
                  </a:lnTo>
                  <a:lnTo>
                    <a:pt x="49" y="99"/>
                  </a:lnTo>
                  <a:lnTo>
                    <a:pt x="49" y="99"/>
                  </a:lnTo>
                  <a:lnTo>
                    <a:pt x="49" y="99"/>
                  </a:lnTo>
                  <a:lnTo>
                    <a:pt x="47" y="101"/>
                  </a:lnTo>
                  <a:lnTo>
                    <a:pt x="46" y="102"/>
                  </a:lnTo>
                  <a:lnTo>
                    <a:pt x="46" y="125"/>
                  </a:lnTo>
                  <a:lnTo>
                    <a:pt x="46" y="127"/>
                  </a:lnTo>
                  <a:lnTo>
                    <a:pt x="47" y="129"/>
                  </a:lnTo>
                  <a:lnTo>
                    <a:pt x="49" y="129"/>
                  </a:lnTo>
                  <a:lnTo>
                    <a:pt x="51" y="129"/>
                  </a:lnTo>
                  <a:lnTo>
                    <a:pt x="53" y="131"/>
                  </a:lnTo>
                  <a:lnTo>
                    <a:pt x="53" y="131"/>
                  </a:lnTo>
                  <a:lnTo>
                    <a:pt x="53" y="133"/>
                  </a:lnTo>
                  <a:lnTo>
                    <a:pt x="53" y="133"/>
                  </a:lnTo>
                  <a:lnTo>
                    <a:pt x="51" y="133"/>
                  </a:lnTo>
                  <a:lnTo>
                    <a:pt x="51" y="133"/>
                  </a:lnTo>
                  <a:lnTo>
                    <a:pt x="49" y="133"/>
                  </a:lnTo>
                  <a:lnTo>
                    <a:pt x="49" y="133"/>
                  </a:lnTo>
                  <a:lnTo>
                    <a:pt x="49" y="135"/>
                  </a:lnTo>
                  <a:lnTo>
                    <a:pt x="49" y="135"/>
                  </a:lnTo>
                  <a:lnTo>
                    <a:pt x="51" y="135"/>
                  </a:lnTo>
                  <a:lnTo>
                    <a:pt x="51" y="135"/>
                  </a:lnTo>
                  <a:lnTo>
                    <a:pt x="51" y="135"/>
                  </a:lnTo>
                  <a:lnTo>
                    <a:pt x="53" y="139"/>
                  </a:lnTo>
                  <a:lnTo>
                    <a:pt x="53" y="141"/>
                  </a:lnTo>
                  <a:lnTo>
                    <a:pt x="51" y="141"/>
                  </a:lnTo>
                  <a:lnTo>
                    <a:pt x="51" y="142"/>
                  </a:lnTo>
                  <a:lnTo>
                    <a:pt x="49" y="142"/>
                  </a:lnTo>
                  <a:lnTo>
                    <a:pt x="47" y="142"/>
                  </a:lnTo>
                  <a:lnTo>
                    <a:pt x="47" y="142"/>
                  </a:lnTo>
                  <a:lnTo>
                    <a:pt x="47" y="142"/>
                  </a:lnTo>
                  <a:lnTo>
                    <a:pt x="47" y="142"/>
                  </a:lnTo>
                  <a:lnTo>
                    <a:pt x="47" y="142"/>
                  </a:lnTo>
                  <a:lnTo>
                    <a:pt x="46" y="142"/>
                  </a:lnTo>
                  <a:lnTo>
                    <a:pt x="46" y="142"/>
                  </a:lnTo>
                  <a:lnTo>
                    <a:pt x="47" y="141"/>
                  </a:lnTo>
                  <a:lnTo>
                    <a:pt x="46" y="139"/>
                  </a:lnTo>
                  <a:lnTo>
                    <a:pt x="46" y="137"/>
                  </a:lnTo>
                  <a:lnTo>
                    <a:pt x="46" y="139"/>
                  </a:lnTo>
                  <a:lnTo>
                    <a:pt x="44" y="139"/>
                  </a:lnTo>
                  <a:lnTo>
                    <a:pt x="44" y="139"/>
                  </a:lnTo>
                  <a:lnTo>
                    <a:pt x="42" y="139"/>
                  </a:lnTo>
                  <a:lnTo>
                    <a:pt x="42" y="141"/>
                  </a:lnTo>
                  <a:lnTo>
                    <a:pt x="40" y="144"/>
                  </a:lnTo>
                  <a:lnTo>
                    <a:pt x="38" y="146"/>
                  </a:lnTo>
                  <a:lnTo>
                    <a:pt x="40" y="156"/>
                  </a:lnTo>
                  <a:lnTo>
                    <a:pt x="38" y="158"/>
                  </a:lnTo>
                  <a:lnTo>
                    <a:pt x="38" y="160"/>
                  </a:lnTo>
                  <a:lnTo>
                    <a:pt x="38" y="160"/>
                  </a:lnTo>
                  <a:lnTo>
                    <a:pt x="38" y="161"/>
                  </a:lnTo>
                  <a:lnTo>
                    <a:pt x="38" y="163"/>
                  </a:lnTo>
                  <a:lnTo>
                    <a:pt x="38" y="165"/>
                  </a:lnTo>
                  <a:lnTo>
                    <a:pt x="38" y="165"/>
                  </a:lnTo>
                  <a:lnTo>
                    <a:pt x="38" y="171"/>
                  </a:lnTo>
                  <a:lnTo>
                    <a:pt x="36" y="171"/>
                  </a:lnTo>
                  <a:lnTo>
                    <a:pt x="36" y="171"/>
                  </a:lnTo>
                  <a:lnTo>
                    <a:pt x="36" y="171"/>
                  </a:lnTo>
                  <a:lnTo>
                    <a:pt x="36" y="169"/>
                  </a:lnTo>
                  <a:lnTo>
                    <a:pt x="36" y="169"/>
                  </a:lnTo>
                  <a:lnTo>
                    <a:pt x="34" y="169"/>
                  </a:lnTo>
                  <a:lnTo>
                    <a:pt x="34" y="167"/>
                  </a:lnTo>
                  <a:lnTo>
                    <a:pt x="32" y="165"/>
                  </a:lnTo>
                  <a:lnTo>
                    <a:pt x="32" y="165"/>
                  </a:lnTo>
                  <a:lnTo>
                    <a:pt x="32" y="165"/>
                  </a:lnTo>
                  <a:lnTo>
                    <a:pt x="30" y="169"/>
                  </a:lnTo>
                  <a:lnTo>
                    <a:pt x="28" y="171"/>
                  </a:lnTo>
                  <a:lnTo>
                    <a:pt x="28" y="171"/>
                  </a:lnTo>
                  <a:lnTo>
                    <a:pt x="28" y="173"/>
                  </a:lnTo>
                  <a:lnTo>
                    <a:pt x="28" y="173"/>
                  </a:lnTo>
                  <a:lnTo>
                    <a:pt x="28" y="173"/>
                  </a:lnTo>
                  <a:lnTo>
                    <a:pt x="28" y="173"/>
                  </a:lnTo>
                  <a:lnTo>
                    <a:pt x="28" y="173"/>
                  </a:lnTo>
                  <a:lnTo>
                    <a:pt x="28" y="173"/>
                  </a:lnTo>
                  <a:lnTo>
                    <a:pt x="30" y="175"/>
                  </a:lnTo>
                  <a:lnTo>
                    <a:pt x="30" y="175"/>
                  </a:lnTo>
                  <a:lnTo>
                    <a:pt x="32" y="175"/>
                  </a:lnTo>
                  <a:lnTo>
                    <a:pt x="32" y="175"/>
                  </a:lnTo>
                  <a:lnTo>
                    <a:pt x="32" y="179"/>
                  </a:lnTo>
                  <a:lnTo>
                    <a:pt x="32" y="184"/>
                  </a:lnTo>
                  <a:lnTo>
                    <a:pt x="32" y="184"/>
                  </a:lnTo>
                  <a:lnTo>
                    <a:pt x="34" y="186"/>
                  </a:lnTo>
                  <a:lnTo>
                    <a:pt x="34" y="186"/>
                  </a:lnTo>
                  <a:lnTo>
                    <a:pt x="34" y="186"/>
                  </a:lnTo>
                  <a:lnTo>
                    <a:pt x="36" y="186"/>
                  </a:lnTo>
                  <a:lnTo>
                    <a:pt x="36" y="186"/>
                  </a:lnTo>
                  <a:lnTo>
                    <a:pt x="36" y="188"/>
                  </a:lnTo>
                  <a:lnTo>
                    <a:pt x="36" y="190"/>
                  </a:lnTo>
                  <a:lnTo>
                    <a:pt x="36" y="190"/>
                  </a:lnTo>
                  <a:lnTo>
                    <a:pt x="36" y="192"/>
                  </a:lnTo>
                  <a:lnTo>
                    <a:pt x="38" y="192"/>
                  </a:lnTo>
                  <a:lnTo>
                    <a:pt x="40" y="192"/>
                  </a:lnTo>
                  <a:lnTo>
                    <a:pt x="40" y="194"/>
                  </a:lnTo>
                  <a:lnTo>
                    <a:pt x="40" y="194"/>
                  </a:lnTo>
                  <a:lnTo>
                    <a:pt x="38" y="194"/>
                  </a:lnTo>
                  <a:lnTo>
                    <a:pt x="38" y="194"/>
                  </a:lnTo>
                  <a:lnTo>
                    <a:pt x="38" y="196"/>
                  </a:lnTo>
                  <a:lnTo>
                    <a:pt x="38" y="196"/>
                  </a:lnTo>
                  <a:lnTo>
                    <a:pt x="38" y="198"/>
                  </a:lnTo>
                  <a:lnTo>
                    <a:pt x="38" y="198"/>
                  </a:lnTo>
                  <a:lnTo>
                    <a:pt x="40" y="199"/>
                  </a:lnTo>
                  <a:lnTo>
                    <a:pt x="40" y="199"/>
                  </a:lnTo>
                  <a:lnTo>
                    <a:pt x="40" y="199"/>
                  </a:lnTo>
                  <a:lnTo>
                    <a:pt x="40" y="201"/>
                  </a:lnTo>
                  <a:lnTo>
                    <a:pt x="40" y="201"/>
                  </a:lnTo>
                  <a:lnTo>
                    <a:pt x="44" y="205"/>
                  </a:lnTo>
                  <a:lnTo>
                    <a:pt x="44" y="205"/>
                  </a:lnTo>
                  <a:lnTo>
                    <a:pt x="46" y="205"/>
                  </a:lnTo>
                  <a:lnTo>
                    <a:pt x="46" y="205"/>
                  </a:lnTo>
                  <a:lnTo>
                    <a:pt x="46" y="207"/>
                  </a:lnTo>
                  <a:lnTo>
                    <a:pt x="47" y="205"/>
                  </a:lnTo>
                  <a:lnTo>
                    <a:pt x="47" y="203"/>
                  </a:lnTo>
                  <a:lnTo>
                    <a:pt x="49" y="201"/>
                  </a:lnTo>
                  <a:lnTo>
                    <a:pt x="49" y="198"/>
                  </a:lnTo>
                  <a:lnTo>
                    <a:pt x="49" y="198"/>
                  </a:lnTo>
                  <a:lnTo>
                    <a:pt x="49" y="196"/>
                  </a:lnTo>
                  <a:lnTo>
                    <a:pt x="51" y="196"/>
                  </a:lnTo>
                  <a:lnTo>
                    <a:pt x="51" y="194"/>
                  </a:lnTo>
                  <a:lnTo>
                    <a:pt x="49" y="190"/>
                  </a:lnTo>
                  <a:lnTo>
                    <a:pt x="49" y="190"/>
                  </a:lnTo>
                  <a:lnTo>
                    <a:pt x="49" y="188"/>
                  </a:lnTo>
                  <a:lnTo>
                    <a:pt x="47" y="188"/>
                  </a:lnTo>
                  <a:lnTo>
                    <a:pt x="47" y="190"/>
                  </a:lnTo>
                  <a:lnTo>
                    <a:pt x="47" y="192"/>
                  </a:lnTo>
                  <a:lnTo>
                    <a:pt x="47" y="192"/>
                  </a:lnTo>
                  <a:lnTo>
                    <a:pt x="46" y="192"/>
                  </a:lnTo>
                  <a:lnTo>
                    <a:pt x="46" y="192"/>
                  </a:lnTo>
                  <a:lnTo>
                    <a:pt x="46" y="194"/>
                  </a:lnTo>
                  <a:lnTo>
                    <a:pt x="46" y="196"/>
                  </a:lnTo>
                  <a:lnTo>
                    <a:pt x="44" y="196"/>
                  </a:lnTo>
                  <a:lnTo>
                    <a:pt x="44" y="196"/>
                  </a:lnTo>
                  <a:lnTo>
                    <a:pt x="44" y="196"/>
                  </a:lnTo>
                  <a:lnTo>
                    <a:pt x="44" y="194"/>
                  </a:lnTo>
                  <a:lnTo>
                    <a:pt x="44" y="192"/>
                  </a:lnTo>
                  <a:lnTo>
                    <a:pt x="44" y="192"/>
                  </a:lnTo>
                  <a:lnTo>
                    <a:pt x="46" y="188"/>
                  </a:lnTo>
                  <a:lnTo>
                    <a:pt x="47" y="188"/>
                  </a:lnTo>
                  <a:lnTo>
                    <a:pt x="49" y="188"/>
                  </a:lnTo>
                  <a:lnTo>
                    <a:pt x="49" y="186"/>
                  </a:lnTo>
                  <a:lnTo>
                    <a:pt x="53" y="171"/>
                  </a:lnTo>
                  <a:lnTo>
                    <a:pt x="53" y="169"/>
                  </a:lnTo>
                  <a:lnTo>
                    <a:pt x="53" y="167"/>
                  </a:lnTo>
                  <a:lnTo>
                    <a:pt x="53" y="165"/>
                  </a:lnTo>
                  <a:lnTo>
                    <a:pt x="51" y="165"/>
                  </a:lnTo>
                  <a:lnTo>
                    <a:pt x="49" y="165"/>
                  </a:lnTo>
                  <a:lnTo>
                    <a:pt x="49" y="165"/>
                  </a:lnTo>
                  <a:lnTo>
                    <a:pt x="49" y="167"/>
                  </a:lnTo>
                  <a:lnTo>
                    <a:pt x="49" y="171"/>
                  </a:lnTo>
                  <a:lnTo>
                    <a:pt x="47" y="171"/>
                  </a:lnTo>
                  <a:lnTo>
                    <a:pt x="47" y="163"/>
                  </a:lnTo>
                  <a:lnTo>
                    <a:pt x="47" y="161"/>
                  </a:lnTo>
                  <a:lnTo>
                    <a:pt x="49" y="160"/>
                  </a:lnTo>
                  <a:lnTo>
                    <a:pt x="51" y="158"/>
                  </a:lnTo>
                  <a:lnTo>
                    <a:pt x="49" y="158"/>
                  </a:lnTo>
                  <a:lnTo>
                    <a:pt x="49" y="156"/>
                  </a:lnTo>
                  <a:lnTo>
                    <a:pt x="51" y="156"/>
                  </a:lnTo>
                  <a:lnTo>
                    <a:pt x="51" y="156"/>
                  </a:lnTo>
                  <a:lnTo>
                    <a:pt x="53" y="156"/>
                  </a:lnTo>
                  <a:lnTo>
                    <a:pt x="51" y="154"/>
                  </a:lnTo>
                  <a:lnTo>
                    <a:pt x="49" y="152"/>
                  </a:lnTo>
                  <a:lnTo>
                    <a:pt x="51" y="152"/>
                  </a:lnTo>
                  <a:lnTo>
                    <a:pt x="51" y="152"/>
                  </a:lnTo>
                  <a:lnTo>
                    <a:pt x="53" y="150"/>
                  </a:lnTo>
                  <a:lnTo>
                    <a:pt x="55" y="150"/>
                  </a:lnTo>
                  <a:lnTo>
                    <a:pt x="55" y="150"/>
                  </a:lnTo>
                  <a:lnTo>
                    <a:pt x="55" y="148"/>
                  </a:lnTo>
                  <a:lnTo>
                    <a:pt x="57" y="148"/>
                  </a:lnTo>
                  <a:lnTo>
                    <a:pt x="57" y="148"/>
                  </a:lnTo>
                  <a:lnTo>
                    <a:pt x="57" y="146"/>
                  </a:lnTo>
                  <a:lnTo>
                    <a:pt x="57" y="144"/>
                  </a:lnTo>
                  <a:lnTo>
                    <a:pt x="59" y="142"/>
                  </a:lnTo>
                  <a:lnTo>
                    <a:pt x="61" y="142"/>
                  </a:lnTo>
                  <a:lnTo>
                    <a:pt x="61" y="141"/>
                  </a:lnTo>
                  <a:lnTo>
                    <a:pt x="63" y="141"/>
                  </a:lnTo>
                  <a:lnTo>
                    <a:pt x="63" y="141"/>
                  </a:lnTo>
                  <a:lnTo>
                    <a:pt x="63" y="139"/>
                  </a:lnTo>
                  <a:lnTo>
                    <a:pt x="63" y="139"/>
                  </a:lnTo>
                  <a:lnTo>
                    <a:pt x="61" y="137"/>
                  </a:lnTo>
                  <a:lnTo>
                    <a:pt x="61" y="137"/>
                  </a:lnTo>
                  <a:lnTo>
                    <a:pt x="61" y="135"/>
                  </a:lnTo>
                  <a:lnTo>
                    <a:pt x="63" y="135"/>
                  </a:lnTo>
                  <a:lnTo>
                    <a:pt x="63" y="133"/>
                  </a:lnTo>
                  <a:lnTo>
                    <a:pt x="63" y="133"/>
                  </a:lnTo>
                  <a:lnTo>
                    <a:pt x="63" y="131"/>
                  </a:lnTo>
                  <a:lnTo>
                    <a:pt x="61" y="131"/>
                  </a:lnTo>
                  <a:lnTo>
                    <a:pt x="61" y="131"/>
                  </a:lnTo>
                  <a:lnTo>
                    <a:pt x="61" y="129"/>
                  </a:lnTo>
                  <a:lnTo>
                    <a:pt x="61" y="129"/>
                  </a:lnTo>
                  <a:lnTo>
                    <a:pt x="61" y="129"/>
                  </a:lnTo>
                  <a:lnTo>
                    <a:pt x="63" y="129"/>
                  </a:lnTo>
                  <a:lnTo>
                    <a:pt x="63" y="127"/>
                  </a:lnTo>
                  <a:lnTo>
                    <a:pt x="65" y="127"/>
                  </a:lnTo>
                  <a:lnTo>
                    <a:pt x="65" y="127"/>
                  </a:lnTo>
                  <a:lnTo>
                    <a:pt x="63" y="127"/>
                  </a:lnTo>
                  <a:lnTo>
                    <a:pt x="63" y="125"/>
                  </a:lnTo>
                  <a:lnTo>
                    <a:pt x="63" y="125"/>
                  </a:lnTo>
                  <a:lnTo>
                    <a:pt x="61" y="123"/>
                  </a:lnTo>
                  <a:lnTo>
                    <a:pt x="61" y="123"/>
                  </a:lnTo>
                  <a:lnTo>
                    <a:pt x="59" y="123"/>
                  </a:lnTo>
                  <a:lnTo>
                    <a:pt x="59" y="120"/>
                  </a:lnTo>
                  <a:lnTo>
                    <a:pt x="57" y="120"/>
                  </a:lnTo>
                  <a:lnTo>
                    <a:pt x="57" y="118"/>
                  </a:lnTo>
                  <a:lnTo>
                    <a:pt x="61" y="118"/>
                  </a:lnTo>
                  <a:lnTo>
                    <a:pt x="63" y="118"/>
                  </a:lnTo>
                  <a:lnTo>
                    <a:pt x="63" y="116"/>
                  </a:lnTo>
                  <a:lnTo>
                    <a:pt x="63" y="116"/>
                  </a:lnTo>
                  <a:lnTo>
                    <a:pt x="63" y="118"/>
                  </a:lnTo>
                  <a:lnTo>
                    <a:pt x="65" y="118"/>
                  </a:lnTo>
                  <a:lnTo>
                    <a:pt x="65" y="118"/>
                  </a:lnTo>
                  <a:lnTo>
                    <a:pt x="65" y="120"/>
                  </a:lnTo>
                  <a:lnTo>
                    <a:pt x="66" y="120"/>
                  </a:lnTo>
                  <a:lnTo>
                    <a:pt x="66" y="118"/>
                  </a:lnTo>
                  <a:lnTo>
                    <a:pt x="66" y="118"/>
                  </a:lnTo>
                  <a:lnTo>
                    <a:pt x="68" y="116"/>
                  </a:lnTo>
                  <a:close/>
                  <a:moveTo>
                    <a:pt x="74" y="4"/>
                  </a:moveTo>
                  <a:lnTo>
                    <a:pt x="76" y="4"/>
                  </a:lnTo>
                  <a:lnTo>
                    <a:pt x="76" y="2"/>
                  </a:lnTo>
                  <a:lnTo>
                    <a:pt x="76" y="2"/>
                  </a:lnTo>
                  <a:lnTo>
                    <a:pt x="76" y="0"/>
                  </a:lnTo>
                  <a:lnTo>
                    <a:pt x="74" y="0"/>
                  </a:lnTo>
                  <a:lnTo>
                    <a:pt x="70" y="2"/>
                  </a:lnTo>
                  <a:lnTo>
                    <a:pt x="72" y="2"/>
                  </a:lnTo>
                  <a:lnTo>
                    <a:pt x="74" y="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sp>
          <p:nvSpPr>
            <p:cNvPr id="75" name="Freeform 77">
              <a:extLst>
                <a:ext uri="{FF2B5EF4-FFF2-40B4-BE49-F238E27FC236}">
                  <a16:creationId xmlns:a16="http://schemas.microsoft.com/office/drawing/2014/main" id="{0136930F-5B01-00F8-380F-9D8CF5AFC895}"/>
                </a:ext>
              </a:extLst>
            </p:cNvPr>
            <p:cNvSpPr>
              <a:spLocks noEditPoints="1"/>
            </p:cNvSpPr>
            <p:nvPr/>
          </p:nvSpPr>
          <p:spPr bwMode="auto">
            <a:xfrm>
              <a:off x="7305675" y="5220501"/>
              <a:ext cx="301625" cy="1031875"/>
            </a:xfrm>
            <a:custGeom>
              <a:avLst/>
              <a:gdLst>
                <a:gd name="T0" fmla="*/ 147 w 190"/>
                <a:gd name="T1" fmla="*/ 605 h 650"/>
                <a:gd name="T2" fmla="*/ 131 w 190"/>
                <a:gd name="T3" fmla="*/ 625 h 650"/>
                <a:gd name="T4" fmla="*/ 143 w 190"/>
                <a:gd name="T5" fmla="*/ 637 h 650"/>
                <a:gd name="T6" fmla="*/ 152 w 190"/>
                <a:gd name="T7" fmla="*/ 645 h 650"/>
                <a:gd name="T8" fmla="*/ 158 w 190"/>
                <a:gd name="T9" fmla="*/ 625 h 650"/>
                <a:gd name="T10" fmla="*/ 135 w 190"/>
                <a:gd name="T11" fmla="*/ 589 h 650"/>
                <a:gd name="T12" fmla="*/ 131 w 190"/>
                <a:gd name="T13" fmla="*/ 603 h 650"/>
                <a:gd name="T14" fmla="*/ 103 w 190"/>
                <a:gd name="T15" fmla="*/ 532 h 650"/>
                <a:gd name="T16" fmla="*/ 106 w 190"/>
                <a:gd name="T17" fmla="*/ 546 h 650"/>
                <a:gd name="T18" fmla="*/ 124 w 190"/>
                <a:gd name="T19" fmla="*/ 534 h 650"/>
                <a:gd name="T20" fmla="*/ 120 w 190"/>
                <a:gd name="T21" fmla="*/ 530 h 650"/>
                <a:gd name="T22" fmla="*/ 118 w 190"/>
                <a:gd name="T23" fmla="*/ 511 h 650"/>
                <a:gd name="T24" fmla="*/ 120 w 190"/>
                <a:gd name="T25" fmla="*/ 527 h 650"/>
                <a:gd name="T26" fmla="*/ 120 w 190"/>
                <a:gd name="T27" fmla="*/ 530 h 650"/>
                <a:gd name="T28" fmla="*/ 78 w 190"/>
                <a:gd name="T29" fmla="*/ 506 h 650"/>
                <a:gd name="T30" fmla="*/ 127 w 190"/>
                <a:gd name="T31" fmla="*/ 492 h 650"/>
                <a:gd name="T32" fmla="*/ 51 w 190"/>
                <a:gd name="T33" fmla="*/ 416 h 650"/>
                <a:gd name="T34" fmla="*/ 57 w 190"/>
                <a:gd name="T35" fmla="*/ 422 h 650"/>
                <a:gd name="T36" fmla="*/ 17 w 190"/>
                <a:gd name="T37" fmla="*/ 274 h 650"/>
                <a:gd name="T38" fmla="*/ 15 w 190"/>
                <a:gd name="T39" fmla="*/ 296 h 650"/>
                <a:gd name="T40" fmla="*/ 30 w 190"/>
                <a:gd name="T41" fmla="*/ 287 h 650"/>
                <a:gd name="T42" fmla="*/ 42 w 190"/>
                <a:gd name="T43" fmla="*/ 207 h 650"/>
                <a:gd name="T44" fmla="*/ 36 w 190"/>
                <a:gd name="T45" fmla="*/ 218 h 650"/>
                <a:gd name="T46" fmla="*/ 0 w 190"/>
                <a:gd name="T47" fmla="*/ 198 h 650"/>
                <a:gd name="T48" fmla="*/ 74 w 190"/>
                <a:gd name="T49" fmla="*/ 156 h 650"/>
                <a:gd name="T50" fmla="*/ 74 w 190"/>
                <a:gd name="T51" fmla="*/ 165 h 650"/>
                <a:gd name="T52" fmla="*/ 80 w 190"/>
                <a:gd name="T53" fmla="*/ 150 h 650"/>
                <a:gd name="T54" fmla="*/ 78 w 190"/>
                <a:gd name="T55" fmla="*/ 141 h 650"/>
                <a:gd name="T56" fmla="*/ 47 w 190"/>
                <a:gd name="T57" fmla="*/ 74 h 650"/>
                <a:gd name="T58" fmla="*/ 42 w 190"/>
                <a:gd name="T59" fmla="*/ 76 h 650"/>
                <a:gd name="T60" fmla="*/ 68 w 190"/>
                <a:gd name="T61" fmla="*/ 112 h 650"/>
                <a:gd name="T62" fmla="*/ 68 w 190"/>
                <a:gd name="T63" fmla="*/ 82 h 650"/>
                <a:gd name="T64" fmla="*/ 61 w 190"/>
                <a:gd name="T65" fmla="*/ 72 h 650"/>
                <a:gd name="T66" fmla="*/ 66 w 190"/>
                <a:gd name="T67" fmla="*/ 63 h 650"/>
                <a:gd name="T68" fmla="*/ 70 w 190"/>
                <a:gd name="T69" fmla="*/ 61 h 650"/>
                <a:gd name="T70" fmla="*/ 72 w 190"/>
                <a:gd name="T71" fmla="*/ 36 h 650"/>
                <a:gd name="T72" fmla="*/ 80 w 190"/>
                <a:gd name="T73" fmla="*/ 26 h 650"/>
                <a:gd name="T74" fmla="*/ 72 w 190"/>
                <a:gd name="T75" fmla="*/ 9 h 650"/>
                <a:gd name="T76" fmla="*/ 66 w 190"/>
                <a:gd name="T77" fmla="*/ 15 h 650"/>
                <a:gd name="T78" fmla="*/ 57 w 190"/>
                <a:gd name="T79" fmla="*/ 34 h 650"/>
                <a:gd name="T80" fmla="*/ 59 w 190"/>
                <a:gd name="T81" fmla="*/ 51 h 650"/>
                <a:gd name="T82" fmla="*/ 51 w 190"/>
                <a:gd name="T83" fmla="*/ 80 h 650"/>
                <a:gd name="T84" fmla="*/ 49 w 190"/>
                <a:gd name="T85" fmla="*/ 97 h 650"/>
                <a:gd name="T86" fmla="*/ 53 w 190"/>
                <a:gd name="T87" fmla="*/ 133 h 650"/>
                <a:gd name="T88" fmla="*/ 51 w 190"/>
                <a:gd name="T89" fmla="*/ 141 h 650"/>
                <a:gd name="T90" fmla="*/ 46 w 190"/>
                <a:gd name="T91" fmla="*/ 139 h 650"/>
                <a:gd name="T92" fmla="*/ 38 w 190"/>
                <a:gd name="T93" fmla="*/ 165 h 650"/>
                <a:gd name="T94" fmla="*/ 30 w 190"/>
                <a:gd name="T95" fmla="*/ 169 h 650"/>
                <a:gd name="T96" fmla="*/ 32 w 190"/>
                <a:gd name="T97" fmla="*/ 179 h 650"/>
                <a:gd name="T98" fmla="*/ 40 w 190"/>
                <a:gd name="T99" fmla="*/ 192 h 650"/>
                <a:gd name="T100" fmla="*/ 40 w 190"/>
                <a:gd name="T101" fmla="*/ 201 h 650"/>
                <a:gd name="T102" fmla="*/ 51 w 190"/>
                <a:gd name="T103" fmla="*/ 194 h 650"/>
                <a:gd name="T104" fmla="*/ 44 w 190"/>
                <a:gd name="T105" fmla="*/ 196 h 650"/>
                <a:gd name="T106" fmla="*/ 51 w 190"/>
                <a:gd name="T107" fmla="*/ 165 h 650"/>
                <a:gd name="T108" fmla="*/ 51 w 190"/>
                <a:gd name="T109" fmla="*/ 156 h 650"/>
                <a:gd name="T110" fmla="*/ 57 w 190"/>
                <a:gd name="T111" fmla="*/ 144 h 650"/>
                <a:gd name="T112" fmla="*/ 63 w 190"/>
                <a:gd name="T113" fmla="*/ 133 h 650"/>
                <a:gd name="T114" fmla="*/ 63 w 190"/>
                <a:gd name="T115" fmla="*/ 125 h 650"/>
                <a:gd name="T116" fmla="*/ 65 w 190"/>
                <a:gd name="T117" fmla="*/ 118 h 650"/>
                <a:gd name="T118" fmla="*/ 72 w 190"/>
                <a:gd name="T119" fmla="*/ 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650">
                  <a:moveTo>
                    <a:pt x="156" y="624"/>
                  </a:moveTo>
                  <a:lnTo>
                    <a:pt x="156" y="624"/>
                  </a:lnTo>
                  <a:lnTo>
                    <a:pt x="156" y="620"/>
                  </a:lnTo>
                  <a:lnTo>
                    <a:pt x="154" y="618"/>
                  </a:lnTo>
                  <a:lnTo>
                    <a:pt x="154" y="616"/>
                  </a:lnTo>
                  <a:lnTo>
                    <a:pt x="154" y="612"/>
                  </a:lnTo>
                  <a:lnTo>
                    <a:pt x="152" y="610"/>
                  </a:lnTo>
                  <a:lnTo>
                    <a:pt x="152" y="610"/>
                  </a:lnTo>
                  <a:lnTo>
                    <a:pt x="152" y="608"/>
                  </a:lnTo>
                  <a:lnTo>
                    <a:pt x="150" y="606"/>
                  </a:lnTo>
                  <a:lnTo>
                    <a:pt x="148" y="605"/>
                  </a:lnTo>
                  <a:lnTo>
                    <a:pt x="147" y="605"/>
                  </a:lnTo>
                  <a:lnTo>
                    <a:pt x="147" y="605"/>
                  </a:lnTo>
                  <a:lnTo>
                    <a:pt x="143" y="606"/>
                  </a:lnTo>
                  <a:lnTo>
                    <a:pt x="143" y="606"/>
                  </a:lnTo>
                  <a:lnTo>
                    <a:pt x="141" y="606"/>
                  </a:lnTo>
                  <a:lnTo>
                    <a:pt x="141" y="606"/>
                  </a:lnTo>
                  <a:lnTo>
                    <a:pt x="139" y="608"/>
                  </a:lnTo>
                  <a:lnTo>
                    <a:pt x="139" y="608"/>
                  </a:lnTo>
                  <a:lnTo>
                    <a:pt x="139" y="608"/>
                  </a:lnTo>
                  <a:lnTo>
                    <a:pt x="137" y="608"/>
                  </a:lnTo>
                  <a:lnTo>
                    <a:pt x="135" y="608"/>
                  </a:lnTo>
                  <a:lnTo>
                    <a:pt x="135" y="610"/>
                  </a:lnTo>
                  <a:lnTo>
                    <a:pt x="133" y="614"/>
                  </a:lnTo>
                  <a:lnTo>
                    <a:pt x="131" y="616"/>
                  </a:lnTo>
                  <a:lnTo>
                    <a:pt x="131" y="625"/>
                  </a:lnTo>
                  <a:lnTo>
                    <a:pt x="133" y="624"/>
                  </a:lnTo>
                  <a:lnTo>
                    <a:pt x="135" y="624"/>
                  </a:lnTo>
                  <a:lnTo>
                    <a:pt x="137" y="625"/>
                  </a:lnTo>
                  <a:lnTo>
                    <a:pt x="139" y="627"/>
                  </a:lnTo>
                  <a:lnTo>
                    <a:pt x="139" y="629"/>
                  </a:lnTo>
                  <a:lnTo>
                    <a:pt x="141" y="631"/>
                  </a:lnTo>
                  <a:lnTo>
                    <a:pt x="141" y="633"/>
                  </a:lnTo>
                  <a:lnTo>
                    <a:pt x="143" y="633"/>
                  </a:lnTo>
                  <a:lnTo>
                    <a:pt x="143" y="635"/>
                  </a:lnTo>
                  <a:lnTo>
                    <a:pt x="143" y="635"/>
                  </a:lnTo>
                  <a:lnTo>
                    <a:pt x="143" y="637"/>
                  </a:lnTo>
                  <a:lnTo>
                    <a:pt x="145" y="637"/>
                  </a:lnTo>
                  <a:lnTo>
                    <a:pt x="143" y="637"/>
                  </a:lnTo>
                  <a:lnTo>
                    <a:pt x="143" y="639"/>
                  </a:lnTo>
                  <a:lnTo>
                    <a:pt x="145" y="639"/>
                  </a:lnTo>
                  <a:lnTo>
                    <a:pt x="145" y="641"/>
                  </a:lnTo>
                  <a:lnTo>
                    <a:pt x="145" y="641"/>
                  </a:lnTo>
                  <a:lnTo>
                    <a:pt x="145" y="643"/>
                  </a:lnTo>
                  <a:lnTo>
                    <a:pt x="147" y="643"/>
                  </a:lnTo>
                  <a:lnTo>
                    <a:pt x="147" y="645"/>
                  </a:lnTo>
                  <a:lnTo>
                    <a:pt x="147" y="646"/>
                  </a:lnTo>
                  <a:lnTo>
                    <a:pt x="147" y="648"/>
                  </a:lnTo>
                  <a:lnTo>
                    <a:pt x="147" y="648"/>
                  </a:lnTo>
                  <a:lnTo>
                    <a:pt x="148" y="650"/>
                  </a:lnTo>
                  <a:lnTo>
                    <a:pt x="150" y="646"/>
                  </a:lnTo>
                  <a:lnTo>
                    <a:pt x="152" y="645"/>
                  </a:lnTo>
                  <a:lnTo>
                    <a:pt x="152" y="645"/>
                  </a:lnTo>
                  <a:lnTo>
                    <a:pt x="154" y="645"/>
                  </a:lnTo>
                  <a:lnTo>
                    <a:pt x="154" y="645"/>
                  </a:lnTo>
                  <a:lnTo>
                    <a:pt x="154" y="645"/>
                  </a:lnTo>
                  <a:lnTo>
                    <a:pt x="156" y="645"/>
                  </a:lnTo>
                  <a:lnTo>
                    <a:pt x="156" y="643"/>
                  </a:lnTo>
                  <a:lnTo>
                    <a:pt x="154" y="643"/>
                  </a:lnTo>
                  <a:lnTo>
                    <a:pt x="154" y="643"/>
                  </a:lnTo>
                  <a:lnTo>
                    <a:pt x="154" y="641"/>
                  </a:lnTo>
                  <a:lnTo>
                    <a:pt x="154" y="637"/>
                  </a:lnTo>
                  <a:lnTo>
                    <a:pt x="158" y="633"/>
                  </a:lnTo>
                  <a:lnTo>
                    <a:pt x="158" y="629"/>
                  </a:lnTo>
                  <a:lnTo>
                    <a:pt x="158" y="625"/>
                  </a:lnTo>
                  <a:lnTo>
                    <a:pt x="156" y="624"/>
                  </a:lnTo>
                  <a:close/>
                  <a:moveTo>
                    <a:pt x="137" y="597"/>
                  </a:moveTo>
                  <a:lnTo>
                    <a:pt x="139" y="597"/>
                  </a:lnTo>
                  <a:lnTo>
                    <a:pt x="139" y="595"/>
                  </a:lnTo>
                  <a:lnTo>
                    <a:pt x="139" y="593"/>
                  </a:lnTo>
                  <a:lnTo>
                    <a:pt x="139" y="591"/>
                  </a:lnTo>
                  <a:lnTo>
                    <a:pt x="139" y="591"/>
                  </a:lnTo>
                  <a:lnTo>
                    <a:pt x="137" y="589"/>
                  </a:lnTo>
                  <a:lnTo>
                    <a:pt x="137" y="589"/>
                  </a:lnTo>
                  <a:lnTo>
                    <a:pt x="137" y="587"/>
                  </a:lnTo>
                  <a:lnTo>
                    <a:pt x="137" y="586"/>
                  </a:lnTo>
                  <a:lnTo>
                    <a:pt x="135" y="587"/>
                  </a:lnTo>
                  <a:lnTo>
                    <a:pt x="135" y="589"/>
                  </a:lnTo>
                  <a:lnTo>
                    <a:pt x="133" y="591"/>
                  </a:lnTo>
                  <a:lnTo>
                    <a:pt x="131" y="591"/>
                  </a:lnTo>
                  <a:lnTo>
                    <a:pt x="129" y="593"/>
                  </a:lnTo>
                  <a:lnTo>
                    <a:pt x="127" y="595"/>
                  </a:lnTo>
                  <a:lnTo>
                    <a:pt x="127" y="597"/>
                  </a:lnTo>
                  <a:lnTo>
                    <a:pt x="127" y="597"/>
                  </a:lnTo>
                  <a:lnTo>
                    <a:pt x="129" y="599"/>
                  </a:lnTo>
                  <a:lnTo>
                    <a:pt x="129" y="599"/>
                  </a:lnTo>
                  <a:lnTo>
                    <a:pt x="129" y="601"/>
                  </a:lnTo>
                  <a:lnTo>
                    <a:pt x="129" y="601"/>
                  </a:lnTo>
                  <a:lnTo>
                    <a:pt x="129" y="603"/>
                  </a:lnTo>
                  <a:lnTo>
                    <a:pt x="129" y="603"/>
                  </a:lnTo>
                  <a:lnTo>
                    <a:pt x="131" y="603"/>
                  </a:lnTo>
                  <a:lnTo>
                    <a:pt x="135" y="599"/>
                  </a:lnTo>
                  <a:lnTo>
                    <a:pt x="137" y="597"/>
                  </a:lnTo>
                  <a:close/>
                  <a:moveTo>
                    <a:pt x="112" y="538"/>
                  </a:moveTo>
                  <a:lnTo>
                    <a:pt x="112" y="538"/>
                  </a:lnTo>
                  <a:lnTo>
                    <a:pt x="110" y="538"/>
                  </a:lnTo>
                  <a:lnTo>
                    <a:pt x="108" y="536"/>
                  </a:lnTo>
                  <a:lnTo>
                    <a:pt x="108" y="536"/>
                  </a:lnTo>
                  <a:lnTo>
                    <a:pt x="108" y="534"/>
                  </a:lnTo>
                  <a:lnTo>
                    <a:pt x="108" y="532"/>
                  </a:lnTo>
                  <a:lnTo>
                    <a:pt x="108" y="532"/>
                  </a:lnTo>
                  <a:lnTo>
                    <a:pt x="106" y="532"/>
                  </a:lnTo>
                  <a:lnTo>
                    <a:pt x="105" y="532"/>
                  </a:lnTo>
                  <a:lnTo>
                    <a:pt x="103" y="532"/>
                  </a:lnTo>
                  <a:lnTo>
                    <a:pt x="101" y="534"/>
                  </a:lnTo>
                  <a:lnTo>
                    <a:pt x="101" y="538"/>
                  </a:lnTo>
                  <a:lnTo>
                    <a:pt x="101" y="540"/>
                  </a:lnTo>
                  <a:lnTo>
                    <a:pt x="101" y="540"/>
                  </a:lnTo>
                  <a:lnTo>
                    <a:pt x="103" y="540"/>
                  </a:lnTo>
                  <a:lnTo>
                    <a:pt x="103" y="540"/>
                  </a:lnTo>
                  <a:lnTo>
                    <a:pt x="103" y="540"/>
                  </a:lnTo>
                  <a:lnTo>
                    <a:pt x="105" y="540"/>
                  </a:lnTo>
                  <a:lnTo>
                    <a:pt x="103" y="542"/>
                  </a:lnTo>
                  <a:lnTo>
                    <a:pt x="103" y="542"/>
                  </a:lnTo>
                  <a:lnTo>
                    <a:pt x="105" y="544"/>
                  </a:lnTo>
                  <a:lnTo>
                    <a:pt x="105" y="544"/>
                  </a:lnTo>
                  <a:lnTo>
                    <a:pt x="106" y="546"/>
                  </a:lnTo>
                  <a:lnTo>
                    <a:pt x="106" y="544"/>
                  </a:lnTo>
                  <a:lnTo>
                    <a:pt x="108" y="544"/>
                  </a:lnTo>
                  <a:lnTo>
                    <a:pt x="108" y="544"/>
                  </a:lnTo>
                  <a:lnTo>
                    <a:pt x="110" y="544"/>
                  </a:lnTo>
                  <a:lnTo>
                    <a:pt x="110" y="544"/>
                  </a:lnTo>
                  <a:lnTo>
                    <a:pt x="112" y="544"/>
                  </a:lnTo>
                  <a:lnTo>
                    <a:pt x="114" y="546"/>
                  </a:lnTo>
                  <a:lnTo>
                    <a:pt x="114" y="546"/>
                  </a:lnTo>
                  <a:lnTo>
                    <a:pt x="114" y="544"/>
                  </a:lnTo>
                  <a:lnTo>
                    <a:pt x="114" y="542"/>
                  </a:lnTo>
                  <a:lnTo>
                    <a:pt x="114" y="542"/>
                  </a:lnTo>
                  <a:lnTo>
                    <a:pt x="112" y="538"/>
                  </a:lnTo>
                  <a:close/>
                  <a:moveTo>
                    <a:pt x="124" y="534"/>
                  </a:moveTo>
                  <a:lnTo>
                    <a:pt x="124" y="532"/>
                  </a:lnTo>
                  <a:lnTo>
                    <a:pt x="122" y="532"/>
                  </a:lnTo>
                  <a:lnTo>
                    <a:pt x="122" y="532"/>
                  </a:lnTo>
                  <a:lnTo>
                    <a:pt x="122" y="534"/>
                  </a:lnTo>
                  <a:lnTo>
                    <a:pt x="120" y="532"/>
                  </a:lnTo>
                  <a:lnTo>
                    <a:pt x="120" y="534"/>
                  </a:lnTo>
                  <a:lnTo>
                    <a:pt x="120" y="536"/>
                  </a:lnTo>
                  <a:lnTo>
                    <a:pt x="120" y="536"/>
                  </a:lnTo>
                  <a:lnTo>
                    <a:pt x="126" y="540"/>
                  </a:lnTo>
                  <a:lnTo>
                    <a:pt x="126" y="536"/>
                  </a:lnTo>
                  <a:lnTo>
                    <a:pt x="126" y="534"/>
                  </a:lnTo>
                  <a:lnTo>
                    <a:pt x="124" y="534"/>
                  </a:lnTo>
                  <a:close/>
                  <a:moveTo>
                    <a:pt x="120" y="530"/>
                  </a:moveTo>
                  <a:lnTo>
                    <a:pt x="120" y="530"/>
                  </a:lnTo>
                  <a:lnTo>
                    <a:pt x="122" y="530"/>
                  </a:lnTo>
                  <a:lnTo>
                    <a:pt x="122" y="528"/>
                  </a:lnTo>
                  <a:lnTo>
                    <a:pt x="122" y="528"/>
                  </a:lnTo>
                  <a:lnTo>
                    <a:pt x="120" y="525"/>
                  </a:lnTo>
                  <a:lnTo>
                    <a:pt x="120" y="521"/>
                  </a:lnTo>
                  <a:lnTo>
                    <a:pt x="118" y="519"/>
                  </a:lnTo>
                  <a:lnTo>
                    <a:pt x="120" y="517"/>
                  </a:lnTo>
                  <a:lnTo>
                    <a:pt x="120" y="517"/>
                  </a:lnTo>
                  <a:lnTo>
                    <a:pt x="122" y="515"/>
                  </a:lnTo>
                  <a:lnTo>
                    <a:pt x="122" y="513"/>
                  </a:lnTo>
                  <a:lnTo>
                    <a:pt x="120" y="513"/>
                  </a:lnTo>
                  <a:lnTo>
                    <a:pt x="118" y="511"/>
                  </a:lnTo>
                  <a:lnTo>
                    <a:pt x="116" y="513"/>
                  </a:lnTo>
                  <a:lnTo>
                    <a:pt x="116" y="513"/>
                  </a:lnTo>
                  <a:lnTo>
                    <a:pt x="116" y="515"/>
                  </a:lnTo>
                  <a:lnTo>
                    <a:pt x="114" y="517"/>
                  </a:lnTo>
                  <a:lnTo>
                    <a:pt x="114" y="517"/>
                  </a:lnTo>
                  <a:lnTo>
                    <a:pt x="114" y="519"/>
                  </a:lnTo>
                  <a:lnTo>
                    <a:pt x="114" y="519"/>
                  </a:lnTo>
                  <a:lnTo>
                    <a:pt x="114" y="525"/>
                  </a:lnTo>
                  <a:lnTo>
                    <a:pt x="116" y="527"/>
                  </a:lnTo>
                  <a:lnTo>
                    <a:pt x="116" y="528"/>
                  </a:lnTo>
                  <a:lnTo>
                    <a:pt x="118" y="527"/>
                  </a:lnTo>
                  <a:lnTo>
                    <a:pt x="118" y="527"/>
                  </a:lnTo>
                  <a:lnTo>
                    <a:pt x="120" y="527"/>
                  </a:lnTo>
                  <a:lnTo>
                    <a:pt x="120" y="527"/>
                  </a:lnTo>
                  <a:lnTo>
                    <a:pt x="120" y="528"/>
                  </a:lnTo>
                  <a:lnTo>
                    <a:pt x="118" y="528"/>
                  </a:lnTo>
                  <a:lnTo>
                    <a:pt x="118" y="528"/>
                  </a:lnTo>
                  <a:lnTo>
                    <a:pt x="118" y="528"/>
                  </a:lnTo>
                  <a:lnTo>
                    <a:pt x="118" y="528"/>
                  </a:lnTo>
                  <a:lnTo>
                    <a:pt x="116" y="530"/>
                  </a:lnTo>
                  <a:lnTo>
                    <a:pt x="116" y="530"/>
                  </a:lnTo>
                  <a:lnTo>
                    <a:pt x="116" y="532"/>
                  </a:lnTo>
                  <a:lnTo>
                    <a:pt x="116" y="534"/>
                  </a:lnTo>
                  <a:lnTo>
                    <a:pt x="118" y="534"/>
                  </a:lnTo>
                  <a:lnTo>
                    <a:pt x="120" y="532"/>
                  </a:lnTo>
                  <a:lnTo>
                    <a:pt x="120" y="530"/>
                  </a:lnTo>
                  <a:lnTo>
                    <a:pt x="120" y="530"/>
                  </a:lnTo>
                  <a:close/>
                  <a:moveTo>
                    <a:pt x="87" y="511"/>
                  </a:moveTo>
                  <a:lnTo>
                    <a:pt x="84" y="511"/>
                  </a:lnTo>
                  <a:lnTo>
                    <a:pt x="82" y="509"/>
                  </a:lnTo>
                  <a:lnTo>
                    <a:pt x="82" y="508"/>
                  </a:lnTo>
                  <a:lnTo>
                    <a:pt x="82" y="506"/>
                  </a:lnTo>
                  <a:lnTo>
                    <a:pt x="82" y="502"/>
                  </a:lnTo>
                  <a:lnTo>
                    <a:pt x="82" y="500"/>
                  </a:lnTo>
                  <a:lnTo>
                    <a:pt x="80" y="500"/>
                  </a:lnTo>
                  <a:lnTo>
                    <a:pt x="78" y="502"/>
                  </a:lnTo>
                  <a:lnTo>
                    <a:pt x="78" y="502"/>
                  </a:lnTo>
                  <a:lnTo>
                    <a:pt x="78" y="504"/>
                  </a:lnTo>
                  <a:lnTo>
                    <a:pt x="78" y="506"/>
                  </a:lnTo>
                  <a:lnTo>
                    <a:pt x="78" y="508"/>
                  </a:lnTo>
                  <a:lnTo>
                    <a:pt x="80" y="511"/>
                  </a:lnTo>
                  <a:lnTo>
                    <a:pt x="82" y="513"/>
                  </a:lnTo>
                  <a:lnTo>
                    <a:pt x="84" y="513"/>
                  </a:lnTo>
                  <a:lnTo>
                    <a:pt x="86" y="515"/>
                  </a:lnTo>
                  <a:lnTo>
                    <a:pt x="87" y="515"/>
                  </a:lnTo>
                  <a:lnTo>
                    <a:pt x="87" y="513"/>
                  </a:lnTo>
                  <a:lnTo>
                    <a:pt x="87" y="513"/>
                  </a:lnTo>
                  <a:lnTo>
                    <a:pt x="87" y="511"/>
                  </a:lnTo>
                  <a:close/>
                  <a:moveTo>
                    <a:pt x="127" y="487"/>
                  </a:moveTo>
                  <a:lnTo>
                    <a:pt x="127" y="489"/>
                  </a:lnTo>
                  <a:lnTo>
                    <a:pt x="127" y="492"/>
                  </a:lnTo>
                  <a:lnTo>
                    <a:pt x="127" y="492"/>
                  </a:lnTo>
                  <a:lnTo>
                    <a:pt x="127" y="492"/>
                  </a:lnTo>
                  <a:lnTo>
                    <a:pt x="129" y="490"/>
                  </a:lnTo>
                  <a:lnTo>
                    <a:pt x="129" y="489"/>
                  </a:lnTo>
                  <a:lnTo>
                    <a:pt x="129" y="489"/>
                  </a:lnTo>
                  <a:lnTo>
                    <a:pt x="129" y="487"/>
                  </a:lnTo>
                  <a:lnTo>
                    <a:pt x="129" y="485"/>
                  </a:lnTo>
                  <a:lnTo>
                    <a:pt x="127" y="483"/>
                  </a:lnTo>
                  <a:lnTo>
                    <a:pt x="127" y="481"/>
                  </a:lnTo>
                  <a:lnTo>
                    <a:pt x="127" y="481"/>
                  </a:lnTo>
                  <a:lnTo>
                    <a:pt x="127" y="483"/>
                  </a:lnTo>
                  <a:lnTo>
                    <a:pt x="127" y="487"/>
                  </a:lnTo>
                  <a:close/>
                  <a:moveTo>
                    <a:pt x="53" y="418"/>
                  </a:moveTo>
                  <a:lnTo>
                    <a:pt x="51" y="416"/>
                  </a:lnTo>
                  <a:lnTo>
                    <a:pt x="49" y="416"/>
                  </a:lnTo>
                  <a:lnTo>
                    <a:pt x="49" y="416"/>
                  </a:lnTo>
                  <a:lnTo>
                    <a:pt x="49" y="418"/>
                  </a:lnTo>
                  <a:lnTo>
                    <a:pt x="49" y="418"/>
                  </a:lnTo>
                  <a:lnTo>
                    <a:pt x="47" y="420"/>
                  </a:lnTo>
                  <a:lnTo>
                    <a:pt x="46" y="420"/>
                  </a:lnTo>
                  <a:lnTo>
                    <a:pt x="46" y="422"/>
                  </a:lnTo>
                  <a:lnTo>
                    <a:pt x="46" y="424"/>
                  </a:lnTo>
                  <a:lnTo>
                    <a:pt x="46" y="426"/>
                  </a:lnTo>
                  <a:lnTo>
                    <a:pt x="47" y="428"/>
                  </a:lnTo>
                  <a:lnTo>
                    <a:pt x="53" y="430"/>
                  </a:lnTo>
                  <a:lnTo>
                    <a:pt x="57" y="426"/>
                  </a:lnTo>
                  <a:lnTo>
                    <a:pt x="57" y="422"/>
                  </a:lnTo>
                  <a:lnTo>
                    <a:pt x="55" y="418"/>
                  </a:lnTo>
                  <a:lnTo>
                    <a:pt x="53" y="418"/>
                  </a:lnTo>
                  <a:close/>
                  <a:moveTo>
                    <a:pt x="34" y="274"/>
                  </a:moveTo>
                  <a:lnTo>
                    <a:pt x="34" y="274"/>
                  </a:lnTo>
                  <a:lnTo>
                    <a:pt x="32" y="270"/>
                  </a:lnTo>
                  <a:lnTo>
                    <a:pt x="32" y="268"/>
                  </a:lnTo>
                  <a:lnTo>
                    <a:pt x="30" y="264"/>
                  </a:lnTo>
                  <a:lnTo>
                    <a:pt x="28" y="262"/>
                  </a:lnTo>
                  <a:lnTo>
                    <a:pt x="25" y="264"/>
                  </a:lnTo>
                  <a:lnTo>
                    <a:pt x="19" y="268"/>
                  </a:lnTo>
                  <a:lnTo>
                    <a:pt x="19" y="270"/>
                  </a:lnTo>
                  <a:lnTo>
                    <a:pt x="19" y="272"/>
                  </a:lnTo>
                  <a:lnTo>
                    <a:pt x="17" y="274"/>
                  </a:lnTo>
                  <a:lnTo>
                    <a:pt x="15" y="274"/>
                  </a:lnTo>
                  <a:lnTo>
                    <a:pt x="15" y="274"/>
                  </a:lnTo>
                  <a:lnTo>
                    <a:pt x="15" y="274"/>
                  </a:lnTo>
                  <a:lnTo>
                    <a:pt x="15" y="277"/>
                  </a:lnTo>
                  <a:lnTo>
                    <a:pt x="15" y="279"/>
                  </a:lnTo>
                  <a:lnTo>
                    <a:pt x="15" y="283"/>
                  </a:lnTo>
                  <a:lnTo>
                    <a:pt x="15" y="285"/>
                  </a:lnTo>
                  <a:lnTo>
                    <a:pt x="17" y="287"/>
                  </a:lnTo>
                  <a:lnTo>
                    <a:pt x="19" y="289"/>
                  </a:lnTo>
                  <a:lnTo>
                    <a:pt x="19" y="291"/>
                  </a:lnTo>
                  <a:lnTo>
                    <a:pt x="17" y="293"/>
                  </a:lnTo>
                  <a:lnTo>
                    <a:pt x="15" y="296"/>
                  </a:lnTo>
                  <a:lnTo>
                    <a:pt x="15" y="296"/>
                  </a:lnTo>
                  <a:lnTo>
                    <a:pt x="17" y="296"/>
                  </a:lnTo>
                  <a:lnTo>
                    <a:pt x="19" y="296"/>
                  </a:lnTo>
                  <a:lnTo>
                    <a:pt x="21" y="296"/>
                  </a:lnTo>
                  <a:lnTo>
                    <a:pt x="23" y="296"/>
                  </a:lnTo>
                  <a:lnTo>
                    <a:pt x="25" y="298"/>
                  </a:lnTo>
                  <a:lnTo>
                    <a:pt x="26" y="298"/>
                  </a:lnTo>
                  <a:lnTo>
                    <a:pt x="28" y="298"/>
                  </a:lnTo>
                  <a:lnTo>
                    <a:pt x="30" y="296"/>
                  </a:lnTo>
                  <a:lnTo>
                    <a:pt x="32" y="293"/>
                  </a:lnTo>
                  <a:lnTo>
                    <a:pt x="30" y="291"/>
                  </a:lnTo>
                  <a:lnTo>
                    <a:pt x="30" y="291"/>
                  </a:lnTo>
                  <a:lnTo>
                    <a:pt x="30" y="289"/>
                  </a:lnTo>
                  <a:lnTo>
                    <a:pt x="30" y="287"/>
                  </a:lnTo>
                  <a:lnTo>
                    <a:pt x="32" y="287"/>
                  </a:lnTo>
                  <a:lnTo>
                    <a:pt x="32" y="285"/>
                  </a:lnTo>
                  <a:lnTo>
                    <a:pt x="34" y="283"/>
                  </a:lnTo>
                  <a:lnTo>
                    <a:pt x="34" y="281"/>
                  </a:lnTo>
                  <a:lnTo>
                    <a:pt x="34" y="277"/>
                  </a:lnTo>
                  <a:lnTo>
                    <a:pt x="34" y="274"/>
                  </a:lnTo>
                  <a:close/>
                  <a:moveTo>
                    <a:pt x="44" y="215"/>
                  </a:moveTo>
                  <a:lnTo>
                    <a:pt x="42" y="215"/>
                  </a:lnTo>
                  <a:lnTo>
                    <a:pt x="42" y="213"/>
                  </a:lnTo>
                  <a:lnTo>
                    <a:pt x="44" y="211"/>
                  </a:lnTo>
                  <a:lnTo>
                    <a:pt x="44" y="211"/>
                  </a:lnTo>
                  <a:lnTo>
                    <a:pt x="44" y="209"/>
                  </a:lnTo>
                  <a:lnTo>
                    <a:pt x="42" y="207"/>
                  </a:lnTo>
                  <a:lnTo>
                    <a:pt x="40" y="205"/>
                  </a:lnTo>
                  <a:lnTo>
                    <a:pt x="38" y="205"/>
                  </a:lnTo>
                  <a:lnTo>
                    <a:pt x="38" y="209"/>
                  </a:lnTo>
                  <a:lnTo>
                    <a:pt x="38" y="211"/>
                  </a:lnTo>
                  <a:lnTo>
                    <a:pt x="38" y="213"/>
                  </a:lnTo>
                  <a:lnTo>
                    <a:pt x="38" y="215"/>
                  </a:lnTo>
                  <a:lnTo>
                    <a:pt x="38" y="215"/>
                  </a:lnTo>
                  <a:lnTo>
                    <a:pt x="36" y="215"/>
                  </a:lnTo>
                  <a:lnTo>
                    <a:pt x="36" y="215"/>
                  </a:lnTo>
                  <a:lnTo>
                    <a:pt x="34" y="215"/>
                  </a:lnTo>
                  <a:lnTo>
                    <a:pt x="34" y="218"/>
                  </a:lnTo>
                  <a:lnTo>
                    <a:pt x="36" y="218"/>
                  </a:lnTo>
                  <a:lnTo>
                    <a:pt x="36" y="218"/>
                  </a:lnTo>
                  <a:lnTo>
                    <a:pt x="36" y="218"/>
                  </a:lnTo>
                  <a:lnTo>
                    <a:pt x="38" y="220"/>
                  </a:lnTo>
                  <a:lnTo>
                    <a:pt x="40" y="218"/>
                  </a:lnTo>
                  <a:lnTo>
                    <a:pt x="42" y="218"/>
                  </a:lnTo>
                  <a:lnTo>
                    <a:pt x="44" y="218"/>
                  </a:lnTo>
                  <a:lnTo>
                    <a:pt x="44" y="217"/>
                  </a:lnTo>
                  <a:lnTo>
                    <a:pt x="44" y="217"/>
                  </a:lnTo>
                  <a:lnTo>
                    <a:pt x="44" y="215"/>
                  </a:lnTo>
                  <a:close/>
                  <a:moveTo>
                    <a:pt x="4" y="198"/>
                  </a:moveTo>
                  <a:lnTo>
                    <a:pt x="4" y="198"/>
                  </a:lnTo>
                  <a:lnTo>
                    <a:pt x="2" y="198"/>
                  </a:lnTo>
                  <a:lnTo>
                    <a:pt x="0" y="198"/>
                  </a:lnTo>
                  <a:lnTo>
                    <a:pt x="0" y="198"/>
                  </a:lnTo>
                  <a:lnTo>
                    <a:pt x="2" y="199"/>
                  </a:lnTo>
                  <a:lnTo>
                    <a:pt x="2" y="203"/>
                  </a:lnTo>
                  <a:lnTo>
                    <a:pt x="4" y="203"/>
                  </a:lnTo>
                  <a:lnTo>
                    <a:pt x="6" y="203"/>
                  </a:lnTo>
                  <a:lnTo>
                    <a:pt x="6" y="201"/>
                  </a:lnTo>
                  <a:lnTo>
                    <a:pt x="6" y="199"/>
                  </a:lnTo>
                  <a:lnTo>
                    <a:pt x="6" y="198"/>
                  </a:lnTo>
                  <a:lnTo>
                    <a:pt x="4" y="198"/>
                  </a:lnTo>
                  <a:close/>
                  <a:moveTo>
                    <a:pt x="76" y="163"/>
                  </a:moveTo>
                  <a:lnTo>
                    <a:pt x="76" y="163"/>
                  </a:lnTo>
                  <a:lnTo>
                    <a:pt x="76" y="161"/>
                  </a:lnTo>
                  <a:lnTo>
                    <a:pt x="74" y="158"/>
                  </a:lnTo>
                  <a:lnTo>
                    <a:pt x="74" y="156"/>
                  </a:lnTo>
                  <a:lnTo>
                    <a:pt x="74" y="156"/>
                  </a:lnTo>
                  <a:lnTo>
                    <a:pt x="70" y="156"/>
                  </a:lnTo>
                  <a:lnTo>
                    <a:pt x="70" y="156"/>
                  </a:lnTo>
                  <a:lnTo>
                    <a:pt x="68" y="158"/>
                  </a:lnTo>
                  <a:lnTo>
                    <a:pt x="66" y="160"/>
                  </a:lnTo>
                  <a:lnTo>
                    <a:pt x="68" y="161"/>
                  </a:lnTo>
                  <a:lnTo>
                    <a:pt x="68" y="161"/>
                  </a:lnTo>
                  <a:lnTo>
                    <a:pt x="70" y="161"/>
                  </a:lnTo>
                  <a:lnTo>
                    <a:pt x="70" y="163"/>
                  </a:lnTo>
                  <a:lnTo>
                    <a:pt x="70" y="163"/>
                  </a:lnTo>
                  <a:lnTo>
                    <a:pt x="72" y="163"/>
                  </a:lnTo>
                  <a:lnTo>
                    <a:pt x="74" y="163"/>
                  </a:lnTo>
                  <a:lnTo>
                    <a:pt x="74" y="165"/>
                  </a:lnTo>
                  <a:lnTo>
                    <a:pt x="74" y="165"/>
                  </a:lnTo>
                  <a:lnTo>
                    <a:pt x="76" y="167"/>
                  </a:lnTo>
                  <a:lnTo>
                    <a:pt x="76" y="169"/>
                  </a:lnTo>
                  <a:lnTo>
                    <a:pt x="78" y="169"/>
                  </a:lnTo>
                  <a:lnTo>
                    <a:pt x="76" y="163"/>
                  </a:lnTo>
                  <a:close/>
                  <a:moveTo>
                    <a:pt x="78" y="141"/>
                  </a:moveTo>
                  <a:lnTo>
                    <a:pt x="78" y="142"/>
                  </a:lnTo>
                  <a:lnTo>
                    <a:pt x="78" y="144"/>
                  </a:lnTo>
                  <a:lnTo>
                    <a:pt x="78" y="146"/>
                  </a:lnTo>
                  <a:lnTo>
                    <a:pt x="78" y="146"/>
                  </a:lnTo>
                  <a:lnTo>
                    <a:pt x="80" y="148"/>
                  </a:lnTo>
                  <a:lnTo>
                    <a:pt x="80" y="150"/>
                  </a:lnTo>
                  <a:lnTo>
                    <a:pt x="80" y="150"/>
                  </a:lnTo>
                  <a:lnTo>
                    <a:pt x="82" y="150"/>
                  </a:lnTo>
                  <a:lnTo>
                    <a:pt x="82" y="148"/>
                  </a:lnTo>
                  <a:lnTo>
                    <a:pt x="82" y="144"/>
                  </a:lnTo>
                  <a:lnTo>
                    <a:pt x="82" y="144"/>
                  </a:lnTo>
                  <a:lnTo>
                    <a:pt x="82" y="142"/>
                  </a:lnTo>
                  <a:lnTo>
                    <a:pt x="82" y="142"/>
                  </a:lnTo>
                  <a:lnTo>
                    <a:pt x="82" y="141"/>
                  </a:lnTo>
                  <a:lnTo>
                    <a:pt x="82" y="141"/>
                  </a:lnTo>
                  <a:lnTo>
                    <a:pt x="82" y="141"/>
                  </a:lnTo>
                  <a:lnTo>
                    <a:pt x="80" y="141"/>
                  </a:lnTo>
                  <a:lnTo>
                    <a:pt x="80" y="141"/>
                  </a:lnTo>
                  <a:lnTo>
                    <a:pt x="78" y="141"/>
                  </a:lnTo>
                  <a:lnTo>
                    <a:pt x="78" y="141"/>
                  </a:lnTo>
                  <a:close/>
                  <a:moveTo>
                    <a:pt x="152" y="133"/>
                  </a:moveTo>
                  <a:lnTo>
                    <a:pt x="152" y="133"/>
                  </a:lnTo>
                  <a:lnTo>
                    <a:pt x="150" y="133"/>
                  </a:lnTo>
                  <a:lnTo>
                    <a:pt x="150" y="135"/>
                  </a:lnTo>
                  <a:lnTo>
                    <a:pt x="152" y="133"/>
                  </a:lnTo>
                  <a:close/>
                  <a:moveTo>
                    <a:pt x="44" y="83"/>
                  </a:moveTo>
                  <a:lnTo>
                    <a:pt x="44" y="82"/>
                  </a:lnTo>
                  <a:lnTo>
                    <a:pt x="44" y="82"/>
                  </a:lnTo>
                  <a:lnTo>
                    <a:pt x="44" y="80"/>
                  </a:lnTo>
                  <a:lnTo>
                    <a:pt x="44" y="80"/>
                  </a:lnTo>
                  <a:lnTo>
                    <a:pt x="46" y="78"/>
                  </a:lnTo>
                  <a:lnTo>
                    <a:pt x="47" y="76"/>
                  </a:lnTo>
                  <a:lnTo>
                    <a:pt x="47" y="74"/>
                  </a:lnTo>
                  <a:lnTo>
                    <a:pt x="47" y="70"/>
                  </a:lnTo>
                  <a:lnTo>
                    <a:pt x="47" y="68"/>
                  </a:lnTo>
                  <a:lnTo>
                    <a:pt x="47" y="68"/>
                  </a:lnTo>
                  <a:lnTo>
                    <a:pt x="47" y="66"/>
                  </a:lnTo>
                  <a:lnTo>
                    <a:pt x="47" y="66"/>
                  </a:lnTo>
                  <a:lnTo>
                    <a:pt x="46" y="66"/>
                  </a:lnTo>
                  <a:lnTo>
                    <a:pt x="46" y="66"/>
                  </a:lnTo>
                  <a:lnTo>
                    <a:pt x="46" y="66"/>
                  </a:lnTo>
                  <a:lnTo>
                    <a:pt x="44" y="66"/>
                  </a:lnTo>
                  <a:lnTo>
                    <a:pt x="44" y="66"/>
                  </a:lnTo>
                  <a:lnTo>
                    <a:pt x="44" y="68"/>
                  </a:lnTo>
                  <a:lnTo>
                    <a:pt x="44" y="70"/>
                  </a:lnTo>
                  <a:lnTo>
                    <a:pt x="42" y="76"/>
                  </a:lnTo>
                  <a:lnTo>
                    <a:pt x="42" y="76"/>
                  </a:lnTo>
                  <a:lnTo>
                    <a:pt x="42" y="78"/>
                  </a:lnTo>
                  <a:lnTo>
                    <a:pt x="44" y="83"/>
                  </a:lnTo>
                  <a:lnTo>
                    <a:pt x="44" y="83"/>
                  </a:lnTo>
                  <a:close/>
                  <a:moveTo>
                    <a:pt x="190" y="23"/>
                  </a:moveTo>
                  <a:lnTo>
                    <a:pt x="188" y="25"/>
                  </a:lnTo>
                  <a:lnTo>
                    <a:pt x="190" y="25"/>
                  </a:lnTo>
                  <a:lnTo>
                    <a:pt x="190" y="25"/>
                  </a:lnTo>
                  <a:lnTo>
                    <a:pt x="190" y="23"/>
                  </a:lnTo>
                  <a:close/>
                  <a:moveTo>
                    <a:pt x="68" y="116"/>
                  </a:moveTo>
                  <a:lnTo>
                    <a:pt x="68" y="116"/>
                  </a:lnTo>
                  <a:lnTo>
                    <a:pt x="68" y="114"/>
                  </a:lnTo>
                  <a:lnTo>
                    <a:pt x="68" y="112"/>
                  </a:lnTo>
                  <a:lnTo>
                    <a:pt x="70" y="112"/>
                  </a:lnTo>
                  <a:lnTo>
                    <a:pt x="70" y="110"/>
                  </a:lnTo>
                  <a:lnTo>
                    <a:pt x="72" y="106"/>
                  </a:lnTo>
                  <a:lnTo>
                    <a:pt x="70" y="102"/>
                  </a:lnTo>
                  <a:lnTo>
                    <a:pt x="70" y="101"/>
                  </a:lnTo>
                  <a:lnTo>
                    <a:pt x="70" y="97"/>
                  </a:lnTo>
                  <a:lnTo>
                    <a:pt x="70" y="93"/>
                  </a:lnTo>
                  <a:lnTo>
                    <a:pt x="70" y="91"/>
                  </a:lnTo>
                  <a:lnTo>
                    <a:pt x="70" y="89"/>
                  </a:lnTo>
                  <a:lnTo>
                    <a:pt x="70" y="87"/>
                  </a:lnTo>
                  <a:lnTo>
                    <a:pt x="68" y="85"/>
                  </a:lnTo>
                  <a:lnTo>
                    <a:pt x="68" y="83"/>
                  </a:lnTo>
                  <a:lnTo>
                    <a:pt x="68" y="82"/>
                  </a:lnTo>
                  <a:lnTo>
                    <a:pt x="68" y="80"/>
                  </a:lnTo>
                  <a:lnTo>
                    <a:pt x="68" y="78"/>
                  </a:lnTo>
                  <a:lnTo>
                    <a:pt x="66" y="76"/>
                  </a:lnTo>
                  <a:lnTo>
                    <a:pt x="66" y="74"/>
                  </a:lnTo>
                  <a:lnTo>
                    <a:pt x="66" y="74"/>
                  </a:lnTo>
                  <a:lnTo>
                    <a:pt x="65" y="74"/>
                  </a:lnTo>
                  <a:lnTo>
                    <a:pt x="65" y="72"/>
                  </a:lnTo>
                  <a:lnTo>
                    <a:pt x="65" y="72"/>
                  </a:lnTo>
                  <a:lnTo>
                    <a:pt x="63" y="74"/>
                  </a:lnTo>
                  <a:lnTo>
                    <a:pt x="63" y="74"/>
                  </a:lnTo>
                  <a:lnTo>
                    <a:pt x="61" y="74"/>
                  </a:lnTo>
                  <a:lnTo>
                    <a:pt x="61" y="74"/>
                  </a:lnTo>
                  <a:lnTo>
                    <a:pt x="61" y="72"/>
                  </a:lnTo>
                  <a:lnTo>
                    <a:pt x="61" y="72"/>
                  </a:lnTo>
                  <a:lnTo>
                    <a:pt x="61" y="72"/>
                  </a:lnTo>
                  <a:lnTo>
                    <a:pt x="63" y="66"/>
                  </a:lnTo>
                  <a:lnTo>
                    <a:pt x="63" y="66"/>
                  </a:lnTo>
                  <a:lnTo>
                    <a:pt x="65" y="66"/>
                  </a:lnTo>
                  <a:lnTo>
                    <a:pt x="65" y="66"/>
                  </a:lnTo>
                  <a:lnTo>
                    <a:pt x="66" y="66"/>
                  </a:lnTo>
                  <a:lnTo>
                    <a:pt x="66" y="68"/>
                  </a:lnTo>
                  <a:lnTo>
                    <a:pt x="66" y="68"/>
                  </a:lnTo>
                  <a:lnTo>
                    <a:pt x="68" y="68"/>
                  </a:lnTo>
                  <a:lnTo>
                    <a:pt x="68" y="66"/>
                  </a:lnTo>
                  <a:lnTo>
                    <a:pt x="68" y="64"/>
                  </a:lnTo>
                  <a:lnTo>
                    <a:pt x="66" y="63"/>
                  </a:lnTo>
                  <a:lnTo>
                    <a:pt x="65" y="63"/>
                  </a:lnTo>
                  <a:lnTo>
                    <a:pt x="65" y="61"/>
                  </a:lnTo>
                  <a:lnTo>
                    <a:pt x="66" y="59"/>
                  </a:lnTo>
                  <a:lnTo>
                    <a:pt x="68" y="59"/>
                  </a:lnTo>
                  <a:lnTo>
                    <a:pt x="68" y="57"/>
                  </a:lnTo>
                  <a:lnTo>
                    <a:pt x="68" y="57"/>
                  </a:lnTo>
                  <a:lnTo>
                    <a:pt x="68" y="59"/>
                  </a:lnTo>
                  <a:lnTo>
                    <a:pt x="68" y="61"/>
                  </a:lnTo>
                  <a:lnTo>
                    <a:pt x="68" y="61"/>
                  </a:lnTo>
                  <a:lnTo>
                    <a:pt x="70" y="63"/>
                  </a:lnTo>
                  <a:lnTo>
                    <a:pt x="70" y="63"/>
                  </a:lnTo>
                  <a:lnTo>
                    <a:pt x="70" y="61"/>
                  </a:lnTo>
                  <a:lnTo>
                    <a:pt x="70" y="61"/>
                  </a:lnTo>
                  <a:lnTo>
                    <a:pt x="72" y="61"/>
                  </a:lnTo>
                  <a:lnTo>
                    <a:pt x="74" y="61"/>
                  </a:lnTo>
                  <a:lnTo>
                    <a:pt x="76" y="59"/>
                  </a:lnTo>
                  <a:lnTo>
                    <a:pt x="76" y="55"/>
                  </a:lnTo>
                  <a:lnTo>
                    <a:pt x="76" y="53"/>
                  </a:lnTo>
                  <a:lnTo>
                    <a:pt x="76" y="45"/>
                  </a:lnTo>
                  <a:lnTo>
                    <a:pt x="78" y="44"/>
                  </a:lnTo>
                  <a:lnTo>
                    <a:pt x="80" y="40"/>
                  </a:lnTo>
                  <a:lnTo>
                    <a:pt x="80" y="40"/>
                  </a:lnTo>
                  <a:lnTo>
                    <a:pt x="76" y="38"/>
                  </a:lnTo>
                  <a:lnTo>
                    <a:pt x="76" y="36"/>
                  </a:lnTo>
                  <a:lnTo>
                    <a:pt x="74" y="34"/>
                  </a:lnTo>
                  <a:lnTo>
                    <a:pt x="72" y="36"/>
                  </a:lnTo>
                  <a:lnTo>
                    <a:pt x="70" y="34"/>
                  </a:lnTo>
                  <a:lnTo>
                    <a:pt x="70" y="34"/>
                  </a:lnTo>
                  <a:lnTo>
                    <a:pt x="70" y="32"/>
                  </a:lnTo>
                  <a:lnTo>
                    <a:pt x="70" y="30"/>
                  </a:lnTo>
                  <a:lnTo>
                    <a:pt x="72" y="30"/>
                  </a:lnTo>
                  <a:lnTo>
                    <a:pt x="72" y="32"/>
                  </a:lnTo>
                  <a:lnTo>
                    <a:pt x="72" y="34"/>
                  </a:lnTo>
                  <a:lnTo>
                    <a:pt x="74" y="32"/>
                  </a:lnTo>
                  <a:lnTo>
                    <a:pt x="76" y="32"/>
                  </a:lnTo>
                  <a:lnTo>
                    <a:pt x="76" y="30"/>
                  </a:lnTo>
                  <a:lnTo>
                    <a:pt x="76" y="30"/>
                  </a:lnTo>
                  <a:lnTo>
                    <a:pt x="78" y="28"/>
                  </a:lnTo>
                  <a:lnTo>
                    <a:pt x="80" y="26"/>
                  </a:lnTo>
                  <a:lnTo>
                    <a:pt x="80" y="26"/>
                  </a:lnTo>
                  <a:lnTo>
                    <a:pt x="80" y="26"/>
                  </a:lnTo>
                  <a:lnTo>
                    <a:pt x="78" y="26"/>
                  </a:lnTo>
                  <a:lnTo>
                    <a:pt x="78" y="26"/>
                  </a:lnTo>
                  <a:lnTo>
                    <a:pt x="78" y="21"/>
                  </a:lnTo>
                  <a:lnTo>
                    <a:pt x="78" y="17"/>
                  </a:lnTo>
                  <a:lnTo>
                    <a:pt x="78" y="13"/>
                  </a:lnTo>
                  <a:lnTo>
                    <a:pt x="76" y="11"/>
                  </a:lnTo>
                  <a:lnTo>
                    <a:pt x="76" y="11"/>
                  </a:lnTo>
                  <a:lnTo>
                    <a:pt x="74" y="11"/>
                  </a:lnTo>
                  <a:lnTo>
                    <a:pt x="74" y="11"/>
                  </a:lnTo>
                  <a:lnTo>
                    <a:pt x="74" y="11"/>
                  </a:lnTo>
                  <a:lnTo>
                    <a:pt x="72" y="9"/>
                  </a:lnTo>
                  <a:lnTo>
                    <a:pt x="72" y="11"/>
                  </a:lnTo>
                  <a:lnTo>
                    <a:pt x="72" y="11"/>
                  </a:lnTo>
                  <a:lnTo>
                    <a:pt x="72" y="11"/>
                  </a:lnTo>
                  <a:lnTo>
                    <a:pt x="72" y="13"/>
                  </a:lnTo>
                  <a:lnTo>
                    <a:pt x="72" y="13"/>
                  </a:lnTo>
                  <a:lnTo>
                    <a:pt x="72" y="13"/>
                  </a:lnTo>
                  <a:lnTo>
                    <a:pt x="72" y="13"/>
                  </a:lnTo>
                  <a:lnTo>
                    <a:pt x="70" y="11"/>
                  </a:lnTo>
                  <a:lnTo>
                    <a:pt x="70" y="13"/>
                  </a:lnTo>
                  <a:lnTo>
                    <a:pt x="68" y="13"/>
                  </a:lnTo>
                  <a:lnTo>
                    <a:pt x="66" y="13"/>
                  </a:lnTo>
                  <a:lnTo>
                    <a:pt x="66" y="13"/>
                  </a:lnTo>
                  <a:lnTo>
                    <a:pt x="66" y="15"/>
                  </a:lnTo>
                  <a:lnTo>
                    <a:pt x="66" y="17"/>
                  </a:lnTo>
                  <a:lnTo>
                    <a:pt x="66" y="17"/>
                  </a:lnTo>
                  <a:lnTo>
                    <a:pt x="65" y="19"/>
                  </a:lnTo>
                  <a:lnTo>
                    <a:pt x="63" y="21"/>
                  </a:lnTo>
                  <a:lnTo>
                    <a:pt x="63" y="21"/>
                  </a:lnTo>
                  <a:lnTo>
                    <a:pt x="63" y="23"/>
                  </a:lnTo>
                  <a:lnTo>
                    <a:pt x="63" y="23"/>
                  </a:lnTo>
                  <a:lnTo>
                    <a:pt x="63" y="25"/>
                  </a:lnTo>
                  <a:lnTo>
                    <a:pt x="63" y="26"/>
                  </a:lnTo>
                  <a:lnTo>
                    <a:pt x="63" y="26"/>
                  </a:lnTo>
                  <a:lnTo>
                    <a:pt x="61" y="28"/>
                  </a:lnTo>
                  <a:lnTo>
                    <a:pt x="59" y="32"/>
                  </a:lnTo>
                  <a:lnTo>
                    <a:pt x="57" y="34"/>
                  </a:lnTo>
                  <a:lnTo>
                    <a:pt x="59" y="36"/>
                  </a:lnTo>
                  <a:lnTo>
                    <a:pt x="59" y="36"/>
                  </a:lnTo>
                  <a:lnTo>
                    <a:pt x="59" y="38"/>
                  </a:lnTo>
                  <a:lnTo>
                    <a:pt x="59" y="42"/>
                  </a:lnTo>
                  <a:lnTo>
                    <a:pt x="59" y="42"/>
                  </a:lnTo>
                  <a:lnTo>
                    <a:pt x="57" y="44"/>
                  </a:lnTo>
                  <a:lnTo>
                    <a:pt x="57" y="45"/>
                  </a:lnTo>
                  <a:lnTo>
                    <a:pt x="57" y="47"/>
                  </a:lnTo>
                  <a:lnTo>
                    <a:pt x="57" y="47"/>
                  </a:lnTo>
                  <a:lnTo>
                    <a:pt x="57" y="49"/>
                  </a:lnTo>
                  <a:lnTo>
                    <a:pt x="59" y="51"/>
                  </a:lnTo>
                  <a:lnTo>
                    <a:pt x="59" y="51"/>
                  </a:lnTo>
                  <a:lnTo>
                    <a:pt x="59" y="51"/>
                  </a:lnTo>
                  <a:lnTo>
                    <a:pt x="59" y="51"/>
                  </a:lnTo>
                  <a:lnTo>
                    <a:pt x="57" y="55"/>
                  </a:lnTo>
                  <a:lnTo>
                    <a:pt x="55" y="61"/>
                  </a:lnTo>
                  <a:lnTo>
                    <a:pt x="55" y="63"/>
                  </a:lnTo>
                  <a:lnTo>
                    <a:pt x="57" y="64"/>
                  </a:lnTo>
                  <a:lnTo>
                    <a:pt x="57" y="64"/>
                  </a:lnTo>
                  <a:lnTo>
                    <a:pt x="57" y="66"/>
                  </a:lnTo>
                  <a:lnTo>
                    <a:pt x="55" y="68"/>
                  </a:lnTo>
                  <a:lnTo>
                    <a:pt x="55" y="74"/>
                  </a:lnTo>
                  <a:lnTo>
                    <a:pt x="55" y="76"/>
                  </a:lnTo>
                  <a:lnTo>
                    <a:pt x="53" y="78"/>
                  </a:lnTo>
                  <a:lnTo>
                    <a:pt x="53" y="80"/>
                  </a:lnTo>
                  <a:lnTo>
                    <a:pt x="51" y="80"/>
                  </a:lnTo>
                  <a:lnTo>
                    <a:pt x="49" y="80"/>
                  </a:lnTo>
                  <a:lnTo>
                    <a:pt x="49" y="82"/>
                  </a:lnTo>
                  <a:lnTo>
                    <a:pt x="47" y="82"/>
                  </a:lnTo>
                  <a:lnTo>
                    <a:pt x="47" y="83"/>
                  </a:lnTo>
                  <a:lnTo>
                    <a:pt x="49" y="87"/>
                  </a:lnTo>
                  <a:lnTo>
                    <a:pt x="49" y="93"/>
                  </a:lnTo>
                  <a:lnTo>
                    <a:pt x="49" y="95"/>
                  </a:lnTo>
                  <a:lnTo>
                    <a:pt x="51" y="95"/>
                  </a:lnTo>
                  <a:lnTo>
                    <a:pt x="51" y="97"/>
                  </a:lnTo>
                  <a:lnTo>
                    <a:pt x="51" y="97"/>
                  </a:lnTo>
                  <a:lnTo>
                    <a:pt x="51" y="97"/>
                  </a:lnTo>
                  <a:lnTo>
                    <a:pt x="51" y="97"/>
                  </a:lnTo>
                  <a:lnTo>
                    <a:pt x="49" y="97"/>
                  </a:lnTo>
                  <a:lnTo>
                    <a:pt x="49" y="99"/>
                  </a:lnTo>
                  <a:lnTo>
                    <a:pt x="49" y="99"/>
                  </a:lnTo>
                  <a:lnTo>
                    <a:pt x="49" y="99"/>
                  </a:lnTo>
                  <a:lnTo>
                    <a:pt x="47" y="101"/>
                  </a:lnTo>
                  <a:lnTo>
                    <a:pt x="46" y="102"/>
                  </a:lnTo>
                  <a:lnTo>
                    <a:pt x="46" y="125"/>
                  </a:lnTo>
                  <a:lnTo>
                    <a:pt x="46" y="127"/>
                  </a:lnTo>
                  <a:lnTo>
                    <a:pt x="47" y="129"/>
                  </a:lnTo>
                  <a:lnTo>
                    <a:pt x="49" y="129"/>
                  </a:lnTo>
                  <a:lnTo>
                    <a:pt x="51" y="129"/>
                  </a:lnTo>
                  <a:lnTo>
                    <a:pt x="53" y="131"/>
                  </a:lnTo>
                  <a:lnTo>
                    <a:pt x="53" y="131"/>
                  </a:lnTo>
                  <a:lnTo>
                    <a:pt x="53" y="133"/>
                  </a:lnTo>
                  <a:lnTo>
                    <a:pt x="53" y="133"/>
                  </a:lnTo>
                  <a:lnTo>
                    <a:pt x="51" y="133"/>
                  </a:lnTo>
                  <a:lnTo>
                    <a:pt x="51" y="133"/>
                  </a:lnTo>
                  <a:lnTo>
                    <a:pt x="49" y="133"/>
                  </a:lnTo>
                  <a:lnTo>
                    <a:pt x="49" y="133"/>
                  </a:lnTo>
                  <a:lnTo>
                    <a:pt x="49" y="135"/>
                  </a:lnTo>
                  <a:lnTo>
                    <a:pt x="49" y="135"/>
                  </a:lnTo>
                  <a:lnTo>
                    <a:pt x="51" y="135"/>
                  </a:lnTo>
                  <a:lnTo>
                    <a:pt x="51" y="135"/>
                  </a:lnTo>
                  <a:lnTo>
                    <a:pt x="51" y="135"/>
                  </a:lnTo>
                  <a:lnTo>
                    <a:pt x="53" y="139"/>
                  </a:lnTo>
                  <a:lnTo>
                    <a:pt x="53" y="141"/>
                  </a:lnTo>
                  <a:lnTo>
                    <a:pt x="51" y="141"/>
                  </a:lnTo>
                  <a:lnTo>
                    <a:pt x="51" y="142"/>
                  </a:lnTo>
                  <a:lnTo>
                    <a:pt x="49" y="142"/>
                  </a:lnTo>
                  <a:lnTo>
                    <a:pt x="47" y="142"/>
                  </a:lnTo>
                  <a:lnTo>
                    <a:pt x="47" y="142"/>
                  </a:lnTo>
                  <a:lnTo>
                    <a:pt x="47" y="142"/>
                  </a:lnTo>
                  <a:lnTo>
                    <a:pt x="47" y="142"/>
                  </a:lnTo>
                  <a:lnTo>
                    <a:pt x="47" y="142"/>
                  </a:lnTo>
                  <a:lnTo>
                    <a:pt x="46" y="142"/>
                  </a:lnTo>
                  <a:lnTo>
                    <a:pt x="46" y="142"/>
                  </a:lnTo>
                  <a:lnTo>
                    <a:pt x="47" y="141"/>
                  </a:lnTo>
                  <a:lnTo>
                    <a:pt x="46" y="139"/>
                  </a:lnTo>
                  <a:lnTo>
                    <a:pt x="46" y="137"/>
                  </a:lnTo>
                  <a:lnTo>
                    <a:pt x="46" y="139"/>
                  </a:lnTo>
                  <a:lnTo>
                    <a:pt x="44" y="139"/>
                  </a:lnTo>
                  <a:lnTo>
                    <a:pt x="44" y="139"/>
                  </a:lnTo>
                  <a:lnTo>
                    <a:pt x="42" y="139"/>
                  </a:lnTo>
                  <a:lnTo>
                    <a:pt x="42" y="141"/>
                  </a:lnTo>
                  <a:lnTo>
                    <a:pt x="40" y="144"/>
                  </a:lnTo>
                  <a:lnTo>
                    <a:pt x="38" y="146"/>
                  </a:lnTo>
                  <a:lnTo>
                    <a:pt x="40" y="156"/>
                  </a:lnTo>
                  <a:lnTo>
                    <a:pt x="38" y="158"/>
                  </a:lnTo>
                  <a:lnTo>
                    <a:pt x="38" y="160"/>
                  </a:lnTo>
                  <a:lnTo>
                    <a:pt x="38" y="160"/>
                  </a:lnTo>
                  <a:lnTo>
                    <a:pt x="38" y="161"/>
                  </a:lnTo>
                  <a:lnTo>
                    <a:pt x="38" y="163"/>
                  </a:lnTo>
                  <a:lnTo>
                    <a:pt x="38" y="165"/>
                  </a:lnTo>
                  <a:lnTo>
                    <a:pt x="38" y="165"/>
                  </a:lnTo>
                  <a:lnTo>
                    <a:pt x="38" y="171"/>
                  </a:lnTo>
                  <a:lnTo>
                    <a:pt x="36" y="171"/>
                  </a:lnTo>
                  <a:lnTo>
                    <a:pt x="36" y="171"/>
                  </a:lnTo>
                  <a:lnTo>
                    <a:pt x="36" y="171"/>
                  </a:lnTo>
                  <a:lnTo>
                    <a:pt x="36" y="169"/>
                  </a:lnTo>
                  <a:lnTo>
                    <a:pt x="36" y="169"/>
                  </a:lnTo>
                  <a:lnTo>
                    <a:pt x="34" y="169"/>
                  </a:lnTo>
                  <a:lnTo>
                    <a:pt x="34" y="167"/>
                  </a:lnTo>
                  <a:lnTo>
                    <a:pt x="32" y="165"/>
                  </a:lnTo>
                  <a:lnTo>
                    <a:pt x="32" y="165"/>
                  </a:lnTo>
                  <a:lnTo>
                    <a:pt x="32" y="165"/>
                  </a:lnTo>
                  <a:lnTo>
                    <a:pt x="30" y="169"/>
                  </a:lnTo>
                  <a:lnTo>
                    <a:pt x="28" y="171"/>
                  </a:lnTo>
                  <a:lnTo>
                    <a:pt x="28" y="171"/>
                  </a:lnTo>
                  <a:lnTo>
                    <a:pt x="28" y="173"/>
                  </a:lnTo>
                  <a:lnTo>
                    <a:pt x="28" y="173"/>
                  </a:lnTo>
                  <a:lnTo>
                    <a:pt x="28" y="173"/>
                  </a:lnTo>
                  <a:lnTo>
                    <a:pt x="28" y="173"/>
                  </a:lnTo>
                  <a:lnTo>
                    <a:pt x="28" y="173"/>
                  </a:lnTo>
                  <a:lnTo>
                    <a:pt x="28" y="173"/>
                  </a:lnTo>
                  <a:lnTo>
                    <a:pt x="30" y="175"/>
                  </a:lnTo>
                  <a:lnTo>
                    <a:pt x="30" y="175"/>
                  </a:lnTo>
                  <a:lnTo>
                    <a:pt x="32" y="175"/>
                  </a:lnTo>
                  <a:lnTo>
                    <a:pt x="32" y="175"/>
                  </a:lnTo>
                  <a:lnTo>
                    <a:pt x="32" y="179"/>
                  </a:lnTo>
                  <a:lnTo>
                    <a:pt x="32" y="184"/>
                  </a:lnTo>
                  <a:lnTo>
                    <a:pt x="32" y="184"/>
                  </a:lnTo>
                  <a:lnTo>
                    <a:pt x="34" y="186"/>
                  </a:lnTo>
                  <a:lnTo>
                    <a:pt x="34" y="186"/>
                  </a:lnTo>
                  <a:lnTo>
                    <a:pt x="34" y="186"/>
                  </a:lnTo>
                  <a:lnTo>
                    <a:pt x="36" y="186"/>
                  </a:lnTo>
                  <a:lnTo>
                    <a:pt x="36" y="186"/>
                  </a:lnTo>
                  <a:lnTo>
                    <a:pt x="36" y="188"/>
                  </a:lnTo>
                  <a:lnTo>
                    <a:pt x="36" y="190"/>
                  </a:lnTo>
                  <a:lnTo>
                    <a:pt x="36" y="190"/>
                  </a:lnTo>
                  <a:lnTo>
                    <a:pt x="36" y="192"/>
                  </a:lnTo>
                  <a:lnTo>
                    <a:pt x="38" y="192"/>
                  </a:lnTo>
                  <a:lnTo>
                    <a:pt x="40" y="192"/>
                  </a:lnTo>
                  <a:lnTo>
                    <a:pt x="40" y="194"/>
                  </a:lnTo>
                  <a:lnTo>
                    <a:pt x="40" y="194"/>
                  </a:lnTo>
                  <a:lnTo>
                    <a:pt x="38" y="194"/>
                  </a:lnTo>
                  <a:lnTo>
                    <a:pt x="38" y="194"/>
                  </a:lnTo>
                  <a:lnTo>
                    <a:pt x="38" y="196"/>
                  </a:lnTo>
                  <a:lnTo>
                    <a:pt x="38" y="196"/>
                  </a:lnTo>
                  <a:lnTo>
                    <a:pt x="38" y="198"/>
                  </a:lnTo>
                  <a:lnTo>
                    <a:pt x="38" y="198"/>
                  </a:lnTo>
                  <a:lnTo>
                    <a:pt x="40" y="199"/>
                  </a:lnTo>
                  <a:lnTo>
                    <a:pt x="40" y="199"/>
                  </a:lnTo>
                  <a:lnTo>
                    <a:pt x="40" y="199"/>
                  </a:lnTo>
                  <a:lnTo>
                    <a:pt x="40" y="201"/>
                  </a:lnTo>
                  <a:lnTo>
                    <a:pt x="40" y="201"/>
                  </a:lnTo>
                  <a:lnTo>
                    <a:pt x="44" y="205"/>
                  </a:lnTo>
                  <a:lnTo>
                    <a:pt x="44" y="205"/>
                  </a:lnTo>
                  <a:lnTo>
                    <a:pt x="46" y="205"/>
                  </a:lnTo>
                  <a:lnTo>
                    <a:pt x="46" y="205"/>
                  </a:lnTo>
                  <a:lnTo>
                    <a:pt x="46" y="207"/>
                  </a:lnTo>
                  <a:lnTo>
                    <a:pt x="47" y="205"/>
                  </a:lnTo>
                  <a:lnTo>
                    <a:pt x="47" y="203"/>
                  </a:lnTo>
                  <a:lnTo>
                    <a:pt x="49" y="201"/>
                  </a:lnTo>
                  <a:lnTo>
                    <a:pt x="49" y="198"/>
                  </a:lnTo>
                  <a:lnTo>
                    <a:pt x="49" y="198"/>
                  </a:lnTo>
                  <a:lnTo>
                    <a:pt x="49" y="196"/>
                  </a:lnTo>
                  <a:lnTo>
                    <a:pt x="51" y="196"/>
                  </a:lnTo>
                  <a:lnTo>
                    <a:pt x="51" y="194"/>
                  </a:lnTo>
                  <a:lnTo>
                    <a:pt x="49" y="190"/>
                  </a:lnTo>
                  <a:lnTo>
                    <a:pt x="49" y="190"/>
                  </a:lnTo>
                  <a:lnTo>
                    <a:pt x="49" y="188"/>
                  </a:lnTo>
                  <a:lnTo>
                    <a:pt x="47" y="188"/>
                  </a:lnTo>
                  <a:lnTo>
                    <a:pt x="47" y="190"/>
                  </a:lnTo>
                  <a:lnTo>
                    <a:pt x="47" y="192"/>
                  </a:lnTo>
                  <a:lnTo>
                    <a:pt x="47" y="192"/>
                  </a:lnTo>
                  <a:lnTo>
                    <a:pt x="46" y="192"/>
                  </a:lnTo>
                  <a:lnTo>
                    <a:pt x="46" y="192"/>
                  </a:lnTo>
                  <a:lnTo>
                    <a:pt x="46" y="194"/>
                  </a:lnTo>
                  <a:lnTo>
                    <a:pt x="46" y="196"/>
                  </a:lnTo>
                  <a:lnTo>
                    <a:pt x="44" y="196"/>
                  </a:lnTo>
                  <a:lnTo>
                    <a:pt x="44" y="196"/>
                  </a:lnTo>
                  <a:lnTo>
                    <a:pt x="44" y="196"/>
                  </a:lnTo>
                  <a:lnTo>
                    <a:pt x="44" y="194"/>
                  </a:lnTo>
                  <a:lnTo>
                    <a:pt x="44" y="192"/>
                  </a:lnTo>
                  <a:lnTo>
                    <a:pt x="44" y="192"/>
                  </a:lnTo>
                  <a:lnTo>
                    <a:pt x="46" y="188"/>
                  </a:lnTo>
                  <a:lnTo>
                    <a:pt x="47" y="188"/>
                  </a:lnTo>
                  <a:lnTo>
                    <a:pt x="49" y="188"/>
                  </a:lnTo>
                  <a:lnTo>
                    <a:pt x="49" y="186"/>
                  </a:lnTo>
                  <a:lnTo>
                    <a:pt x="53" y="171"/>
                  </a:lnTo>
                  <a:lnTo>
                    <a:pt x="53" y="169"/>
                  </a:lnTo>
                  <a:lnTo>
                    <a:pt x="53" y="167"/>
                  </a:lnTo>
                  <a:lnTo>
                    <a:pt x="53" y="165"/>
                  </a:lnTo>
                  <a:lnTo>
                    <a:pt x="51" y="165"/>
                  </a:lnTo>
                  <a:lnTo>
                    <a:pt x="49" y="165"/>
                  </a:lnTo>
                  <a:lnTo>
                    <a:pt x="49" y="165"/>
                  </a:lnTo>
                  <a:lnTo>
                    <a:pt x="49" y="167"/>
                  </a:lnTo>
                  <a:lnTo>
                    <a:pt x="49" y="171"/>
                  </a:lnTo>
                  <a:lnTo>
                    <a:pt x="47" y="171"/>
                  </a:lnTo>
                  <a:lnTo>
                    <a:pt x="47" y="163"/>
                  </a:lnTo>
                  <a:lnTo>
                    <a:pt x="47" y="161"/>
                  </a:lnTo>
                  <a:lnTo>
                    <a:pt x="49" y="160"/>
                  </a:lnTo>
                  <a:lnTo>
                    <a:pt x="51" y="158"/>
                  </a:lnTo>
                  <a:lnTo>
                    <a:pt x="49" y="158"/>
                  </a:lnTo>
                  <a:lnTo>
                    <a:pt x="49" y="156"/>
                  </a:lnTo>
                  <a:lnTo>
                    <a:pt x="51" y="156"/>
                  </a:lnTo>
                  <a:lnTo>
                    <a:pt x="51" y="156"/>
                  </a:lnTo>
                  <a:lnTo>
                    <a:pt x="53" y="156"/>
                  </a:lnTo>
                  <a:lnTo>
                    <a:pt x="51" y="154"/>
                  </a:lnTo>
                  <a:lnTo>
                    <a:pt x="49" y="152"/>
                  </a:lnTo>
                  <a:lnTo>
                    <a:pt x="51" y="152"/>
                  </a:lnTo>
                  <a:lnTo>
                    <a:pt x="51" y="152"/>
                  </a:lnTo>
                  <a:lnTo>
                    <a:pt x="53" y="150"/>
                  </a:lnTo>
                  <a:lnTo>
                    <a:pt x="55" y="150"/>
                  </a:lnTo>
                  <a:lnTo>
                    <a:pt x="55" y="150"/>
                  </a:lnTo>
                  <a:lnTo>
                    <a:pt x="55" y="148"/>
                  </a:lnTo>
                  <a:lnTo>
                    <a:pt x="57" y="148"/>
                  </a:lnTo>
                  <a:lnTo>
                    <a:pt x="57" y="148"/>
                  </a:lnTo>
                  <a:lnTo>
                    <a:pt x="57" y="146"/>
                  </a:lnTo>
                  <a:lnTo>
                    <a:pt x="57" y="144"/>
                  </a:lnTo>
                  <a:lnTo>
                    <a:pt x="59" y="142"/>
                  </a:lnTo>
                  <a:lnTo>
                    <a:pt x="61" y="142"/>
                  </a:lnTo>
                  <a:lnTo>
                    <a:pt x="61" y="141"/>
                  </a:lnTo>
                  <a:lnTo>
                    <a:pt x="63" y="141"/>
                  </a:lnTo>
                  <a:lnTo>
                    <a:pt x="63" y="141"/>
                  </a:lnTo>
                  <a:lnTo>
                    <a:pt x="63" y="139"/>
                  </a:lnTo>
                  <a:lnTo>
                    <a:pt x="63" y="139"/>
                  </a:lnTo>
                  <a:lnTo>
                    <a:pt x="61" y="137"/>
                  </a:lnTo>
                  <a:lnTo>
                    <a:pt x="61" y="137"/>
                  </a:lnTo>
                  <a:lnTo>
                    <a:pt x="61" y="135"/>
                  </a:lnTo>
                  <a:lnTo>
                    <a:pt x="63" y="135"/>
                  </a:lnTo>
                  <a:lnTo>
                    <a:pt x="63" y="133"/>
                  </a:lnTo>
                  <a:lnTo>
                    <a:pt x="63" y="133"/>
                  </a:lnTo>
                  <a:lnTo>
                    <a:pt x="63" y="131"/>
                  </a:lnTo>
                  <a:lnTo>
                    <a:pt x="61" y="131"/>
                  </a:lnTo>
                  <a:lnTo>
                    <a:pt x="61" y="131"/>
                  </a:lnTo>
                  <a:lnTo>
                    <a:pt x="61" y="129"/>
                  </a:lnTo>
                  <a:lnTo>
                    <a:pt x="61" y="129"/>
                  </a:lnTo>
                  <a:lnTo>
                    <a:pt x="61" y="129"/>
                  </a:lnTo>
                  <a:lnTo>
                    <a:pt x="63" y="129"/>
                  </a:lnTo>
                  <a:lnTo>
                    <a:pt x="63" y="127"/>
                  </a:lnTo>
                  <a:lnTo>
                    <a:pt x="65" y="127"/>
                  </a:lnTo>
                  <a:lnTo>
                    <a:pt x="65" y="127"/>
                  </a:lnTo>
                  <a:lnTo>
                    <a:pt x="63" y="127"/>
                  </a:lnTo>
                  <a:lnTo>
                    <a:pt x="63" y="125"/>
                  </a:lnTo>
                  <a:lnTo>
                    <a:pt x="63" y="125"/>
                  </a:lnTo>
                  <a:lnTo>
                    <a:pt x="61" y="123"/>
                  </a:lnTo>
                  <a:lnTo>
                    <a:pt x="61" y="123"/>
                  </a:lnTo>
                  <a:lnTo>
                    <a:pt x="59" y="123"/>
                  </a:lnTo>
                  <a:lnTo>
                    <a:pt x="59" y="120"/>
                  </a:lnTo>
                  <a:lnTo>
                    <a:pt x="57" y="120"/>
                  </a:lnTo>
                  <a:lnTo>
                    <a:pt x="57" y="118"/>
                  </a:lnTo>
                  <a:lnTo>
                    <a:pt x="61" y="118"/>
                  </a:lnTo>
                  <a:lnTo>
                    <a:pt x="63" y="118"/>
                  </a:lnTo>
                  <a:lnTo>
                    <a:pt x="63" y="116"/>
                  </a:lnTo>
                  <a:lnTo>
                    <a:pt x="63" y="116"/>
                  </a:lnTo>
                  <a:lnTo>
                    <a:pt x="63" y="118"/>
                  </a:lnTo>
                  <a:lnTo>
                    <a:pt x="65" y="118"/>
                  </a:lnTo>
                  <a:lnTo>
                    <a:pt x="65" y="118"/>
                  </a:lnTo>
                  <a:lnTo>
                    <a:pt x="65" y="120"/>
                  </a:lnTo>
                  <a:lnTo>
                    <a:pt x="66" y="120"/>
                  </a:lnTo>
                  <a:lnTo>
                    <a:pt x="66" y="118"/>
                  </a:lnTo>
                  <a:lnTo>
                    <a:pt x="66" y="118"/>
                  </a:lnTo>
                  <a:lnTo>
                    <a:pt x="68" y="116"/>
                  </a:lnTo>
                  <a:close/>
                  <a:moveTo>
                    <a:pt x="74" y="4"/>
                  </a:moveTo>
                  <a:lnTo>
                    <a:pt x="76" y="4"/>
                  </a:lnTo>
                  <a:lnTo>
                    <a:pt x="76" y="2"/>
                  </a:lnTo>
                  <a:lnTo>
                    <a:pt x="76" y="2"/>
                  </a:lnTo>
                  <a:lnTo>
                    <a:pt x="76" y="0"/>
                  </a:lnTo>
                  <a:lnTo>
                    <a:pt x="74" y="0"/>
                  </a:lnTo>
                  <a:lnTo>
                    <a:pt x="70" y="2"/>
                  </a:lnTo>
                  <a:lnTo>
                    <a:pt x="72" y="2"/>
                  </a:lnTo>
                  <a:lnTo>
                    <a:pt x="74" y="4"/>
                  </a:lnTo>
                  <a:close/>
                </a:path>
              </a:pathLst>
            </a:custGeom>
            <a:solidFill>
              <a:srgbClr val="C1B5B8"/>
            </a:solidFill>
            <a:ln>
              <a:solidFill>
                <a:srgbClr val="D9D9D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solidFill>
                  <a:srgbClr val="FFFFFF"/>
                </a:solidFill>
                <a:latin typeface="+mn-lt"/>
              </a:endParaRPr>
            </a:p>
          </p:txBody>
        </p:sp>
      </p:grpSp>
    </p:spTree>
    <p:extLst>
      <p:ext uri="{BB962C8B-B14F-4D97-AF65-F5344CB8AC3E}">
        <p14:creationId xmlns:p14="http://schemas.microsoft.com/office/powerpoint/2010/main" val="27562177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6BEB3AD-FA09-43E0-8852-A4407C8F4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3" name="Objet 2" hidden="1">
                        <a:extLst>
                          <a:ext uri="{FF2B5EF4-FFF2-40B4-BE49-F238E27FC236}">
                            <a16:creationId xmlns:a16="http://schemas.microsoft.com/office/drawing/2014/main" id="{E6BEB3AD-FA09-43E0-8852-A4407C8F45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75AFB9C-E1AB-46D8-812F-2959538C9FCE}"/>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4000"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p:cNvSpPr>
            <a:spLocks noGrp="1"/>
          </p:cNvSpPr>
          <p:nvPr>
            <p:ph type="title"/>
          </p:nvPr>
        </p:nvSpPr>
        <p:spPr/>
        <p:txBody>
          <a:bodyPr/>
          <a:lstStyle/>
          <a:p>
            <a:r>
              <a:rPr lang="en-GB">
                <a:solidFill>
                  <a:srgbClr val="FFFFFF"/>
                </a:solidFill>
              </a:rPr>
              <a:t>Rationale</a:t>
            </a:r>
            <a:endParaRPr lang="en-GB" dirty="0">
              <a:solidFill>
                <a:srgbClr val="FFFFFF"/>
              </a:solidFill>
            </a:endParaRPr>
          </a:p>
        </p:txBody>
      </p:sp>
    </p:spTree>
    <p:extLst>
      <p:ext uri="{BB962C8B-B14F-4D97-AF65-F5344CB8AC3E}">
        <p14:creationId xmlns:p14="http://schemas.microsoft.com/office/powerpoint/2010/main" val="5516923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_1_arrow_up">
            <a:extLst>
              <a:ext uri="{FF2B5EF4-FFF2-40B4-BE49-F238E27FC236}">
                <a16:creationId xmlns:a16="http://schemas.microsoft.com/office/drawing/2014/main" id="{50557364-19A1-482E-BED5-43D9994C61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43394" y="2119709"/>
            <a:ext cx="645997" cy="508897"/>
          </a:xfrm>
          <a:prstGeom prst="rect">
            <a:avLst/>
          </a:prstGeom>
        </p:spPr>
      </p:pic>
      <p:pic>
        <p:nvPicPr>
          <p:cNvPr id="9" name="handshake">
            <a:extLst>
              <a:ext uri="{FF2B5EF4-FFF2-40B4-BE49-F238E27FC236}">
                <a16:creationId xmlns:a16="http://schemas.microsoft.com/office/drawing/2014/main" id="{15C0E49C-8755-48F5-B2D8-AC19E5DC52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4338" y="3784185"/>
            <a:ext cx="665053" cy="532042"/>
          </a:xfrm>
          <a:prstGeom prst="rect">
            <a:avLst/>
          </a:prstGeom>
        </p:spPr>
      </p:pic>
      <p:graphicFrame>
        <p:nvGraphicFramePr>
          <p:cNvPr id="4" name="Objet 3" hidden="1">
            <a:extLst>
              <a:ext uri="{FF2B5EF4-FFF2-40B4-BE49-F238E27FC236}">
                <a16:creationId xmlns:a16="http://schemas.microsoft.com/office/drawing/2014/main" id="{648BDA46-0EF6-43F8-BBDB-6B0E9567C6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 imgW="305" imgH="303" progId="TCLayout.ActiveDocument.1">
                  <p:embed/>
                </p:oleObj>
              </mc:Choice>
              <mc:Fallback>
                <p:oleObj name="Diapositive think-cell" r:id="rId9" imgW="305" imgH="303" progId="TCLayout.ActiveDocument.1">
                  <p:embed/>
                  <p:pic>
                    <p:nvPicPr>
                      <p:cNvPr id="4" name="Objet 3" hidden="1">
                        <a:extLst>
                          <a:ext uri="{FF2B5EF4-FFF2-40B4-BE49-F238E27FC236}">
                            <a16:creationId xmlns:a16="http://schemas.microsoft.com/office/drawing/2014/main" id="{648BDA46-0EF6-43F8-BBDB-6B0E9567C63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9BC13E-AC67-4A68-91BD-401F0B388DC6}"/>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E3CD1066-9C7F-42E0-A2DB-4B99E71A509B}"/>
              </a:ext>
            </a:extLst>
          </p:cNvPr>
          <p:cNvSpPr>
            <a:spLocks noGrp="1"/>
          </p:cNvSpPr>
          <p:nvPr>
            <p:ph type="title"/>
          </p:nvPr>
        </p:nvSpPr>
        <p:spPr/>
        <p:txBody>
          <a:bodyPr/>
          <a:lstStyle/>
          <a:p>
            <a:r>
              <a:rPr lang="en-GB"/>
              <a:t>Slide message – used to list two main ideas</a:t>
            </a:r>
            <a:endParaRPr lang="en-GB" dirty="0"/>
          </a:p>
        </p:txBody>
      </p:sp>
      <p:sp>
        <p:nvSpPr>
          <p:cNvPr id="33" name="Rectangle 32">
            <a:extLst>
              <a:ext uri="{FF2B5EF4-FFF2-40B4-BE49-F238E27FC236}">
                <a16:creationId xmlns:a16="http://schemas.microsoft.com/office/drawing/2014/main" id="{78714194-F7E1-46D5-B9A2-9D089B46D836}"/>
              </a:ext>
            </a:extLst>
          </p:cNvPr>
          <p:cNvSpPr/>
          <p:nvPr/>
        </p:nvSpPr>
        <p:spPr>
          <a:xfrm>
            <a:off x="3584171" y="3784185"/>
            <a:ext cx="6096000" cy="1036181"/>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
        <p:nvSpPr>
          <p:cNvPr id="32" name="Rectangle 31">
            <a:extLst>
              <a:ext uri="{FF2B5EF4-FFF2-40B4-BE49-F238E27FC236}">
                <a16:creationId xmlns:a16="http://schemas.microsoft.com/office/drawing/2014/main" id="{3C18F759-A2A0-47D7-B14E-8D4B3748548B}"/>
              </a:ext>
            </a:extLst>
          </p:cNvPr>
          <p:cNvSpPr/>
          <p:nvPr/>
        </p:nvSpPr>
        <p:spPr>
          <a:xfrm>
            <a:off x="3584171" y="2119709"/>
            <a:ext cx="6096000" cy="1036181"/>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p:txBody>
      </p:sp>
    </p:spTree>
    <p:extLst>
      <p:ext uri="{BB962C8B-B14F-4D97-AF65-F5344CB8AC3E}">
        <p14:creationId xmlns:p14="http://schemas.microsoft.com/office/powerpoint/2010/main" val="42302294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cale">
            <a:extLst>
              <a:ext uri="{FF2B5EF4-FFF2-40B4-BE49-F238E27FC236}">
                <a16:creationId xmlns:a16="http://schemas.microsoft.com/office/drawing/2014/main" id="{A32D677D-5DC8-47BA-AE08-90F5CA26B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0425" y="4749793"/>
            <a:ext cx="552877" cy="479160"/>
          </a:xfrm>
          <a:prstGeom prst="rect">
            <a:avLst/>
          </a:prstGeom>
        </p:spPr>
      </p:pic>
      <p:pic>
        <p:nvPicPr>
          <p:cNvPr id="14" name="graph_1_arrow_up">
            <a:extLst>
              <a:ext uri="{FF2B5EF4-FFF2-40B4-BE49-F238E27FC236}">
                <a16:creationId xmlns:a16="http://schemas.microsoft.com/office/drawing/2014/main" id="{C5604128-593A-4632-B9A9-BCCCCDFC68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43394" y="1523432"/>
            <a:ext cx="645997" cy="508897"/>
          </a:xfrm>
          <a:prstGeom prst="rect">
            <a:avLst/>
          </a:prstGeom>
        </p:spPr>
      </p:pic>
      <p:pic>
        <p:nvPicPr>
          <p:cNvPr id="16" name="handshake">
            <a:extLst>
              <a:ext uri="{FF2B5EF4-FFF2-40B4-BE49-F238E27FC236}">
                <a16:creationId xmlns:a16="http://schemas.microsoft.com/office/drawing/2014/main" id="{C7B6699B-7538-40CC-8915-4A0A8B8A5F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24338" y="3136612"/>
            <a:ext cx="665053" cy="532042"/>
          </a:xfrm>
          <a:prstGeom prst="rect">
            <a:avLst/>
          </a:prstGeom>
        </p:spPr>
      </p:pic>
      <p:graphicFrame>
        <p:nvGraphicFramePr>
          <p:cNvPr id="4" name="Objet 3" hidden="1">
            <a:extLst>
              <a:ext uri="{FF2B5EF4-FFF2-40B4-BE49-F238E27FC236}">
                <a16:creationId xmlns:a16="http://schemas.microsoft.com/office/drawing/2014/main" id="{648BDA46-0EF6-43F8-BBDB-6B0E9567C6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305" imgH="303" progId="TCLayout.ActiveDocument.1">
                  <p:embed/>
                </p:oleObj>
              </mc:Choice>
              <mc:Fallback>
                <p:oleObj name="Diapositive think-cell" r:id="rId11" imgW="305" imgH="303" progId="TCLayout.ActiveDocument.1">
                  <p:embed/>
                  <p:pic>
                    <p:nvPicPr>
                      <p:cNvPr id="4" name="Objet 3" hidden="1">
                        <a:extLst>
                          <a:ext uri="{FF2B5EF4-FFF2-40B4-BE49-F238E27FC236}">
                            <a16:creationId xmlns:a16="http://schemas.microsoft.com/office/drawing/2014/main" id="{648BDA46-0EF6-43F8-BBDB-6B0E9567C6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9BC13E-AC67-4A68-91BD-401F0B388DC6}"/>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E3CD1066-9C7F-42E0-A2DB-4B99E71A509B}"/>
              </a:ext>
            </a:extLst>
          </p:cNvPr>
          <p:cNvSpPr>
            <a:spLocks noGrp="1"/>
          </p:cNvSpPr>
          <p:nvPr>
            <p:ph type="title"/>
          </p:nvPr>
        </p:nvSpPr>
        <p:spPr/>
        <p:txBody>
          <a:bodyPr/>
          <a:lstStyle/>
          <a:p>
            <a:r>
              <a:rPr lang="en-GB"/>
              <a:t>Slide message – used to list three main ideas</a:t>
            </a:r>
            <a:endParaRPr lang="en-GB" dirty="0"/>
          </a:p>
        </p:txBody>
      </p:sp>
      <p:sp>
        <p:nvSpPr>
          <p:cNvPr id="33" name="Rectangle 32">
            <a:extLst>
              <a:ext uri="{FF2B5EF4-FFF2-40B4-BE49-F238E27FC236}">
                <a16:creationId xmlns:a16="http://schemas.microsoft.com/office/drawing/2014/main" id="{78714194-F7E1-46D5-B9A2-9D089B46D836}"/>
              </a:ext>
            </a:extLst>
          </p:cNvPr>
          <p:cNvSpPr/>
          <p:nvPr/>
        </p:nvSpPr>
        <p:spPr>
          <a:xfrm>
            <a:off x="3584171" y="3136612"/>
            <a:ext cx="6096000" cy="1036181"/>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
        <p:nvSpPr>
          <p:cNvPr id="32" name="Rectangle 31">
            <a:extLst>
              <a:ext uri="{FF2B5EF4-FFF2-40B4-BE49-F238E27FC236}">
                <a16:creationId xmlns:a16="http://schemas.microsoft.com/office/drawing/2014/main" id="{3C18F759-A2A0-47D7-B14E-8D4B3748548B}"/>
              </a:ext>
            </a:extLst>
          </p:cNvPr>
          <p:cNvSpPr/>
          <p:nvPr/>
        </p:nvSpPr>
        <p:spPr>
          <a:xfrm>
            <a:off x="3584171" y="1523432"/>
            <a:ext cx="6096000" cy="1036181"/>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p:txBody>
      </p:sp>
      <p:sp>
        <p:nvSpPr>
          <p:cNvPr id="34" name="Rectangle 33">
            <a:extLst>
              <a:ext uri="{FF2B5EF4-FFF2-40B4-BE49-F238E27FC236}">
                <a16:creationId xmlns:a16="http://schemas.microsoft.com/office/drawing/2014/main" id="{F48BB406-D7BC-4CDD-9DF1-68D1C7D40076}"/>
              </a:ext>
            </a:extLst>
          </p:cNvPr>
          <p:cNvSpPr/>
          <p:nvPr/>
        </p:nvSpPr>
        <p:spPr>
          <a:xfrm>
            <a:off x="3584171" y="4749793"/>
            <a:ext cx="6096000" cy="1036181"/>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Tree>
    <p:extLst>
      <p:ext uri="{BB962C8B-B14F-4D97-AF65-F5344CB8AC3E}">
        <p14:creationId xmlns:p14="http://schemas.microsoft.com/office/powerpoint/2010/main" val="7985861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scale">
            <a:extLst>
              <a:ext uri="{FF2B5EF4-FFF2-40B4-BE49-F238E27FC236}">
                <a16:creationId xmlns:a16="http://schemas.microsoft.com/office/drawing/2014/main" id="{BE8BC3CB-2D97-486C-9592-647897FC90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0426" y="3961278"/>
            <a:ext cx="552877" cy="479160"/>
          </a:xfrm>
          <a:prstGeom prst="rect">
            <a:avLst/>
          </a:prstGeom>
        </p:spPr>
      </p:pic>
      <p:pic>
        <p:nvPicPr>
          <p:cNvPr id="14" name="graph_1_arrow_up">
            <a:extLst>
              <a:ext uri="{FF2B5EF4-FFF2-40B4-BE49-F238E27FC236}">
                <a16:creationId xmlns:a16="http://schemas.microsoft.com/office/drawing/2014/main" id="{FA2B6900-E44A-4D70-A7F6-AE12E93298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33866" y="1523432"/>
            <a:ext cx="645997" cy="508897"/>
          </a:xfrm>
          <a:prstGeom prst="rect">
            <a:avLst/>
          </a:prstGeom>
        </p:spPr>
      </p:pic>
      <p:pic>
        <p:nvPicPr>
          <p:cNvPr id="16" name="handshake">
            <a:extLst>
              <a:ext uri="{FF2B5EF4-FFF2-40B4-BE49-F238E27FC236}">
                <a16:creationId xmlns:a16="http://schemas.microsoft.com/office/drawing/2014/main" id="{8EAA71E7-915C-45EA-AC75-7E208287CA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24338" y="2742355"/>
            <a:ext cx="665053" cy="532042"/>
          </a:xfrm>
          <a:prstGeom prst="rect">
            <a:avLst/>
          </a:prstGeom>
        </p:spPr>
      </p:pic>
      <p:pic>
        <p:nvPicPr>
          <p:cNvPr id="6" name="ring_chart_3_categories">
            <a:extLst>
              <a:ext uri="{FF2B5EF4-FFF2-40B4-BE49-F238E27FC236}">
                <a16:creationId xmlns:a16="http://schemas.microsoft.com/office/drawing/2014/main" id="{3ED2E90C-7AF3-4535-ABD2-96233B097A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93267" y="5180200"/>
            <a:ext cx="527194" cy="540000"/>
          </a:xfrm>
          <a:prstGeom prst="rect">
            <a:avLst/>
          </a:prstGeom>
        </p:spPr>
      </p:pic>
      <p:graphicFrame>
        <p:nvGraphicFramePr>
          <p:cNvPr id="4" name="Objet 3" hidden="1">
            <a:extLst>
              <a:ext uri="{FF2B5EF4-FFF2-40B4-BE49-F238E27FC236}">
                <a16:creationId xmlns:a16="http://schemas.microsoft.com/office/drawing/2014/main" id="{648BDA46-0EF6-43F8-BBDB-6B0E9567C6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3" imgW="305" imgH="303" progId="TCLayout.ActiveDocument.1">
                  <p:embed/>
                </p:oleObj>
              </mc:Choice>
              <mc:Fallback>
                <p:oleObj name="Diapositive think-cell" r:id="rId13" imgW="305" imgH="303" progId="TCLayout.ActiveDocument.1">
                  <p:embed/>
                  <p:pic>
                    <p:nvPicPr>
                      <p:cNvPr id="4" name="Objet 3" hidden="1">
                        <a:extLst>
                          <a:ext uri="{FF2B5EF4-FFF2-40B4-BE49-F238E27FC236}">
                            <a16:creationId xmlns:a16="http://schemas.microsoft.com/office/drawing/2014/main" id="{648BDA46-0EF6-43F8-BBDB-6B0E9567C63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9BC13E-AC67-4A68-91BD-401F0B388DC6}"/>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E3CD1066-9C7F-42E0-A2DB-4B99E71A509B}"/>
              </a:ext>
            </a:extLst>
          </p:cNvPr>
          <p:cNvSpPr>
            <a:spLocks noGrp="1"/>
          </p:cNvSpPr>
          <p:nvPr>
            <p:ph type="title"/>
          </p:nvPr>
        </p:nvSpPr>
        <p:spPr/>
        <p:txBody>
          <a:bodyPr/>
          <a:lstStyle/>
          <a:p>
            <a:r>
              <a:rPr lang="en-GB"/>
              <a:t>Slide message – used to list four main ideas</a:t>
            </a:r>
            <a:endParaRPr lang="en-GB" dirty="0"/>
          </a:p>
        </p:txBody>
      </p:sp>
      <p:sp>
        <p:nvSpPr>
          <p:cNvPr id="33" name="Rectangle 32">
            <a:extLst>
              <a:ext uri="{FF2B5EF4-FFF2-40B4-BE49-F238E27FC236}">
                <a16:creationId xmlns:a16="http://schemas.microsoft.com/office/drawing/2014/main" id="{78714194-F7E1-46D5-B9A2-9D089B46D836}"/>
              </a:ext>
            </a:extLst>
          </p:cNvPr>
          <p:cNvSpPr/>
          <p:nvPr/>
        </p:nvSpPr>
        <p:spPr>
          <a:xfrm>
            <a:off x="3584171" y="2742355"/>
            <a:ext cx="6096000" cy="687368"/>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
        <p:nvSpPr>
          <p:cNvPr id="32" name="Rectangle 31">
            <a:extLst>
              <a:ext uri="{FF2B5EF4-FFF2-40B4-BE49-F238E27FC236}">
                <a16:creationId xmlns:a16="http://schemas.microsoft.com/office/drawing/2014/main" id="{3C18F759-A2A0-47D7-B14E-8D4B3748548B}"/>
              </a:ext>
            </a:extLst>
          </p:cNvPr>
          <p:cNvSpPr/>
          <p:nvPr/>
        </p:nvSpPr>
        <p:spPr>
          <a:xfrm>
            <a:off x="3584171" y="1523432"/>
            <a:ext cx="6096000" cy="687368"/>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
        <p:nvSpPr>
          <p:cNvPr id="34" name="Rectangle 33">
            <a:extLst>
              <a:ext uri="{FF2B5EF4-FFF2-40B4-BE49-F238E27FC236}">
                <a16:creationId xmlns:a16="http://schemas.microsoft.com/office/drawing/2014/main" id="{F48BB406-D7BC-4CDD-9DF1-68D1C7D40076}"/>
              </a:ext>
            </a:extLst>
          </p:cNvPr>
          <p:cNvSpPr/>
          <p:nvPr/>
        </p:nvSpPr>
        <p:spPr>
          <a:xfrm>
            <a:off x="3584171" y="3961278"/>
            <a:ext cx="6096000" cy="687368"/>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
        <p:nvSpPr>
          <p:cNvPr id="15" name="Rectangle 14">
            <a:extLst>
              <a:ext uri="{FF2B5EF4-FFF2-40B4-BE49-F238E27FC236}">
                <a16:creationId xmlns:a16="http://schemas.microsoft.com/office/drawing/2014/main" id="{5881316F-6759-4481-B2AA-2FE0C01E7EB8}"/>
              </a:ext>
            </a:extLst>
          </p:cNvPr>
          <p:cNvSpPr/>
          <p:nvPr/>
        </p:nvSpPr>
        <p:spPr>
          <a:xfrm>
            <a:off x="3584171" y="5180200"/>
            <a:ext cx="6096000" cy="687368"/>
          </a:xfrm>
          <a:prstGeom prst="rect">
            <a:avLst/>
          </a:prstGeom>
        </p:spPr>
        <p:txBody>
          <a:bodyPr>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r>
              <a:rPr lang="en-GB" sz="1600" dirty="0">
                <a:latin typeface="+mn-lt"/>
              </a:rPr>
              <a:t> </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latin typeface="+mn-lt"/>
              </a:rPr>
              <a:t>Lorem ipsum </a:t>
            </a:r>
            <a:r>
              <a:rPr lang="en-GB" sz="1600" dirty="0" err="1">
                <a:latin typeface="+mn-lt"/>
              </a:rPr>
              <a:t>dolor</a:t>
            </a:r>
            <a:r>
              <a:rPr lang="en-GB" sz="1600" dirty="0">
                <a:latin typeface="+mn-lt"/>
              </a:rPr>
              <a:t> sit </a:t>
            </a:r>
            <a:r>
              <a:rPr lang="en-GB" sz="1600" dirty="0" err="1">
                <a:latin typeface="+mn-lt"/>
              </a:rPr>
              <a:t>amet</a:t>
            </a:r>
            <a:r>
              <a:rPr lang="en-GB" sz="1600" dirty="0">
                <a:latin typeface="+mn-lt"/>
              </a:rPr>
              <a:t>, </a:t>
            </a:r>
            <a:r>
              <a:rPr lang="en-GB" sz="1600" dirty="0" err="1">
                <a:latin typeface="+mn-lt"/>
              </a:rPr>
              <a:t>consectetur</a:t>
            </a:r>
            <a:r>
              <a:rPr lang="en-GB" sz="1600" dirty="0">
                <a:latin typeface="+mn-lt"/>
              </a:rPr>
              <a:t> </a:t>
            </a:r>
            <a:r>
              <a:rPr lang="en-GB" sz="1600" dirty="0" err="1">
                <a:latin typeface="+mn-lt"/>
              </a:rPr>
              <a:t>adipiscing</a:t>
            </a:r>
            <a:r>
              <a:rPr lang="en-GB" sz="1600" dirty="0">
                <a:latin typeface="+mn-lt"/>
              </a:rPr>
              <a:t> </a:t>
            </a:r>
            <a:r>
              <a:rPr lang="en-GB" sz="1600" dirty="0" err="1">
                <a:latin typeface="+mn-lt"/>
              </a:rPr>
              <a:t>elit</a:t>
            </a:r>
            <a:endParaRPr lang="en-GB" sz="1600" dirty="0">
              <a:latin typeface="+mn-lt"/>
            </a:endParaRPr>
          </a:p>
        </p:txBody>
      </p:sp>
    </p:spTree>
    <p:extLst>
      <p:ext uri="{BB962C8B-B14F-4D97-AF65-F5344CB8AC3E}">
        <p14:creationId xmlns:p14="http://schemas.microsoft.com/office/powerpoint/2010/main" val="3305567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arrowfooter_line">
            <a:extLst>
              <a:ext uri="{FF2B5EF4-FFF2-40B4-BE49-F238E27FC236}">
                <a16:creationId xmlns:a16="http://schemas.microsoft.com/office/drawing/2014/main" id="{9B084933-FC67-4D92-B3DD-1D373C8778A6}"/>
              </a:ext>
            </a:extLst>
          </p:cNvPr>
          <p:cNvCxnSpPr>
            <a:cxnSpLocks/>
          </p:cNvCxnSpPr>
          <p:nvPr/>
        </p:nvCxnSpPr>
        <p:spPr>
          <a:xfrm rot="16200000">
            <a:off x="5317589" y="3625438"/>
            <a:ext cx="3600000"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 name="Objet 5" hidden="1">
            <a:extLst>
              <a:ext uri="{FF2B5EF4-FFF2-40B4-BE49-F238E27FC236}">
                <a16:creationId xmlns:a16="http://schemas.microsoft.com/office/drawing/2014/main" id="{D967ACF2-4FCF-4321-AD50-2C88AB6FDA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6" name="Objet 5" hidden="1">
                        <a:extLst>
                          <a:ext uri="{FF2B5EF4-FFF2-40B4-BE49-F238E27FC236}">
                            <a16:creationId xmlns:a16="http://schemas.microsoft.com/office/drawing/2014/main" id="{D967ACF2-4FCF-4321-AD50-2C88AB6FDA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4AF430-5EE1-4EE3-9EA0-D4EB8185EC09}"/>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a:t>One graph delivering 1 key message + comments</a:t>
            </a:r>
            <a:endParaRPr lang="en-GB" dirty="0"/>
          </a:p>
        </p:txBody>
      </p:sp>
      <p:sp>
        <p:nvSpPr>
          <p:cNvPr id="9" name="ZoneTexte 8">
            <a:extLst>
              <a:ext uri="{FF2B5EF4-FFF2-40B4-BE49-F238E27FC236}">
                <a16:creationId xmlns:a16="http://schemas.microsoft.com/office/drawing/2014/main" id="{7AF30593-A004-4DF0-93DF-244A5303A418}"/>
              </a:ext>
            </a:extLst>
          </p:cNvPr>
          <p:cNvSpPr txBox="1"/>
          <p:nvPr/>
        </p:nvSpPr>
        <p:spPr>
          <a:xfrm>
            <a:off x="642941" y="6109879"/>
            <a:ext cx="7117625" cy="585690"/>
          </a:xfrm>
          <a:prstGeom prst="rect">
            <a:avLst/>
          </a:prstGeom>
          <a:noFill/>
        </p:spPr>
        <p:txBody>
          <a:bodyPr wrap="square" rtlCol="0">
            <a:noAutofit/>
          </a:bodyPr>
          <a:lstStyle/>
          <a:p>
            <a:pPr algn="l" defTabSz="742950"/>
            <a:r>
              <a:rPr lang="en-GB" sz="1200">
                <a:solidFill>
                  <a:schemeClr val="bg1">
                    <a:lumMod val="65000"/>
                  </a:schemeClr>
                </a:solidFill>
                <a:latin typeface="+mn-lt"/>
              </a:rPr>
              <a:t>Source, hypotheses…</a:t>
            </a:r>
            <a:endParaRPr lang="en-GB" sz="1200" dirty="0">
              <a:solidFill>
                <a:schemeClr val="bg1">
                  <a:lumMod val="65000"/>
                </a:schemeClr>
              </a:solidFill>
              <a:latin typeface="+mn-lt"/>
            </a:endParaRPr>
          </a:p>
        </p:txBody>
      </p:sp>
      <p:graphicFrame>
        <p:nvGraphicFramePr>
          <p:cNvPr id="14" name="Graphique 13">
            <a:extLst>
              <a:ext uri="{FF2B5EF4-FFF2-40B4-BE49-F238E27FC236}">
                <a16:creationId xmlns:a16="http://schemas.microsoft.com/office/drawing/2014/main" id="{03416528-D28E-4950-866C-6AC9C98F89EE}"/>
              </a:ext>
            </a:extLst>
          </p:cNvPr>
          <p:cNvGraphicFramePr/>
          <p:nvPr/>
        </p:nvGraphicFramePr>
        <p:xfrm>
          <a:off x="748639" y="1720892"/>
          <a:ext cx="6099195" cy="3809092"/>
        </p:xfrm>
        <a:graphic>
          <a:graphicData uri="http://schemas.openxmlformats.org/drawingml/2006/chart">
            <c:chart xmlns:c="http://schemas.openxmlformats.org/drawingml/2006/chart" xmlns:r="http://schemas.openxmlformats.org/officeDocument/2006/relationships" r:id="rId7"/>
          </a:graphicData>
        </a:graphic>
      </p:graphicFrame>
      <p:sp>
        <p:nvSpPr>
          <p:cNvPr id="20" name="ZoneTexte 19">
            <a:extLst>
              <a:ext uri="{FF2B5EF4-FFF2-40B4-BE49-F238E27FC236}">
                <a16:creationId xmlns:a16="http://schemas.microsoft.com/office/drawing/2014/main" id="{77FFB837-F813-4458-BD1A-962F1BC306B5}"/>
              </a:ext>
            </a:extLst>
          </p:cNvPr>
          <p:cNvSpPr txBox="1"/>
          <p:nvPr/>
        </p:nvSpPr>
        <p:spPr>
          <a:xfrm>
            <a:off x="7387344" y="1825438"/>
            <a:ext cx="4384652" cy="3600000"/>
          </a:xfrm>
          <a:prstGeom prst="rect">
            <a:avLst/>
          </a:prstGeom>
          <a:noFill/>
        </p:spPr>
        <p:txBody>
          <a:bodyPr wrap="square" rtlCol="0" anchor="t">
            <a:noAutofit/>
          </a:bodyPr>
          <a:lstStyle/>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 </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 adipiscing elit.  Nam ut erat quis purus sagittis convallis eget eu tellus</a:t>
            </a:r>
            <a:endParaRPr lang="en-GB" dirty="0">
              <a:latin typeface="+mn-lt"/>
            </a:endParaRPr>
          </a:p>
        </p:txBody>
      </p:sp>
    </p:spTree>
    <p:extLst>
      <p:ext uri="{BB962C8B-B14F-4D97-AF65-F5344CB8AC3E}">
        <p14:creationId xmlns:p14="http://schemas.microsoft.com/office/powerpoint/2010/main" val="3736547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90075CB-D48F-4A28-A3BC-1221FD5ADC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790075CB-D48F-4A28-A3BC-1221FD5ADC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2B06DB-305C-4DBE-B639-75B3F5F45D9E}"/>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4F7FB15C-43E1-4A02-8878-4FA30F59AC19}"/>
              </a:ext>
            </a:extLst>
          </p:cNvPr>
          <p:cNvSpPr>
            <a:spLocks noGrp="1"/>
          </p:cNvSpPr>
          <p:nvPr>
            <p:ph type="title"/>
          </p:nvPr>
        </p:nvSpPr>
        <p:spPr/>
        <p:txBody>
          <a:bodyPr/>
          <a:lstStyle/>
          <a:p>
            <a:r>
              <a:rPr lang="en-GB"/>
              <a:t>Slide message – used to list three main ideas</a:t>
            </a:r>
            <a:endParaRPr lang="en-GB" dirty="0"/>
          </a:p>
        </p:txBody>
      </p:sp>
      <p:sp>
        <p:nvSpPr>
          <p:cNvPr id="13" name="Forme libre : forme 6">
            <a:extLst>
              <a:ext uri="{FF2B5EF4-FFF2-40B4-BE49-F238E27FC236}">
                <a16:creationId xmlns:a16="http://schemas.microsoft.com/office/drawing/2014/main" id="{C3D9FFC7-A1AF-4608-8CBA-E8D93FD9A026}"/>
              </a:ext>
            </a:extLst>
          </p:cNvPr>
          <p:cNvSpPr/>
          <p:nvPr/>
        </p:nvSpPr>
        <p:spPr>
          <a:xfrm>
            <a:off x="3344721" y="2261146"/>
            <a:ext cx="6418355" cy="661720"/>
          </a:xfrm>
          <a:custGeom>
            <a:avLst/>
            <a:gdLst>
              <a:gd name="connsiteX0" fmla="*/ 0 w 6975229"/>
              <a:gd name="connsiteY0" fmla="*/ 0 h 799368"/>
              <a:gd name="connsiteX1" fmla="*/ 6975229 w 6975229"/>
              <a:gd name="connsiteY1" fmla="*/ 0 h 799368"/>
              <a:gd name="connsiteX2" fmla="*/ 6975229 w 6975229"/>
              <a:gd name="connsiteY2" fmla="*/ 799368 h 799368"/>
              <a:gd name="connsiteX3" fmla="*/ 0 w 6975229"/>
              <a:gd name="connsiteY3" fmla="*/ 799368 h 799368"/>
              <a:gd name="connsiteX4" fmla="*/ 0 w 697522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5229" h="799368">
                <a:moveTo>
                  <a:pt x="0" y="0"/>
                </a:moveTo>
                <a:lnTo>
                  <a:pt x="6975229" y="0"/>
                </a:lnTo>
                <a:lnTo>
                  <a:pt x="6975229"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marR="0" lvl="1" indent="-180000" algn="l" defTabSz="711200" eaLnBrk="1" fontAlgn="auto"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14" name="Ellipse 21">
            <a:extLst>
              <a:ext uri="{FF2B5EF4-FFF2-40B4-BE49-F238E27FC236}">
                <a16:creationId xmlns:a16="http://schemas.microsoft.com/office/drawing/2014/main" id="{9AF7C991-A05A-4C2A-AB65-FEB593EBA2B1}"/>
              </a:ext>
            </a:extLst>
          </p:cNvPr>
          <p:cNvSpPr/>
          <p:nvPr/>
        </p:nvSpPr>
        <p:spPr>
          <a:xfrm>
            <a:off x="2428923" y="2261146"/>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1</a:t>
            </a:r>
            <a:endParaRPr lang="en-GB" dirty="0">
              <a:solidFill>
                <a:schemeClr val="bg1"/>
              </a:solidFill>
            </a:endParaRPr>
          </a:p>
        </p:txBody>
      </p:sp>
      <p:sp>
        <p:nvSpPr>
          <p:cNvPr id="15" name="Forme libre : forme 9">
            <a:extLst>
              <a:ext uri="{FF2B5EF4-FFF2-40B4-BE49-F238E27FC236}">
                <a16:creationId xmlns:a16="http://schemas.microsoft.com/office/drawing/2014/main" id="{CEEC493A-71E9-463F-A70B-8CD6A5EEB64A}"/>
              </a:ext>
            </a:extLst>
          </p:cNvPr>
          <p:cNvSpPr/>
          <p:nvPr/>
        </p:nvSpPr>
        <p:spPr>
          <a:xfrm>
            <a:off x="3344722" y="3422580"/>
            <a:ext cx="6418356" cy="662400"/>
          </a:xfrm>
          <a:custGeom>
            <a:avLst/>
            <a:gdLst>
              <a:gd name="connsiteX0" fmla="*/ 0 w 6832451"/>
              <a:gd name="connsiteY0" fmla="*/ 0 h 799368"/>
              <a:gd name="connsiteX1" fmla="*/ 6832451 w 6832451"/>
              <a:gd name="connsiteY1" fmla="*/ 0 h 799368"/>
              <a:gd name="connsiteX2" fmla="*/ 6832451 w 6832451"/>
              <a:gd name="connsiteY2" fmla="*/ 799368 h 799368"/>
              <a:gd name="connsiteX3" fmla="*/ 0 w 6832451"/>
              <a:gd name="connsiteY3" fmla="*/ 799368 h 799368"/>
              <a:gd name="connsiteX4" fmla="*/ 0 w 6832451"/>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2451" h="799368">
                <a:moveTo>
                  <a:pt x="0" y="0"/>
                </a:moveTo>
                <a:lnTo>
                  <a:pt x="6832451" y="0"/>
                </a:lnTo>
                <a:lnTo>
                  <a:pt x="6832451"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16" name="Ellipse 22">
            <a:extLst>
              <a:ext uri="{FF2B5EF4-FFF2-40B4-BE49-F238E27FC236}">
                <a16:creationId xmlns:a16="http://schemas.microsoft.com/office/drawing/2014/main" id="{4F880268-EAFD-46F6-9BAE-C63734ABBCAD}"/>
              </a:ext>
            </a:extLst>
          </p:cNvPr>
          <p:cNvSpPr/>
          <p:nvPr/>
        </p:nvSpPr>
        <p:spPr>
          <a:xfrm>
            <a:off x="2428923" y="3422580"/>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2</a:t>
            </a:r>
            <a:endParaRPr lang="en-GB" dirty="0">
              <a:solidFill>
                <a:schemeClr val="bg1"/>
              </a:solidFill>
            </a:endParaRPr>
          </a:p>
        </p:txBody>
      </p:sp>
      <p:sp>
        <p:nvSpPr>
          <p:cNvPr id="17" name="Forme libre : forme 11">
            <a:extLst>
              <a:ext uri="{FF2B5EF4-FFF2-40B4-BE49-F238E27FC236}">
                <a16:creationId xmlns:a16="http://schemas.microsoft.com/office/drawing/2014/main" id="{E1CB6396-C972-4208-91A8-486D402DBBDB}"/>
              </a:ext>
            </a:extLst>
          </p:cNvPr>
          <p:cNvSpPr/>
          <p:nvPr/>
        </p:nvSpPr>
        <p:spPr>
          <a:xfrm>
            <a:off x="3344721" y="4584694"/>
            <a:ext cx="6418356" cy="662400"/>
          </a:xfrm>
          <a:custGeom>
            <a:avLst/>
            <a:gdLst>
              <a:gd name="connsiteX0" fmla="*/ 0 w 6764709"/>
              <a:gd name="connsiteY0" fmla="*/ 0 h 799368"/>
              <a:gd name="connsiteX1" fmla="*/ 6764709 w 6764709"/>
              <a:gd name="connsiteY1" fmla="*/ 0 h 799368"/>
              <a:gd name="connsiteX2" fmla="*/ 6764709 w 6764709"/>
              <a:gd name="connsiteY2" fmla="*/ 799368 h 799368"/>
              <a:gd name="connsiteX3" fmla="*/ 0 w 6764709"/>
              <a:gd name="connsiteY3" fmla="*/ 799368 h 799368"/>
              <a:gd name="connsiteX4" fmla="*/ 0 w 676470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709" h="799368">
                <a:moveTo>
                  <a:pt x="0" y="0"/>
                </a:moveTo>
                <a:lnTo>
                  <a:pt x="6764709" y="0"/>
                </a:lnTo>
                <a:lnTo>
                  <a:pt x="6764709"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marR="0" lvl="1" indent="-180000" algn="l" defTabSz="711200" eaLnBrk="1" fontAlgn="auto"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18" name="Ellipse 23">
            <a:extLst>
              <a:ext uri="{FF2B5EF4-FFF2-40B4-BE49-F238E27FC236}">
                <a16:creationId xmlns:a16="http://schemas.microsoft.com/office/drawing/2014/main" id="{858BB3D5-B3AB-4F3E-91F3-EE9A8F2157CF}"/>
              </a:ext>
            </a:extLst>
          </p:cNvPr>
          <p:cNvSpPr/>
          <p:nvPr/>
        </p:nvSpPr>
        <p:spPr>
          <a:xfrm>
            <a:off x="2428923" y="4584694"/>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3</a:t>
            </a:r>
            <a:endParaRPr lang="en-GB" dirty="0">
              <a:solidFill>
                <a:schemeClr val="bg1"/>
              </a:solidFill>
            </a:endParaRPr>
          </a:p>
        </p:txBody>
      </p:sp>
    </p:spTree>
    <p:extLst>
      <p:ext uri="{BB962C8B-B14F-4D97-AF65-F5344CB8AC3E}">
        <p14:creationId xmlns:p14="http://schemas.microsoft.com/office/powerpoint/2010/main" val="1649393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90075CB-D48F-4A28-A3BC-1221FD5ADC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790075CB-D48F-4A28-A3BC-1221FD5ADC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2B06DB-305C-4DBE-B639-75B3F5F45D9E}"/>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4F7FB15C-43E1-4A02-8878-4FA30F59AC19}"/>
              </a:ext>
            </a:extLst>
          </p:cNvPr>
          <p:cNvSpPr>
            <a:spLocks noGrp="1"/>
          </p:cNvSpPr>
          <p:nvPr>
            <p:ph type="title"/>
          </p:nvPr>
        </p:nvSpPr>
        <p:spPr/>
        <p:txBody>
          <a:bodyPr/>
          <a:lstStyle/>
          <a:p>
            <a:r>
              <a:rPr lang="en-GB"/>
              <a:t>Slide message – used to list four main ideas</a:t>
            </a:r>
            <a:endParaRPr lang="en-GB" dirty="0"/>
          </a:p>
        </p:txBody>
      </p:sp>
      <p:sp>
        <p:nvSpPr>
          <p:cNvPr id="13" name="Forme libre : forme 6">
            <a:extLst>
              <a:ext uri="{FF2B5EF4-FFF2-40B4-BE49-F238E27FC236}">
                <a16:creationId xmlns:a16="http://schemas.microsoft.com/office/drawing/2014/main" id="{C3D9FFC7-A1AF-4608-8CBA-E8D93FD9A026}"/>
              </a:ext>
            </a:extLst>
          </p:cNvPr>
          <p:cNvSpPr/>
          <p:nvPr/>
        </p:nvSpPr>
        <p:spPr>
          <a:xfrm>
            <a:off x="3344721" y="1588649"/>
            <a:ext cx="6418355" cy="661720"/>
          </a:xfrm>
          <a:custGeom>
            <a:avLst/>
            <a:gdLst>
              <a:gd name="connsiteX0" fmla="*/ 0 w 6975229"/>
              <a:gd name="connsiteY0" fmla="*/ 0 h 799368"/>
              <a:gd name="connsiteX1" fmla="*/ 6975229 w 6975229"/>
              <a:gd name="connsiteY1" fmla="*/ 0 h 799368"/>
              <a:gd name="connsiteX2" fmla="*/ 6975229 w 6975229"/>
              <a:gd name="connsiteY2" fmla="*/ 799368 h 799368"/>
              <a:gd name="connsiteX3" fmla="*/ 0 w 6975229"/>
              <a:gd name="connsiteY3" fmla="*/ 799368 h 799368"/>
              <a:gd name="connsiteX4" fmla="*/ 0 w 697522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5229" h="799368">
                <a:moveTo>
                  <a:pt x="0" y="0"/>
                </a:moveTo>
                <a:lnTo>
                  <a:pt x="6975229" y="0"/>
                </a:lnTo>
                <a:lnTo>
                  <a:pt x="6975229"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marR="0" lvl="1" indent="-180000" algn="l" defTabSz="711200" eaLnBrk="1" fontAlgn="auto"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14" name="Ellipse 21">
            <a:extLst>
              <a:ext uri="{FF2B5EF4-FFF2-40B4-BE49-F238E27FC236}">
                <a16:creationId xmlns:a16="http://schemas.microsoft.com/office/drawing/2014/main" id="{9AF7C991-A05A-4C2A-AB65-FEB593EBA2B1}"/>
              </a:ext>
            </a:extLst>
          </p:cNvPr>
          <p:cNvSpPr/>
          <p:nvPr/>
        </p:nvSpPr>
        <p:spPr>
          <a:xfrm>
            <a:off x="2428923" y="1588649"/>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1</a:t>
            </a:r>
            <a:endParaRPr lang="en-GB" dirty="0">
              <a:solidFill>
                <a:schemeClr val="bg1"/>
              </a:solidFill>
            </a:endParaRPr>
          </a:p>
        </p:txBody>
      </p:sp>
      <p:sp>
        <p:nvSpPr>
          <p:cNvPr id="15" name="Forme libre : forme 9">
            <a:extLst>
              <a:ext uri="{FF2B5EF4-FFF2-40B4-BE49-F238E27FC236}">
                <a16:creationId xmlns:a16="http://schemas.microsoft.com/office/drawing/2014/main" id="{CEEC493A-71E9-463F-A70B-8CD6A5EEB64A}"/>
              </a:ext>
            </a:extLst>
          </p:cNvPr>
          <p:cNvSpPr/>
          <p:nvPr/>
        </p:nvSpPr>
        <p:spPr>
          <a:xfrm>
            <a:off x="3344722" y="2750083"/>
            <a:ext cx="6418356" cy="662400"/>
          </a:xfrm>
          <a:custGeom>
            <a:avLst/>
            <a:gdLst>
              <a:gd name="connsiteX0" fmla="*/ 0 w 6832451"/>
              <a:gd name="connsiteY0" fmla="*/ 0 h 799368"/>
              <a:gd name="connsiteX1" fmla="*/ 6832451 w 6832451"/>
              <a:gd name="connsiteY1" fmla="*/ 0 h 799368"/>
              <a:gd name="connsiteX2" fmla="*/ 6832451 w 6832451"/>
              <a:gd name="connsiteY2" fmla="*/ 799368 h 799368"/>
              <a:gd name="connsiteX3" fmla="*/ 0 w 6832451"/>
              <a:gd name="connsiteY3" fmla="*/ 799368 h 799368"/>
              <a:gd name="connsiteX4" fmla="*/ 0 w 6832451"/>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2451" h="799368">
                <a:moveTo>
                  <a:pt x="0" y="0"/>
                </a:moveTo>
                <a:lnTo>
                  <a:pt x="6832451" y="0"/>
                </a:lnTo>
                <a:lnTo>
                  <a:pt x="6832451"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a:solidFill>
                  <a:schemeClr val="tx1"/>
                </a:solidFill>
              </a:rPr>
              <a:t>Lorem ipsum dolor sit amet, consectetur adipiscing elit. Lorem ipsum dolor sit amet, consectetur adipiscing elit</a:t>
            </a:r>
            <a:endParaRPr lang="en-GB" sz="1600" dirty="0">
              <a:solidFill>
                <a:schemeClr val="tx1"/>
              </a:solidFill>
            </a:endParaRPr>
          </a:p>
        </p:txBody>
      </p:sp>
      <p:sp>
        <p:nvSpPr>
          <p:cNvPr id="16" name="Ellipse 22">
            <a:extLst>
              <a:ext uri="{FF2B5EF4-FFF2-40B4-BE49-F238E27FC236}">
                <a16:creationId xmlns:a16="http://schemas.microsoft.com/office/drawing/2014/main" id="{4F880268-EAFD-46F6-9BAE-C63734ABBCAD}"/>
              </a:ext>
            </a:extLst>
          </p:cNvPr>
          <p:cNvSpPr/>
          <p:nvPr/>
        </p:nvSpPr>
        <p:spPr>
          <a:xfrm>
            <a:off x="2428923" y="2750083"/>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2</a:t>
            </a:r>
            <a:endParaRPr lang="en-GB" dirty="0">
              <a:solidFill>
                <a:schemeClr val="bg1"/>
              </a:solidFill>
            </a:endParaRPr>
          </a:p>
        </p:txBody>
      </p:sp>
      <p:sp>
        <p:nvSpPr>
          <p:cNvPr id="17" name="Forme libre : forme 11">
            <a:extLst>
              <a:ext uri="{FF2B5EF4-FFF2-40B4-BE49-F238E27FC236}">
                <a16:creationId xmlns:a16="http://schemas.microsoft.com/office/drawing/2014/main" id="{E1CB6396-C972-4208-91A8-486D402DBBDB}"/>
              </a:ext>
            </a:extLst>
          </p:cNvPr>
          <p:cNvSpPr/>
          <p:nvPr/>
        </p:nvSpPr>
        <p:spPr>
          <a:xfrm>
            <a:off x="3344721" y="3912197"/>
            <a:ext cx="6418356" cy="662400"/>
          </a:xfrm>
          <a:custGeom>
            <a:avLst/>
            <a:gdLst>
              <a:gd name="connsiteX0" fmla="*/ 0 w 6764709"/>
              <a:gd name="connsiteY0" fmla="*/ 0 h 799368"/>
              <a:gd name="connsiteX1" fmla="*/ 6764709 w 6764709"/>
              <a:gd name="connsiteY1" fmla="*/ 0 h 799368"/>
              <a:gd name="connsiteX2" fmla="*/ 6764709 w 6764709"/>
              <a:gd name="connsiteY2" fmla="*/ 799368 h 799368"/>
              <a:gd name="connsiteX3" fmla="*/ 0 w 6764709"/>
              <a:gd name="connsiteY3" fmla="*/ 799368 h 799368"/>
              <a:gd name="connsiteX4" fmla="*/ 0 w 676470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709" h="799368">
                <a:moveTo>
                  <a:pt x="0" y="0"/>
                </a:moveTo>
                <a:lnTo>
                  <a:pt x="6764709" y="0"/>
                </a:lnTo>
                <a:lnTo>
                  <a:pt x="6764709"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marR="0" lvl="1" indent="-180000" algn="l" defTabSz="711200" eaLnBrk="1" fontAlgn="auto"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18" name="Ellipse 23">
            <a:extLst>
              <a:ext uri="{FF2B5EF4-FFF2-40B4-BE49-F238E27FC236}">
                <a16:creationId xmlns:a16="http://schemas.microsoft.com/office/drawing/2014/main" id="{858BB3D5-B3AB-4F3E-91F3-EE9A8F2157CF}"/>
              </a:ext>
            </a:extLst>
          </p:cNvPr>
          <p:cNvSpPr/>
          <p:nvPr/>
        </p:nvSpPr>
        <p:spPr>
          <a:xfrm>
            <a:off x="2428923" y="3912197"/>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3</a:t>
            </a:r>
            <a:endParaRPr lang="en-GB" dirty="0">
              <a:solidFill>
                <a:schemeClr val="bg1"/>
              </a:solidFill>
            </a:endParaRPr>
          </a:p>
        </p:txBody>
      </p:sp>
      <p:sp>
        <p:nvSpPr>
          <p:cNvPr id="20" name="Forme libre : forme 18">
            <a:extLst>
              <a:ext uri="{FF2B5EF4-FFF2-40B4-BE49-F238E27FC236}">
                <a16:creationId xmlns:a16="http://schemas.microsoft.com/office/drawing/2014/main" id="{FF258A38-4110-466A-829F-32F478C4195C}"/>
              </a:ext>
            </a:extLst>
          </p:cNvPr>
          <p:cNvSpPr/>
          <p:nvPr/>
        </p:nvSpPr>
        <p:spPr>
          <a:xfrm>
            <a:off x="3344722" y="5074311"/>
            <a:ext cx="6418356" cy="662400"/>
          </a:xfrm>
          <a:custGeom>
            <a:avLst/>
            <a:gdLst>
              <a:gd name="connsiteX0" fmla="*/ 0 w 4937308"/>
              <a:gd name="connsiteY0" fmla="*/ 0 h 799368"/>
              <a:gd name="connsiteX1" fmla="*/ 4937308 w 4937308"/>
              <a:gd name="connsiteY1" fmla="*/ 0 h 799368"/>
              <a:gd name="connsiteX2" fmla="*/ 4937308 w 4937308"/>
              <a:gd name="connsiteY2" fmla="*/ 799368 h 799368"/>
              <a:gd name="connsiteX3" fmla="*/ 0 w 4937308"/>
              <a:gd name="connsiteY3" fmla="*/ 799368 h 799368"/>
              <a:gd name="connsiteX4" fmla="*/ 0 w 4937308"/>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308" h="799368">
                <a:moveTo>
                  <a:pt x="0" y="0"/>
                </a:moveTo>
                <a:lnTo>
                  <a:pt x="4937308" y="0"/>
                </a:lnTo>
                <a:lnTo>
                  <a:pt x="4937308"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21" name="Ellipse 24">
            <a:extLst>
              <a:ext uri="{FF2B5EF4-FFF2-40B4-BE49-F238E27FC236}">
                <a16:creationId xmlns:a16="http://schemas.microsoft.com/office/drawing/2014/main" id="{5FBC4F60-BFF1-41D4-A5FE-AE09F2741193}"/>
              </a:ext>
            </a:extLst>
          </p:cNvPr>
          <p:cNvSpPr/>
          <p:nvPr/>
        </p:nvSpPr>
        <p:spPr>
          <a:xfrm>
            <a:off x="2428923" y="5074311"/>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840"/>
              </a:spcBef>
              <a:spcAft>
                <a:spcPts val="0"/>
              </a:spcAft>
            </a:pPr>
            <a:r>
              <a:rPr lang="en-GB">
                <a:solidFill>
                  <a:schemeClr val="bg1"/>
                </a:solidFill>
              </a:rPr>
              <a:t>4</a:t>
            </a:r>
            <a:endParaRPr lang="en-GB" dirty="0">
              <a:solidFill>
                <a:schemeClr val="bg1"/>
              </a:solidFill>
            </a:endParaRPr>
          </a:p>
        </p:txBody>
      </p:sp>
    </p:spTree>
    <p:extLst>
      <p:ext uri="{BB962C8B-B14F-4D97-AF65-F5344CB8AC3E}">
        <p14:creationId xmlns:p14="http://schemas.microsoft.com/office/powerpoint/2010/main" val="32961954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90075CB-D48F-4A28-A3BC-1221FD5ADC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790075CB-D48F-4A28-A3BC-1221FD5ADC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2B06DB-305C-4DBE-B639-75B3F5F45D9E}"/>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4F7FB15C-43E1-4A02-8878-4FA30F59AC19}"/>
              </a:ext>
            </a:extLst>
          </p:cNvPr>
          <p:cNvSpPr>
            <a:spLocks noGrp="1"/>
          </p:cNvSpPr>
          <p:nvPr>
            <p:ph type="title"/>
          </p:nvPr>
        </p:nvSpPr>
        <p:spPr/>
        <p:txBody>
          <a:bodyPr/>
          <a:lstStyle/>
          <a:p>
            <a:r>
              <a:rPr lang="en-GB"/>
              <a:t>Slide message – used to list five main ideas</a:t>
            </a:r>
            <a:endParaRPr lang="en-GB" dirty="0"/>
          </a:p>
        </p:txBody>
      </p:sp>
      <p:sp>
        <p:nvSpPr>
          <p:cNvPr id="34" name="Forme libre : forme 33">
            <a:extLst>
              <a:ext uri="{FF2B5EF4-FFF2-40B4-BE49-F238E27FC236}">
                <a16:creationId xmlns:a16="http://schemas.microsoft.com/office/drawing/2014/main" id="{12E43FC3-92B1-40E6-97CA-C29539F68CD9}"/>
              </a:ext>
            </a:extLst>
          </p:cNvPr>
          <p:cNvSpPr/>
          <p:nvPr/>
        </p:nvSpPr>
        <p:spPr>
          <a:xfrm>
            <a:off x="3344721" y="1256588"/>
            <a:ext cx="6418355" cy="661720"/>
          </a:xfrm>
          <a:custGeom>
            <a:avLst/>
            <a:gdLst>
              <a:gd name="connsiteX0" fmla="*/ 0 w 6975229"/>
              <a:gd name="connsiteY0" fmla="*/ 0 h 799368"/>
              <a:gd name="connsiteX1" fmla="*/ 6975229 w 6975229"/>
              <a:gd name="connsiteY1" fmla="*/ 0 h 799368"/>
              <a:gd name="connsiteX2" fmla="*/ 6975229 w 6975229"/>
              <a:gd name="connsiteY2" fmla="*/ 799368 h 799368"/>
              <a:gd name="connsiteX3" fmla="*/ 0 w 6975229"/>
              <a:gd name="connsiteY3" fmla="*/ 799368 h 799368"/>
              <a:gd name="connsiteX4" fmla="*/ 0 w 697522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5229" h="799368">
                <a:moveTo>
                  <a:pt x="0" y="0"/>
                </a:moveTo>
                <a:lnTo>
                  <a:pt x="6975229" y="0"/>
                </a:lnTo>
                <a:lnTo>
                  <a:pt x="6975229"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38" name="Ellipse 37">
            <a:extLst>
              <a:ext uri="{FF2B5EF4-FFF2-40B4-BE49-F238E27FC236}">
                <a16:creationId xmlns:a16="http://schemas.microsoft.com/office/drawing/2014/main" id="{CF1C33D0-5711-4834-BE18-E8B14203DFCA}"/>
              </a:ext>
            </a:extLst>
          </p:cNvPr>
          <p:cNvSpPr/>
          <p:nvPr/>
        </p:nvSpPr>
        <p:spPr>
          <a:xfrm>
            <a:off x="2428923" y="1256588"/>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a:solidFill>
                  <a:schemeClr val="bg1"/>
                </a:solidFill>
              </a:rPr>
              <a:t>1</a:t>
            </a:r>
            <a:endParaRPr lang="en-GB" dirty="0">
              <a:solidFill>
                <a:schemeClr val="bg1"/>
              </a:solidFill>
            </a:endParaRPr>
          </a:p>
        </p:txBody>
      </p:sp>
      <p:sp>
        <p:nvSpPr>
          <p:cNvPr id="35" name="Forme libre : forme 34">
            <a:extLst>
              <a:ext uri="{FF2B5EF4-FFF2-40B4-BE49-F238E27FC236}">
                <a16:creationId xmlns:a16="http://schemas.microsoft.com/office/drawing/2014/main" id="{C33E07DB-F75B-4B2B-BA79-0CC2E42AEB7A}"/>
              </a:ext>
            </a:extLst>
          </p:cNvPr>
          <p:cNvSpPr/>
          <p:nvPr/>
        </p:nvSpPr>
        <p:spPr>
          <a:xfrm>
            <a:off x="3344722" y="2306999"/>
            <a:ext cx="6418356" cy="662400"/>
          </a:xfrm>
          <a:custGeom>
            <a:avLst/>
            <a:gdLst>
              <a:gd name="connsiteX0" fmla="*/ 0 w 6832451"/>
              <a:gd name="connsiteY0" fmla="*/ 0 h 799368"/>
              <a:gd name="connsiteX1" fmla="*/ 6832451 w 6832451"/>
              <a:gd name="connsiteY1" fmla="*/ 0 h 799368"/>
              <a:gd name="connsiteX2" fmla="*/ 6832451 w 6832451"/>
              <a:gd name="connsiteY2" fmla="*/ 799368 h 799368"/>
              <a:gd name="connsiteX3" fmla="*/ 0 w 6832451"/>
              <a:gd name="connsiteY3" fmla="*/ 799368 h 799368"/>
              <a:gd name="connsiteX4" fmla="*/ 0 w 6832451"/>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2451" h="799368">
                <a:moveTo>
                  <a:pt x="0" y="0"/>
                </a:moveTo>
                <a:lnTo>
                  <a:pt x="6832451" y="0"/>
                </a:lnTo>
                <a:lnTo>
                  <a:pt x="6832451"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marR="0" lvl="1" indent="-180000" algn="l" defTabSz="711200" eaLnBrk="1" fontAlgn="auto"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39" name="Ellipse 38">
            <a:extLst>
              <a:ext uri="{FF2B5EF4-FFF2-40B4-BE49-F238E27FC236}">
                <a16:creationId xmlns:a16="http://schemas.microsoft.com/office/drawing/2014/main" id="{B8031398-757C-4BD1-9BB4-7B144CF461F4}"/>
              </a:ext>
            </a:extLst>
          </p:cNvPr>
          <p:cNvSpPr/>
          <p:nvPr/>
        </p:nvSpPr>
        <p:spPr>
          <a:xfrm>
            <a:off x="2428923" y="2307339"/>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a:solidFill>
                  <a:schemeClr val="bg1"/>
                </a:solidFill>
              </a:rPr>
              <a:t>2</a:t>
            </a:r>
            <a:endParaRPr lang="en-GB" dirty="0">
              <a:solidFill>
                <a:schemeClr val="bg1"/>
              </a:solidFill>
            </a:endParaRPr>
          </a:p>
        </p:txBody>
      </p:sp>
      <p:sp>
        <p:nvSpPr>
          <p:cNvPr id="36" name="Forme libre : forme 35">
            <a:extLst>
              <a:ext uri="{FF2B5EF4-FFF2-40B4-BE49-F238E27FC236}">
                <a16:creationId xmlns:a16="http://schemas.microsoft.com/office/drawing/2014/main" id="{F2327BA7-07D1-4072-918A-C890D03824F8}"/>
              </a:ext>
            </a:extLst>
          </p:cNvPr>
          <p:cNvSpPr/>
          <p:nvPr/>
        </p:nvSpPr>
        <p:spPr>
          <a:xfrm>
            <a:off x="3344721" y="3358090"/>
            <a:ext cx="6418356" cy="662400"/>
          </a:xfrm>
          <a:custGeom>
            <a:avLst/>
            <a:gdLst>
              <a:gd name="connsiteX0" fmla="*/ 0 w 6764709"/>
              <a:gd name="connsiteY0" fmla="*/ 0 h 799368"/>
              <a:gd name="connsiteX1" fmla="*/ 6764709 w 6764709"/>
              <a:gd name="connsiteY1" fmla="*/ 0 h 799368"/>
              <a:gd name="connsiteX2" fmla="*/ 6764709 w 6764709"/>
              <a:gd name="connsiteY2" fmla="*/ 799368 h 799368"/>
              <a:gd name="connsiteX3" fmla="*/ 0 w 6764709"/>
              <a:gd name="connsiteY3" fmla="*/ 799368 h 799368"/>
              <a:gd name="connsiteX4" fmla="*/ 0 w 6764709"/>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709" h="799368">
                <a:moveTo>
                  <a:pt x="0" y="0"/>
                </a:moveTo>
                <a:lnTo>
                  <a:pt x="6764709" y="0"/>
                </a:lnTo>
                <a:lnTo>
                  <a:pt x="6764709" y="799368"/>
                </a:lnTo>
                <a:lnTo>
                  <a:pt x="0" y="799368"/>
                </a:lnTo>
                <a:lnTo>
                  <a:pt x="0" y="0"/>
                </a:lnTo>
                <a:close/>
              </a:path>
            </a:pathLst>
          </a:custGeom>
          <a:solidFill>
            <a:srgbClr val="FFFFFF"/>
          </a:solidFill>
          <a:ln>
            <a:solidFill>
              <a:srgbClr val="FFFFFF"/>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0000" tIns="40640" rIns="40640" bIns="40640" numCol="1" spcCol="1270" anchor="t" anchorCtr="0">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41" name="Ellipse 40">
            <a:extLst>
              <a:ext uri="{FF2B5EF4-FFF2-40B4-BE49-F238E27FC236}">
                <a16:creationId xmlns:a16="http://schemas.microsoft.com/office/drawing/2014/main" id="{3987CE7D-04E5-49DE-AF17-44FD75781B3B}"/>
              </a:ext>
            </a:extLst>
          </p:cNvPr>
          <p:cNvSpPr/>
          <p:nvPr/>
        </p:nvSpPr>
        <p:spPr>
          <a:xfrm>
            <a:off x="2428923" y="3358430"/>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a:solidFill>
                  <a:schemeClr val="bg1"/>
                </a:solidFill>
              </a:rPr>
              <a:t>3</a:t>
            </a:r>
            <a:endParaRPr lang="en-GB" dirty="0">
              <a:solidFill>
                <a:schemeClr val="bg1"/>
              </a:solidFill>
            </a:endParaRPr>
          </a:p>
        </p:txBody>
      </p:sp>
      <p:sp>
        <p:nvSpPr>
          <p:cNvPr id="43" name="Forme libre : forme 42">
            <a:extLst>
              <a:ext uri="{FF2B5EF4-FFF2-40B4-BE49-F238E27FC236}">
                <a16:creationId xmlns:a16="http://schemas.microsoft.com/office/drawing/2014/main" id="{D634F8CB-6389-4822-A049-BA2CEC752CDE}"/>
              </a:ext>
            </a:extLst>
          </p:cNvPr>
          <p:cNvSpPr/>
          <p:nvPr/>
        </p:nvSpPr>
        <p:spPr>
          <a:xfrm>
            <a:off x="3344722" y="4409181"/>
            <a:ext cx="6418356" cy="662400"/>
          </a:xfrm>
          <a:custGeom>
            <a:avLst/>
            <a:gdLst>
              <a:gd name="connsiteX0" fmla="*/ 0 w 4937308"/>
              <a:gd name="connsiteY0" fmla="*/ 0 h 799368"/>
              <a:gd name="connsiteX1" fmla="*/ 4937308 w 4937308"/>
              <a:gd name="connsiteY1" fmla="*/ 0 h 799368"/>
              <a:gd name="connsiteX2" fmla="*/ 4937308 w 4937308"/>
              <a:gd name="connsiteY2" fmla="*/ 799368 h 799368"/>
              <a:gd name="connsiteX3" fmla="*/ 0 w 4937308"/>
              <a:gd name="connsiteY3" fmla="*/ 799368 h 799368"/>
              <a:gd name="connsiteX4" fmla="*/ 0 w 4937308"/>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308" h="799368">
                <a:moveTo>
                  <a:pt x="0" y="0"/>
                </a:moveTo>
                <a:lnTo>
                  <a:pt x="4937308" y="0"/>
                </a:lnTo>
                <a:lnTo>
                  <a:pt x="4937308"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lvl="1" indent="-180000" algn="l" defTabSz="711200" eaLnBrk="1" fontAlgn="auto" hangingPunct="1">
              <a:lnSpc>
                <a:spcPct val="90000"/>
              </a:lnSpc>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44" name="Ellipse 43">
            <a:extLst>
              <a:ext uri="{FF2B5EF4-FFF2-40B4-BE49-F238E27FC236}">
                <a16:creationId xmlns:a16="http://schemas.microsoft.com/office/drawing/2014/main" id="{51A36499-3DFE-4037-BA9B-419E54DFF68D}"/>
              </a:ext>
            </a:extLst>
          </p:cNvPr>
          <p:cNvSpPr/>
          <p:nvPr/>
        </p:nvSpPr>
        <p:spPr>
          <a:xfrm>
            <a:off x="2428923" y="4409181"/>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a:solidFill>
                  <a:schemeClr val="bg1"/>
                </a:solidFill>
              </a:rPr>
              <a:t>4</a:t>
            </a:r>
            <a:endParaRPr lang="en-GB" dirty="0">
              <a:solidFill>
                <a:schemeClr val="bg1"/>
              </a:solidFill>
            </a:endParaRPr>
          </a:p>
        </p:txBody>
      </p:sp>
      <p:sp>
        <p:nvSpPr>
          <p:cNvPr id="37" name="Forme libre : forme 36">
            <a:extLst>
              <a:ext uri="{FF2B5EF4-FFF2-40B4-BE49-F238E27FC236}">
                <a16:creationId xmlns:a16="http://schemas.microsoft.com/office/drawing/2014/main" id="{EE28C68D-40B4-46BB-8597-98E60E1E4FE2}"/>
              </a:ext>
            </a:extLst>
          </p:cNvPr>
          <p:cNvSpPr/>
          <p:nvPr/>
        </p:nvSpPr>
        <p:spPr>
          <a:xfrm>
            <a:off x="3344722" y="5460270"/>
            <a:ext cx="6418356" cy="662400"/>
          </a:xfrm>
          <a:custGeom>
            <a:avLst/>
            <a:gdLst>
              <a:gd name="connsiteX0" fmla="*/ 0 w 4937308"/>
              <a:gd name="connsiteY0" fmla="*/ 0 h 799368"/>
              <a:gd name="connsiteX1" fmla="*/ 4937308 w 4937308"/>
              <a:gd name="connsiteY1" fmla="*/ 0 h 799368"/>
              <a:gd name="connsiteX2" fmla="*/ 4937308 w 4937308"/>
              <a:gd name="connsiteY2" fmla="*/ 799368 h 799368"/>
              <a:gd name="connsiteX3" fmla="*/ 0 w 4937308"/>
              <a:gd name="connsiteY3" fmla="*/ 799368 h 799368"/>
              <a:gd name="connsiteX4" fmla="*/ 0 w 4937308"/>
              <a:gd name="connsiteY4" fmla="*/ 0 h 79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308" h="799368">
                <a:moveTo>
                  <a:pt x="0" y="0"/>
                </a:moveTo>
                <a:lnTo>
                  <a:pt x="4937308" y="0"/>
                </a:lnTo>
                <a:lnTo>
                  <a:pt x="4937308" y="799368"/>
                </a:lnTo>
                <a:lnTo>
                  <a:pt x="0" y="799368"/>
                </a:lnTo>
                <a:lnTo>
                  <a:pt x="0" y="0"/>
                </a:lnTo>
                <a:close/>
              </a:path>
            </a:pathLst>
          </a:custGeom>
          <a:solidFill>
            <a:srgbClr val="FFFFFF"/>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90000" tIns="35560" rIns="35560" bIns="35560" numCol="1" spcCol="1270" anchor="t" anchorCtr="0">
            <a:noAutofit/>
          </a:bodyPr>
          <a:lstStyle/>
          <a:p>
            <a:pPr marL="180000" lvl="1" indent="-180000" algn="l" defTabSz="711200" eaLnBrk="1" fontAlgn="auto" hangingPunct="1">
              <a:lnSpc>
                <a:spcPct val="90000"/>
              </a:lnSpc>
              <a:spcBef>
                <a:spcPts val="840"/>
              </a:spcBef>
              <a:spcAft>
                <a:spcPts val="0"/>
              </a:spcAft>
              <a:buClr>
                <a:srgbClr val="C2C2C2"/>
              </a:buClr>
              <a:buSzPct val="77000"/>
              <a:buFont typeface="Wingdings 3" panose="05040102010807070707" pitchFamily="18" charset="2"/>
              <a:buChar char=""/>
              <a:defRPr/>
            </a:pPr>
            <a:r>
              <a:rPr lang="en-GB" sz="1600" dirty="0">
                <a:solidFill>
                  <a:schemeClr val="tx1"/>
                </a:solidFill>
              </a:rPr>
              <a:t>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r>
              <a:rPr lang="en-GB" sz="1600" dirty="0">
                <a:solidFill>
                  <a:schemeClr val="tx1"/>
                </a:solidFill>
              </a:rPr>
              <a:t>. Lorem ipsum </a:t>
            </a:r>
            <a:r>
              <a:rPr lang="en-GB" sz="1600" dirty="0" err="1">
                <a:solidFill>
                  <a:schemeClr val="tx1"/>
                </a:solidFill>
              </a:rPr>
              <a:t>dolor</a:t>
            </a:r>
            <a:r>
              <a:rPr lang="en-GB" sz="1600" dirty="0">
                <a:solidFill>
                  <a:schemeClr val="tx1"/>
                </a:solidFill>
              </a:rPr>
              <a:t> sit </a:t>
            </a:r>
            <a:r>
              <a:rPr lang="en-GB" sz="1600" dirty="0" err="1">
                <a:solidFill>
                  <a:schemeClr val="tx1"/>
                </a:solidFill>
              </a:rPr>
              <a:t>amet</a:t>
            </a:r>
            <a:r>
              <a:rPr lang="en-GB" sz="1600" dirty="0">
                <a:solidFill>
                  <a:schemeClr val="tx1"/>
                </a:solidFill>
              </a:rPr>
              <a:t>, </a:t>
            </a:r>
            <a:r>
              <a:rPr lang="en-GB" sz="1600" dirty="0" err="1">
                <a:solidFill>
                  <a:schemeClr val="tx1"/>
                </a:solidFill>
              </a:rPr>
              <a:t>consectetur</a:t>
            </a:r>
            <a:r>
              <a:rPr lang="en-GB" sz="1600" dirty="0">
                <a:solidFill>
                  <a:schemeClr val="tx1"/>
                </a:solidFill>
              </a:rPr>
              <a:t> </a:t>
            </a:r>
            <a:r>
              <a:rPr lang="en-GB" sz="1600" dirty="0" err="1">
                <a:solidFill>
                  <a:schemeClr val="tx1"/>
                </a:solidFill>
              </a:rPr>
              <a:t>adipiscing</a:t>
            </a:r>
            <a:r>
              <a:rPr lang="en-GB" sz="1600" dirty="0">
                <a:solidFill>
                  <a:schemeClr val="tx1"/>
                </a:solidFill>
              </a:rPr>
              <a:t> </a:t>
            </a:r>
            <a:r>
              <a:rPr lang="en-GB" sz="1600" dirty="0" err="1">
                <a:solidFill>
                  <a:schemeClr val="tx1"/>
                </a:solidFill>
              </a:rPr>
              <a:t>elit</a:t>
            </a:r>
            <a:endParaRPr lang="en-GB" sz="1600" dirty="0">
              <a:solidFill>
                <a:schemeClr val="tx1"/>
              </a:solidFill>
            </a:endParaRPr>
          </a:p>
        </p:txBody>
      </p:sp>
      <p:sp>
        <p:nvSpPr>
          <p:cNvPr id="42" name="Ellipse 41">
            <a:extLst>
              <a:ext uri="{FF2B5EF4-FFF2-40B4-BE49-F238E27FC236}">
                <a16:creationId xmlns:a16="http://schemas.microsoft.com/office/drawing/2014/main" id="{DE744251-92AE-4A6E-AA8F-CAC42AAF61B1}"/>
              </a:ext>
            </a:extLst>
          </p:cNvPr>
          <p:cNvSpPr/>
          <p:nvPr/>
        </p:nvSpPr>
        <p:spPr>
          <a:xfrm>
            <a:off x="2428923" y="5460270"/>
            <a:ext cx="450450" cy="4504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a:solidFill>
                  <a:schemeClr val="bg1"/>
                </a:solidFill>
              </a:rPr>
              <a:t>5</a:t>
            </a:r>
            <a:endParaRPr lang="en-GB" dirty="0">
              <a:solidFill>
                <a:schemeClr val="bg1"/>
              </a:solidFill>
            </a:endParaRPr>
          </a:p>
        </p:txBody>
      </p:sp>
    </p:spTree>
    <p:extLst>
      <p:ext uri="{BB962C8B-B14F-4D97-AF65-F5344CB8AC3E}">
        <p14:creationId xmlns:p14="http://schemas.microsoft.com/office/powerpoint/2010/main" val="12672632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C7879CB9-4D29-49EA-935D-F48C18477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 name="Objet 1" hidden="1">
                        <a:extLst>
                          <a:ext uri="{FF2B5EF4-FFF2-40B4-BE49-F238E27FC236}">
                            <a16:creationId xmlns:a16="http://schemas.microsoft.com/office/drawing/2014/main" id="{C7879CB9-4D29-49EA-935D-F48C18477D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9249A4E-ADAE-4508-9EF4-247A139F1461}"/>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F099DE3B-676B-4013-9C4C-07AAFD256933}"/>
              </a:ext>
            </a:extLst>
          </p:cNvPr>
          <p:cNvSpPr>
            <a:spLocks noGrp="1"/>
          </p:cNvSpPr>
          <p:nvPr>
            <p:ph type="title"/>
          </p:nvPr>
        </p:nvSpPr>
        <p:spPr/>
        <p:txBody>
          <a:bodyPr/>
          <a:lstStyle/>
          <a:p>
            <a:r>
              <a:rPr lang="en-GB"/>
              <a:t>Slide message – three topics with details</a:t>
            </a:r>
            <a:endParaRPr lang="en-GB" dirty="0"/>
          </a:p>
        </p:txBody>
      </p:sp>
      <p:sp>
        <p:nvSpPr>
          <p:cNvPr id="14" name="Forme libre : forme 13">
            <a:extLst>
              <a:ext uri="{FF2B5EF4-FFF2-40B4-BE49-F238E27FC236}">
                <a16:creationId xmlns:a16="http://schemas.microsoft.com/office/drawing/2014/main" id="{76876A0E-380D-4595-8BFB-578151262CEF}"/>
              </a:ext>
            </a:extLst>
          </p:cNvPr>
          <p:cNvSpPr/>
          <p:nvPr/>
        </p:nvSpPr>
        <p:spPr bwMode="auto">
          <a:xfrm>
            <a:off x="-11485" y="1160051"/>
            <a:ext cx="1800000" cy="5086146"/>
          </a:xfrm>
          <a:custGeom>
            <a:avLst/>
            <a:gdLst>
              <a:gd name="connsiteX0" fmla="*/ 0 w 1800000"/>
              <a:gd name="connsiteY0" fmla="*/ 0 h 5086146"/>
              <a:gd name="connsiteX1" fmla="*/ 150962 w 1800000"/>
              <a:gd name="connsiteY1" fmla="*/ 55252 h 5086146"/>
              <a:gd name="connsiteX2" fmla="*/ 1800000 w 1800000"/>
              <a:gd name="connsiteY2" fmla="*/ 2543073 h 5086146"/>
              <a:gd name="connsiteX3" fmla="*/ 150962 w 1800000"/>
              <a:gd name="connsiteY3" fmla="*/ 5030894 h 5086146"/>
              <a:gd name="connsiteX4" fmla="*/ 0 w 1800000"/>
              <a:gd name="connsiteY4" fmla="*/ 5086146 h 5086146"/>
              <a:gd name="connsiteX5" fmla="*/ 0 w 1800000"/>
              <a:gd name="connsiteY5" fmla="*/ 4869102 h 5086146"/>
              <a:gd name="connsiteX6" fmla="*/ 71551 w 1800000"/>
              <a:gd name="connsiteY6" fmla="*/ 4842914 h 5086146"/>
              <a:gd name="connsiteX7" fmla="*/ 1595988 w 1800000"/>
              <a:gd name="connsiteY7" fmla="*/ 2543073 h 5086146"/>
              <a:gd name="connsiteX8" fmla="*/ 71551 w 1800000"/>
              <a:gd name="connsiteY8" fmla="*/ 243232 h 5086146"/>
              <a:gd name="connsiteX9" fmla="*/ 0 w 1800000"/>
              <a:gd name="connsiteY9" fmla="*/ 217044 h 5086146"/>
              <a:gd name="connsiteX10" fmla="*/ 0 w 1800000"/>
              <a:gd name="connsiteY10" fmla="*/ 0 h 508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000" h="5086146">
                <a:moveTo>
                  <a:pt x="0" y="0"/>
                </a:moveTo>
                <a:lnTo>
                  <a:pt x="150962" y="55252"/>
                </a:lnTo>
                <a:cubicBezTo>
                  <a:pt x="1120033" y="465135"/>
                  <a:pt x="1800000" y="1424696"/>
                  <a:pt x="1800000" y="2543073"/>
                </a:cubicBezTo>
                <a:cubicBezTo>
                  <a:pt x="1800000" y="3661450"/>
                  <a:pt x="1120033" y="4621012"/>
                  <a:pt x="150962" y="5030894"/>
                </a:cubicBezTo>
                <a:lnTo>
                  <a:pt x="0" y="5086146"/>
                </a:lnTo>
                <a:lnTo>
                  <a:pt x="0" y="4869102"/>
                </a:lnTo>
                <a:lnTo>
                  <a:pt x="71551" y="4842914"/>
                </a:lnTo>
                <a:cubicBezTo>
                  <a:pt x="967399" y="4464002"/>
                  <a:pt x="1595988" y="3576945"/>
                  <a:pt x="1595988" y="2543073"/>
                </a:cubicBezTo>
                <a:cubicBezTo>
                  <a:pt x="1595988" y="1509201"/>
                  <a:pt x="967399" y="622144"/>
                  <a:pt x="71551" y="243232"/>
                </a:cubicBezTo>
                <a:lnTo>
                  <a:pt x="0" y="217044"/>
                </a:lnTo>
                <a:lnTo>
                  <a:pt x="0" y="0"/>
                </a:lnTo>
                <a:close/>
              </a:path>
            </a:pathLst>
          </a:custGeom>
          <a:solidFill>
            <a:schemeClr val="accent3">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accent3"/>
              </a:buClr>
              <a:buSzPct val="77000"/>
            </a:pPr>
            <a:endParaRPr lang="en-GB" sz="1400" b="1" dirty="0">
              <a:solidFill>
                <a:srgbClr val="FFFFFF"/>
              </a:solidFill>
              <a:latin typeface="+mn-lt"/>
            </a:endParaRPr>
          </a:p>
        </p:txBody>
      </p:sp>
      <p:sp>
        <p:nvSpPr>
          <p:cNvPr id="12" name="Forme libre : forme 11">
            <a:extLst>
              <a:ext uri="{FF2B5EF4-FFF2-40B4-BE49-F238E27FC236}">
                <a16:creationId xmlns:a16="http://schemas.microsoft.com/office/drawing/2014/main" id="{46897945-EBF6-4EFB-914F-74900EABFB44}"/>
              </a:ext>
            </a:extLst>
          </p:cNvPr>
          <p:cNvSpPr/>
          <p:nvPr/>
        </p:nvSpPr>
        <p:spPr bwMode="auto">
          <a:xfrm>
            <a:off x="0" y="2020712"/>
            <a:ext cx="1164566" cy="3364827"/>
          </a:xfrm>
          <a:custGeom>
            <a:avLst/>
            <a:gdLst>
              <a:gd name="connsiteX0" fmla="*/ 0 w 1164566"/>
              <a:gd name="connsiteY0" fmla="*/ 0 h 3364827"/>
              <a:gd name="connsiteX1" fmla="*/ 65207 w 1164566"/>
              <a:gd name="connsiteY1" fmla="*/ 23866 h 3364827"/>
              <a:gd name="connsiteX2" fmla="*/ 1164566 w 1164566"/>
              <a:gd name="connsiteY2" fmla="*/ 1682413 h 3364827"/>
              <a:gd name="connsiteX3" fmla="*/ 65207 w 1164566"/>
              <a:gd name="connsiteY3" fmla="*/ 3340960 h 3364827"/>
              <a:gd name="connsiteX4" fmla="*/ 0 w 1164566"/>
              <a:gd name="connsiteY4" fmla="*/ 3364827 h 3364827"/>
              <a:gd name="connsiteX5" fmla="*/ 0 w 1164566"/>
              <a:gd name="connsiteY5" fmla="*/ 0 h 336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4566" h="3364827">
                <a:moveTo>
                  <a:pt x="0" y="0"/>
                </a:moveTo>
                <a:lnTo>
                  <a:pt x="65207" y="23866"/>
                </a:lnTo>
                <a:cubicBezTo>
                  <a:pt x="711255" y="297121"/>
                  <a:pt x="1164566" y="936828"/>
                  <a:pt x="1164566" y="1682413"/>
                </a:cubicBezTo>
                <a:cubicBezTo>
                  <a:pt x="1164566" y="2427998"/>
                  <a:pt x="711255" y="3067706"/>
                  <a:pt x="65207" y="3340960"/>
                </a:cubicBezTo>
                <a:lnTo>
                  <a:pt x="0" y="3364827"/>
                </a:lnTo>
                <a:lnTo>
                  <a:pt x="0" y="0"/>
                </a:lnTo>
                <a:close/>
              </a:path>
            </a:pathLst>
          </a:cu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accent3"/>
              </a:buClr>
              <a:buSzPct val="77000"/>
            </a:pPr>
            <a:endParaRPr lang="en-GB" sz="1400" b="1" dirty="0">
              <a:solidFill>
                <a:srgbClr val="FFFFFF"/>
              </a:solidFill>
              <a:latin typeface="+mn-lt"/>
            </a:endParaRPr>
          </a:p>
        </p:txBody>
      </p:sp>
      <p:sp>
        <p:nvSpPr>
          <p:cNvPr id="9" name="Ellipse 8">
            <a:extLst>
              <a:ext uri="{FF2B5EF4-FFF2-40B4-BE49-F238E27FC236}">
                <a16:creationId xmlns:a16="http://schemas.microsoft.com/office/drawing/2014/main" id="{47656D9B-3E80-4FD2-A90A-F99C77294F7D}"/>
              </a:ext>
            </a:extLst>
          </p:cNvPr>
          <p:cNvSpPr/>
          <p:nvPr/>
        </p:nvSpPr>
        <p:spPr bwMode="auto">
          <a:xfrm>
            <a:off x="804566" y="1778715"/>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1</a:t>
            </a:r>
            <a:endParaRPr lang="en-GB" sz="2400" dirty="0">
              <a:solidFill>
                <a:schemeClr val="bg1"/>
              </a:solidFill>
              <a:latin typeface="+mn-lt"/>
            </a:endParaRPr>
          </a:p>
        </p:txBody>
      </p:sp>
      <p:sp>
        <p:nvSpPr>
          <p:cNvPr id="23" name="ZoneTexte 22">
            <a:extLst>
              <a:ext uri="{FF2B5EF4-FFF2-40B4-BE49-F238E27FC236}">
                <a16:creationId xmlns:a16="http://schemas.microsoft.com/office/drawing/2014/main" id="{23886F54-83CE-4FD2-BE78-D2AFDBD0241C}"/>
              </a:ext>
            </a:extLst>
          </p:cNvPr>
          <p:cNvSpPr txBox="1"/>
          <p:nvPr/>
        </p:nvSpPr>
        <p:spPr>
          <a:xfrm>
            <a:off x="1652409" y="1740926"/>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59" name="ZoneTexte 58">
            <a:extLst>
              <a:ext uri="{FF2B5EF4-FFF2-40B4-BE49-F238E27FC236}">
                <a16:creationId xmlns:a16="http://schemas.microsoft.com/office/drawing/2014/main" id="{C0C0B8CA-1A9A-448A-94E5-6D439B7B3CEB}"/>
              </a:ext>
            </a:extLst>
          </p:cNvPr>
          <p:cNvSpPr txBox="1"/>
          <p:nvPr/>
        </p:nvSpPr>
        <p:spPr>
          <a:xfrm>
            <a:off x="4561494" y="1634715"/>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
        <p:nvSpPr>
          <p:cNvPr id="21" name="Ellipse 20">
            <a:extLst>
              <a:ext uri="{FF2B5EF4-FFF2-40B4-BE49-F238E27FC236}">
                <a16:creationId xmlns:a16="http://schemas.microsoft.com/office/drawing/2014/main" id="{FDB04630-7ECE-4970-8CE4-14076980D96A}"/>
              </a:ext>
            </a:extLst>
          </p:cNvPr>
          <p:cNvSpPr/>
          <p:nvPr/>
        </p:nvSpPr>
        <p:spPr bwMode="auto">
          <a:xfrm>
            <a:off x="755019" y="4892726"/>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3</a:t>
            </a:r>
            <a:endParaRPr lang="en-GB" sz="2400" dirty="0">
              <a:solidFill>
                <a:schemeClr val="bg1"/>
              </a:solidFill>
              <a:latin typeface="+mn-lt"/>
            </a:endParaRPr>
          </a:p>
        </p:txBody>
      </p:sp>
      <p:sp>
        <p:nvSpPr>
          <p:cNvPr id="53" name="ZoneTexte 52">
            <a:extLst>
              <a:ext uri="{FF2B5EF4-FFF2-40B4-BE49-F238E27FC236}">
                <a16:creationId xmlns:a16="http://schemas.microsoft.com/office/drawing/2014/main" id="{EAEB6D53-AAE8-45E9-869C-5AD7856BE225}"/>
              </a:ext>
            </a:extLst>
          </p:cNvPr>
          <p:cNvSpPr txBox="1"/>
          <p:nvPr/>
        </p:nvSpPr>
        <p:spPr>
          <a:xfrm>
            <a:off x="1720462" y="5013743"/>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52" name="ZoneTexte 51">
            <a:extLst>
              <a:ext uri="{FF2B5EF4-FFF2-40B4-BE49-F238E27FC236}">
                <a16:creationId xmlns:a16="http://schemas.microsoft.com/office/drawing/2014/main" id="{3F36D4AC-62C7-46BB-AF3F-5DE03D2544A6}"/>
              </a:ext>
            </a:extLst>
          </p:cNvPr>
          <p:cNvSpPr txBox="1"/>
          <p:nvPr/>
        </p:nvSpPr>
        <p:spPr>
          <a:xfrm>
            <a:off x="2183145" y="3377334"/>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20" name="Ellipse 19">
            <a:extLst>
              <a:ext uri="{FF2B5EF4-FFF2-40B4-BE49-F238E27FC236}">
                <a16:creationId xmlns:a16="http://schemas.microsoft.com/office/drawing/2014/main" id="{AD955BA1-6788-45D4-808B-AA7D8BD3D9E3}"/>
              </a:ext>
            </a:extLst>
          </p:cNvPr>
          <p:cNvSpPr/>
          <p:nvPr/>
        </p:nvSpPr>
        <p:spPr bwMode="auto">
          <a:xfrm>
            <a:off x="1292409" y="3343124"/>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2</a:t>
            </a:r>
            <a:endParaRPr lang="en-GB" sz="2400" dirty="0">
              <a:solidFill>
                <a:schemeClr val="bg1"/>
              </a:solidFill>
              <a:latin typeface="+mn-lt"/>
            </a:endParaRPr>
          </a:p>
        </p:txBody>
      </p:sp>
      <p:sp>
        <p:nvSpPr>
          <p:cNvPr id="17" name="ZoneTexte 16">
            <a:extLst>
              <a:ext uri="{FF2B5EF4-FFF2-40B4-BE49-F238E27FC236}">
                <a16:creationId xmlns:a16="http://schemas.microsoft.com/office/drawing/2014/main" id="{9E492EF1-4DF0-40D7-BA0C-AC1E6FBF29C1}"/>
              </a:ext>
            </a:extLst>
          </p:cNvPr>
          <p:cNvSpPr txBox="1"/>
          <p:nvPr/>
        </p:nvSpPr>
        <p:spPr>
          <a:xfrm>
            <a:off x="4561494" y="3271123"/>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
        <p:nvSpPr>
          <p:cNvPr id="18" name="ZoneTexte 17">
            <a:extLst>
              <a:ext uri="{FF2B5EF4-FFF2-40B4-BE49-F238E27FC236}">
                <a16:creationId xmlns:a16="http://schemas.microsoft.com/office/drawing/2014/main" id="{61268290-7E0A-4FE3-A783-91F5DB7FA41D}"/>
              </a:ext>
            </a:extLst>
          </p:cNvPr>
          <p:cNvSpPr txBox="1"/>
          <p:nvPr/>
        </p:nvSpPr>
        <p:spPr>
          <a:xfrm>
            <a:off x="4561494" y="4820726"/>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Tree>
    <p:extLst>
      <p:ext uri="{BB962C8B-B14F-4D97-AF65-F5344CB8AC3E}">
        <p14:creationId xmlns:p14="http://schemas.microsoft.com/office/powerpoint/2010/main" val="7430776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C7879CB9-4D29-49EA-935D-F48C18477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 name="Objet 1" hidden="1">
                        <a:extLst>
                          <a:ext uri="{FF2B5EF4-FFF2-40B4-BE49-F238E27FC236}">
                            <a16:creationId xmlns:a16="http://schemas.microsoft.com/office/drawing/2014/main" id="{C7879CB9-4D29-49EA-935D-F48C18477D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9249A4E-ADAE-4508-9EF4-247A139F1461}"/>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F099DE3B-676B-4013-9C4C-07AAFD256933}"/>
              </a:ext>
            </a:extLst>
          </p:cNvPr>
          <p:cNvSpPr>
            <a:spLocks noGrp="1"/>
          </p:cNvSpPr>
          <p:nvPr>
            <p:ph type="title"/>
          </p:nvPr>
        </p:nvSpPr>
        <p:spPr/>
        <p:txBody>
          <a:bodyPr/>
          <a:lstStyle/>
          <a:p>
            <a:r>
              <a:rPr lang="en-GB"/>
              <a:t>Slide message – four topics with details</a:t>
            </a:r>
            <a:endParaRPr lang="en-GB" dirty="0"/>
          </a:p>
        </p:txBody>
      </p:sp>
      <p:sp>
        <p:nvSpPr>
          <p:cNvPr id="14" name="Forme libre : forme 13">
            <a:extLst>
              <a:ext uri="{FF2B5EF4-FFF2-40B4-BE49-F238E27FC236}">
                <a16:creationId xmlns:a16="http://schemas.microsoft.com/office/drawing/2014/main" id="{76876A0E-380D-4595-8BFB-578151262CEF}"/>
              </a:ext>
            </a:extLst>
          </p:cNvPr>
          <p:cNvSpPr/>
          <p:nvPr/>
        </p:nvSpPr>
        <p:spPr bwMode="auto">
          <a:xfrm>
            <a:off x="-11485" y="1160051"/>
            <a:ext cx="1800000" cy="5086146"/>
          </a:xfrm>
          <a:custGeom>
            <a:avLst/>
            <a:gdLst>
              <a:gd name="connsiteX0" fmla="*/ 0 w 1800000"/>
              <a:gd name="connsiteY0" fmla="*/ 0 h 5086146"/>
              <a:gd name="connsiteX1" fmla="*/ 150962 w 1800000"/>
              <a:gd name="connsiteY1" fmla="*/ 55252 h 5086146"/>
              <a:gd name="connsiteX2" fmla="*/ 1800000 w 1800000"/>
              <a:gd name="connsiteY2" fmla="*/ 2543073 h 5086146"/>
              <a:gd name="connsiteX3" fmla="*/ 150962 w 1800000"/>
              <a:gd name="connsiteY3" fmla="*/ 5030894 h 5086146"/>
              <a:gd name="connsiteX4" fmla="*/ 0 w 1800000"/>
              <a:gd name="connsiteY4" fmla="*/ 5086146 h 5086146"/>
              <a:gd name="connsiteX5" fmla="*/ 0 w 1800000"/>
              <a:gd name="connsiteY5" fmla="*/ 4869102 h 5086146"/>
              <a:gd name="connsiteX6" fmla="*/ 71551 w 1800000"/>
              <a:gd name="connsiteY6" fmla="*/ 4842914 h 5086146"/>
              <a:gd name="connsiteX7" fmla="*/ 1595988 w 1800000"/>
              <a:gd name="connsiteY7" fmla="*/ 2543073 h 5086146"/>
              <a:gd name="connsiteX8" fmla="*/ 71551 w 1800000"/>
              <a:gd name="connsiteY8" fmla="*/ 243232 h 5086146"/>
              <a:gd name="connsiteX9" fmla="*/ 0 w 1800000"/>
              <a:gd name="connsiteY9" fmla="*/ 217044 h 5086146"/>
              <a:gd name="connsiteX10" fmla="*/ 0 w 1800000"/>
              <a:gd name="connsiteY10" fmla="*/ 0 h 508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0000" h="5086146">
                <a:moveTo>
                  <a:pt x="0" y="0"/>
                </a:moveTo>
                <a:lnTo>
                  <a:pt x="150962" y="55252"/>
                </a:lnTo>
                <a:cubicBezTo>
                  <a:pt x="1120033" y="465135"/>
                  <a:pt x="1800000" y="1424696"/>
                  <a:pt x="1800000" y="2543073"/>
                </a:cubicBezTo>
                <a:cubicBezTo>
                  <a:pt x="1800000" y="3661450"/>
                  <a:pt x="1120033" y="4621012"/>
                  <a:pt x="150962" y="5030894"/>
                </a:cubicBezTo>
                <a:lnTo>
                  <a:pt x="0" y="5086146"/>
                </a:lnTo>
                <a:lnTo>
                  <a:pt x="0" y="4869102"/>
                </a:lnTo>
                <a:lnTo>
                  <a:pt x="71551" y="4842914"/>
                </a:lnTo>
                <a:cubicBezTo>
                  <a:pt x="967399" y="4464002"/>
                  <a:pt x="1595988" y="3576945"/>
                  <a:pt x="1595988" y="2543073"/>
                </a:cubicBezTo>
                <a:cubicBezTo>
                  <a:pt x="1595988" y="1509201"/>
                  <a:pt x="967399" y="622144"/>
                  <a:pt x="71551" y="243232"/>
                </a:cubicBezTo>
                <a:lnTo>
                  <a:pt x="0" y="217044"/>
                </a:lnTo>
                <a:lnTo>
                  <a:pt x="0" y="0"/>
                </a:lnTo>
                <a:close/>
              </a:path>
            </a:pathLst>
          </a:custGeom>
          <a:solidFill>
            <a:schemeClr val="accent3">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accent3"/>
              </a:buClr>
              <a:buSzPct val="77000"/>
            </a:pPr>
            <a:endParaRPr lang="en-GB" sz="1400" b="1" dirty="0">
              <a:solidFill>
                <a:srgbClr val="FFFFFF"/>
              </a:solidFill>
              <a:latin typeface="+mn-lt"/>
            </a:endParaRPr>
          </a:p>
        </p:txBody>
      </p:sp>
      <p:sp>
        <p:nvSpPr>
          <p:cNvPr id="12" name="Forme libre : forme 11">
            <a:extLst>
              <a:ext uri="{FF2B5EF4-FFF2-40B4-BE49-F238E27FC236}">
                <a16:creationId xmlns:a16="http://schemas.microsoft.com/office/drawing/2014/main" id="{46897945-EBF6-4EFB-914F-74900EABFB44}"/>
              </a:ext>
            </a:extLst>
          </p:cNvPr>
          <p:cNvSpPr/>
          <p:nvPr/>
        </p:nvSpPr>
        <p:spPr bwMode="auto">
          <a:xfrm>
            <a:off x="0" y="2020712"/>
            <a:ext cx="1164566" cy="3364827"/>
          </a:xfrm>
          <a:custGeom>
            <a:avLst/>
            <a:gdLst>
              <a:gd name="connsiteX0" fmla="*/ 0 w 1164566"/>
              <a:gd name="connsiteY0" fmla="*/ 0 h 3364827"/>
              <a:gd name="connsiteX1" fmla="*/ 65207 w 1164566"/>
              <a:gd name="connsiteY1" fmla="*/ 23866 h 3364827"/>
              <a:gd name="connsiteX2" fmla="*/ 1164566 w 1164566"/>
              <a:gd name="connsiteY2" fmla="*/ 1682413 h 3364827"/>
              <a:gd name="connsiteX3" fmla="*/ 65207 w 1164566"/>
              <a:gd name="connsiteY3" fmla="*/ 3340960 h 3364827"/>
              <a:gd name="connsiteX4" fmla="*/ 0 w 1164566"/>
              <a:gd name="connsiteY4" fmla="*/ 3364827 h 3364827"/>
              <a:gd name="connsiteX5" fmla="*/ 0 w 1164566"/>
              <a:gd name="connsiteY5" fmla="*/ 0 h 3364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4566" h="3364827">
                <a:moveTo>
                  <a:pt x="0" y="0"/>
                </a:moveTo>
                <a:lnTo>
                  <a:pt x="65207" y="23866"/>
                </a:lnTo>
                <a:cubicBezTo>
                  <a:pt x="711255" y="297121"/>
                  <a:pt x="1164566" y="936828"/>
                  <a:pt x="1164566" y="1682413"/>
                </a:cubicBezTo>
                <a:cubicBezTo>
                  <a:pt x="1164566" y="2427998"/>
                  <a:pt x="711255" y="3067706"/>
                  <a:pt x="65207" y="3340960"/>
                </a:cubicBezTo>
                <a:lnTo>
                  <a:pt x="0" y="3364827"/>
                </a:lnTo>
                <a:lnTo>
                  <a:pt x="0" y="0"/>
                </a:lnTo>
                <a:close/>
              </a:path>
            </a:pathLst>
          </a:cu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accent3"/>
              </a:buClr>
              <a:buSzPct val="77000"/>
            </a:pPr>
            <a:endParaRPr lang="en-GB" sz="1400" b="1" dirty="0">
              <a:solidFill>
                <a:srgbClr val="FFFFFF"/>
              </a:solidFill>
              <a:latin typeface="+mn-lt"/>
            </a:endParaRPr>
          </a:p>
        </p:txBody>
      </p:sp>
      <p:sp>
        <p:nvSpPr>
          <p:cNvPr id="9" name="Ellipse 8">
            <a:extLst>
              <a:ext uri="{FF2B5EF4-FFF2-40B4-BE49-F238E27FC236}">
                <a16:creationId xmlns:a16="http://schemas.microsoft.com/office/drawing/2014/main" id="{47656D9B-3E80-4FD2-A90A-F99C77294F7D}"/>
              </a:ext>
            </a:extLst>
          </p:cNvPr>
          <p:cNvSpPr/>
          <p:nvPr/>
        </p:nvSpPr>
        <p:spPr bwMode="auto">
          <a:xfrm>
            <a:off x="638798" y="1568314"/>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1</a:t>
            </a:r>
            <a:endParaRPr lang="en-GB" sz="2400" dirty="0">
              <a:solidFill>
                <a:schemeClr val="bg1"/>
              </a:solidFill>
              <a:latin typeface="+mn-lt"/>
            </a:endParaRPr>
          </a:p>
        </p:txBody>
      </p:sp>
      <p:sp>
        <p:nvSpPr>
          <p:cNvPr id="23" name="ZoneTexte 22">
            <a:extLst>
              <a:ext uri="{FF2B5EF4-FFF2-40B4-BE49-F238E27FC236}">
                <a16:creationId xmlns:a16="http://schemas.microsoft.com/office/drawing/2014/main" id="{23886F54-83CE-4FD2-BE78-D2AFDBD0241C}"/>
              </a:ext>
            </a:extLst>
          </p:cNvPr>
          <p:cNvSpPr txBox="1"/>
          <p:nvPr/>
        </p:nvSpPr>
        <p:spPr>
          <a:xfrm>
            <a:off x="1565596" y="1602525"/>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59" name="ZoneTexte 58">
            <a:extLst>
              <a:ext uri="{FF2B5EF4-FFF2-40B4-BE49-F238E27FC236}">
                <a16:creationId xmlns:a16="http://schemas.microsoft.com/office/drawing/2014/main" id="{C0C0B8CA-1A9A-448A-94E5-6D439B7B3CEB}"/>
              </a:ext>
            </a:extLst>
          </p:cNvPr>
          <p:cNvSpPr txBox="1"/>
          <p:nvPr/>
        </p:nvSpPr>
        <p:spPr>
          <a:xfrm>
            <a:off x="4561494" y="1496314"/>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er adipiscing elit. Maecenas porttitor congue massa. Fusce posuere, magna sed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er adipiscing elit. Maecenas porttitor congue</a:t>
            </a:r>
            <a:endParaRPr lang="en-GB" dirty="0">
              <a:latin typeface="+mn-lt"/>
            </a:endParaRPr>
          </a:p>
        </p:txBody>
      </p:sp>
      <p:sp>
        <p:nvSpPr>
          <p:cNvPr id="21" name="Ellipse 20">
            <a:extLst>
              <a:ext uri="{FF2B5EF4-FFF2-40B4-BE49-F238E27FC236}">
                <a16:creationId xmlns:a16="http://schemas.microsoft.com/office/drawing/2014/main" id="{FDB04630-7ECE-4970-8CE4-14076980D96A}"/>
              </a:ext>
            </a:extLst>
          </p:cNvPr>
          <p:cNvSpPr/>
          <p:nvPr/>
        </p:nvSpPr>
        <p:spPr bwMode="auto">
          <a:xfrm>
            <a:off x="1287277" y="3943304"/>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3</a:t>
            </a:r>
            <a:endParaRPr lang="en-GB" sz="2400" dirty="0">
              <a:solidFill>
                <a:schemeClr val="bg1"/>
              </a:solidFill>
              <a:latin typeface="+mn-lt"/>
            </a:endParaRPr>
          </a:p>
        </p:txBody>
      </p:sp>
      <p:sp>
        <p:nvSpPr>
          <p:cNvPr id="53" name="ZoneTexte 52">
            <a:extLst>
              <a:ext uri="{FF2B5EF4-FFF2-40B4-BE49-F238E27FC236}">
                <a16:creationId xmlns:a16="http://schemas.microsoft.com/office/drawing/2014/main" id="{EAEB6D53-AAE8-45E9-869C-5AD7856BE225}"/>
              </a:ext>
            </a:extLst>
          </p:cNvPr>
          <p:cNvSpPr txBox="1"/>
          <p:nvPr/>
        </p:nvSpPr>
        <p:spPr>
          <a:xfrm>
            <a:off x="2226038" y="3977515"/>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22" name="Ellipse 21">
            <a:extLst>
              <a:ext uri="{FF2B5EF4-FFF2-40B4-BE49-F238E27FC236}">
                <a16:creationId xmlns:a16="http://schemas.microsoft.com/office/drawing/2014/main" id="{D19B67C8-A688-4562-9E25-C39A1D67B7B2}"/>
              </a:ext>
            </a:extLst>
          </p:cNvPr>
          <p:cNvSpPr/>
          <p:nvPr/>
        </p:nvSpPr>
        <p:spPr bwMode="auto">
          <a:xfrm>
            <a:off x="740500" y="5130798"/>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4</a:t>
            </a:r>
            <a:endParaRPr lang="en-GB" sz="2400" dirty="0">
              <a:solidFill>
                <a:schemeClr val="bg1"/>
              </a:solidFill>
              <a:latin typeface="+mn-lt"/>
            </a:endParaRPr>
          </a:p>
        </p:txBody>
      </p:sp>
      <p:sp>
        <p:nvSpPr>
          <p:cNvPr id="54" name="ZoneTexte 53">
            <a:extLst>
              <a:ext uri="{FF2B5EF4-FFF2-40B4-BE49-F238E27FC236}">
                <a16:creationId xmlns:a16="http://schemas.microsoft.com/office/drawing/2014/main" id="{30042A59-5C35-40F7-83DF-FA8B1F0043B5}"/>
              </a:ext>
            </a:extLst>
          </p:cNvPr>
          <p:cNvSpPr txBox="1"/>
          <p:nvPr/>
        </p:nvSpPr>
        <p:spPr>
          <a:xfrm>
            <a:off x="1565596" y="5165009"/>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52" name="ZoneTexte 51">
            <a:extLst>
              <a:ext uri="{FF2B5EF4-FFF2-40B4-BE49-F238E27FC236}">
                <a16:creationId xmlns:a16="http://schemas.microsoft.com/office/drawing/2014/main" id="{3F36D4AC-62C7-46BB-AF3F-5DE03D2544A6}"/>
              </a:ext>
            </a:extLst>
          </p:cNvPr>
          <p:cNvSpPr txBox="1"/>
          <p:nvPr/>
        </p:nvSpPr>
        <p:spPr>
          <a:xfrm>
            <a:off x="2226038" y="2790020"/>
            <a:ext cx="2207613" cy="651579"/>
          </a:xfrm>
          <a:prstGeom prst="rect">
            <a:avLst/>
          </a:prstGeom>
          <a:noFill/>
        </p:spPr>
        <p:txBody>
          <a:bodyPr wrap="square" rtlCol="0" anchor="ctr">
            <a:noAutofit/>
          </a:bodyPr>
          <a:lstStyle/>
          <a:p>
            <a:pPr lvl="0" algn="l" eaLnBrk="1" fontAlgn="auto" hangingPunct="1">
              <a:spcBef>
                <a:spcPts val="400"/>
              </a:spcBef>
              <a:spcAft>
                <a:spcPts val="400"/>
              </a:spcAft>
              <a:buClrTx/>
              <a:defRPr/>
            </a:pPr>
            <a:r>
              <a:rPr lang="en-GB" sz="1600" dirty="0">
                <a:solidFill>
                  <a:schemeClr val="tx2"/>
                </a:solidFill>
                <a:latin typeface="+mn-lt"/>
              </a:rPr>
              <a:t>Lorem ipsum </a:t>
            </a:r>
            <a:r>
              <a:rPr lang="en-GB" sz="1600" dirty="0" err="1">
                <a:solidFill>
                  <a:schemeClr val="tx2"/>
                </a:solidFill>
                <a:latin typeface="+mn-lt"/>
              </a:rPr>
              <a:t>dolor</a:t>
            </a:r>
            <a:r>
              <a:rPr lang="en-GB" sz="1600" dirty="0">
                <a:solidFill>
                  <a:schemeClr val="tx2"/>
                </a:solidFill>
                <a:latin typeface="+mn-lt"/>
              </a:rPr>
              <a:t> sit </a:t>
            </a:r>
            <a:r>
              <a:rPr lang="en-GB" sz="1600" dirty="0" err="1">
                <a:solidFill>
                  <a:schemeClr val="tx2"/>
                </a:solidFill>
                <a:latin typeface="+mn-lt"/>
              </a:rPr>
              <a:t>amet</a:t>
            </a:r>
            <a:r>
              <a:rPr lang="en-GB" sz="1600" dirty="0">
                <a:solidFill>
                  <a:schemeClr val="tx2"/>
                </a:solidFill>
                <a:latin typeface="+mn-lt"/>
              </a:rPr>
              <a:t> </a:t>
            </a:r>
            <a:r>
              <a:rPr lang="en-GB" sz="1600" dirty="0" err="1">
                <a:solidFill>
                  <a:schemeClr val="tx2"/>
                </a:solidFill>
                <a:latin typeface="+mn-lt"/>
              </a:rPr>
              <a:t>consecte</a:t>
            </a:r>
            <a:endParaRPr lang="en-GB" sz="1600" dirty="0">
              <a:solidFill>
                <a:schemeClr val="tx2"/>
              </a:solidFill>
              <a:latin typeface="+mn-lt"/>
            </a:endParaRPr>
          </a:p>
        </p:txBody>
      </p:sp>
      <p:sp>
        <p:nvSpPr>
          <p:cNvPr id="20" name="Ellipse 19">
            <a:extLst>
              <a:ext uri="{FF2B5EF4-FFF2-40B4-BE49-F238E27FC236}">
                <a16:creationId xmlns:a16="http://schemas.microsoft.com/office/drawing/2014/main" id="{AD955BA1-6788-45D4-808B-AA7D8BD3D9E3}"/>
              </a:ext>
            </a:extLst>
          </p:cNvPr>
          <p:cNvSpPr/>
          <p:nvPr/>
        </p:nvSpPr>
        <p:spPr bwMode="auto">
          <a:xfrm>
            <a:off x="1267015" y="2755809"/>
            <a:ext cx="720000" cy="720000"/>
          </a:xfrm>
          <a:prstGeom prst="ellipse">
            <a:avLst/>
          </a:prstGeom>
          <a:solidFill>
            <a:schemeClr val="tx2"/>
          </a:solidFill>
          <a:ln w="381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2</a:t>
            </a:r>
            <a:endParaRPr lang="en-GB" sz="2400" dirty="0">
              <a:solidFill>
                <a:schemeClr val="bg1"/>
              </a:solidFill>
              <a:latin typeface="+mn-lt"/>
            </a:endParaRPr>
          </a:p>
        </p:txBody>
      </p:sp>
      <p:sp>
        <p:nvSpPr>
          <p:cNvPr id="19" name="ZoneTexte 18">
            <a:extLst>
              <a:ext uri="{FF2B5EF4-FFF2-40B4-BE49-F238E27FC236}">
                <a16:creationId xmlns:a16="http://schemas.microsoft.com/office/drawing/2014/main" id="{58C8732C-A5F3-479C-B3FB-173B2C02D102}"/>
              </a:ext>
            </a:extLst>
          </p:cNvPr>
          <p:cNvSpPr txBox="1"/>
          <p:nvPr/>
        </p:nvSpPr>
        <p:spPr>
          <a:xfrm>
            <a:off x="4561494" y="2639828"/>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
        <p:nvSpPr>
          <p:cNvPr id="24" name="ZoneTexte 23">
            <a:extLst>
              <a:ext uri="{FF2B5EF4-FFF2-40B4-BE49-F238E27FC236}">
                <a16:creationId xmlns:a16="http://schemas.microsoft.com/office/drawing/2014/main" id="{CD518F4F-9388-4585-9BB8-5A84CA170351}"/>
              </a:ext>
            </a:extLst>
          </p:cNvPr>
          <p:cNvSpPr txBox="1"/>
          <p:nvPr/>
        </p:nvSpPr>
        <p:spPr>
          <a:xfrm>
            <a:off x="4561494" y="3871304"/>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
        <p:nvSpPr>
          <p:cNvPr id="25" name="ZoneTexte 24">
            <a:extLst>
              <a:ext uri="{FF2B5EF4-FFF2-40B4-BE49-F238E27FC236}">
                <a16:creationId xmlns:a16="http://schemas.microsoft.com/office/drawing/2014/main" id="{1F8C2DF7-D2E1-4D72-B815-9016A2412463}"/>
              </a:ext>
            </a:extLst>
          </p:cNvPr>
          <p:cNvSpPr txBox="1"/>
          <p:nvPr/>
        </p:nvSpPr>
        <p:spPr>
          <a:xfrm>
            <a:off x="4561494" y="5058798"/>
            <a:ext cx="7242075" cy="864000"/>
          </a:xfrm>
          <a:prstGeom prst="rect">
            <a:avLst/>
          </a:prstGeom>
          <a:noFill/>
        </p:spPr>
        <p:txBody>
          <a:bodyPr wrap="square" rtlCol="0" anchor="ctr">
            <a:no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r>
              <a:rPr lang="en-GB" dirty="0">
                <a:latin typeface="+mn-lt"/>
              </a:rPr>
              <a:t> </a:t>
            </a:r>
            <a:r>
              <a:rPr lang="en-GB" dirty="0" err="1">
                <a:latin typeface="+mn-lt"/>
              </a:rPr>
              <a:t>massa</a:t>
            </a:r>
            <a:r>
              <a:rPr lang="en-GB" dirty="0">
                <a:latin typeface="+mn-lt"/>
              </a:rPr>
              <a:t>. </a:t>
            </a:r>
            <a:r>
              <a:rPr lang="en-GB" dirty="0" err="1">
                <a:latin typeface="+mn-lt"/>
              </a:rPr>
              <a:t>Fusce</a:t>
            </a:r>
            <a:r>
              <a:rPr lang="en-GB" dirty="0">
                <a:latin typeface="+mn-lt"/>
              </a:rPr>
              <a:t> </a:t>
            </a:r>
            <a:r>
              <a:rPr lang="en-GB" dirty="0" err="1">
                <a:latin typeface="+mn-lt"/>
              </a:rPr>
              <a:t>posuere</a:t>
            </a:r>
            <a:r>
              <a:rPr lang="en-GB" dirty="0">
                <a:latin typeface="+mn-lt"/>
              </a:rPr>
              <a:t>, magna </a:t>
            </a:r>
            <a:r>
              <a:rPr lang="en-GB" dirty="0" err="1">
                <a:latin typeface="+mn-lt"/>
              </a:rPr>
              <a:t>sed</a:t>
            </a:r>
            <a:r>
              <a:rPr lang="en-GB" dirty="0">
                <a:latin typeface="+mn-lt"/>
              </a:rPr>
              <a:t> pulvina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er</a:t>
            </a:r>
            <a:r>
              <a:rPr lang="en-GB" dirty="0">
                <a:latin typeface="+mn-lt"/>
              </a:rPr>
              <a:t> </a:t>
            </a:r>
            <a:r>
              <a:rPr lang="en-GB" dirty="0" err="1">
                <a:latin typeface="+mn-lt"/>
              </a:rPr>
              <a:t>adipiscing</a:t>
            </a:r>
            <a:r>
              <a:rPr lang="en-GB" dirty="0">
                <a:latin typeface="+mn-lt"/>
              </a:rPr>
              <a:t> </a:t>
            </a:r>
            <a:r>
              <a:rPr lang="en-GB" dirty="0" err="1">
                <a:latin typeface="+mn-lt"/>
              </a:rPr>
              <a:t>elit</a:t>
            </a:r>
            <a:r>
              <a:rPr lang="en-GB" dirty="0">
                <a:latin typeface="+mn-lt"/>
              </a:rPr>
              <a:t>. Maecenas </a:t>
            </a:r>
            <a:r>
              <a:rPr lang="en-GB" dirty="0" err="1">
                <a:latin typeface="+mn-lt"/>
              </a:rPr>
              <a:t>porttitor</a:t>
            </a:r>
            <a:r>
              <a:rPr lang="en-GB" dirty="0">
                <a:latin typeface="+mn-lt"/>
              </a:rPr>
              <a:t> </a:t>
            </a:r>
            <a:r>
              <a:rPr lang="en-GB" dirty="0" err="1">
                <a:latin typeface="+mn-lt"/>
              </a:rPr>
              <a:t>congue</a:t>
            </a:r>
            <a:endParaRPr lang="en-GB" dirty="0">
              <a:latin typeface="+mn-lt"/>
            </a:endParaRPr>
          </a:p>
        </p:txBody>
      </p:sp>
    </p:spTree>
    <p:extLst>
      <p:ext uri="{BB962C8B-B14F-4D97-AF65-F5344CB8AC3E}">
        <p14:creationId xmlns:p14="http://schemas.microsoft.com/office/powerpoint/2010/main" val="36818093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computer">
            <a:extLst>
              <a:ext uri="{FF2B5EF4-FFF2-40B4-BE49-F238E27FC236}">
                <a16:creationId xmlns:a16="http://schemas.microsoft.com/office/drawing/2014/main" id="{9C6D43E8-9DF1-4F26-BA42-AF2A10FD3B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8408" y="2023600"/>
            <a:ext cx="667984" cy="691841"/>
          </a:xfrm>
          <a:prstGeom prst="rect">
            <a:avLst/>
          </a:prstGeom>
        </p:spPr>
      </p:pic>
      <p:pic>
        <p:nvPicPr>
          <p:cNvPr id="10" name="virus">
            <a:extLst>
              <a:ext uri="{FF2B5EF4-FFF2-40B4-BE49-F238E27FC236}">
                <a16:creationId xmlns:a16="http://schemas.microsoft.com/office/drawing/2014/main" id="{1A884413-B918-4A7F-AEEB-0BA492A356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29027" y="1961652"/>
            <a:ext cx="739284" cy="768855"/>
          </a:xfrm>
          <a:prstGeom prst="rect">
            <a:avLst/>
          </a:prstGeom>
        </p:spPr>
      </p:pic>
      <p:graphicFrame>
        <p:nvGraphicFramePr>
          <p:cNvPr id="4" name="Objet 3" hidden="1">
            <a:extLst>
              <a:ext uri="{FF2B5EF4-FFF2-40B4-BE49-F238E27FC236}">
                <a16:creationId xmlns:a16="http://schemas.microsoft.com/office/drawing/2014/main" id="{DDC2DFA5-8D72-4E5A-902C-45C7B2EBAB8B}"/>
              </a:ext>
            </a:extLst>
          </p:cNvPr>
          <p:cNvGraphicFramePr>
            <a:graphicFrameLocks noChangeAspect="1"/>
          </p:cNvGraphicFramePr>
          <p:nvPr>
            <p:custDataLst>
              <p:tags r:id="rId3"/>
            </p:custDataLst>
            <p:extLst>
              <p:ext uri="{D42A27DB-BD31-4B8C-83A1-F6EECF244321}">
                <p14:modId xmlns:p14="http://schemas.microsoft.com/office/powerpoint/2010/main" val="2368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270" imgH="270" progId="TCLayout.ActiveDocument.1">
                  <p:embed/>
                </p:oleObj>
              </mc:Choice>
              <mc:Fallback>
                <p:oleObj name="Diapositive think-cell" r:id="rId11" imgW="270" imgH="270" progId="TCLayout.ActiveDocument.1">
                  <p:embed/>
                  <p:pic>
                    <p:nvPicPr>
                      <p:cNvPr id="4" name="Objet 3" hidden="1">
                        <a:extLst>
                          <a:ext uri="{FF2B5EF4-FFF2-40B4-BE49-F238E27FC236}">
                            <a16:creationId xmlns:a16="http://schemas.microsoft.com/office/drawing/2014/main" id="{DDC2DFA5-8D72-4E5A-902C-45C7B2EBAB8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57A7B4-9ADD-472C-98AC-4DAB61CB4BDB}"/>
              </a:ext>
            </a:extLst>
          </p:cNvPr>
          <p:cNvSpPr/>
          <p:nvPr>
            <p:custDataLst>
              <p:tags r:id="rId4"/>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5F7C5244-A412-4F77-AE50-88E2AE355ED8}"/>
              </a:ext>
            </a:extLst>
          </p:cNvPr>
          <p:cNvSpPr>
            <a:spLocks noGrp="1"/>
          </p:cNvSpPr>
          <p:nvPr>
            <p:ph type="title"/>
          </p:nvPr>
        </p:nvSpPr>
        <p:spPr/>
        <p:txBody>
          <a:bodyPr vert="horz"/>
          <a:lstStyle/>
          <a:p>
            <a:r>
              <a:rPr lang="en-GB"/>
              <a:t>Slide message – two topics with details</a:t>
            </a:r>
            <a:endParaRPr lang="en-GB" dirty="0"/>
          </a:p>
        </p:txBody>
      </p:sp>
      <p:sp>
        <p:nvSpPr>
          <p:cNvPr id="30" name="Rectangle 29"/>
          <p:cNvSpPr/>
          <p:nvPr/>
        </p:nvSpPr>
        <p:spPr bwMode="auto">
          <a:xfrm>
            <a:off x="2723978" y="3907360"/>
            <a:ext cx="3189864"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342900" marR="0" lvl="0" indent="-3429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liquam</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g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turpis</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342900" marR="0" lvl="0" indent="-3429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cs typeface="Arial" pitchFamily="34" charset="0"/>
              </a:rPr>
              <a:t>Lorem ipsum </a:t>
            </a:r>
            <a:r>
              <a:rPr kumimoji="0" lang="en-GB" b="0" i="0" u="none" strike="noStrike" kern="0" cap="none" spc="0" normalizeH="0" baseline="0" noProof="0" dirty="0" err="1">
                <a:ln>
                  <a:noFill/>
                </a:ln>
                <a:solidFill>
                  <a:schemeClr val="tx1"/>
                </a:solidFill>
                <a:effectLst/>
                <a:uLnTx/>
                <a:uFillTx/>
                <a:cs typeface="Arial" pitchFamily="34" charset="0"/>
              </a:rPr>
              <a:t>dolor</a:t>
            </a:r>
            <a:r>
              <a:rPr kumimoji="0" lang="en-GB" b="0" i="0" u="none" strike="noStrike" kern="0" cap="none" spc="0" normalizeH="0" baseline="0" noProof="0" dirty="0">
                <a:ln>
                  <a:noFill/>
                </a:ln>
                <a:solidFill>
                  <a:schemeClr val="tx1"/>
                </a:solidFill>
                <a:effectLst/>
                <a:uLnTx/>
                <a:uFillTx/>
                <a:cs typeface="Arial" pitchFamily="34" charset="0"/>
              </a:rPr>
              <a:t> sit </a:t>
            </a:r>
            <a:r>
              <a:rPr kumimoji="0" lang="en-GB" b="0" i="0" u="none" strike="noStrike" kern="0" cap="none" spc="0" normalizeH="0" baseline="0" noProof="0" dirty="0" err="1">
                <a:ln>
                  <a:noFill/>
                </a:ln>
                <a:solidFill>
                  <a:schemeClr val="tx1"/>
                </a:solidFill>
                <a:effectLst/>
                <a:uLnTx/>
                <a:uFillTx/>
                <a:cs typeface="Arial" pitchFamily="34" charset="0"/>
              </a:rPr>
              <a:t>am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consectetur</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dipiscing</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li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liquam</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g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scelerisque</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turpis</a:t>
            </a:r>
            <a:endParaRPr lang="en-GB" kern="0" dirty="0">
              <a:solidFill>
                <a:schemeClr val="tx1"/>
              </a:solidFill>
              <a:cs typeface="Arial" pitchFamily="34" charset="0"/>
            </a:endParaRPr>
          </a:p>
        </p:txBody>
      </p:sp>
      <p:sp>
        <p:nvSpPr>
          <p:cNvPr id="46" name="Oval 45"/>
          <p:cNvSpPr>
            <a:spLocks noChangeAspect="1"/>
          </p:cNvSpPr>
          <p:nvPr/>
        </p:nvSpPr>
        <p:spPr>
          <a:xfrm>
            <a:off x="3582585" y="1633195"/>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29" name="Rectangle 28">
            <a:extLst>
              <a:ext uri="{FF2B5EF4-FFF2-40B4-BE49-F238E27FC236}">
                <a16:creationId xmlns:a16="http://schemas.microsoft.com/office/drawing/2014/main" id="{0B9FC877-5F90-4BDD-8837-768EF9DE96E4}"/>
              </a:ext>
            </a:extLst>
          </p:cNvPr>
          <p:cNvSpPr/>
          <p:nvPr/>
        </p:nvSpPr>
        <p:spPr bwMode="auto">
          <a:xfrm>
            <a:off x="2723978" y="3582375"/>
            <a:ext cx="3189864"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a:ln>
                  <a:noFill/>
                </a:ln>
                <a:solidFill>
                  <a:schemeClr val="tx2"/>
                </a:solidFill>
                <a:effectLst/>
                <a:uLnTx/>
                <a:uFillTx/>
                <a:ea typeface="+mn-ea"/>
                <a:cs typeface="Arial" pitchFamily="34" charset="0"/>
              </a:rPr>
              <a:t>Lorem ipsum</a:t>
            </a:r>
            <a:endParaRPr kumimoji="0" lang="en-GB" sz="1600" b="1" i="0" u="none" strike="noStrike" kern="0" cap="none" spc="0" normalizeH="0" baseline="0" noProof="0" dirty="0">
              <a:ln>
                <a:noFill/>
              </a:ln>
              <a:solidFill>
                <a:schemeClr val="tx2"/>
              </a:solidFill>
              <a:effectLst/>
              <a:uLnTx/>
              <a:uFillTx/>
              <a:ea typeface="+mn-ea"/>
              <a:cs typeface="Arial" pitchFamily="34" charset="0"/>
            </a:endParaRPr>
          </a:p>
        </p:txBody>
      </p:sp>
      <p:sp>
        <p:nvSpPr>
          <p:cNvPr id="48" name="Oval 47"/>
          <p:cNvSpPr>
            <a:spLocks noChangeAspect="1"/>
          </p:cNvSpPr>
          <p:nvPr/>
        </p:nvSpPr>
        <p:spPr>
          <a:xfrm>
            <a:off x="7162344" y="1633195"/>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800" kern="0" dirty="0">
              <a:solidFill>
                <a:srgbClr val="000000"/>
              </a:solidFill>
            </a:endParaRPr>
          </a:p>
        </p:txBody>
      </p:sp>
      <p:sp>
        <p:nvSpPr>
          <p:cNvPr id="52" name="Rectangle 51"/>
          <p:cNvSpPr/>
          <p:nvPr/>
        </p:nvSpPr>
        <p:spPr bwMode="auto">
          <a:xfrm>
            <a:off x="6303737" y="3907360"/>
            <a:ext cx="3189864"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342900" marR="0" indent="-34290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a:p>
            <a:pPr marL="342900" marR="0" indent="-34290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p:txBody>
      </p:sp>
      <p:sp>
        <p:nvSpPr>
          <p:cNvPr id="31" name="Rectangle 30">
            <a:extLst>
              <a:ext uri="{FF2B5EF4-FFF2-40B4-BE49-F238E27FC236}">
                <a16:creationId xmlns:a16="http://schemas.microsoft.com/office/drawing/2014/main" id="{D1E36646-4040-4301-AA71-824D98E77D68}"/>
              </a:ext>
            </a:extLst>
          </p:cNvPr>
          <p:cNvSpPr/>
          <p:nvPr/>
        </p:nvSpPr>
        <p:spPr bwMode="auto">
          <a:xfrm>
            <a:off x="6303737" y="3582374"/>
            <a:ext cx="3189864"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a:ln>
                  <a:noFill/>
                </a:ln>
                <a:solidFill>
                  <a:schemeClr val="tx2"/>
                </a:solidFill>
                <a:effectLst/>
                <a:uLnTx/>
                <a:uFillTx/>
                <a:ea typeface="+mn-ea"/>
                <a:cs typeface="Arial" pitchFamily="34" charset="0"/>
              </a:rPr>
              <a:t>Lorem ipsum</a:t>
            </a:r>
            <a:endParaRPr kumimoji="0" lang="en-GB" sz="1600" b="1" i="0" u="none" strike="noStrike" kern="0" cap="none" spc="0" normalizeH="0" baseline="0" noProof="0" dirty="0">
              <a:ln>
                <a:noFill/>
              </a:ln>
              <a:solidFill>
                <a:schemeClr val="tx2"/>
              </a:solidFill>
              <a:effectLst/>
              <a:uLnTx/>
              <a:uFillTx/>
              <a:ea typeface="+mn-ea"/>
              <a:cs typeface="Arial" pitchFamily="34" charset="0"/>
            </a:endParaRPr>
          </a:p>
        </p:txBody>
      </p:sp>
    </p:spTree>
    <p:custDataLst>
      <p:tags r:id="rId2"/>
    </p:custDataLst>
    <p:extLst>
      <p:ext uri="{BB962C8B-B14F-4D97-AF65-F5344CB8AC3E}">
        <p14:creationId xmlns:p14="http://schemas.microsoft.com/office/powerpoint/2010/main" val="2027678394"/>
      </p:ext>
    </p:extLst>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mputer">
            <a:extLst>
              <a:ext uri="{FF2B5EF4-FFF2-40B4-BE49-F238E27FC236}">
                <a16:creationId xmlns:a16="http://schemas.microsoft.com/office/drawing/2014/main" id="{9B5BADE6-D59D-422C-8560-F32C563221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78759" y="2014891"/>
            <a:ext cx="667984" cy="691841"/>
          </a:xfrm>
          <a:prstGeom prst="rect">
            <a:avLst/>
          </a:prstGeom>
        </p:spPr>
      </p:pic>
      <p:pic>
        <p:nvPicPr>
          <p:cNvPr id="19" name="virus">
            <a:extLst>
              <a:ext uri="{FF2B5EF4-FFF2-40B4-BE49-F238E27FC236}">
                <a16:creationId xmlns:a16="http://schemas.microsoft.com/office/drawing/2014/main" id="{3B608873-9AB4-4AA6-BC29-2FD6C0B5C8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6357" y="1976385"/>
            <a:ext cx="739284" cy="768855"/>
          </a:xfrm>
          <a:prstGeom prst="rect">
            <a:avLst/>
          </a:prstGeom>
        </p:spPr>
      </p:pic>
      <p:pic>
        <p:nvPicPr>
          <p:cNvPr id="5" name="mobile_phone_signal">
            <a:extLst>
              <a:ext uri="{FF2B5EF4-FFF2-40B4-BE49-F238E27FC236}">
                <a16:creationId xmlns:a16="http://schemas.microsoft.com/office/drawing/2014/main" id="{EED327AE-7F21-402C-A44D-D2D8DE0799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81675" y="1844244"/>
            <a:ext cx="539029" cy="1033137"/>
          </a:xfrm>
          <a:prstGeom prst="rect">
            <a:avLst/>
          </a:prstGeom>
        </p:spPr>
      </p:pic>
      <p:graphicFrame>
        <p:nvGraphicFramePr>
          <p:cNvPr id="4" name="Objet 3" hidden="1">
            <a:extLst>
              <a:ext uri="{FF2B5EF4-FFF2-40B4-BE49-F238E27FC236}">
                <a16:creationId xmlns:a16="http://schemas.microsoft.com/office/drawing/2014/main" id="{DDC2DFA5-8D72-4E5A-902C-45C7B2EBAB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270" imgH="270" progId="TCLayout.ActiveDocument.1">
                  <p:embed/>
                </p:oleObj>
              </mc:Choice>
              <mc:Fallback>
                <p:oleObj name="Diapositive think-cell" r:id="rId12" imgW="270" imgH="270" progId="TCLayout.ActiveDocument.1">
                  <p:embed/>
                  <p:pic>
                    <p:nvPicPr>
                      <p:cNvPr id="4" name="Objet 3" hidden="1">
                        <a:extLst>
                          <a:ext uri="{FF2B5EF4-FFF2-40B4-BE49-F238E27FC236}">
                            <a16:creationId xmlns:a16="http://schemas.microsoft.com/office/drawing/2014/main" id="{DDC2DFA5-8D72-4E5A-902C-45C7B2EBAB8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57A7B4-9ADD-472C-98AC-4DAB61CB4BDB}"/>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5F7C5244-A412-4F77-AE50-88E2AE355ED8}"/>
              </a:ext>
            </a:extLst>
          </p:cNvPr>
          <p:cNvSpPr>
            <a:spLocks noGrp="1"/>
          </p:cNvSpPr>
          <p:nvPr>
            <p:ph type="title"/>
          </p:nvPr>
        </p:nvSpPr>
        <p:spPr/>
        <p:txBody>
          <a:bodyPr/>
          <a:lstStyle/>
          <a:p>
            <a:r>
              <a:rPr lang="en-GB"/>
              <a:t>Slide message – three topics with details</a:t>
            </a:r>
            <a:endParaRPr lang="en-GB" dirty="0"/>
          </a:p>
        </p:txBody>
      </p:sp>
      <p:sp>
        <p:nvSpPr>
          <p:cNvPr id="30" name="Rectangle 29"/>
          <p:cNvSpPr/>
          <p:nvPr/>
        </p:nvSpPr>
        <p:spPr bwMode="auto">
          <a:xfrm>
            <a:off x="975097" y="3898652"/>
            <a:ext cx="3189864"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liquam</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g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turpis</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liquam</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g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turpis</a:t>
            </a:r>
            <a:endParaRPr lang="en-GB" kern="0" dirty="0">
              <a:solidFill>
                <a:schemeClr val="tx1"/>
              </a:solidFill>
              <a:cs typeface="Arial" pitchFamily="34" charset="0"/>
            </a:endParaRPr>
          </a:p>
        </p:txBody>
      </p:sp>
      <p:sp>
        <p:nvSpPr>
          <p:cNvPr id="46" name="Oval 45"/>
          <p:cNvSpPr>
            <a:spLocks noChangeAspect="1"/>
          </p:cNvSpPr>
          <p:nvPr/>
        </p:nvSpPr>
        <p:spPr>
          <a:xfrm>
            <a:off x="1779916"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29" name="Rectangle 28">
            <a:extLst>
              <a:ext uri="{FF2B5EF4-FFF2-40B4-BE49-F238E27FC236}">
                <a16:creationId xmlns:a16="http://schemas.microsoft.com/office/drawing/2014/main" id="{0B9FC877-5F90-4BDD-8837-768EF9DE96E4}"/>
              </a:ext>
            </a:extLst>
          </p:cNvPr>
          <p:cNvSpPr/>
          <p:nvPr/>
        </p:nvSpPr>
        <p:spPr bwMode="auto">
          <a:xfrm>
            <a:off x="921309" y="3573667"/>
            <a:ext cx="3189864"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a:ln>
                  <a:noFill/>
                </a:ln>
                <a:solidFill>
                  <a:schemeClr val="tx2"/>
                </a:solidFill>
                <a:effectLst/>
                <a:uLnTx/>
                <a:uFillTx/>
                <a:ea typeface="+mn-ea"/>
                <a:cs typeface="Arial" pitchFamily="34" charset="0"/>
              </a:rPr>
              <a:t>Lorem ipsum</a:t>
            </a:r>
            <a:endParaRPr kumimoji="0" lang="en-GB" sz="1600" b="1" i="0" u="none" strike="noStrike" kern="0" cap="none" spc="0" normalizeH="0" baseline="0" noProof="0" dirty="0">
              <a:ln>
                <a:noFill/>
              </a:ln>
              <a:solidFill>
                <a:schemeClr val="tx2"/>
              </a:solidFill>
              <a:effectLst/>
              <a:uLnTx/>
              <a:uFillTx/>
              <a:ea typeface="+mn-ea"/>
              <a:cs typeface="Arial" pitchFamily="34" charset="0"/>
            </a:endParaRPr>
          </a:p>
        </p:txBody>
      </p:sp>
      <p:sp>
        <p:nvSpPr>
          <p:cNvPr id="54" name="Rectangle 53"/>
          <p:cNvSpPr/>
          <p:nvPr/>
        </p:nvSpPr>
        <p:spPr bwMode="auto">
          <a:xfrm>
            <a:off x="8056258" y="3898652"/>
            <a:ext cx="3189864"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85750" marR="0" indent="-28575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a:p>
            <a:pPr marL="285750" marR="0" indent="-28575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p:txBody>
      </p:sp>
      <p:sp>
        <p:nvSpPr>
          <p:cNvPr id="50" name="Oval 49"/>
          <p:cNvSpPr>
            <a:spLocks noChangeAspect="1"/>
          </p:cNvSpPr>
          <p:nvPr/>
        </p:nvSpPr>
        <p:spPr>
          <a:xfrm>
            <a:off x="8914865"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800" kern="0" dirty="0">
              <a:solidFill>
                <a:srgbClr val="000000"/>
              </a:solidFill>
            </a:endParaRPr>
          </a:p>
        </p:txBody>
      </p:sp>
      <p:sp>
        <p:nvSpPr>
          <p:cNvPr id="32" name="Rectangle 31">
            <a:extLst>
              <a:ext uri="{FF2B5EF4-FFF2-40B4-BE49-F238E27FC236}">
                <a16:creationId xmlns:a16="http://schemas.microsoft.com/office/drawing/2014/main" id="{057FECD4-D31B-4EB0-BDDA-E1E3E1F7AE75}"/>
              </a:ext>
            </a:extLst>
          </p:cNvPr>
          <p:cNvSpPr/>
          <p:nvPr/>
        </p:nvSpPr>
        <p:spPr bwMode="auto">
          <a:xfrm>
            <a:off x="8056258" y="3573666"/>
            <a:ext cx="3189864"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p:txBody>
      </p:sp>
      <p:sp>
        <p:nvSpPr>
          <p:cNvPr id="48" name="Oval 47"/>
          <p:cNvSpPr>
            <a:spLocks noChangeAspect="1"/>
          </p:cNvSpPr>
          <p:nvPr/>
        </p:nvSpPr>
        <p:spPr>
          <a:xfrm>
            <a:off x="5359675"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pPr>
            <a:endParaRPr lang="en-GB" sz="1800" kern="0" dirty="0">
              <a:solidFill>
                <a:srgbClr val="000000"/>
              </a:solidFill>
            </a:endParaRPr>
          </a:p>
        </p:txBody>
      </p:sp>
      <p:sp>
        <p:nvSpPr>
          <p:cNvPr id="52" name="Rectangle 51"/>
          <p:cNvSpPr/>
          <p:nvPr/>
        </p:nvSpPr>
        <p:spPr bwMode="auto">
          <a:xfrm>
            <a:off x="4554856" y="3898652"/>
            <a:ext cx="3189864"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85750" marR="0" indent="-28575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a:p>
            <a:pPr marL="285750" marR="0" indent="-285750" algn="l" defTabSz="914400" eaLnBrk="1" latinLnBrk="0" hangingPunct="1">
              <a:spcBef>
                <a:spcPts val="400"/>
              </a:spcBef>
              <a:spcAft>
                <a:spcPts val="1200"/>
              </a:spcAft>
              <a:buClr>
                <a:schemeClr val="tx2"/>
              </a:buClr>
              <a:buSzPct val="82000"/>
              <a:buFont typeface="Wingdings 3" panose="05040102010807070707" pitchFamily="18" charset="2"/>
              <a:buChar char=""/>
              <a:tabLst/>
              <a:defRPr/>
            </a:pPr>
            <a:r>
              <a:rPr lang="en-GB" kern="0" dirty="0">
                <a:solidFill>
                  <a:schemeClr val="tx1"/>
                </a:solidFill>
                <a:cs typeface="Arial" pitchFamily="34" charset="0"/>
              </a:rPr>
              <a:t>Lorem ipsum </a:t>
            </a:r>
            <a:r>
              <a:rPr lang="en-GB" kern="0" dirty="0" err="1">
                <a:solidFill>
                  <a:schemeClr val="tx1"/>
                </a:solidFill>
                <a:cs typeface="Arial" pitchFamily="34" charset="0"/>
              </a:rPr>
              <a:t>dolor</a:t>
            </a:r>
            <a:r>
              <a:rPr lang="en-GB" kern="0" dirty="0">
                <a:solidFill>
                  <a:schemeClr val="tx1"/>
                </a:solidFill>
                <a:cs typeface="Arial" pitchFamily="34" charset="0"/>
              </a:rPr>
              <a:t> sit </a:t>
            </a:r>
            <a:r>
              <a:rPr lang="en-GB" kern="0" dirty="0" err="1">
                <a:solidFill>
                  <a:schemeClr val="tx1"/>
                </a:solidFill>
                <a:cs typeface="Arial" pitchFamily="34" charset="0"/>
              </a:rPr>
              <a:t>amet</a:t>
            </a:r>
            <a:r>
              <a:rPr lang="en-GB" kern="0" dirty="0">
                <a:solidFill>
                  <a:schemeClr val="tx1"/>
                </a:solidFill>
                <a:cs typeface="Arial" pitchFamily="34" charset="0"/>
              </a:rPr>
              <a:t>, </a:t>
            </a:r>
            <a:r>
              <a:rPr lang="en-GB" kern="0" dirty="0" err="1">
                <a:solidFill>
                  <a:schemeClr val="tx1"/>
                </a:solidFill>
                <a:cs typeface="Arial" pitchFamily="34" charset="0"/>
              </a:rPr>
              <a:t>consectetur</a:t>
            </a:r>
            <a:r>
              <a:rPr lang="en-GB" kern="0" dirty="0">
                <a:solidFill>
                  <a:schemeClr val="tx1"/>
                </a:solidFill>
                <a:cs typeface="Arial" pitchFamily="34" charset="0"/>
              </a:rPr>
              <a:t> </a:t>
            </a:r>
            <a:r>
              <a:rPr lang="en-GB" kern="0" dirty="0" err="1">
                <a:solidFill>
                  <a:schemeClr val="tx1"/>
                </a:solidFill>
                <a:cs typeface="Arial" pitchFamily="34" charset="0"/>
              </a:rPr>
              <a:t>adipiscing</a:t>
            </a:r>
            <a:r>
              <a:rPr lang="en-GB" kern="0" dirty="0">
                <a:solidFill>
                  <a:schemeClr val="tx1"/>
                </a:solidFill>
                <a:cs typeface="Arial" pitchFamily="34" charset="0"/>
              </a:rPr>
              <a:t> </a:t>
            </a:r>
            <a:r>
              <a:rPr lang="en-GB" kern="0" dirty="0" err="1">
                <a:solidFill>
                  <a:schemeClr val="tx1"/>
                </a:solidFill>
                <a:cs typeface="Arial" pitchFamily="34" charset="0"/>
              </a:rPr>
              <a:t>elit</a:t>
            </a:r>
            <a:r>
              <a:rPr lang="en-GB" kern="0" dirty="0">
                <a:solidFill>
                  <a:schemeClr val="tx1"/>
                </a:solidFill>
                <a:cs typeface="Arial" pitchFamily="34" charset="0"/>
              </a:rPr>
              <a:t>. </a:t>
            </a:r>
            <a:r>
              <a:rPr lang="en-GB" kern="0" dirty="0" err="1">
                <a:solidFill>
                  <a:schemeClr val="tx1"/>
                </a:solidFill>
                <a:cs typeface="Arial" pitchFamily="34" charset="0"/>
              </a:rPr>
              <a:t>Aliquam</a:t>
            </a:r>
            <a:r>
              <a:rPr lang="en-GB" kern="0" dirty="0">
                <a:solidFill>
                  <a:schemeClr val="tx1"/>
                </a:solidFill>
                <a:cs typeface="Arial" pitchFamily="34" charset="0"/>
              </a:rPr>
              <a:t> </a:t>
            </a:r>
            <a:r>
              <a:rPr lang="en-GB" kern="0" dirty="0" err="1">
                <a:solidFill>
                  <a:schemeClr val="tx1"/>
                </a:solidFill>
                <a:cs typeface="Arial" pitchFamily="34" charset="0"/>
              </a:rPr>
              <a:t>eget</a:t>
            </a:r>
            <a:r>
              <a:rPr lang="en-GB" kern="0" dirty="0">
                <a:solidFill>
                  <a:schemeClr val="tx1"/>
                </a:solidFill>
                <a:cs typeface="Arial" pitchFamily="34" charset="0"/>
              </a:rPr>
              <a:t> </a:t>
            </a:r>
            <a:r>
              <a:rPr lang="en-GB" kern="0" dirty="0" err="1">
                <a:solidFill>
                  <a:schemeClr val="tx1"/>
                </a:solidFill>
                <a:cs typeface="Arial" pitchFamily="34" charset="0"/>
              </a:rPr>
              <a:t>scelerisque</a:t>
            </a:r>
            <a:r>
              <a:rPr lang="en-GB" kern="0" dirty="0">
                <a:solidFill>
                  <a:schemeClr val="tx1"/>
                </a:solidFill>
                <a:cs typeface="Arial" pitchFamily="34" charset="0"/>
              </a:rPr>
              <a:t> </a:t>
            </a:r>
            <a:r>
              <a:rPr lang="en-GB" kern="0" dirty="0" err="1">
                <a:solidFill>
                  <a:schemeClr val="tx1"/>
                </a:solidFill>
                <a:cs typeface="Arial" pitchFamily="34" charset="0"/>
              </a:rPr>
              <a:t>turpis</a:t>
            </a:r>
            <a:endParaRPr lang="en-GB" kern="0" dirty="0">
              <a:solidFill>
                <a:schemeClr val="tx1"/>
              </a:solidFill>
              <a:cs typeface="Arial" pitchFamily="34" charset="0"/>
            </a:endParaRPr>
          </a:p>
        </p:txBody>
      </p:sp>
      <p:sp>
        <p:nvSpPr>
          <p:cNvPr id="31" name="Rectangle 30">
            <a:extLst>
              <a:ext uri="{FF2B5EF4-FFF2-40B4-BE49-F238E27FC236}">
                <a16:creationId xmlns:a16="http://schemas.microsoft.com/office/drawing/2014/main" id="{D1E36646-4040-4301-AA71-824D98E77D68}"/>
              </a:ext>
            </a:extLst>
          </p:cNvPr>
          <p:cNvSpPr/>
          <p:nvPr/>
        </p:nvSpPr>
        <p:spPr bwMode="auto">
          <a:xfrm>
            <a:off x="4501068" y="3573666"/>
            <a:ext cx="3189864"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p:txBody>
      </p:sp>
    </p:spTree>
    <p:custDataLst>
      <p:tags r:id="rId1"/>
    </p:custDataLst>
    <p:extLst>
      <p:ext uri="{BB962C8B-B14F-4D97-AF65-F5344CB8AC3E}">
        <p14:creationId xmlns:p14="http://schemas.microsoft.com/office/powerpoint/2010/main" val="23878795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mputer">
            <a:extLst>
              <a:ext uri="{FF2B5EF4-FFF2-40B4-BE49-F238E27FC236}">
                <a16:creationId xmlns:a16="http://schemas.microsoft.com/office/drawing/2014/main" id="{AB0B22C0-18B0-4D02-8992-63717738B8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18649" y="2014891"/>
            <a:ext cx="667984" cy="691841"/>
          </a:xfrm>
          <a:prstGeom prst="rect">
            <a:avLst/>
          </a:prstGeom>
        </p:spPr>
      </p:pic>
      <p:pic>
        <p:nvPicPr>
          <p:cNvPr id="23" name="virus">
            <a:extLst>
              <a:ext uri="{FF2B5EF4-FFF2-40B4-BE49-F238E27FC236}">
                <a16:creationId xmlns:a16="http://schemas.microsoft.com/office/drawing/2014/main" id="{7A3395BE-ABF8-4190-846F-5F50E0E72C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69519" y="1976385"/>
            <a:ext cx="739284" cy="768855"/>
          </a:xfrm>
          <a:prstGeom prst="rect">
            <a:avLst/>
          </a:prstGeom>
        </p:spPr>
      </p:pic>
      <p:pic>
        <p:nvPicPr>
          <p:cNvPr id="24" name="mobile_phone_signal">
            <a:extLst>
              <a:ext uri="{FF2B5EF4-FFF2-40B4-BE49-F238E27FC236}">
                <a16:creationId xmlns:a16="http://schemas.microsoft.com/office/drawing/2014/main" id="{DC38FFB9-CC71-42B5-9817-475EBE827B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52677" y="1844244"/>
            <a:ext cx="539029" cy="1033137"/>
          </a:xfrm>
          <a:prstGeom prst="rect">
            <a:avLst/>
          </a:prstGeom>
        </p:spPr>
      </p:pic>
      <p:pic>
        <p:nvPicPr>
          <p:cNvPr id="5" name="conversation">
            <a:extLst>
              <a:ext uri="{FF2B5EF4-FFF2-40B4-BE49-F238E27FC236}">
                <a16:creationId xmlns:a16="http://schemas.microsoft.com/office/drawing/2014/main" id="{16C275EC-3227-480A-BBF8-2B7ED071054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41180" y="2017422"/>
            <a:ext cx="928081" cy="686780"/>
          </a:xfrm>
          <a:prstGeom prst="rect">
            <a:avLst/>
          </a:prstGeom>
        </p:spPr>
      </p:pic>
      <p:graphicFrame>
        <p:nvGraphicFramePr>
          <p:cNvPr id="4" name="Objet 3" hidden="1">
            <a:extLst>
              <a:ext uri="{FF2B5EF4-FFF2-40B4-BE49-F238E27FC236}">
                <a16:creationId xmlns:a16="http://schemas.microsoft.com/office/drawing/2014/main" id="{DDC2DFA5-8D72-4E5A-902C-45C7B2EBAB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270" imgH="270" progId="TCLayout.ActiveDocument.1">
                  <p:embed/>
                </p:oleObj>
              </mc:Choice>
              <mc:Fallback>
                <p:oleObj name="Diapositive think-cell" r:id="rId14" imgW="270" imgH="270" progId="TCLayout.ActiveDocument.1">
                  <p:embed/>
                  <p:pic>
                    <p:nvPicPr>
                      <p:cNvPr id="4" name="Objet 3" hidden="1">
                        <a:extLst>
                          <a:ext uri="{FF2B5EF4-FFF2-40B4-BE49-F238E27FC236}">
                            <a16:creationId xmlns:a16="http://schemas.microsoft.com/office/drawing/2014/main" id="{DDC2DFA5-8D72-4E5A-902C-45C7B2EBAB8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57A7B4-9ADD-472C-98AC-4DAB61CB4BDB}"/>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5F7C5244-A412-4F77-AE50-88E2AE355ED8}"/>
              </a:ext>
            </a:extLst>
          </p:cNvPr>
          <p:cNvSpPr>
            <a:spLocks noGrp="1"/>
          </p:cNvSpPr>
          <p:nvPr>
            <p:ph type="title"/>
          </p:nvPr>
        </p:nvSpPr>
        <p:spPr/>
        <p:txBody>
          <a:bodyPr/>
          <a:lstStyle/>
          <a:p>
            <a:r>
              <a:rPr lang="en-GB"/>
              <a:t>Slide message – four topics with details</a:t>
            </a:r>
            <a:endParaRPr lang="en-GB" dirty="0"/>
          </a:p>
        </p:txBody>
      </p:sp>
      <p:sp>
        <p:nvSpPr>
          <p:cNvPr id="30" name="Rectangle 29"/>
          <p:cNvSpPr/>
          <p:nvPr/>
        </p:nvSpPr>
        <p:spPr bwMode="auto">
          <a:xfrm>
            <a:off x="721151" y="3898652"/>
            <a:ext cx="2469961"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cs typeface="Arial" pitchFamily="34" charset="0"/>
              </a:rPr>
              <a:t>Lorem ipsum </a:t>
            </a:r>
            <a:r>
              <a:rPr kumimoji="0" lang="en-GB" b="0" i="0" u="none" strike="noStrike" kern="0" cap="none" spc="0" normalizeH="0" baseline="0" noProof="0" dirty="0" err="1">
                <a:ln>
                  <a:noFill/>
                </a:ln>
                <a:solidFill>
                  <a:schemeClr val="tx1"/>
                </a:solidFill>
                <a:effectLst/>
                <a:uLnTx/>
                <a:uFillTx/>
                <a:cs typeface="Arial" pitchFamily="34" charset="0"/>
              </a:rPr>
              <a:t>dolor</a:t>
            </a:r>
            <a:r>
              <a:rPr kumimoji="0" lang="en-GB" b="0" i="0" u="none" strike="noStrike" kern="0" cap="none" spc="0" normalizeH="0" baseline="0" noProof="0" dirty="0">
                <a:ln>
                  <a:noFill/>
                </a:ln>
                <a:solidFill>
                  <a:schemeClr val="tx1"/>
                </a:solidFill>
                <a:effectLst/>
                <a:uLnTx/>
                <a:uFillTx/>
                <a:cs typeface="Arial" pitchFamily="34" charset="0"/>
              </a:rPr>
              <a:t> sit </a:t>
            </a:r>
            <a:r>
              <a:rPr kumimoji="0" lang="en-GB" b="0" i="0" u="none" strike="noStrike" kern="0" cap="none" spc="0" normalizeH="0" baseline="0" noProof="0" dirty="0" err="1">
                <a:ln>
                  <a:noFill/>
                </a:ln>
                <a:solidFill>
                  <a:schemeClr val="tx1"/>
                </a:solidFill>
                <a:effectLst/>
                <a:uLnTx/>
                <a:uFillTx/>
                <a:cs typeface="Arial" pitchFamily="34" charset="0"/>
              </a:rPr>
              <a:t>am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consectetur</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dipiscing</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lit</a:t>
            </a:r>
            <a:r>
              <a:rPr kumimoji="0" lang="en-GB" b="0" i="0" u="none" strike="noStrike" kern="0" cap="none" spc="0" normalizeH="0" baseline="0" noProof="0" dirty="0">
                <a:ln>
                  <a:noFill/>
                </a:ln>
                <a:solidFill>
                  <a:schemeClr val="tx1"/>
                </a:solidFill>
                <a:effectLst/>
                <a:uLnTx/>
                <a:uFillTx/>
                <a:cs typeface="Arial" pitchFamily="34" charset="0"/>
              </a:rPr>
              <a:t>. </a:t>
            </a:r>
            <a:endParaRPr lang="en-GB" kern="0" dirty="0">
              <a:solidFill>
                <a:schemeClr val="tx1"/>
              </a:solidFill>
              <a:cs typeface="Arial" pitchFamily="34" charset="0"/>
            </a:endParaRPr>
          </a:p>
        </p:txBody>
      </p:sp>
      <p:sp>
        <p:nvSpPr>
          <p:cNvPr id="46" name="Oval 45"/>
          <p:cNvSpPr>
            <a:spLocks noChangeAspect="1"/>
          </p:cNvSpPr>
          <p:nvPr/>
        </p:nvSpPr>
        <p:spPr>
          <a:xfrm>
            <a:off x="1219806"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29" name="Rectangle 28">
            <a:extLst>
              <a:ext uri="{FF2B5EF4-FFF2-40B4-BE49-F238E27FC236}">
                <a16:creationId xmlns:a16="http://schemas.microsoft.com/office/drawing/2014/main" id="{0B9FC877-5F90-4BDD-8837-768EF9DE96E4}"/>
              </a:ext>
            </a:extLst>
          </p:cNvPr>
          <p:cNvSpPr/>
          <p:nvPr/>
        </p:nvSpPr>
        <p:spPr bwMode="auto">
          <a:xfrm>
            <a:off x="790503" y="3573667"/>
            <a:ext cx="2331257"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a:ln>
                  <a:noFill/>
                </a:ln>
                <a:solidFill>
                  <a:schemeClr val="tx2"/>
                </a:solidFill>
                <a:effectLst/>
                <a:uLnTx/>
                <a:uFillTx/>
                <a:ea typeface="+mn-ea"/>
                <a:cs typeface="Arial" pitchFamily="34" charset="0"/>
              </a:rPr>
              <a:t>Lorem ipsum</a:t>
            </a:r>
            <a:endParaRPr kumimoji="0" lang="en-GB" sz="1600" b="1" i="0" u="none" strike="noStrike" kern="0" cap="none" spc="0" normalizeH="0" baseline="0" noProof="0" dirty="0">
              <a:ln>
                <a:noFill/>
              </a:ln>
              <a:solidFill>
                <a:schemeClr val="tx2"/>
              </a:solidFill>
              <a:effectLst/>
              <a:uLnTx/>
              <a:uFillTx/>
              <a:ea typeface="+mn-ea"/>
              <a:cs typeface="Arial" pitchFamily="34" charset="0"/>
            </a:endParaRPr>
          </a:p>
        </p:txBody>
      </p:sp>
      <p:sp>
        <p:nvSpPr>
          <p:cNvPr id="58" name="Rectangle 57">
            <a:extLst>
              <a:ext uri="{FF2B5EF4-FFF2-40B4-BE49-F238E27FC236}">
                <a16:creationId xmlns:a16="http://schemas.microsoft.com/office/drawing/2014/main" id="{398DE880-5827-4040-BEB4-839D9EC3CD07}"/>
              </a:ext>
            </a:extLst>
          </p:cNvPr>
          <p:cNvSpPr/>
          <p:nvPr/>
        </p:nvSpPr>
        <p:spPr bwMode="auto">
          <a:xfrm>
            <a:off x="6287211" y="3898652"/>
            <a:ext cx="2469961"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285750" marR="0" lvl="0" indent="-28575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cs typeface="Arial" pitchFamily="34" charset="0"/>
              </a:rPr>
              <a:t>Lorem ipsum </a:t>
            </a:r>
            <a:r>
              <a:rPr kumimoji="0" lang="en-GB" b="0" i="0" u="none" strike="noStrike" kern="0" cap="none" spc="0" normalizeH="0" baseline="0" noProof="0" dirty="0" err="1">
                <a:ln>
                  <a:noFill/>
                </a:ln>
                <a:solidFill>
                  <a:schemeClr val="tx1"/>
                </a:solidFill>
                <a:effectLst/>
                <a:uLnTx/>
                <a:uFillTx/>
                <a:cs typeface="Arial" pitchFamily="34" charset="0"/>
              </a:rPr>
              <a:t>dolor</a:t>
            </a:r>
            <a:r>
              <a:rPr kumimoji="0" lang="en-GB" b="0" i="0" u="none" strike="noStrike" kern="0" cap="none" spc="0" normalizeH="0" baseline="0" noProof="0" dirty="0">
                <a:ln>
                  <a:noFill/>
                </a:ln>
                <a:solidFill>
                  <a:schemeClr val="tx1"/>
                </a:solidFill>
                <a:effectLst/>
                <a:uLnTx/>
                <a:uFillTx/>
                <a:cs typeface="Arial" pitchFamily="34" charset="0"/>
              </a:rPr>
              <a:t> sit </a:t>
            </a:r>
            <a:r>
              <a:rPr kumimoji="0" lang="en-GB" b="0" i="0" u="none" strike="noStrike" kern="0" cap="none" spc="0" normalizeH="0" baseline="0" noProof="0" dirty="0" err="1">
                <a:ln>
                  <a:noFill/>
                </a:ln>
                <a:solidFill>
                  <a:schemeClr val="tx1"/>
                </a:solidFill>
                <a:effectLst/>
                <a:uLnTx/>
                <a:uFillTx/>
                <a:cs typeface="Arial" pitchFamily="34" charset="0"/>
              </a:rPr>
              <a:t>am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consectetur</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dipiscing</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lit</a:t>
            </a:r>
            <a:r>
              <a:rPr kumimoji="0" lang="en-GB" b="0" i="0" u="none" strike="noStrike" kern="0" cap="none" spc="0" normalizeH="0" baseline="0" noProof="0" dirty="0">
                <a:ln>
                  <a:noFill/>
                </a:ln>
                <a:solidFill>
                  <a:schemeClr val="tx1"/>
                </a:solidFill>
                <a:effectLst/>
                <a:uLnTx/>
                <a:uFillTx/>
                <a:cs typeface="Arial" pitchFamily="34" charset="0"/>
              </a:rPr>
              <a:t>. </a:t>
            </a:r>
            <a:endParaRPr lang="en-GB" kern="0" dirty="0">
              <a:solidFill>
                <a:schemeClr val="tx1"/>
              </a:solidFill>
              <a:cs typeface="Arial" pitchFamily="34" charset="0"/>
            </a:endParaRPr>
          </a:p>
        </p:txBody>
      </p:sp>
      <p:sp>
        <p:nvSpPr>
          <p:cNvPr id="59" name="Oval 45">
            <a:extLst>
              <a:ext uri="{FF2B5EF4-FFF2-40B4-BE49-F238E27FC236}">
                <a16:creationId xmlns:a16="http://schemas.microsoft.com/office/drawing/2014/main" id="{E59CB2E9-3CCE-4F96-B4D2-186A494E7245}"/>
              </a:ext>
            </a:extLst>
          </p:cNvPr>
          <p:cNvSpPr>
            <a:spLocks noChangeAspect="1"/>
          </p:cNvSpPr>
          <p:nvPr/>
        </p:nvSpPr>
        <p:spPr>
          <a:xfrm>
            <a:off x="6785866"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D6E076FC-0261-46C7-8B42-46408D9AF29D}"/>
              </a:ext>
            </a:extLst>
          </p:cNvPr>
          <p:cNvSpPr/>
          <p:nvPr/>
        </p:nvSpPr>
        <p:spPr bwMode="auto">
          <a:xfrm>
            <a:off x="6356563" y="3573667"/>
            <a:ext cx="2331257"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a:ln>
                  <a:noFill/>
                </a:ln>
                <a:solidFill>
                  <a:schemeClr val="tx2"/>
                </a:solidFill>
                <a:effectLst/>
                <a:uLnTx/>
                <a:uFillTx/>
                <a:ea typeface="+mn-ea"/>
                <a:cs typeface="Arial" pitchFamily="34" charset="0"/>
              </a:rPr>
              <a:t>Lorem ipsum</a:t>
            </a:r>
            <a:endParaRPr kumimoji="0" lang="en-GB" sz="1600" b="1" i="0" u="none" strike="noStrike" kern="0" cap="none" spc="0" normalizeH="0" baseline="0" noProof="0" dirty="0">
              <a:ln>
                <a:noFill/>
              </a:ln>
              <a:solidFill>
                <a:schemeClr val="tx2"/>
              </a:solidFill>
              <a:effectLst/>
              <a:uLnTx/>
              <a:uFillTx/>
              <a:ea typeface="+mn-ea"/>
              <a:cs typeface="Arial" pitchFamily="34" charset="0"/>
            </a:endParaRPr>
          </a:p>
        </p:txBody>
      </p:sp>
      <p:sp>
        <p:nvSpPr>
          <p:cNvPr id="51" name="Rectangle 50">
            <a:extLst>
              <a:ext uri="{FF2B5EF4-FFF2-40B4-BE49-F238E27FC236}">
                <a16:creationId xmlns:a16="http://schemas.microsoft.com/office/drawing/2014/main" id="{45502641-6DAC-4B39-9CC3-07C117879CDC}"/>
              </a:ext>
            </a:extLst>
          </p:cNvPr>
          <p:cNvSpPr/>
          <p:nvPr/>
        </p:nvSpPr>
        <p:spPr bwMode="auto">
          <a:xfrm>
            <a:off x="3504181" y="3898652"/>
            <a:ext cx="2469961"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66700" marR="0" lvl="0" indent="-2667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266700" marR="0" lvl="0" indent="-2667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cs typeface="Arial" pitchFamily="34" charset="0"/>
              </a:rPr>
              <a:t>Lorem ipsum </a:t>
            </a:r>
            <a:r>
              <a:rPr kumimoji="0" lang="en-GB" b="0" i="0" u="none" strike="noStrike" kern="0" cap="none" spc="0" normalizeH="0" baseline="0" noProof="0" dirty="0" err="1">
                <a:ln>
                  <a:noFill/>
                </a:ln>
                <a:solidFill>
                  <a:schemeClr val="tx1"/>
                </a:solidFill>
                <a:effectLst/>
                <a:uLnTx/>
                <a:uFillTx/>
                <a:cs typeface="Arial" pitchFamily="34" charset="0"/>
              </a:rPr>
              <a:t>dolor</a:t>
            </a:r>
            <a:r>
              <a:rPr kumimoji="0" lang="en-GB" b="0" i="0" u="none" strike="noStrike" kern="0" cap="none" spc="0" normalizeH="0" baseline="0" noProof="0" dirty="0">
                <a:ln>
                  <a:noFill/>
                </a:ln>
                <a:solidFill>
                  <a:schemeClr val="tx1"/>
                </a:solidFill>
                <a:effectLst/>
                <a:uLnTx/>
                <a:uFillTx/>
                <a:cs typeface="Arial" pitchFamily="34" charset="0"/>
              </a:rPr>
              <a:t> sit </a:t>
            </a:r>
            <a:r>
              <a:rPr kumimoji="0" lang="en-GB" b="0" i="0" u="none" strike="noStrike" kern="0" cap="none" spc="0" normalizeH="0" baseline="0" noProof="0" dirty="0" err="1">
                <a:ln>
                  <a:noFill/>
                </a:ln>
                <a:solidFill>
                  <a:schemeClr val="tx1"/>
                </a:solidFill>
                <a:effectLst/>
                <a:uLnTx/>
                <a:uFillTx/>
                <a:cs typeface="Arial" pitchFamily="34" charset="0"/>
              </a:rPr>
              <a:t>am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consectetur</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dipiscing</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lit</a:t>
            </a:r>
            <a:r>
              <a:rPr kumimoji="0" lang="en-GB" b="0" i="0" u="none" strike="noStrike" kern="0" cap="none" spc="0" normalizeH="0" baseline="0" noProof="0" dirty="0">
                <a:ln>
                  <a:noFill/>
                </a:ln>
                <a:solidFill>
                  <a:schemeClr val="tx1"/>
                </a:solidFill>
                <a:effectLst/>
                <a:uLnTx/>
                <a:uFillTx/>
                <a:cs typeface="Arial" pitchFamily="34" charset="0"/>
              </a:rPr>
              <a:t>. </a:t>
            </a:r>
            <a:endParaRPr lang="en-GB" kern="0" dirty="0">
              <a:solidFill>
                <a:schemeClr val="tx1"/>
              </a:solidFill>
              <a:cs typeface="Arial" pitchFamily="34" charset="0"/>
            </a:endParaRPr>
          </a:p>
        </p:txBody>
      </p:sp>
      <p:sp>
        <p:nvSpPr>
          <p:cNvPr id="53" name="Oval 45">
            <a:extLst>
              <a:ext uri="{FF2B5EF4-FFF2-40B4-BE49-F238E27FC236}">
                <a16:creationId xmlns:a16="http://schemas.microsoft.com/office/drawing/2014/main" id="{289A6620-6B75-4AC6-9D29-6397B0E86752}"/>
              </a:ext>
            </a:extLst>
          </p:cNvPr>
          <p:cNvSpPr>
            <a:spLocks noChangeAspect="1"/>
          </p:cNvSpPr>
          <p:nvPr/>
        </p:nvSpPr>
        <p:spPr>
          <a:xfrm>
            <a:off x="4002836"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D2F2876D-92DD-4A04-9850-9E2D2E5067D1}"/>
              </a:ext>
            </a:extLst>
          </p:cNvPr>
          <p:cNvSpPr/>
          <p:nvPr/>
        </p:nvSpPr>
        <p:spPr bwMode="auto">
          <a:xfrm>
            <a:off x="3573533" y="3573667"/>
            <a:ext cx="2331257"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p:txBody>
      </p:sp>
      <p:sp>
        <p:nvSpPr>
          <p:cNvPr id="63" name="Rectangle 62">
            <a:extLst>
              <a:ext uri="{FF2B5EF4-FFF2-40B4-BE49-F238E27FC236}">
                <a16:creationId xmlns:a16="http://schemas.microsoft.com/office/drawing/2014/main" id="{2C0CEA18-7E8E-4A81-BB60-B29D7DBB395B}"/>
              </a:ext>
            </a:extLst>
          </p:cNvPr>
          <p:cNvSpPr/>
          <p:nvPr/>
        </p:nvSpPr>
        <p:spPr bwMode="auto">
          <a:xfrm>
            <a:off x="9070242" y="3898652"/>
            <a:ext cx="2469961" cy="1851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266700" marR="0" lvl="0" indent="-2667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ea typeface="+mn-ea"/>
                <a:cs typeface="Arial" pitchFamily="34" charset="0"/>
              </a:rPr>
              <a:t>Lorem ipsum </a:t>
            </a:r>
            <a:r>
              <a:rPr kumimoji="0" lang="en-GB" b="0" i="0" u="none" strike="noStrike" kern="0" cap="none" spc="0" normalizeH="0" baseline="0" noProof="0" dirty="0" err="1">
                <a:ln>
                  <a:noFill/>
                </a:ln>
                <a:solidFill>
                  <a:schemeClr val="tx1"/>
                </a:solidFill>
                <a:effectLst/>
                <a:uLnTx/>
                <a:uFillTx/>
                <a:ea typeface="+mn-ea"/>
                <a:cs typeface="Arial" pitchFamily="34" charset="0"/>
              </a:rPr>
              <a:t>dolor</a:t>
            </a:r>
            <a:r>
              <a:rPr kumimoji="0" lang="en-GB" b="0" i="0" u="none" strike="noStrike" kern="0" cap="none" spc="0" normalizeH="0" baseline="0" noProof="0" dirty="0">
                <a:ln>
                  <a:noFill/>
                </a:ln>
                <a:solidFill>
                  <a:schemeClr val="tx1"/>
                </a:solidFill>
                <a:effectLst/>
                <a:uLnTx/>
                <a:uFillTx/>
                <a:ea typeface="+mn-ea"/>
                <a:cs typeface="Arial" pitchFamily="34" charset="0"/>
              </a:rPr>
              <a:t> sit </a:t>
            </a:r>
            <a:r>
              <a:rPr kumimoji="0" lang="en-GB" b="0" i="0" u="none" strike="noStrike" kern="0" cap="none" spc="0" normalizeH="0" baseline="0" noProof="0" dirty="0" err="1">
                <a:ln>
                  <a:noFill/>
                </a:ln>
                <a:solidFill>
                  <a:schemeClr val="tx1"/>
                </a:solidFill>
                <a:effectLst/>
                <a:uLnTx/>
                <a:uFillTx/>
                <a:ea typeface="+mn-ea"/>
                <a:cs typeface="Arial" pitchFamily="34" charset="0"/>
              </a:rPr>
              <a:t>amet</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adipiscing</a:t>
            </a:r>
            <a:r>
              <a:rPr kumimoji="0" lang="en-GB" b="0" i="0" u="none" strike="noStrike" kern="0" cap="none" spc="0" normalizeH="0" baseline="0" noProof="0" dirty="0">
                <a:ln>
                  <a:noFill/>
                </a:ln>
                <a:solidFill>
                  <a:schemeClr val="tx1"/>
                </a:solidFill>
                <a:effectLst/>
                <a:uLnTx/>
                <a:uFillTx/>
                <a:ea typeface="+mn-ea"/>
                <a:cs typeface="Arial" pitchFamily="34" charset="0"/>
              </a:rPr>
              <a:t> </a:t>
            </a:r>
            <a:r>
              <a:rPr kumimoji="0" lang="en-GB" b="0" i="0" u="none" strike="noStrike" kern="0" cap="none" spc="0" normalizeH="0" baseline="0" noProof="0" dirty="0" err="1">
                <a:ln>
                  <a:noFill/>
                </a:ln>
                <a:solidFill>
                  <a:schemeClr val="tx1"/>
                </a:solidFill>
                <a:effectLst/>
                <a:uLnTx/>
                <a:uFillTx/>
                <a:ea typeface="+mn-ea"/>
                <a:cs typeface="Arial" pitchFamily="34" charset="0"/>
              </a:rPr>
              <a:t>elit</a:t>
            </a:r>
            <a:r>
              <a:rPr kumimoji="0" lang="en-GB" b="0" i="0" u="none" strike="noStrike" kern="0" cap="none" spc="0" normalizeH="0" baseline="0" noProof="0" dirty="0">
                <a:ln>
                  <a:noFill/>
                </a:ln>
                <a:solidFill>
                  <a:schemeClr val="tx1"/>
                </a:solidFill>
                <a:effectLst/>
                <a:uLnTx/>
                <a:uFillTx/>
                <a:ea typeface="+mn-ea"/>
                <a:cs typeface="Arial" pitchFamily="34" charset="0"/>
              </a:rPr>
              <a:t>. </a:t>
            </a:r>
          </a:p>
          <a:p>
            <a:pPr marL="266700" marR="0" lvl="0" indent="-266700" algn="l" defTabSz="914400" rtl="0" eaLnBrk="1" fontAlgn="base" latinLnBrk="0" hangingPunct="1">
              <a:lnSpc>
                <a:spcPct val="90000"/>
              </a:lnSpc>
              <a:spcBef>
                <a:spcPts val="400"/>
              </a:spcBef>
              <a:spcAft>
                <a:spcPts val="1200"/>
              </a:spcAft>
              <a:buClr>
                <a:schemeClr val="tx2"/>
              </a:buClr>
              <a:buSzPct val="82000"/>
              <a:buFont typeface="Wingdings 3" panose="05040102010807070707" pitchFamily="18" charset="2"/>
              <a:buChar char=""/>
              <a:tabLst/>
              <a:defRPr/>
            </a:pPr>
            <a:r>
              <a:rPr kumimoji="0" lang="en-GB" b="0" i="0" u="none" strike="noStrike" kern="0" cap="none" spc="0" normalizeH="0" baseline="0" noProof="0" dirty="0">
                <a:ln>
                  <a:noFill/>
                </a:ln>
                <a:solidFill>
                  <a:schemeClr val="tx1"/>
                </a:solidFill>
                <a:effectLst/>
                <a:uLnTx/>
                <a:uFillTx/>
                <a:cs typeface="Arial" pitchFamily="34" charset="0"/>
              </a:rPr>
              <a:t>Lorem ipsum </a:t>
            </a:r>
            <a:r>
              <a:rPr kumimoji="0" lang="en-GB" b="0" i="0" u="none" strike="noStrike" kern="0" cap="none" spc="0" normalizeH="0" baseline="0" noProof="0" dirty="0" err="1">
                <a:ln>
                  <a:noFill/>
                </a:ln>
                <a:solidFill>
                  <a:schemeClr val="tx1"/>
                </a:solidFill>
                <a:effectLst/>
                <a:uLnTx/>
                <a:uFillTx/>
                <a:cs typeface="Arial" pitchFamily="34" charset="0"/>
              </a:rPr>
              <a:t>dolor</a:t>
            </a:r>
            <a:r>
              <a:rPr kumimoji="0" lang="en-GB" b="0" i="0" u="none" strike="noStrike" kern="0" cap="none" spc="0" normalizeH="0" baseline="0" noProof="0" dirty="0">
                <a:ln>
                  <a:noFill/>
                </a:ln>
                <a:solidFill>
                  <a:schemeClr val="tx1"/>
                </a:solidFill>
                <a:effectLst/>
                <a:uLnTx/>
                <a:uFillTx/>
                <a:cs typeface="Arial" pitchFamily="34" charset="0"/>
              </a:rPr>
              <a:t> sit </a:t>
            </a:r>
            <a:r>
              <a:rPr kumimoji="0" lang="en-GB" b="0" i="0" u="none" strike="noStrike" kern="0" cap="none" spc="0" normalizeH="0" baseline="0" noProof="0" dirty="0" err="1">
                <a:ln>
                  <a:noFill/>
                </a:ln>
                <a:solidFill>
                  <a:schemeClr val="tx1"/>
                </a:solidFill>
                <a:effectLst/>
                <a:uLnTx/>
                <a:uFillTx/>
                <a:cs typeface="Arial" pitchFamily="34" charset="0"/>
              </a:rPr>
              <a:t>amet</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consectetur</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adipiscing</a:t>
            </a:r>
            <a:r>
              <a:rPr kumimoji="0" lang="en-GB" b="0" i="0" u="none" strike="noStrike" kern="0" cap="none" spc="0" normalizeH="0" baseline="0" noProof="0" dirty="0">
                <a:ln>
                  <a:noFill/>
                </a:ln>
                <a:solidFill>
                  <a:schemeClr val="tx1"/>
                </a:solidFill>
                <a:effectLst/>
                <a:uLnTx/>
                <a:uFillTx/>
                <a:cs typeface="Arial" pitchFamily="34" charset="0"/>
              </a:rPr>
              <a:t> </a:t>
            </a:r>
            <a:r>
              <a:rPr kumimoji="0" lang="en-GB" b="0" i="0" u="none" strike="noStrike" kern="0" cap="none" spc="0" normalizeH="0" baseline="0" noProof="0" dirty="0" err="1">
                <a:ln>
                  <a:noFill/>
                </a:ln>
                <a:solidFill>
                  <a:schemeClr val="tx1"/>
                </a:solidFill>
                <a:effectLst/>
                <a:uLnTx/>
                <a:uFillTx/>
                <a:cs typeface="Arial" pitchFamily="34" charset="0"/>
              </a:rPr>
              <a:t>elit</a:t>
            </a:r>
            <a:r>
              <a:rPr kumimoji="0" lang="en-GB" b="0" i="0" u="none" strike="noStrike" kern="0" cap="none" spc="0" normalizeH="0" baseline="0" noProof="0" dirty="0">
                <a:ln>
                  <a:noFill/>
                </a:ln>
                <a:solidFill>
                  <a:schemeClr val="tx1"/>
                </a:solidFill>
                <a:effectLst/>
                <a:uLnTx/>
                <a:uFillTx/>
                <a:cs typeface="Arial" pitchFamily="34" charset="0"/>
              </a:rPr>
              <a:t>. </a:t>
            </a:r>
            <a:endParaRPr lang="en-GB" kern="0" dirty="0">
              <a:solidFill>
                <a:schemeClr val="tx1"/>
              </a:solidFill>
              <a:cs typeface="Arial" pitchFamily="34" charset="0"/>
            </a:endParaRPr>
          </a:p>
        </p:txBody>
      </p:sp>
      <p:sp>
        <p:nvSpPr>
          <p:cNvPr id="64" name="Oval 45">
            <a:extLst>
              <a:ext uri="{FF2B5EF4-FFF2-40B4-BE49-F238E27FC236}">
                <a16:creationId xmlns:a16="http://schemas.microsoft.com/office/drawing/2014/main" id="{44531919-3AF3-4F33-8D90-97205A0A3388}"/>
              </a:ext>
            </a:extLst>
          </p:cNvPr>
          <p:cNvSpPr>
            <a:spLocks noChangeAspect="1"/>
          </p:cNvSpPr>
          <p:nvPr/>
        </p:nvSpPr>
        <p:spPr>
          <a:xfrm>
            <a:off x="9568897" y="1624487"/>
            <a:ext cx="1472650" cy="1472650"/>
          </a:xfrm>
          <a:prstGeom prst="ellipse">
            <a:avLst/>
          </a:prstGeom>
          <a:noFill/>
          <a:ln w="444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a typeface="+mn-ea"/>
              <a:cs typeface="+mn-cs"/>
            </a:endParaRPr>
          </a:p>
        </p:txBody>
      </p:sp>
      <p:sp>
        <p:nvSpPr>
          <p:cNvPr id="65" name="Rectangle 64">
            <a:extLst>
              <a:ext uri="{FF2B5EF4-FFF2-40B4-BE49-F238E27FC236}">
                <a16:creationId xmlns:a16="http://schemas.microsoft.com/office/drawing/2014/main" id="{33A63759-26B2-4344-94D8-3294CED4B2DB}"/>
              </a:ext>
            </a:extLst>
          </p:cNvPr>
          <p:cNvSpPr/>
          <p:nvPr/>
        </p:nvSpPr>
        <p:spPr bwMode="auto">
          <a:xfrm>
            <a:off x="9139594" y="3573667"/>
            <a:ext cx="2331257" cy="317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ctr"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p:txBody>
      </p:sp>
    </p:spTree>
    <p:custDataLst>
      <p:tags r:id="rId1"/>
    </p:custDataLst>
    <p:extLst>
      <p:ext uri="{BB962C8B-B14F-4D97-AF65-F5344CB8AC3E}">
        <p14:creationId xmlns:p14="http://schemas.microsoft.com/office/powerpoint/2010/main" val="6863189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0F16FB8-3D4C-404D-B125-24A49A074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C0F16FB8-3D4C-404D-B125-24A49A074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A49E186-090A-44F5-BDA4-517E4422B394}"/>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three key ideas with details</a:t>
            </a:r>
            <a:endParaRPr lang="en-GB" dirty="0"/>
          </a:p>
        </p:txBody>
      </p:sp>
      <p:sp>
        <p:nvSpPr>
          <p:cNvPr id="32" name="Oval 31"/>
          <p:cNvSpPr>
            <a:spLocks noChangeAspect="1"/>
          </p:cNvSpPr>
          <p:nvPr/>
        </p:nvSpPr>
        <p:spPr>
          <a:xfrm>
            <a:off x="901532" y="2217327"/>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1</a:t>
            </a:r>
            <a:endParaRPr kumimoji="0" lang="en-GB" sz="3600" b="0" i="0" u="none" strike="noStrike" kern="0" cap="none" spc="0" normalizeH="0" baseline="0" noProof="0" dirty="0">
              <a:ln>
                <a:noFill/>
              </a:ln>
              <a:solidFill>
                <a:schemeClr val="bg1"/>
              </a:solidFill>
              <a:effectLst/>
              <a:uLnTx/>
              <a:uFillTx/>
              <a:ea typeface="+mn-ea"/>
              <a:cs typeface="+mn-cs"/>
            </a:endParaRPr>
          </a:p>
        </p:txBody>
      </p:sp>
      <p:sp>
        <p:nvSpPr>
          <p:cNvPr id="33" name="Oval 32"/>
          <p:cNvSpPr>
            <a:spLocks noChangeAspect="1"/>
          </p:cNvSpPr>
          <p:nvPr/>
        </p:nvSpPr>
        <p:spPr>
          <a:xfrm>
            <a:off x="901532" y="4019260"/>
            <a:ext cx="1080000" cy="108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600" kern="0">
                <a:solidFill>
                  <a:schemeClr val="bg1"/>
                </a:solidFill>
              </a:rPr>
              <a:t>3</a:t>
            </a:r>
            <a:endParaRPr kumimoji="0" lang="en-GB" sz="3600" b="0" i="0" u="none" strike="noStrike" kern="0" cap="none" spc="0" normalizeH="0" baseline="0" noProof="0" dirty="0">
              <a:ln>
                <a:noFill/>
              </a:ln>
              <a:solidFill>
                <a:schemeClr val="bg1"/>
              </a:solidFill>
              <a:effectLst/>
              <a:uLnTx/>
              <a:uFillTx/>
            </a:endParaRPr>
          </a:p>
        </p:txBody>
      </p:sp>
      <p:sp>
        <p:nvSpPr>
          <p:cNvPr id="34" name="Oval 33"/>
          <p:cNvSpPr>
            <a:spLocks noChangeAspect="1"/>
          </p:cNvSpPr>
          <p:nvPr/>
        </p:nvSpPr>
        <p:spPr>
          <a:xfrm>
            <a:off x="6294969" y="2217327"/>
            <a:ext cx="1080000" cy="10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2</a:t>
            </a:r>
            <a:endParaRPr kumimoji="0" lang="en-GB" sz="3600" b="0" i="0" u="none" strike="noStrike" kern="0" cap="none" spc="0" normalizeH="0" baseline="0" noProof="0" dirty="0">
              <a:ln>
                <a:noFill/>
              </a:ln>
              <a:solidFill>
                <a:schemeClr val="bg1"/>
              </a:solidFill>
              <a:effectLst/>
              <a:uLnTx/>
              <a:uFillTx/>
              <a:ea typeface="+mn-ea"/>
              <a:cs typeface="+mn-cs"/>
            </a:endParaRPr>
          </a:p>
        </p:txBody>
      </p:sp>
      <p:sp>
        <p:nvSpPr>
          <p:cNvPr id="38" name="Rectangle 37"/>
          <p:cNvSpPr/>
          <p:nvPr/>
        </p:nvSpPr>
        <p:spPr bwMode="auto">
          <a:xfrm>
            <a:off x="2105422" y="2217328"/>
            <a:ext cx="3851631"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
        <p:nvSpPr>
          <p:cNvPr id="39" name="Rectangle 38"/>
          <p:cNvSpPr/>
          <p:nvPr/>
        </p:nvSpPr>
        <p:spPr bwMode="auto">
          <a:xfrm>
            <a:off x="2105422" y="4019262"/>
            <a:ext cx="3851631"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accent6"/>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
        <p:nvSpPr>
          <p:cNvPr id="40" name="Rectangle 39"/>
          <p:cNvSpPr/>
          <p:nvPr/>
        </p:nvSpPr>
        <p:spPr bwMode="auto">
          <a:xfrm>
            <a:off x="7588306" y="2217328"/>
            <a:ext cx="3851631" cy="1079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accent4"/>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Tree>
    <p:custDataLst>
      <p:tags r:id="rId1"/>
    </p:custDataLst>
    <p:extLst>
      <p:ext uri="{BB962C8B-B14F-4D97-AF65-F5344CB8AC3E}">
        <p14:creationId xmlns:p14="http://schemas.microsoft.com/office/powerpoint/2010/main" val="20588201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0F16FB8-3D4C-404D-B125-24A49A074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C0F16FB8-3D4C-404D-B125-24A49A074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A49E186-090A-44F5-BDA4-517E4422B394}"/>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four key ideas with details</a:t>
            </a:r>
            <a:endParaRPr lang="en-GB" dirty="0"/>
          </a:p>
        </p:txBody>
      </p:sp>
      <p:sp>
        <p:nvSpPr>
          <p:cNvPr id="32" name="Oval 31"/>
          <p:cNvSpPr>
            <a:spLocks noChangeAspect="1"/>
          </p:cNvSpPr>
          <p:nvPr/>
        </p:nvSpPr>
        <p:spPr>
          <a:xfrm>
            <a:off x="901532" y="2217327"/>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1</a:t>
            </a:r>
            <a:endParaRPr kumimoji="0" lang="en-GB" sz="3600" b="0" i="0" u="none" strike="noStrike" kern="0" cap="none" spc="0" normalizeH="0" baseline="0" noProof="0" dirty="0">
              <a:ln>
                <a:noFill/>
              </a:ln>
              <a:solidFill>
                <a:schemeClr val="bg1"/>
              </a:solidFill>
              <a:effectLst/>
              <a:uLnTx/>
              <a:uFillTx/>
              <a:ea typeface="+mn-ea"/>
              <a:cs typeface="+mn-cs"/>
            </a:endParaRPr>
          </a:p>
        </p:txBody>
      </p:sp>
      <p:sp>
        <p:nvSpPr>
          <p:cNvPr id="33" name="Oval 32"/>
          <p:cNvSpPr>
            <a:spLocks noChangeAspect="1"/>
          </p:cNvSpPr>
          <p:nvPr/>
        </p:nvSpPr>
        <p:spPr>
          <a:xfrm>
            <a:off x="901532" y="4019260"/>
            <a:ext cx="1080000" cy="108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600" kern="0">
                <a:solidFill>
                  <a:schemeClr val="bg1"/>
                </a:solidFill>
              </a:rPr>
              <a:t>3</a:t>
            </a:r>
            <a:endParaRPr kumimoji="0" lang="en-GB" sz="3600" b="0" i="0" u="none" strike="noStrike" kern="0" cap="none" spc="0" normalizeH="0" baseline="0" noProof="0" dirty="0">
              <a:ln>
                <a:noFill/>
              </a:ln>
              <a:solidFill>
                <a:schemeClr val="bg1"/>
              </a:solidFill>
              <a:effectLst/>
              <a:uLnTx/>
              <a:uFillTx/>
            </a:endParaRPr>
          </a:p>
        </p:txBody>
      </p:sp>
      <p:sp>
        <p:nvSpPr>
          <p:cNvPr id="34" name="Oval 33"/>
          <p:cNvSpPr>
            <a:spLocks noChangeAspect="1"/>
          </p:cNvSpPr>
          <p:nvPr/>
        </p:nvSpPr>
        <p:spPr>
          <a:xfrm>
            <a:off x="6294969" y="2217327"/>
            <a:ext cx="1080000" cy="10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600" kern="0">
                <a:solidFill>
                  <a:schemeClr val="bg1"/>
                </a:solidFill>
              </a:rPr>
              <a:t>2</a:t>
            </a:r>
            <a:endParaRPr kumimoji="0" lang="en-GB" sz="3600" b="0" i="0" u="none" strike="noStrike" kern="0" cap="none" spc="0" normalizeH="0" baseline="0" noProof="0" dirty="0">
              <a:ln>
                <a:noFill/>
              </a:ln>
              <a:solidFill>
                <a:schemeClr val="bg1"/>
              </a:solidFill>
              <a:effectLst/>
              <a:uLnTx/>
              <a:uFillTx/>
            </a:endParaRPr>
          </a:p>
        </p:txBody>
      </p:sp>
      <p:sp>
        <p:nvSpPr>
          <p:cNvPr id="37" name="Oval 36"/>
          <p:cNvSpPr>
            <a:spLocks noChangeAspect="1"/>
          </p:cNvSpPr>
          <p:nvPr/>
        </p:nvSpPr>
        <p:spPr>
          <a:xfrm>
            <a:off x="6294969" y="401926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4</a:t>
            </a:r>
            <a:endParaRPr kumimoji="0" lang="en-GB" sz="3600" b="0" i="0" u="none" strike="noStrike" kern="0" cap="none" spc="0" normalizeH="0" baseline="0" noProof="0" dirty="0">
              <a:ln>
                <a:noFill/>
              </a:ln>
              <a:solidFill>
                <a:schemeClr val="bg1"/>
              </a:solidFill>
              <a:effectLst/>
              <a:uLnTx/>
              <a:uFillTx/>
              <a:ea typeface="+mn-ea"/>
              <a:cs typeface="+mn-cs"/>
            </a:endParaRPr>
          </a:p>
        </p:txBody>
      </p:sp>
      <p:sp>
        <p:nvSpPr>
          <p:cNvPr id="41" name="Rectangle 40"/>
          <p:cNvSpPr/>
          <p:nvPr/>
        </p:nvSpPr>
        <p:spPr bwMode="auto">
          <a:xfrm>
            <a:off x="7588306" y="4019262"/>
            <a:ext cx="3851631" cy="107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accent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
        <p:nvSpPr>
          <p:cNvPr id="13" name="Rectangle 12">
            <a:extLst>
              <a:ext uri="{FF2B5EF4-FFF2-40B4-BE49-F238E27FC236}">
                <a16:creationId xmlns:a16="http://schemas.microsoft.com/office/drawing/2014/main" id="{EAB4B123-E577-481A-9B26-A99BE9AD7E11}"/>
              </a:ext>
            </a:extLst>
          </p:cNvPr>
          <p:cNvSpPr/>
          <p:nvPr/>
        </p:nvSpPr>
        <p:spPr bwMode="auto">
          <a:xfrm>
            <a:off x="2105422" y="2217328"/>
            <a:ext cx="3851631"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
        <p:nvSpPr>
          <p:cNvPr id="14" name="Rectangle 13">
            <a:extLst>
              <a:ext uri="{FF2B5EF4-FFF2-40B4-BE49-F238E27FC236}">
                <a16:creationId xmlns:a16="http://schemas.microsoft.com/office/drawing/2014/main" id="{04B7BED5-2834-4BEA-BA2B-1C7AD61719BB}"/>
              </a:ext>
            </a:extLst>
          </p:cNvPr>
          <p:cNvSpPr/>
          <p:nvPr/>
        </p:nvSpPr>
        <p:spPr bwMode="auto">
          <a:xfrm>
            <a:off x="2105422" y="4019262"/>
            <a:ext cx="3851631"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accent6"/>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
        <p:nvSpPr>
          <p:cNvPr id="15" name="Rectangle 14">
            <a:extLst>
              <a:ext uri="{FF2B5EF4-FFF2-40B4-BE49-F238E27FC236}">
                <a16:creationId xmlns:a16="http://schemas.microsoft.com/office/drawing/2014/main" id="{A0B9A8C5-9F93-4DA2-B7CF-C639E496B96C}"/>
              </a:ext>
            </a:extLst>
          </p:cNvPr>
          <p:cNvSpPr/>
          <p:nvPr/>
        </p:nvSpPr>
        <p:spPr bwMode="auto">
          <a:xfrm>
            <a:off x="7588306" y="2217328"/>
            <a:ext cx="3851631" cy="1079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b="1" i="0" u="none" strike="noStrike" kern="0" cap="none" spc="0" normalizeH="0" baseline="0" noProof="0" dirty="0">
                <a:ln>
                  <a:noFill/>
                </a:ln>
                <a:solidFill>
                  <a:schemeClr val="accent4"/>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sz="1600" i="0" u="none" strike="noStrike" kern="0" cap="none" spc="0" normalizeH="0" baseline="0" noProof="0" dirty="0">
                <a:ln>
                  <a:noFill/>
                </a:ln>
                <a:solidFill>
                  <a:schemeClr val="tx1"/>
                </a:solidFill>
                <a:effectLst/>
                <a:uLnTx/>
                <a:uFillTx/>
                <a:ea typeface="+mn-ea"/>
                <a:cs typeface="Arial" pitchFamily="34" charset="0"/>
              </a:rPr>
              <a:t>Lorem ipsum </a:t>
            </a:r>
            <a:r>
              <a:rPr kumimoji="0" lang="en-GB" sz="1600" i="0" u="none" strike="noStrike" kern="0" cap="none" spc="0" normalizeH="0" baseline="0" noProof="0" dirty="0" err="1">
                <a:ln>
                  <a:noFill/>
                </a:ln>
                <a:solidFill>
                  <a:schemeClr val="tx1"/>
                </a:solidFill>
                <a:effectLst/>
                <a:uLnTx/>
                <a:uFillTx/>
                <a:ea typeface="+mn-ea"/>
                <a:cs typeface="Arial" pitchFamily="34" charset="0"/>
              </a:rPr>
              <a:t>dolor</a:t>
            </a:r>
            <a:r>
              <a:rPr kumimoji="0" lang="en-GB" sz="1600" i="0" u="none" strike="noStrike" kern="0" cap="none" spc="0" normalizeH="0" baseline="0" noProof="0" dirty="0">
                <a:ln>
                  <a:noFill/>
                </a:ln>
                <a:solidFill>
                  <a:schemeClr val="tx1"/>
                </a:solidFill>
                <a:effectLst/>
                <a:uLnTx/>
                <a:uFillTx/>
                <a:ea typeface="+mn-ea"/>
                <a:cs typeface="Arial" pitchFamily="34" charset="0"/>
              </a:rPr>
              <a:t> sit </a:t>
            </a:r>
            <a:r>
              <a:rPr kumimoji="0" lang="en-GB" sz="1600" i="0" u="none" strike="noStrike" kern="0" cap="none" spc="0" normalizeH="0" baseline="0" noProof="0" dirty="0" err="1">
                <a:ln>
                  <a:noFill/>
                </a:ln>
                <a:solidFill>
                  <a:schemeClr val="tx1"/>
                </a:solidFill>
                <a:effectLst/>
                <a:uLnTx/>
                <a:uFillTx/>
                <a:ea typeface="+mn-ea"/>
                <a:cs typeface="Arial" pitchFamily="34" charset="0"/>
              </a:rPr>
              <a:t>am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consectetur</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dipiscing</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li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Aliquam</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eget</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scelerisque</a:t>
            </a:r>
            <a:r>
              <a:rPr kumimoji="0" lang="en-GB" sz="1600" i="0" u="none" strike="noStrike" kern="0" cap="none" spc="0" normalizeH="0" baseline="0" noProof="0" dirty="0">
                <a:ln>
                  <a:noFill/>
                </a:ln>
                <a:solidFill>
                  <a:schemeClr val="tx1"/>
                </a:solidFill>
                <a:effectLst/>
                <a:uLnTx/>
                <a:uFillTx/>
                <a:ea typeface="+mn-ea"/>
                <a:cs typeface="Arial" pitchFamily="34" charset="0"/>
              </a:rPr>
              <a:t> </a:t>
            </a:r>
            <a:r>
              <a:rPr kumimoji="0" lang="en-GB" sz="1600" i="0" u="none" strike="noStrike" kern="0" cap="none" spc="0" normalizeH="0" baseline="0" noProof="0" dirty="0" err="1">
                <a:ln>
                  <a:noFill/>
                </a:ln>
                <a:solidFill>
                  <a:schemeClr val="tx1"/>
                </a:solidFill>
                <a:effectLst/>
                <a:uLnTx/>
                <a:uFillTx/>
                <a:ea typeface="+mn-ea"/>
                <a:cs typeface="Arial" pitchFamily="34" charset="0"/>
              </a:rPr>
              <a:t>turpis</a:t>
            </a:r>
            <a:r>
              <a:rPr kumimoji="0" lang="en-GB" sz="1600" i="0" u="none" strike="noStrike" kern="0" cap="none" spc="0" normalizeH="0" baseline="0" noProof="0" dirty="0">
                <a:ln>
                  <a:noFill/>
                </a:ln>
                <a:solidFill>
                  <a:schemeClr val="tx1"/>
                </a:solidFill>
                <a:effectLst/>
                <a:uLnTx/>
                <a:uFillTx/>
                <a:ea typeface="+mn-ea"/>
                <a:cs typeface="Arial" pitchFamily="34" charset="0"/>
              </a:rPr>
              <a:t>. </a:t>
            </a:r>
          </a:p>
        </p:txBody>
      </p:sp>
    </p:spTree>
    <p:custDataLst>
      <p:tags r:id="rId1"/>
    </p:custDataLst>
    <p:extLst>
      <p:ext uri="{BB962C8B-B14F-4D97-AF65-F5344CB8AC3E}">
        <p14:creationId xmlns:p14="http://schemas.microsoft.com/office/powerpoint/2010/main" val="120771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862593E-908B-43ED-92E9-52617EAAC950}"/>
              </a:ext>
            </a:extLst>
          </p:cNvPr>
          <p:cNvSpPr/>
          <p:nvPr/>
        </p:nvSpPr>
        <p:spPr bwMode="auto">
          <a:xfrm>
            <a:off x="7780020" y="1272622"/>
            <a:ext cx="2597020" cy="4466348"/>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80000" marR="0" lvl="0" indent="-180000" algn="l" defTabSz="914400" rtl="0" eaLnBrk="0" fontAlgn="base" latinLnBrk="0" hangingPunct="0">
              <a:lnSpc>
                <a:spcPct val="100000"/>
              </a:lnSpc>
              <a:spcBef>
                <a:spcPct val="50000"/>
              </a:spcBef>
              <a:spcAft>
                <a:spcPts val="1200"/>
              </a:spcAft>
              <a:buClr>
                <a:prstClr val="white"/>
              </a:buClr>
              <a:buSzPct val="82000"/>
              <a:buFont typeface="Wingdings 3" panose="05040102010807070707" pitchFamily="18" charset="2"/>
              <a:buChar char=""/>
              <a:tabLst/>
              <a:defRPr/>
            </a:pPr>
            <a:r>
              <a:rPr kumimoji="0" lang="en-GB" b="0" i="0" u="none" strike="noStrike" kern="1200" cap="none" spc="0" normalizeH="0" baseline="0" noProof="0">
                <a:ln>
                  <a:noFill/>
                </a:ln>
                <a:solidFill>
                  <a:schemeClr val="bg1"/>
                </a:solidFill>
                <a:effectLst/>
                <a:uLnTx/>
                <a:uFillTx/>
                <a:latin typeface="+mn-lt"/>
                <a:ea typeface="+mn-ea"/>
                <a:cs typeface="+mn-cs"/>
              </a:rPr>
              <a:t>Text goes here</a:t>
            </a:r>
          </a:p>
          <a:p>
            <a:pPr marL="180000" marR="0" lvl="0" indent="-180000" algn="l" defTabSz="914400" rtl="0" eaLnBrk="0" fontAlgn="base" latinLnBrk="0" hangingPunct="0">
              <a:lnSpc>
                <a:spcPct val="100000"/>
              </a:lnSpc>
              <a:spcBef>
                <a:spcPct val="50000"/>
              </a:spcBef>
              <a:spcAft>
                <a:spcPts val="1200"/>
              </a:spcAft>
              <a:buClr>
                <a:prstClr val="white"/>
              </a:buClr>
              <a:buSzPct val="82000"/>
              <a:buFont typeface="Wingdings 3" panose="05040102010807070707" pitchFamily="18" charset="2"/>
              <a:buChar char=""/>
              <a:tabLst/>
              <a:defRPr/>
            </a:pPr>
            <a:r>
              <a:rPr kumimoji="0" lang="en-GB" b="0" i="0" u="none" strike="noStrike" kern="1200" cap="none" spc="0" normalizeH="0" baseline="0" noProof="0">
                <a:ln>
                  <a:noFill/>
                </a:ln>
                <a:solidFill>
                  <a:schemeClr val="bg1"/>
                </a:solidFill>
                <a:effectLst/>
                <a:uLnTx/>
                <a:uFillTx/>
                <a:latin typeface="+mn-lt"/>
                <a:ea typeface="+mn-ea"/>
                <a:cs typeface="+mn-cs"/>
              </a:rPr>
              <a:t>More text goes here</a:t>
            </a:r>
          </a:p>
          <a:p>
            <a:pPr marL="180000" marR="0" lvl="0" indent="-180000" algn="l" defTabSz="914400" rtl="0" eaLnBrk="0" fontAlgn="base" latinLnBrk="0" hangingPunct="0">
              <a:lnSpc>
                <a:spcPct val="100000"/>
              </a:lnSpc>
              <a:spcBef>
                <a:spcPct val="50000"/>
              </a:spcBef>
              <a:spcAft>
                <a:spcPts val="1200"/>
              </a:spcAft>
              <a:buClr>
                <a:prstClr val="white"/>
              </a:buClr>
              <a:buSzPct val="82000"/>
              <a:buFont typeface="Wingdings 3" panose="05040102010807070707" pitchFamily="18" charset="2"/>
              <a:buChar char=""/>
              <a:tabLst/>
              <a:defRPr/>
            </a:pPr>
            <a:r>
              <a:rPr kumimoji="0" lang="en-GB" b="0" i="0" u="none" strike="noStrike" kern="1200" cap="none" spc="0" normalizeH="0" baseline="0" noProof="0">
                <a:ln>
                  <a:noFill/>
                </a:ln>
                <a:solidFill>
                  <a:schemeClr val="bg1"/>
                </a:solidFill>
                <a:effectLst/>
                <a:uLnTx/>
                <a:uFillTx/>
                <a:latin typeface="+mn-lt"/>
                <a:ea typeface="+mn-ea"/>
                <a:cs typeface="+mn-cs"/>
              </a:rPr>
              <a:t>Even more text goes here</a:t>
            </a:r>
            <a:endParaRPr kumimoji="0" lang="en-GB" b="0" i="0" u="none" strike="noStrike" kern="1200" cap="none" spc="0" normalizeH="0" baseline="0" noProof="0" dirty="0">
              <a:ln>
                <a:noFill/>
              </a:ln>
              <a:solidFill>
                <a:schemeClr val="bg1"/>
              </a:solidFill>
              <a:effectLst/>
              <a:uLnTx/>
              <a:uFillTx/>
              <a:latin typeface="+mn-lt"/>
              <a:ea typeface="+mn-ea"/>
              <a:cs typeface="+mn-cs"/>
            </a:endParaRPr>
          </a:p>
        </p:txBody>
      </p:sp>
      <p:graphicFrame>
        <p:nvGraphicFramePr>
          <p:cNvPr id="15" name="Objet 14" hidden="1">
            <a:extLst>
              <a:ext uri="{FF2B5EF4-FFF2-40B4-BE49-F238E27FC236}">
                <a16:creationId xmlns:a16="http://schemas.microsoft.com/office/drawing/2014/main" id="{4AE8F213-8C29-482C-91BF-EAD27DA8F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15" name="Objet 14" hidden="1">
                        <a:extLst>
                          <a:ext uri="{FF2B5EF4-FFF2-40B4-BE49-F238E27FC236}">
                            <a16:creationId xmlns:a16="http://schemas.microsoft.com/office/drawing/2014/main" id="{4AE8F213-8C29-482C-91BF-EAD27DA8F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0B47DC-2C69-4462-BEBC-76697B00005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rgbClr val="C1B5B9"/>
              </a:buClr>
              <a:buSzPct val="77000"/>
              <a:defRPr/>
            </a:pPr>
            <a:endParaRPr kumimoji="0" lang="en-GB"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a:latin typeface="+mj-lt"/>
              </a:rPr>
              <a:t>One graph delivering 1 key message + hypothesis</a:t>
            </a:r>
            <a:endParaRPr lang="en-GB" dirty="0">
              <a:latin typeface="+mj-lt"/>
            </a:endParaRPr>
          </a:p>
        </p:txBody>
      </p:sp>
      <p:sp>
        <p:nvSpPr>
          <p:cNvPr id="5" name="ZoneTexte 4">
            <a:extLst>
              <a:ext uri="{FF2B5EF4-FFF2-40B4-BE49-F238E27FC236}">
                <a16:creationId xmlns:a16="http://schemas.microsoft.com/office/drawing/2014/main" id="{0B015022-6B88-4821-8606-1F3AB1248BD4}"/>
              </a:ext>
            </a:extLst>
          </p:cNvPr>
          <p:cNvSpPr txBox="1"/>
          <p:nvPr/>
        </p:nvSpPr>
        <p:spPr>
          <a:xfrm>
            <a:off x="1865761" y="1342550"/>
            <a:ext cx="5799802" cy="338554"/>
          </a:xfrm>
          <a:prstGeom prst="rect">
            <a:avLst/>
          </a:prstGeom>
          <a:noFill/>
        </p:spPr>
        <p:txBody>
          <a:bodyPr wrap="square" rtlCol="0">
            <a:spAutoFit/>
          </a:bodyPr>
          <a:lstStyle/>
          <a:p>
            <a:pPr marL="0" marR="0" lvl="0" indent="0" algn="l" defTabSz="742950" rtl="0" eaLnBrk="0" fontAlgn="base" latinLnBrk="0" hangingPunct="0">
              <a:lnSpc>
                <a:spcPct val="100000"/>
              </a:lnSpc>
              <a:spcBef>
                <a:spcPct val="50000"/>
              </a:spcBef>
              <a:spcAft>
                <a:spcPct val="0"/>
              </a:spcAft>
              <a:buClr>
                <a:srgbClr val="901237"/>
              </a:buClr>
              <a:buSzTx/>
              <a:buFont typeface="Wingdings" pitchFamily="2" charset="2"/>
              <a:buNone/>
              <a:tabLst/>
              <a:defRPr/>
            </a:pPr>
            <a:r>
              <a:rPr kumimoji="0" lang="en-GB"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itle</a:t>
            </a:r>
            <a:endPar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7" name="source">
            <a:extLst>
              <a:ext uri="{FF2B5EF4-FFF2-40B4-BE49-F238E27FC236}">
                <a16:creationId xmlns:a16="http://schemas.microsoft.com/office/drawing/2014/main" id="{2ED0E276-E9DE-4962-810A-0B266C67AF94}"/>
              </a:ext>
            </a:extLst>
          </p:cNvPr>
          <p:cNvSpPr txBox="1"/>
          <p:nvPr/>
        </p:nvSpPr>
        <p:spPr>
          <a:xfrm>
            <a:off x="1804800" y="6164916"/>
            <a:ext cx="7158503" cy="411480"/>
          </a:xfrm>
          <a:prstGeom prst="rect">
            <a:avLst/>
          </a:prstGeom>
          <a:noFill/>
        </p:spPr>
        <p:txBody>
          <a:bodyPr vert="horz" lIns="54000" tIns="46800" rIns="54000" bIns="46800" rtlCol="0" anchor="ctr">
            <a:noAutofit/>
          </a:bodyPr>
          <a:lstStyle/>
          <a:p>
            <a:pPr marL="0" marR="0" lvl="0" indent="0" algn="l" defTabSz="914400" rtl="0" eaLnBrk="0" fontAlgn="base" latinLnBrk="0" hangingPunct="0">
              <a:lnSpc>
                <a:spcPct val="100000"/>
              </a:lnSpc>
              <a:spcBef>
                <a:spcPct val="50000"/>
              </a:spcBef>
              <a:spcAft>
                <a:spcPct val="0"/>
              </a:spcAft>
              <a:buClr>
                <a:srgbClr val="901237"/>
              </a:buClr>
              <a:buSzTx/>
              <a:buFont typeface="Wingdings" pitchFamily="2" charset="2"/>
              <a:buNone/>
              <a:tabLst/>
              <a:defRPr/>
            </a:pPr>
            <a:r>
              <a:rPr kumimoji="0" lang="en-GB" sz="1000" b="0" i="1" u="none" strike="noStrike" kern="1200" cap="none" spc="0" normalizeH="0" baseline="0" noProof="0">
                <a:ln>
                  <a:noFill/>
                </a:ln>
                <a:solidFill>
                  <a:schemeClr val="bg1">
                    <a:lumMod val="65000"/>
                  </a:schemeClr>
                </a:solidFill>
                <a:effectLst/>
                <a:uLnTx/>
                <a:uFillTx/>
                <a:latin typeface="+mn-lt"/>
                <a:ea typeface="+mn-ea"/>
                <a:cs typeface="+mn-cs"/>
              </a:rPr>
              <a:t>Source: </a:t>
            </a:r>
            <a:endParaRPr kumimoji="0" lang="en-GB" sz="1000" b="0" i="1" u="none" strike="noStrike" kern="1200" cap="none" spc="0" normalizeH="0" baseline="0" noProof="0" dirty="0">
              <a:ln>
                <a:noFill/>
              </a:ln>
              <a:solidFill>
                <a:schemeClr val="bg1">
                  <a:lumMod val="65000"/>
                </a:schemeClr>
              </a:solidFill>
              <a:effectLst/>
              <a:uLnTx/>
              <a:uFillTx/>
              <a:latin typeface="+mn-lt"/>
              <a:ea typeface="+mn-ea"/>
              <a:cs typeface="+mn-cs"/>
            </a:endParaRPr>
          </a:p>
        </p:txBody>
      </p:sp>
      <p:graphicFrame>
        <p:nvGraphicFramePr>
          <p:cNvPr id="28" name="Graphique 27">
            <a:extLst>
              <a:ext uri="{FF2B5EF4-FFF2-40B4-BE49-F238E27FC236}">
                <a16:creationId xmlns:a16="http://schemas.microsoft.com/office/drawing/2014/main" id="{4C4A6236-87CC-4973-A427-A694A45A6281}"/>
              </a:ext>
            </a:extLst>
          </p:cNvPr>
          <p:cNvGraphicFramePr/>
          <p:nvPr/>
        </p:nvGraphicFramePr>
        <p:xfrm>
          <a:off x="1833463" y="1849482"/>
          <a:ext cx="5919222" cy="388948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37120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0F16FB8-3D4C-404D-B125-24A49A074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C0F16FB8-3D4C-404D-B125-24A49A074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A49E186-090A-44F5-BDA4-517E4422B394}"/>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five key ideas with details</a:t>
            </a:r>
            <a:endParaRPr lang="en-GB" dirty="0"/>
          </a:p>
        </p:txBody>
      </p:sp>
      <p:sp>
        <p:nvSpPr>
          <p:cNvPr id="32" name="Oval 31"/>
          <p:cNvSpPr>
            <a:spLocks noChangeAspect="1"/>
          </p:cNvSpPr>
          <p:nvPr/>
        </p:nvSpPr>
        <p:spPr>
          <a:xfrm>
            <a:off x="521504" y="2080399"/>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0" cap="none" spc="0" normalizeH="0" baseline="0" noProof="0">
                <a:ln>
                  <a:noFill/>
                </a:ln>
                <a:solidFill>
                  <a:srgbClr val="FFFFFF"/>
                </a:solidFill>
                <a:effectLst/>
                <a:uLnTx/>
                <a:uFillTx/>
                <a:ea typeface="+mn-ea"/>
                <a:cs typeface="+mn-cs"/>
              </a:rPr>
              <a:t>1</a:t>
            </a:r>
            <a:endParaRPr kumimoji="0" lang="en-GB" sz="2800" b="0" i="0" u="none" strike="noStrike" kern="0" cap="none" spc="0" normalizeH="0" baseline="0" noProof="0" dirty="0">
              <a:ln>
                <a:noFill/>
              </a:ln>
              <a:solidFill>
                <a:srgbClr val="FFFFFF"/>
              </a:solidFill>
              <a:effectLst/>
              <a:uLnTx/>
              <a:uFillTx/>
              <a:ea typeface="+mn-ea"/>
              <a:cs typeface="+mn-cs"/>
            </a:endParaRPr>
          </a:p>
        </p:txBody>
      </p:sp>
      <p:sp>
        <p:nvSpPr>
          <p:cNvPr id="33" name="Oval 32"/>
          <p:cNvSpPr>
            <a:spLocks noChangeAspect="1"/>
          </p:cNvSpPr>
          <p:nvPr/>
        </p:nvSpPr>
        <p:spPr>
          <a:xfrm>
            <a:off x="521504" y="3882332"/>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rgbClr val="FFFFFF"/>
                </a:solidFill>
              </a:rPr>
              <a:t>4</a:t>
            </a:r>
            <a:endParaRPr kumimoji="0" lang="en-GB" sz="2800" b="0" i="0" u="none" strike="noStrike" kern="0" cap="none" spc="0" normalizeH="0" baseline="0" noProof="0" dirty="0">
              <a:ln>
                <a:noFill/>
              </a:ln>
              <a:solidFill>
                <a:srgbClr val="FFFFFF"/>
              </a:solidFill>
              <a:effectLst/>
              <a:uLnTx/>
              <a:uFillTx/>
              <a:ea typeface="+mn-ea"/>
              <a:cs typeface="+mn-cs"/>
            </a:endParaRPr>
          </a:p>
        </p:txBody>
      </p:sp>
      <p:sp>
        <p:nvSpPr>
          <p:cNvPr id="38" name="Rectangle 37"/>
          <p:cNvSpPr/>
          <p:nvPr/>
        </p:nvSpPr>
        <p:spPr bwMode="auto">
          <a:xfrm>
            <a:off x="1420595" y="2080400"/>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39" name="Rectangle 38"/>
          <p:cNvSpPr/>
          <p:nvPr/>
        </p:nvSpPr>
        <p:spPr bwMode="auto">
          <a:xfrm>
            <a:off x="1420594" y="3882334"/>
            <a:ext cx="2504550"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21" name="Oval 31">
            <a:extLst>
              <a:ext uri="{FF2B5EF4-FFF2-40B4-BE49-F238E27FC236}">
                <a16:creationId xmlns:a16="http://schemas.microsoft.com/office/drawing/2014/main" id="{B2436A74-2AF9-4E8F-AB96-2A88370D6AFA}"/>
              </a:ext>
            </a:extLst>
          </p:cNvPr>
          <p:cNvSpPr>
            <a:spLocks noChangeAspect="1"/>
          </p:cNvSpPr>
          <p:nvPr/>
        </p:nvSpPr>
        <p:spPr>
          <a:xfrm>
            <a:off x="4324123" y="2080399"/>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rgbClr val="FFFFFF"/>
                </a:solidFill>
              </a:rPr>
              <a:t>2</a:t>
            </a:r>
            <a:endParaRPr kumimoji="0" lang="en-GB" sz="2800" b="0" i="0" u="none" strike="noStrike" kern="0" cap="none" spc="0" normalizeH="0" baseline="0" noProof="0" dirty="0">
              <a:ln>
                <a:noFill/>
              </a:ln>
              <a:solidFill>
                <a:srgbClr val="FFFFFF"/>
              </a:solidFill>
              <a:effectLst/>
              <a:uLnTx/>
              <a:uFillTx/>
              <a:ea typeface="+mn-ea"/>
              <a:cs typeface="+mn-cs"/>
            </a:endParaRPr>
          </a:p>
        </p:txBody>
      </p:sp>
      <p:sp>
        <p:nvSpPr>
          <p:cNvPr id="22" name="Oval 32">
            <a:extLst>
              <a:ext uri="{FF2B5EF4-FFF2-40B4-BE49-F238E27FC236}">
                <a16:creationId xmlns:a16="http://schemas.microsoft.com/office/drawing/2014/main" id="{2C6D29ED-64AD-4A19-A98E-C6091FA5C2B0}"/>
              </a:ext>
            </a:extLst>
          </p:cNvPr>
          <p:cNvSpPr>
            <a:spLocks noChangeAspect="1"/>
          </p:cNvSpPr>
          <p:nvPr/>
        </p:nvSpPr>
        <p:spPr>
          <a:xfrm>
            <a:off x="4324123" y="3882332"/>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0" cap="none" spc="0" normalizeH="0" baseline="0" noProof="0">
                <a:ln>
                  <a:noFill/>
                </a:ln>
                <a:solidFill>
                  <a:srgbClr val="FFFFFF"/>
                </a:solidFill>
                <a:effectLst/>
                <a:uLnTx/>
                <a:uFillTx/>
                <a:ea typeface="+mn-ea"/>
                <a:cs typeface="+mn-cs"/>
              </a:rPr>
              <a:t>5</a:t>
            </a:r>
            <a:endParaRPr kumimoji="0" lang="en-GB" sz="2800" b="0" i="0" u="none" strike="noStrike" kern="0" cap="none" spc="0" normalizeH="0" baseline="0" noProof="0" dirty="0">
              <a:ln>
                <a:noFill/>
              </a:ln>
              <a:solidFill>
                <a:srgbClr val="FFFFFF"/>
              </a:solidFill>
              <a:effectLst/>
              <a:uLnTx/>
              <a:uFillTx/>
              <a:ea typeface="+mn-ea"/>
              <a:cs typeface="+mn-cs"/>
            </a:endParaRPr>
          </a:p>
        </p:txBody>
      </p:sp>
      <p:sp>
        <p:nvSpPr>
          <p:cNvPr id="23" name="Rectangle 22">
            <a:extLst>
              <a:ext uri="{FF2B5EF4-FFF2-40B4-BE49-F238E27FC236}">
                <a16:creationId xmlns:a16="http://schemas.microsoft.com/office/drawing/2014/main" id="{C910C068-80A7-4812-B11A-C77CB4D3ABE6}"/>
              </a:ext>
            </a:extLst>
          </p:cNvPr>
          <p:cNvSpPr/>
          <p:nvPr/>
        </p:nvSpPr>
        <p:spPr bwMode="auto">
          <a:xfrm>
            <a:off x="5223214" y="2080400"/>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24" name="Rectangle 23">
            <a:extLst>
              <a:ext uri="{FF2B5EF4-FFF2-40B4-BE49-F238E27FC236}">
                <a16:creationId xmlns:a16="http://schemas.microsoft.com/office/drawing/2014/main" id="{6E3207E4-7EBD-436E-9052-01C59A2A4371}"/>
              </a:ext>
            </a:extLst>
          </p:cNvPr>
          <p:cNvSpPr/>
          <p:nvPr/>
        </p:nvSpPr>
        <p:spPr bwMode="auto">
          <a:xfrm>
            <a:off x="5223213" y="3882334"/>
            <a:ext cx="2504550"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25" name="Oval 31">
            <a:extLst>
              <a:ext uri="{FF2B5EF4-FFF2-40B4-BE49-F238E27FC236}">
                <a16:creationId xmlns:a16="http://schemas.microsoft.com/office/drawing/2014/main" id="{E95A5BF5-8A94-4318-AF31-43F28DDB698D}"/>
              </a:ext>
            </a:extLst>
          </p:cNvPr>
          <p:cNvSpPr>
            <a:spLocks noChangeAspect="1"/>
          </p:cNvSpPr>
          <p:nvPr/>
        </p:nvSpPr>
        <p:spPr>
          <a:xfrm>
            <a:off x="8266855" y="2080399"/>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rgbClr val="FFFFFF"/>
                </a:solidFill>
              </a:rPr>
              <a:t>3</a:t>
            </a:r>
            <a:endParaRPr kumimoji="0" lang="en-GB" sz="2800" b="0" i="0" u="none" strike="noStrike" kern="0" cap="none" spc="0" normalizeH="0" baseline="0" noProof="0" dirty="0">
              <a:ln>
                <a:noFill/>
              </a:ln>
              <a:solidFill>
                <a:srgbClr val="FFFFFF"/>
              </a:solidFill>
              <a:effectLst/>
              <a:uLnTx/>
              <a:uFillTx/>
              <a:ea typeface="+mn-ea"/>
              <a:cs typeface="+mn-cs"/>
            </a:endParaRPr>
          </a:p>
        </p:txBody>
      </p:sp>
      <p:sp>
        <p:nvSpPr>
          <p:cNvPr id="27" name="Rectangle 26">
            <a:extLst>
              <a:ext uri="{FF2B5EF4-FFF2-40B4-BE49-F238E27FC236}">
                <a16:creationId xmlns:a16="http://schemas.microsoft.com/office/drawing/2014/main" id="{9D7D7E46-B79F-40E3-9C28-7C419196968C}"/>
              </a:ext>
            </a:extLst>
          </p:cNvPr>
          <p:cNvSpPr/>
          <p:nvPr/>
        </p:nvSpPr>
        <p:spPr bwMode="auto">
          <a:xfrm>
            <a:off x="9165946" y="2080400"/>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Tree>
    <p:custDataLst>
      <p:tags r:id="rId1"/>
    </p:custDataLst>
    <p:extLst>
      <p:ext uri="{BB962C8B-B14F-4D97-AF65-F5344CB8AC3E}">
        <p14:creationId xmlns:p14="http://schemas.microsoft.com/office/powerpoint/2010/main" val="17465483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0F16FB8-3D4C-404D-B125-24A49A074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C0F16FB8-3D4C-404D-B125-24A49A074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A49E186-090A-44F5-BDA4-517E4422B394}"/>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six key ideas with details</a:t>
            </a:r>
            <a:endParaRPr lang="en-GB" dirty="0"/>
          </a:p>
        </p:txBody>
      </p:sp>
      <p:sp>
        <p:nvSpPr>
          <p:cNvPr id="32" name="Oval 31"/>
          <p:cNvSpPr>
            <a:spLocks noChangeAspect="1"/>
          </p:cNvSpPr>
          <p:nvPr/>
        </p:nvSpPr>
        <p:spPr>
          <a:xfrm>
            <a:off x="521504" y="1988035"/>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0" cap="none" spc="0" normalizeH="0" baseline="0" noProof="0">
                <a:ln>
                  <a:noFill/>
                </a:ln>
                <a:solidFill>
                  <a:schemeClr val="bg1"/>
                </a:solidFill>
                <a:effectLst/>
                <a:uLnTx/>
                <a:uFillTx/>
                <a:ea typeface="+mn-ea"/>
                <a:cs typeface="+mn-cs"/>
              </a:rPr>
              <a:t>1</a:t>
            </a:r>
            <a:endParaRPr kumimoji="0" lang="en-GB" sz="2800" b="0" i="0" u="none" strike="noStrike" kern="0" cap="none" spc="0" normalizeH="0" baseline="0" noProof="0" dirty="0">
              <a:ln>
                <a:noFill/>
              </a:ln>
              <a:solidFill>
                <a:schemeClr val="bg1"/>
              </a:solidFill>
              <a:effectLst/>
              <a:uLnTx/>
              <a:uFillTx/>
              <a:ea typeface="+mn-ea"/>
              <a:cs typeface="+mn-cs"/>
            </a:endParaRPr>
          </a:p>
        </p:txBody>
      </p:sp>
      <p:sp>
        <p:nvSpPr>
          <p:cNvPr id="33" name="Oval 32"/>
          <p:cNvSpPr>
            <a:spLocks noChangeAspect="1"/>
          </p:cNvSpPr>
          <p:nvPr/>
        </p:nvSpPr>
        <p:spPr>
          <a:xfrm>
            <a:off x="521504" y="3789968"/>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chemeClr val="bg1"/>
                </a:solidFill>
              </a:rPr>
              <a:t>4</a:t>
            </a:r>
            <a:endParaRPr kumimoji="0" lang="en-GB" sz="2800" b="0" i="0" u="none" strike="noStrike" kern="0" cap="none" spc="0" normalizeH="0" baseline="0" noProof="0" dirty="0">
              <a:ln>
                <a:noFill/>
              </a:ln>
              <a:solidFill>
                <a:schemeClr val="bg1"/>
              </a:solidFill>
              <a:effectLst/>
              <a:uLnTx/>
              <a:uFillTx/>
            </a:endParaRPr>
          </a:p>
        </p:txBody>
      </p:sp>
      <p:sp>
        <p:nvSpPr>
          <p:cNvPr id="21" name="Oval 31">
            <a:extLst>
              <a:ext uri="{FF2B5EF4-FFF2-40B4-BE49-F238E27FC236}">
                <a16:creationId xmlns:a16="http://schemas.microsoft.com/office/drawing/2014/main" id="{B2436A74-2AF9-4E8F-AB96-2A88370D6AFA}"/>
              </a:ext>
            </a:extLst>
          </p:cNvPr>
          <p:cNvSpPr>
            <a:spLocks noChangeAspect="1"/>
          </p:cNvSpPr>
          <p:nvPr/>
        </p:nvSpPr>
        <p:spPr>
          <a:xfrm>
            <a:off x="4324123" y="1988035"/>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chemeClr val="bg1"/>
                </a:solidFill>
              </a:rPr>
              <a:t>2</a:t>
            </a:r>
            <a:endParaRPr kumimoji="0" lang="en-GB" sz="2800" b="0" i="0" u="none" strike="noStrike" kern="0" cap="none" spc="0" normalizeH="0" baseline="0" noProof="0" dirty="0">
              <a:ln>
                <a:noFill/>
              </a:ln>
              <a:solidFill>
                <a:schemeClr val="bg1"/>
              </a:solidFill>
              <a:effectLst/>
              <a:uLnTx/>
              <a:uFillTx/>
            </a:endParaRPr>
          </a:p>
        </p:txBody>
      </p:sp>
      <p:sp>
        <p:nvSpPr>
          <p:cNvPr id="22" name="Oval 32">
            <a:extLst>
              <a:ext uri="{FF2B5EF4-FFF2-40B4-BE49-F238E27FC236}">
                <a16:creationId xmlns:a16="http://schemas.microsoft.com/office/drawing/2014/main" id="{2C6D29ED-64AD-4A19-A98E-C6091FA5C2B0}"/>
              </a:ext>
            </a:extLst>
          </p:cNvPr>
          <p:cNvSpPr>
            <a:spLocks noChangeAspect="1"/>
          </p:cNvSpPr>
          <p:nvPr/>
        </p:nvSpPr>
        <p:spPr>
          <a:xfrm>
            <a:off x="4324123" y="3789968"/>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0" cap="none" spc="0" normalizeH="0" baseline="0" noProof="0">
                <a:ln>
                  <a:noFill/>
                </a:ln>
                <a:solidFill>
                  <a:schemeClr val="bg1"/>
                </a:solidFill>
                <a:effectLst/>
                <a:uLnTx/>
                <a:uFillTx/>
                <a:ea typeface="+mn-ea"/>
                <a:cs typeface="+mn-cs"/>
              </a:rPr>
              <a:t>5</a:t>
            </a:r>
            <a:endParaRPr kumimoji="0" lang="en-GB" sz="2800" b="0" i="0" u="none" strike="noStrike" kern="0" cap="none" spc="0" normalizeH="0" baseline="0" noProof="0" dirty="0">
              <a:ln>
                <a:noFill/>
              </a:ln>
              <a:solidFill>
                <a:schemeClr val="bg1"/>
              </a:solidFill>
              <a:effectLst/>
              <a:uLnTx/>
              <a:uFillTx/>
              <a:ea typeface="+mn-ea"/>
              <a:cs typeface="+mn-cs"/>
            </a:endParaRPr>
          </a:p>
        </p:txBody>
      </p:sp>
      <p:sp>
        <p:nvSpPr>
          <p:cNvPr id="25" name="Oval 31">
            <a:extLst>
              <a:ext uri="{FF2B5EF4-FFF2-40B4-BE49-F238E27FC236}">
                <a16:creationId xmlns:a16="http://schemas.microsoft.com/office/drawing/2014/main" id="{E95A5BF5-8A94-4318-AF31-43F28DDB698D}"/>
              </a:ext>
            </a:extLst>
          </p:cNvPr>
          <p:cNvSpPr>
            <a:spLocks noChangeAspect="1"/>
          </p:cNvSpPr>
          <p:nvPr/>
        </p:nvSpPr>
        <p:spPr>
          <a:xfrm>
            <a:off x="8266855" y="1988035"/>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800" kern="0">
                <a:solidFill>
                  <a:schemeClr val="bg1"/>
                </a:solidFill>
              </a:rPr>
              <a:t>3</a:t>
            </a:r>
            <a:endParaRPr kumimoji="0" lang="en-GB" sz="2800" b="0" i="0" u="none" strike="noStrike" kern="0" cap="none" spc="0" normalizeH="0" baseline="0" noProof="0" dirty="0">
              <a:ln>
                <a:noFill/>
              </a:ln>
              <a:solidFill>
                <a:schemeClr val="bg1"/>
              </a:solidFill>
              <a:effectLst/>
              <a:uLnTx/>
              <a:uFillTx/>
            </a:endParaRPr>
          </a:p>
        </p:txBody>
      </p:sp>
      <p:sp>
        <p:nvSpPr>
          <p:cNvPr id="26" name="Oval 32">
            <a:extLst>
              <a:ext uri="{FF2B5EF4-FFF2-40B4-BE49-F238E27FC236}">
                <a16:creationId xmlns:a16="http://schemas.microsoft.com/office/drawing/2014/main" id="{CFF19197-AB70-4B5C-BBEE-BEE4532BB2E7}"/>
              </a:ext>
            </a:extLst>
          </p:cNvPr>
          <p:cNvSpPr>
            <a:spLocks noChangeAspect="1"/>
          </p:cNvSpPr>
          <p:nvPr/>
        </p:nvSpPr>
        <p:spPr>
          <a:xfrm>
            <a:off x="8266855" y="3789968"/>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0" cap="none" spc="0" normalizeH="0" baseline="0" noProof="0">
                <a:ln>
                  <a:noFill/>
                </a:ln>
                <a:solidFill>
                  <a:schemeClr val="bg1"/>
                </a:solidFill>
                <a:effectLst/>
                <a:uLnTx/>
                <a:uFillTx/>
                <a:ea typeface="+mn-ea"/>
                <a:cs typeface="+mn-cs"/>
              </a:rPr>
              <a:t>6</a:t>
            </a:r>
            <a:endParaRPr kumimoji="0" lang="en-GB" sz="2800" b="0" i="0" u="none" strike="noStrike" kern="0" cap="none" spc="0" normalizeH="0" baseline="0" noProof="0" dirty="0">
              <a:ln>
                <a:noFill/>
              </a:ln>
              <a:solidFill>
                <a:schemeClr val="bg1"/>
              </a:solidFill>
              <a:effectLst/>
              <a:uLnTx/>
              <a:uFillTx/>
              <a:ea typeface="+mn-ea"/>
              <a:cs typeface="+mn-cs"/>
            </a:endParaRPr>
          </a:p>
        </p:txBody>
      </p:sp>
      <p:sp>
        <p:nvSpPr>
          <p:cNvPr id="17" name="Rectangle 16">
            <a:extLst>
              <a:ext uri="{FF2B5EF4-FFF2-40B4-BE49-F238E27FC236}">
                <a16:creationId xmlns:a16="http://schemas.microsoft.com/office/drawing/2014/main" id="{0FE48590-1BE0-46F2-9511-8BCBBC0F8582}"/>
              </a:ext>
            </a:extLst>
          </p:cNvPr>
          <p:cNvSpPr/>
          <p:nvPr/>
        </p:nvSpPr>
        <p:spPr bwMode="auto">
          <a:xfrm>
            <a:off x="1420595" y="1988036"/>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a:ln>
                  <a:noFill/>
                </a:ln>
                <a:solidFill>
                  <a:schemeClr val="tx1"/>
                </a:solidFill>
                <a:effectLst/>
                <a:uLnTx/>
                <a:uFillTx/>
                <a:ea typeface="+mn-ea"/>
                <a:cs typeface="Arial" pitchFamily="34" charset="0"/>
              </a:rPr>
              <a:t>Lorem ipsum dolor sit amet, consectetur adipiscing elit. Aliquam eget scelerisque turpis. </a:t>
            </a:r>
            <a:endParaRPr kumimoji="0" lang="en-GB" i="0" u="none" strike="noStrike" kern="0" cap="none" spc="0" normalizeH="0" baseline="0" noProof="0" dirty="0">
              <a:ln>
                <a:noFill/>
              </a:ln>
              <a:solidFill>
                <a:schemeClr val="tx1"/>
              </a:solidFill>
              <a:effectLst/>
              <a:uLnTx/>
              <a:uFillTx/>
              <a:ea typeface="+mn-ea"/>
              <a:cs typeface="Arial" pitchFamily="34" charset="0"/>
            </a:endParaRPr>
          </a:p>
        </p:txBody>
      </p:sp>
      <p:sp>
        <p:nvSpPr>
          <p:cNvPr id="18" name="Rectangle 17">
            <a:extLst>
              <a:ext uri="{FF2B5EF4-FFF2-40B4-BE49-F238E27FC236}">
                <a16:creationId xmlns:a16="http://schemas.microsoft.com/office/drawing/2014/main" id="{372715DB-86F1-451B-86B4-5108BC3F9E85}"/>
              </a:ext>
            </a:extLst>
          </p:cNvPr>
          <p:cNvSpPr/>
          <p:nvPr/>
        </p:nvSpPr>
        <p:spPr bwMode="auto">
          <a:xfrm>
            <a:off x="1420594" y="3789970"/>
            <a:ext cx="2504550"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19" name="Rectangle 18">
            <a:extLst>
              <a:ext uri="{FF2B5EF4-FFF2-40B4-BE49-F238E27FC236}">
                <a16:creationId xmlns:a16="http://schemas.microsoft.com/office/drawing/2014/main" id="{CA7D165F-09BE-4346-B6C1-285732B064FB}"/>
              </a:ext>
            </a:extLst>
          </p:cNvPr>
          <p:cNvSpPr/>
          <p:nvPr/>
        </p:nvSpPr>
        <p:spPr bwMode="auto">
          <a:xfrm>
            <a:off x="5223214" y="1988036"/>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20" name="Rectangle 19">
            <a:extLst>
              <a:ext uri="{FF2B5EF4-FFF2-40B4-BE49-F238E27FC236}">
                <a16:creationId xmlns:a16="http://schemas.microsoft.com/office/drawing/2014/main" id="{27658AF6-89DE-4AC9-B3E7-5EAD13717B64}"/>
              </a:ext>
            </a:extLst>
          </p:cNvPr>
          <p:cNvSpPr/>
          <p:nvPr/>
        </p:nvSpPr>
        <p:spPr bwMode="auto">
          <a:xfrm>
            <a:off x="5223213" y="3789970"/>
            <a:ext cx="2504550"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29" name="Rectangle 28">
            <a:extLst>
              <a:ext uri="{FF2B5EF4-FFF2-40B4-BE49-F238E27FC236}">
                <a16:creationId xmlns:a16="http://schemas.microsoft.com/office/drawing/2014/main" id="{7E5AF8FA-250F-4976-8A24-9BB0D32D060F}"/>
              </a:ext>
            </a:extLst>
          </p:cNvPr>
          <p:cNvSpPr/>
          <p:nvPr/>
        </p:nvSpPr>
        <p:spPr bwMode="auto">
          <a:xfrm>
            <a:off x="9165946" y="1988036"/>
            <a:ext cx="2504550" cy="107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
        <p:nvSpPr>
          <p:cNvPr id="30" name="Rectangle 29">
            <a:extLst>
              <a:ext uri="{FF2B5EF4-FFF2-40B4-BE49-F238E27FC236}">
                <a16:creationId xmlns:a16="http://schemas.microsoft.com/office/drawing/2014/main" id="{E99FFD05-EEEF-4BF8-8172-26DFE742A082}"/>
              </a:ext>
            </a:extLst>
          </p:cNvPr>
          <p:cNvSpPr/>
          <p:nvPr/>
        </p:nvSpPr>
        <p:spPr bwMode="auto">
          <a:xfrm>
            <a:off x="9165946" y="3789970"/>
            <a:ext cx="2504550" cy="1079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b="1" i="0" u="none" strike="noStrike" kern="0" cap="none" spc="0" normalizeH="0" baseline="0" noProof="0" dirty="0">
                <a:ln>
                  <a:noFill/>
                </a:ln>
                <a:solidFill>
                  <a:schemeClr val="tx2"/>
                </a:solidFill>
                <a:effectLst/>
                <a:uLnTx/>
                <a:uFillTx/>
                <a:ea typeface="+mn-ea"/>
                <a:cs typeface="Arial" pitchFamily="34" charset="0"/>
              </a:rPr>
              <a:t>Lorem ipsum</a:t>
            </a:r>
          </a:p>
          <a:p>
            <a:pPr marL="0" marR="0" lvl="0" indent="0" algn="l" defTabSz="914400" rtl="0" eaLnBrk="1" fontAlgn="base" latinLnBrk="0" hangingPunct="1">
              <a:lnSpc>
                <a:spcPct val="90000"/>
              </a:lnSpc>
              <a:spcBef>
                <a:spcPts val="400"/>
              </a:spcBef>
              <a:spcAft>
                <a:spcPts val="400"/>
              </a:spcAft>
              <a:buClrTx/>
              <a:buSzTx/>
              <a:buFontTx/>
              <a:buNone/>
              <a:tabLst/>
              <a:defRPr/>
            </a:pPr>
            <a:r>
              <a:rPr kumimoji="0" lang="en-GB" i="0" u="none" strike="noStrike" kern="0" cap="none" spc="0" normalizeH="0" baseline="0" noProof="0" dirty="0">
                <a:ln>
                  <a:noFill/>
                </a:ln>
                <a:solidFill>
                  <a:schemeClr val="tx1"/>
                </a:solidFill>
                <a:effectLst/>
                <a:uLnTx/>
                <a:uFillTx/>
                <a:ea typeface="+mn-ea"/>
                <a:cs typeface="Arial" pitchFamily="34" charset="0"/>
              </a:rPr>
              <a:t>Lorem ipsum </a:t>
            </a:r>
            <a:r>
              <a:rPr kumimoji="0" lang="en-GB" i="0" u="none" strike="noStrike" kern="0" cap="none" spc="0" normalizeH="0" baseline="0" noProof="0" dirty="0" err="1">
                <a:ln>
                  <a:noFill/>
                </a:ln>
                <a:solidFill>
                  <a:schemeClr val="tx1"/>
                </a:solidFill>
                <a:effectLst/>
                <a:uLnTx/>
                <a:uFillTx/>
                <a:ea typeface="+mn-ea"/>
                <a:cs typeface="Arial" pitchFamily="34" charset="0"/>
              </a:rPr>
              <a:t>dolor</a:t>
            </a:r>
            <a:r>
              <a:rPr kumimoji="0" lang="en-GB" i="0" u="none" strike="noStrike" kern="0" cap="none" spc="0" normalizeH="0" baseline="0" noProof="0" dirty="0">
                <a:ln>
                  <a:noFill/>
                </a:ln>
                <a:solidFill>
                  <a:schemeClr val="tx1"/>
                </a:solidFill>
                <a:effectLst/>
                <a:uLnTx/>
                <a:uFillTx/>
                <a:ea typeface="+mn-ea"/>
                <a:cs typeface="Arial" pitchFamily="34" charset="0"/>
              </a:rPr>
              <a:t> sit </a:t>
            </a:r>
            <a:r>
              <a:rPr kumimoji="0" lang="en-GB" i="0" u="none" strike="noStrike" kern="0" cap="none" spc="0" normalizeH="0" baseline="0" noProof="0" dirty="0" err="1">
                <a:ln>
                  <a:noFill/>
                </a:ln>
                <a:solidFill>
                  <a:schemeClr val="tx1"/>
                </a:solidFill>
                <a:effectLst/>
                <a:uLnTx/>
                <a:uFillTx/>
                <a:ea typeface="+mn-ea"/>
                <a:cs typeface="Arial" pitchFamily="34" charset="0"/>
              </a:rPr>
              <a:t>am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consectetur</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dipiscing</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li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Aliquam</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eget</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scelerisque</a:t>
            </a:r>
            <a:r>
              <a:rPr kumimoji="0" lang="en-GB" i="0" u="none" strike="noStrike" kern="0" cap="none" spc="0" normalizeH="0" baseline="0" noProof="0" dirty="0">
                <a:ln>
                  <a:noFill/>
                </a:ln>
                <a:solidFill>
                  <a:schemeClr val="tx1"/>
                </a:solidFill>
                <a:effectLst/>
                <a:uLnTx/>
                <a:uFillTx/>
                <a:ea typeface="+mn-ea"/>
                <a:cs typeface="Arial" pitchFamily="34" charset="0"/>
              </a:rPr>
              <a:t> </a:t>
            </a:r>
            <a:r>
              <a:rPr kumimoji="0" lang="en-GB" i="0" u="none" strike="noStrike" kern="0" cap="none" spc="0" normalizeH="0" baseline="0" noProof="0" dirty="0" err="1">
                <a:ln>
                  <a:noFill/>
                </a:ln>
                <a:solidFill>
                  <a:schemeClr val="tx1"/>
                </a:solidFill>
                <a:effectLst/>
                <a:uLnTx/>
                <a:uFillTx/>
                <a:ea typeface="+mn-ea"/>
                <a:cs typeface="Arial" pitchFamily="34" charset="0"/>
              </a:rPr>
              <a:t>turpis</a:t>
            </a:r>
            <a:r>
              <a:rPr kumimoji="0" lang="en-GB" i="0" u="none" strike="noStrike" kern="0" cap="none" spc="0" normalizeH="0" baseline="0" noProof="0" dirty="0">
                <a:ln>
                  <a:noFill/>
                </a:ln>
                <a:solidFill>
                  <a:schemeClr val="tx1"/>
                </a:solidFill>
                <a:effectLst/>
                <a:uLnTx/>
                <a:uFillTx/>
                <a:ea typeface="+mn-ea"/>
                <a:cs typeface="Arial" pitchFamily="34" charset="0"/>
              </a:rPr>
              <a:t>. </a:t>
            </a:r>
          </a:p>
        </p:txBody>
      </p:sp>
    </p:spTree>
    <p:custDataLst>
      <p:tags r:id="rId1"/>
    </p:custDataLst>
    <p:extLst>
      <p:ext uri="{BB962C8B-B14F-4D97-AF65-F5344CB8AC3E}">
        <p14:creationId xmlns:p14="http://schemas.microsoft.com/office/powerpoint/2010/main" val="37790989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68A817A-1B70-4A24-B7E1-AE5C59F9B9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12" name="Objet 11" hidden="1">
                        <a:extLst>
                          <a:ext uri="{FF2B5EF4-FFF2-40B4-BE49-F238E27FC236}">
                            <a16:creationId xmlns:a16="http://schemas.microsoft.com/office/drawing/2014/main" id="{568A817A-1B70-4A24-B7E1-AE5C59F9B9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1EA02A1-731E-4A76-B246-3CA7FE49D366}"/>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E917FA89-175F-4791-8E39-47DEE5AEB03E}"/>
              </a:ext>
            </a:extLst>
          </p:cNvPr>
          <p:cNvSpPr>
            <a:spLocks noGrp="1"/>
          </p:cNvSpPr>
          <p:nvPr>
            <p:ph type="title"/>
          </p:nvPr>
        </p:nvSpPr>
        <p:spPr/>
        <p:txBody>
          <a:bodyPr/>
          <a:lstStyle/>
          <a:p>
            <a:r>
              <a:rPr lang="en-GB"/>
              <a:t>Slide message - two key ideas with details</a:t>
            </a:r>
            <a:endParaRPr lang="en-GB" dirty="0"/>
          </a:p>
        </p:txBody>
      </p:sp>
      <p:sp>
        <p:nvSpPr>
          <p:cNvPr id="6" name="ZoneTexte 5">
            <a:extLst>
              <a:ext uri="{FF2B5EF4-FFF2-40B4-BE49-F238E27FC236}">
                <a16:creationId xmlns:a16="http://schemas.microsoft.com/office/drawing/2014/main" id="{DDB86DE7-B1B0-44C3-A817-A1461EF00613}"/>
              </a:ext>
            </a:extLst>
          </p:cNvPr>
          <p:cNvSpPr txBox="1"/>
          <p:nvPr/>
        </p:nvSpPr>
        <p:spPr>
          <a:xfrm>
            <a:off x="2931940" y="1895085"/>
            <a:ext cx="3512237" cy="651579"/>
          </a:xfrm>
          <a:prstGeom prst="rect">
            <a:avLst/>
          </a:prstGeom>
          <a:noFill/>
        </p:spPr>
        <p:txBody>
          <a:bodyPr wrap="square" rtlCol="0" anchor="t">
            <a:noAutofit/>
          </a:bodyPr>
          <a:lstStyle/>
          <a:p>
            <a:pPr lvl="0" algn="l" eaLnBrk="1" fontAlgn="auto" hangingPunct="1">
              <a:spcBef>
                <a:spcPts val="400"/>
              </a:spcBef>
              <a:spcAft>
                <a:spcPts val="400"/>
              </a:spcAft>
              <a:buClrTx/>
              <a:defRPr/>
            </a:pPr>
            <a:r>
              <a:rPr lang="en-GB" sz="1800" dirty="0">
                <a:solidFill>
                  <a:schemeClr val="tx2"/>
                </a:solidFill>
                <a:latin typeface="+mn-lt"/>
              </a:rPr>
              <a:t>Lorem ipsum </a:t>
            </a:r>
            <a:r>
              <a:rPr lang="en-GB" sz="1800" dirty="0" err="1">
                <a:solidFill>
                  <a:schemeClr val="tx2"/>
                </a:solidFill>
                <a:latin typeface="+mn-lt"/>
              </a:rPr>
              <a:t>dolor</a:t>
            </a:r>
            <a:r>
              <a:rPr lang="en-GB" sz="1800" dirty="0">
                <a:solidFill>
                  <a:schemeClr val="tx2"/>
                </a:solidFill>
                <a:latin typeface="+mn-lt"/>
              </a:rPr>
              <a:t> sit </a:t>
            </a:r>
            <a:r>
              <a:rPr lang="en-GB" sz="1800" dirty="0" err="1">
                <a:solidFill>
                  <a:schemeClr val="tx2"/>
                </a:solidFill>
                <a:latin typeface="+mn-lt"/>
              </a:rPr>
              <a:t>amet</a:t>
            </a:r>
            <a:r>
              <a:rPr lang="en-GB" sz="1800" dirty="0">
                <a:solidFill>
                  <a:schemeClr val="tx2"/>
                </a:solidFill>
                <a:latin typeface="+mn-lt"/>
              </a:rPr>
              <a:t>, </a:t>
            </a:r>
            <a:r>
              <a:rPr lang="en-GB" sz="1800" dirty="0" err="1">
                <a:solidFill>
                  <a:schemeClr val="tx2"/>
                </a:solidFill>
                <a:latin typeface="+mn-lt"/>
              </a:rPr>
              <a:t>consectetur</a:t>
            </a:r>
            <a:endParaRPr lang="en-GB" sz="1800" dirty="0">
              <a:solidFill>
                <a:schemeClr val="tx2"/>
              </a:solidFill>
              <a:latin typeface="+mn-lt"/>
            </a:endParaRPr>
          </a:p>
        </p:txBody>
      </p:sp>
      <p:sp>
        <p:nvSpPr>
          <p:cNvPr id="7" name="ZoneTexte 6">
            <a:extLst>
              <a:ext uri="{FF2B5EF4-FFF2-40B4-BE49-F238E27FC236}">
                <a16:creationId xmlns:a16="http://schemas.microsoft.com/office/drawing/2014/main" id="{047D87BD-9924-43E1-B586-49CC470AAA20}"/>
              </a:ext>
            </a:extLst>
          </p:cNvPr>
          <p:cNvSpPr txBox="1"/>
          <p:nvPr/>
        </p:nvSpPr>
        <p:spPr>
          <a:xfrm>
            <a:off x="6797944" y="1895085"/>
            <a:ext cx="4974056" cy="943848"/>
          </a:xfrm>
          <a:prstGeom prst="rect">
            <a:avLst/>
          </a:prstGeom>
          <a:noFill/>
        </p:spPr>
        <p:txBody>
          <a:bodyPr wrap="square" rtlCol="0">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8" name="ZoneTexte 7">
            <a:extLst>
              <a:ext uri="{FF2B5EF4-FFF2-40B4-BE49-F238E27FC236}">
                <a16:creationId xmlns:a16="http://schemas.microsoft.com/office/drawing/2014/main" id="{ECCE4AD3-C2B2-4EEA-AE33-8FA21455737C}"/>
              </a:ext>
            </a:extLst>
          </p:cNvPr>
          <p:cNvSpPr txBox="1"/>
          <p:nvPr/>
        </p:nvSpPr>
        <p:spPr>
          <a:xfrm>
            <a:off x="2931940" y="4415493"/>
            <a:ext cx="3659359" cy="651579"/>
          </a:xfrm>
          <a:prstGeom prst="rect">
            <a:avLst/>
          </a:prstGeom>
          <a:noFill/>
        </p:spPr>
        <p:txBody>
          <a:bodyPr wrap="square" rtlCol="0" anchor="t">
            <a:noAutofit/>
          </a:bodyPr>
          <a:lstStyle>
            <a:defPPr>
              <a:defRPr lang="en-GB"/>
            </a:defPPr>
            <a:lvl1pPr lvl="0" algn="l" eaLnBrk="1" fontAlgn="auto" hangingPunct="1">
              <a:spcBef>
                <a:spcPts val="400"/>
              </a:spcBef>
              <a:spcAft>
                <a:spcPts val="400"/>
              </a:spcAft>
              <a:buClrTx/>
              <a:defRPr sz="2000">
                <a:solidFill>
                  <a:schemeClr val="accent5"/>
                </a:solidFill>
                <a:latin typeface="Arial" panose="020B0604020202020204" pitchFamily="34" charset="0"/>
              </a:defRPr>
            </a:lvl1pPr>
          </a:lstStyle>
          <a:p>
            <a:r>
              <a:rPr lang="en-GB" sz="1800">
                <a:solidFill>
                  <a:schemeClr val="tx2"/>
                </a:solidFill>
                <a:latin typeface="+mn-lt"/>
              </a:rPr>
              <a:t>Lorem ipsum dolor sit amet, consectetur</a:t>
            </a:r>
            <a:endParaRPr lang="en-GB" sz="1800" dirty="0">
              <a:solidFill>
                <a:schemeClr val="tx2"/>
              </a:solidFill>
              <a:latin typeface="+mn-lt"/>
            </a:endParaRPr>
          </a:p>
        </p:txBody>
      </p:sp>
      <p:sp>
        <p:nvSpPr>
          <p:cNvPr id="10" name="ZoneTexte 9">
            <a:extLst>
              <a:ext uri="{FF2B5EF4-FFF2-40B4-BE49-F238E27FC236}">
                <a16:creationId xmlns:a16="http://schemas.microsoft.com/office/drawing/2014/main" id="{4878762F-55F5-47ED-A196-587CD9D9AD89}"/>
              </a:ext>
            </a:extLst>
          </p:cNvPr>
          <p:cNvSpPr txBox="1"/>
          <p:nvPr/>
        </p:nvSpPr>
        <p:spPr>
          <a:xfrm>
            <a:off x="6797944" y="4415493"/>
            <a:ext cx="4974056" cy="943848"/>
          </a:xfrm>
          <a:prstGeom prst="rect">
            <a:avLst/>
          </a:prstGeom>
          <a:noFill/>
        </p:spPr>
        <p:txBody>
          <a:bodyPr wrap="square" rtlCol="0">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a:t>
            </a: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a:latin typeface="+mn-lt"/>
              </a:rPr>
              <a:t>Lorem ipsum dolor sit amet, consectetur</a:t>
            </a:r>
            <a:endParaRPr lang="en-GB" dirty="0">
              <a:latin typeface="+mn-lt"/>
            </a:endParaRPr>
          </a:p>
        </p:txBody>
      </p:sp>
      <p:sp>
        <p:nvSpPr>
          <p:cNvPr id="13" name="Oval 31">
            <a:extLst>
              <a:ext uri="{FF2B5EF4-FFF2-40B4-BE49-F238E27FC236}">
                <a16:creationId xmlns:a16="http://schemas.microsoft.com/office/drawing/2014/main" id="{7CD16AED-50AE-4330-A8B9-B9DE31A4FE6E}"/>
              </a:ext>
            </a:extLst>
          </p:cNvPr>
          <p:cNvSpPr>
            <a:spLocks noChangeAspect="1"/>
          </p:cNvSpPr>
          <p:nvPr/>
        </p:nvSpPr>
        <p:spPr>
          <a:xfrm>
            <a:off x="1352113" y="1895085"/>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rgbClr val="FFFFFF"/>
                </a:solidFill>
                <a:effectLst/>
                <a:uLnTx/>
                <a:uFillTx/>
                <a:ea typeface="+mn-ea"/>
                <a:cs typeface="+mn-cs"/>
              </a:rPr>
              <a:t>1</a:t>
            </a:r>
            <a:endParaRPr kumimoji="0" lang="en-GB" sz="3600" b="0" i="0" u="none" strike="noStrike" kern="0" cap="none" spc="0" normalizeH="0" baseline="0" noProof="0" dirty="0">
              <a:ln>
                <a:noFill/>
              </a:ln>
              <a:solidFill>
                <a:srgbClr val="FFFFFF"/>
              </a:solidFill>
              <a:effectLst/>
              <a:uLnTx/>
              <a:uFillTx/>
              <a:ea typeface="+mn-ea"/>
              <a:cs typeface="+mn-cs"/>
            </a:endParaRPr>
          </a:p>
        </p:txBody>
      </p:sp>
      <p:sp>
        <p:nvSpPr>
          <p:cNvPr id="14" name="Oval 31">
            <a:extLst>
              <a:ext uri="{FF2B5EF4-FFF2-40B4-BE49-F238E27FC236}">
                <a16:creationId xmlns:a16="http://schemas.microsoft.com/office/drawing/2014/main" id="{701A6F0B-3F4C-440E-A8A1-7C9713A7DBED}"/>
              </a:ext>
            </a:extLst>
          </p:cNvPr>
          <p:cNvSpPr>
            <a:spLocks noChangeAspect="1"/>
          </p:cNvSpPr>
          <p:nvPr/>
        </p:nvSpPr>
        <p:spPr>
          <a:xfrm>
            <a:off x="1352113" y="4415493"/>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600" kern="0">
                <a:solidFill>
                  <a:srgbClr val="FFFFFF"/>
                </a:solidFill>
              </a:rPr>
              <a:t>2</a:t>
            </a:r>
            <a:endParaRPr kumimoji="0" lang="en-GB" sz="3600" b="0" i="0" u="none" strike="noStrike" kern="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2545193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68A817A-1B70-4A24-B7E1-AE5C59F9B9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12" name="Objet 11" hidden="1">
                        <a:extLst>
                          <a:ext uri="{FF2B5EF4-FFF2-40B4-BE49-F238E27FC236}">
                            <a16:creationId xmlns:a16="http://schemas.microsoft.com/office/drawing/2014/main" id="{568A817A-1B70-4A24-B7E1-AE5C59F9B9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1EA02A1-731E-4A76-B246-3CA7FE49D366}"/>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E917FA89-175F-4791-8E39-47DEE5AEB03E}"/>
              </a:ext>
            </a:extLst>
          </p:cNvPr>
          <p:cNvSpPr>
            <a:spLocks noGrp="1"/>
          </p:cNvSpPr>
          <p:nvPr>
            <p:ph type="title"/>
          </p:nvPr>
        </p:nvSpPr>
        <p:spPr/>
        <p:txBody>
          <a:bodyPr/>
          <a:lstStyle/>
          <a:p>
            <a:r>
              <a:rPr lang="en-GB" dirty="0"/>
              <a:t>Slide message - three key ideas with details</a:t>
            </a:r>
          </a:p>
        </p:txBody>
      </p:sp>
      <p:sp>
        <p:nvSpPr>
          <p:cNvPr id="6" name="ZoneTexte 5">
            <a:extLst>
              <a:ext uri="{FF2B5EF4-FFF2-40B4-BE49-F238E27FC236}">
                <a16:creationId xmlns:a16="http://schemas.microsoft.com/office/drawing/2014/main" id="{DDB86DE7-B1B0-44C3-A817-A1461EF00613}"/>
              </a:ext>
            </a:extLst>
          </p:cNvPr>
          <p:cNvSpPr txBox="1"/>
          <p:nvPr/>
        </p:nvSpPr>
        <p:spPr>
          <a:xfrm>
            <a:off x="2931940" y="1384956"/>
            <a:ext cx="3512237" cy="651579"/>
          </a:xfrm>
          <a:prstGeom prst="rect">
            <a:avLst/>
          </a:prstGeom>
          <a:noFill/>
        </p:spPr>
        <p:txBody>
          <a:bodyPr wrap="square" rtlCol="0" anchor="t">
            <a:noAutofit/>
          </a:bodyPr>
          <a:lstStyle/>
          <a:p>
            <a:pPr lvl="0" algn="l" eaLnBrk="1" fontAlgn="auto" hangingPunct="1">
              <a:spcBef>
                <a:spcPts val="400"/>
              </a:spcBef>
              <a:spcAft>
                <a:spcPts val="400"/>
              </a:spcAft>
              <a:buClrTx/>
              <a:defRPr/>
            </a:pPr>
            <a:r>
              <a:rPr lang="en-GB" sz="1800" dirty="0">
                <a:solidFill>
                  <a:schemeClr val="tx2"/>
                </a:solidFill>
                <a:latin typeface="+mn-lt"/>
              </a:rPr>
              <a:t>Lorem ipsum </a:t>
            </a:r>
            <a:r>
              <a:rPr lang="en-GB" sz="1800" dirty="0" err="1">
                <a:solidFill>
                  <a:schemeClr val="tx2"/>
                </a:solidFill>
                <a:latin typeface="+mn-lt"/>
              </a:rPr>
              <a:t>dolor</a:t>
            </a:r>
            <a:r>
              <a:rPr lang="en-GB" sz="1800" dirty="0">
                <a:solidFill>
                  <a:schemeClr val="tx2"/>
                </a:solidFill>
                <a:latin typeface="+mn-lt"/>
              </a:rPr>
              <a:t> sit </a:t>
            </a:r>
            <a:r>
              <a:rPr lang="en-GB" sz="1800" dirty="0" err="1">
                <a:solidFill>
                  <a:schemeClr val="tx2"/>
                </a:solidFill>
                <a:latin typeface="+mn-lt"/>
              </a:rPr>
              <a:t>amet</a:t>
            </a:r>
            <a:r>
              <a:rPr lang="en-GB" sz="1800" dirty="0">
                <a:solidFill>
                  <a:schemeClr val="tx2"/>
                </a:solidFill>
                <a:latin typeface="+mn-lt"/>
              </a:rPr>
              <a:t>, </a:t>
            </a:r>
            <a:r>
              <a:rPr lang="en-GB" sz="1800" dirty="0" err="1">
                <a:solidFill>
                  <a:schemeClr val="tx2"/>
                </a:solidFill>
                <a:latin typeface="+mn-lt"/>
              </a:rPr>
              <a:t>consectetur</a:t>
            </a:r>
            <a:endParaRPr lang="en-GB" sz="1800" dirty="0">
              <a:solidFill>
                <a:schemeClr val="tx2"/>
              </a:solidFill>
              <a:latin typeface="+mn-lt"/>
            </a:endParaRPr>
          </a:p>
        </p:txBody>
      </p:sp>
      <p:sp>
        <p:nvSpPr>
          <p:cNvPr id="7" name="ZoneTexte 6">
            <a:extLst>
              <a:ext uri="{FF2B5EF4-FFF2-40B4-BE49-F238E27FC236}">
                <a16:creationId xmlns:a16="http://schemas.microsoft.com/office/drawing/2014/main" id="{047D87BD-9924-43E1-B586-49CC470AAA20}"/>
              </a:ext>
            </a:extLst>
          </p:cNvPr>
          <p:cNvSpPr txBox="1"/>
          <p:nvPr/>
        </p:nvSpPr>
        <p:spPr>
          <a:xfrm>
            <a:off x="6797944" y="1384956"/>
            <a:ext cx="4974056" cy="943848"/>
          </a:xfrm>
          <a:prstGeom prst="rect">
            <a:avLst/>
          </a:prstGeom>
          <a:noFill/>
        </p:spPr>
        <p:txBody>
          <a:bodyPr wrap="square" rtlCol="0">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13" name="Oval 31">
            <a:extLst>
              <a:ext uri="{FF2B5EF4-FFF2-40B4-BE49-F238E27FC236}">
                <a16:creationId xmlns:a16="http://schemas.microsoft.com/office/drawing/2014/main" id="{7CD16AED-50AE-4330-A8B9-B9DE31A4FE6E}"/>
              </a:ext>
            </a:extLst>
          </p:cNvPr>
          <p:cNvSpPr>
            <a:spLocks noChangeAspect="1"/>
          </p:cNvSpPr>
          <p:nvPr/>
        </p:nvSpPr>
        <p:spPr>
          <a:xfrm>
            <a:off x="1352113" y="1384956"/>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1</a:t>
            </a:r>
            <a:endParaRPr kumimoji="0" lang="en-GB" sz="3600" b="0" i="0" u="none" strike="noStrike" kern="0" cap="none" spc="0" normalizeH="0" baseline="0" noProof="0" dirty="0">
              <a:ln>
                <a:noFill/>
              </a:ln>
              <a:solidFill>
                <a:schemeClr val="bg1"/>
              </a:solidFill>
              <a:effectLst/>
              <a:uLnTx/>
              <a:uFillTx/>
              <a:ea typeface="+mn-ea"/>
              <a:cs typeface="+mn-cs"/>
            </a:endParaRPr>
          </a:p>
        </p:txBody>
      </p:sp>
      <p:sp>
        <p:nvSpPr>
          <p:cNvPr id="8" name="ZoneTexte 7">
            <a:extLst>
              <a:ext uri="{FF2B5EF4-FFF2-40B4-BE49-F238E27FC236}">
                <a16:creationId xmlns:a16="http://schemas.microsoft.com/office/drawing/2014/main" id="{ECCE4AD3-C2B2-4EEA-AE33-8FA21455737C}"/>
              </a:ext>
            </a:extLst>
          </p:cNvPr>
          <p:cNvSpPr txBox="1"/>
          <p:nvPr/>
        </p:nvSpPr>
        <p:spPr>
          <a:xfrm>
            <a:off x="2931940" y="3021080"/>
            <a:ext cx="3659359" cy="651579"/>
          </a:xfrm>
          <a:prstGeom prst="rect">
            <a:avLst/>
          </a:prstGeom>
          <a:noFill/>
        </p:spPr>
        <p:txBody>
          <a:bodyPr wrap="square" rtlCol="0" anchor="t">
            <a:noAutofit/>
          </a:bodyPr>
          <a:lstStyle>
            <a:defPPr>
              <a:defRPr lang="en-GB"/>
            </a:defPPr>
            <a:lvl1pPr lvl="0" algn="l" eaLnBrk="1" fontAlgn="auto" hangingPunct="1">
              <a:spcBef>
                <a:spcPts val="400"/>
              </a:spcBef>
              <a:spcAft>
                <a:spcPts val="400"/>
              </a:spcAft>
              <a:buClrTx/>
              <a:defRPr sz="2000">
                <a:solidFill>
                  <a:schemeClr val="accent5"/>
                </a:solidFill>
                <a:latin typeface="Arial" panose="020B0604020202020204" pitchFamily="34" charset="0"/>
              </a:defRPr>
            </a:lvl1pPr>
          </a:lstStyle>
          <a:p>
            <a:r>
              <a:rPr lang="en-GB" sz="1800" dirty="0">
                <a:solidFill>
                  <a:schemeClr val="tx2"/>
                </a:solidFill>
                <a:latin typeface="+mn-lt"/>
              </a:rPr>
              <a:t>Lorem ipsum </a:t>
            </a:r>
            <a:r>
              <a:rPr lang="en-GB" sz="1800" dirty="0" err="1">
                <a:solidFill>
                  <a:schemeClr val="tx2"/>
                </a:solidFill>
                <a:latin typeface="+mn-lt"/>
              </a:rPr>
              <a:t>dolor</a:t>
            </a:r>
            <a:r>
              <a:rPr lang="en-GB" sz="1800" dirty="0">
                <a:solidFill>
                  <a:schemeClr val="tx2"/>
                </a:solidFill>
                <a:latin typeface="+mn-lt"/>
              </a:rPr>
              <a:t> sit </a:t>
            </a:r>
            <a:r>
              <a:rPr lang="en-GB" sz="1800" dirty="0" err="1">
                <a:solidFill>
                  <a:schemeClr val="tx2"/>
                </a:solidFill>
                <a:latin typeface="+mn-lt"/>
              </a:rPr>
              <a:t>amet</a:t>
            </a:r>
            <a:r>
              <a:rPr lang="en-GB" sz="1800" dirty="0">
                <a:solidFill>
                  <a:schemeClr val="tx2"/>
                </a:solidFill>
                <a:latin typeface="+mn-lt"/>
              </a:rPr>
              <a:t>, </a:t>
            </a:r>
            <a:r>
              <a:rPr lang="en-GB" sz="1800" dirty="0" err="1">
                <a:solidFill>
                  <a:schemeClr val="tx2"/>
                </a:solidFill>
                <a:latin typeface="+mn-lt"/>
              </a:rPr>
              <a:t>consectetur</a:t>
            </a:r>
            <a:endParaRPr lang="en-GB" sz="1800" dirty="0">
              <a:solidFill>
                <a:schemeClr val="tx2"/>
              </a:solidFill>
              <a:latin typeface="+mn-lt"/>
            </a:endParaRPr>
          </a:p>
        </p:txBody>
      </p:sp>
      <p:sp>
        <p:nvSpPr>
          <p:cNvPr id="10" name="ZoneTexte 9">
            <a:extLst>
              <a:ext uri="{FF2B5EF4-FFF2-40B4-BE49-F238E27FC236}">
                <a16:creationId xmlns:a16="http://schemas.microsoft.com/office/drawing/2014/main" id="{4878762F-55F5-47ED-A196-587CD9D9AD89}"/>
              </a:ext>
            </a:extLst>
          </p:cNvPr>
          <p:cNvSpPr txBox="1"/>
          <p:nvPr/>
        </p:nvSpPr>
        <p:spPr>
          <a:xfrm>
            <a:off x="6797944" y="3021080"/>
            <a:ext cx="4974056" cy="943848"/>
          </a:xfrm>
          <a:prstGeom prst="rect">
            <a:avLst/>
          </a:prstGeom>
          <a:noFill/>
        </p:spPr>
        <p:txBody>
          <a:bodyPr wrap="square" rtlCol="0">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14" name="Oval 31">
            <a:extLst>
              <a:ext uri="{FF2B5EF4-FFF2-40B4-BE49-F238E27FC236}">
                <a16:creationId xmlns:a16="http://schemas.microsoft.com/office/drawing/2014/main" id="{701A6F0B-3F4C-440E-A8A1-7C9713A7DBED}"/>
              </a:ext>
            </a:extLst>
          </p:cNvPr>
          <p:cNvSpPr>
            <a:spLocks noChangeAspect="1"/>
          </p:cNvSpPr>
          <p:nvPr/>
        </p:nvSpPr>
        <p:spPr>
          <a:xfrm>
            <a:off x="1352113" y="3021080"/>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600" kern="0">
                <a:solidFill>
                  <a:schemeClr val="bg1"/>
                </a:solidFill>
              </a:rPr>
              <a:t>2</a:t>
            </a:r>
            <a:endParaRPr kumimoji="0" lang="en-GB" sz="3600" b="0" i="0" u="none" strike="noStrike" kern="0" cap="none" spc="0" normalizeH="0" baseline="0" noProof="0" dirty="0">
              <a:ln>
                <a:noFill/>
              </a:ln>
              <a:solidFill>
                <a:schemeClr val="bg1"/>
              </a:solidFill>
              <a:effectLst/>
              <a:uLnTx/>
              <a:uFillTx/>
            </a:endParaRPr>
          </a:p>
        </p:txBody>
      </p:sp>
      <p:sp>
        <p:nvSpPr>
          <p:cNvPr id="16" name="ZoneTexte 15">
            <a:extLst>
              <a:ext uri="{FF2B5EF4-FFF2-40B4-BE49-F238E27FC236}">
                <a16:creationId xmlns:a16="http://schemas.microsoft.com/office/drawing/2014/main" id="{A9FE87DB-922B-4200-9D5A-97D35F0452DE}"/>
              </a:ext>
            </a:extLst>
          </p:cNvPr>
          <p:cNvSpPr txBox="1"/>
          <p:nvPr/>
        </p:nvSpPr>
        <p:spPr>
          <a:xfrm>
            <a:off x="2931940" y="4657204"/>
            <a:ext cx="3659359" cy="651579"/>
          </a:xfrm>
          <a:prstGeom prst="rect">
            <a:avLst/>
          </a:prstGeom>
          <a:noFill/>
        </p:spPr>
        <p:txBody>
          <a:bodyPr wrap="square" rtlCol="0" anchor="t">
            <a:noAutofit/>
          </a:bodyPr>
          <a:lstStyle>
            <a:defPPr>
              <a:defRPr lang="en-GB"/>
            </a:defPPr>
            <a:lvl1pPr lvl="0" algn="l" eaLnBrk="1" fontAlgn="auto" hangingPunct="1">
              <a:spcBef>
                <a:spcPts val="400"/>
              </a:spcBef>
              <a:spcAft>
                <a:spcPts val="400"/>
              </a:spcAft>
              <a:buClrTx/>
              <a:defRPr sz="2000">
                <a:solidFill>
                  <a:schemeClr val="accent5"/>
                </a:solidFill>
                <a:latin typeface="Arial" panose="020B0604020202020204" pitchFamily="34" charset="0"/>
              </a:defRPr>
            </a:lvl1pPr>
          </a:lstStyle>
          <a:p>
            <a:r>
              <a:rPr lang="en-GB" sz="1800" dirty="0">
                <a:solidFill>
                  <a:schemeClr val="tx2"/>
                </a:solidFill>
                <a:latin typeface="+mn-lt"/>
              </a:rPr>
              <a:t>Lorem ipsum </a:t>
            </a:r>
            <a:r>
              <a:rPr lang="en-GB" sz="1800" dirty="0" err="1">
                <a:solidFill>
                  <a:schemeClr val="tx2"/>
                </a:solidFill>
                <a:latin typeface="+mn-lt"/>
              </a:rPr>
              <a:t>dolor</a:t>
            </a:r>
            <a:r>
              <a:rPr lang="en-GB" sz="1800" dirty="0">
                <a:solidFill>
                  <a:schemeClr val="tx2"/>
                </a:solidFill>
                <a:latin typeface="+mn-lt"/>
              </a:rPr>
              <a:t> sit </a:t>
            </a:r>
            <a:r>
              <a:rPr lang="en-GB" sz="1800" dirty="0" err="1">
                <a:solidFill>
                  <a:schemeClr val="tx2"/>
                </a:solidFill>
                <a:latin typeface="+mn-lt"/>
              </a:rPr>
              <a:t>amet</a:t>
            </a:r>
            <a:r>
              <a:rPr lang="en-GB" sz="1800" dirty="0">
                <a:solidFill>
                  <a:schemeClr val="tx2"/>
                </a:solidFill>
                <a:latin typeface="+mn-lt"/>
              </a:rPr>
              <a:t>, </a:t>
            </a:r>
            <a:r>
              <a:rPr lang="en-GB" sz="1800" dirty="0" err="1">
                <a:solidFill>
                  <a:schemeClr val="tx2"/>
                </a:solidFill>
                <a:latin typeface="+mn-lt"/>
              </a:rPr>
              <a:t>consectetur</a:t>
            </a:r>
            <a:endParaRPr lang="en-GB" sz="1800" dirty="0">
              <a:solidFill>
                <a:schemeClr val="tx2"/>
              </a:solidFill>
              <a:latin typeface="+mn-lt"/>
            </a:endParaRPr>
          </a:p>
        </p:txBody>
      </p:sp>
      <p:sp>
        <p:nvSpPr>
          <p:cNvPr id="17" name="ZoneTexte 16">
            <a:extLst>
              <a:ext uri="{FF2B5EF4-FFF2-40B4-BE49-F238E27FC236}">
                <a16:creationId xmlns:a16="http://schemas.microsoft.com/office/drawing/2014/main" id="{9CCF59E2-3AE7-4EF1-AB5F-433D3FE40FA5}"/>
              </a:ext>
            </a:extLst>
          </p:cNvPr>
          <p:cNvSpPr txBox="1"/>
          <p:nvPr/>
        </p:nvSpPr>
        <p:spPr>
          <a:xfrm>
            <a:off x="6797944" y="4657204"/>
            <a:ext cx="4974056" cy="943848"/>
          </a:xfrm>
          <a:prstGeom prst="rect">
            <a:avLst/>
          </a:prstGeom>
          <a:noFill/>
        </p:spPr>
        <p:txBody>
          <a:bodyPr wrap="square" rtlCol="0">
            <a:spAutoFit/>
          </a:bodyPr>
          <a:lstStyle/>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marL="180000" lvl="1" indent="-180000" algn="l" defTabSz="711200" eaLnBrk="1" fontAlgn="auto" hangingPunct="1">
              <a:spcBef>
                <a:spcPts val="840"/>
              </a:spcBef>
              <a:spcAft>
                <a:spcPts val="0"/>
              </a:spcAft>
              <a:buClr>
                <a:srgbClr val="C2C2C2"/>
              </a:buClr>
              <a:buSzPct val="77000"/>
              <a:buFont typeface="Wingdings 3" panose="05040102010807070707" pitchFamily="18" charset="2"/>
              <a:buChar char=""/>
              <a:defRPr/>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18" name="Oval 31">
            <a:extLst>
              <a:ext uri="{FF2B5EF4-FFF2-40B4-BE49-F238E27FC236}">
                <a16:creationId xmlns:a16="http://schemas.microsoft.com/office/drawing/2014/main" id="{7B56FF21-FEA1-4A75-AAE2-B42C663C8E74}"/>
              </a:ext>
            </a:extLst>
          </p:cNvPr>
          <p:cNvSpPr>
            <a:spLocks noChangeAspect="1"/>
          </p:cNvSpPr>
          <p:nvPr/>
        </p:nvSpPr>
        <p:spPr>
          <a:xfrm>
            <a:off x="1352113" y="4657204"/>
            <a:ext cx="1080000" cy="10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600" b="0" i="0" u="none" strike="noStrike" kern="0" cap="none" spc="0" normalizeH="0" baseline="0" noProof="0">
                <a:ln>
                  <a:noFill/>
                </a:ln>
                <a:solidFill>
                  <a:schemeClr val="bg1"/>
                </a:solidFill>
                <a:effectLst/>
                <a:uLnTx/>
                <a:uFillTx/>
                <a:ea typeface="+mn-ea"/>
                <a:cs typeface="+mn-cs"/>
              </a:rPr>
              <a:t>3</a:t>
            </a:r>
            <a:endParaRPr kumimoji="0" lang="en-GB" sz="3600" b="0" i="0" u="none" strike="noStrike" kern="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21998986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3C8D5D6E-5336-4317-8BE5-1359F5E2A2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4" name="Objet 3" hidden="1">
                        <a:extLst>
                          <a:ext uri="{FF2B5EF4-FFF2-40B4-BE49-F238E27FC236}">
                            <a16:creationId xmlns:a16="http://schemas.microsoft.com/office/drawing/2014/main" id="{3C8D5D6E-5336-4317-8BE5-1359F5E2A2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95311F-8571-407C-A262-142232758AB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stakes depending on two criteria / four quadrants</a:t>
            </a:r>
            <a:endParaRPr lang="en-GB" dirty="0"/>
          </a:p>
        </p:txBody>
      </p:sp>
      <p:sp>
        <p:nvSpPr>
          <p:cNvPr id="40" name="Freeform 39"/>
          <p:cNvSpPr/>
          <p:nvPr/>
        </p:nvSpPr>
        <p:spPr>
          <a:xfrm>
            <a:off x="7651350" y="1923486"/>
            <a:ext cx="3580895" cy="250204"/>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2">
                <a:alpha val="50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GB" dirty="0">
              <a:solidFill>
                <a:srgbClr val="000000"/>
              </a:solidFill>
            </a:endParaRPr>
          </a:p>
        </p:txBody>
      </p:sp>
      <p:sp>
        <p:nvSpPr>
          <p:cNvPr id="42" name="Freeform 41"/>
          <p:cNvSpPr/>
          <p:nvPr/>
        </p:nvSpPr>
        <p:spPr>
          <a:xfrm flipV="1">
            <a:off x="7440473" y="4790247"/>
            <a:ext cx="3580895" cy="2286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2">
                <a:alpha val="50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GB" dirty="0">
              <a:solidFill>
                <a:srgbClr val="000000"/>
              </a:solidFill>
            </a:endParaRPr>
          </a:p>
        </p:txBody>
      </p:sp>
      <p:sp>
        <p:nvSpPr>
          <p:cNvPr id="45" name="Freeform 44"/>
          <p:cNvSpPr/>
          <p:nvPr/>
        </p:nvSpPr>
        <p:spPr>
          <a:xfrm flipH="1">
            <a:off x="1018443" y="1923486"/>
            <a:ext cx="3580895" cy="251608"/>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2">
                <a:alpha val="50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GB" dirty="0">
              <a:solidFill>
                <a:srgbClr val="000000"/>
              </a:solidFill>
            </a:endParaRPr>
          </a:p>
        </p:txBody>
      </p:sp>
      <p:sp>
        <p:nvSpPr>
          <p:cNvPr id="46" name="Freeform 45"/>
          <p:cNvSpPr/>
          <p:nvPr/>
        </p:nvSpPr>
        <p:spPr>
          <a:xfrm flipH="1" flipV="1">
            <a:off x="1362217" y="4773751"/>
            <a:ext cx="3389996" cy="245096"/>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2">
                <a:alpha val="50000"/>
              </a:schemeClr>
            </a:solidFill>
            <a:headEnd type="none"/>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GB" dirty="0">
              <a:solidFill>
                <a:srgbClr val="000000"/>
              </a:solidFill>
            </a:endParaRPr>
          </a:p>
        </p:txBody>
      </p:sp>
      <p:sp>
        <p:nvSpPr>
          <p:cNvPr id="5" name="Oval 4"/>
          <p:cNvSpPr/>
          <p:nvPr/>
        </p:nvSpPr>
        <p:spPr>
          <a:xfrm>
            <a:off x="4657778" y="1929715"/>
            <a:ext cx="2880000" cy="2880000"/>
          </a:xfrm>
          <a:prstGeom prst="ellipse">
            <a:avLst/>
          </a:prstGeom>
          <a:solidFill>
            <a:schemeClr val="bg2"/>
          </a:solidFill>
          <a:ln w="19050" cmpd="sng">
            <a:no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endParaRPr lang="en-GB" dirty="0">
              <a:solidFill>
                <a:srgbClr val="FFFFFF"/>
              </a:solidFill>
            </a:endParaRPr>
          </a:p>
        </p:txBody>
      </p:sp>
      <p:sp>
        <p:nvSpPr>
          <p:cNvPr id="6" name="Freeform 5"/>
          <p:cNvSpPr/>
          <p:nvPr/>
        </p:nvSpPr>
        <p:spPr>
          <a:xfrm>
            <a:off x="4554653" y="1814303"/>
            <a:ext cx="1309091" cy="1309091"/>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6"/>
          </a:solidFill>
          <a:ln w="28575">
            <a:no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6000" tIns="36000" rIns="36000" bIns="36000" numCol="1" spcCol="1270" anchor="ctr" anchorCtr="1">
            <a:noAutofit/>
          </a:bodyPr>
          <a:lstStyle/>
          <a:p>
            <a:pPr defTabSz="666734">
              <a:lnSpc>
                <a:spcPct val="90000"/>
              </a:lnSpc>
              <a:spcBef>
                <a:spcPct val="0"/>
              </a:spcBef>
              <a:spcAft>
                <a:spcPct val="35000"/>
              </a:spcAft>
            </a:pPr>
            <a:r>
              <a:rPr lang="en-GB" sz="1500" dirty="0">
                <a:solidFill>
                  <a:srgbClr val="FFFFFF"/>
                </a:solidFill>
              </a:rPr>
              <a:t>SMBs</a:t>
            </a:r>
          </a:p>
        </p:txBody>
      </p:sp>
      <p:sp>
        <p:nvSpPr>
          <p:cNvPr id="7" name="Freeform 6"/>
          <p:cNvSpPr/>
          <p:nvPr/>
        </p:nvSpPr>
        <p:spPr>
          <a:xfrm>
            <a:off x="6416187" y="1814303"/>
            <a:ext cx="1309091" cy="1309091"/>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tx2"/>
          </a:solidFill>
          <a:ln w="28575">
            <a:no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6000" tIns="36000" rIns="36000" bIns="36000" numCol="1" spcCol="1270" anchor="ctr" anchorCtr="1">
            <a:noAutofit/>
          </a:bodyPr>
          <a:lstStyle/>
          <a:p>
            <a:pPr defTabSz="666734">
              <a:lnSpc>
                <a:spcPct val="90000"/>
              </a:lnSpc>
              <a:spcBef>
                <a:spcPct val="0"/>
              </a:spcBef>
              <a:spcAft>
                <a:spcPct val="35000"/>
              </a:spcAft>
            </a:pPr>
            <a:r>
              <a:rPr lang="en-GB" sz="1500" dirty="0">
                <a:solidFill>
                  <a:srgbClr val="FFFFFF"/>
                </a:solidFill>
              </a:rPr>
              <a:t>Founders</a:t>
            </a:r>
          </a:p>
        </p:txBody>
      </p:sp>
      <p:sp>
        <p:nvSpPr>
          <p:cNvPr id="8" name="Freeform 7"/>
          <p:cNvSpPr/>
          <p:nvPr/>
        </p:nvSpPr>
        <p:spPr>
          <a:xfrm>
            <a:off x="4554653" y="3660529"/>
            <a:ext cx="1309091" cy="1309091"/>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ln w="28575">
            <a:no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6000" tIns="36000" rIns="36000" bIns="36000" numCol="1" spcCol="1270" anchor="ctr" anchorCtr="1">
            <a:noAutofit/>
          </a:bodyPr>
          <a:lstStyle/>
          <a:p>
            <a:pPr defTabSz="666734">
              <a:lnSpc>
                <a:spcPct val="90000"/>
              </a:lnSpc>
              <a:spcBef>
                <a:spcPct val="0"/>
              </a:spcBef>
              <a:spcAft>
                <a:spcPct val="35000"/>
              </a:spcAft>
            </a:pPr>
            <a:r>
              <a:rPr lang="en-GB" sz="1500">
                <a:solidFill>
                  <a:srgbClr val="FFFFFF"/>
                </a:solidFill>
              </a:rPr>
              <a:t>Corporate</a:t>
            </a:r>
            <a:endParaRPr lang="en-GB" sz="1500" dirty="0">
              <a:solidFill>
                <a:srgbClr val="FFFFFF"/>
              </a:solidFill>
            </a:endParaRPr>
          </a:p>
        </p:txBody>
      </p:sp>
      <p:sp>
        <p:nvSpPr>
          <p:cNvPr id="9" name="Freeform 8"/>
          <p:cNvSpPr/>
          <p:nvPr/>
        </p:nvSpPr>
        <p:spPr>
          <a:xfrm>
            <a:off x="6355969" y="3660529"/>
            <a:ext cx="1309091" cy="1309091"/>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4"/>
          </a:solidFill>
          <a:ln w="28575">
            <a:no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36000" tIns="36000" rIns="36000" bIns="36000" numCol="1" spcCol="1270" anchor="ctr" anchorCtr="1">
            <a:noAutofit/>
          </a:bodyPr>
          <a:lstStyle/>
          <a:p>
            <a:pPr defTabSz="666734">
              <a:lnSpc>
                <a:spcPct val="90000"/>
              </a:lnSpc>
              <a:spcBef>
                <a:spcPct val="0"/>
              </a:spcBef>
              <a:spcAft>
                <a:spcPct val="35000"/>
              </a:spcAft>
            </a:pPr>
            <a:r>
              <a:rPr lang="en-GB" sz="1500">
                <a:solidFill>
                  <a:srgbClr val="FFFFFF"/>
                </a:solidFill>
              </a:rPr>
              <a:t>Enterprises</a:t>
            </a:r>
            <a:endParaRPr lang="en-GB" sz="1500" dirty="0">
              <a:solidFill>
                <a:srgbClr val="FFFFFF"/>
              </a:solidFill>
            </a:endParaRPr>
          </a:p>
        </p:txBody>
      </p:sp>
      <p:sp>
        <p:nvSpPr>
          <p:cNvPr id="25" name="TextBox 24"/>
          <p:cNvSpPr txBox="1"/>
          <p:nvPr/>
        </p:nvSpPr>
        <p:spPr>
          <a:xfrm>
            <a:off x="8336042" y="1945922"/>
            <a:ext cx="2938825" cy="1006429"/>
          </a:xfrm>
          <a:prstGeom prst="rect">
            <a:avLst/>
          </a:prstGeom>
          <a:noFill/>
        </p:spPr>
        <p:txBody>
          <a:bodyPr wrap="square" lIns="91440" rIns="91440" rtlCol="0">
            <a:spAutoFit/>
          </a:bodyPr>
          <a:lstStyle/>
          <a:p>
            <a:pPr algn="l">
              <a:lnSpc>
                <a:spcPct val="90000"/>
              </a:lnSpc>
              <a:spcBef>
                <a:spcPts val="400"/>
              </a:spcBef>
              <a:spcAft>
                <a:spcPts val="400"/>
              </a:spcAft>
            </a:pPr>
            <a:r>
              <a:rPr lang="en-GB" sz="1600" dirty="0">
                <a:latin typeface="+mn-lt"/>
              </a:rPr>
              <a:t>Innovators seek the latest studies and resources when it comes to defining organizational culture</a:t>
            </a:r>
          </a:p>
        </p:txBody>
      </p:sp>
      <p:sp>
        <p:nvSpPr>
          <p:cNvPr id="43" name="TextBox 42"/>
          <p:cNvSpPr txBox="1"/>
          <p:nvPr/>
        </p:nvSpPr>
        <p:spPr>
          <a:xfrm>
            <a:off x="8293420" y="5041778"/>
            <a:ext cx="2938825" cy="1006429"/>
          </a:xfrm>
          <a:prstGeom prst="rect">
            <a:avLst/>
          </a:prstGeom>
          <a:noFill/>
        </p:spPr>
        <p:txBody>
          <a:bodyPr wrap="square" lIns="91440" rIns="91440" rtlCol="0">
            <a:spAutoFit/>
          </a:bodyPr>
          <a:lstStyle/>
          <a:p>
            <a:pPr algn="l">
              <a:lnSpc>
                <a:spcPct val="90000"/>
              </a:lnSpc>
              <a:spcBef>
                <a:spcPts val="400"/>
              </a:spcBef>
              <a:spcAft>
                <a:spcPts val="400"/>
              </a:spcAft>
            </a:pPr>
            <a:r>
              <a:rPr lang="en-GB" sz="1600" dirty="0">
                <a:latin typeface="+mn-lt"/>
              </a:rPr>
              <a:t>Enterprises seek to hire the best-in-class engineers, managers, designers in their industry</a:t>
            </a:r>
          </a:p>
        </p:txBody>
      </p:sp>
      <p:sp>
        <p:nvSpPr>
          <p:cNvPr id="47" name="TextBox 46"/>
          <p:cNvSpPr txBox="1"/>
          <p:nvPr/>
        </p:nvSpPr>
        <p:spPr>
          <a:xfrm>
            <a:off x="1234154" y="5041778"/>
            <a:ext cx="2682765" cy="784830"/>
          </a:xfrm>
          <a:prstGeom prst="rect">
            <a:avLst/>
          </a:prstGeom>
          <a:noFill/>
        </p:spPr>
        <p:txBody>
          <a:bodyPr wrap="square" lIns="91440" rIns="91440" rtlCol="0">
            <a:spAutoFit/>
          </a:bodyPr>
          <a:lstStyle/>
          <a:p>
            <a:pPr algn="r">
              <a:lnSpc>
                <a:spcPct val="90000"/>
              </a:lnSpc>
              <a:spcBef>
                <a:spcPts val="400"/>
              </a:spcBef>
              <a:spcAft>
                <a:spcPts val="400"/>
              </a:spcAft>
            </a:pPr>
            <a:r>
              <a:rPr lang="en-GB" sz="1600" dirty="0">
                <a:latin typeface="+mn-lt"/>
              </a:rPr>
              <a:t>Corporate employees have few mentors and resources to guide them to success</a:t>
            </a:r>
          </a:p>
        </p:txBody>
      </p:sp>
      <p:cxnSp>
        <p:nvCxnSpPr>
          <p:cNvPr id="50" name="Straight Connector 49"/>
          <p:cNvCxnSpPr>
            <a:cxnSpLocks/>
            <a:stCxn id="5" idx="0"/>
            <a:endCxn id="5" idx="4"/>
          </p:cNvCxnSpPr>
          <p:nvPr/>
        </p:nvCxnSpPr>
        <p:spPr>
          <a:xfrm>
            <a:off x="6097778" y="1929715"/>
            <a:ext cx="0" cy="2880000"/>
          </a:xfrm>
          <a:prstGeom prst="line">
            <a:avLst/>
          </a:prstGeom>
          <a:ln w="9525" cmpd="sng">
            <a:solidFill>
              <a:srgbClr val="FFFFFF">
                <a:alpha val="50000"/>
              </a:srgb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a:cxnSpLocks/>
            <a:stCxn id="5" idx="6"/>
            <a:endCxn id="5" idx="2"/>
          </p:cNvCxnSpPr>
          <p:nvPr/>
        </p:nvCxnSpPr>
        <p:spPr>
          <a:xfrm flipH="1">
            <a:off x="4657778" y="3369715"/>
            <a:ext cx="2880000" cy="0"/>
          </a:xfrm>
          <a:prstGeom prst="line">
            <a:avLst/>
          </a:prstGeom>
          <a:ln w="9525" cmpd="sng">
            <a:solidFill>
              <a:srgbClr val="FFFFFF">
                <a:alpha val="50000"/>
              </a:srgbClr>
            </a:solidFill>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3907196" y="3200438"/>
            <a:ext cx="557846" cy="338554"/>
          </a:xfrm>
          <a:prstGeom prst="rect">
            <a:avLst/>
          </a:prstGeom>
          <a:noFill/>
        </p:spPr>
        <p:txBody>
          <a:bodyPr wrap="square" lIns="0" rIns="0" rtlCol="0">
            <a:spAutoFit/>
          </a:bodyPr>
          <a:lstStyle/>
          <a:p>
            <a:pPr algn="r"/>
            <a:r>
              <a:rPr lang="en-GB" sz="1600" dirty="0">
                <a:latin typeface="+mn-lt"/>
              </a:rPr>
              <a:t>Style</a:t>
            </a:r>
          </a:p>
        </p:txBody>
      </p:sp>
      <p:sp>
        <p:nvSpPr>
          <p:cNvPr id="55" name="TextBox 54"/>
          <p:cNvSpPr txBox="1"/>
          <p:nvPr/>
        </p:nvSpPr>
        <p:spPr>
          <a:xfrm>
            <a:off x="5888692" y="1507416"/>
            <a:ext cx="397545" cy="338554"/>
          </a:xfrm>
          <a:prstGeom prst="rect">
            <a:avLst/>
          </a:prstGeom>
          <a:noFill/>
        </p:spPr>
        <p:txBody>
          <a:bodyPr wrap="none" lIns="0" rIns="0" rtlCol="0">
            <a:spAutoFit/>
          </a:bodyPr>
          <a:lstStyle/>
          <a:p>
            <a:pPr algn="ctr"/>
            <a:r>
              <a:rPr lang="en-GB" sz="1600" dirty="0">
                <a:latin typeface="+mn-lt"/>
              </a:rPr>
              <a:t>Size</a:t>
            </a:r>
          </a:p>
        </p:txBody>
      </p:sp>
      <p:sp>
        <p:nvSpPr>
          <p:cNvPr id="20" name="TextBox 19"/>
          <p:cNvSpPr txBox="1"/>
          <p:nvPr/>
        </p:nvSpPr>
        <p:spPr>
          <a:xfrm>
            <a:off x="978094" y="1945922"/>
            <a:ext cx="2938825" cy="757130"/>
          </a:xfrm>
          <a:prstGeom prst="rect">
            <a:avLst/>
          </a:prstGeom>
          <a:noFill/>
        </p:spPr>
        <p:txBody>
          <a:bodyPr wrap="square" lIns="91440" rIns="91440" rtlCol="0">
            <a:spAutoFit/>
          </a:bodyPr>
          <a:lstStyle/>
          <a:p>
            <a:pPr algn="r">
              <a:lnSpc>
                <a:spcPct val="90000"/>
              </a:lnSpc>
              <a:spcBef>
                <a:spcPts val="400"/>
              </a:spcBef>
              <a:spcAft>
                <a:spcPts val="400"/>
              </a:spcAft>
            </a:pPr>
            <a:r>
              <a:rPr lang="en-GB" sz="1600" dirty="0">
                <a:latin typeface="+mn-lt"/>
              </a:rPr>
              <a:t>Small/medium business need digital resources and services to help them compete</a:t>
            </a:r>
          </a:p>
        </p:txBody>
      </p:sp>
    </p:spTree>
    <p:extLst>
      <p:ext uri="{BB962C8B-B14F-4D97-AF65-F5344CB8AC3E}">
        <p14:creationId xmlns:p14="http://schemas.microsoft.com/office/powerpoint/2010/main" val="11383670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ableau 46">
            <a:extLst>
              <a:ext uri="{FF2B5EF4-FFF2-40B4-BE49-F238E27FC236}">
                <a16:creationId xmlns:a16="http://schemas.microsoft.com/office/drawing/2014/main" id="{18021018-7865-48D0-9C73-F8FD4DEEBC2B}"/>
              </a:ext>
            </a:extLst>
          </p:cNvPr>
          <p:cNvGraphicFramePr>
            <a:graphicFrameLocks noGrp="1"/>
          </p:cNvGraphicFramePr>
          <p:nvPr>
            <p:extLst>
              <p:ext uri="{D42A27DB-BD31-4B8C-83A1-F6EECF244321}">
                <p14:modId xmlns:p14="http://schemas.microsoft.com/office/powerpoint/2010/main" val="2425453434"/>
              </p:ext>
            </p:extLst>
          </p:nvPr>
        </p:nvGraphicFramePr>
        <p:xfrm>
          <a:off x="1201504" y="1304338"/>
          <a:ext cx="3899160" cy="2083919"/>
        </p:xfrm>
        <a:graphic>
          <a:graphicData uri="http://schemas.openxmlformats.org/drawingml/2006/table">
            <a:tbl>
              <a:tblPr firstRow="1" bandRow="1">
                <a:tableStyleId>{5C22544A-7EE6-4342-B048-85BDC9FD1C3A}</a:tableStyleId>
              </a:tblPr>
              <a:tblGrid>
                <a:gridCol w="3899160">
                  <a:extLst>
                    <a:ext uri="{9D8B030D-6E8A-4147-A177-3AD203B41FA5}">
                      <a16:colId xmlns:a16="http://schemas.microsoft.com/office/drawing/2014/main" val="3906211955"/>
                    </a:ext>
                  </a:extLst>
                </a:gridCol>
              </a:tblGrid>
              <a:tr h="336116">
                <a:tc>
                  <a:txBody>
                    <a:bodyPr/>
                    <a:lstStyle/>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r>
                        <a:rPr lang="en-GB" sz="1400" kern="1200" dirty="0">
                          <a:solidFill>
                            <a:schemeClr val="bg1"/>
                          </a:solidFill>
                          <a:latin typeface="+mn-lt"/>
                          <a:ea typeface="+mn-ea"/>
                          <a:cs typeface="+mn-cs"/>
                        </a:rPr>
                        <a:t>LOREM IPSUM DOLO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76045134"/>
                  </a:ext>
                </a:extLst>
              </a:tr>
              <a:tr h="1747803">
                <a:tc>
                  <a:txBody>
                    <a:bodyPr/>
                    <a:lstStyle/>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9981957"/>
                  </a:ext>
                </a:extLst>
              </a:tr>
            </a:tbl>
          </a:graphicData>
        </a:graphic>
      </p:graphicFrame>
      <p:graphicFrame>
        <p:nvGraphicFramePr>
          <p:cNvPr id="39" name="Objet 38" hidden="1">
            <a:extLst>
              <a:ext uri="{FF2B5EF4-FFF2-40B4-BE49-F238E27FC236}">
                <a16:creationId xmlns:a16="http://schemas.microsoft.com/office/drawing/2014/main" id="{3CFD183A-9878-4541-BFD7-3D83A69187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39" name="Objet 38" hidden="1">
                        <a:extLst>
                          <a:ext uri="{FF2B5EF4-FFF2-40B4-BE49-F238E27FC236}">
                            <a16:creationId xmlns:a16="http://schemas.microsoft.com/office/drawing/2014/main" id="{3CFD183A-9878-4541-BFD7-3D83A69187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A7E94F-128F-4883-9EB9-1C6AACE50D44}"/>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4117B52D-E7DC-4C23-9FED-E6657DC27B31}"/>
              </a:ext>
            </a:extLst>
          </p:cNvPr>
          <p:cNvSpPr>
            <a:spLocks noGrp="1"/>
          </p:cNvSpPr>
          <p:nvPr>
            <p:ph type="title"/>
          </p:nvPr>
        </p:nvSpPr>
        <p:spPr/>
        <p:txBody>
          <a:bodyPr/>
          <a:lstStyle/>
          <a:p>
            <a:r>
              <a:rPr lang="en-GB"/>
              <a:t>Slide message - four quadrants with one stake / objective</a:t>
            </a:r>
            <a:endParaRPr lang="en-GB" dirty="0"/>
          </a:p>
        </p:txBody>
      </p:sp>
      <p:sp>
        <p:nvSpPr>
          <p:cNvPr id="8" name="Oval 40">
            <a:extLst>
              <a:ext uri="{FF2B5EF4-FFF2-40B4-BE49-F238E27FC236}">
                <a16:creationId xmlns:a16="http://schemas.microsoft.com/office/drawing/2014/main" id="{872D8521-7348-4C13-A993-F2D67B9BF2FB}"/>
              </a:ext>
            </a:extLst>
          </p:cNvPr>
          <p:cNvSpPr>
            <a:spLocks noChangeArrowheads="1"/>
          </p:cNvSpPr>
          <p:nvPr/>
        </p:nvSpPr>
        <p:spPr bwMode="auto">
          <a:xfrm>
            <a:off x="5222636" y="2720836"/>
            <a:ext cx="1800000" cy="1800000"/>
          </a:xfrm>
          <a:prstGeom prst="ellipse">
            <a:avLst/>
          </a:prstGeom>
          <a:solidFill>
            <a:srgbClr val="B40646"/>
          </a:solidFill>
          <a:ln w="12700" algn="ctr">
            <a:solidFill>
              <a:schemeClr val="bg2"/>
            </a:solidFill>
            <a:round/>
            <a:headEnd/>
            <a:tailEnd/>
          </a:ln>
        </p:spPr>
        <p:txBody>
          <a:bodyPr wrap="none" lIns="18000" tIns="46800" rIns="18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mn-lt"/>
            </a:endParaRPr>
          </a:p>
        </p:txBody>
      </p:sp>
      <p:sp>
        <p:nvSpPr>
          <p:cNvPr id="9" name="Oval 40">
            <a:extLst>
              <a:ext uri="{FF2B5EF4-FFF2-40B4-BE49-F238E27FC236}">
                <a16:creationId xmlns:a16="http://schemas.microsoft.com/office/drawing/2014/main" id="{28EB858A-4AF8-421F-A832-9749A2B4D5F6}"/>
              </a:ext>
            </a:extLst>
          </p:cNvPr>
          <p:cNvSpPr>
            <a:spLocks noChangeArrowheads="1"/>
          </p:cNvSpPr>
          <p:nvPr/>
        </p:nvSpPr>
        <p:spPr bwMode="auto">
          <a:xfrm>
            <a:off x="5267636" y="2765836"/>
            <a:ext cx="1710000" cy="1710000"/>
          </a:xfrm>
          <a:prstGeom prst="ellipse">
            <a:avLst/>
          </a:prstGeom>
          <a:solidFill>
            <a:srgbClr val="FFFFFF"/>
          </a:solidFill>
          <a:ln w="12700" algn="ctr">
            <a:solidFill>
              <a:schemeClr val="tx2"/>
            </a:solidFill>
            <a:round/>
            <a:headEnd/>
            <a:tailEnd/>
          </a:ln>
        </p:spPr>
        <p:txBody>
          <a:bodyPr wrap="none" lIns="18000" tIns="0" rIns="18000" bIns="504000" anchor="ctr"/>
          <a:lstStyle/>
          <a:p>
            <a:pPr lvl="0" eaLnBrk="1" fontAlgn="auto" hangingPunct="1">
              <a:spcBef>
                <a:spcPts val="0"/>
              </a:spcBef>
              <a:spcAft>
                <a:spcPts val="0"/>
              </a:spcAft>
              <a:buClrTx/>
              <a:defRPr/>
            </a:pPr>
            <a:r>
              <a:rPr lang="en-GB" sz="1600" b="1" i="1" kern="0" dirty="0">
                <a:solidFill>
                  <a:schemeClr val="accent2"/>
                </a:solidFill>
                <a:latin typeface="+mn-lt"/>
              </a:rPr>
              <a:t>Lorem ipsum</a:t>
            </a:r>
            <a:endParaRPr kumimoji="0" lang="en-GB" sz="1600" b="1" i="1" u="none" strike="noStrike" kern="0" cap="none" spc="0" normalizeH="0" baseline="0" noProof="0" dirty="0">
              <a:ln>
                <a:noFill/>
              </a:ln>
              <a:solidFill>
                <a:schemeClr val="accent2"/>
              </a:solidFill>
              <a:effectLst/>
              <a:uLnTx/>
              <a:uFillTx/>
              <a:latin typeface="+mn-lt"/>
            </a:endParaRPr>
          </a:p>
        </p:txBody>
      </p:sp>
      <p:cxnSp>
        <p:nvCxnSpPr>
          <p:cNvPr id="11" name="Connecteur droit avec flèche 10">
            <a:extLst>
              <a:ext uri="{FF2B5EF4-FFF2-40B4-BE49-F238E27FC236}">
                <a16:creationId xmlns:a16="http://schemas.microsoft.com/office/drawing/2014/main" id="{1992DE12-ED48-4677-90E3-B3B24D1D8899}"/>
              </a:ext>
            </a:extLst>
          </p:cNvPr>
          <p:cNvCxnSpPr>
            <a:cxnSpLocks/>
          </p:cNvCxnSpPr>
          <p:nvPr/>
        </p:nvCxnSpPr>
        <p:spPr>
          <a:xfrm flipH="1" flipV="1">
            <a:off x="7072694" y="3651003"/>
            <a:ext cx="3917802" cy="0"/>
          </a:xfrm>
          <a:prstGeom prst="straightConnector1">
            <a:avLst/>
          </a:prstGeom>
          <a:noFill/>
          <a:ln w="12700" cap="flat" cmpd="sng" algn="ctr">
            <a:solidFill>
              <a:srgbClr val="C1B5B7"/>
            </a:solidFill>
            <a:prstDash val="solid"/>
            <a:miter lim="800000"/>
            <a:headEnd type="none" w="med" len="med"/>
            <a:tailEnd type="none" w="med" len="med"/>
          </a:ln>
          <a:effectLst/>
        </p:spPr>
      </p:cxnSp>
      <p:cxnSp>
        <p:nvCxnSpPr>
          <p:cNvPr id="13" name="Connecteur droit avec flèche 12">
            <a:extLst>
              <a:ext uri="{FF2B5EF4-FFF2-40B4-BE49-F238E27FC236}">
                <a16:creationId xmlns:a16="http://schemas.microsoft.com/office/drawing/2014/main" id="{70C66701-49C0-414A-A22D-662A65A65969}"/>
              </a:ext>
            </a:extLst>
          </p:cNvPr>
          <p:cNvCxnSpPr>
            <a:cxnSpLocks/>
          </p:cNvCxnSpPr>
          <p:nvPr/>
        </p:nvCxnSpPr>
        <p:spPr>
          <a:xfrm flipH="1">
            <a:off x="1201504" y="3651003"/>
            <a:ext cx="3917802" cy="0"/>
          </a:xfrm>
          <a:prstGeom prst="straightConnector1">
            <a:avLst/>
          </a:prstGeom>
          <a:noFill/>
          <a:ln w="12700" cap="flat" cmpd="sng" algn="ctr">
            <a:solidFill>
              <a:srgbClr val="C1B5B7"/>
            </a:solidFill>
            <a:prstDash val="solid"/>
            <a:miter lim="800000"/>
            <a:headEnd type="none" w="med" len="med"/>
            <a:tailEnd type="none" w="med" len="med"/>
          </a:ln>
          <a:effectLst/>
        </p:spPr>
      </p:cxnSp>
      <p:cxnSp>
        <p:nvCxnSpPr>
          <p:cNvPr id="17" name="Connecteur droit avec flèche 16">
            <a:extLst>
              <a:ext uri="{FF2B5EF4-FFF2-40B4-BE49-F238E27FC236}">
                <a16:creationId xmlns:a16="http://schemas.microsoft.com/office/drawing/2014/main" id="{0D41CB28-F680-46CA-A26C-F526D09A9B2C}"/>
              </a:ext>
            </a:extLst>
          </p:cNvPr>
          <p:cNvCxnSpPr>
            <a:cxnSpLocks/>
          </p:cNvCxnSpPr>
          <p:nvPr/>
        </p:nvCxnSpPr>
        <p:spPr>
          <a:xfrm flipH="1" flipV="1">
            <a:off x="6089786" y="1304338"/>
            <a:ext cx="6214" cy="1386566"/>
          </a:xfrm>
          <a:prstGeom prst="straightConnector1">
            <a:avLst/>
          </a:prstGeom>
          <a:noFill/>
          <a:ln w="12700" cap="flat" cmpd="sng" algn="ctr">
            <a:solidFill>
              <a:srgbClr val="C1B5B7"/>
            </a:solidFill>
            <a:prstDash val="solid"/>
            <a:miter lim="800000"/>
            <a:headEnd type="none" w="med" len="med"/>
            <a:tailEnd type="none" w="med" len="med"/>
          </a:ln>
          <a:effectLst/>
        </p:spPr>
      </p:cxnSp>
      <p:cxnSp>
        <p:nvCxnSpPr>
          <p:cNvPr id="15" name="Connecteur droit avec flèche 14">
            <a:extLst>
              <a:ext uri="{FF2B5EF4-FFF2-40B4-BE49-F238E27FC236}">
                <a16:creationId xmlns:a16="http://schemas.microsoft.com/office/drawing/2014/main" id="{A78CCC2B-21E2-4D3A-BA5B-0B99C0B24A49}"/>
              </a:ext>
            </a:extLst>
          </p:cNvPr>
          <p:cNvCxnSpPr>
            <a:cxnSpLocks/>
          </p:cNvCxnSpPr>
          <p:nvPr/>
        </p:nvCxnSpPr>
        <p:spPr>
          <a:xfrm>
            <a:off x="6096000" y="4628093"/>
            <a:ext cx="0" cy="1494566"/>
          </a:xfrm>
          <a:prstGeom prst="straightConnector1">
            <a:avLst/>
          </a:prstGeom>
          <a:noFill/>
          <a:ln w="12700" cap="flat" cmpd="sng" algn="ctr">
            <a:solidFill>
              <a:srgbClr val="C1B5B7"/>
            </a:solidFill>
            <a:prstDash val="solid"/>
            <a:miter lim="800000"/>
            <a:headEnd type="none" w="med" len="med"/>
            <a:tailEnd type="none" w="med" len="med"/>
          </a:ln>
          <a:effectLst/>
        </p:spPr>
      </p:cxnSp>
      <p:graphicFrame>
        <p:nvGraphicFramePr>
          <p:cNvPr id="51" name="Tableau 46-2">
            <a:extLst>
              <a:ext uri="{FF2B5EF4-FFF2-40B4-BE49-F238E27FC236}">
                <a16:creationId xmlns:a16="http://schemas.microsoft.com/office/drawing/2014/main" id="{00AB6047-C8AB-43AE-99C8-E07BAD4AF28E}"/>
              </a:ext>
            </a:extLst>
          </p:cNvPr>
          <p:cNvGraphicFramePr>
            <a:graphicFrameLocks noGrp="1"/>
          </p:cNvGraphicFramePr>
          <p:nvPr>
            <p:extLst>
              <p:ext uri="{D42A27DB-BD31-4B8C-83A1-F6EECF244321}">
                <p14:modId xmlns:p14="http://schemas.microsoft.com/office/powerpoint/2010/main" val="2617705770"/>
              </p:ext>
            </p:extLst>
          </p:nvPr>
        </p:nvGraphicFramePr>
        <p:xfrm>
          <a:off x="7091336" y="1304338"/>
          <a:ext cx="3899160" cy="2083919"/>
        </p:xfrm>
        <a:graphic>
          <a:graphicData uri="http://schemas.openxmlformats.org/drawingml/2006/table">
            <a:tbl>
              <a:tblPr firstRow="1" bandRow="1">
                <a:tableStyleId>{5C22544A-7EE6-4342-B048-85BDC9FD1C3A}</a:tableStyleId>
              </a:tblPr>
              <a:tblGrid>
                <a:gridCol w="3899160">
                  <a:extLst>
                    <a:ext uri="{9D8B030D-6E8A-4147-A177-3AD203B41FA5}">
                      <a16:colId xmlns:a16="http://schemas.microsoft.com/office/drawing/2014/main" val="3906211955"/>
                    </a:ext>
                  </a:extLst>
                </a:gridCol>
              </a:tblGrid>
              <a:tr h="336116">
                <a:tc>
                  <a:txBody>
                    <a:bodyPr/>
                    <a:lstStyle/>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r>
                        <a:rPr lang="en-GB" sz="1400" kern="1200">
                          <a:solidFill>
                            <a:schemeClr val="bg1"/>
                          </a:solidFill>
                          <a:latin typeface="+mn-lt"/>
                          <a:ea typeface="+mn-ea"/>
                          <a:cs typeface="+mn-cs"/>
                        </a:rPr>
                        <a:t>LOREM IPSUM DOLOR</a:t>
                      </a:r>
                      <a:endParaRPr lang="en-GB" sz="1400" kern="1200" dirty="0">
                        <a:solidFill>
                          <a:schemeClr val="bg1"/>
                        </a:solidFill>
                        <a:latin typeface="+mn-lt"/>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76045134"/>
                  </a:ext>
                </a:extLst>
              </a:tr>
              <a:tr h="1747803">
                <a:tc>
                  <a:txBody>
                    <a:bodyPr/>
                    <a:lstStyle/>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dirty="0">
                          <a:solidFill>
                            <a:schemeClr val="tx1"/>
                          </a:solidFill>
                          <a:latin typeface="+mn-lt"/>
                          <a:ea typeface="+mn-ea"/>
                          <a:cs typeface="+mn-cs"/>
                        </a:rPr>
                        <a:t>Lorem ipsum </a:t>
                      </a:r>
                      <a:r>
                        <a:rPr lang="en-GB" sz="1400" kern="1200" dirty="0" err="1">
                          <a:solidFill>
                            <a:schemeClr val="tx1"/>
                          </a:solidFill>
                          <a:latin typeface="+mn-lt"/>
                          <a:ea typeface="+mn-ea"/>
                          <a:cs typeface="+mn-cs"/>
                        </a:rPr>
                        <a:t>dolor</a:t>
                      </a:r>
                      <a:r>
                        <a:rPr lang="en-GB" sz="1400" kern="1200" dirty="0">
                          <a:solidFill>
                            <a:schemeClr val="tx1"/>
                          </a:solidFill>
                          <a:latin typeface="+mn-lt"/>
                          <a:ea typeface="+mn-ea"/>
                          <a:cs typeface="+mn-cs"/>
                        </a:rPr>
                        <a:t> sit </a:t>
                      </a:r>
                      <a:r>
                        <a:rPr lang="en-GB" sz="1400" kern="1200" dirty="0" err="1">
                          <a:solidFill>
                            <a:schemeClr val="tx1"/>
                          </a:solidFill>
                          <a:latin typeface="+mn-lt"/>
                          <a:ea typeface="+mn-ea"/>
                          <a:cs typeface="+mn-cs"/>
                        </a:rPr>
                        <a:t>amet</a:t>
                      </a:r>
                      <a:r>
                        <a:rPr lang="en-GB" sz="1400" kern="1200" dirty="0">
                          <a:solidFill>
                            <a:schemeClr val="tx1"/>
                          </a:solidFill>
                          <a:latin typeface="+mn-lt"/>
                          <a:ea typeface="+mn-ea"/>
                          <a:cs typeface="+mn-cs"/>
                        </a:rPr>
                        <a:t>, </a:t>
                      </a:r>
                      <a:r>
                        <a:rPr lang="en-GB" sz="1400" kern="1200" dirty="0" err="1">
                          <a:solidFill>
                            <a:schemeClr val="tx1"/>
                          </a:solidFill>
                          <a:latin typeface="+mn-lt"/>
                          <a:ea typeface="+mn-ea"/>
                          <a:cs typeface="+mn-cs"/>
                        </a:rPr>
                        <a:t>consectetur</a:t>
                      </a:r>
                      <a:endParaRPr lang="en-GB" sz="1400" kern="1200" dirty="0">
                        <a:solidFill>
                          <a:schemeClr val="tx1"/>
                        </a:solidFill>
                        <a:latin typeface="+mn-lt"/>
                        <a:ea typeface="+mn-ea"/>
                        <a:cs typeface="+mn-cs"/>
                      </a:endParaRPr>
                    </a:p>
                    <a:p>
                      <a:pPr marL="179388" indent="-179388" algn="l" rtl="0" eaLnBrk="0" fontAlgn="base" hangingPunct="0">
                        <a:spcBef>
                          <a:spcPct val="50000"/>
                        </a:spcBef>
                        <a:spcAft>
                          <a:spcPct val="0"/>
                        </a:spcAft>
                        <a:buClr>
                          <a:schemeClr val="accent3"/>
                        </a:buClr>
                        <a:buSzPct val="77000"/>
                        <a:buFont typeface="Wingdings 3" panose="05040102010807070707" pitchFamily="18" charset="2"/>
                        <a:buChar char=""/>
                      </a:pPr>
                      <a:endParaRPr lang="en-GB" sz="1400" kern="1200" dirty="0">
                        <a:solidFill>
                          <a:srgbClr val="000000"/>
                        </a:solidFill>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9981957"/>
                  </a:ext>
                </a:extLst>
              </a:tr>
            </a:tbl>
          </a:graphicData>
        </a:graphic>
      </p:graphicFrame>
      <p:graphicFrame>
        <p:nvGraphicFramePr>
          <p:cNvPr id="52" name="Tableau 46-4">
            <a:extLst>
              <a:ext uri="{FF2B5EF4-FFF2-40B4-BE49-F238E27FC236}">
                <a16:creationId xmlns:a16="http://schemas.microsoft.com/office/drawing/2014/main" id="{9938637A-4A6E-454D-85EA-F79B52463A2A}"/>
              </a:ext>
            </a:extLst>
          </p:cNvPr>
          <p:cNvGraphicFramePr>
            <a:graphicFrameLocks noGrp="1"/>
          </p:cNvGraphicFramePr>
          <p:nvPr>
            <p:extLst>
              <p:ext uri="{D42A27DB-BD31-4B8C-83A1-F6EECF244321}">
                <p14:modId xmlns:p14="http://schemas.microsoft.com/office/powerpoint/2010/main" val="2457959466"/>
              </p:ext>
            </p:extLst>
          </p:nvPr>
        </p:nvGraphicFramePr>
        <p:xfrm>
          <a:off x="1195443" y="4202301"/>
          <a:ext cx="3899160" cy="1905118"/>
        </p:xfrm>
        <a:graphic>
          <a:graphicData uri="http://schemas.openxmlformats.org/drawingml/2006/table">
            <a:tbl>
              <a:tblPr firstRow="1" bandRow="1">
                <a:tableStyleId>{5C22544A-7EE6-4342-B048-85BDC9FD1C3A}</a:tableStyleId>
              </a:tblPr>
              <a:tblGrid>
                <a:gridCol w="3899160">
                  <a:extLst>
                    <a:ext uri="{9D8B030D-6E8A-4147-A177-3AD203B41FA5}">
                      <a16:colId xmlns:a16="http://schemas.microsoft.com/office/drawing/2014/main" val="3906211955"/>
                    </a:ext>
                  </a:extLst>
                </a:gridCol>
              </a:tblGrid>
              <a:tr h="335398">
                <a:tc>
                  <a:txBody>
                    <a:bodyPr/>
                    <a:lstStyle/>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endParaRPr lang="en-GB" sz="1400" kern="1200" dirty="0">
                        <a:solidFill>
                          <a:srgbClr val="000000"/>
                        </a:solidFill>
                        <a:latin typeface="+mn-lt"/>
                        <a:ea typeface="+mn-ea"/>
                        <a:cs typeface="+mn-cs"/>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3541504"/>
                  </a:ext>
                </a:extLst>
              </a:tr>
              <a:tr h="335398">
                <a:tc>
                  <a:txBody>
                    <a:bodyPr/>
                    <a:lstStyle/>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r>
                        <a:rPr lang="en-GB" sz="1400" b="1" kern="1200" dirty="0">
                          <a:solidFill>
                            <a:schemeClr val="bg1"/>
                          </a:solidFill>
                          <a:latin typeface="+mn-lt"/>
                          <a:ea typeface="+mn-ea"/>
                          <a:cs typeface="+mn-cs"/>
                        </a:rPr>
                        <a:t>LOREM IPSUM DOLO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76045134"/>
                  </a:ext>
                </a:extLst>
              </a:tr>
            </a:tbl>
          </a:graphicData>
        </a:graphic>
      </p:graphicFrame>
      <p:graphicFrame>
        <p:nvGraphicFramePr>
          <p:cNvPr id="53" name="Tableau 46-3">
            <a:extLst>
              <a:ext uri="{FF2B5EF4-FFF2-40B4-BE49-F238E27FC236}">
                <a16:creationId xmlns:a16="http://schemas.microsoft.com/office/drawing/2014/main" id="{2FF4642A-40BB-45FB-B8E2-1BA63FDA8F7B}"/>
              </a:ext>
            </a:extLst>
          </p:cNvPr>
          <p:cNvGraphicFramePr>
            <a:graphicFrameLocks noGrp="1"/>
          </p:cNvGraphicFramePr>
          <p:nvPr>
            <p:extLst>
              <p:ext uri="{D42A27DB-BD31-4B8C-83A1-F6EECF244321}">
                <p14:modId xmlns:p14="http://schemas.microsoft.com/office/powerpoint/2010/main" val="193407067"/>
              </p:ext>
            </p:extLst>
          </p:nvPr>
        </p:nvGraphicFramePr>
        <p:xfrm>
          <a:off x="7091336" y="4202301"/>
          <a:ext cx="3899160" cy="1905118"/>
        </p:xfrm>
        <a:graphic>
          <a:graphicData uri="http://schemas.openxmlformats.org/drawingml/2006/table">
            <a:tbl>
              <a:tblPr firstRow="1" bandRow="1">
                <a:tableStyleId>{5C22544A-7EE6-4342-B048-85BDC9FD1C3A}</a:tableStyleId>
              </a:tblPr>
              <a:tblGrid>
                <a:gridCol w="3899160">
                  <a:extLst>
                    <a:ext uri="{9D8B030D-6E8A-4147-A177-3AD203B41FA5}">
                      <a16:colId xmlns:a16="http://schemas.microsoft.com/office/drawing/2014/main" val="3906211955"/>
                    </a:ext>
                  </a:extLst>
                </a:gridCol>
              </a:tblGrid>
              <a:tr h="335398">
                <a:tc>
                  <a:txBody>
                    <a:bodyPr/>
                    <a:lstStyle/>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179388" indent="-179388"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r>
                        <a:rPr lang="en-GB" sz="1400" b="0" kern="1200" dirty="0">
                          <a:solidFill>
                            <a:schemeClr val="tx1"/>
                          </a:solidFill>
                          <a:latin typeface="+mn-lt"/>
                          <a:ea typeface="+mn-ea"/>
                          <a:cs typeface="+mn-cs"/>
                        </a:rPr>
                        <a:t>Lorem ipsum </a:t>
                      </a:r>
                      <a:r>
                        <a:rPr lang="en-GB" sz="1400" b="0" kern="1200" dirty="0" err="1">
                          <a:solidFill>
                            <a:schemeClr val="tx1"/>
                          </a:solidFill>
                          <a:latin typeface="+mn-lt"/>
                          <a:ea typeface="+mn-ea"/>
                          <a:cs typeface="+mn-cs"/>
                        </a:rPr>
                        <a:t>dolor</a:t>
                      </a:r>
                      <a:r>
                        <a:rPr lang="en-GB" sz="1400" b="0" kern="1200" dirty="0">
                          <a:solidFill>
                            <a:schemeClr val="tx1"/>
                          </a:solidFill>
                          <a:latin typeface="+mn-lt"/>
                          <a:ea typeface="+mn-ea"/>
                          <a:cs typeface="+mn-cs"/>
                        </a:rPr>
                        <a:t> sit </a:t>
                      </a:r>
                      <a:r>
                        <a:rPr lang="en-GB" sz="1400" b="0" kern="1200" dirty="0" err="1">
                          <a:solidFill>
                            <a:schemeClr val="tx1"/>
                          </a:solidFill>
                          <a:latin typeface="+mn-lt"/>
                          <a:ea typeface="+mn-ea"/>
                          <a:cs typeface="+mn-cs"/>
                        </a:rPr>
                        <a:t>amet</a:t>
                      </a:r>
                      <a:r>
                        <a:rPr lang="en-GB" sz="1400" b="0" kern="1200" dirty="0">
                          <a:solidFill>
                            <a:schemeClr val="tx1"/>
                          </a:solidFill>
                          <a:latin typeface="+mn-lt"/>
                          <a:ea typeface="+mn-ea"/>
                          <a:cs typeface="+mn-cs"/>
                        </a:rPr>
                        <a:t>, </a:t>
                      </a:r>
                      <a:r>
                        <a:rPr lang="en-GB" sz="1400" b="0" kern="1200" dirty="0" err="1">
                          <a:solidFill>
                            <a:schemeClr val="tx1"/>
                          </a:solidFill>
                          <a:latin typeface="+mn-lt"/>
                          <a:ea typeface="+mn-ea"/>
                          <a:cs typeface="+mn-cs"/>
                        </a:rPr>
                        <a:t>consectetur</a:t>
                      </a:r>
                      <a:endParaRPr lang="en-GB" sz="1400" b="0" kern="1200" dirty="0">
                        <a:solidFill>
                          <a:schemeClr val="tx1"/>
                        </a:solidFill>
                        <a:latin typeface="+mn-lt"/>
                        <a:ea typeface="+mn-ea"/>
                        <a:cs typeface="+mn-cs"/>
                      </a:endParaRPr>
                    </a:p>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endParaRPr lang="en-GB" sz="1400" kern="1200" dirty="0">
                        <a:solidFill>
                          <a:srgbClr val="000000"/>
                        </a:solidFill>
                        <a:latin typeface="+mn-lt"/>
                        <a:ea typeface="+mn-ea"/>
                        <a:cs typeface="+mn-c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3541504"/>
                  </a:ext>
                </a:extLst>
              </a:tr>
              <a:tr h="335398">
                <a:tc>
                  <a:txBody>
                    <a:bodyPr/>
                    <a:lstStyle/>
                    <a:p>
                      <a:pPr marL="0" marR="0" lvl="0" indent="0" algn="ctr" defTabSz="1125444" rtl="0" eaLnBrk="0" fontAlgn="base" latinLnBrk="0" hangingPunct="0">
                        <a:lnSpc>
                          <a:spcPct val="100000"/>
                        </a:lnSpc>
                        <a:spcBef>
                          <a:spcPct val="50000"/>
                        </a:spcBef>
                        <a:spcAft>
                          <a:spcPct val="0"/>
                        </a:spcAft>
                        <a:buClr>
                          <a:schemeClr val="accent3"/>
                        </a:buClr>
                        <a:buSzPct val="77000"/>
                        <a:buFont typeface="Wingdings 3" panose="05040102010807070707" pitchFamily="18" charset="2"/>
                        <a:buNone/>
                        <a:tabLst/>
                        <a:defRPr/>
                      </a:pPr>
                      <a:r>
                        <a:rPr lang="en-GB" sz="1400" b="1" kern="1200" dirty="0">
                          <a:solidFill>
                            <a:schemeClr val="bg1"/>
                          </a:solidFill>
                          <a:latin typeface="+mn-lt"/>
                          <a:ea typeface="+mn-ea"/>
                          <a:cs typeface="+mn-cs"/>
                        </a:rPr>
                        <a:t>LOREM IPSUM DOLO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76045134"/>
                  </a:ext>
                </a:extLst>
              </a:tr>
            </a:tbl>
          </a:graphicData>
        </a:graphic>
      </p:graphicFrame>
      <p:pic>
        <p:nvPicPr>
          <p:cNvPr id="5" name="handshake">
            <a:extLst>
              <a:ext uri="{FF2B5EF4-FFF2-40B4-BE49-F238E27FC236}">
                <a16:creationId xmlns:a16="http://schemas.microsoft.com/office/drawing/2014/main" id="{20B65FD9-1069-4680-8C97-CEF3E085BA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99125" y="3651003"/>
            <a:ext cx="793750" cy="635000"/>
          </a:xfrm>
          <a:prstGeom prst="rect">
            <a:avLst/>
          </a:prstGeom>
        </p:spPr>
      </p:pic>
    </p:spTree>
    <p:extLst>
      <p:ext uri="{BB962C8B-B14F-4D97-AF65-F5344CB8AC3E}">
        <p14:creationId xmlns:p14="http://schemas.microsoft.com/office/powerpoint/2010/main" val="34391160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FC2190FA-DB74-42B2-BB82-891C4DB866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FC2190FA-DB74-42B2-BB82-891C4DB866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0EEBFD-E146-436C-A1DF-5B37BAA6C36D}"/>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ED63B28-1E46-450D-BCEF-F586DDD9857E}"/>
              </a:ext>
            </a:extLst>
          </p:cNvPr>
          <p:cNvSpPr>
            <a:spLocks noGrp="1"/>
          </p:cNvSpPr>
          <p:nvPr>
            <p:ph type="title"/>
          </p:nvPr>
        </p:nvSpPr>
        <p:spPr/>
        <p:txBody>
          <a:bodyPr/>
          <a:lstStyle/>
          <a:p>
            <a:r>
              <a:rPr lang="en-GB"/>
              <a:t>Slide message – four causes and results</a:t>
            </a:r>
            <a:endParaRPr lang="en-GB" dirty="0"/>
          </a:p>
        </p:txBody>
      </p:sp>
      <p:sp>
        <p:nvSpPr>
          <p:cNvPr id="6" name="Content Placeholder 5">
            <a:extLst>
              <a:ext uri="{FF2B5EF4-FFF2-40B4-BE49-F238E27FC236}">
                <a16:creationId xmlns:a16="http://schemas.microsoft.com/office/drawing/2014/main" id="{A00B1D8E-C076-41C6-95EA-89DAB492D2D8}"/>
              </a:ext>
            </a:extLst>
          </p:cNvPr>
          <p:cNvSpPr>
            <a:spLocks noGrp="1"/>
          </p:cNvSpPr>
          <p:nvPr>
            <p:ph idx="1"/>
          </p:nvPr>
        </p:nvSpPr>
        <p:spPr>
          <a:xfrm>
            <a:off x="6602742" y="1171627"/>
            <a:ext cx="4129087" cy="422405"/>
          </a:xfrm>
          <a:noFill/>
        </p:spPr>
        <p:txBody>
          <a:bodyPr/>
          <a:lstStyle/>
          <a:p>
            <a:pPr marL="0" indent="0">
              <a:buNone/>
            </a:pPr>
            <a:r>
              <a:rPr lang="en-GB" sz="1800">
                <a:solidFill>
                  <a:schemeClr val="accent6"/>
                </a:solidFill>
                <a:latin typeface="+mn-lt"/>
              </a:rPr>
              <a:t>Results</a:t>
            </a:r>
            <a:endParaRPr lang="en-GB" sz="1800" dirty="0">
              <a:solidFill>
                <a:schemeClr val="accent6"/>
              </a:solidFill>
              <a:latin typeface="+mn-lt"/>
            </a:endParaRPr>
          </a:p>
        </p:txBody>
      </p:sp>
      <p:sp>
        <p:nvSpPr>
          <p:cNvPr id="7" name="Content Placeholder 4-1c">
            <a:extLst>
              <a:ext uri="{FF2B5EF4-FFF2-40B4-BE49-F238E27FC236}">
                <a16:creationId xmlns:a16="http://schemas.microsoft.com/office/drawing/2014/main" id="{43024962-1DFC-452E-8ABC-3474FC841F6E}"/>
              </a:ext>
            </a:extLst>
          </p:cNvPr>
          <p:cNvSpPr txBox="1">
            <a:spLocks/>
          </p:cNvSpPr>
          <p:nvPr/>
        </p:nvSpPr>
        <p:spPr>
          <a:xfrm>
            <a:off x="1330318" y="1684408"/>
            <a:ext cx="4129202" cy="978194"/>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a:t>
            </a:r>
            <a:r>
              <a:rPr lang="en-GB" sz="1400" dirty="0">
                <a:latin typeface="+mn-lt"/>
              </a:rPr>
              <a:t> </a:t>
            </a:r>
          </a:p>
        </p:txBody>
      </p:sp>
      <p:sp>
        <p:nvSpPr>
          <p:cNvPr id="8" name="Content Placeholder 4">
            <a:extLst>
              <a:ext uri="{FF2B5EF4-FFF2-40B4-BE49-F238E27FC236}">
                <a16:creationId xmlns:a16="http://schemas.microsoft.com/office/drawing/2014/main" id="{E614A861-FB54-4811-A314-1B34C57845CA}"/>
              </a:ext>
            </a:extLst>
          </p:cNvPr>
          <p:cNvSpPr txBox="1">
            <a:spLocks/>
          </p:cNvSpPr>
          <p:nvPr/>
        </p:nvSpPr>
        <p:spPr>
          <a:xfrm>
            <a:off x="1074602" y="1596759"/>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20" name="Content Placeholder 4-2c">
            <a:extLst>
              <a:ext uri="{FF2B5EF4-FFF2-40B4-BE49-F238E27FC236}">
                <a16:creationId xmlns:a16="http://schemas.microsoft.com/office/drawing/2014/main" id="{6AA23BF0-4950-4A8E-BBDD-15C34B7BBD2A}"/>
              </a:ext>
            </a:extLst>
          </p:cNvPr>
          <p:cNvSpPr txBox="1">
            <a:spLocks/>
          </p:cNvSpPr>
          <p:nvPr/>
        </p:nvSpPr>
        <p:spPr>
          <a:xfrm>
            <a:off x="1312620" y="2822173"/>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1" name="Content Placeholder 4">
            <a:extLst>
              <a:ext uri="{FF2B5EF4-FFF2-40B4-BE49-F238E27FC236}">
                <a16:creationId xmlns:a16="http://schemas.microsoft.com/office/drawing/2014/main" id="{4DE02D47-76CB-4D85-B057-FFA0EC7E10C4}"/>
              </a:ext>
            </a:extLst>
          </p:cNvPr>
          <p:cNvSpPr txBox="1">
            <a:spLocks/>
          </p:cNvSpPr>
          <p:nvPr/>
        </p:nvSpPr>
        <p:spPr>
          <a:xfrm>
            <a:off x="1074602" y="2734524"/>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22" name="Content Placeholder 4-3c">
            <a:extLst>
              <a:ext uri="{FF2B5EF4-FFF2-40B4-BE49-F238E27FC236}">
                <a16:creationId xmlns:a16="http://schemas.microsoft.com/office/drawing/2014/main" id="{758EDF9E-F5E6-4955-9BAF-959FC2D0AEA3}"/>
              </a:ext>
            </a:extLst>
          </p:cNvPr>
          <p:cNvSpPr txBox="1">
            <a:spLocks/>
          </p:cNvSpPr>
          <p:nvPr/>
        </p:nvSpPr>
        <p:spPr>
          <a:xfrm>
            <a:off x="1330318" y="3959938"/>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3" name="Content Placeholder 4">
            <a:extLst>
              <a:ext uri="{FF2B5EF4-FFF2-40B4-BE49-F238E27FC236}">
                <a16:creationId xmlns:a16="http://schemas.microsoft.com/office/drawing/2014/main" id="{99D7DB34-E8E4-4428-A998-26EBE94B1111}"/>
              </a:ext>
            </a:extLst>
          </p:cNvPr>
          <p:cNvSpPr txBox="1">
            <a:spLocks/>
          </p:cNvSpPr>
          <p:nvPr/>
        </p:nvSpPr>
        <p:spPr>
          <a:xfrm>
            <a:off x="1074602" y="3872289"/>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3</a:t>
            </a:r>
            <a:endParaRPr lang="en-GB" dirty="0"/>
          </a:p>
        </p:txBody>
      </p:sp>
      <p:sp>
        <p:nvSpPr>
          <p:cNvPr id="28" name="Content Placeholder 4-4c">
            <a:extLst>
              <a:ext uri="{FF2B5EF4-FFF2-40B4-BE49-F238E27FC236}">
                <a16:creationId xmlns:a16="http://schemas.microsoft.com/office/drawing/2014/main" id="{93793384-8B68-468D-9404-D8CDC49C2D5D}"/>
              </a:ext>
            </a:extLst>
          </p:cNvPr>
          <p:cNvSpPr txBox="1">
            <a:spLocks/>
          </p:cNvSpPr>
          <p:nvPr/>
        </p:nvSpPr>
        <p:spPr>
          <a:xfrm>
            <a:off x="1330317" y="5097704"/>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9" name="Content Placeholder 4">
            <a:extLst>
              <a:ext uri="{FF2B5EF4-FFF2-40B4-BE49-F238E27FC236}">
                <a16:creationId xmlns:a16="http://schemas.microsoft.com/office/drawing/2014/main" id="{25279A58-DA38-46CB-ABE9-6CE978B95CCF}"/>
              </a:ext>
            </a:extLst>
          </p:cNvPr>
          <p:cNvSpPr txBox="1">
            <a:spLocks/>
          </p:cNvSpPr>
          <p:nvPr/>
        </p:nvSpPr>
        <p:spPr>
          <a:xfrm>
            <a:off x="1074601" y="5010055"/>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4</a:t>
            </a:r>
            <a:endParaRPr lang="en-GB" dirty="0"/>
          </a:p>
        </p:txBody>
      </p:sp>
      <p:sp>
        <p:nvSpPr>
          <p:cNvPr id="42" name="Content Placeholder 4-1r">
            <a:extLst>
              <a:ext uri="{FF2B5EF4-FFF2-40B4-BE49-F238E27FC236}">
                <a16:creationId xmlns:a16="http://schemas.microsoft.com/office/drawing/2014/main" id="{5BF72EA8-819B-4CF3-BA75-5585EEA818A9}"/>
              </a:ext>
            </a:extLst>
          </p:cNvPr>
          <p:cNvSpPr txBox="1">
            <a:spLocks/>
          </p:cNvSpPr>
          <p:nvPr/>
        </p:nvSpPr>
        <p:spPr>
          <a:xfrm>
            <a:off x="6840761" y="1684408"/>
            <a:ext cx="4129202" cy="978194"/>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marL="179388" indent="-179388" eaLnBrk="0" hangingPunct="0">
              <a:spcAft>
                <a:spcPts val="400"/>
              </a:spcAft>
              <a:buClr>
                <a:schemeClr val="accent3"/>
              </a:buClr>
              <a:buSzPct val="77000"/>
              <a:buFont typeface="Wingdings 3" panose="05040102010807070707" pitchFamily="18" charset="2"/>
              <a:buChar char=""/>
            </a:pPr>
            <a:endParaRPr lang="en-GB" sz="1400" dirty="0">
              <a:latin typeface="+mn-lt"/>
            </a:endParaRPr>
          </a:p>
        </p:txBody>
      </p:sp>
      <p:sp>
        <p:nvSpPr>
          <p:cNvPr id="43" name="Content Placeholder 4">
            <a:extLst>
              <a:ext uri="{FF2B5EF4-FFF2-40B4-BE49-F238E27FC236}">
                <a16:creationId xmlns:a16="http://schemas.microsoft.com/office/drawing/2014/main" id="{C8C1CDDF-E5DD-4238-91F3-CB825998A957}"/>
              </a:ext>
            </a:extLst>
          </p:cNvPr>
          <p:cNvSpPr txBox="1">
            <a:spLocks/>
          </p:cNvSpPr>
          <p:nvPr/>
        </p:nvSpPr>
        <p:spPr>
          <a:xfrm>
            <a:off x="6602743" y="1596759"/>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44" name="Content Placeholder 4-2r">
            <a:extLst>
              <a:ext uri="{FF2B5EF4-FFF2-40B4-BE49-F238E27FC236}">
                <a16:creationId xmlns:a16="http://schemas.microsoft.com/office/drawing/2014/main" id="{8170BBC1-1CDF-4B0C-BD7F-E482448A03E2}"/>
              </a:ext>
            </a:extLst>
          </p:cNvPr>
          <p:cNvSpPr txBox="1">
            <a:spLocks/>
          </p:cNvSpPr>
          <p:nvPr/>
        </p:nvSpPr>
        <p:spPr>
          <a:xfrm>
            <a:off x="6858459" y="2822173"/>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5" name="Content Placeholder 4">
            <a:extLst>
              <a:ext uri="{FF2B5EF4-FFF2-40B4-BE49-F238E27FC236}">
                <a16:creationId xmlns:a16="http://schemas.microsoft.com/office/drawing/2014/main" id="{EDF76BE7-08A8-4915-8D70-42625C27CA1C}"/>
              </a:ext>
            </a:extLst>
          </p:cNvPr>
          <p:cNvSpPr txBox="1">
            <a:spLocks/>
          </p:cNvSpPr>
          <p:nvPr/>
        </p:nvSpPr>
        <p:spPr>
          <a:xfrm>
            <a:off x="6602743" y="2734524"/>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46" name="Content Placeholder 4-3r">
            <a:extLst>
              <a:ext uri="{FF2B5EF4-FFF2-40B4-BE49-F238E27FC236}">
                <a16:creationId xmlns:a16="http://schemas.microsoft.com/office/drawing/2014/main" id="{C0BE90CE-C933-4A5D-82BE-082A24426902}"/>
              </a:ext>
            </a:extLst>
          </p:cNvPr>
          <p:cNvSpPr txBox="1">
            <a:spLocks/>
          </p:cNvSpPr>
          <p:nvPr/>
        </p:nvSpPr>
        <p:spPr>
          <a:xfrm>
            <a:off x="6858459" y="3959938"/>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7" name="Content Placeholder 4">
            <a:extLst>
              <a:ext uri="{FF2B5EF4-FFF2-40B4-BE49-F238E27FC236}">
                <a16:creationId xmlns:a16="http://schemas.microsoft.com/office/drawing/2014/main" id="{1A8708E5-50E4-4BC6-A1CE-CFD6912CE433}"/>
              </a:ext>
            </a:extLst>
          </p:cNvPr>
          <p:cNvSpPr txBox="1">
            <a:spLocks/>
          </p:cNvSpPr>
          <p:nvPr/>
        </p:nvSpPr>
        <p:spPr>
          <a:xfrm>
            <a:off x="6602743" y="3872289"/>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3</a:t>
            </a:r>
            <a:endParaRPr lang="en-GB" dirty="0"/>
          </a:p>
        </p:txBody>
      </p:sp>
      <p:sp>
        <p:nvSpPr>
          <p:cNvPr id="48" name="Content Placeholder 4-4r">
            <a:extLst>
              <a:ext uri="{FF2B5EF4-FFF2-40B4-BE49-F238E27FC236}">
                <a16:creationId xmlns:a16="http://schemas.microsoft.com/office/drawing/2014/main" id="{7F4F3C6B-2B30-4342-9FDF-7D697F3B10B8}"/>
              </a:ext>
            </a:extLst>
          </p:cNvPr>
          <p:cNvSpPr txBox="1">
            <a:spLocks/>
          </p:cNvSpPr>
          <p:nvPr/>
        </p:nvSpPr>
        <p:spPr>
          <a:xfrm>
            <a:off x="6858458" y="5097704"/>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9" name="Content Placeholder 4">
            <a:extLst>
              <a:ext uri="{FF2B5EF4-FFF2-40B4-BE49-F238E27FC236}">
                <a16:creationId xmlns:a16="http://schemas.microsoft.com/office/drawing/2014/main" id="{9A554C14-2AD9-4FA9-9E85-DEA26E10B928}"/>
              </a:ext>
            </a:extLst>
          </p:cNvPr>
          <p:cNvSpPr txBox="1">
            <a:spLocks/>
          </p:cNvSpPr>
          <p:nvPr/>
        </p:nvSpPr>
        <p:spPr>
          <a:xfrm>
            <a:off x="6602742" y="5010055"/>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4</a:t>
            </a:r>
            <a:endParaRPr lang="en-GB" dirty="0"/>
          </a:p>
        </p:txBody>
      </p:sp>
      <p:sp>
        <p:nvSpPr>
          <p:cNvPr id="25" name="Content Placeholder 5">
            <a:extLst>
              <a:ext uri="{FF2B5EF4-FFF2-40B4-BE49-F238E27FC236}">
                <a16:creationId xmlns:a16="http://schemas.microsoft.com/office/drawing/2014/main" id="{2F24B0A2-77F5-4DDA-AC54-E2356320EBF4}"/>
              </a:ext>
            </a:extLst>
          </p:cNvPr>
          <p:cNvSpPr txBox="1">
            <a:spLocks/>
          </p:cNvSpPr>
          <p:nvPr/>
        </p:nvSpPr>
        <p:spPr>
          <a:xfrm>
            <a:off x="1074601" y="1171627"/>
            <a:ext cx="4129087" cy="422405"/>
          </a:xfrm>
          <a:prstGeom prst="rect">
            <a:avLst/>
          </a:prstGeom>
          <a:noFill/>
        </p:spPr>
        <p:txBody>
          <a:bodyPr vert="horz" lIns="72000" tIns="72000" rIns="72000" bIns="72000" rtlCol="0">
            <a:sp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fontAlgn="auto"/>
            <a:r>
              <a:rPr lang="en-GB">
                <a:solidFill>
                  <a:schemeClr val="tx2"/>
                </a:solidFill>
                <a:latin typeface="+mn-lt"/>
              </a:rPr>
              <a:t>Causes</a:t>
            </a:r>
            <a:endParaRPr lang="en-GB" dirty="0">
              <a:solidFill>
                <a:schemeClr val="tx2"/>
              </a:solidFill>
              <a:latin typeface="+mn-lt"/>
            </a:endParaRPr>
          </a:p>
        </p:txBody>
      </p:sp>
    </p:spTree>
    <p:extLst>
      <p:ext uri="{BB962C8B-B14F-4D97-AF65-F5344CB8AC3E}">
        <p14:creationId xmlns:p14="http://schemas.microsoft.com/office/powerpoint/2010/main" val="6687876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FC2190FA-DB74-42B2-BB82-891C4DB866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FC2190FA-DB74-42B2-BB82-891C4DB866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0EEBFD-E146-436C-A1DF-5B37BAA6C36D}"/>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ED63B28-1E46-450D-BCEF-F586DDD9857E}"/>
              </a:ext>
            </a:extLst>
          </p:cNvPr>
          <p:cNvSpPr>
            <a:spLocks noGrp="1"/>
          </p:cNvSpPr>
          <p:nvPr>
            <p:ph type="title"/>
          </p:nvPr>
        </p:nvSpPr>
        <p:spPr/>
        <p:txBody>
          <a:bodyPr/>
          <a:lstStyle/>
          <a:p>
            <a:r>
              <a:rPr lang="en-GB"/>
              <a:t>Slide message – three causes and results</a:t>
            </a:r>
            <a:endParaRPr lang="en-GB" dirty="0"/>
          </a:p>
        </p:txBody>
      </p:sp>
      <p:sp>
        <p:nvSpPr>
          <p:cNvPr id="6" name="Content Placeholder 5">
            <a:extLst>
              <a:ext uri="{FF2B5EF4-FFF2-40B4-BE49-F238E27FC236}">
                <a16:creationId xmlns:a16="http://schemas.microsoft.com/office/drawing/2014/main" id="{A00B1D8E-C076-41C6-95EA-89DAB492D2D8}"/>
              </a:ext>
            </a:extLst>
          </p:cNvPr>
          <p:cNvSpPr>
            <a:spLocks noGrp="1"/>
          </p:cNvSpPr>
          <p:nvPr>
            <p:ph idx="1"/>
          </p:nvPr>
        </p:nvSpPr>
        <p:spPr>
          <a:xfrm>
            <a:off x="6602742" y="1171627"/>
            <a:ext cx="4129087" cy="422405"/>
          </a:xfrm>
          <a:noFill/>
        </p:spPr>
        <p:txBody>
          <a:bodyPr/>
          <a:lstStyle/>
          <a:p>
            <a:pPr marL="0" indent="0">
              <a:buNone/>
            </a:pPr>
            <a:r>
              <a:rPr lang="en-GB" sz="1800">
                <a:solidFill>
                  <a:schemeClr val="accent6"/>
                </a:solidFill>
                <a:latin typeface="+mn-lt"/>
              </a:rPr>
              <a:t>Results</a:t>
            </a:r>
            <a:endParaRPr lang="en-GB" sz="1800" dirty="0">
              <a:solidFill>
                <a:schemeClr val="accent6"/>
              </a:solidFill>
              <a:latin typeface="+mn-lt"/>
            </a:endParaRPr>
          </a:p>
        </p:txBody>
      </p:sp>
      <p:sp>
        <p:nvSpPr>
          <p:cNvPr id="7" name="Content Placeholder 4-1c">
            <a:extLst>
              <a:ext uri="{FF2B5EF4-FFF2-40B4-BE49-F238E27FC236}">
                <a16:creationId xmlns:a16="http://schemas.microsoft.com/office/drawing/2014/main" id="{43024962-1DFC-452E-8ABC-3474FC841F6E}"/>
              </a:ext>
            </a:extLst>
          </p:cNvPr>
          <p:cNvSpPr txBox="1">
            <a:spLocks/>
          </p:cNvSpPr>
          <p:nvPr/>
        </p:nvSpPr>
        <p:spPr>
          <a:xfrm>
            <a:off x="1312620" y="1684408"/>
            <a:ext cx="4129202" cy="978194"/>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a:t>
            </a:r>
            <a:r>
              <a:rPr lang="en-GB" sz="1400" dirty="0">
                <a:latin typeface="+mn-lt"/>
              </a:rPr>
              <a:t> </a:t>
            </a:r>
          </a:p>
        </p:txBody>
      </p:sp>
      <p:sp>
        <p:nvSpPr>
          <p:cNvPr id="8" name="Content Placeholder 4">
            <a:extLst>
              <a:ext uri="{FF2B5EF4-FFF2-40B4-BE49-F238E27FC236}">
                <a16:creationId xmlns:a16="http://schemas.microsoft.com/office/drawing/2014/main" id="{E614A861-FB54-4811-A314-1B34C57845CA}"/>
              </a:ext>
            </a:extLst>
          </p:cNvPr>
          <p:cNvSpPr txBox="1">
            <a:spLocks/>
          </p:cNvSpPr>
          <p:nvPr/>
        </p:nvSpPr>
        <p:spPr>
          <a:xfrm>
            <a:off x="1074602" y="1596759"/>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42" name="Content Placeholder 4-1r">
            <a:extLst>
              <a:ext uri="{FF2B5EF4-FFF2-40B4-BE49-F238E27FC236}">
                <a16:creationId xmlns:a16="http://schemas.microsoft.com/office/drawing/2014/main" id="{5BF72EA8-819B-4CF3-BA75-5585EEA818A9}"/>
              </a:ext>
            </a:extLst>
          </p:cNvPr>
          <p:cNvSpPr txBox="1">
            <a:spLocks/>
          </p:cNvSpPr>
          <p:nvPr/>
        </p:nvSpPr>
        <p:spPr>
          <a:xfrm>
            <a:off x="6840761" y="1684408"/>
            <a:ext cx="4129202" cy="978194"/>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marL="179388" indent="-179388" eaLnBrk="0" hangingPunct="0">
              <a:spcAft>
                <a:spcPts val="400"/>
              </a:spcAft>
              <a:buClr>
                <a:schemeClr val="accent3"/>
              </a:buClr>
              <a:buSzPct val="77000"/>
              <a:buFont typeface="Wingdings 3" panose="05040102010807070707" pitchFamily="18" charset="2"/>
              <a:buChar char=""/>
            </a:pPr>
            <a:endParaRPr lang="en-GB" sz="1400" dirty="0">
              <a:latin typeface="+mn-lt"/>
            </a:endParaRPr>
          </a:p>
        </p:txBody>
      </p:sp>
      <p:sp>
        <p:nvSpPr>
          <p:cNvPr id="43" name="Content Placeholder 4">
            <a:extLst>
              <a:ext uri="{FF2B5EF4-FFF2-40B4-BE49-F238E27FC236}">
                <a16:creationId xmlns:a16="http://schemas.microsoft.com/office/drawing/2014/main" id="{C8C1CDDF-E5DD-4238-91F3-CB825998A957}"/>
              </a:ext>
            </a:extLst>
          </p:cNvPr>
          <p:cNvSpPr txBox="1">
            <a:spLocks/>
          </p:cNvSpPr>
          <p:nvPr/>
        </p:nvSpPr>
        <p:spPr>
          <a:xfrm>
            <a:off x="6602743" y="1596759"/>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20" name="Content Placeholder 4-2c">
            <a:extLst>
              <a:ext uri="{FF2B5EF4-FFF2-40B4-BE49-F238E27FC236}">
                <a16:creationId xmlns:a16="http://schemas.microsoft.com/office/drawing/2014/main" id="{6AA23BF0-4950-4A8E-BBDD-15C34B7BBD2A}"/>
              </a:ext>
            </a:extLst>
          </p:cNvPr>
          <p:cNvSpPr txBox="1">
            <a:spLocks/>
          </p:cNvSpPr>
          <p:nvPr/>
        </p:nvSpPr>
        <p:spPr>
          <a:xfrm>
            <a:off x="1312620" y="3101573"/>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1" name="Content Placeholder 4">
            <a:extLst>
              <a:ext uri="{FF2B5EF4-FFF2-40B4-BE49-F238E27FC236}">
                <a16:creationId xmlns:a16="http://schemas.microsoft.com/office/drawing/2014/main" id="{4DE02D47-76CB-4D85-B057-FFA0EC7E10C4}"/>
              </a:ext>
            </a:extLst>
          </p:cNvPr>
          <p:cNvSpPr txBox="1">
            <a:spLocks/>
          </p:cNvSpPr>
          <p:nvPr/>
        </p:nvSpPr>
        <p:spPr>
          <a:xfrm>
            <a:off x="1074602" y="3013924"/>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44" name="Content Placeholder 4-2r">
            <a:extLst>
              <a:ext uri="{FF2B5EF4-FFF2-40B4-BE49-F238E27FC236}">
                <a16:creationId xmlns:a16="http://schemas.microsoft.com/office/drawing/2014/main" id="{8170BBC1-1CDF-4B0C-BD7F-E482448A03E2}"/>
              </a:ext>
            </a:extLst>
          </p:cNvPr>
          <p:cNvSpPr txBox="1">
            <a:spLocks/>
          </p:cNvSpPr>
          <p:nvPr/>
        </p:nvSpPr>
        <p:spPr>
          <a:xfrm>
            <a:off x="6840761" y="3101573"/>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5" name="Content Placeholder 4">
            <a:extLst>
              <a:ext uri="{FF2B5EF4-FFF2-40B4-BE49-F238E27FC236}">
                <a16:creationId xmlns:a16="http://schemas.microsoft.com/office/drawing/2014/main" id="{EDF76BE7-08A8-4915-8D70-42625C27CA1C}"/>
              </a:ext>
            </a:extLst>
          </p:cNvPr>
          <p:cNvSpPr txBox="1">
            <a:spLocks/>
          </p:cNvSpPr>
          <p:nvPr/>
        </p:nvSpPr>
        <p:spPr>
          <a:xfrm>
            <a:off x="6602743" y="3046382"/>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22" name="Content Placeholder 4-3c">
            <a:extLst>
              <a:ext uri="{FF2B5EF4-FFF2-40B4-BE49-F238E27FC236}">
                <a16:creationId xmlns:a16="http://schemas.microsoft.com/office/drawing/2014/main" id="{758EDF9E-F5E6-4955-9BAF-959FC2D0AEA3}"/>
              </a:ext>
            </a:extLst>
          </p:cNvPr>
          <p:cNvSpPr txBox="1">
            <a:spLocks/>
          </p:cNvSpPr>
          <p:nvPr/>
        </p:nvSpPr>
        <p:spPr>
          <a:xfrm>
            <a:off x="1312620" y="4518738"/>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3" name="Content Placeholder 4">
            <a:extLst>
              <a:ext uri="{FF2B5EF4-FFF2-40B4-BE49-F238E27FC236}">
                <a16:creationId xmlns:a16="http://schemas.microsoft.com/office/drawing/2014/main" id="{99D7DB34-E8E4-4428-A998-26EBE94B1111}"/>
              </a:ext>
            </a:extLst>
          </p:cNvPr>
          <p:cNvSpPr txBox="1">
            <a:spLocks/>
          </p:cNvSpPr>
          <p:nvPr/>
        </p:nvSpPr>
        <p:spPr>
          <a:xfrm>
            <a:off x="1074602" y="4431089"/>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3</a:t>
            </a:r>
            <a:endParaRPr lang="en-GB" dirty="0"/>
          </a:p>
        </p:txBody>
      </p:sp>
      <p:sp>
        <p:nvSpPr>
          <p:cNvPr id="46" name="Content Placeholder 4-3r">
            <a:extLst>
              <a:ext uri="{FF2B5EF4-FFF2-40B4-BE49-F238E27FC236}">
                <a16:creationId xmlns:a16="http://schemas.microsoft.com/office/drawing/2014/main" id="{C0BE90CE-C933-4A5D-82BE-082A24426902}"/>
              </a:ext>
            </a:extLst>
          </p:cNvPr>
          <p:cNvSpPr txBox="1">
            <a:spLocks/>
          </p:cNvSpPr>
          <p:nvPr/>
        </p:nvSpPr>
        <p:spPr>
          <a:xfrm>
            <a:off x="6840761" y="4518738"/>
            <a:ext cx="4129202" cy="978194"/>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7" name="Content Placeholder 4">
            <a:extLst>
              <a:ext uri="{FF2B5EF4-FFF2-40B4-BE49-F238E27FC236}">
                <a16:creationId xmlns:a16="http://schemas.microsoft.com/office/drawing/2014/main" id="{1A8708E5-50E4-4BC6-A1CE-CFD6912CE433}"/>
              </a:ext>
            </a:extLst>
          </p:cNvPr>
          <p:cNvSpPr txBox="1">
            <a:spLocks/>
          </p:cNvSpPr>
          <p:nvPr/>
        </p:nvSpPr>
        <p:spPr>
          <a:xfrm>
            <a:off x="6602743" y="4431089"/>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3</a:t>
            </a:r>
            <a:endParaRPr lang="en-GB" dirty="0"/>
          </a:p>
        </p:txBody>
      </p:sp>
      <p:sp>
        <p:nvSpPr>
          <p:cNvPr id="25" name="Content Placeholder 5">
            <a:extLst>
              <a:ext uri="{FF2B5EF4-FFF2-40B4-BE49-F238E27FC236}">
                <a16:creationId xmlns:a16="http://schemas.microsoft.com/office/drawing/2014/main" id="{2F24B0A2-77F5-4DDA-AC54-E2356320EBF4}"/>
              </a:ext>
            </a:extLst>
          </p:cNvPr>
          <p:cNvSpPr txBox="1">
            <a:spLocks/>
          </p:cNvSpPr>
          <p:nvPr/>
        </p:nvSpPr>
        <p:spPr>
          <a:xfrm>
            <a:off x="1074601" y="1171627"/>
            <a:ext cx="4129087" cy="422405"/>
          </a:xfrm>
          <a:prstGeom prst="rect">
            <a:avLst/>
          </a:prstGeom>
          <a:noFill/>
        </p:spPr>
        <p:txBody>
          <a:bodyPr vert="horz" lIns="72000" tIns="72000" rIns="72000" bIns="72000" rtlCol="0">
            <a:sp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fontAlgn="auto"/>
            <a:r>
              <a:rPr lang="en-GB">
                <a:solidFill>
                  <a:schemeClr val="tx2"/>
                </a:solidFill>
                <a:latin typeface="+mn-lt"/>
              </a:rPr>
              <a:t>Causes</a:t>
            </a:r>
            <a:endParaRPr lang="en-GB" dirty="0">
              <a:solidFill>
                <a:schemeClr val="tx2"/>
              </a:solidFill>
              <a:latin typeface="+mn-lt"/>
            </a:endParaRPr>
          </a:p>
        </p:txBody>
      </p:sp>
    </p:spTree>
    <p:extLst>
      <p:ext uri="{BB962C8B-B14F-4D97-AF65-F5344CB8AC3E}">
        <p14:creationId xmlns:p14="http://schemas.microsoft.com/office/powerpoint/2010/main" val="10454190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FC2190FA-DB74-42B2-BB82-891C4DB866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05" imgH="303" progId="TCLayout.ActiveDocument.1">
                  <p:embed/>
                </p:oleObj>
              </mc:Choice>
              <mc:Fallback>
                <p:oleObj name="Diapositive think-cell" r:id="rId5" imgW="305" imgH="303" progId="TCLayout.ActiveDocument.1">
                  <p:embed/>
                  <p:pic>
                    <p:nvPicPr>
                      <p:cNvPr id="4" name="Objet 3" hidden="1">
                        <a:extLst>
                          <a:ext uri="{FF2B5EF4-FFF2-40B4-BE49-F238E27FC236}">
                            <a16:creationId xmlns:a16="http://schemas.microsoft.com/office/drawing/2014/main" id="{FC2190FA-DB74-42B2-BB82-891C4DB866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0EEBFD-E146-436C-A1DF-5B37BAA6C36D}"/>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ED63B28-1E46-450D-BCEF-F586DDD9857E}"/>
              </a:ext>
            </a:extLst>
          </p:cNvPr>
          <p:cNvSpPr>
            <a:spLocks noGrp="1"/>
          </p:cNvSpPr>
          <p:nvPr>
            <p:ph type="title"/>
          </p:nvPr>
        </p:nvSpPr>
        <p:spPr/>
        <p:txBody>
          <a:bodyPr/>
          <a:lstStyle/>
          <a:p>
            <a:r>
              <a:rPr lang="en-GB"/>
              <a:t>Slide message – two causes and results</a:t>
            </a:r>
            <a:endParaRPr lang="en-GB" dirty="0"/>
          </a:p>
        </p:txBody>
      </p:sp>
      <p:sp>
        <p:nvSpPr>
          <p:cNvPr id="6" name="Content Placeholder 5">
            <a:extLst>
              <a:ext uri="{FF2B5EF4-FFF2-40B4-BE49-F238E27FC236}">
                <a16:creationId xmlns:a16="http://schemas.microsoft.com/office/drawing/2014/main" id="{A00B1D8E-C076-41C6-95EA-89DAB492D2D8}"/>
              </a:ext>
            </a:extLst>
          </p:cNvPr>
          <p:cNvSpPr>
            <a:spLocks noGrp="1"/>
          </p:cNvSpPr>
          <p:nvPr>
            <p:ph idx="1"/>
          </p:nvPr>
        </p:nvSpPr>
        <p:spPr>
          <a:xfrm>
            <a:off x="6602742" y="1171627"/>
            <a:ext cx="4129087" cy="422405"/>
          </a:xfrm>
          <a:noFill/>
        </p:spPr>
        <p:txBody>
          <a:bodyPr/>
          <a:lstStyle/>
          <a:p>
            <a:pPr marL="0" indent="0">
              <a:buNone/>
            </a:pPr>
            <a:r>
              <a:rPr lang="en-GB" sz="1800">
                <a:solidFill>
                  <a:schemeClr val="accent6"/>
                </a:solidFill>
                <a:latin typeface="+mn-lt"/>
              </a:rPr>
              <a:t>Results</a:t>
            </a:r>
            <a:endParaRPr lang="en-GB" sz="1800" dirty="0">
              <a:solidFill>
                <a:schemeClr val="accent6"/>
              </a:solidFill>
              <a:latin typeface="+mn-lt"/>
            </a:endParaRPr>
          </a:p>
        </p:txBody>
      </p:sp>
      <p:sp>
        <p:nvSpPr>
          <p:cNvPr id="7" name="Content Placeholder 4-1c">
            <a:extLst>
              <a:ext uri="{FF2B5EF4-FFF2-40B4-BE49-F238E27FC236}">
                <a16:creationId xmlns:a16="http://schemas.microsoft.com/office/drawing/2014/main" id="{43024962-1DFC-452E-8ABC-3474FC841F6E}"/>
              </a:ext>
            </a:extLst>
          </p:cNvPr>
          <p:cNvSpPr txBox="1">
            <a:spLocks/>
          </p:cNvSpPr>
          <p:nvPr/>
        </p:nvSpPr>
        <p:spPr>
          <a:xfrm>
            <a:off x="1312620" y="1684407"/>
            <a:ext cx="4129202" cy="1918503"/>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a:t>
            </a:r>
            <a:r>
              <a:rPr lang="en-GB" sz="1400" dirty="0">
                <a:latin typeface="+mn-lt"/>
              </a:rPr>
              <a:t> </a:t>
            </a:r>
          </a:p>
        </p:txBody>
      </p:sp>
      <p:sp>
        <p:nvSpPr>
          <p:cNvPr id="8" name="Content Placeholder 4">
            <a:extLst>
              <a:ext uri="{FF2B5EF4-FFF2-40B4-BE49-F238E27FC236}">
                <a16:creationId xmlns:a16="http://schemas.microsoft.com/office/drawing/2014/main" id="{E614A861-FB54-4811-A314-1B34C57845CA}"/>
              </a:ext>
            </a:extLst>
          </p:cNvPr>
          <p:cNvSpPr txBox="1">
            <a:spLocks/>
          </p:cNvSpPr>
          <p:nvPr/>
        </p:nvSpPr>
        <p:spPr>
          <a:xfrm>
            <a:off x="1074602" y="1605092"/>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20" name="Content Placeholder 4-2c">
            <a:extLst>
              <a:ext uri="{FF2B5EF4-FFF2-40B4-BE49-F238E27FC236}">
                <a16:creationId xmlns:a16="http://schemas.microsoft.com/office/drawing/2014/main" id="{6AA23BF0-4950-4A8E-BBDD-15C34B7BBD2A}"/>
              </a:ext>
            </a:extLst>
          </p:cNvPr>
          <p:cNvSpPr txBox="1">
            <a:spLocks/>
          </p:cNvSpPr>
          <p:nvPr/>
        </p:nvSpPr>
        <p:spPr>
          <a:xfrm>
            <a:off x="1312620" y="4242599"/>
            <a:ext cx="4129202" cy="1918503"/>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21" name="Content Placeholder 4">
            <a:extLst>
              <a:ext uri="{FF2B5EF4-FFF2-40B4-BE49-F238E27FC236}">
                <a16:creationId xmlns:a16="http://schemas.microsoft.com/office/drawing/2014/main" id="{4DE02D47-76CB-4D85-B057-FFA0EC7E10C4}"/>
              </a:ext>
            </a:extLst>
          </p:cNvPr>
          <p:cNvSpPr txBox="1">
            <a:spLocks/>
          </p:cNvSpPr>
          <p:nvPr/>
        </p:nvSpPr>
        <p:spPr>
          <a:xfrm>
            <a:off x="1074602" y="4154951"/>
            <a:ext cx="540000" cy="540000"/>
          </a:xfrm>
          <a:prstGeom prst="ellipse">
            <a:avLst/>
          </a:prstGeom>
          <a:solidFill>
            <a:schemeClr val="tx2"/>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42" name="Content Placeholder 4-1r">
            <a:extLst>
              <a:ext uri="{FF2B5EF4-FFF2-40B4-BE49-F238E27FC236}">
                <a16:creationId xmlns:a16="http://schemas.microsoft.com/office/drawing/2014/main" id="{5BF72EA8-819B-4CF3-BA75-5585EEA818A9}"/>
              </a:ext>
            </a:extLst>
          </p:cNvPr>
          <p:cNvSpPr txBox="1">
            <a:spLocks/>
          </p:cNvSpPr>
          <p:nvPr/>
        </p:nvSpPr>
        <p:spPr>
          <a:xfrm>
            <a:off x="6840761" y="1684407"/>
            <a:ext cx="4129202" cy="1918503"/>
          </a:xfrm>
          <a:prstGeom prst="rect">
            <a:avLst/>
          </a:prstGeom>
          <a:solidFill>
            <a:srgbClr val="D9D9D9"/>
          </a:solidFill>
        </p:spPr>
        <p:txBody>
          <a:bodyPr vert="horz" wrap="square" lIns="504000" tIns="108000" rIns="108000" bIns="108000" rtlCol="0" anchor="t">
            <a:noAutofit/>
          </a:bodyPr>
          <a:lstStyle>
            <a:lvl1pPr marL="0" indent="0" algn="l" defTabSz="914400" rtl="0" eaLnBrk="1" latinLnBrk="0" hangingPunct="1">
              <a:spcBef>
                <a:spcPts val="400"/>
              </a:spcBef>
              <a:buClr>
                <a:schemeClr val="accent1"/>
              </a:buClr>
              <a:buFont typeface="Arial" pitchFamily="34" charset="0"/>
              <a:buNone/>
              <a:defRPr lang="en-US" sz="1600" kern="1200" dirty="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dirty="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fontAlgn="auto">
              <a:spcAft>
                <a:spcPts val="0"/>
              </a:spcAft>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a:p>
            <a:pPr marL="179388" indent="-179388" eaLnBrk="0" hangingPunct="0">
              <a:spcAft>
                <a:spcPts val="400"/>
              </a:spcAft>
              <a:buClr>
                <a:schemeClr val="accent3"/>
              </a:buClr>
              <a:buSzPct val="77000"/>
              <a:buFont typeface="Wingdings 3" panose="05040102010807070707" pitchFamily="18" charset="2"/>
              <a:buChar char=""/>
            </a:pPr>
            <a:endParaRPr lang="en-GB" sz="1400" dirty="0">
              <a:latin typeface="+mn-lt"/>
            </a:endParaRPr>
          </a:p>
        </p:txBody>
      </p:sp>
      <p:sp>
        <p:nvSpPr>
          <p:cNvPr id="43" name="Content Placeholder 4">
            <a:extLst>
              <a:ext uri="{FF2B5EF4-FFF2-40B4-BE49-F238E27FC236}">
                <a16:creationId xmlns:a16="http://schemas.microsoft.com/office/drawing/2014/main" id="{C8C1CDDF-E5DD-4238-91F3-CB825998A957}"/>
              </a:ext>
            </a:extLst>
          </p:cNvPr>
          <p:cNvSpPr txBox="1">
            <a:spLocks/>
          </p:cNvSpPr>
          <p:nvPr/>
        </p:nvSpPr>
        <p:spPr>
          <a:xfrm>
            <a:off x="6602743" y="1596759"/>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1</a:t>
            </a:r>
            <a:endParaRPr lang="en-GB" dirty="0"/>
          </a:p>
        </p:txBody>
      </p:sp>
      <p:sp>
        <p:nvSpPr>
          <p:cNvPr id="44" name="Content Placeholder 4-2r">
            <a:extLst>
              <a:ext uri="{FF2B5EF4-FFF2-40B4-BE49-F238E27FC236}">
                <a16:creationId xmlns:a16="http://schemas.microsoft.com/office/drawing/2014/main" id="{8170BBC1-1CDF-4B0C-BD7F-E482448A03E2}"/>
              </a:ext>
            </a:extLst>
          </p:cNvPr>
          <p:cNvSpPr txBox="1">
            <a:spLocks/>
          </p:cNvSpPr>
          <p:nvPr/>
        </p:nvSpPr>
        <p:spPr>
          <a:xfrm>
            <a:off x="6840761" y="4242599"/>
            <a:ext cx="4129202" cy="1918503"/>
          </a:xfrm>
          <a:prstGeom prst="rect">
            <a:avLst/>
          </a:prstGeom>
          <a:solidFill>
            <a:srgbClr val="D9D9D9"/>
          </a:solidFill>
        </p:spPr>
        <p:txBody>
          <a:bodyPr vert="horz" wrap="square" lIns="504000" tIns="108000" rIns="108000" bIns="108000" rtlCol="0" anchor="t">
            <a:noAutofit/>
          </a:bodyPr>
          <a:lstStyle>
            <a:defPPr>
              <a:defRPr lang="en-GB"/>
            </a:defPPr>
            <a:lvl1pPr marL="0" indent="0" algn="l" defTabSz="914400" eaLnBrk="1" fontAlgn="auto" latinLnBrk="0" hangingPunct="1">
              <a:spcBef>
                <a:spcPts val="400"/>
              </a:spcBef>
              <a:spcAft>
                <a:spcPts val="0"/>
              </a:spcAft>
              <a:buFont typeface="Arial" pitchFamily="34" charset="0"/>
              <a:buNone/>
              <a:defRPr>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endParaRPr lang="en-GB" dirty="0">
              <a:latin typeface="+mn-lt"/>
            </a:endParaRPr>
          </a:p>
        </p:txBody>
      </p:sp>
      <p:sp>
        <p:nvSpPr>
          <p:cNvPr id="45" name="Content Placeholder 4">
            <a:extLst>
              <a:ext uri="{FF2B5EF4-FFF2-40B4-BE49-F238E27FC236}">
                <a16:creationId xmlns:a16="http://schemas.microsoft.com/office/drawing/2014/main" id="{EDF76BE7-08A8-4915-8D70-42625C27CA1C}"/>
              </a:ext>
            </a:extLst>
          </p:cNvPr>
          <p:cNvSpPr txBox="1">
            <a:spLocks/>
          </p:cNvSpPr>
          <p:nvPr/>
        </p:nvSpPr>
        <p:spPr>
          <a:xfrm>
            <a:off x="6602743" y="4154951"/>
            <a:ext cx="540000" cy="540000"/>
          </a:xfrm>
          <a:prstGeom prst="ellipse">
            <a:avLst/>
          </a:prstGeom>
          <a:solidFill>
            <a:schemeClr val="accent6"/>
          </a:solidFill>
          <a:ln w="25400">
            <a:solidFill>
              <a:srgbClr val="FFFFFF"/>
            </a:solidFill>
          </a:ln>
        </p:spPr>
        <p:txBody>
          <a:bodyPr vert="horz" wrap="square" lIns="36000" tIns="36000" rIns="36000" bIns="36000" rtlCol="0" anchor="ctr" anchorCtr="1">
            <a:noAutofit/>
          </a:bodyPr>
          <a:lstStyle>
            <a:defPPr>
              <a:defRPr lang="en-GB"/>
            </a:defPPr>
            <a:lvl1pPr marL="0" indent="0" defTabSz="914400" eaLnBrk="1" fontAlgn="auto" latinLnBrk="0" hangingPunct="1">
              <a:spcBef>
                <a:spcPts val="400"/>
              </a:spcBef>
              <a:spcAft>
                <a:spcPts val="0"/>
              </a:spcAft>
              <a:buFont typeface="Arial" pitchFamily="34" charset="0"/>
              <a:buNone/>
              <a:defRPr sz="1800" b="1">
                <a:solidFill>
                  <a:schemeClr val="bg1"/>
                </a:solidFill>
                <a:latin typeface="+mn-lt"/>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a:t>2</a:t>
            </a:r>
            <a:endParaRPr lang="en-GB" dirty="0"/>
          </a:p>
        </p:txBody>
      </p:sp>
      <p:sp>
        <p:nvSpPr>
          <p:cNvPr id="25" name="Content Placeholder 5">
            <a:extLst>
              <a:ext uri="{FF2B5EF4-FFF2-40B4-BE49-F238E27FC236}">
                <a16:creationId xmlns:a16="http://schemas.microsoft.com/office/drawing/2014/main" id="{2F24B0A2-77F5-4DDA-AC54-E2356320EBF4}"/>
              </a:ext>
            </a:extLst>
          </p:cNvPr>
          <p:cNvSpPr txBox="1">
            <a:spLocks/>
          </p:cNvSpPr>
          <p:nvPr/>
        </p:nvSpPr>
        <p:spPr>
          <a:xfrm>
            <a:off x="1074601" y="1171627"/>
            <a:ext cx="4129087" cy="422405"/>
          </a:xfrm>
          <a:prstGeom prst="rect">
            <a:avLst/>
          </a:prstGeom>
          <a:noFill/>
        </p:spPr>
        <p:txBody>
          <a:bodyPr vert="horz" lIns="72000" tIns="72000" rIns="72000" bIns="72000" rtlCol="0">
            <a:spAutoFit/>
          </a:bodyPr>
          <a:lstStyle>
            <a:lvl1pPr marL="0" indent="0" algn="l" defTabSz="1125444" rtl="0" eaLnBrk="1" latinLnBrk="0" hangingPunct="1">
              <a:spcBef>
                <a:spcPts val="400"/>
              </a:spcBef>
              <a:spcAft>
                <a:spcPts val="400"/>
              </a:spcAft>
              <a:buClr>
                <a:schemeClr val="accent1"/>
              </a:buClr>
              <a:buFont typeface="Arial"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12072" indent="-279145" algn="l" defTabSz="1125444" rtl="0" eaLnBrk="1" latinLnBrk="0" hangingPunct="1">
              <a:spcBef>
                <a:spcPts val="400"/>
              </a:spcBef>
              <a:spcAft>
                <a:spcPts val="400"/>
              </a:spcAft>
              <a:buClr>
                <a:schemeClr val="tx2"/>
              </a:buClr>
              <a:buSzPct val="82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2pPr>
            <a:lvl3pPr marL="824144" indent="-279145" algn="l" defTabSz="1125444" rtl="0" eaLnBrk="1" latinLnBrk="0" hangingPunct="1">
              <a:spcBef>
                <a:spcPts val="400"/>
              </a:spcBef>
              <a:spcAft>
                <a:spcPts val="400"/>
              </a:spcAft>
              <a:buClr>
                <a:schemeClr val="tx2"/>
              </a:buClr>
              <a:buSzPct val="95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36216" indent="-279145" algn="l" defTabSz="1125444" rtl="0" eaLnBrk="1" latinLnBrk="0" hangingPunct="1">
              <a:spcBef>
                <a:spcPts val="400"/>
              </a:spcBef>
              <a:spcAft>
                <a:spcPts val="400"/>
              </a:spcAft>
              <a:buClr>
                <a:schemeClr val="tx2"/>
              </a:buClr>
              <a:buSzPct val="77000"/>
              <a:buFont typeface="Wingdings 3" panose="05040102010807070707" pitchFamily="18" charset="2"/>
              <a:buChar char=""/>
              <a:defRPr sz="1800" kern="1200">
                <a:solidFill>
                  <a:schemeClr val="tx1"/>
                </a:solidFill>
                <a:latin typeface="Arial" panose="020B0604020202020204" pitchFamily="34" charset="0"/>
                <a:ea typeface="+mn-ea"/>
                <a:cs typeface="Arial" panose="020B0604020202020204" pitchFamily="34" charset="0"/>
              </a:defRPr>
            </a:lvl4pPr>
            <a:lvl5pPr marL="1648287" indent="-279145" algn="l" defTabSz="1125444" rtl="0" eaLnBrk="1" latinLnBrk="0" hangingPunct="1">
              <a:spcBef>
                <a:spcPts val="400"/>
              </a:spcBef>
              <a:spcAft>
                <a:spcPts val="400"/>
              </a:spcAft>
              <a:buClr>
                <a:schemeClr val="tx2"/>
              </a:buClr>
              <a:buFont typeface="Arial" pitchFamily="34" charset="0"/>
              <a:buChar char="-"/>
              <a:defRPr sz="1800" kern="1200" baseline="0">
                <a:solidFill>
                  <a:schemeClr val="tx1"/>
                </a:solidFill>
                <a:latin typeface="Arial" panose="020B0604020202020204" pitchFamily="34" charset="0"/>
                <a:ea typeface="+mn-ea"/>
                <a:cs typeface="Arial" panose="020B0604020202020204" pitchFamily="34" charset="0"/>
              </a:defRPr>
            </a:lvl5pPr>
            <a:lvl6pPr marL="2138343" indent="-225089" algn="l" defTabSz="1125444" rtl="0" eaLnBrk="1" latinLnBrk="0" hangingPunct="1">
              <a:spcBef>
                <a:spcPct val="20000"/>
              </a:spcBef>
              <a:buClr>
                <a:schemeClr val="accent1"/>
              </a:buClr>
              <a:buFont typeface="Arial" pitchFamily="34" charset="0"/>
              <a:buChar char="•"/>
              <a:defRPr sz="1723" kern="1200" baseline="0">
                <a:solidFill>
                  <a:schemeClr val="tx1"/>
                </a:solidFill>
                <a:latin typeface="+mn-lt"/>
                <a:ea typeface="+mn-ea"/>
                <a:cs typeface="+mn-cs"/>
              </a:defRPr>
            </a:lvl6pPr>
            <a:lvl7pPr marL="2363431" indent="-225089" algn="l" defTabSz="1125444" rtl="0" eaLnBrk="1" latinLnBrk="0" hangingPunct="1">
              <a:spcBef>
                <a:spcPct val="20000"/>
              </a:spcBef>
              <a:buClr>
                <a:schemeClr val="accent2"/>
              </a:buClr>
              <a:buFont typeface="Arial" pitchFamily="34" charset="0"/>
              <a:buChar char="•"/>
              <a:defRPr sz="1723" kern="1200">
                <a:solidFill>
                  <a:schemeClr val="tx1"/>
                </a:solidFill>
                <a:latin typeface="+mn-lt"/>
                <a:ea typeface="+mn-ea"/>
                <a:cs typeface="+mn-cs"/>
              </a:defRPr>
            </a:lvl7pPr>
            <a:lvl8pPr marL="2588520" indent="-225089" algn="l" defTabSz="1125444" rtl="0" eaLnBrk="1" latinLnBrk="0" hangingPunct="1">
              <a:spcBef>
                <a:spcPct val="20000"/>
              </a:spcBef>
              <a:buClr>
                <a:schemeClr val="accent3"/>
              </a:buClr>
              <a:buFont typeface="Arial" pitchFamily="34" charset="0"/>
              <a:buChar char="•"/>
              <a:defRPr sz="1723" kern="1200">
                <a:solidFill>
                  <a:schemeClr val="tx1"/>
                </a:solidFill>
                <a:latin typeface="+mn-lt"/>
                <a:ea typeface="+mn-ea"/>
                <a:cs typeface="+mn-cs"/>
              </a:defRPr>
            </a:lvl8pPr>
            <a:lvl9pPr marL="2813609" indent="-225089" algn="l" defTabSz="1125444" rtl="0" eaLnBrk="1" latinLnBrk="0" hangingPunct="1">
              <a:spcBef>
                <a:spcPct val="20000"/>
              </a:spcBef>
              <a:buClr>
                <a:schemeClr val="accent4"/>
              </a:buClr>
              <a:buFont typeface="Arial" pitchFamily="34" charset="0"/>
              <a:buChar char="•"/>
              <a:defRPr sz="1723" kern="1200">
                <a:solidFill>
                  <a:schemeClr val="tx1"/>
                </a:solidFill>
                <a:latin typeface="+mn-lt"/>
                <a:ea typeface="+mn-ea"/>
                <a:cs typeface="+mn-cs"/>
              </a:defRPr>
            </a:lvl9pPr>
          </a:lstStyle>
          <a:p>
            <a:pPr fontAlgn="auto"/>
            <a:r>
              <a:rPr lang="en-GB">
                <a:solidFill>
                  <a:schemeClr val="tx2"/>
                </a:solidFill>
                <a:latin typeface="+mn-lt"/>
              </a:rPr>
              <a:t>Causes</a:t>
            </a:r>
            <a:endParaRPr lang="en-GB" dirty="0">
              <a:solidFill>
                <a:schemeClr val="tx2"/>
              </a:solidFill>
              <a:latin typeface="+mn-lt"/>
            </a:endParaRPr>
          </a:p>
        </p:txBody>
      </p:sp>
    </p:spTree>
    <p:extLst>
      <p:ext uri="{BB962C8B-B14F-4D97-AF65-F5344CB8AC3E}">
        <p14:creationId xmlns:p14="http://schemas.microsoft.com/office/powerpoint/2010/main" val="35076932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ross">
            <a:extLst>
              <a:ext uri="{FF2B5EF4-FFF2-40B4-BE49-F238E27FC236}">
                <a16:creationId xmlns:a16="http://schemas.microsoft.com/office/drawing/2014/main" id="{954162CA-68A6-4924-9A73-BCB02BE52F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15617" y="1282012"/>
            <a:ext cx="567682" cy="567682"/>
          </a:xfrm>
          <a:prstGeom prst="rect">
            <a:avLst/>
          </a:prstGeom>
        </p:spPr>
      </p:pic>
      <p:pic>
        <p:nvPicPr>
          <p:cNvPr id="8" name="check">
            <a:extLst>
              <a:ext uri="{FF2B5EF4-FFF2-40B4-BE49-F238E27FC236}">
                <a16:creationId xmlns:a16="http://schemas.microsoft.com/office/drawing/2014/main" id="{B3030662-074F-463C-9A49-A57366737B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45390" y="1258357"/>
            <a:ext cx="635000" cy="635000"/>
          </a:xfrm>
          <a:prstGeom prst="rect">
            <a:avLst/>
          </a:prstGeom>
        </p:spPr>
      </p:pic>
      <p:sp>
        <p:nvSpPr>
          <p:cNvPr id="73" name="ZoneTexte 72">
            <a:extLst>
              <a:ext uri="{FF2B5EF4-FFF2-40B4-BE49-F238E27FC236}">
                <a16:creationId xmlns:a16="http://schemas.microsoft.com/office/drawing/2014/main" id="{AC46271B-686B-4E88-86E1-0B926EB75FCD}"/>
              </a:ext>
            </a:extLst>
          </p:cNvPr>
          <p:cNvSpPr txBox="1"/>
          <p:nvPr/>
        </p:nvSpPr>
        <p:spPr>
          <a:xfrm>
            <a:off x="6575904" y="1475996"/>
            <a:ext cx="4270250" cy="400110"/>
          </a:xfrm>
          <a:prstGeom prst="rect">
            <a:avLst/>
          </a:prstGeom>
          <a:noFill/>
        </p:spPr>
        <p:txBody>
          <a:bodyPr wrap="square" lIns="72000" rtlCol="0">
            <a:spAutoFit/>
          </a:bodyPr>
          <a:lstStyle/>
          <a:p>
            <a:pPr algn="l" defTabSz="742950">
              <a:spcBef>
                <a:spcPts val="400"/>
              </a:spcBef>
              <a:spcAft>
                <a:spcPts val="400"/>
              </a:spcAft>
            </a:pPr>
            <a:r>
              <a:rPr lang="en-GB" sz="2000" b="1" dirty="0">
                <a:solidFill>
                  <a:schemeClr val="tx2"/>
                </a:solidFill>
                <a:latin typeface="+mn-lt"/>
              </a:rPr>
              <a:t>Text goes here</a:t>
            </a:r>
          </a:p>
        </p:txBody>
      </p:sp>
      <p:graphicFrame>
        <p:nvGraphicFramePr>
          <p:cNvPr id="4" name="Objet 3" hidden="1">
            <a:extLst>
              <a:ext uri="{FF2B5EF4-FFF2-40B4-BE49-F238E27FC236}">
                <a16:creationId xmlns:a16="http://schemas.microsoft.com/office/drawing/2014/main" id="{1ABCE0B8-D60C-4FBB-A9D6-0F8778896038}"/>
              </a:ext>
            </a:extLst>
          </p:cNvPr>
          <p:cNvGraphicFramePr>
            <a:graphicFrameLocks noChangeAspect="1"/>
          </p:cNvGraphicFramePr>
          <p:nvPr>
            <p:custDataLst>
              <p:tags r:id="rId1"/>
            </p:custDataLst>
          </p:nvPr>
        </p:nvGraphicFramePr>
        <p:xfrm>
          <a:off x="2072978" y="644228"/>
          <a:ext cx="1290" cy="1290"/>
        </p:xfrm>
        <a:graphic>
          <a:graphicData uri="http://schemas.openxmlformats.org/presentationml/2006/ole">
            <mc:AlternateContent xmlns:mc="http://schemas.openxmlformats.org/markup-compatibility/2006">
              <mc:Choice xmlns:v="urn:schemas-microsoft-com:vml" Requires="v">
                <p:oleObj name="Diapositive think-cell" r:id="rId9" imgW="270" imgH="270" progId="TCLayout.ActiveDocument.1">
                  <p:embed/>
                </p:oleObj>
              </mc:Choice>
              <mc:Fallback>
                <p:oleObj name="Diapositive think-cell" r:id="rId9" imgW="270" imgH="270" progId="TCLayout.ActiveDocument.1">
                  <p:embed/>
                  <p:pic>
                    <p:nvPicPr>
                      <p:cNvPr id="4" name="Objet 3" hidden="1">
                        <a:extLst>
                          <a:ext uri="{FF2B5EF4-FFF2-40B4-BE49-F238E27FC236}">
                            <a16:creationId xmlns:a16="http://schemas.microsoft.com/office/drawing/2014/main" id="{1ABCE0B8-D60C-4FBB-A9D6-0F8778896038}"/>
                          </a:ext>
                        </a:extLst>
                      </p:cNvPr>
                      <p:cNvPicPr/>
                      <p:nvPr/>
                    </p:nvPicPr>
                    <p:blipFill>
                      <a:blip r:embed="rId10"/>
                      <a:stretch>
                        <a:fillRect/>
                      </a:stretch>
                    </p:blipFill>
                    <p:spPr>
                      <a:xfrm>
                        <a:off x="2072978" y="644228"/>
                        <a:ext cx="1290" cy="12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5B1A0F-359B-4E03-8073-B1D861058FBB}"/>
              </a:ext>
            </a:extLst>
          </p:cNvPr>
          <p:cNvSpPr/>
          <p:nvPr>
            <p:custDataLst>
              <p:tags r:id="rId2"/>
            </p:custDataLst>
          </p:nvPr>
        </p:nvSpPr>
        <p:spPr>
          <a:xfrm>
            <a:off x="2071688" y="642938"/>
            <a:ext cx="128984" cy="128984"/>
          </a:xfrm>
          <a:prstGeom prst="rect">
            <a:avLst/>
          </a:prstGeom>
          <a:solidFill>
            <a:srgbClr val="901237"/>
          </a:solidFill>
          <a:ln>
            <a:solidFill>
              <a:srgbClr val="680A2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742950">
              <a:spcBef>
                <a:spcPct val="0"/>
              </a:spcBef>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DEEFE15A-E34D-42CD-9180-70EAAF3773CD}"/>
              </a:ext>
            </a:extLst>
          </p:cNvPr>
          <p:cNvSpPr>
            <a:spLocks noGrp="1"/>
          </p:cNvSpPr>
          <p:nvPr>
            <p:ph type="title"/>
          </p:nvPr>
        </p:nvSpPr>
        <p:spPr/>
        <p:txBody>
          <a:bodyPr/>
          <a:lstStyle/>
          <a:p>
            <a:r>
              <a:rPr lang="en-GB" dirty="0"/>
              <a:t>Slide message – Pros and Cons</a:t>
            </a:r>
          </a:p>
        </p:txBody>
      </p:sp>
      <p:sp>
        <p:nvSpPr>
          <p:cNvPr id="72" name="ZoneTexte 71">
            <a:extLst>
              <a:ext uri="{FF2B5EF4-FFF2-40B4-BE49-F238E27FC236}">
                <a16:creationId xmlns:a16="http://schemas.microsoft.com/office/drawing/2014/main" id="{9FFEC759-8DEC-4F24-94B6-143F3225D1DF}"/>
              </a:ext>
            </a:extLst>
          </p:cNvPr>
          <p:cNvSpPr txBox="1"/>
          <p:nvPr/>
        </p:nvSpPr>
        <p:spPr>
          <a:xfrm>
            <a:off x="1082838" y="1475996"/>
            <a:ext cx="3938990" cy="400110"/>
          </a:xfrm>
          <a:prstGeom prst="rect">
            <a:avLst/>
          </a:prstGeom>
          <a:noFill/>
        </p:spPr>
        <p:txBody>
          <a:bodyPr wrap="square" lIns="72000" rtlCol="0">
            <a:spAutoFit/>
          </a:bodyPr>
          <a:lstStyle/>
          <a:p>
            <a:pPr algn="l" defTabSz="742950">
              <a:spcBef>
                <a:spcPts val="400"/>
              </a:spcBef>
              <a:spcAft>
                <a:spcPts val="400"/>
              </a:spcAft>
            </a:pPr>
            <a:r>
              <a:rPr lang="en-GB" sz="2000" b="1">
                <a:solidFill>
                  <a:schemeClr val="accent2"/>
                </a:solidFill>
                <a:latin typeface="+mn-lt"/>
              </a:rPr>
              <a:t>Text goes here</a:t>
            </a:r>
            <a:endParaRPr lang="en-GB" sz="2000" b="1" dirty="0">
              <a:solidFill>
                <a:schemeClr val="accent2"/>
              </a:solidFill>
              <a:latin typeface="+mn-lt"/>
            </a:endParaRPr>
          </a:p>
        </p:txBody>
      </p:sp>
      <p:sp>
        <p:nvSpPr>
          <p:cNvPr id="74" name="Ellipse 73">
            <a:extLst>
              <a:ext uri="{FF2B5EF4-FFF2-40B4-BE49-F238E27FC236}">
                <a16:creationId xmlns:a16="http://schemas.microsoft.com/office/drawing/2014/main" id="{896E4017-3EF8-4185-BB22-DD91DFABBAED}"/>
              </a:ext>
            </a:extLst>
          </p:cNvPr>
          <p:cNvSpPr/>
          <p:nvPr/>
        </p:nvSpPr>
        <p:spPr>
          <a:xfrm>
            <a:off x="1082838" y="2187227"/>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1</a:t>
            </a:r>
            <a:endParaRPr lang="en-GB" b="1" dirty="0">
              <a:solidFill>
                <a:schemeClr val="bg1"/>
              </a:solidFill>
            </a:endParaRPr>
          </a:p>
        </p:txBody>
      </p:sp>
      <p:sp>
        <p:nvSpPr>
          <p:cNvPr id="78" name="ZoneTexte 77">
            <a:extLst>
              <a:ext uri="{FF2B5EF4-FFF2-40B4-BE49-F238E27FC236}">
                <a16:creationId xmlns:a16="http://schemas.microsoft.com/office/drawing/2014/main" id="{913DA32E-EB54-4FA5-99DA-21F4C4BE91E9}"/>
              </a:ext>
            </a:extLst>
          </p:cNvPr>
          <p:cNvSpPr txBox="1"/>
          <p:nvPr/>
        </p:nvSpPr>
        <p:spPr>
          <a:xfrm>
            <a:off x="1670711" y="2205784"/>
            <a:ext cx="3753070"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75" name="Ellipse 74">
            <a:extLst>
              <a:ext uri="{FF2B5EF4-FFF2-40B4-BE49-F238E27FC236}">
                <a16:creationId xmlns:a16="http://schemas.microsoft.com/office/drawing/2014/main" id="{7190EB2F-854E-40CD-A7F4-32F765BED7EF}"/>
              </a:ext>
            </a:extLst>
          </p:cNvPr>
          <p:cNvSpPr/>
          <p:nvPr/>
        </p:nvSpPr>
        <p:spPr>
          <a:xfrm>
            <a:off x="1082838" y="3001914"/>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2</a:t>
            </a:r>
            <a:endParaRPr lang="en-GB" b="1" dirty="0">
              <a:solidFill>
                <a:schemeClr val="bg1"/>
              </a:solidFill>
            </a:endParaRPr>
          </a:p>
        </p:txBody>
      </p:sp>
      <p:sp>
        <p:nvSpPr>
          <p:cNvPr id="79" name="ZoneTexte 78">
            <a:extLst>
              <a:ext uri="{FF2B5EF4-FFF2-40B4-BE49-F238E27FC236}">
                <a16:creationId xmlns:a16="http://schemas.microsoft.com/office/drawing/2014/main" id="{8FCBA242-689B-4F3E-8BD8-4772E20E7060}"/>
              </a:ext>
            </a:extLst>
          </p:cNvPr>
          <p:cNvSpPr txBox="1"/>
          <p:nvPr/>
        </p:nvSpPr>
        <p:spPr>
          <a:xfrm>
            <a:off x="1670711" y="3020471"/>
            <a:ext cx="3753070"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80" name="Ellipse 79">
            <a:extLst>
              <a:ext uri="{FF2B5EF4-FFF2-40B4-BE49-F238E27FC236}">
                <a16:creationId xmlns:a16="http://schemas.microsoft.com/office/drawing/2014/main" id="{26783ABE-2E0B-4E47-8D4A-7FF0C8880D0D}"/>
              </a:ext>
            </a:extLst>
          </p:cNvPr>
          <p:cNvSpPr/>
          <p:nvPr/>
        </p:nvSpPr>
        <p:spPr>
          <a:xfrm>
            <a:off x="1082838" y="3816601"/>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3</a:t>
            </a:r>
            <a:endParaRPr lang="en-GB" b="1" dirty="0">
              <a:solidFill>
                <a:schemeClr val="bg1"/>
              </a:solidFill>
            </a:endParaRPr>
          </a:p>
        </p:txBody>
      </p:sp>
      <p:sp>
        <p:nvSpPr>
          <p:cNvPr id="81" name="ZoneTexte 80">
            <a:extLst>
              <a:ext uri="{FF2B5EF4-FFF2-40B4-BE49-F238E27FC236}">
                <a16:creationId xmlns:a16="http://schemas.microsoft.com/office/drawing/2014/main" id="{99AEF137-AD2A-42AD-ADF6-7F24301C63CF}"/>
              </a:ext>
            </a:extLst>
          </p:cNvPr>
          <p:cNvSpPr txBox="1"/>
          <p:nvPr/>
        </p:nvSpPr>
        <p:spPr>
          <a:xfrm>
            <a:off x="1670711" y="3835158"/>
            <a:ext cx="3753070"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86" name="Ellipse 85">
            <a:extLst>
              <a:ext uri="{FF2B5EF4-FFF2-40B4-BE49-F238E27FC236}">
                <a16:creationId xmlns:a16="http://schemas.microsoft.com/office/drawing/2014/main" id="{D04D8052-A777-4316-9F2F-5B8B46032238}"/>
              </a:ext>
            </a:extLst>
          </p:cNvPr>
          <p:cNvSpPr/>
          <p:nvPr/>
        </p:nvSpPr>
        <p:spPr>
          <a:xfrm>
            <a:off x="1082838" y="4631288"/>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4</a:t>
            </a:r>
            <a:endParaRPr lang="en-GB" b="1" dirty="0">
              <a:solidFill>
                <a:schemeClr val="bg1"/>
              </a:solidFill>
            </a:endParaRPr>
          </a:p>
        </p:txBody>
      </p:sp>
      <p:sp>
        <p:nvSpPr>
          <p:cNvPr id="87" name="ZoneTexte 86">
            <a:extLst>
              <a:ext uri="{FF2B5EF4-FFF2-40B4-BE49-F238E27FC236}">
                <a16:creationId xmlns:a16="http://schemas.microsoft.com/office/drawing/2014/main" id="{4904AF43-682E-43F2-BAD8-4DE0590F1215}"/>
              </a:ext>
            </a:extLst>
          </p:cNvPr>
          <p:cNvSpPr txBox="1"/>
          <p:nvPr/>
        </p:nvSpPr>
        <p:spPr>
          <a:xfrm>
            <a:off x="1670711" y="4649845"/>
            <a:ext cx="3753070"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117" name="Ellipse 116">
            <a:extLst>
              <a:ext uri="{FF2B5EF4-FFF2-40B4-BE49-F238E27FC236}">
                <a16:creationId xmlns:a16="http://schemas.microsoft.com/office/drawing/2014/main" id="{7C776499-7765-4260-97CF-81B7E72D9559}"/>
              </a:ext>
            </a:extLst>
          </p:cNvPr>
          <p:cNvSpPr/>
          <p:nvPr/>
        </p:nvSpPr>
        <p:spPr>
          <a:xfrm>
            <a:off x="6575904" y="2187227"/>
            <a:ext cx="468000" cy="46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1</a:t>
            </a:r>
            <a:endParaRPr lang="en-GB" b="1" dirty="0">
              <a:solidFill>
                <a:schemeClr val="bg1"/>
              </a:solidFill>
            </a:endParaRPr>
          </a:p>
        </p:txBody>
      </p:sp>
      <p:sp>
        <p:nvSpPr>
          <p:cNvPr id="120" name="Ellipse 119">
            <a:extLst>
              <a:ext uri="{FF2B5EF4-FFF2-40B4-BE49-F238E27FC236}">
                <a16:creationId xmlns:a16="http://schemas.microsoft.com/office/drawing/2014/main" id="{4A4CADC3-EDB1-45A0-BF79-88E3FB7667D4}"/>
              </a:ext>
            </a:extLst>
          </p:cNvPr>
          <p:cNvSpPr/>
          <p:nvPr/>
        </p:nvSpPr>
        <p:spPr>
          <a:xfrm>
            <a:off x="6575904" y="3001914"/>
            <a:ext cx="468000" cy="46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2</a:t>
            </a:r>
            <a:endParaRPr lang="en-GB" b="1" dirty="0">
              <a:solidFill>
                <a:schemeClr val="bg1"/>
              </a:solidFill>
            </a:endParaRPr>
          </a:p>
        </p:txBody>
      </p:sp>
      <p:sp>
        <p:nvSpPr>
          <p:cNvPr id="122" name="Ellipse 121">
            <a:extLst>
              <a:ext uri="{FF2B5EF4-FFF2-40B4-BE49-F238E27FC236}">
                <a16:creationId xmlns:a16="http://schemas.microsoft.com/office/drawing/2014/main" id="{6ADBF8D7-8745-4E06-9DD0-96B7676FDA6B}"/>
              </a:ext>
            </a:extLst>
          </p:cNvPr>
          <p:cNvSpPr/>
          <p:nvPr/>
        </p:nvSpPr>
        <p:spPr>
          <a:xfrm>
            <a:off x="6575904" y="3816601"/>
            <a:ext cx="468000" cy="46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3</a:t>
            </a:r>
            <a:endParaRPr lang="en-GB" b="1" dirty="0">
              <a:solidFill>
                <a:schemeClr val="bg1"/>
              </a:solidFill>
            </a:endParaRPr>
          </a:p>
        </p:txBody>
      </p:sp>
      <p:sp>
        <p:nvSpPr>
          <p:cNvPr id="128" name="Ellipse 127">
            <a:extLst>
              <a:ext uri="{FF2B5EF4-FFF2-40B4-BE49-F238E27FC236}">
                <a16:creationId xmlns:a16="http://schemas.microsoft.com/office/drawing/2014/main" id="{535ECE11-C0B2-40B9-96BB-A3ED3C143BCE}"/>
              </a:ext>
            </a:extLst>
          </p:cNvPr>
          <p:cNvSpPr/>
          <p:nvPr/>
        </p:nvSpPr>
        <p:spPr>
          <a:xfrm>
            <a:off x="6575904" y="4631288"/>
            <a:ext cx="468000" cy="46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4</a:t>
            </a:r>
            <a:endParaRPr lang="en-GB" b="1" dirty="0">
              <a:solidFill>
                <a:schemeClr val="bg1"/>
              </a:solidFill>
            </a:endParaRPr>
          </a:p>
        </p:txBody>
      </p:sp>
      <p:sp>
        <p:nvSpPr>
          <p:cNvPr id="48" name="ZoneTexte 47">
            <a:extLst>
              <a:ext uri="{FF2B5EF4-FFF2-40B4-BE49-F238E27FC236}">
                <a16:creationId xmlns:a16="http://schemas.microsoft.com/office/drawing/2014/main" id="{1951F9C7-57EB-4AF4-8CBC-23180CB96782}"/>
              </a:ext>
            </a:extLst>
          </p:cNvPr>
          <p:cNvSpPr txBox="1"/>
          <p:nvPr/>
        </p:nvSpPr>
        <p:spPr>
          <a:xfrm>
            <a:off x="7139763" y="2205784"/>
            <a:ext cx="3777084"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49" name="ZoneTexte 48">
            <a:extLst>
              <a:ext uri="{FF2B5EF4-FFF2-40B4-BE49-F238E27FC236}">
                <a16:creationId xmlns:a16="http://schemas.microsoft.com/office/drawing/2014/main" id="{E6AB2D71-100F-4C7C-A0FF-C650955B5FC7}"/>
              </a:ext>
            </a:extLst>
          </p:cNvPr>
          <p:cNvSpPr txBox="1"/>
          <p:nvPr/>
        </p:nvSpPr>
        <p:spPr>
          <a:xfrm>
            <a:off x="7139763" y="3020471"/>
            <a:ext cx="3777084"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50" name="ZoneTexte 49">
            <a:extLst>
              <a:ext uri="{FF2B5EF4-FFF2-40B4-BE49-F238E27FC236}">
                <a16:creationId xmlns:a16="http://schemas.microsoft.com/office/drawing/2014/main" id="{1C166CCA-8BA8-47F2-AB5F-A362313ADF8B}"/>
              </a:ext>
            </a:extLst>
          </p:cNvPr>
          <p:cNvSpPr txBox="1"/>
          <p:nvPr/>
        </p:nvSpPr>
        <p:spPr>
          <a:xfrm>
            <a:off x="7139763" y="3835158"/>
            <a:ext cx="3777084"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51" name="ZoneTexte 50">
            <a:extLst>
              <a:ext uri="{FF2B5EF4-FFF2-40B4-BE49-F238E27FC236}">
                <a16:creationId xmlns:a16="http://schemas.microsoft.com/office/drawing/2014/main" id="{8522BD9A-3321-4250-8078-DF6BAAF43513}"/>
              </a:ext>
            </a:extLst>
          </p:cNvPr>
          <p:cNvSpPr txBox="1"/>
          <p:nvPr/>
        </p:nvSpPr>
        <p:spPr>
          <a:xfrm>
            <a:off x="7139763" y="4649845"/>
            <a:ext cx="3777084"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28" name="Ellipse 85">
            <a:extLst>
              <a:ext uri="{FF2B5EF4-FFF2-40B4-BE49-F238E27FC236}">
                <a16:creationId xmlns:a16="http://schemas.microsoft.com/office/drawing/2014/main" id="{4EF13566-8259-417A-B3C5-022E537694B2}"/>
              </a:ext>
            </a:extLst>
          </p:cNvPr>
          <p:cNvSpPr/>
          <p:nvPr/>
        </p:nvSpPr>
        <p:spPr>
          <a:xfrm>
            <a:off x="1082838" y="5445976"/>
            <a:ext cx="468000" cy="46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5</a:t>
            </a:r>
            <a:endParaRPr lang="en-GB" b="1" dirty="0">
              <a:solidFill>
                <a:schemeClr val="bg1"/>
              </a:solidFill>
            </a:endParaRPr>
          </a:p>
        </p:txBody>
      </p:sp>
      <p:sp>
        <p:nvSpPr>
          <p:cNvPr id="29" name="ZoneTexte 86-2">
            <a:extLst>
              <a:ext uri="{FF2B5EF4-FFF2-40B4-BE49-F238E27FC236}">
                <a16:creationId xmlns:a16="http://schemas.microsoft.com/office/drawing/2014/main" id="{20CB93CD-E41C-4A07-9A67-FE7AFF324089}"/>
              </a:ext>
            </a:extLst>
          </p:cNvPr>
          <p:cNvSpPr txBox="1"/>
          <p:nvPr/>
        </p:nvSpPr>
        <p:spPr>
          <a:xfrm>
            <a:off x="1670711" y="5464533"/>
            <a:ext cx="3753070"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sp>
        <p:nvSpPr>
          <p:cNvPr id="30" name="Ellipse 127">
            <a:extLst>
              <a:ext uri="{FF2B5EF4-FFF2-40B4-BE49-F238E27FC236}">
                <a16:creationId xmlns:a16="http://schemas.microsoft.com/office/drawing/2014/main" id="{943BE66D-D18A-4754-B506-20FB36748382}"/>
              </a:ext>
            </a:extLst>
          </p:cNvPr>
          <p:cNvSpPr/>
          <p:nvPr/>
        </p:nvSpPr>
        <p:spPr>
          <a:xfrm>
            <a:off x="6575904" y="5445976"/>
            <a:ext cx="468000" cy="46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Bef>
                <a:spcPts val="400"/>
              </a:spcBef>
              <a:spcAft>
                <a:spcPts val="400"/>
              </a:spcAft>
            </a:pPr>
            <a:r>
              <a:rPr lang="en-GB" b="1">
                <a:solidFill>
                  <a:schemeClr val="bg1"/>
                </a:solidFill>
              </a:rPr>
              <a:t>5</a:t>
            </a:r>
            <a:endParaRPr lang="en-GB" b="1" dirty="0">
              <a:solidFill>
                <a:schemeClr val="bg1"/>
              </a:solidFill>
            </a:endParaRPr>
          </a:p>
        </p:txBody>
      </p:sp>
      <p:sp>
        <p:nvSpPr>
          <p:cNvPr id="31" name="ZoneTexte 50-2">
            <a:extLst>
              <a:ext uri="{FF2B5EF4-FFF2-40B4-BE49-F238E27FC236}">
                <a16:creationId xmlns:a16="http://schemas.microsoft.com/office/drawing/2014/main" id="{0AD37F33-0414-45A5-8FE4-8187246D5D1B}"/>
              </a:ext>
            </a:extLst>
          </p:cNvPr>
          <p:cNvSpPr txBox="1"/>
          <p:nvPr/>
        </p:nvSpPr>
        <p:spPr>
          <a:xfrm>
            <a:off x="7139763" y="5464533"/>
            <a:ext cx="3777084" cy="430887"/>
          </a:xfrm>
          <a:prstGeom prst="rect">
            <a:avLst/>
          </a:prstGeom>
          <a:noFill/>
        </p:spPr>
        <p:txBody>
          <a:bodyPr wrap="square" lIns="72000" tIns="0" rIns="72000" bIns="0" rtlCol="0" anchor="ctr">
            <a:spAutoFit/>
          </a:bodyPr>
          <a:lstStyle/>
          <a:p>
            <a:pPr lvl="0" algn="l" eaLnBrk="1" fontAlgn="auto" hangingPunct="1">
              <a:spcBef>
                <a:spcPts val="400"/>
              </a:spcBef>
              <a:spcAft>
                <a:spcPts val="400"/>
              </a:spcAft>
              <a:buClrTx/>
              <a:defRPr/>
            </a:pPr>
            <a:r>
              <a:rPr lang="en-GB" kern="0" dirty="0">
                <a:latin typeface="+mn-lt"/>
              </a:rPr>
              <a:t>Lorem ipsum </a:t>
            </a:r>
            <a:r>
              <a:rPr lang="en-GB" kern="0" dirty="0" err="1">
                <a:latin typeface="+mn-lt"/>
              </a:rPr>
              <a:t>dolor</a:t>
            </a:r>
            <a:r>
              <a:rPr lang="en-GB" kern="0" dirty="0">
                <a:latin typeface="+mn-lt"/>
              </a:rPr>
              <a:t> sit </a:t>
            </a:r>
            <a:r>
              <a:rPr lang="en-GB" kern="0" dirty="0" err="1">
                <a:latin typeface="+mn-lt"/>
              </a:rPr>
              <a:t>amet</a:t>
            </a:r>
            <a:r>
              <a:rPr lang="en-GB" kern="0" dirty="0">
                <a:latin typeface="+mn-lt"/>
              </a:rPr>
              <a:t>, </a:t>
            </a:r>
            <a:r>
              <a:rPr lang="en-GB" kern="0" dirty="0" err="1">
                <a:latin typeface="+mn-lt"/>
              </a:rPr>
              <a:t>consectetur</a:t>
            </a:r>
            <a:r>
              <a:rPr lang="en-GB" kern="0" dirty="0">
                <a:latin typeface="+mn-lt"/>
              </a:rPr>
              <a:t> </a:t>
            </a:r>
            <a:r>
              <a:rPr lang="en-GB" kern="0" dirty="0" err="1">
                <a:latin typeface="+mn-lt"/>
              </a:rPr>
              <a:t>adipiscing</a:t>
            </a:r>
            <a:r>
              <a:rPr lang="en-GB" kern="0" dirty="0">
                <a:latin typeface="+mn-lt"/>
              </a:rPr>
              <a:t> </a:t>
            </a:r>
            <a:r>
              <a:rPr lang="en-GB" kern="0" dirty="0" err="1">
                <a:latin typeface="+mn-lt"/>
              </a:rPr>
              <a:t>elit</a:t>
            </a:r>
            <a:endParaRPr lang="en-GB" kern="0" dirty="0">
              <a:latin typeface="+mn-lt"/>
            </a:endParaRPr>
          </a:p>
        </p:txBody>
      </p:sp>
      <p:cxnSp>
        <p:nvCxnSpPr>
          <p:cNvPr id="9" name="Straight Connector 8">
            <a:extLst>
              <a:ext uri="{FF2B5EF4-FFF2-40B4-BE49-F238E27FC236}">
                <a16:creationId xmlns:a16="http://schemas.microsoft.com/office/drawing/2014/main" id="{11149980-8B4E-4068-B4C3-2302B70BB397}"/>
              </a:ext>
            </a:extLst>
          </p:cNvPr>
          <p:cNvCxnSpPr/>
          <p:nvPr/>
        </p:nvCxnSpPr>
        <p:spPr>
          <a:xfrm>
            <a:off x="1082838" y="1932039"/>
            <a:ext cx="4340942" cy="0"/>
          </a:xfrm>
          <a:prstGeom prst="line">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ABD7441-11BF-4C1D-AE87-41AD73504C0B}"/>
              </a:ext>
            </a:extLst>
          </p:cNvPr>
          <p:cNvCxnSpPr/>
          <p:nvPr/>
        </p:nvCxnSpPr>
        <p:spPr>
          <a:xfrm>
            <a:off x="6575904" y="1932039"/>
            <a:ext cx="4340942" cy="0"/>
          </a:xfrm>
          <a:prstGeom prst="line">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047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DB31A2F-A2D7-4C87-BCE1-5DBDB1D400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4" name="Objet 3" hidden="1">
                        <a:extLst>
                          <a:ext uri="{FF2B5EF4-FFF2-40B4-BE49-F238E27FC236}">
                            <a16:creationId xmlns:a16="http://schemas.microsoft.com/office/drawing/2014/main" id="{9DB31A2F-A2D7-4C87-BCE1-5DBDB1D400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BEDF04-85D6-42F3-90CA-B3EFA9A1E0F3}"/>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a:t>One graph delivering one key message</a:t>
            </a:r>
            <a:endParaRPr lang="en-GB" dirty="0"/>
          </a:p>
        </p:txBody>
      </p:sp>
      <p:graphicFrame>
        <p:nvGraphicFramePr>
          <p:cNvPr id="14" name="Graphique 13">
            <a:extLst>
              <a:ext uri="{FF2B5EF4-FFF2-40B4-BE49-F238E27FC236}">
                <a16:creationId xmlns:a16="http://schemas.microsoft.com/office/drawing/2014/main" id="{03416528-D28E-4950-866C-6AC9C98F89EE}"/>
              </a:ext>
            </a:extLst>
          </p:cNvPr>
          <p:cNvGraphicFramePr/>
          <p:nvPr/>
        </p:nvGraphicFramePr>
        <p:xfrm>
          <a:off x="705532" y="1358900"/>
          <a:ext cx="10524263" cy="433710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81908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64B02AD-9D55-4FE9-95D2-A927BE7FCD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13" name="Objet 12" hidden="1">
                        <a:extLst>
                          <a:ext uri="{FF2B5EF4-FFF2-40B4-BE49-F238E27FC236}">
                            <a16:creationId xmlns:a16="http://schemas.microsoft.com/office/drawing/2014/main" id="{B64B02AD-9D55-4FE9-95D2-A927BE7FCD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0A157F-9AE6-4896-9AF5-5BFA83419C7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1B5A117-6F45-41A2-BB48-2ECBA4F94650}"/>
              </a:ext>
            </a:extLst>
          </p:cNvPr>
          <p:cNvSpPr>
            <a:spLocks noGrp="1"/>
          </p:cNvSpPr>
          <p:nvPr>
            <p:ph type="title"/>
          </p:nvPr>
        </p:nvSpPr>
        <p:spPr/>
        <p:txBody>
          <a:bodyPr/>
          <a:lstStyle/>
          <a:p>
            <a:r>
              <a:rPr lang="en-GB"/>
              <a:t>Key message – two titles with four key points each</a:t>
            </a:r>
            <a:endParaRPr lang="en-GB" dirty="0"/>
          </a:p>
        </p:txBody>
      </p:sp>
      <p:sp>
        <p:nvSpPr>
          <p:cNvPr id="26" name="Oval 25">
            <a:extLst>
              <a:ext uri="{FF2B5EF4-FFF2-40B4-BE49-F238E27FC236}">
                <a16:creationId xmlns:a16="http://schemas.microsoft.com/office/drawing/2014/main" id="{E04D7069-D10A-4076-9EFE-FE20BF0C780F}"/>
              </a:ext>
            </a:extLst>
          </p:cNvPr>
          <p:cNvSpPr/>
          <p:nvPr/>
        </p:nvSpPr>
        <p:spPr>
          <a:xfrm>
            <a:off x="1461660" y="1729162"/>
            <a:ext cx="1728000" cy="1728000"/>
          </a:xfrm>
          <a:prstGeom prst="ellipse">
            <a:avLst/>
          </a:prstGeom>
          <a:solidFill>
            <a:srgbClr val="FFFFFF"/>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en-GB" sz="1600" b="1" dirty="0">
              <a:solidFill>
                <a:srgbClr val="D9D9D9"/>
              </a:solidFill>
            </a:endParaRPr>
          </a:p>
        </p:txBody>
      </p:sp>
      <p:sp>
        <p:nvSpPr>
          <p:cNvPr id="27" name="Oval 26">
            <a:extLst>
              <a:ext uri="{FF2B5EF4-FFF2-40B4-BE49-F238E27FC236}">
                <a16:creationId xmlns:a16="http://schemas.microsoft.com/office/drawing/2014/main" id="{D5762BDB-3C0F-440B-ACA1-B367F7ED75B4}"/>
              </a:ext>
            </a:extLst>
          </p:cNvPr>
          <p:cNvSpPr/>
          <p:nvPr/>
        </p:nvSpPr>
        <p:spPr>
          <a:xfrm>
            <a:off x="1461660" y="3991853"/>
            <a:ext cx="1728000" cy="1728000"/>
          </a:xfrm>
          <a:prstGeom prst="ellipse">
            <a:avLst/>
          </a:prstGeom>
          <a:solidFill>
            <a:srgbClr val="FFFFFF"/>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28" name="Oval 27">
            <a:extLst>
              <a:ext uri="{FF2B5EF4-FFF2-40B4-BE49-F238E27FC236}">
                <a16:creationId xmlns:a16="http://schemas.microsoft.com/office/drawing/2014/main" id="{A50F9252-84D4-45BC-A669-74AA7B259985}"/>
              </a:ext>
            </a:extLst>
          </p:cNvPr>
          <p:cNvSpPr/>
          <p:nvPr/>
        </p:nvSpPr>
        <p:spPr>
          <a:xfrm>
            <a:off x="3658122" y="1729162"/>
            <a:ext cx="1728000" cy="1728000"/>
          </a:xfrm>
          <a:prstGeom prst="ellipse">
            <a:avLst/>
          </a:prstGeom>
          <a:solidFill>
            <a:srgbClr val="FFFFFF"/>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29" name="Oval 28">
            <a:extLst>
              <a:ext uri="{FF2B5EF4-FFF2-40B4-BE49-F238E27FC236}">
                <a16:creationId xmlns:a16="http://schemas.microsoft.com/office/drawing/2014/main" id="{5D2C09AC-FBD1-4995-81E6-4B74AD28495D}"/>
              </a:ext>
            </a:extLst>
          </p:cNvPr>
          <p:cNvSpPr/>
          <p:nvPr/>
        </p:nvSpPr>
        <p:spPr>
          <a:xfrm>
            <a:off x="3658122" y="3991853"/>
            <a:ext cx="1728000" cy="1728000"/>
          </a:xfrm>
          <a:prstGeom prst="ellipse">
            <a:avLst/>
          </a:prstGeom>
          <a:solidFill>
            <a:srgbClr val="FFFFFF"/>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en-GB" sz="1600" b="1" dirty="0">
              <a:solidFill>
                <a:srgbClr val="D9D9D9"/>
              </a:solidFill>
            </a:endParaRPr>
          </a:p>
        </p:txBody>
      </p:sp>
      <p:sp>
        <p:nvSpPr>
          <p:cNvPr id="30" name="Oval 29">
            <a:extLst>
              <a:ext uri="{FF2B5EF4-FFF2-40B4-BE49-F238E27FC236}">
                <a16:creationId xmlns:a16="http://schemas.microsoft.com/office/drawing/2014/main" id="{E5B2016B-FDFF-43D9-A81F-D1C6A5206D41}"/>
              </a:ext>
            </a:extLst>
          </p:cNvPr>
          <p:cNvSpPr/>
          <p:nvPr/>
        </p:nvSpPr>
        <p:spPr>
          <a:xfrm>
            <a:off x="7069475" y="1729162"/>
            <a:ext cx="1728000" cy="1728000"/>
          </a:xfrm>
          <a:prstGeom prst="ellipse">
            <a:avLst/>
          </a:prstGeom>
          <a:solidFill>
            <a:srgbClr val="FFFFFF"/>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31" name="Oval 30">
            <a:extLst>
              <a:ext uri="{FF2B5EF4-FFF2-40B4-BE49-F238E27FC236}">
                <a16:creationId xmlns:a16="http://schemas.microsoft.com/office/drawing/2014/main" id="{259CD7B8-57C2-4DFC-B36B-61F44945AB79}"/>
              </a:ext>
            </a:extLst>
          </p:cNvPr>
          <p:cNvSpPr/>
          <p:nvPr/>
        </p:nvSpPr>
        <p:spPr>
          <a:xfrm>
            <a:off x="7069475" y="3991853"/>
            <a:ext cx="1728000" cy="1728000"/>
          </a:xfrm>
          <a:prstGeom prst="ellipse">
            <a:avLst/>
          </a:prstGeom>
          <a:solidFill>
            <a:srgbClr val="FFFFFF"/>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32" name="Oval 31">
            <a:extLst>
              <a:ext uri="{FF2B5EF4-FFF2-40B4-BE49-F238E27FC236}">
                <a16:creationId xmlns:a16="http://schemas.microsoft.com/office/drawing/2014/main" id="{90494A70-BFF6-4689-9CC6-BA2D3EBEEE67}"/>
              </a:ext>
            </a:extLst>
          </p:cNvPr>
          <p:cNvSpPr/>
          <p:nvPr/>
        </p:nvSpPr>
        <p:spPr>
          <a:xfrm>
            <a:off x="9265937" y="1729162"/>
            <a:ext cx="1728000" cy="1728000"/>
          </a:xfrm>
          <a:prstGeom prst="ellipse">
            <a:avLst/>
          </a:prstGeom>
          <a:solidFill>
            <a:srgbClr val="FFFFFF"/>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33" name="Oval 32">
            <a:extLst>
              <a:ext uri="{FF2B5EF4-FFF2-40B4-BE49-F238E27FC236}">
                <a16:creationId xmlns:a16="http://schemas.microsoft.com/office/drawing/2014/main" id="{598EDE28-C1EB-45F8-A657-00853EED372C}"/>
              </a:ext>
            </a:extLst>
          </p:cNvPr>
          <p:cNvSpPr/>
          <p:nvPr/>
        </p:nvSpPr>
        <p:spPr>
          <a:xfrm>
            <a:off x="9265937" y="3991853"/>
            <a:ext cx="1728000" cy="1728000"/>
          </a:xfrm>
          <a:prstGeom prst="ellipse">
            <a:avLst/>
          </a:prstGeom>
          <a:solidFill>
            <a:srgbClr val="FFFFFF"/>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endParaRPr lang="en-GB" sz="1600" b="1" dirty="0">
              <a:solidFill>
                <a:srgbClr val="D9D9D9"/>
              </a:solidFill>
            </a:endParaRPr>
          </a:p>
        </p:txBody>
      </p:sp>
      <p:sp>
        <p:nvSpPr>
          <p:cNvPr id="5" name="TextBox 4">
            <a:extLst>
              <a:ext uri="{FF2B5EF4-FFF2-40B4-BE49-F238E27FC236}">
                <a16:creationId xmlns:a16="http://schemas.microsoft.com/office/drawing/2014/main" id="{68768C35-0040-4215-95DF-CFA8AC9401EE}"/>
              </a:ext>
            </a:extLst>
          </p:cNvPr>
          <p:cNvSpPr txBox="1"/>
          <p:nvPr/>
        </p:nvSpPr>
        <p:spPr>
          <a:xfrm>
            <a:off x="1168005" y="1202893"/>
            <a:ext cx="3790122" cy="369332"/>
          </a:xfrm>
          <a:prstGeom prst="rect">
            <a:avLst/>
          </a:prstGeom>
          <a:noFill/>
        </p:spPr>
        <p:txBody>
          <a:bodyPr wrap="square" rtlCol="0">
            <a:spAutoFit/>
          </a:bodyPr>
          <a:lstStyle/>
          <a:p>
            <a:pPr algn="l"/>
            <a:r>
              <a:rPr lang="en-GB" sz="1800">
                <a:solidFill>
                  <a:schemeClr val="tx2"/>
                </a:solidFill>
                <a:latin typeface="+mn-lt"/>
              </a:rPr>
              <a:t>Title 1</a:t>
            </a:r>
            <a:endParaRPr lang="en-GB" sz="1800" dirty="0">
              <a:solidFill>
                <a:schemeClr val="tx2"/>
              </a:solidFill>
              <a:latin typeface="+mn-lt"/>
            </a:endParaRPr>
          </a:p>
        </p:txBody>
      </p:sp>
      <p:sp>
        <p:nvSpPr>
          <p:cNvPr id="34" name="TextBox 33">
            <a:extLst>
              <a:ext uri="{FF2B5EF4-FFF2-40B4-BE49-F238E27FC236}">
                <a16:creationId xmlns:a16="http://schemas.microsoft.com/office/drawing/2014/main" id="{47309AD7-A028-4D8A-A6A7-275B62DB5908}"/>
              </a:ext>
            </a:extLst>
          </p:cNvPr>
          <p:cNvSpPr txBox="1"/>
          <p:nvPr/>
        </p:nvSpPr>
        <p:spPr>
          <a:xfrm>
            <a:off x="6820128" y="1198654"/>
            <a:ext cx="3790122" cy="369332"/>
          </a:xfrm>
          <a:prstGeom prst="rect">
            <a:avLst/>
          </a:prstGeom>
          <a:noFill/>
        </p:spPr>
        <p:txBody>
          <a:bodyPr wrap="square" rtlCol="0">
            <a:spAutoFit/>
          </a:bodyPr>
          <a:lstStyle/>
          <a:p>
            <a:pPr algn="l"/>
            <a:r>
              <a:rPr lang="en-GB" sz="1800">
                <a:solidFill>
                  <a:schemeClr val="accent2"/>
                </a:solidFill>
                <a:latin typeface="+mn-lt"/>
              </a:rPr>
              <a:t>Title 2</a:t>
            </a:r>
            <a:endParaRPr lang="en-GB" sz="1800" dirty="0">
              <a:solidFill>
                <a:schemeClr val="accent2"/>
              </a:solidFill>
              <a:latin typeface="+mn-lt"/>
            </a:endParaRPr>
          </a:p>
        </p:txBody>
      </p:sp>
      <p:sp>
        <p:nvSpPr>
          <p:cNvPr id="4" name="Rectangle 3">
            <a:extLst>
              <a:ext uri="{FF2B5EF4-FFF2-40B4-BE49-F238E27FC236}">
                <a16:creationId xmlns:a16="http://schemas.microsoft.com/office/drawing/2014/main" id="{2876CDFF-CA90-4ED7-854D-F74A1139B2EC}"/>
              </a:ext>
            </a:extLst>
          </p:cNvPr>
          <p:cNvSpPr/>
          <p:nvPr/>
        </p:nvSpPr>
        <p:spPr>
          <a:xfrm>
            <a:off x="2045138" y="3502430"/>
            <a:ext cx="561051" cy="338554"/>
          </a:xfrm>
          <a:prstGeom prst="rect">
            <a:avLst/>
          </a:prstGeom>
        </p:spPr>
        <p:txBody>
          <a:bodyPr wrap="none" anchor="ctr">
            <a:spAutoFit/>
          </a:bodyPr>
          <a:lstStyle/>
          <a:p>
            <a:pPr>
              <a:spcBef>
                <a:spcPts val="0"/>
              </a:spcBef>
            </a:pPr>
            <a:r>
              <a:rPr lang="en-GB" sz="1600">
                <a:solidFill>
                  <a:schemeClr val="tx2"/>
                </a:solidFill>
                <a:latin typeface="+mn-lt"/>
              </a:rPr>
              <a:t>Text</a:t>
            </a:r>
            <a:endParaRPr lang="en-GB" sz="1600" dirty="0">
              <a:solidFill>
                <a:schemeClr val="tx2"/>
              </a:solidFill>
              <a:latin typeface="+mn-lt"/>
            </a:endParaRPr>
          </a:p>
        </p:txBody>
      </p:sp>
      <p:sp>
        <p:nvSpPr>
          <p:cNvPr id="7" name="Rectangle 6">
            <a:extLst>
              <a:ext uri="{FF2B5EF4-FFF2-40B4-BE49-F238E27FC236}">
                <a16:creationId xmlns:a16="http://schemas.microsoft.com/office/drawing/2014/main" id="{987801D7-1ACD-4C7C-8122-21E84A739137}"/>
              </a:ext>
            </a:extLst>
          </p:cNvPr>
          <p:cNvSpPr/>
          <p:nvPr/>
        </p:nvSpPr>
        <p:spPr>
          <a:xfrm>
            <a:off x="7653858" y="3502430"/>
            <a:ext cx="561051" cy="338554"/>
          </a:xfrm>
          <a:prstGeom prst="rect">
            <a:avLst/>
          </a:prstGeom>
        </p:spPr>
        <p:txBody>
          <a:bodyPr wrap="none" anchor="ctr">
            <a:spAutoFit/>
          </a:bodyPr>
          <a:lstStyle/>
          <a:p>
            <a:pPr>
              <a:spcBef>
                <a:spcPts val="0"/>
              </a:spcBef>
            </a:pPr>
            <a:r>
              <a:rPr lang="en-GB" sz="1600">
                <a:solidFill>
                  <a:schemeClr val="accent2"/>
                </a:solidFill>
                <a:latin typeface="+mn-lt"/>
              </a:rPr>
              <a:t>Text</a:t>
            </a:r>
            <a:endParaRPr lang="en-GB" sz="1600" dirty="0">
              <a:solidFill>
                <a:schemeClr val="accent2"/>
              </a:solidFill>
              <a:latin typeface="+mn-lt"/>
            </a:endParaRPr>
          </a:p>
        </p:txBody>
      </p:sp>
      <p:sp>
        <p:nvSpPr>
          <p:cNvPr id="8" name="Rectangle 7">
            <a:extLst>
              <a:ext uri="{FF2B5EF4-FFF2-40B4-BE49-F238E27FC236}">
                <a16:creationId xmlns:a16="http://schemas.microsoft.com/office/drawing/2014/main" id="{9B394676-4C1A-4E24-AFF7-B50D8C112198}"/>
              </a:ext>
            </a:extLst>
          </p:cNvPr>
          <p:cNvSpPr/>
          <p:nvPr/>
        </p:nvSpPr>
        <p:spPr>
          <a:xfrm>
            <a:off x="9887138" y="3502430"/>
            <a:ext cx="561051" cy="338554"/>
          </a:xfrm>
          <a:prstGeom prst="rect">
            <a:avLst/>
          </a:prstGeom>
        </p:spPr>
        <p:txBody>
          <a:bodyPr wrap="none" anchor="ctr">
            <a:spAutoFit/>
          </a:bodyPr>
          <a:lstStyle/>
          <a:p>
            <a:pPr>
              <a:spcBef>
                <a:spcPts val="0"/>
              </a:spcBef>
            </a:pPr>
            <a:r>
              <a:rPr lang="en-GB" sz="1600">
                <a:solidFill>
                  <a:schemeClr val="accent2"/>
                </a:solidFill>
                <a:latin typeface="+mn-lt"/>
              </a:rPr>
              <a:t>Text</a:t>
            </a:r>
            <a:endParaRPr lang="en-GB" sz="1600" dirty="0">
              <a:solidFill>
                <a:schemeClr val="accent2"/>
              </a:solidFill>
              <a:latin typeface="+mn-lt"/>
            </a:endParaRPr>
          </a:p>
        </p:txBody>
      </p:sp>
      <p:sp>
        <p:nvSpPr>
          <p:cNvPr id="9" name="Rectangle 8">
            <a:extLst>
              <a:ext uri="{FF2B5EF4-FFF2-40B4-BE49-F238E27FC236}">
                <a16:creationId xmlns:a16="http://schemas.microsoft.com/office/drawing/2014/main" id="{BB31E2B8-0CD3-46D3-B5EA-1076441570DE}"/>
              </a:ext>
            </a:extLst>
          </p:cNvPr>
          <p:cNvSpPr/>
          <p:nvPr/>
        </p:nvSpPr>
        <p:spPr>
          <a:xfrm>
            <a:off x="2045135" y="5774672"/>
            <a:ext cx="561051" cy="338554"/>
          </a:xfrm>
          <a:prstGeom prst="rect">
            <a:avLst/>
          </a:prstGeom>
        </p:spPr>
        <p:txBody>
          <a:bodyPr wrap="none" anchor="ctr">
            <a:spAutoFit/>
          </a:bodyPr>
          <a:lstStyle/>
          <a:p>
            <a:pPr>
              <a:spcBef>
                <a:spcPts val="0"/>
              </a:spcBef>
            </a:pPr>
            <a:r>
              <a:rPr lang="en-GB" sz="1600">
                <a:solidFill>
                  <a:schemeClr val="tx2"/>
                </a:solidFill>
                <a:latin typeface="+mn-lt"/>
              </a:rPr>
              <a:t>Text</a:t>
            </a:r>
            <a:endParaRPr lang="en-GB" sz="1600" dirty="0">
              <a:solidFill>
                <a:schemeClr val="tx2"/>
              </a:solidFill>
              <a:latin typeface="+mn-lt"/>
            </a:endParaRPr>
          </a:p>
        </p:txBody>
      </p:sp>
      <p:sp>
        <p:nvSpPr>
          <p:cNvPr id="10" name="Rectangle 9">
            <a:extLst>
              <a:ext uri="{FF2B5EF4-FFF2-40B4-BE49-F238E27FC236}">
                <a16:creationId xmlns:a16="http://schemas.microsoft.com/office/drawing/2014/main" id="{90E0184B-0948-4D74-B00D-50038B12A43E}"/>
              </a:ext>
            </a:extLst>
          </p:cNvPr>
          <p:cNvSpPr/>
          <p:nvPr/>
        </p:nvSpPr>
        <p:spPr>
          <a:xfrm>
            <a:off x="4241598" y="5774672"/>
            <a:ext cx="561051" cy="338554"/>
          </a:xfrm>
          <a:prstGeom prst="rect">
            <a:avLst/>
          </a:prstGeom>
        </p:spPr>
        <p:txBody>
          <a:bodyPr wrap="none" anchor="ctr">
            <a:spAutoFit/>
          </a:bodyPr>
          <a:lstStyle/>
          <a:p>
            <a:pPr>
              <a:spcBef>
                <a:spcPts val="0"/>
              </a:spcBef>
            </a:pPr>
            <a:r>
              <a:rPr lang="en-GB" sz="1600">
                <a:solidFill>
                  <a:schemeClr val="tx2"/>
                </a:solidFill>
                <a:latin typeface="+mn-lt"/>
              </a:rPr>
              <a:t>Text</a:t>
            </a:r>
            <a:endParaRPr lang="en-GB" sz="1600" dirty="0">
              <a:solidFill>
                <a:schemeClr val="tx2"/>
              </a:solidFill>
              <a:latin typeface="+mn-lt"/>
            </a:endParaRPr>
          </a:p>
        </p:txBody>
      </p:sp>
      <p:sp>
        <p:nvSpPr>
          <p:cNvPr id="11" name="Rectangle 10">
            <a:extLst>
              <a:ext uri="{FF2B5EF4-FFF2-40B4-BE49-F238E27FC236}">
                <a16:creationId xmlns:a16="http://schemas.microsoft.com/office/drawing/2014/main" id="{BDEF87E4-8670-42D5-B384-25E4DC23B5FC}"/>
              </a:ext>
            </a:extLst>
          </p:cNvPr>
          <p:cNvSpPr/>
          <p:nvPr/>
        </p:nvSpPr>
        <p:spPr>
          <a:xfrm>
            <a:off x="7653857" y="5774672"/>
            <a:ext cx="561051" cy="338554"/>
          </a:xfrm>
          <a:prstGeom prst="rect">
            <a:avLst/>
          </a:prstGeom>
        </p:spPr>
        <p:txBody>
          <a:bodyPr wrap="none" anchor="ctr">
            <a:spAutoFit/>
          </a:bodyPr>
          <a:lstStyle/>
          <a:p>
            <a:pPr>
              <a:spcBef>
                <a:spcPts val="0"/>
              </a:spcBef>
            </a:pPr>
            <a:r>
              <a:rPr lang="en-GB" sz="1600">
                <a:solidFill>
                  <a:schemeClr val="accent2"/>
                </a:solidFill>
                <a:latin typeface="+mn-lt"/>
              </a:rPr>
              <a:t>Text</a:t>
            </a:r>
            <a:endParaRPr lang="en-GB" sz="1600" dirty="0">
              <a:solidFill>
                <a:schemeClr val="accent2"/>
              </a:solidFill>
              <a:latin typeface="+mn-lt"/>
            </a:endParaRPr>
          </a:p>
        </p:txBody>
      </p:sp>
      <p:sp>
        <p:nvSpPr>
          <p:cNvPr id="12" name="Rectangle 11">
            <a:extLst>
              <a:ext uri="{FF2B5EF4-FFF2-40B4-BE49-F238E27FC236}">
                <a16:creationId xmlns:a16="http://schemas.microsoft.com/office/drawing/2014/main" id="{F3C0CC72-2EE0-4B8D-96F9-8FE1C3292BE1}"/>
              </a:ext>
            </a:extLst>
          </p:cNvPr>
          <p:cNvSpPr/>
          <p:nvPr/>
        </p:nvSpPr>
        <p:spPr>
          <a:xfrm>
            <a:off x="9887139" y="5774672"/>
            <a:ext cx="561051" cy="338554"/>
          </a:xfrm>
          <a:prstGeom prst="rect">
            <a:avLst/>
          </a:prstGeom>
        </p:spPr>
        <p:txBody>
          <a:bodyPr wrap="none" anchor="ctr">
            <a:spAutoFit/>
          </a:bodyPr>
          <a:lstStyle/>
          <a:p>
            <a:pPr>
              <a:spcBef>
                <a:spcPts val="0"/>
              </a:spcBef>
            </a:pPr>
            <a:r>
              <a:rPr lang="en-GB" sz="1600">
                <a:solidFill>
                  <a:schemeClr val="accent2"/>
                </a:solidFill>
                <a:latin typeface="+mn-lt"/>
              </a:rPr>
              <a:t>Text</a:t>
            </a:r>
            <a:endParaRPr lang="en-GB" sz="1600" dirty="0">
              <a:solidFill>
                <a:schemeClr val="accent2"/>
              </a:solidFill>
              <a:latin typeface="+mn-lt"/>
            </a:endParaRPr>
          </a:p>
        </p:txBody>
      </p:sp>
      <p:sp>
        <p:nvSpPr>
          <p:cNvPr id="37" name="Rectangle 36">
            <a:extLst>
              <a:ext uri="{FF2B5EF4-FFF2-40B4-BE49-F238E27FC236}">
                <a16:creationId xmlns:a16="http://schemas.microsoft.com/office/drawing/2014/main" id="{E25D161E-4112-4F02-A500-E64A01ED43A1}"/>
              </a:ext>
            </a:extLst>
          </p:cNvPr>
          <p:cNvSpPr/>
          <p:nvPr/>
        </p:nvSpPr>
        <p:spPr>
          <a:xfrm>
            <a:off x="4203632" y="3502430"/>
            <a:ext cx="561051" cy="338554"/>
          </a:xfrm>
          <a:prstGeom prst="rect">
            <a:avLst/>
          </a:prstGeom>
        </p:spPr>
        <p:txBody>
          <a:bodyPr wrap="none" anchor="ctr">
            <a:spAutoFit/>
          </a:bodyPr>
          <a:lstStyle/>
          <a:p>
            <a:pPr>
              <a:spcBef>
                <a:spcPts val="0"/>
              </a:spcBef>
            </a:pPr>
            <a:r>
              <a:rPr lang="en-GB" sz="1600">
                <a:solidFill>
                  <a:schemeClr val="tx2"/>
                </a:solidFill>
                <a:latin typeface="+mn-lt"/>
              </a:rPr>
              <a:t>Text</a:t>
            </a:r>
            <a:endParaRPr lang="en-GB" sz="1600" dirty="0">
              <a:solidFill>
                <a:schemeClr val="tx2"/>
              </a:solidFill>
              <a:latin typeface="+mn-lt"/>
            </a:endParaRPr>
          </a:p>
        </p:txBody>
      </p:sp>
      <p:pic>
        <p:nvPicPr>
          <p:cNvPr id="41" name="Graphique 40">
            <a:extLst>
              <a:ext uri="{FF2B5EF4-FFF2-40B4-BE49-F238E27FC236}">
                <a16:creationId xmlns:a16="http://schemas.microsoft.com/office/drawing/2014/main" id="{61BE5DC2-3E45-4732-BDC0-F45539A7ED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04622" y="2275662"/>
            <a:ext cx="635000" cy="635000"/>
          </a:xfrm>
          <a:prstGeom prst="rect">
            <a:avLst/>
          </a:prstGeom>
        </p:spPr>
      </p:pic>
      <p:pic>
        <p:nvPicPr>
          <p:cNvPr id="15" name="virus">
            <a:extLst>
              <a:ext uri="{FF2B5EF4-FFF2-40B4-BE49-F238E27FC236}">
                <a16:creationId xmlns:a16="http://schemas.microsoft.com/office/drawing/2014/main" id="{1701B279-C84C-4B2D-BC40-100D660FDA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20372" y="2275662"/>
            <a:ext cx="610577" cy="635000"/>
          </a:xfrm>
          <a:prstGeom prst="rect">
            <a:avLst/>
          </a:prstGeom>
        </p:spPr>
      </p:pic>
      <p:pic>
        <p:nvPicPr>
          <p:cNvPr id="17" name="security">
            <a:extLst>
              <a:ext uri="{FF2B5EF4-FFF2-40B4-BE49-F238E27FC236}">
                <a16:creationId xmlns:a16="http://schemas.microsoft.com/office/drawing/2014/main" id="{EAEC3691-3553-418E-8D70-0465E35FC8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45830" y="4538353"/>
            <a:ext cx="559661" cy="635000"/>
          </a:xfrm>
          <a:prstGeom prst="rect">
            <a:avLst/>
          </a:prstGeom>
        </p:spPr>
      </p:pic>
      <p:pic>
        <p:nvPicPr>
          <p:cNvPr id="19" name="graph_2_arrows">
            <a:extLst>
              <a:ext uri="{FF2B5EF4-FFF2-40B4-BE49-F238E27FC236}">
                <a16:creationId xmlns:a16="http://schemas.microsoft.com/office/drawing/2014/main" id="{FAA57EA1-636C-46D4-A52E-03892019036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88928" y="4538353"/>
            <a:ext cx="666388" cy="635000"/>
          </a:xfrm>
          <a:prstGeom prst="rect">
            <a:avLst/>
          </a:prstGeom>
        </p:spPr>
      </p:pic>
      <p:pic>
        <p:nvPicPr>
          <p:cNvPr id="21" name="checklist">
            <a:extLst>
              <a:ext uri="{FF2B5EF4-FFF2-40B4-BE49-F238E27FC236}">
                <a16:creationId xmlns:a16="http://schemas.microsoft.com/office/drawing/2014/main" id="{36784BFE-0BAA-4630-91CB-814AF04B8C4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65364" y="2275662"/>
            <a:ext cx="536222" cy="635000"/>
          </a:xfrm>
          <a:prstGeom prst="rect">
            <a:avLst/>
          </a:prstGeom>
        </p:spPr>
      </p:pic>
      <p:pic>
        <p:nvPicPr>
          <p:cNvPr id="24" name="2_beakers">
            <a:extLst>
              <a:ext uri="{FF2B5EF4-FFF2-40B4-BE49-F238E27FC236}">
                <a16:creationId xmlns:a16="http://schemas.microsoft.com/office/drawing/2014/main" id="{932B1DC4-BCF1-4A57-AB93-C0002AB0131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765593" y="2275662"/>
            <a:ext cx="728689" cy="635000"/>
          </a:xfrm>
          <a:prstGeom prst="rect">
            <a:avLst/>
          </a:prstGeom>
        </p:spPr>
      </p:pic>
      <p:pic>
        <p:nvPicPr>
          <p:cNvPr id="38" name="electricity">
            <a:extLst>
              <a:ext uri="{FF2B5EF4-FFF2-40B4-BE49-F238E27FC236}">
                <a16:creationId xmlns:a16="http://schemas.microsoft.com/office/drawing/2014/main" id="{8CAB4CE3-5B68-4148-B93A-6E74CA03CF1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709817" y="4476312"/>
            <a:ext cx="447317" cy="759082"/>
          </a:xfrm>
          <a:prstGeom prst="rect">
            <a:avLst/>
          </a:prstGeom>
        </p:spPr>
      </p:pic>
      <p:pic>
        <p:nvPicPr>
          <p:cNvPr id="42" name="man_speaking">
            <a:extLst>
              <a:ext uri="{FF2B5EF4-FFF2-40B4-BE49-F238E27FC236}">
                <a16:creationId xmlns:a16="http://schemas.microsoft.com/office/drawing/2014/main" id="{2331905B-4039-446C-97F9-F3254D10879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807232" y="4538353"/>
            <a:ext cx="645410" cy="635000"/>
          </a:xfrm>
          <a:prstGeom prst="rect">
            <a:avLst/>
          </a:prstGeom>
        </p:spPr>
      </p:pic>
    </p:spTree>
    <p:extLst>
      <p:ext uri="{BB962C8B-B14F-4D97-AF65-F5344CB8AC3E}">
        <p14:creationId xmlns:p14="http://schemas.microsoft.com/office/powerpoint/2010/main" val="37718100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B4E49B3-42E6-4309-94E7-E74501017C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1B4E49B3-42E6-4309-94E7-E74501017C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3AA096-A995-4A77-8A7E-B0A4DF7A107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 Brainstorm / ideas</a:t>
            </a:r>
            <a:endParaRPr lang="en-GB" dirty="0"/>
          </a:p>
        </p:txBody>
      </p:sp>
      <p:sp>
        <p:nvSpPr>
          <p:cNvPr id="9" name="Freeform 8"/>
          <p:cNvSpPr>
            <a:spLocks noChangeAspect="1"/>
          </p:cNvSpPr>
          <p:nvPr/>
        </p:nvSpPr>
        <p:spPr>
          <a:xfrm>
            <a:off x="2273600" y="3564701"/>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3" name="Freeform 12"/>
          <p:cNvSpPr>
            <a:spLocks noChangeAspect="1"/>
          </p:cNvSpPr>
          <p:nvPr/>
        </p:nvSpPr>
        <p:spPr>
          <a:xfrm>
            <a:off x="2273600" y="1840512"/>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4" name="Freeform 13"/>
          <p:cNvSpPr>
            <a:spLocks noChangeAspect="1"/>
          </p:cNvSpPr>
          <p:nvPr/>
        </p:nvSpPr>
        <p:spPr>
          <a:xfrm>
            <a:off x="3759500" y="270260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5" name="Freeform 14"/>
          <p:cNvSpPr>
            <a:spLocks noChangeAspect="1"/>
          </p:cNvSpPr>
          <p:nvPr/>
        </p:nvSpPr>
        <p:spPr>
          <a:xfrm>
            <a:off x="5245399" y="3564701"/>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6" name="Freeform 15"/>
          <p:cNvSpPr>
            <a:spLocks noChangeAspect="1"/>
          </p:cNvSpPr>
          <p:nvPr/>
        </p:nvSpPr>
        <p:spPr>
          <a:xfrm>
            <a:off x="5245400" y="1840512"/>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7" name="Freeform 16"/>
          <p:cNvSpPr>
            <a:spLocks noChangeAspect="1"/>
          </p:cNvSpPr>
          <p:nvPr/>
        </p:nvSpPr>
        <p:spPr>
          <a:xfrm>
            <a:off x="6731302" y="270260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dirty="0">
                <a:solidFill>
                  <a:schemeClr val="bg1"/>
                </a:solidFill>
              </a:rPr>
              <a:t>Text</a:t>
            </a:r>
          </a:p>
        </p:txBody>
      </p:sp>
      <p:sp>
        <p:nvSpPr>
          <p:cNvPr id="18" name="Freeform 17"/>
          <p:cNvSpPr>
            <a:spLocks noChangeAspect="1"/>
          </p:cNvSpPr>
          <p:nvPr/>
        </p:nvSpPr>
        <p:spPr>
          <a:xfrm>
            <a:off x="787698" y="270260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1" name="Freeform 10"/>
          <p:cNvSpPr>
            <a:spLocks noChangeAspect="1"/>
          </p:cNvSpPr>
          <p:nvPr/>
        </p:nvSpPr>
        <p:spPr>
          <a:xfrm>
            <a:off x="8217205" y="3564701"/>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2" name="Freeform 11"/>
          <p:cNvSpPr>
            <a:spLocks noChangeAspect="1"/>
          </p:cNvSpPr>
          <p:nvPr/>
        </p:nvSpPr>
        <p:spPr>
          <a:xfrm>
            <a:off x="8217205" y="1840512"/>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
        <p:nvSpPr>
          <p:cNvPr id="19" name="Freeform 18"/>
          <p:cNvSpPr>
            <a:spLocks noChangeAspect="1"/>
          </p:cNvSpPr>
          <p:nvPr/>
        </p:nvSpPr>
        <p:spPr>
          <a:xfrm>
            <a:off x="9703104" y="270260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p>
            <a:pPr eaLnBrk="1" fontAlgn="auto" hangingPunct="1">
              <a:spcBef>
                <a:spcPts val="0"/>
              </a:spcBef>
              <a:spcAft>
                <a:spcPts val="0"/>
              </a:spcAft>
              <a:buClrTx/>
            </a:pPr>
            <a:r>
              <a:rPr lang="en-GB" sz="1800" kern="0">
                <a:solidFill>
                  <a:schemeClr val="bg1"/>
                </a:solidFill>
              </a:rPr>
              <a:t>Text</a:t>
            </a:r>
            <a:endParaRPr lang="en-GB" sz="1800" kern="0" dirty="0">
              <a:solidFill>
                <a:schemeClr val="bg1"/>
              </a:solidFill>
            </a:endParaRPr>
          </a:p>
        </p:txBody>
      </p:sp>
    </p:spTree>
    <p:custDataLst>
      <p:tags r:id="rId1"/>
    </p:custDataLst>
    <p:extLst>
      <p:ext uri="{BB962C8B-B14F-4D97-AF65-F5344CB8AC3E}">
        <p14:creationId xmlns:p14="http://schemas.microsoft.com/office/powerpoint/2010/main" val="19936306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B4E49B3-42E6-4309-94E7-E74501017C72}"/>
              </a:ext>
            </a:extLst>
          </p:cNvPr>
          <p:cNvGraphicFramePr>
            <a:graphicFrameLocks noChangeAspect="1"/>
          </p:cNvGraphicFramePr>
          <p:nvPr>
            <p:custDataLst>
              <p:tags r:id="rId2"/>
            </p:custDataLst>
            <p:extLst>
              <p:ext uri="{D42A27DB-BD31-4B8C-83A1-F6EECF244321}">
                <p14:modId xmlns:p14="http://schemas.microsoft.com/office/powerpoint/2010/main" val="375744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4" name="Objet 3" hidden="1">
                        <a:extLst>
                          <a:ext uri="{FF2B5EF4-FFF2-40B4-BE49-F238E27FC236}">
                            <a16:creationId xmlns:a16="http://schemas.microsoft.com/office/drawing/2014/main" id="{1B4E49B3-42E6-4309-94E7-E74501017C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3AA096-A995-4A77-8A7E-B0A4DF7A107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key message</a:t>
            </a:r>
            <a:endParaRPr lang="en-GB" dirty="0"/>
          </a:p>
        </p:txBody>
      </p:sp>
      <p:sp>
        <p:nvSpPr>
          <p:cNvPr id="7" name="Rectangle 6">
            <a:extLst>
              <a:ext uri="{FF2B5EF4-FFF2-40B4-BE49-F238E27FC236}">
                <a16:creationId xmlns:a16="http://schemas.microsoft.com/office/drawing/2014/main" id="{E5E3A984-9B8E-4BCF-9205-09336DD7A17F}"/>
              </a:ext>
            </a:extLst>
          </p:cNvPr>
          <p:cNvSpPr/>
          <p:nvPr/>
        </p:nvSpPr>
        <p:spPr bwMode="auto">
          <a:xfrm>
            <a:off x="8468738" y="1464358"/>
            <a:ext cx="165100" cy="10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endParaRPr lang="en-GB" sz="1800" kern="0" dirty="0">
              <a:solidFill>
                <a:srgbClr val="FFFFFF"/>
              </a:solidFill>
            </a:endParaRPr>
          </a:p>
        </p:txBody>
      </p:sp>
      <p:sp>
        <p:nvSpPr>
          <p:cNvPr id="18" name="Freeform 8">
            <a:extLst>
              <a:ext uri="{FF2B5EF4-FFF2-40B4-BE49-F238E27FC236}">
                <a16:creationId xmlns:a16="http://schemas.microsoft.com/office/drawing/2014/main" id="{050C68F4-A68A-4812-A7CB-A28ABD83571E}"/>
              </a:ext>
            </a:extLst>
          </p:cNvPr>
          <p:cNvSpPr>
            <a:spLocks noChangeAspect="1"/>
          </p:cNvSpPr>
          <p:nvPr/>
        </p:nvSpPr>
        <p:spPr>
          <a:xfrm>
            <a:off x="3824775" y="3651305"/>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a:solidFill>
                  <a:schemeClr val="bg1"/>
                </a:solidFill>
              </a:rPr>
              <a:t>Text</a:t>
            </a:r>
            <a:endParaRPr lang="en-GB" sz="1800" kern="0" dirty="0">
              <a:solidFill>
                <a:schemeClr val="bg1"/>
              </a:solidFill>
            </a:endParaRPr>
          </a:p>
        </p:txBody>
      </p:sp>
      <p:sp>
        <p:nvSpPr>
          <p:cNvPr id="22" name="Freeform 13">
            <a:extLst>
              <a:ext uri="{FF2B5EF4-FFF2-40B4-BE49-F238E27FC236}">
                <a16:creationId xmlns:a16="http://schemas.microsoft.com/office/drawing/2014/main" id="{519D62DB-6C4F-4714-B4FD-503310E8E849}"/>
              </a:ext>
            </a:extLst>
          </p:cNvPr>
          <p:cNvSpPr>
            <a:spLocks noChangeAspect="1"/>
          </p:cNvSpPr>
          <p:nvPr/>
        </p:nvSpPr>
        <p:spPr>
          <a:xfrm>
            <a:off x="3824780" y="2131902"/>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a:solidFill>
                  <a:schemeClr val="bg1"/>
                </a:solidFill>
              </a:rPr>
              <a:t>Text</a:t>
            </a:r>
            <a:endParaRPr lang="en-GB" sz="1800" kern="0" dirty="0">
              <a:solidFill>
                <a:schemeClr val="bg1"/>
              </a:solidFill>
            </a:endParaRPr>
          </a:p>
        </p:txBody>
      </p:sp>
      <p:sp>
        <p:nvSpPr>
          <p:cNvPr id="23" name="Freeform 14">
            <a:extLst>
              <a:ext uri="{FF2B5EF4-FFF2-40B4-BE49-F238E27FC236}">
                <a16:creationId xmlns:a16="http://schemas.microsoft.com/office/drawing/2014/main" id="{3A052E58-4C57-4181-8177-22C5B34C1324}"/>
              </a:ext>
            </a:extLst>
          </p:cNvPr>
          <p:cNvSpPr>
            <a:spLocks noChangeAspect="1"/>
          </p:cNvSpPr>
          <p:nvPr/>
        </p:nvSpPr>
        <p:spPr>
          <a:xfrm>
            <a:off x="5175597" y="2891606"/>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dirty="0">
                <a:solidFill>
                  <a:schemeClr val="tx1"/>
                </a:solidFill>
              </a:rPr>
              <a:t>Title</a:t>
            </a:r>
          </a:p>
        </p:txBody>
      </p:sp>
      <p:sp>
        <p:nvSpPr>
          <p:cNvPr id="24" name="Freeform 15">
            <a:extLst>
              <a:ext uri="{FF2B5EF4-FFF2-40B4-BE49-F238E27FC236}">
                <a16:creationId xmlns:a16="http://schemas.microsoft.com/office/drawing/2014/main" id="{1796985C-7A27-441C-A47F-A49C73183740}"/>
              </a:ext>
            </a:extLst>
          </p:cNvPr>
          <p:cNvSpPr>
            <a:spLocks noChangeAspect="1"/>
          </p:cNvSpPr>
          <p:nvPr/>
        </p:nvSpPr>
        <p:spPr>
          <a:xfrm>
            <a:off x="5175598" y="1372202"/>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a:solidFill>
                  <a:schemeClr val="bg1"/>
                </a:solidFill>
              </a:rPr>
              <a:t>Text</a:t>
            </a:r>
            <a:endParaRPr lang="en-GB" sz="1800" kern="0" dirty="0">
              <a:solidFill>
                <a:schemeClr val="bg1"/>
              </a:solidFill>
            </a:endParaRPr>
          </a:p>
        </p:txBody>
      </p:sp>
      <p:sp>
        <p:nvSpPr>
          <p:cNvPr id="25" name="Freeform 16">
            <a:extLst>
              <a:ext uri="{FF2B5EF4-FFF2-40B4-BE49-F238E27FC236}">
                <a16:creationId xmlns:a16="http://schemas.microsoft.com/office/drawing/2014/main" id="{B74C6C37-BC40-4D42-A907-393F41BBBA83}"/>
              </a:ext>
            </a:extLst>
          </p:cNvPr>
          <p:cNvSpPr>
            <a:spLocks noChangeAspect="1"/>
          </p:cNvSpPr>
          <p:nvPr/>
        </p:nvSpPr>
        <p:spPr>
          <a:xfrm>
            <a:off x="6526417" y="2131902"/>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a:solidFill>
                  <a:schemeClr val="bg1"/>
                </a:solidFill>
              </a:rPr>
              <a:t>Text</a:t>
            </a:r>
            <a:endParaRPr lang="en-GB" sz="1800" kern="0" dirty="0">
              <a:solidFill>
                <a:schemeClr val="bg1"/>
              </a:solidFill>
            </a:endParaRPr>
          </a:p>
        </p:txBody>
      </p:sp>
      <p:sp>
        <p:nvSpPr>
          <p:cNvPr id="26" name="Freeform 10">
            <a:extLst>
              <a:ext uri="{FF2B5EF4-FFF2-40B4-BE49-F238E27FC236}">
                <a16:creationId xmlns:a16="http://schemas.microsoft.com/office/drawing/2014/main" id="{855B6A70-75D5-4061-8D33-10BDB2B7F0D2}"/>
              </a:ext>
            </a:extLst>
          </p:cNvPr>
          <p:cNvSpPr>
            <a:spLocks noChangeAspect="1"/>
          </p:cNvSpPr>
          <p:nvPr/>
        </p:nvSpPr>
        <p:spPr>
          <a:xfrm>
            <a:off x="6526417" y="3651311"/>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dirty="0">
                <a:solidFill>
                  <a:schemeClr val="bg1"/>
                </a:solidFill>
              </a:rPr>
              <a:t>Text</a:t>
            </a:r>
          </a:p>
        </p:txBody>
      </p:sp>
      <p:sp>
        <p:nvSpPr>
          <p:cNvPr id="27" name="Freeform 18">
            <a:extLst>
              <a:ext uri="{FF2B5EF4-FFF2-40B4-BE49-F238E27FC236}">
                <a16:creationId xmlns:a16="http://schemas.microsoft.com/office/drawing/2014/main" id="{832211D2-A74A-4C7E-B598-0A24462E2DB8}"/>
              </a:ext>
            </a:extLst>
          </p:cNvPr>
          <p:cNvSpPr>
            <a:spLocks noChangeAspect="1"/>
          </p:cNvSpPr>
          <p:nvPr/>
        </p:nvSpPr>
        <p:spPr>
          <a:xfrm>
            <a:off x="5175597" y="4411010"/>
            <a:ext cx="1644343" cy="13851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r>
              <a:rPr lang="en-GB" sz="1800" kern="0">
                <a:solidFill>
                  <a:schemeClr val="bg1"/>
                </a:solidFill>
              </a:rPr>
              <a:t>Text</a:t>
            </a:r>
            <a:endParaRPr lang="en-GB" sz="1800" kern="0" dirty="0">
              <a:solidFill>
                <a:schemeClr val="bg1"/>
              </a:solidFill>
            </a:endParaRPr>
          </a:p>
        </p:txBody>
      </p:sp>
      <p:sp>
        <p:nvSpPr>
          <p:cNvPr id="14" name="Espace réservé du contenu 5-2">
            <a:extLst>
              <a:ext uri="{FF2B5EF4-FFF2-40B4-BE49-F238E27FC236}">
                <a16:creationId xmlns:a16="http://schemas.microsoft.com/office/drawing/2014/main" id="{A210AC8E-2608-4BE2-AD12-2FD285A5EACF}"/>
              </a:ext>
            </a:extLst>
          </p:cNvPr>
          <p:cNvSpPr txBox="1">
            <a:spLocks/>
          </p:cNvSpPr>
          <p:nvPr/>
        </p:nvSpPr>
        <p:spPr>
          <a:xfrm>
            <a:off x="9052938" y="3044158"/>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15" name="Rectangle 14">
            <a:extLst>
              <a:ext uri="{FF2B5EF4-FFF2-40B4-BE49-F238E27FC236}">
                <a16:creationId xmlns:a16="http://schemas.microsoft.com/office/drawing/2014/main" id="{20B1F2DE-D6B3-4671-BFE5-5F0B966E6330}"/>
              </a:ext>
            </a:extLst>
          </p:cNvPr>
          <p:cNvSpPr/>
          <p:nvPr/>
        </p:nvSpPr>
        <p:spPr bwMode="auto">
          <a:xfrm>
            <a:off x="8887838" y="3044158"/>
            <a:ext cx="165100" cy="108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400"/>
              </a:spcBef>
              <a:spcAft>
                <a:spcPts val="400"/>
              </a:spcAft>
              <a:buClrTx/>
            </a:pPr>
            <a:endParaRPr lang="en-GB" sz="1800" kern="0" dirty="0">
              <a:solidFill>
                <a:srgbClr val="FFFFFF"/>
              </a:solidFill>
            </a:endParaRPr>
          </a:p>
        </p:txBody>
      </p:sp>
      <p:sp>
        <p:nvSpPr>
          <p:cNvPr id="19" name="Espace réservé du contenu 5-3">
            <a:extLst>
              <a:ext uri="{FF2B5EF4-FFF2-40B4-BE49-F238E27FC236}">
                <a16:creationId xmlns:a16="http://schemas.microsoft.com/office/drawing/2014/main" id="{A458AD7C-639E-42F5-876A-B84EC45F859D}"/>
              </a:ext>
            </a:extLst>
          </p:cNvPr>
          <p:cNvSpPr txBox="1">
            <a:spLocks/>
          </p:cNvSpPr>
          <p:nvPr/>
        </p:nvSpPr>
        <p:spPr>
          <a:xfrm>
            <a:off x="8633838" y="4654958"/>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20" name="Rectangle 19">
            <a:extLst>
              <a:ext uri="{FF2B5EF4-FFF2-40B4-BE49-F238E27FC236}">
                <a16:creationId xmlns:a16="http://schemas.microsoft.com/office/drawing/2014/main" id="{411680F5-D59E-4853-A780-D6D41638B561}"/>
              </a:ext>
            </a:extLst>
          </p:cNvPr>
          <p:cNvSpPr/>
          <p:nvPr/>
        </p:nvSpPr>
        <p:spPr bwMode="auto">
          <a:xfrm>
            <a:off x="8468738" y="4654958"/>
            <a:ext cx="165100" cy="108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eaLnBrk="1" fontAlgn="auto" hangingPunct="1">
              <a:spcBef>
                <a:spcPts val="400"/>
              </a:spcBef>
              <a:spcAft>
                <a:spcPts val="400"/>
              </a:spcAft>
              <a:buClrTx/>
            </a:pPr>
            <a:endParaRPr lang="en-GB" sz="1800" kern="0" dirty="0">
              <a:solidFill>
                <a:srgbClr val="000000"/>
              </a:solidFill>
            </a:endParaRPr>
          </a:p>
        </p:txBody>
      </p:sp>
      <p:sp>
        <p:nvSpPr>
          <p:cNvPr id="28" name="Espace réservé du contenu 5">
            <a:extLst>
              <a:ext uri="{FF2B5EF4-FFF2-40B4-BE49-F238E27FC236}">
                <a16:creationId xmlns:a16="http://schemas.microsoft.com/office/drawing/2014/main" id="{E64CCB23-7EF5-49F0-80C7-3ADF2D82B759}"/>
              </a:ext>
            </a:extLst>
          </p:cNvPr>
          <p:cNvSpPr txBox="1">
            <a:spLocks/>
          </p:cNvSpPr>
          <p:nvPr/>
        </p:nvSpPr>
        <p:spPr>
          <a:xfrm>
            <a:off x="8633838" y="1464358"/>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29" name="Rectangle 28">
            <a:extLst>
              <a:ext uri="{FF2B5EF4-FFF2-40B4-BE49-F238E27FC236}">
                <a16:creationId xmlns:a16="http://schemas.microsoft.com/office/drawing/2014/main" id="{96336530-D90A-404C-B4DD-D4D91D83B9D2}"/>
              </a:ext>
            </a:extLst>
          </p:cNvPr>
          <p:cNvSpPr/>
          <p:nvPr/>
        </p:nvSpPr>
        <p:spPr bwMode="auto">
          <a:xfrm>
            <a:off x="3361697" y="1464358"/>
            <a:ext cx="165100" cy="1080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400"/>
              </a:spcBef>
              <a:spcAft>
                <a:spcPts val="400"/>
              </a:spcAft>
              <a:buClrTx/>
            </a:pPr>
            <a:endParaRPr lang="en-GB" sz="1800" kern="0" dirty="0">
              <a:solidFill>
                <a:srgbClr val="FFFFFF"/>
              </a:solidFill>
            </a:endParaRPr>
          </a:p>
        </p:txBody>
      </p:sp>
      <p:sp>
        <p:nvSpPr>
          <p:cNvPr id="30" name="Espace réservé du contenu 5-5">
            <a:extLst>
              <a:ext uri="{FF2B5EF4-FFF2-40B4-BE49-F238E27FC236}">
                <a16:creationId xmlns:a16="http://schemas.microsoft.com/office/drawing/2014/main" id="{589AC65F-2E13-48E0-A345-C32601B7AB9C}"/>
              </a:ext>
            </a:extLst>
          </p:cNvPr>
          <p:cNvSpPr txBox="1">
            <a:spLocks/>
          </p:cNvSpPr>
          <p:nvPr/>
        </p:nvSpPr>
        <p:spPr>
          <a:xfrm>
            <a:off x="414214" y="3044158"/>
            <a:ext cx="2610931" cy="1080000"/>
          </a:xfrm>
          <a:prstGeom prst="rect">
            <a:avLst/>
          </a:prstGeom>
          <a:ln>
            <a:noFill/>
          </a:ln>
        </p:spPr>
        <p:txBody>
          <a:bodyPr vert="horz" lIns="72000" tIns="45720" rIns="72000" bIns="72000" rtlCol="0">
            <a:noAutofit/>
          </a:bodyPr>
          <a:lstStyle>
            <a:defPPr>
              <a:defRPr lang="en-GB"/>
            </a:defPPr>
            <a:lvl1pPr marL="0" indent="0" algn="l" defTabSz="914400" eaLnBrk="1" fontAlgn="auto" latinLnBrk="0" hangingPunct="1">
              <a:spcBef>
                <a:spcPts val="400"/>
              </a:spcBef>
              <a:spcAft>
                <a:spcPts val="400"/>
              </a:spcAft>
              <a:buFont typeface="Arial" pitchFamily="34" charset="0"/>
              <a:buNone/>
              <a:defRPr sz="1600">
                <a:cs typeface="Arial" panose="020B0604020202020204" pitchFamily="34" charset="0"/>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31" name="Rectangle 30">
            <a:extLst>
              <a:ext uri="{FF2B5EF4-FFF2-40B4-BE49-F238E27FC236}">
                <a16:creationId xmlns:a16="http://schemas.microsoft.com/office/drawing/2014/main" id="{370D3346-F04A-43B1-914A-7600AF156E7B}"/>
              </a:ext>
            </a:extLst>
          </p:cNvPr>
          <p:cNvSpPr/>
          <p:nvPr/>
        </p:nvSpPr>
        <p:spPr bwMode="auto">
          <a:xfrm>
            <a:off x="3025145" y="3044158"/>
            <a:ext cx="165100" cy="1080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400"/>
              </a:spcBef>
              <a:spcAft>
                <a:spcPts val="400"/>
              </a:spcAft>
              <a:buClrTx/>
            </a:pPr>
            <a:endParaRPr lang="en-GB" sz="1800" kern="0" dirty="0">
              <a:solidFill>
                <a:srgbClr val="FFFFFF"/>
              </a:solidFill>
            </a:endParaRPr>
          </a:p>
        </p:txBody>
      </p:sp>
      <p:sp>
        <p:nvSpPr>
          <p:cNvPr id="32" name="Espace réservé du contenu 5-4">
            <a:extLst>
              <a:ext uri="{FF2B5EF4-FFF2-40B4-BE49-F238E27FC236}">
                <a16:creationId xmlns:a16="http://schemas.microsoft.com/office/drawing/2014/main" id="{837A98A0-5086-46F0-982F-93AD690BD150}"/>
              </a:ext>
            </a:extLst>
          </p:cNvPr>
          <p:cNvSpPr txBox="1">
            <a:spLocks/>
          </p:cNvSpPr>
          <p:nvPr/>
        </p:nvSpPr>
        <p:spPr>
          <a:xfrm>
            <a:off x="750766" y="4654958"/>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33" name="Rectangle 32">
            <a:extLst>
              <a:ext uri="{FF2B5EF4-FFF2-40B4-BE49-F238E27FC236}">
                <a16:creationId xmlns:a16="http://schemas.microsoft.com/office/drawing/2014/main" id="{9AB92A58-B541-480B-8321-5C215914771B}"/>
              </a:ext>
            </a:extLst>
          </p:cNvPr>
          <p:cNvSpPr/>
          <p:nvPr/>
        </p:nvSpPr>
        <p:spPr bwMode="auto">
          <a:xfrm>
            <a:off x="3361697" y="4654958"/>
            <a:ext cx="165100" cy="1080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400"/>
              </a:spcBef>
              <a:spcAft>
                <a:spcPts val="400"/>
              </a:spcAft>
              <a:buClrTx/>
            </a:pPr>
            <a:endParaRPr lang="en-GB" sz="1800" kern="0" dirty="0">
              <a:solidFill>
                <a:srgbClr val="000000"/>
              </a:solidFill>
            </a:endParaRPr>
          </a:p>
        </p:txBody>
      </p:sp>
      <p:sp>
        <p:nvSpPr>
          <p:cNvPr id="34" name="Espace réservé du contenu 5-6">
            <a:extLst>
              <a:ext uri="{FF2B5EF4-FFF2-40B4-BE49-F238E27FC236}">
                <a16:creationId xmlns:a16="http://schemas.microsoft.com/office/drawing/2014/main" id="{5F0E8623-9AE1-4170-A89C-130FA69391E8}"/>
              </a:ext>
            </a:extLst>
          </p:cNvPr>
          <p:cNvSpPr txBox="1">
            <a:spLocks/>
          </p:cNvSpPr>
          <p:nvPr/>
        </p:nvSpPr>
        <p:spPr>
          <a:xfrm>
            <a:off x="750766" y="1464358"/>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fontAlgn="auto">
              <a:spcAft>
                <a:spcPts val="400"/>
              </a:spcAft>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a:p>
            <a:pPr fontAlgn="auto">
              <a:spcAft>
                <a:spcPts val="400"/>
              </a:spcAft>
            </a:pPr>
            <a:endParaRPr lang="en-GB" dirty="0">
              <a:latin typeface="+mn-lt"/>
            </a:endParaRPr>
          </a:p>
        </p:txBody>
      </p:sp>
    </p:spTree>
    <p:custDataLst>
      <p:tags r:id="rId1"/>
    </p:custDataLst>
    <p:extLst>
      <p:ext uri="{BB962C8B-B14F-4D97-AF65-F5344CB8AC3E}">
        <p14:creationId xmlns:p14="http://schemas.microsoft.com/office/powerpoint/2010/main" val="39630862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3FD5F7B-44B6-4227-A65F-403E67347D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4" name="Objet 3" hidden="1">
                        <a:extLst>
                          <a:ext uri="{FF2B5EF4-FFF2-40B4-BE49-F238E27FC236}">
                            <a16:creationId xmlns:a16="http://schemas.microsoft.com/office/drawing/2014/main" id="{E3FD5F7B-44B6-4227-A65F-403E67347D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539A7A-D030-433B-B42D-278EBA2B0DA2}"/>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circular – five ideas</a:t>
            </a:r>
            <a:endParaRPr lang="en-GB" dirty="0"/>
          </a:p>
        </p:txBody>
      </p:sp>
      <p:sp>
        <p:nvSpPr>
          <p:cNvPr id="14" name="Ellipse 13">
            <a:extLst>
              <a:ext uri="{FF2B5EF4-FFF2-40B4-BE49-F238E27FC236}">
                <a16:creationId xmlns:a16="http://schemas.microsoft.com/office/drawing/2014/main" id="{0005C8E6-FA70-47DC-915F-5CBDE60C1328}"/>
              </a:ext>
            </a:extLst>
          </p:cNvPr>
          <p:cNvSpPr/>
          <p:nvPr/>
        </p:nvSpPr>
        <p:spPr bwMode="auto">
          <a:xfrm>
            <a:off x="4454013" y="2093299"/>
            <a:ext cx="3276000" cy="3276000"/>
          </a:xfrm>
          <a:prstGeom prst="ellipse">
            <a:avLst/>
          </a:prstGeom>
          <a:noFill/>
          <a:ln w="38100" cap="flat" cmpd="sng" algn="ctr">
            <a:solidFill>
              <a:schemeClr val="accent2"/>
            </a:solid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000000"/>
              </a:solidFill>
              <a:latin typeface="+mn-lt"/>
            </a:endParaRPr>
          </a:p>
        </p:txBody>
      </p:sp>
      <p:sp>
        <p:nvSpPr>
          <p:cNvPr id="13" name="Ellipse 12">
            <a:extLst>
              <a:ext uri="{FF2B5EF4-FFF2-40B4-BE49-F238E27FC236}">
                <a16:creationId xmlns:a16="http://schemas.microsoft.com/office/drawing/2014/main" id="{04653F34-CA79-4336-B356-E8EF122F5160}"/>
              </a:ext>
            </a:extLst>
          </p:cNvPr>
          <p:cNvSpPr/>
          <p:nvPr/>
        </p:nvSpPr>
        <p:spPr bwMode="auto">
          <a:xfrm>
            <a:off x="5484000" y="1576860"/>
            <a:ext cx="1224000" cy="1224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625" name="Ellipse 624">
            <a:extLst>
              <a:ext uri="{FF2B5EF4-FFF2-40B4-BE49-F238E27FC236}">
                <a16:creationId xmlns:a16="http://schemas.microsoft.com/office/drawing/2014/main" id="{722BCD1B-BCDE-4D2F-AA48-1AE424D027B2}"/>
              </a:ext>
            </a:extLst>
          </p:cNvPr>
          <p:cNvSpPr/>
          <p:nvPr/>
        </p:nvSpPr>
        <p:spPr bwMode="auto">
          <a:xfrm>
            <a:off x="6977521" y="2800860"/>
            <a:ext cx="1224000" cy="1224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626" name="Ellipse 625">
            <a:extLst>
              <a:ext uri="{FF2B5EF4-FFF2-40B4-BE49-F238E27FC236}">
                <a16:creationId xmlns:a16="http://schemas.microsoft.com/office/drawing/2014/main" id="{B54E1A71-A9B4-4CBA-B3CF-2A056007A821}"/>
              </a:ext>
            </a:extLst>
          </p:cNvPr>
          <p:cNvSpPr/>
          <p:nvPr/>
        </p:nvSpPr>
        <p:spPr bwMode="auto">
          <a:xfrm>
            <a:off x="6365521" y="4500120"/>
            <a:ext cx="1224000" cy="1224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627" name="Ellipse 626">
            <a:extLst>
              <a:ext uri="{FF2B5EF4-FFF2-40B4-BE49-F238E27FC236}">
                <a16:creationId xmlns:a16="http://schemas.microsoft.com/office/drawing/2014/main" id="{967A4B56-E2B8-4FD9-8D1A-C580522E96D6}"/>
              </a:ext>
            </a:extLst>
          </p:cNvPr>
          <p:cNvSpPr/>
          <p:nvPr/>
        </p:nvSpPr>
        <p:spPr bwMode="auto">
          <a:xfrm>
            <a:off x="4602479" y="4500120"/>
            <a:ext cx="1224000" cy="1224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628" name="Ellipse 627">
            <a:extLst>
              <a:ext uri="{FF2B5EF4-FFF2-40B4-BE49-F238E27FC236}">
                <a16:creationId xmlns:a16="http://schemas.microsoft.com/office/drawing/2014/main" id="{65581DA6-4B30-41BE-AE7E-879D0A36DB81}"/>
              </a:ext>
            </a:extLst>
          </p:cNvPr>
          <p:cNvSpPr/>
          <p:nvPr/>
        </p:nvSpPr>
        <p:spPr bwMode="auto">
          <a:xfrm>
            <a:off x="3990479" y="2800860"/>
            <a:ext cx="1224000" cy="1224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16" name="ZoneTexte 15">
            <a:extLst>
              <a:ext uri="{FF2B5EF4-FFF2-40B4-BE49-F238E27FC236}">
                <a16:creationId xmlns:a16="http://schemas.microsoft.com/office/drawing/2014/main" id="{EE9C2272-A941-4318-9602-0399D412D83C}"/>
              </a:ext>
            </a:extLst>
          </p:cNvPr>
          <p:cNvSpPr txBox="1"/>
          <p:nvPr/>
        </p:nvSpPr>
        <p:spPr>
          <a:xfrm>
            <a:off x="5046115" y="1101600"/>
            <a:ext cx="2111768" cy="369332"/>
          </a:xfrm>
          <a:prstGeom prst="rect">
            <a:avLst/>
          </a:prstGeom>
          <a:noFill/>
        </p:spPr>
        <p:txBody>
          <a:bodyPr wrap="square" rtlCol="0">
            <a:spAutoFit/>
          </a:bodyPr>
          <a:lstStyle/>
          <a:p>
            <a:r>
              <a:rPr lang="en-GB" sz="1800" dirty="0">
                <a:latin typeface="+mn-lt"/>
              </a:rPr>
              <a:t>Lorem ipsum</a:t>
            </a:r>
          </a:p>
        </p:txBody>
      </p:sp>
      <p:sp>
        <p:nvSpPr>
          <p:cNvPr id="633" name="ZoneTexte 632">
            <a:extLst>
              <a:ext uri="{FF2B5EF4-FFF2-40B4-BE49-F238E27FC236}">
                <a16:creationId xmlns:a16="http://schemas.microsoft.com/office/drawing/2014/main" id="{D11A196F-4C3D-49EB-86CB-50B0035EBF21}"/>
              </a:ext>
            </a:extLst>
          </p:cNvPr>
          <p:cNvSpPr txBox="1"/>
          <p:nvPr/>
        </p:nvSpPr>
        <p:spPr>
          <a:xfrm>
            <a:off x="8201521" y="3228194"/>
            <a:ext cx="2111768" cy="369332"/>
          </a:xfrm>
          <a:prstGeom prst="rect">
            <a:avLst/>
          </a:prstGeom>
          <a:noFill/>
        </p:spPr>
        <p:txBody>
          <a:bodyPr wrap="square" rtlCol="0">
            <a:spAutoFit/>
          </a:bodyPr>
          <a:lstStyle/>
          <a:p>
            <a:r>
              <a:rPr lang="en-GB" sz="1800" dirty="0">
                <a:latin typeface="+mn-lt"/>
              </a:rPr>
              <a:t>Lorem ipsum</a:t>
            </a:r>
          </a:p>
        </p:txBody>
      </p:sp>
      <p:sp>
        <p:nvSpPr>
          <p:cNvPr id="634" name="ZoneTexte 633">
            <a:extLst>
              <a:ext uri="{FF2B5EF4-FFF2-40B4-BE49-F238E27FC236}">
                <a16:creationId xmlns:a16="http://schemas.microsoft.com/office/drawing/2014/main" id="{493D6E8E-0893-415B-A14C-4F99663C3A01}"/>
              </a:ext>
            </a:extLst>
          </p:cNvPr>
          <p:cNvSpPr txBox="1"/>
          <p:nvPr/>
        </p:nvSpPr>
        <p:spPr>
          <a:xfrm>
            <a:off x="1878711" y="3228194"/>
            <a:ext cx="2111768" cy="369332"/>
          </a:xfrm>
          <a:prstGeom prst="rect">
            <a:avLst/>
          </a:prstGeom>
          <a:noFill/>
        </p:spPr>
        <p:txBody>
          <a:bodyPr wrap="square" rtlCol="0">
            <a:spAutoFit/>
          </a:bodyPr>
          <a:lstStyle/>
          <a:p>
            <a:r>
              <a:rPr lang="en-GB" sz="1800" dirty="0">
                <a:latin typeface="+mn-lt"/>
              </a:rPr>
              <a:t>Lorem ipsum</a:t>
            </a:r>
          </a:p>
        </p:txBody>
      </p:sp>
      <p:sp>
        <p:nvSpPr>
          <p:cNvPr id="635" name="ZoneTexte 634">
            <a:extLst>
              <a:ext uri="{FF2B5EF4-FFF2-40B4-BE49-F238E27FC236}">
                <a16:creationId xmlns:a16="http://schemas.microsoft.com/office/drawing/2014/main" id="{E1B53ECC-3FBB-46DA-9C0F-16D36F45B96B}"/>
              </a:ext>
            </a:extLst>
          </p:cNvPr>
          <p:cNvSpPr txBox="1"/>
          <p:nvPr/>
        </p:nvSpPr>
        <p:spPr>
          <a:xfrm>
            <a:off x="6977521" y="5744275"/>
            <a:ext cx="2111768" cy="369332"/>
          </a:xfrm>
          <a:prstGeom prst="rect">
            <a:avLst/>
          </a:prstGeom>
          <a:noFill/>
        </p:spPr>
        <p:txBody>
          <a:bodyPr wrap="square" rtlCol="0">
            <a:spAutoFit/>
          </a:bodyPr>
          <a:lstStyle/>
          <a:p>
            <a:r>
              <a:rPr lang="en-GB" sz="1800" dirty="0">
                <a:latin typeface="+mn-lt"/>
              </a:rPr>
              <a:t>Lorem ipsum</a:t>
            </a:r>
          </a:p>
        </p:txBody>
      </p:sp>
      <p:sp>
        <p:nvSpPr>
          <p:cNvPr id="636" name="ZoneTexte 635">
            <a:extLst>
              <a:ext uri="{FF2B5EF4-FFF2-40B4-BE49-F238E27FC236}">
                <a16:creationId xmlns:a16="http://schemas.microsoft.com/office/drawing/2014/main" id="{BFCA30DA-7615-4F3C-A397-1E9FB52C1BB0}"/>
              </a:ext>
            </a:extLst>
          </p:cNvPr>
          <p:cNvSpPr txBox="1"/>
          <p:nvPr/>
        </p:nvSpPr>
        <p:spPr>
          <a:xfrm>
            <a:off x="3102710" y="5744275"/>
            <a:ext cx="2111768" cy="369332"/>
          </a:xfrm>
          <a:prstGeom prst="rect">
            <a:avLst/>
          </a:prstGeom>
          <a:noFill/>
        </p:spPr>
        <p:txBody>
          <a:bodyPr wrap="square" rtlCol="0">
            <a:spAutoFit/>
          </a:bodyPr>
          <a:lstStyle/>
          <a:p>
            <a:r>
              <a:rPr lang="en-GB" sz="1800" dirty="0">
                <a:latin typeface="+mn-lt"/>
              </a:rPr>
              <a:t>Lorem ipsum</a:t>
            </a:r>
          </a:p>
        </p:txBody>
      </p:sp>
      <p:pic>
        <p:nvPicPr>
          <p:cNvPr id="6" name="Graphique 5">
            <a:extLst>
              <a:ext uri="{FF2B5EF4-FFF2-40B4-BE49-F238E27FC236}">
                <a16:creationId xmlns:a16="http://schemas.microsoft.com/office/drawing/2014/main" id="{B538785C-E09D-480B-B0B9-B8EBBA017E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0542" y="3146160"/>
            <a:ext cx="523875" cy="533400"/>
          </a:xfrm>
          <a:prstGeom prst="rect">
            <a:avLst/>
          </a:prstGeom>
        </p:spPr>
      </p:pic>
      <p:pic>
        <p:nvPicPr>
          <p:cNvPr id="8" name="Graphique 7">
            <a:extLst>
              <a:ext uri="{FF2B5EF4-FFF2-40B4-BE49-F238E27FC236}">
                <a16:creationId xmlns:a16="http://schemas.microsoft.com/office/drawing/2014/main" id="{FACE6925-C31F-4A5E-860D-8D40DC7C4B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96534" y="4835895"/>
            <a:ext cx="561975" cy="552450"/>
          </a:xfrm>
          <a:prstGeom prst="rect">
            <a:avLst/>
          </a:prstGeom>
        </p:spPr>
      </p:pic>
      <p:pic>
        <p:nvPicPr>
          <p:cNvPr id="10" name="Graphique 9">
            <a:extLst>
              <a:ext uri="{FF2B5EF4-FFF2-40B4-BE49-F238E27FC236}">
                <a16:creationId xmlns:a16="http://schemas.microsoft.com/office/drawing/2014/main" id="{6AD90277-E8CE-4AC2-A5C1-45531A9EFE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52542" y="4850183"/>
            <a:ext cx="523875" cy="523875"/>
          </a:xfrm>
          <a:prstGeom prst="rect">
            <a:avLst/>
          </a:prstGeom>
        </p:spPr>
      </p:pic>
      <p:pic>
        <p:nvPicPr>
          <p:cNvPr id="12" name="Graphique 11">
            <a:extLst>
              <a:ext uri="{FF2B5EF4-FFF2-40B4-BE49-F238E27FC236}">
                <a16:creationId xmlns:a16="http://schemas.microsoft.com/office/drawing/2014/main" id="{E36CC162-B3F8-4B8B-BB62-B5D8A0D9375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22821" y="3150923"/>
            <a:ext cx="533400" cy="523875"/>
          </a:xfrm>
          <a:prstGeom prst="rect">
            <a:avLst/>
          </a:prstGeom>
        </p:spPr>
      </p:pic>
      <p:pic>
        <p:nvPicPr>
          <p:cNvPr id="17" name="Graphique 16">
            <a:extLst>
              <a:ext uri="{FF2B5EF4-FFF2-40B4-BE49-F238E27FC236}">
                <a16:creationId xmlns:a16="http://schemas.microsoft.com/office/drawing/2014/main" id="{B1B1412C-FBD5-48DC-94F5-5C307FBA1C6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48363" y="1922160"/>
            <a:ext cx="295275" cy="533400"/>
          </a:xfrm>
          <a:prstGeom prst="rect">
            <a:avLst/>
          </a:prstGeom>
        </p:spPr>
      </p:pic>
      <p:pic>
        <p:nvPicPr>
          <p:cNvPr id="7" name="sewing_machine">
            <a:extLst>
              <a:ext uri="{FF2B5EF4-FFF2-40B4-BE49-F238E27FC236}">
                <a16:creationId xmlns:a16="http://schemas.microsoft.com/office/drawing/2014/main" id="{A526679E-F817-43E6-8A40-8E9C2E62A70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46292" y="3413799"/>
            <a:ext cx="891442" cy="635000"/>
          </a:xfrm>
          <a:prstGeom prst="rect">
            <a:avLst/>
          </a:prstGeom>
        </p:spPr>
      </p:pic>
    </p:spTree>
    <p:extLst>
      <p:ext uri="{BB962C8B-B14F-4D97-AF65-F5344CB8AC3E}">
        <p14:creationId xmlns:p14="http://schemas.microsoft.com/office/powerpoint/2010/main" val="35780792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44F911D7-1EBB-4A81-BDB5-DF63FAC3F8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4" name="Objet 3" hidden="1">
                        <a:extLst>
                          <a:ext uri="{FF2B5EF4-FFF2-40B4-BE49-F238E27FC236}">
                            <a16:creationId xmlns:a16="http://schemas.microsoft.com/office/drawing/2014/main" id="{44F911D7-1EBB-4A81-BDB5-DF63FAC3F8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DEFB27-B79A-404C-8CEA-976ADDEF612D}"/>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a:t>Slide message circular – four ideas</a:t>
            </a:r>
            <a:endParaRPr lang="en-GB" dirty="0"/>
          </a:p>
        </p:txBody>
      </p:sp>
      <p:grpSp>
        <p:nvGrpSpPr>
          <p:cNvPr id="116" name="Groupe 115">
            <a:extLst>
              <a:ext uri="{FF2B5EF4-FFF2-40B4-BE49-F238E27FC236}">
                <a16:creationId xmlns:a16="http://schemas.microsoft.com/office/drawing/2014/main" id="{8562E140-783F-4E56-83E1-898ADC047EE9}"/>
              </a:ext>
            </a:extLst>
          </p:cNvPr>
          <p:cNvGrpSpPr/>
          <p:nvPr/>
        </p:nvGrpSpPr>
        <p:grpSpPr>
          <a:xfrm>
            <a:off x="3944603" y="1714499"/>
            <a:ext cx="4302795" cy="4284340"/>
            <a:chOff x="3948750" y="1548245"/>
            <a:chExt cx="4302795" cy="4284340"/>
          </a:xfrm>
        </p:grpSpPr>
        <p:sp>
          <p:nvSpPr>
            <p:cNvPr id="15" name="Arc plein 14">
              <a:extLst>
                <a:ext uri="{FF2B5EF4-FFF2-40B4-BE49-F238E27FC236}">
                  <a16:creationId xmlns:a16="http://schemas.microsoft.com/office/drawing/2014/main" id="{A86DDB8E-D4B4-43C2-82E8-220229E7DBD5}"/>
                </a:ext>
              </a:extLst>
            </p:cNvPr>
            <p:cNvSpPr/>
            <p:nvPr/>
          </p:nvSpPr>
          <p:spPr bwMode="auto">
            <a:xfrm rot="16200000">
              <a:off x="3948750" y="1548245"/>
              <a:ext cx="4140000" cy="4140000"/>
            </a:xfrm>
            <a:prstGeom prst="blockArc">
              <a:avLst>
                <a:gd name="adj1" fmla="val 16224672"/>
                <a:gd name="adj2" fmla="val 21571803"/>
                <a:gd name="adj3" fmla="val 21351"/>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buClr>
                  <a:schemeClr val="accent3"/>
                </a:buClr>
                <a:buSzPct val="77000"/>
              </a:pPr>
              <a:endParaRPr lang="en-GB" sz="1400" dirty="0">
                <a:solidFill>
                  <a:srgbClr val="FFFFFF"/>
                </a:solidFill>
                <a:latin typeface="+mn-lt"/>
              </a:endParaRPr>
            </a:p>
          </p:txBody>
        </p:sp>
        <p:sp>
          <p:nvSpPr>
            <p:cNvPr id="36" name="Arc plein 35">
              <a:extLst>
                <a:ext uri="{FF2B5EF4-FFF2-40B4-BE49-F238E27FC236}">
                  <a16:creationId xmlns:a16="http://schemas.microsoft.com/office/drawing/2014/main" id="{C9361FDC-3106-4F4C-8A99-CB5FD0F947A9}"/>
                </a:ext>
              </a:extLst>
            </p:cNvPr>
            <p:cNvSpPr/>
            <p:nvPr/>
          </p:nvSpPr>
          <p:spPr bwMode="auto">
            <a:xfrm rot="5400000" flipH="1">
              <a:off x="4103250" y="1548245"/>
              <a:ext cx="4140000" cy="4140000"/>
            </a:xfrm>
            <a:prstGeom prst="blockArc">
              <a:avLst>
                <a:gd name="adj1" fmla="val 16218345"/>
                <a:gd name="adj2" fmla="val 15900"/>
                <a:gd name="adj3" fmla="val 21214"/>
              </a:avLst>
            </a:prstGeom>
            <a:solidFill>
              <a:srgbClr val="9D1057"/>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37" name="Arc plein 36">
              <a:extLst>
                <a:ext uri="{FF2B5EF4-FFF2-40B4-BE49-F238E27FC236}">
                  <a16:creationId xmlns:a16="http://schemas.microsoft.com/office/drawing/2014/main" id="{D9A870AD-0282-41CA-AA6A-630675F8832F}"/>
                </a:ext>
              </a:extLst>
            </p:cNvPr>
            <p:cNvSpPr/>
            <p:nvPr/>
          </p:nvSpPr>
          <p:spPr bwMode="auto">
            <a:xfrm rot="16200000" flipH="1" flipV="1">
              <a:off x="4095630" y="1692585"/>
              <a:ext cx="4140000" cy="4140000"/>
            </a:xfrm>
            <a:prstGeom prst="blockArc">
              <a:avLst>
                <a:gd name="adj1" fmla="val 16218345"/>
                <a:gd name="adj2" fmla="val 21586556"/>
                <a:gd name="adj3" fmla="val 2129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38" name="Arc plein 37">
              <a:extLst>
                <a:ext uri="{FF2B5EF4-FFF2-40B4-BE49-F238E27FC236}">
                  <a16:creationId xmlns:a16="http://schemas.microsoft.com/office/drawing/2014/main" id="{1D0F879B-BABD-476C-BFD7-548ACB876209}"/>
                </a:ext>
              </a:extLst>
            </p:cNvPr>
            <p:cNvSpPr/>
            <p:nvPr/>
          </p:nvSpPr>
          <p:spPr bwMode="auto">
            <a:xfrm rot="5400000" flipV="1">
              <a:off x="3956371" y="1692584"/>
              <a:ext cx="4140000" cy="4140000"/>
            </a:xfrm>
            <a:prstGeom prst="blockArc">
              <a:avLst>
                <a:gd name="adj1" fmla="val 16215150"/>
                <a:gd name="adj2" fmla="val 21549933"/>
                <a:gd name="adj3" fmla="val 21227"/>
              </a:avLst>
            </a:prstGeom>
            <a:solidFill>
              <a:schemeClr val="accent3">
                <a:lumMod val="75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solidFill>
                  <a:srgbClr val="FFFFFF"/>
                </a:solidFill>
                <a:latin typeface="+mn-lt"/>
              </a:endParaRPr>
            </a:p>
          </p:txBody>
        </p:sp>
        <p:sp>
          <p:nvSpPr>
            <p:cNvPr id="110" name="ZoneTexte 109">
              <a:extLst>
                <a:ext uri="{FF2B5EF4-FFF2-40B4-BE49-F238E27FC236}">
                  <a16:creationId xmlns:a16="http://schemas.microsoft.com/office/drawing/2014/main" id="{6FE7A959-499A-43AF-BAF8-A55DB9BD6DBB}"/>
                </a:ext>
              </a:extLst>
            </p:cNvPr>
            <p:cNvSpPr txBox="1"/>
            <p:nvPr/>
          </p:nvSpPr>
          <p:spPr>
            <a:xfrm rot="18803735">
              <a:off x="3967882" y="2350735"/>
              <a:ext cx="1852992" cy="307777"/>
            </a:xfrm>
            <a:prstGeom prst="rect">
              <a:avLst/>
            </a:prstGeom>
            <a:noFill/>
          </p:spPr>
          <p:txBody>
            <a:bodyPr wrap="square" rtlCol="0">
              <a:spAutoFit/>
            </a:bodyPr>
            <a:lstStyle/>
            <a:p>
              <a:r>
                <a:rPr lang="en-GB" dirty="0">
                  <a:solidFill>
                    <a:schemeClr val="bg1"/>
                  </a:solidFill>
                  <a:latin typeface="+mn-lt"/>
                </a:rPr>
                <a:t>LOREM IPSUM</a:t>
              </a:r>
            </a:p>
          </p:txBody>
        </p:sp>
        <p:sp>
          <p:nvSpPr>
            <p:cNvPr id="112" name="ZoneTexte 111">
              <a:extLst>
                <a:ext uri="{FF2B5EF4-FFF2-40B4-BE49-F238E27FC236}">
                  <a16:creationId xmlns:a16="http://schemas.microsoft.com/office/drawing/2014/main" id="{52CA43F2-5F39-4D0F-9E72-8DC9BD3DBCFE}"/>
                </a:ext>
              </a:extLst>
            </p:cNvPr>
            <p:cNvSpPr txBox="1"/>
            <p:nvPr/>
          </p:nvSpPr>
          <p:spPr>
            <a:xfrm rot="2796265" flipH="1">
              <a:off x="6362279" y="2350734"/>
              <a:ext cx="1852992" cy="307777"/>
            </a:xfrm>
            <a:prstGeom prst="rect">
              <a:avLst/>
            </a:prstGeom>
            <a:noFill/>
          </p:spPr>
          <p:txBody>
            <a:bodyPr wrap="square" rtlCol="0">
              <a:spAutoFit/>
            </a:bodyPr>
            <a:lstStyle/>
            <a:p>
              <a:r>
                <a:rPr lang="en-GB" dirty="0">
                  <a:solidFill>
                    <a:schemeClr val="bg1"/>
                  </a:solidFill>
                  <a:latin typeface="+mn-lt"/>
                </a:rPr>
                <a:t>LOREM IPSUM</a:t>
              </a:r>
            </a:p>
          </p:txBody>
        </p:sp>
        <p:sp>
          <p:nvSpPr>
            <p:cNvPr id="113" name="ZoneTexte 112">
              <a:extLst>
                <a:ext uri="{FF2B5EF4-FFF2-40B4-BE49-F238E27FC236}">
                  <a16:creationId xmlns:a16="http://schemas.microsoft.com/office/drawing/2014/main" id="{DF9DDDB4-A42E-4AC3-9CC3-7605022993C1}"/>
                </a:ext>
              </a:extLst>
            </p:cNvPr>
            <p:cNvSpPr txBox="1"/>
            <p:nvPr/>
          </p:nvSpPr>
          <p:spPr>
            <a:xfrm rot="8196265" flipV="1">
              <a:off x="6398553" y="4713730"/>
              <a:ext cx="1852992" cy="307777"/>
            </a:xfrm>
            <a:prstGeom prst="rect">
              <a:avLst/>
            </a:prstGeom>
            <a:noFill/>
          </p:spPr>
          <p:txBody>
            <a:bodyPr wrap="square" rtlCol="0">
              <a:spAutoFit/>
            </a:bodyPr>
            <a:lstStyle/>
            <a:p>
              <a:r>
                <a:rPr lang="en-GB" dirty="0">
                  <a:solidFill>
                    <a:schemeClr val="bg1"/>
                  </a:solidFill>
                  <a:latin typeface="+mn-lt"/>
                </a:rPr>
                <a:t>LOREM IPSUM</a:t>
              </a:r>
            </a:p>
          </p:txBody>
        </p:sp>
        <p:sp>
          <p:nvSpPr>
            <p:cNvPr id="114" name="ZoneTexte 113">
              <a:extLst>
                <a:ext uri="{FF2B5EF4-FFF2-40B4-BE49-F238E27FC236}">
                  <a16:creationId xmlns:a16="http://schemas.microsoft.com/office/drawing/2014/main" id="{AA356424-E750-4BA2-A8A5-BF617180FE37}"/>
                </a:ext>
              </a:extLst>
            </p:cNvPr>
            <p:cNvSpPr txBox="1"/>
            <p:nvPr/>
          </p:nvSpPr>
          <p:spPr>
            <a:xfrm rot="13403735" flipH="1" flipV="1">
              <a:off x="3998474" y="4713730"/>
              <a:ext cx="1852992" cy="307777"/>
            </a:xfrm>
            <a:prstGeom prst="rect">
              <a:avLst/>
            </a:prstGeom>
            <a:noFill/>
          </p:spPr>
          <p:txBody>
            <a:bodyPr wrap="square" rtlCol="0">
              <a:spAutoFit/>
            </a:bodyPr>
            <a:lstStyle/>
            <a:p>
              <a:r>
                <a:rPr lang="en-GB" dirty="0">
                  <a:solidFill>
                    <a:schemeClr val="bg1"/>
                  </a:solidFill>
                  <a:latin typeface="+mn-lt"/>
                </a:rPr>
                <a:t>LOREM IPSUM</a:t>
              </a:r>
            </a:p>
          </p:txBody>
        </p:sp>
      </p:grpSp>
      <p:sp>
        <p:nvSpPr>
          <p:cNvPr id="20" name="TextBox 91-2">
            <a:extLst>
              <a:ext uri="{FF2B5EF4-FFF2-40B4-BE49-F238E27FC236}">
                <a16:creationId xmlns:a16="http://schemas.microsoft.com/office/drawing/2014/main" id="{BADC97A6-255D-4F71-B3E5-0DEDF391073B}"/>
              </a:ext>
            </a:extLst>
          </p:cNvPr>
          <p:cNvSpPr txBox="1"/>
          <p:nvPr/>
        </p:nvSpPr>
        <p:spPr>
          <a:xfrm>
            <a:off x="8697947" y="1743595"/>
            <a:ext cx="2752373" cy="1056700"/>
          </a:xfrm>
          <a:prstGeom prst="rect">
            <a:avLst/>
          </a:prstGeom>
          <a:noFill/>
        </p:spPr>
        <p:txBody>
          <a:bodyPr wrap="square" lIns="0" rIns="0" rtlCol="0" anchor="b">
            <a:spAutoFit/>
          </a:bodyPr>
          <a:lstStyle/>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a:t>
            </a:r>
          </a:p>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24" name="TextBox 91">
            <a:extLst>
              <a:ext uri="{FF2B5EF4-FFF2-40B4-BE49-F238E27FC236}">
                <a16:creationId xmlns:a16="http://schemas.microsoft.com/office/drawing/2014/main" id="{3BE87618-4866-4167-89A8-A8B9FA19E2F8}"/>
              </a:ext>
            </a:extLst>
          </p:cNvPr>
          <p:cNvSpPr txBox="1"/>
          <p:nvPr/>
        </p:nvSpPr>
        <p:spPr>
          <a:xfrm>
            <a:off x="833597" y="1743595"/>
            <a:ext cx="2752373" cy="1056700"/>
          </a:xfrm>
          <a:prstGeom prst="rect">
            <a:avLst/>
          </a:prstGeom>
          <a:noFill/>
        </p:spPr>
        <p:txBody>
          <a:bodyPr wrap="square" lIns="0" rIns="0" rtlCol="0" anchor="b">
            <a:spAutoFit/>
          </a:bodyPr>
          <a:lstStyle/>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a:t>
            </a:r>
          </a:p>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29" name="TextBox 91-3">
            <a:extLst>
              <a:ext uri="{FF2B5EF4-FFF2-40B4-BE49-F238E27FC236}">
                <a16:creationId xmlns:a16="http://schemas.microsoft.com/office/drawing/2014/main" id="{2D10EB60-82ED-4B03-88DF-96D3A2414F52}"/>
              </a:ext>
            </a:extLst>
          </p:cNvPr>
          <p:cNvSpPr txBox="1"/>
          <p:nvPr/>
        </p:nvSpPr>
        <p:spPr>
          <a:xfrm>
            <a:off x="8697947" y="4864108"/>
            <a:ext cx="2752373" cy="1056700"/>
          </a:xfrm>
          <a:prstGeom prst="rect">
            <a:avLst/>
          </a:prstGeom>
          <a:noFill/>
        </p:spPr>
        <p:txBody>
          <a:bodyPr wrap="square" lIns="0" rIns="0" rtlCol="0" anchor="b">
            <a:spAutoFit/>
          </a:bodyPr>
          <a:lstStyle/>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r>
              <a:rPr lang="en-GB" dirty="0">
                <a:latin typeface="+mn-lt"/>
              </a:rPr>
              <a:t> </a:t>
            </a:r>
          </a:p>
          <a:p>
            <a:pPr algn="l">
              <a:spcBef>
                <a:spcPts val="840"/>
              </a:spcBef>
              <a:spcAft>
                <a:spcPts val="0"/>
              </a:spcAft>
              <a:buClr>
                <a:srgbClr val="C2C2C2"/>
              </a:buClr>
              <a:buSzPct val="77000"/>
            </a:pPr>
            <a:r>
              <a:rPr lang="en-GB" dirty="0">
                <a:latin typeface="+mn-lt"/>
              </a:rPr>
              <a:t>Lorem ipsum </a:t>
            </a:r>
            <a:r>
              <a:rPr lang="en-GB" dirty="0" err="1">
                <a:latin typeface="+mn-lt"/>
              </a:rPr>
              <a:t>dolor</a:t>
            </a:r>
            <a:r>
              <a:rPr lang="en-GB" dirty="0">
                <a:latin typeface="+mn-lt"/>
              </a:rPr>
              <a:t> sit </a:t>
            </a:r>
            <a:r>
              <a:rPr lang="en-GB" dirty="0" err="1">
                <a:latin typeface="+mn-lt"/>
              </a:rPr>
              <a:t>amet</a:t>
            </a:r>
            <a:r>
              <a:rPr lang="en-GB" dirty="0">
                <a:latin typeface="+mn-lt"/>
              </a:rPr>
              <a:t>, </a:t>
            </a:r>
            <a:r>
              <a:rPr lang="en-GB" dirty="0" err="1">
                <a:latin typeface="+mn-lt"/>
              </a:rPr>
              <a:t>consectetur</a:t>
            </a:r>
            <a:endParaRPr lang="en-GB" dirty="0">
              <a:latin typeface="+mn-lt"/>
            </a:endParaRPr>
          </a:p>
        </p:txBody>
      </p:sp>
      <p:sp>
        <p:nvSpPr>
          <p:cNvPr id="32" name="TextBox 91-4">
            <a:extLst>
              <a:ext uri="{FF2B5EF4-FFF2-40B4-BE49-F238E27FC236}">
                <a16:creationId xmlns:a16="http://schemas.microsoft.com/office/drawing/2014/main" id="{A1D68FCA-847B-4996-B234-504FBB2C2219}"/>
              </a:ext>
            </a:extLst>
          </p:cNvPr>
          <p:cNvSpPr txBox="1"/>
          <p:nvPr/>
        </p:nvSpPr>
        <p:spPr>
          <a:xfrm>
            <a:off x="833597" y="4864108"/>
            <a:ext cx="2752373" cy="1056700"/>
          </a:xfrm>
          <a:prstGeom prst="rect">
            <a:avLst/>
          </a:prstGeom>
          <a:noFill/>
        </p:spPr>
        <p:txBody>
          <a:bodyPr wrap="square" lIns="0" rIns="0" rtlCol="0" anchor="b">
            <a:spAutoFit/>
          </a:bodyPr>
          <a:lstStyle/>
          <a:p>
            <a:pPr algn="l">
              <a:spcBef>
                <a:spcPts val="840"/>
              </a:spcBef>
              <a:spcAft>
                <a:spcPts val="0"/>
              </a:spcAft>
              <a:buClr>
                <a:srgbClr val="C2C2C2"/>
              </a:buClr>
              <a:buSzPct val="77000"/>
            </a:pPr>
            <a:r>
              <a:rPr lang="en-GB">
                <a:latin typeface="+mn-lt"/>
              </a:rPr>
              <a:t>Lorem ipsum dolor sit amet, consectetur </a:t>
            </a:r>
          </a:p>
          <a:p>
            <a:pPr algn="l">
              <a:spcBef>
                <a:spcPts val="840"/>
              </a:spcBef>
              <a:spcAft>
                <a:spcPts val="0"/>
              </a:spcAft>
              <a:buClr>
                <a:srgbClr val="C2C2C2"/>
              </a:buClr>
              <a:buSzPct val="77000"/>
            </a:pPr>
            <a:r>
              <a:rPr lang="en-GB">
                <a:latin typeface="+mn-lt"/>
              </a:rPr>
              <a:t>Lorem ipsum dolor sit amet, consectetur</a:t>
            </a:r>
            <a:endParaRPr lang="en-GB" dirty="0">
              <a:latin typeface="+mn-lt"/>
            </a:endParaRPr>
          </a:p>
        </p:txBody>
      </p:sp>
      <p:pic>
        <p:nvPicPr>
          <p:cNvPr id="6" name="life">
            <a:extLst>
              <a:ext uri="{FF2B5EF4-FFF2-40B4-BE49-F238E27FC236}">
                <a16:creationId xmlns:a16="http://schemas.microsoft.com/office/drawing/2014/main" id="{46868BB1-CA9D-4CED-BAEE-2D0D480B29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17641" y="3449821"/>
            <a:ext cx="756718" cy="769330"/>
          </a:xfrm>
          <a:prstGeom prst="rect">
            <a:avLst/>
          </a:prstGeom>
        </p:spPr>
      </p:pic>
    </p:spTree>
    <p:extLst>
      <p:ext uri="{BB962C8B-B14F-4D97-AF65-F5344CB8AC3E}">
        <p14:creationId xmlns:p14="http://schemas.microsoft.com/office/powerpoint/2010/main" val="31888620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49399A8E-09D3-2138-FAFB-06267ED09A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18" name="Objet 17" hidden="1">
                        <a:extLst>
                          <a:ext uri="{FF2B5EF4-FFF2-40B4-BE49-F238E27FC236}">
                            <a16:creationId xmlns:a16="http://schemas.microsoft.com/office/drawing/2014/main" id="{49399A8E-09D3-2138-FAFB-06267ED09A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1CCA4B0-F243-7DFB-E1EA-FFBD348781DF}"/>
              </a:ext>
            </a:extLst>
          </p:cNvPr>
          <p:cNvSpPr>
            <a:spLocks noGrp="1"/>
          </p:cNvSpPr>
          <p:nvPr>
            <p:ph type="title"/>
          </p:nvPr>
        </p:nvSpPr>
        <p:spPr/>
        <p:txBody>
          <a:bodyPr vert="horz"/>
          <a:lstStyle/>
          <a:p>
            <a:r>
              <a:rPr lang="en-GB"/>
              <a:t>Objectives of the project – 3 objectives</a:t>
            </a:r>
            <a:endParaRPr lang="en-GB" dirty="0"/>
          </a:p>
        </p:txBody>
      </p:sp>
      <p:sp>
        <p:nvSpPr>
          <p:cNvPr id="19" name="Arc 18">
            <a:extLst>
              <a:ext uri="{FF2B5EF4-FFF2-40B4-BE49-F238E27FC236}">
                <a16:creationId xmlns:a16="http://schemas.microsoft.com/office/drawing/2014/main" id="{5C204487-14FD-028C-ADA0-F7E3BB4CBF4E}"/>
              </a:ext>
            </a:extLst>
          </p:cNvPr>
          <p:cNvSpPr>
            <a:spLocks noChangeAspect="1"/>
          </p:cNvSpPr>
          <p:nvPr/>
        </p:nvSpPr>
        <p:spPr>
          <a:xfrm>
            <a:off x="1582727" y="2228519"/>
            <a:ext cx="2608891" cy="2608891"/>
          </a:xfrm>
          <a:prstGeom prst="arc">
            <a:avLst>
              <a:gd name="adj1" fmla="val 6337643"/>
              <a:gd name="adj2" fmla="val 0"/>
            </a:avLst>
          </a:prstGeom>
          <a:ln w="38100">
            <a:solidFill>
              <a:srgbClr val="C1B5B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20" name="Arc 19">
            <a:extLst>
              <a:ext uri="{FF2B5EF4-FFF2-40B4-BE49-F238E27FC236}">
                <a16:creationId xmlns:a16="http://schemas.microsoft.com/office/drawing/2014/main" id="{FF007087-381F-F140-81E9-D1C4D3BE4454}"/>
              </a:ext>
            </a:extLst>
          </p:cNvPr>
          <p:cNvSpPr>
            <a:spLocks noChangeAspect="1"/>
          </p:cNvSpPr>
          <p:nvPr/>
        </p:nvSpPr>
        <p:spPr>
          <a:xfrm rot="7470034">
            <a:off x="1907122" y="2552915"/>
            <a:ext cx="1960098" cy="1960098"/>
          </a:xfrm>
          <a:prstGeom prst="arc">
            <a:avLst>
              <a:gd name="adj1" fmla="val 6337643"/>
              <a:gd name="adj2" fmla="val 0"/>
            </a:avLst>
          </a:prstGeom>
          <a:ln w="38100">
            <a:solidFill>
              <a:srgbClr val="87737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21" name="Arc 20">
            <a:extLst>
              <a:ext uri="{FF2B5EF4-FFF2-40B4-BE49-F238E27FC236}">
                <a16:creationId xmlns:a16="http://schemas.microsoft.com/office/drawing/2014/main" id="{9D102608-DAE6-4AB8-ECC7-0FD38BB83A2D}"/>
              </a:ext>
            </a:extLst>
          </p:cNvPr>
          <p:cNvSpPr>
            <a:spLocks noChangeAspect="1"/>
          </p:cNvSpPr>
          <p:nvPr/>
        </p:nvSpPr>
        <p:spPr>
          <a:xfrm rot="10507968">
            <a:off x="977334" y="1623125"/>
            <a:ext cx="3819677" cy="3819677"/>
          </a:xfrm>
          <a:prstGeom prst="arc">
            <a:avLst>
              <a:gd name="adj1" fmla="val 6337643"/>
              <a:gd name="adj2" fmla="val 0"/>
            </a:avLst>
          </a:prstGeom>
          <a:ln w="38100">
            <a:solidFill>
              <a:srgbClr val="C63E1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pic>
        <p:nvPicPr>
          <p:cNvPr id="22" name="Image 21">
            <a:extLst>
              <a:ext uri="{FF2B5EF4-FFF2-40B4-BE49-F238E27FC236}">
                <a16:creationId xmlns:a16="http://schemas.microsoft.com/office/drawing/2014/main" id="{A86B99D8-61C8-EFD5-4B0C-4AD8AEF4CC1C}"/>
              </a:ext>
            </a:extLst>
          </p:cNvPr>
          <p:cNvPicPr>
            <a:picLocks noChangeAspect="1"/>
          </p:cNvPicPr>
          <p:nvPr/>
        </p:nvPicPr>
        <p:blipFill>
          <a:blip r:embed="rId5"/>
          <a:stretch>
            <a:fillRect/>
          </a:stretch>
        </p:blipFill>
        <p:spPr>
          <a:xfrm>
            <a:off x="2287029" y="2900600"/>
            <a:ext cx="1260000" cy="1260000"/>
          </a:xfrm>
          <a:prstGeom prst="rect">
            <a:avLst/>
          </a:prstGeom>
        </p:spPr>
      </p:pic>
      <p:sp>
        <p:nvSpPr>
          <p:cNvPr id="23" name="Oval 31">
            <a:extLst>
              <a:ext uri="{FF2B5EF4-FFF2-40B4-BE49-F238E27FC236}">
                <a16:creationId xmlns:a16="http://schemas.microsoft.com/office/drawing/2014/main" id="{996FD5DB-7249-F8AE-3A47-BFF4DA2D66FD}"/>
              </a:ext>
            </a:extLst>
          </p:cNvPr>
          <p:cNvSpPr>
            <a:spLocks noChangeAspect="1"/>
          </p:cNvSpPr>
          <p:nvPr/>
        </p:nvSpPr>
        <p:spPr>
          <a:xfrm>
            <a:off x="3973604" y="1887423"/>
            <a:ext cx="426575" cy="4265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anose="020B0604020202020204" pitchFamily="34" charset="0"/>
                <a:ea typeface="+mn-ea"/>
                <a:cs typeface="+mn-cs"/>
              </a:rPr>
              <a:t>1</a:t>
            </a:r>
            <a:endParaRPr kumimoji="0" lang="en-GB" sz="180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4" name="Oval 32">
            <a:extLst>
              <a:ext uri="{FF2B5EF4-FFF2-40B4-BE49-F238E27FC236}">
                <a16:creationId xmlns:a16="http://schemas.microsoft.com/office/drawing/2014/main" id="{41E03E91-1035-9AE6-8423-C2EAA3D83212}"/>
              </a:ext>
            </a:extLst>
          </p:cNvPr>
          <p:cNvSpPr>
            <a:spLocks noChangeAspect="1"/>
          </p:cNvSpPr>
          <p:nvPr/>
        </p:nvSpPr>
        <p:spPr>
          <a:xfrm>
            <a:off x="4583942" y="3284946"/>
            <a:ext cx="426575" cy="4265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anose="020B0604020202020204" pitchFamily="34" charset="0"/>
                <a:ea typeface="+mn-ea"/>
                <a:cs typeface="+mn-cs"/>
              </a:rPr>
              <a:t>2</a:t>
            </a:r>
            <a:endParaRPr kumimoji="0" lang="en-GB" sz="180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Oval 32">
            <a:extLst>
              <a:ext uri="{FF2B5EF4-FFF2-40B4-BE49-F238E27FC236}">
                <a16:creationId xmlns:a16="http://schemas.microsoft.com/office/drawing/2014/main" id="{A587D0B3-38C8-6587-FFB6-050E56FCEDEC}"/>
              </a:ext>
            </a:extLst>
          </p:cNvPr>
          <p:cNvSpPr>
            <a:spLocks noChangeAspect="1"/>
          </p:cNvSpPr>
          <p:nvPr/>
        </p:nvSpPr>
        <p:spPr>
          <a:xfrm>
            <a:off x="3973604" y="4682469"/>
            <a:ext cx="426575" cy="4265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anose="020B0604020202020204" pitchFamily="34" charset="0"/>
                <a:ea typeface="+mn-ea"/>
                <a:cs typeface="+mn-cs"/>
              </a:rPr>
              <a:t>3</a:t>
            </a:r>
            <a:endParaRPr kumimoji="0" lang="en-GB" sz="180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FEBBB2AC-0233-DC07-4EE1-41761CFBFFDF}"/>
              </a:ext>
            </a:extLst>
          </p:cNvPr>
          <p:cNvSpPr/>
          <p:nvPr/>
        </p:nvSpPr>
        <p:spPr bwMode="auto">
          <a:xfrm>
            <a:off x="5286146" y="1887423"/>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rPr>
              <a:t>Objective 1</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
        <p:nvSpPr>
          <p:cNvPr id="27" name="Rectangle 26">
            <a:extLst>
              <a:ext uri="{FF2B5EF4-FFF2-40B4-BE49-F238E27FC236}">
                <a16:creationId xmlns:a16="http://schemas.microsoft.com/office/drawing/2014/main" id="{E6625C37-37AB-FDB0-42EA-998F4D9E6F71}"/>
              </a:ext>
            </a:extLst>
          </p:cNvPr>
          <p:cNvSpPr/>
          <p:nvPr/>
        </p:nvSpPr>
        <p:spPr bwMode="auto">
          <a:xfrm>
            <a:off x="5286146" y="3284946"/>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a:ln>
                  <a:noFill/>
                </a:ln>
                <a:solidFill>
                  <a:srgbClr val="87737B"/>
                </a:solidFill>
                <a:effectLst/>
                <a:uLnTx/>
                <a:uFillTx/>
                <a:latin typeface="Arial" panose="020B0604020202020204" pitchFamily="34" charset="0"/>
                <a:ea typeface="+mn-ea"/>
                <a:cs typeface="Arial" pitchFamily="34" charset="0"/>
              </a:rPr>
              <a:t>Objective 2</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
        <p:nvSpPr>
          <p:cNvPr id="28" name="Rectangle 27">
            <a:extLst>
              <a:ext uri="{FF2B5EF4-FFF2-40B4-BE49-F238E27FC236}">
                <a16:creationId xmlns:a16="http://schemas.microsoft.com/office/drawing/2014/main" id="{88C0072B-4828-3168-0E44-B30BF179FE66}"/>
              </a:ext>
            </a:extLst>
          </p:cNvPr>
          <p:cNvSpPr/>
          <p:nvPr/>
        </p:nvSpPr>
        <p:spPr bwMode="auto">
          <a:xfrm>
            <a:off x="5286146" y="4682469"/>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a:ln>
                  <a:noFill/>
                </a:ln>
                <a:solidFill>
                  <a:srgbClr val="87737B"/>
                </a:solidFill>
                <a:effectLst/>
                <a:uLnTx/>
                <a:uFillTx/>
                <a:latin typeface="Arial" panose="020B0604020202020204" pitchFamily="34" charset="0"/>
                <a:ea typeface="+mn-ea"/>
                <a:cs typeface="Arial" pitchFamily="34" charset="0"/>
              </a:rPr>
              <a:t>Objective 3</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1823198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6D4BC3D-A186-4B12-6C9C-0E9186F60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36D4BC3D-A186-4B12-6C9C-0E9186F604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74FDB89-6802-5B1A-ED3B-A30B82A35D9C}"/>
              </a:ext>
            </a:extLst>
          </p:cNvPr>
          <p:cNvSpPr>
            <a:spLocks noGrp="1"/>
          </p:cNvSpPr>
          <p:nvPr>
            <p:ph type="title"/>
          </p:nvPr>
        </p:nvSpPr>
        <p:spPr/>
        <p:txBody>
          <a:bodyPr vert="horz"/>
          <a:lstStyle/>
          <a:p>
            <a:r>
              <a:rPr lang="en-GB"/>
              <a:t>Objectives of the project – 4 objectives</a:t>
            </a:r>
            <a:endParaRPr lang="en-GB" dirty="0"/>
          </a:p>
        </p:txBody>
      </p:sp>
      <p:sp>
        <p:nvSpPr>
          <p:cNvPr id="8" name="Arc 7">
            <a:extLst>
              <a:ext uri="{FF2B5EF4-FFF2-40B4-BE49-F238E27FC236}">
                <a16:creationId xmlns:a16="http://schemas.microsoft.com/office/drawing/2014/main" id="{5BD0ED9C-F1EB-56BC-4B94-8F23C5882A87}"/>
              </a:ext>
            </a:extLst>
          </p:cNvPr>
          <p:cNvSpPr>
            <a:spLocks noChangeAspect="1"/>
          </p:cNvSpPr>
          <p:nvPr/>
        </p:nvSpPr>
        <p:spPr>
          <a:xfrm>
            <a:off x="1582727" y="2228519"/>
            <a:ext cx="2608891" cy="2608891"/>
          </a:xfrm>
          <a:prstGeom prst="arc">
            <a:avLst>
              <a:gd name="adj1" fmla="val 6337643"/>
              <a:gd name="adj2" fmla="val 0"/>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9" name="Arc 8">
            <a:extLst>
              <a:ext uri="{FF2B5EF4-FFF2-40B4-BE49-F238E27FC236}">
                <a16:creationId xmlns:a16="http://schemas.microsoft.com/office/drawing/2014/main" id="{D5C575B8-0EC4-76DF-481A-57C0E6E4D07F}"/>
              </a:ext>
            </a:extLst>
          </p:cNvPr>
          <p:cNvSpPr>
            <a:spLocks noChangeAspect="1"/>
          </p:cNvSpPr>
          <p:nvPr/>
        </p:nvSpPr>
        <p:spPr>
          <a:xfrm rot="7470034">
            <a:off x="1907122" y="2552915"/>
            <a:ext cx="1960098" cy="1960098"/>
          </a:xfrm>
          <a:prstGeom prst="arc">
            <a:avLst>
              <a:gd name="adj1" fmla="val 6337643"/>
              <a:gd name="adj2" fmla="val 0"/>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10" name="Arc 9">
            <a:extLst>
              <a:ext uri="{FF2B5EF4-FFF2-40B4-BE49-F238E27FC236}">
                <a16:creationId xmlns:a16="http://schemas.microsoft.com/office/drawing/2014/main" id="{F557C5B3-F47C-7B54-BB5B-59D9D68D6703}"/>
              </a:ext>
            </a:extLst>
          </p:cNvPr>
          <p:cNvSpPr>
            <a:spLocks noChangeAspect="1"/>
          </p:cNvSpPr>
          <p:nvPr/>
        </p:nvSpPr>
        <p:spPr>
          <a:xfrm rot="10507968">
            <a:off x="977334" y="1623125"/>
            <a:ext cx="3819677" cy="3819677"/>
          </a:xfrm>
          <a:prstGeom prst="arc">
            <a:avLst>
              <a:gd name="adj1" fmla="val 6337643"/>
              <a:gd name="adj2" fmla="val 0"/>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11" name="Oval 31">
            <a:extLst>
              <a:ext uri="{FF2B5EF4-FFF2-40B4-BE49-F238E27FC236}">
                <a16:creationId xmlns:a16="http://schemas.microsoft.com/office/drawing/2014/main" id="{35906341-D25F-9B73-F2C5-1879CC91C3D9}"/>
              </a:ext>
            </a:extLst>
          </p:cNvPr>
          <p:cNvSpPr>
            <a:spLocks noChangeAspect="1"/>
          </p:cNvSpPr>
          <p:nvPr/>
        </p:nvSpPr>
        <p:spPr>
          <a:xfrm>
            <a:off x="3547026" y="1590042"/>
            <a:ext cx="426575" cy="4265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Arial" panose="020B0604020202020204" pitchFamily="34" charset="0"/>
                <a:ea typeface="+mn-ea"/>
                <a:cs typeface="+mn-cs"/>
              </a:rPr>
              <a:t>1</a:t>
            </a: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2" name="Oval 32">
            <a:extLst>
              <a:ext uri="{FF2B5EF4-FFF2-40B4-BE49-F238E27FC236}">
                <a16:creationId xmlns:a16="http://schemas.microsoft.com/office/drawing/2014/main" id="{848299F6-7BCC-7274-1006-B2D5FFDFE9C1}"/>
              </a:ext>
            </a:extLst>
          </p:cNvPr>
          <p:cNvSpPr>
            <a:spLocks noChangeAspect="1"/>
          </p:cNvSpPr>
          <p:nvPr/>
        </p:nvSpPr>
        <p:spPr>
          <a:xfrm>
            <a:off x="4404679" y="2558230"/>
            <a:ext cx="426575" cy="4265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Arial" panose="020B0604020202020204" pitchFamily="34" charset="0"/>
                <a:ea typeface="+mn-ea"/>
                <a:cs typeface="+mn-cs"/>
              </a:rPr>
              <a:t>2</a:t>
            </a: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3" name="Oval 33">
            <a:extLst>
              <a:ext uri="{FF2B5EF4-FFF2-40B4-BE49-F238E27FC236}">
                <a16:creationId xmlns:a16="http://schemas.microsoft.com/office/drawing/2014/main" id="{34A431C6-CDDD-C04B-6B50-6D28E65C6202}"/>
              </a:ext>
            </a:extLst>
          </p:cNvPr>
          <p:cNvSpPr>
            <a:spLocks noChangeAspect="1"/>
          </p:cNvSpPr>
          <p:nvPr/>
        </p:nvSpPr>
        <p:spPr>
          <a:xfrm>
            <a:off x="4404679" y="4049976"/>
            <a:ext cx="426575" cy="4265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Arial" panose="020B0604020202020204" pitchFamily="34" charset="0"/>
                <a:ea typeface="+mn-ea"/>
                <a:cs typeface="+mn-cs"/>
              </a:rPr>
              <a:t>3</a:t>
            </a: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4" name="Oval 36">
            <a:extLst>
              <a:ext uri="{FF2B5EF4-FFF2-40B4-BE49-F238E27FC236}">
                <a16:creationId xmlns:a16="http://schemas.microsoft.com/office/drawing/2014/main" id="{97C78374-A04F-708C-4FA7-C1F356D4241F}"/>
              </a:ext>
            </a:extLst>
          </p:cNvPr>
          <p:cNvSpPr>
            <a:spLocks noChangeAspect="1"/>
          </p:cNvSpPr>
          <p:nvPr/>
        </p:nvSpPr>
        <p:spPr>
          <a:xfrm>
            <a:off x="3547027" y="4971179"/>
            <a:ext cx="426575" cy="4265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Arial" panose="020B0604020202020204" pitchFamily="34" charset="0"/>
                <a:ea typeface="+mn-ea"/>
                <a:cs typeface="+mn-cs"/>
              </a:rPr>
              <a:t>4</a:t>
            </a: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EA22B9C8-B90E-0B25-5A37-26145310C946}"/>
              </a:ext>
            </a:extLst>
          </p:cNvPr>
          <p:cNvSpPr/>
          <p:nvPr/>
        </p:nvSpPr>
        <p:spPr bwMode="auto">
          <a:xfrm>
            <a:off x="5106883" y="1310204"/>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rPr>
              <a:t>Objective 1</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
        <p:nvSpPr>
          <p:cNvPr id="16" name="Rectangle 15">
            <a:extLst>
              <a:ext uri="{FF2B5EF4-FFF2-40B4-BE49-F238E27FC236}">
                <a16:creationId xmlns:a16="http://schemas.microsoft.com/office/drawing/2014/main" id="{365226F6-D3E2-3F1F-A2EA-874C2497C0F9}"/>
              </a:ext>
            </a:extLst>
          </p:cNvPr>
          <p:cNvSpPr/>
          <p:nvPr/>
        </p:nvSpPr>
        <p:spPr bwMode="auto">
          <a:xfrm>
            <a:off x="5106883" y="2643059"/>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rPr>
              <a:t>Objective 2</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
        <p:nvSpPr>
          <p:cNvPr id="17" name="Rectangle 16">
            <a:extLst>
              <a:ext uri="{FF2B5EF4-FFF2-40B4-BE49-F238E27FC236}">
                <a16:creationId xmlns:a16="http://schemas.microsoft.com/office/drawing/2014/main" id="{71DD065E-DE1D-A806-1CE1-A65F2AABE702}"/>
              </a:ext>
            </a:extLst>
          </p:cNvPr>
          <p:cNvSpPr/>
          <p:nvPr/>
        </p:nvSpPr>
        <p:spPr bwMode="auto">
          <a:xfrm>
            <a:off x="5106883" y="3975914"/>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rPr>
              <a:t>Objective 3</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sp>
        <p:nvSpPr>
          <p:cNvPr id="18" name="Rectangle 17">
            <a:extLst>
              <a:ext uri="{FF2B5EF4-FFF2-40B4-BE49-F238E27FC236}">
                <a16:creationId xmlns:a16="http://schemas.microsoft.com/office/drawing/2014/main" id="{C64FC1EB-B8FC-0504-1B25-FDDED08657C5}"/>
              </a:ext>
            </a:extLst>
          </p:cNvPr>
          <p:cNvSpPr/>
          <p:nvPr/>
        </p:nvSpPr>
        <p:spPr bwMode="auto">
          <a:xfrm>
            <a:off x="5106883" y="5308770"/>
            <a:ext cx="6480000" cy="79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rPr>
              <a:t>Objective 4</a:t>
            </a:r>
            <a:endParaRPr kumimoji="0" lang="en-GB" sz="1400" b="0" i="0" u="none" strike="noStrike" kern="0" cap="none" spc="0" normalizeH="0" baseline="0" noProof="0" dirty="0">
              <a:ln>
                <a:noFill/>
              </a:ln>
              <a:solidFill>
                <a:srgbClr val="87737B"/>
              </a:solidFill>
              <a:effectLst/>
              <a:uLnTx/>
              <a:uFillTx/>
              <a:latin typeface="Arial" panose="020B0604020202020204" pitchFamily="34" charset="0"/>
              <a:ea typeface="+mn-ea"/>
              <a:cs typeface="Arial" pitchFamily="34" charset="0"/>
            </a:endParaRPr>
          </a:p>
        </p:txBody>
      </p:sp>
      <p:pic>
        <p:nvPicPr>
          <p:cNvPr id="19" name="Image 18">
            <a:extLst>
              <a:ext uri="{FF2B5EF4-FFF2-40B4-BE49-F238E27FC236}">
                <a16:creationId xmlns:a16="http://schemas.microsoft.com/office/drawing/2014/main" id="{537FE9B7-5791-7304-2F93-7BD1BE40CDFC}"/>
              </a:ext>
            </a:extLst>
          </p:cNvPr>
          <p:cNvPicPr>
            <a:picLocks noChangeAspect="1"/>
          </p:cNvPicPr>
          <p:nvPr/>
        </p:nvPicPr>
        <p:blipFill>
          <a:blip r:embed="rId5"/>
          <a:stretch>
            <a:fillRect/>
          </a:stretch>
        </p:blipFill>
        <p:spPr>
          <a:xfrm>
            <a:off x="2287029" y="2900600"/>
            <a:ext cx="1260000" cy="1260000"/>
          </a:xfrm>
          <a:prstGeom prst="rect">
            <a:avLst/>
          </a:prstGeom>
        </p:spPr>
      </p:pic>
    </p:spTree>
    <p:extLst>
      <p:ext uri="{BB962C8B-B14F-4D97-AF65-F5344CB8AC3E}">
        <p14:creationId xmlns:p14="http://schemas.microsoft.com/office/powerpoint/2010/main" val="19803157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736"/>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B1068A5-1B0B-49AA-87DD-DF0537659AC8}"/>
              </a:ext>
            </a:extLst>
          </p:cNvPr>
          <p:cNvGraphicFramePr>
            <a:graphicFrameLocks noChangeAspect="1"/>
          </p:cNvGraphicFramePr>
          <p:nvPr>
            <p:custDataLst>
              <p:tags r:id="rId1"/>
            </p:custDataLst>
            <p:extLst>
              <p:ext uri="{D42A27DB-BD31-4B8C-83A1-F6EECF244321}">
                <p14:modId xmlns:p14="http://schemas.microsoft.com/office/powerpoint/2010/main" val="222922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EB1068A5-1B0B-49AA-87DD-DF0537659A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B295B0D0-5383-483C-B9BB-5B22AB343110}"/>
              </a:ext>
            </a:extLst>
          </p:cNvPr>
          <p:cNvGraphicFramePr>
            <a:graphicFrameLocks noGrp="1"/>
          </p:cNvGraphicFramePr>
          <p:nvPr>
            <p:extLst>
              <p:ext uri="{D42A27DB-BD31-4B8C-83A1-F6EECF244321}">
                <p14:modId xmlns:p14="http://schemas.microsoft.com/office/powerpoint/2010/main" val="3719502395"/>
              </p:ext>
            </p:extLst>
          </p:nvPr>
        </p:nvGraphicFramePr>
        <p:xfrm>
          <a:off x="1176744" y="1820869"/>
          <a:ext cx="9838513" cy="4241171"/>
        </p:xfrm>
        <a:graphic>
          <a:graphicData uri="http://schemas.openxmlformats.org/drawingml/2006/table">
            <a:tbl>
              <a:tblPr firstRow="1" bandRow="1">
                <a:tableStyleId>{5C22544A-7EE6-4342-B048-85BDC9FD1C3A}</a:tableStyleId>
              </a:tblPr>
              <a:tblGrid>
                <a:gridCol w="1910208">
                  <a:extLst>
                    <a:ext uri="{9D8B030D-6E8A-4147-A177-3AD203B41FA5}">
                      <a16:colId xmlns:a16="http://schemas.microsoft.com/office/drawing/2014/main" val="1938377839"/>
                    </a:ext>
                  </a:extLst>
                </a:gridCol>
                <a:gridCol w="893852">
                  <a:extLst>
                    <a:ext uri="{9D8B030D-6E8A-4147-A177-3AD203B41FA5}">
                      <a16:colId xmlns:a16="http://schemas.microsoft.com/office/drawing/2014/main" val="2052935838"/>
                    </a:ext>
                  </a:extLst>
                </a:gridCol>
                <a:gridCol w="3113070">
                  <a:extLst>
                    <a:ext uri="{9D8B030D-6E8A-4147-A177-3AD203B41FA5}">
                      <a16:colId xmlns:a16="http://schemas.microsoft.com/office/drawing/2014/main" val="2812990491"/>
                    </a:ext>
                  </a:extLst>
                </a:gridCol>
                <a:gridCol w="3921383">
                  <a:extLst>
                    <a:ext uri="{9D8B030D-6E8A-4147-A177-3AD203B41FA5}">
                      <a16:colId xmlns:a16="http://schemas.microsoft.com/office/drawing/2014/main" val="3142490249"/>
                    </a:ext>
                  </a:extLst>
                </a:gridCol>
              </a:tblGrid>
              <a:tr h="1114556">
                <a:tc>
                  <a:txBody>
                    <a:bodyPr/>
                    <a:lstStyle/>
                    <a:p>
                      <a:pPr rtl="0"/>
                      <a:r>
                        <a:rPr lang="en-GB" sz="1400" b="1" noProof="0" dirty="0">
                          <a:solidFill>
                            <a:schemeClr val="bg1"/>
                          </a:solidFill>
                          <a:latin typeface="+mn-lt"/>
                        </a:rPr>
                        <a:t>Key lever 1</a:t>
                      </a:r>
                    </a:p>
                  </a:txBody>
                  <a:tcPr marT="41564" marB="41564">
                    <a:lnL w="12700" cap="flat" cmpd="sng" algn="ctr">
                      <a:solidFill>
                        <a:schemeClr val="bg1">
                          <a:lumMod val="95000"/>
                        </a:schemeClr>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0" lvl="1" indent="0" algn="l" defTabSz="1125444" rtl="0" eaLnBrk="1" fontAlgn="base" hangingPunct="1">
                        <a:spcBef>
                          <a:spcPts val="720"/>
                        </a:spcBef>
                        <a:spcAft>
                          <a:spcPts val="0"/>
                        </a:spcAft>
                        <a:buClr>
                          <a:schemeClr val="accent3"/>
                        </a:buClr>
                        <a:buSzPct val="77000"/>
                        <a:buFont typeface="Wingdings 3" panose="05040102010807070707" pitchFamily="18" charset="2"/>
                        <a:buNone/>
                        <a:defRPr/>
                      </a:pPr>
                      <a:endParaRPr lang="en-GB" sz="1300" b="0" kern="1200" noProof="0" dirty="0">
                        <a:solidFill>
                          <a:schemeClr val="tx1"/>
                        </a:solidFill>
                        <a:latin typeface="+mn-lt"/>
                        <a:ea typeface="+mn-ea"/>
                        <a:cs typeface="+mn-cs"/>
                      </a:endParaRPr>
                    </a:p>
                  </a:txBody>
                  <a:tcPr marT="41564" marB="41564">
                    <a:lnL w="762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dirty="0">
                          <a:solidFill>
                            <a:schemeClr val="tx1"/>
                          </a:solidFill>
                          <a:latin typeface="+mn-lt"/>
                          <a:ea typeface="+mn-ea"/>
                          <a:cs typeface="+mn-cs"/>
                        </a:rPr>
                        <a:t>Quantitative impact details</a:t>
                      </a:r>
                    </a:p>
                  </a:txBody>
                  <a:tcPr marT="41564" marB="41564">
                    <a:lnL w="12700" cap="flat" cmpd="sng" algn="ctr">
                      <a:solidFill>
                        <a:schemeClr val="bg1">
                          <a:lumMod val="9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lvl="1" indent="0" algn="l" defTabSz="1125444" rtl="0" eaLnBrk="1" fontAlgn="base" hangingPunct="1">
                        <a:spcBef>
                          <a:spcPts val="840"/>
                        </a:spcBef>
                        <a:spcAft>
                          <a:spcPts val="0"/>
                        </a:spcAft>
                        <a:buClr>
                          <a:srgbClr val="C2C2C2"/>
                        </a:buClr>
                        <a:buSzPct val="77000"/>
                        <a:buFont typeface="Wingdings 3" panose="05040102010807070707" pitchFamily="18" charset="2"/>
                        <a:buNone/>
                        <a:defRPr/>
                      </a:pPr>
                      <a:r>
                        <a:rPr lang="en-GB" sz="1600" b="1" kern="1200" noProof="0" dirty="0">
                          <a:solidFill>
                            <a:schemeClr val="tx1"/>
                          </a:solidFill>
                          <a:latin typeface="+mn-lt"/>
                          <a:ea typeface="+mn-ea"/>
                          <a:cs typeface="+mn-cs"/>
                        </a:rPr>
                        <a:t>Summary</a:t>
                      </a:r>
                    </a:p>
                    <a:p>
                      <a:pPr marL="0" marR="0" lvl="1" indent="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None/>
                        <a:tabLst/>
                        <a:defRPr/>
                      </a:pPr>
                      <a:r>
                        <a:rPr lang="en-GB" sz="1400" b="0" kern="1200" noProof="0" dirty="0">
                          <a:solidFill>
                            <a:schemeClr val="tx1"/>
                          </a:solidFill>
                          <a:latin typeface="+mn-lt"/>
                          <a:ea typeface="+mn-ea"/>
                          <a:cs typeface="+mn-cs"/>
                        </a:rPr>
                        <a:t>Lorem ipsum </a:t>
                      </a:r>
                      <a:r>
                        <a:rPr lang="en-GB" sz="1400" b="0" kern="1200" noProof="0" dirty="0" err="1">
                          <a:solidFill>
                            <a:schemeClr val="tx1"/>
                          </a:solidFill>
                          <a:latin typeface="+mn-lt"/>
                          <a:ea typeface="+mn-ea"/>
                          <a:cs typeface="+mn-cs"/>
                        </a:rPr>
                        <a:t>dolor</a:t>
                      </a:r>
                      <a:r>
                        <a:rPr lang="en-GB" sz="1400" b="0" kern="1200" noProof="0" dirty="0">
                          <a:solidFill>
                            <a:schemeClr val="tx1"/>
                          </a:solidFill>
                          <a:latin typeface="+mn-lt"/>
                          <a:ea typeface="+mn-ea"/>
                          <a:cs typeface="+mn-cs"/>
                        </a:rPr>
                        <a:t> sit </a:t>
                      </a:r>
                      <a:r>
                        <a:rPr lang="en-GB" sz="1400" b="0" kern="1200" noProof="0" dirty="0" err="1">
                          <a:solidFill>
                            <a:schemeClr val="tx1"/>
                          </a:solidFill>
                          <a:latin typeface="+mn-lt"/>
                          <a:ea typeface="+mn-ea"/>
                          <a:cs typeface="+mn-cs"/>
                        </a:rPr>
                        <a:t>amet</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consectetuer</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adipiscing</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elit</a:t>
                      </a:r>
                      <a:r>
                        <a:rPr lang="en-GB" sz="1400" b="0" kern="1200" noProof="0" dirty="0">
                          <a:solidFill>
                            <a:schemeClr val="tx1"/>
                          </a:solidFill>
                          <a:latin typeface="+mn-lt"/>
                          <a:ea typeface="+mn-ea"/>
                          <a:cs typeface="+mn-cs"/>
                        </a:rPr>
                        <a:t>. Maecenas </a:t>
                      </a:r>
                      <a:r>
                        <a:rPr lang="en-GB" sz="1400" b="0" kern="1200" noProof="0" dirty="0" err="1">
                          <a:solidFill>
                            <a:schemeClr val="tx1"/>
                          </a:solidFill>
                          <a:latin typeface="+mn-lt"/>
                          <a:ea typeface="+mn-ea"/>
                          <a:cs typeface="+mn-cs"/>
                        </a:rPr>
                        <a:t>porttitor</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congue</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massa</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Fusce</a:t>
                      </a:r>
                      <a:r>
                        <a:rPr lang="en-GB" sz="1400" b="0" kern="1200" noProof="0" dirty="0">
                          <a:solidFill>
                            <a:schemeClr val="tx1"/>
                          </a:solidFill>
                          <a:latin typeface="+mn-lt"/>
                          <a:ea typeface="+mn-ea"/>
                          <a:cs typeface="+mn-cs"/>
                        </a:rPr>
                        <a:t> </a:t>
                      </a:r>
                      <a:r>
                        <a:rPr lang="en-GB" sz="1400" b="0" kern="1200" noProof="0" dirty="0" err="1">
                          <a:solidFill>
                            <a:schemeClr val="tx1"/>
                          </a:solidFill>
                          <a:latin typeface="+mn-lt"/>
                          <a:ea typeface="+mn-ea"/>
                          <a:cs typeface="+mn-cs"/>
                        </a:rPr>
                        <a:t>posuere</a:t>
                      </a:r>
                      <a:r>
                        <a:rPr lang="en-GB" sz="1400" b="0" kern="1200" noProof="0" dirty="0">
                          <a:solidFill>
                            <a:schemeClr val="tx1"/>
                          </a:solidFill>
                          <a:latin typeface="+mn-lt"/>
                          <a:ea typeface="+mn-ea"/>
                          <a:cs typeface="+mn-cs"/>
                        </a:rPr>
                        <a:t>, magna </a:t>
                      </a:r>
                      <a:r>
                        <a:rPr lang="en-GB" sz="1400" b="0" kern="1200" noProof="0" dirty="0" err="1">
                          <a:solidFill>
                            <a:schemeClr val="tx1"/>
                          </a:solidFill>
                          <a:latin typeface="+mn-lt"/>
                          <a:ea typeface="+mn-ea"/>
                          <a:cs typeface="+mn-cs"/>
                        </a:rPr>
                        <a:t>sed</a:t>
                      </a:r>
                      <a:r>
                        <a:rPr lang="en-GB" sz="1400" b="0" kern="1200" noProof="0" dirty="0">
                          <a:solidFill>
                            <a:schemeClr val="tx1"/>
                          </a:solidFill>
                          <a:latin typeface="+mn-lt"/>
                          <a:ea typeface="+mn-ea"/>
                          <a:cs typeface="+mn-cs"/>
                        </a:rPr>
                        <a:t> pulvinar</a:t>
                      </a:r>
                    </a:p>
                    <a:p>
                      <a:pPr marL="0" lvl="1" indent="0" algn="l" defTabSz="1125444" rtl="0" eaLnBrk="1" fontAlgn="base" hangingPunct="1">
                        <a:spcBef>
                          <a:spcPts val="840"/>
                        </a:spcBef>
                        <a:spcAft>
                          <a:spcPts val="0"/>
                        </a:spcAft>
                        <a:buClr>
                          <a:srgbClr val="C2C2C2"/>
                        </a:buClr>
                        <a:buSzPct val="77000"/>
                        <a:buFont typeface="Wingdings 3" panose="05040102010807070707" pitchFamily="18" charset="2"/>
                        <a:buNone/>
                        <a:defRPr/>
                      </a:pPr>
                      <a:r>
                        <a:rPr lang="en-GB" sz="1600" b="1" kern="1200" noProof="0" dirty="0">
                          <a:solidFill>
                            <a:schemeClr val="tx1"/>
                          </a:solidFill>
                          <a:latin typeface="+mn-lt"/>
                          <a:ea typeface="+mn-ea"/>
                          <a:cs typeface="+mn-cs"/>
                        </a:rPr>
                        <a:t>Next steps</a:t>
                      </a:r>
                    </a:p>
                    <a:p>
                      <a:pPr marL="179705" marR="0" lvl="1" indent="-179705"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b="0" kern="0" dirty="0">
                          <a:solidFill>
                            <a:schemeClr val="tx1"/>
                          </a:solidFill>
                          <a:latin typeface="+mn-lt"/>
                          <a:cs typeface="Arial" pitchFamily="34" charset="0"/>
                        </a:rPr>
                        <a:t>Lorem ipsum </a:t>
                      </a:r>
                      <a:r>
                        <a:rPr lang="en-GB" sz="1400" b="0" kern="0" dirty="0" err="1">
                          <a:solidFill>
                            <a:schemeClr val="tx1"/>
                          </a:solidFill>
                          <a:latin typeface="+mn-lt"/>
                          <a:cs typeface="Arial" pitchFamily="34" charset="0"/>
                        </a:rPr>
                        <a:t>dolor</a:t>
                      </a:r>
                      <a:r>
                        <a:rPr lang="en-GB" sz="1400" b="0" kern="0" dirty="0">
                          <a:solidFill>
                            <a:schemeClr val="tx1"/>
                          </a:solidFill>
                          <a:latin typeface="+mn-lt"/>
                          <a:cs typeface="Arial" pitchFamily="34" charset="0"/>
                        </a:rPr>
                        <a:t> sit </a:t>
                      </a:r>
                      <a:r>
                        <a:rPr lang="en-GB" sz="1400" b="0" kern="0" dirty="0" err="1">
                          <a:solidFill>
                            <a:schemeClr val="tx1"/>
                          </a:solidFill>
                          <a:latin typeface="+mn-lt"/>
                          <a:cs typeface="Arial" pitchFamily="34" charset="0"/>
                        </a:rPr>
                        <a:t>amet</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consectetuer</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adipiscing</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elit</a:t>
                      </a:r>
                      <a:r>
                        <a:rPr lang="en-GB" sz="1400" b="0" kern="0" dirty="0">
                          <a:solidFill>
                            <a:schemeClr val="tx1"/>
                          </a:solidFill>
                          <a:latin typeface="+mn-lt"/>
                          <a:cs typeface="Arial" pitchFamily="34" charset="0"/>
                        </a:rPr>
                        <a:t>. Maecenas </a:t>
                      </a:r>
                      <a:r>
                        <a:rPr lang="en-GB" sz="1400" b="0" kern="0" dirty="0" err="1">
                          <a:solidFill>
                            <a:schemeClr val="tx1"/>
                          </a:solidFill>
                          <a:latin typeface="+mn-lt"/>
                          <a:cs typeface="Arial" pitchFamily="34" charset="0"/>
                        </a:rPr>
                        <a:t>porttitor</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congue</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massa</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Fusce</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posuere</a:t>
                      </a:r>
                      <a:r>
                        <a:rPr lang="en-GB" sz="1400" b="0" kern="0" dirty="0">
                          <a:solidFill>
                            <a:schemeClr val="tx1"/>
                          </a:solidFill>
                          <a:latin typeface="+mn-lt"/>
                          <a:cs typeface="Arial" pitchFamily="34" charset="0"/>
                        </a:rPr>
                        <a:t>, magna </a:t>
                      </a:r>
                      <a:r>
                        <a:rPr lang="en-GB" sz="1400" b="0" kern="0" dirty="0" err="1">
                          <a:solidFill>
                            <a:schemeClr val="tx1"/>
                          </a:solidFill>
                          <a:latin typeface="+mn-lt"/>
                          <a:cs typeface="Arial" pitchFamily="34" charset="0"/>
                        </a:rPr>
                        <a:t>sed</a:t>
                      </a:r>
                      <a:r>
                        <a:rPr lang="en-GB" sz="1400" b="0" kern="0" dirty="0">
                          <a:solidFill>
                            <a:schemeClr val="tx1"/>
                          </a:solidFill>
                          <a:latin typeface="+mn-lt"/>
                          <a:cs typeface="Arial" pitchFamily="34" charset="0"/>
                        </a:rPr>
                        <a:t> pulvinar</a:t>
                      </a:r>
                    </a:p>
                    <a:p>
                      <a:pPr marL="179705" marR="0" lvl="1" indent="-179705"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400" b="0" kern="0" dirty="0">
                          <a:solidFill>
                            <a:schemeClr val="tx1"/>
                          </a:solidFill>
                          <a:latin typeface="+mn-lt"/>
                          <a:cs typeface="Arial" pitchFamily="34" charset="0"/>
                        </a:rPr>
                        <a:t>Lorem ipsum </a:t>
                      </a:r>
                      <a:r>
                        <a:rPr lang="en-GB" sz="1400" b="0" kern="0" dirty="0" err="1">
                          <a:solidFill>
                            <a:schemeClr val="tx1"/>
                          </a:solidFill>
                          <a:latin typeface="+mn-lt"/>
                          <a:cs typeface="Arial" pitchFamily="34" charset="0"/>
                        </a:rPr>
                        <a:t>dolor</a:t>
                      </a:r>
                      <a:r>
                        <a:rPr lang="en-GB" sz="1400" b="0" kern="0" dirty="0">
                          <a:solidFill>
                            <a:schemeClr val="tx1"/>
                          </a:solidFill>
                          <a:latin typeface="+mn-lt"/>
                          <a:cs typeface="Arial" pitchFamily="34" charset="0"/>
                        </a:rPr>
                        <a:t> sit </a:t>
                      </a:r>
                      <a:r>
                        <a:rPr lang="en-GB" sz="1400" b="0" kern="0" dirty="0" err="1">
                          <a:solidFill>
                            <a:schemeClr val="tx1"/>
                          </a:solidFill>
                          <a:latin typeface="+mn-lt"/>
                          <a:cs typeface="Arial" pitchFamily="34" charset="0"/>
                        </a:rPr>
                        <a:t>amet</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consectetuer</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adipiscing</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elit</a:t>
                      </a:r>
                      <a:r>
                        <a:rPr lang="en-GB" sz="1400" b="0" kern="0" dirty="0">
                          <a:solidFill>
                            <a:schemeClr val="tx1"/>
                          </a:solidFill>
                          <a:latin typeface="+mn-lt"/>
                          <a:cs typeface="Arial" pitchFamily="34" charset="0"/>
                        </a:rPr>
                        <a:t>. Maecenas </a:t>
                      </a:r>
                      <a:r>
                        <a:rPr lang="en-GB" sz="1400" b="0" kern="0" dirty="0" err="1">
                          <a:solidFill>
                            <a:schemeClr val="tx1"/>
                          </a:solidFill>
                          <a:latin typeface="+mn-lt"/>
                          <a:cs typeface="Arial" pitchFamily="34" charset="0"/>
                        </a:rPr>
                        <a:t>porttitor</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congue</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massa</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Fusce</a:t>
                      </a:r>
                      <a:r>
                        <a:rPr lang="en-GB" sz="1400" b="0" kern="0" dirty="0">
                          <a:solidFill>
                            <a:schemeClr val="tx1"/>
                          </a:solidFill>
                          <a:latin typeface="+mn-lt"/>
                          <a:cs typeface="Arial" pitchFamily="34" charset="0"/>
                        </a:rPr>
                        <a:t> </a:t>
                      </a:r>
                      <a:r>
                        <a:rPr lang="en-GB" sz="1400" b="0" kern="0" dirty="0" err="1">
                          <a:solidFill>
                            <a:schemeClr val="tx1"/>
                          </a:solidFill>
                          <a:latin typeface="+mn-lt"/>
                          <a:cs typeface="Arial" pitchFamily="34" charset="0"/>
                        </a:rPr>
                        <a:t>posuere</a:t>
                      </a:r>
                      <a:r>
                        <a:rPr lang="en-GB" sz="1400" b="0" kern="0" dirty="0">
                          <a:solidFill>
                            <a:schemeClr val="tx1"/>
                          </a:solidFill>
                          <a:latin typeface="+mn-lt"/>
                          <a:cs typeface="Arial" pitchFamily="34" charset="0"/>
                        </a:rPr>
                        <a:t>, magna </a:t>
                      </a:r>
                      <a:r>
                        <a:rPr lang="en-GB" sz="1400" b="0" kern="0" dirty="0" err="1">
                          <a:solidFill>
                            <a:schemeClr val="tx1"/>
                          </a:solidFill>
                          <a:latin typeface="+mn-lt"/>
                          <a:cs typeface="Arial" pitchFamily="34" charset="0"/>
                        </a:rPr>
                        <a:t>sed</a:t>
                      </a:r>
                      <a:r>
                        <a:rPr lang="en-GB" sz="1400" b="0" kern="0" dirty="0">
                          <a:solidFill>
                            <a:schemeClr val="tx1"/>
                          </a:solidFill>
                          <a:latin typeface="+mn-lt"/>
                          <a:cs typeface="Arial" pitchFamily="34" charset="0"/>
                        </a:rPr>
                        <a:t> pulvinar</a:t>
                      </a:r>
                    </a:p>
                    <a:p>
                      <a:pPr marL="179705" marR="0" lvl="1" indent="-179705"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endParaRPr lang="en-GB" sz="1400" b="0" kern="0" dirty="0">
                        <a:solidFill>
                          <a:schemeClr val="tx1"/>
                        </a:solidFill>
                        <a:latin typeface="+mn-lt"/>
                        <a:cs typeface="Arial" pitchFamily="34" charset="0"/>
                      </a:endParaRPr>
                    </a:p>
                  </a:txBody>
                  <a:tcPr marT="41564" marB="41564">
                    <a:lnL w="12700" cap="flat" cmpd="sng" algn="ctr">
                      <a:solidFill>
                        <a:schemeClr val="tx2"/>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3454248"/>
                  </a:ext>
                </a:extLst>
              </a:tr>
              <a:tr h="1002337">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Key lever 2</a:t>
                      </a:r>
                    </a:p>
                  </a:txBody>
                  <a:tcPr marT="41564" marB="41564">
                    <a:lnL w="12700" cap="flat" cmpd="sng" algn="ctr">
                      <a:solidFill>
                        <a:schemeClr val="bg1">
                          <a:lumMod val="95000"/>
                        </a:schemeClr>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GB" sz="1300" b="0" i="0" u="none" strike="noStrike" kern="1200" cap="none" spc="0" normalizeH="0" baseline="0" noProof="0" dirty="0">
                        <a:ln>
                          <a:noFill/>
                        </a:ln>
                        <a:solidFill>
                          <a:srgbClr val="000000"/>
                        </a:solidFill>
                        <a:effectLst/>
                        <a:uLnTx/>
                        <a:uFillTx/>
                        <a:latin typeface="Arial"/>
                        <a:ea typeface="+mn-ea"/>
                        <a:cs typeface="+mn-cs"/>
                        <a:sym typeface="Open Sans"/>
                      </a:endParaRPr>
                    </a:p>
                  </a:txBody>
                  <a:tcPr marT="41564" marB="41564">
                    <a:lnL w="762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dirty="0">
                          <a:solidFill>
                            <a:schemeClr val="tx1"/>
                          </a:solidFill>
                          <a:latin typeface="+mn-lt"/>
                          <a:ea typeface="+mn-ea"/>
                          <a:cs typeface="+mn-cs"/>
                        </a:rPr>
                        <a:t>Quantitative impact details</a:t>
                      </a:r>
                    </a:p>
                  </a:txBody>
                  <a:tcPr marT="41564" marB="41564">
                    <a:lnL w="12700" cap="flat" cmpd="sng" algn="ctr">
                      <a:solidFill>
                        <a:schemeClr val="bg1">
                          <a:lumMod val="9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US" sz="1400" b="0" kern="1200" noProof="0">
                        <a:solidFill>
                          <a:schemeClr val="tx1"/>
                        </a:solidFill>
                        <a:latin typeface="+mn-lt"/>
                        <a:ea typeface="+mn-ea"/>
                        <a:cs typeface="+mn-cs"/>
                        <a:sym typeface="Open Sans"/>
                      </a:endParaRPr>
                    </a:p>
                  </a:txBody>
                  <a:tcPr>
                    <a:lnL w="12700" cap="flat" cmpd="sng" algn="ctr">
                      <a:solidFill>
                        <a:schemeClr val="tx2"/>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506439068"/>
                  </a:ext>
                </a:extLst>
              </a:tr>
              <a:tr h="1062139">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Key lever 3</a:t>
                      </a:r>
                    </a:p>
                  </a:txBody>
                  <a:tcPr marT="41564" marB="41564">
                    <a:lnL w="12700" cap="flat" cmpd="sng" algn="ctr">
                      <a:solidFill>
                        <a:schemeClr val="bg1">
                          <a:lumMod val="95000"/>
                        </a:schemeClr>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GB" sz="1300" b="0" i="0" u="none" strike="noStrike" kern="1200" cap="none" spc="0" normalizeH="0" baseline="0" noProof="0" dirty="0">
                        <a:ln>
                          <a:noFill/>
                        </a:ln>
                        <a:solidFill>
                          <a:srgbClr val="000000"/>
                        </a:solidFill>
                        <a:effectLst/>
                        <a:uLnTx/>
                        <a:uFillTx/>
                        <a:latin typeface="Arial"/>
                        <a:ea typeface="+mn-ea"/>
                        <a:cs typeface="+mn-cs"/>
                        <a:sym typeface="Open Sans"/>
                      </a:endParaRPr>
                    </a:p>
                  </a:txBody>
                  <a:tcPr marT="41564" marB="41564">
                    <a:lnL w="762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dirty="0">
                          <a:solidFill>
                            <a:schemeClr val="tx1"/>
                          </a:solidFill>
                          <a:latin typeface="+mn-lt"/>
                          <a:ea typeface="+mn-ea"/>
                          <a:cs typeface="+mn-cs"/>
                        </a:rPr>
                        <a:t>Quantitative impact details</a:t>
                      </a:r>
                    </a:p>
                  </a:txBody>
                  <a:tcPr marT="41564" marB="41564">
                    <a:lnL w="12700" cap="flat" cmpd="sng" algn="ctr">
                      <a:solidFill>
                        <a:schemeClr val="bg1">
                          <a:lumMod val="9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vMerge="1">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US" sz="1400" b="0" kern="1200" noProof="0">
                        <a:solidFill>
                          <a:schemeClr val="tx1"/>
                        </a:solidFill>
                        <a:latin typeface="+mn-lt"/>
                        <a:ea typeface="+mn-ea"/>
                        <a:cs typeface="+mn-cs"/>
                        <a:sym typeface="Open Sans"/>
                      </a:endParaRPr>
                    </a:p>
                  </a:txBody>
                  <a:tcPr>
                    <a:lnL w="12700" cap="flat" cmpd="sng" algn="ctr">
                      <a:solidFill>
                        <a:schemeClr val="tx2"/>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677350318"/>
                  </a:ext>
                </a:extLst>
              </a:tr>
              <a:tr h="1062139">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Key lever 4</a:t>
                      </a:r>
                    </a:p>
                  </a:txBody>
                  <a:tcPr marT="41564" marB="41564">
                    <a:lnL w="12700" cap="flat" cmpd="sng" algn="ctr">
                      <a:solidFill>
                        <a:schemeClr val="bg1">
                          <a:lumMod val="95000"/>
                        </a:schemeClr>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marL="285750" marR="0" lvl="1" indent="-285750" algn="l" defTabSz="1125444" rtl="0" eaLnBrk="1" fontAlgn="base" latinLnBrk="0" hangingPunct="1">
                        <a:lnSpc>
                          <a:spcPct val="120000"/>
                        </a:lnSpc>
                        <a:spcBef>
                          <a:spcPts val="840"/>
                        </a:spcBef>
                        <a:spcAft>
                          <a:spcPts val="0"/>
                        </a:spcAft>
                        <a:buClr>
                          <a:srgbClr val="C2C2C2"/>
                        </a:buClr>
                        <a:buSzPct val="77000"/>
                        <a:buFont typeface="Wingdings 3" panose="05040102010807070707" pitchFamily="18" charset="2"/>
                        <a:buChar char=""/>
                        <a:tabLst/>
                        <a:defRPr/>
                      </a:pPr>
                      <a:endParaRPr kumimoji="0" lang="en-GB" sz="1300" b="0" i="0" u="none" strike="noStrike" kern="1200" cap="none" spc="0" normalizeH="0" baseline="0" noProof="0" dirty="0">
                        <a:ln>
                          <a:noFill/>
                        </a:ln>
                        <a:solidFill>
                          <a:srgbClr val="000000"/>
                        </a:solidFill>
                        <a:effectLst/>
                        <a:uLnTx/>
                        <a:uFillTx/>
                        <a:latin typeface="Arial"/>
                        <a:ea typeface="+mn-ea"/>
                        <a:cs typeface="+mn-cs"/>
                        <a:sym typeface="Open Sans"/>
                      </a:endParaRPr>
                    </a:p>
                  </a:txBody>
                  <a:tcPr marT="41564" marB="41564">
                    <a:lnL w="762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180000" lvl="1" indent="-180000" algn="l" defTabSz="1125444" rtl="0" eaLnBrk="1" fontAlgn="base" hangingPunct="1">
                        <a:spcBef>
                          <a:spcPts val="840"/>
                        </a:spcBef>
                        <a:spcAft>
                          <a:spcPts val="0"/>
                        </a:spcAft>
                        <a:buClr>
                          <a:srgbClr val="C2C2C2"/>
                        </a:buClr>
                        <a:buSzPct val="77000"/>
                        <a:buFont typeface="Wingdings 3" panose="05040102010807070707" pitchFamily="18" charset="2"/>
                        <a:buChar char=""/>
                        <a:defRPr/>
                      </a:pPr>
                      <a:r>
                        <a:rPr lang="en-GB" sz="1400" b="0" kern="1200" noProof="0" dirty="0">
                          <a:solidFill>
                            <a:schemeClr val="tx1"/>
                          </a:solidFill>
                          <a:latin typeface="+mn-lt"/>
                          <a:ea typeface="+mn-ea"/>
                          <a:cs typeface="+mn-cs"/>
                        </a:rPr>
                        <a:t>Quantitative impact details</a:t>
                      </a:r>
                    </a:p>
                  </a:txBody>
                  <a:tcPr marT="41564" marB="41564">
                    <a:lnL w="12700" cap="flat" cmpd="sng" algn="ctr">
                      <a:solidFill>
                        <a:schemeClr val="bg1">
                          <a:lumMod val="9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285750" lvl="1" indent="-285750" algn="l" defTabSz="1125444" rtl="0" eaLnBrk="1" fontAlgn="base" hangingPunct="1">
                        <a:lnSpc>
                          <a:spcPct val="120000"/>
                        </a:lnSpc>
                        <a:spcBef>
                          <a:spcPts val="840"/>
                        </a:spcBef>
                        <a:spcAft>
                          <a:spcPts val="0"/>
                        </a:spcAft>
                        <a:buClr>
                          <a:srgbClr val="C2C2C2"/>
                        </a:buClr>
                        <a:buSzPct val="77000"/>
                        <a:buFont typeface="Wingdings 3" panose="05040102010807070707" pitchFamily="18" charset="2"/>
                        <a:buChar char=""/>
                        <a:defRPr/>
                      </a:pPr>
                      <a:endParaRPr lang="en-US" sz="1400" b="0" kern="1200" noProof="0">
                        <a:solidFill>
                          <a:schemeClr val="tx1"/>
                        </a:solidFill>
                        <a:latin typeface="+mn-lt"/>
                        <a:ea typeface="+mn-ea"/>
                        <a:cs typeface="+mn-cs"/>
                        <a:sym typeface="Open Sans"/>
                      </a:endParaRPr>
                    </a:p>
                  </a:txBody>
                  <a:tcPr>
                    <a:lnL w="12700" cap="flat" cmpd="sng" algn="ctr">
                      <a:solidFill>
                        <a:schemeClr val="tx2"/>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23557266"/>
                  </a:ext>
                </a:extLst>
              </a:tr>
            </a:tbl>
          </a:graphicData>
        </a:graphic>
      </p:graphicFrame>
      <p:sp>
        <p:nvSpPr>
          <p:cNvPr id="4" name="Rectangle 3" hidden="1">
            <a:extLst>
              <a:ext uri="{FF2B5EF4-FFF2-40B4-BE49-F238E27FC236}">
                <a16:creationId xmlns:a16="http://schemas.microsoft.com/office/drawing/2014/main" id="{E16B3DA0-1F5E-4252-B3C3-A5512A3A9F75}"/>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6EFDD406-0516-49CC-AAE7-E5586BA0D186}"/>
              </a:ext>
            </a:extLst>
          </p:cNvPr>
          <p:cNvSpPr>
            <a:spLocks noGrp="1"/>
          </p:cNvSpPr>
          <p:nvPr>
            <p:ph type="title"/>
          </p:nvPr>
        </p:nvSpPr>
        <p:spPr/>
        <p:txBody>
          <a:bodyPr vert="horz"/>
          <a:lstStyle/>
          <a:p>
            <a:r>
              <a:rPr lang="en-GB" dirty="0">
                <a:latin typeface="+mn-lt"/>
              </a:rPr>
              <a:t>Implementation impact assessment</a:t>
            </a:r>
          </a:p>
        </p:txBody>
      </p:sp>
      <p:sp>
        <p:nvSpPr>
          <p:cNvPr id="6" name="Ellipse 5">
            <a:extLst>
              <a:ext uri="{FF2B5EF4-FFF2-40B4-BE49-F238E27FC236}">
                <a16:creationId xmlns:a16="http://schemas.microsoft.com/office/drawing/2014/main" id="{EB23A03D-A5CB-4764-A7A9-50B51832AEC7}"/>
              </a:ext>
            </a:extLst>
          </p:cNvPr>
          <p:cNvSpPr/>
          <p:nvPr/>
        </p:nvSpPr>
        <p:spPr bwMode="auto">
          <a:xfrm>
            <a:off x="3152108" y="2029299"/>
            <a:ext cx="708916" cy="704954"/>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buClr>
                <a:schemeClr val="accent3"/>
              </a:buClr>
              <a:buSzPct val="77000"/>
            </a:pPr>
            <a:r>
              <a:rPr lang="en-GB" dirty="0">
                <a:solidFill>
                  <a:schemeClr val="bg1"/>
                </a:solidFill>
              </a:rPr>
              <a:t>-X%</a:t>
            </a:r>
            <a:endParaRPr lang="en-GB" sz="1400" dirty="0">
              <a:solidFill>
                <a:schemeClr val="bg1"/>
              </a:solidFill>
            </a:endParaRPr>
          </a:p>
        </p:txBody>
      </p:sp>
      <p:sp>
        <p:nvSpPr>
          <p:cNvPr id="14" name="Ellipse 13">
            <a:extLst>
              <a:ext uri="{FF2B5EF4-FFF2-40B4-BE49-F238E27FC236}">
                <a16:creationId xmlns:a16="http://schemas.microsoft.com/office/drawing/2014/main" id="{5EC805AA-2327-4853-89C7-94535E71E57D}"/>
              </a:ext>
            </a:extLst>
          </p:cNvPr>
          <p:cNvSpPr/>
          <p:nvPr/>
        </p:nvSpPr>
        <p:spPr bwMode="auto">
          <a:xfrm>
            <a:off x="3152108" y="3080516"/>
            <a:ext cx="708916" cy="704954"/>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X%</a:t>
            </a:r>
            <a:endParaRPr lang="en-GB" sz="1400" dirty="0">
              <a:solidFill>
                <a:schemeClr val="bg1"/>
              </a:solidFill>
            </a:endParaRPr>
          </a:p>
        </p:txBody>
      </p:sp>
      <p:sp>
        <p:nvSpPr>
          <p:cNvPr id="15" name="Ellipse 14">
            <a:extLst>
              <a:ext uri="{FF2B5EF4-FFF2-40B4-BE49-F238E27FC236}">
                <a16:creationId xmlns:a16="http://schemas.microsoft.com/office/drawing/2014/main" id="{C76B81C5-375C-4EF4-81DA-15B43E83DFC5}"/>
              </a:ext>
            </a:extLst>
          </p:cNvPr>
          <p:cNvSpPr/>
          <p:nvPr/>
        </p:nvSpPr>
        <p:spPr bwMode="auto">
          <a:xfrm>
            <a:off x="3152108" y="4131733"/>
            <a:ext cx="708916" cy="704954"/>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X%</a:t>
            </a:r>
            <a:endParaRPr lang="en-GB" sz="1400" dirty="0">
              <a:solidFill>
                <a:schemeClr val="bg1"/>
              </a:solidFill>
            </a:endParaRPr>
          </a:p>
        </p:txBody>
      </p:sp>
      <p:sp>
        <p:nvSpPr>
          <p:cNvPr id="16" name="Ellipse 15">
            <a:extLst>
              <a:ext uri="{FF2B5EF4-FFF2-40B4-BE49-F238E27FC236}">
                <a16:creationId xmlns:a16="http://schemas.microsoft.com/office/drawing/2014/main" id="{10F590C8-99DE-4CEF-850B-9BCE375BBD74}"/>
              </a:ext>
            </a:extLst>
          </p:cNvPr>
          <p:cNvSpPr/>
          <p:nvPr/>
        </p:nvSpPr>
        <p:spPr bwMode="auto">
          <a:xfrm>
            <a:off x="3152108" y="5182951"/>
            <a:ext cx="708916" cy="704954"/>
          </a:xfrm>
          <a:prstGeom prst="ellipse">
            <a:avLst/>
          </a:prstGeom>
          <a:solidFill>
            <a:schemeClr val="bg1">
              <a:lumMod val="50000"/>
            </a:schemeClr>
          </a:solidFill>
          <a:ln w="19050" cap="flat" cmpd="sng" algn="ctr">
            <a:noFill/>
            <a:prstDash val="solid"/>
            <a:round/>
            <a:headEnd type="none" w="med" len="med"/>
            <a:tailEnd type="none" w="med" len="med"/>
          </a:ln>
          <a:effec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X%</a:t>
            </a:r>
            <a:endParaRPr lang="en-GB" dirty="0">
              <a:solidFill>
                <a:schemeClr val="bg1"/>
              </a:solidFill>
            </a:endParaRPr>
          </a:p>
        </p:txBody>
      </p:sp>
    </p:spTree>
    <p:extLst>
      <p:ext uri="{BB962C8B-B14F-4D97-AF65-F5344CB8AC3E}">
        <p14:creationId xmlns:p14="http://schemas.microsoft.com/office/powerpoint/2010/main" val="24229961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25FE2F1-AF3C-1E90-02B9-C79ADBF4BFE2}"/>
              </a:ext>
            </a:extLst>
          </p:cNvPr>
          <p:cNvGraphicFramePr>
            <a:graphicFrameLocks noChangeAspect="1"/>
          </p:cNvGraphicFramePr>
          <p:nvPr>
            <p:custDataLst>
              <p:tags r:id="rId1"/>
            </p:custDataLst>
            <p:extLst>
              <p:ext uri="{D42A27DB-BD31-4B8C-83A1-F6EECF244321}">
                <p14:modId xmlns:p14="http://schemas.microsoft.com/office/powerpoint/2010/main" val="227900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025FE2F1-AF3C-1E90-02B9-C79ADBF4BF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FDC285E-7830-2F31-BDA6-C9AE70E0863B}"/>
              </a:ext>
            </a:extLst>
          </p:cNvPr>
          <p:cNvSpPr>
            <a:spLocks noGrp="1"/>
          </p:cNvSpPr>
          <p:nvPr>
            <p:ph type="title"/>
          </p:nvPr>
        </p:nvSpPr>
        <p:spPr/>
        <p:txBody>
          <a:bodyPr vert="horz"/>
          <a:lstStyle/>
          <a:p>
            <a:r>
              <a:rPr lang="en-GB"/>
              <a:t>7 criteria slide</a:t>
            </a:r>
            <a:endParaRPr lang="en-GB" dirty="0"/>
          </a:p>
        </p:txBody>
      </p:sp>
      <p:grpSp>
        <p:nvGrpSpPr>
          <p:cNvPr id="14" name="Groupe 13">
            <a:extLst>
              <a:ext uri="{FF2B5EF4-FFF2-40B4-BE49-F238E27FC236}">
                <a16:creationId xmlns:a16="http://schemas.microsoft.com/office/drawing/2014/main" id="{15F76ABC-9933-ED5B-A4DC-BC0AB85CD183}"/>
              </a:ext>
            </a:extLst>
          </p:cNvPr>
          <p:cNvGrpSpPr/>
          <p:nvPr/>
        </p:nvGrpSpPr>
        <p:grpSpPr>
          <a:xfrm>
            <a:off x="4363855" y="2602105"/>
            <a:ext cx="2900710" cy="3081156"/>
            <a:chOff x="4108087" y="1512802"/>
            <a:chExt cx="3990614" cy="4238859"/>
          </a:xfrm>
        </p:grpSpPr>
        <p:sp>
          <p:nvSpPr>
            <p:cNvPr id="44" name="Google Shape;9227;p340">
              <a:extLst>
                <a:ext uri="{FF2B5EF4-FFF2-40B4-BE49-F238E27FC236}">
                  <a16:creationId xmlns:a16="http://schemas.microsoft.com/office/drawing/2014/main" id="{1267311F-8DD3-DACD-C1DE-14FEED36B77A}"/>
                </a:ext>
              </a:extLst>
            </p:cNvPr>
            <p:cNvSpPr/>
            <p:nvPr/>
          </p:nvSpPr>
          <p:spPr>
            <a:xfrm rot="7858129">
              <a:off x="6726711" y="4394589"/>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38" name="Google Shape;9227;p340">
              <a:extLst>
                <a:ext uri="{FF2B5EF4-FFF2-40B4-BE49-F238E27FC236}">
                  <a16:creationId xmlns:a16="http://schemas.microsoft.com/office/drawing/2014/main" id="{0140E505-2C03-E399-A7C1-27F4D1FA4F6D}"/>
                </a:ext>
              </a:extLst>
            </p:cNvPr>
            <p:cNvSpPr/>
            <p:nvPr/>
          </p:nvSpPr>
          <p:spPr>
            <a:xfrm rot="4733265">
              <a:off x="7063950" y="3004183"/>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35" name="Google Shape;9227;p340">
              <a:extLst>
                <a:ext uri="{FF2B5EF4-FFF2-40B4-BE49-F238E27FC236}">
                  <a16:creationId xmlns:a16="http://schemas.microsoft.com/office/drawing/2014/main" id="{C154ACC6-AD55-A4D9-C666-B4D42695E23B}"/>
                </a:ext>
              </a:extLst>
            </p:cNvPr>
            <p:cNvSpPr/>
            <p:nvPr/>
          </p:nvSpPr>
          <p:spPr>
            <a:xfrm rot="1718277">
              <a:off x="6252720" y="1870502"/>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29" name="Google Shape;9227;p340">
              <a:extLst>
                <a:ext uri="{FF2B5EF4-FFF2-40B4-BE49-F238E27FC236}">
                  <a16:creationId xmlns:a16="http://schemas.microsoft.com/office/drawing/2014/main" id="{09C04E2B-6D13-7BE0-9DD8-59873A42F7C4}"/>
                </a:ext>
              </a:extLst>
            </p:cNvPr>
            <p:cNvSpPr/>
            <p:nvPr/>
          </p:nvSpPr>
          <p:spPr>
            <a:xfrm rot="20230608">
              <a:off x="4884042" y="1789139"/>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45" name="Google Shape;9227;p340">
              <a:extLst>
                <a:ext uri="{FF2B5EF4-FFF2-40B4-BE49-F238E27FC236}">
                  <a16:creationId xmlns:a16="http://schemas.microsoft.com/office/drawing/2014/main" id="{0C7FCA3C-6763-A22E-009B-48E71DF05836}"/>
                </a:ext>
              </a:extLst>
            </p:cNvPr>
            <p:cNvSpPr/>
            <p:nvPr/>
          </p:nvSpPr>
          <p:spPr>
            <a:xfrm rot="17100327">
              <a:off x="3973654" y="2843800"/>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41" name="Google Shape;9227;p340">
              <a:extLst>
                <a:ext uri="{FF2B5EF4-FFF2-40B4-BE49-F238E27FC236}">
                  <a16:creationId xmlns:a16="http://schemas.microsoft.com/office/drawing/2014/main" id="{5F2BD132-1E14-36B4-6D37-6FB8F2CE1ABB}"/>
                </a:ext>
              </a:extLst>
            </p:cNvPr>
            <p:cNvSpPr/>
            <p:nvPr/>
          </p:nvSpPr>
          <p:spPr>
            <a:xfrm rot="14001194">
              <a:off x="4237066" y="4262431"/>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32" name="Google Shape;9227;p340">
              <a:extLst>
                <a:ext uri="{FF2B5EF4-FFF2-40B4-BE49-F238E27FC236}">
                  <a16:creationId xmlns:a16="http://schemas.microsoft.com/office/drawing/2014/main" id="{54E8C51A-557A-CAC2-FD6C-49457A035325}"/>
                </a:ext>
              </a:extLst>
            </p:cNvPr>
            <p:cNvSpPr/>
            <p:nvPr/>
          </p:nvSpPr>
          <p:spPr>
            <a:xfrm rot="10955215">
              <a:off x="5465202" y="4917651"/>
              <a:ext cx="1170761" cy="566505"/>
            </a:xfrm>
            <a:custGeom>
              <a:avLst/>
              <a:gdLst/>
              <a:ahLst/>
              <a:cxnLst/>
              <a:rect l="l" t="t" r="r" b="b"/>
              <a:pathLst>
                <a:path w="1524000" h="1633533" extrusionOk="0">
                  <a:moveTo>
                    <a:pt x="0" y="1633533"/>
                  </a:moveTo>
                  <a:lnTo>
                    <a:pt x="742950" y="0"/>
                  </a:lnTo>
                  <a:lnTo>
                    <a:pt x="1524000" y="0"/>
                  </a:lnTo>
                  <a:lnTo>
                    <a:pt x="781050" y="1633533"/>
                  </a:lnTo>
                  <a:lnTo>
                    <a:pt x="0" y="1633533"/>
                  </a:lnTo>
                  <a:close/>
                </a:path>
              </a:pathLst>
            </a:custGeom>
            <a:solidFill>
              <a:schemeClr val="tx2">
                <a:lumMod val="50000"/>
              </a:schemeClr>
            </a:solidFill>
            <a:ln>
              <a:noFill/>
            </a:ln>
          </p:spPr>
          <p:txBody>
            <a:bodyPr spcFirstLastPara="1" wrap="square" lIns="91425" tIns="45700" rIns="91425" bIns="45700" anchor="ctr" anchorCtr="0">
              <a:noAutofit/>
            </a:bodyPr>
            <a:lstStyle/>
            <a:p>
              <a:pPr eaLnBrk="1" fontAlgn="auto" hangingPunct="1">
                <a:spcBef>
                  <a:spcPts val="0"/>
                </a:spcBef>
                <a:spcAft>
                  <a:spcPts val="0"/>
                </a:spcAft>
                <a:buClr>
                  <a:srgbClr val="000000"/>
                </a:buClr>
                <a:defRPr/>
              </a:pPr>
              <a:endParaRPr lang="en-GB" sz="2000" kern="0" dirty="0">
                <a:solidFill>
                  <a:srgbClr val="FFFFFF"/>
                </a:solidFill>
                <a:latin typeface="Arial"/>
                <a:ea typeface="Arial"/>
                <a:cs typeface="Arial"/>
                <a:sym typeface="Arial"/>
              </a:endParaRPr>
            </a:p>
          </p:txBody>
        </p:sp>
        <p:sp>
          <p:nvSpPr>
            <p:cNvPr id="4" name="Heptagone 3">
              <a:extLst>
                <a:ext uri="{FF2B5EF4-FFF2-40B4-BE49-F238E27FC236}">
                  <a16:creationId xmlns:a16="http://schemas.microsoft.com/office/drawing/2014/main" id="{A510CEF9-5D30-A183-4F76-8B84E037CDBC}"/>
                </a:ext>
              </a:extLst>
            </p:cNvPr>
            <p:cNvSpPr/>
            <p:nvPr/>
          </p:nvSpPr>
          <p:spPr bwMode="auto">
            <a:xfrm>
              <a:off x="4138612" y="1512802"/>
              <a:ext cx="3914775" cy="3914775"/>
            </a:xfrm>
            <a:prstGeom prst="heptagon">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sz="1600" dirty="0"/>
                <a:t>Objective</a:t>
              </a:r>
            </a:p>
          </p:txBody>
        </p:sp>
        <p:sp>
          <p:nvSpPr>
            <p:cNvPr id="33" name="Flèche : droite 32">
              <a:extLst>
                <a:ext uri="{FF2B5EF4-FFF2-40B4-BE49-F238E27FC236}">
                  <a16:creationId xmlns:a16="http://schemas.microsoft.com/office/drawing/2014/main" id="{87189B70-198C-58C7-BADE-582365A3760E}"/>
                </a:ext>
              </a:extLst>
            </p:cNvPr>
            <p:cNvSpPr/>
            <p:nvPr/>
          </p:nvSpPr>
          <p:spPr bwMode="auto">
            <a:xfrm rot="13922452">
              <a:off x="4956818" y="4564937"/>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4" name="Parallélogramme 33">
              <a:extLst>
                <a:ext uri="{FF2B5EF4-FFF2-40B4-BE49-F238E27FC236}">
                  <a16:creationId xmlns:a16="http://schemas.microsoft.com/office/drawing/2014/main" id="{C5245224-F38A-4BFC-023E-23A801E25F10}"/>
                </a:ext>
              </a:extLst>
            </p:cNvPr>
            <p:cNvSpPr/>
            <p:nvPr/>
          </p:nvSpPr>
          <p:spPr bwMode="auto">
            <a:xfrm rot="3128574">
              <a:off x="5042749" y="4991528"/>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2" name="Flèche : droite 41">
              <a:extLst>
                <a:ext uri="{FF2B5EF4-FFF2-40B4-BE49-F238E27FC236}">
                  <a16:creationId xmlns:a16="http://schemas.microsoft.com/office/drawing/2014/main" id="{1F72E96E-30E1-9726-E3F2-075E357F485F}"/>
                </a:ext>
              </a:extLst>
            </p:cNvPr>
            <p:cNvSpPr/>
            <p:nvPr/>
          </p:nvSpPr>
          <p:spPr bwMode="auto">
            <a:xfrm rot="16968431">
              <a:off x="4166275" y="3421672"/>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3" name="Parallélogramme 42">
              <a:extLst>
                <a:ext uri="{FF2B5EF4-FFF2-40B4-BE49-F238E27FC236}">
                  <a16:creationId xmlns:a16="http://schemas.microsoft.com/office/drawing/2014/main" id="{1B039BDD-1FDA-394A-E589-F061088EC317}"/>
                </a:ext>
              </a:extLst>
            </p:cNvPr>
            <p:cNvSpPr/>
            <p:nvPr/>
          </p:nvSpPr>
          <p:spPr bwMode="auto">
            <a:xfrm rot="6174553">
              <a:off x="3958311" y="3914135"/>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6" name="Flèche : droite 45">
              <a:extLst>
                <a:ext uri="{FF2B5EF4-FFF2-40B4-BE49-F238E27FC236}">
                  <a16:creationId xmlns:a16="http://schemas.microsoft.com/office/drawing/2014/main" id="{8F1349BE-2FB9-E8F1-E540-2CE513C2E419}"/>
                </a:ext>
              </a:extLst>
            </p:cNvPr>
            <p:cNvSpPr/>
            <p:nvPr/>
          </p:nvSpPr>
          <p:spPr bwMode="auto">
            <a:xfrm rot="20067564">
              <a:off x="4568052" y="2038943"/>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7" name="Parallélogramme 46">
              <a:extLst>
                <a:ext uri="{FF2B5EF4-FFF2-40B4-BE49-F238E27FC236}">
                  <a16:creationId xmlns:a16="http://schemas.microsoft.com/office/drawing/2014/main" id="{6B223969-F857-27C9-8C30-4193B4E2AD1B}"/>
                </a:ext>
              </a:extLst>
            </p:cNvPr>
            <p:cNvSpPr/>
            <p:nvPr/>
          </p:nvSpPr>
          <p:spPr bwMode="auto">
            <a:xfrm rot="9273686">
              <a:off x="4120797" y="2340545"/>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0" name="Flèche : droite 29">
              <a:extLst>
                <a:ext uri="{FF2B5EF4-FFF2-40B4-BE49-F238E27FC236}">
                  <a16:creationId xmlns:a16="http://schemas.microsoft.com/office/drawing/2014/main" id="{5D3BB0E7-FEA7-087B-2010-E26C9964A115}"/>
                </a:ext>
              </a:extLst>
            </p:cNvPr>
            <p:cNvSpPr/>
            <p:nvPr/>
          </p:nvSpPr>
          <p:spPr bwMode="auto">
            <a:xfrm rot="1597845">
              <a:off x="5864093" y="1535076"/>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1" name="Parallélogramme 30">
              <a:extLst>
                <a:ext uri="{FF2B5EF4-FFF2-40B4-BE49-F238E27FC236}">
                  <a16:creationId xmlns:a16="http://schemas.microsoft.com/office/drawing/2014/main" id="{DD5DA7F0-3E1E-34DA-BE79-F284E339977C}"/>
                </a:ext>
              </a:extLst>
            </p:cNvPr>
            <p:cNvSpPr/>
            <p:nvPr/>
          </p:nvSpPr>
          <p:spPr bwMode="auto">
            <a:xfrm rot="12403967">
              <a:off x="5419469" y="1527743"/>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6" name="Flèche : droite 35">
              <a:extLst>
                <a:ext uri="{FF2B5EF4-FFF2-40B4-BE49-F238E27FC236}">
                  <a16:creationId xmlns:a16="http://schemas.microsoft.com/office/drawing/2014/main" id="{CB223858-E9AC-9FE8-D565-7DC33A992875}"/>
                </a:ext>
              </a:extLst>
            </p:cNvPr>
            <p:cNvSpPr/>
            <p:nvPr/>
          </p:nvSpPr>
          <p:spPr bwMode="auto">
            <a:xfrm rot="4685514">
              <a:off x="7040701" y="2251908"/>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7" name="Parallélogramme 36">
              <a:extLst>
                <a:ext uri="{FF2B5EF4-FFF2-40B4-BE49-F238E27FC236}">
                  <a16:creationId xmlns:a16="http://schemas.microsoft.com/office/drawing/2014/main" id="{5C1295DE-F1CA-6C6F-053E-FC3A35B12CF0}"/>
                </a:ext>
              </a:extLst>
            </p:cNvPr>
            <p:cNvSpPr/>
            <p:nvPr/>
          </p:nvSpPr>
          <p:spPr bwMode="auto">
            <a:xfrm rot="15491636">
              <a:off x="6837436" y="2058059"/>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39" name="Flèche : droite 38">
              <a:extLst>
                <a:ext uri="{FF2B5EF4-FFF2-40B4-BE49-F238E27FC236}">
                  <a16:creationId xmlns:a16="http://schemas.microsoft.com/office/drawing/2014/main" id="{B185B7B0-B8E0-D8D8-E6A5-B3A13B2F49B6}"/>
                </a:ext>
              </a:extLst>
            </p:cNvPr>
            <p:cNvSpPr/>
            <p:nvPr/>
          </p:nvSpPr>
          <p:spPr bwMode="auto">
            <a:xfrm rot="7700502">
              <a:off x="7251343" y="3632239"/>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0" name="Parallélogramme 39">
              <a:extLst>
                <a:ext uri="{FF2B5EF4-FFF2-40B4-BE49-F238E27FC236}">
                  <a16:creationId xmlns:a16="http://schemas.microsoft.com/office/drawing/2014/main" id="{DC99BB1E-E94B-793C-D49D-AA6CAE49677F}"/>
                </a:ext>
              </a:extLst>
            </p:cNvPr>
            <p:cNvSpPr/>
            <p:nvPr/>
          </p:nvSpPr>
          <p:spPr bwMode="auto">
            <a:xfrm rot="18506624">
              <a:off x="7338567" y="3506307"/>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48" name="Flèche : droite 47">
              <a:extLst>
                <a:ext uri="{FF2B5EF4-FFF2-40B4-BE49-F238E27FC236}">
                  <a16:creationId xmlns:a16="http://schemas.microsoft.com/office/drawing/2014/main" id="{9D91EE2A-667D-AFE9-D6E0-40D1418D42FC}"/>
                </a:ext>
              </a:extLst>
            </p:cNvPr>
            <p:cNvSpPr/>
            <p:nvPr/>
          </p:nvSpPr>
          <p:spPr bwMode="auto">
            <a:xfrm rot="10825366">
              <a:off x="6326053" y="4698850"/>
              <a:ext cx="721334" cy="837710"/>
            </a:xfrm>
            <a:prstGeom prst="rightArrow">
              <a:avLst>
                <a:gd name="adj1" fmla="val 64235"/>
                <a:gd name="adj2" fmla="val 35085"/>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51" name="Parallélogramme 50">
              <a:extLst>
                <a:ext uri="{FF2B5EF4-FFF2-40B4-BE49-F238E27FC236}">
                  <a16:creationId xmlns:a16="http://schemas.microsoft.com/office/drawing/2014/main" id="{9F2FFE10-CEFC-6330-DFD8-3AA5773AEB7E}"/>
                </a:ext>
              </a:extLst>
            </p:cNvPr>
            <p:cNvSpPr/>
            <p:nvPr/>
          </p:nvSpPr>
          <p:spPr bwMode="auto">
            <a:xfrm rot="31488">
              <a:off x="6546918" y="4850912"/>
              <a:ext cx="982199" cy="538068"/>
            </a:xfrm>
            <a:prstGeom prst="parallelogram">
              <a:avLst>
                <a:gd name="adj" fmla="val 77621"/>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88" indent="-179388" algn="l">
                <a:buClr>
                  <a:schemeClr val="accent3"/>
                </a:buClr>
                <a:buSzPct val="77000"/>
                <a:buFont typeface="Wingdings 3" panose="05040102010807070707" pitchFamily="18" charset="2"/>
                <a:buChar char=""/>
              </a:pPr>
              <a:endParaRPr lang="en-GB" sz="1400" dirty="0"/>
            </a:p>
          </p:txBody>
        </p:sp>
        <p:sp>
          <p:nvSpPr>
            <p:cNvPr id="13" name="ZoneTexte 12">
              <a:extLst>
                <a:ext uri="{FF2B5EF4-FFF2-40B4-BE49-F238E27FC236}">
                  <a16:creationId xmlns:a16="http://schemas.microsoft.com/office/drawing/2014/main" id="{EEB28AC8-A3C8-B3D7-9C96-03542CE51725}"/>
                </a:ext>
              </a:extLst>
            </p:cNvPr>
            <p:cNvSpPr txBox="1"/>
            <p:nvPr/>
          </p:nvSpPr>
          <p:spPr>
            <a:xfrm>
              <a:off x="6136361" y="1798181"/>
              <a:ext cx="342900" cy="496435"/>
            </a:xfrm>
            <a:prstGeom prst="rect">
              <a:avLst/>
            </a:prstGeom>
            <a:noFill/>
          </p:spPr>
          <p:txBody>
            <a:bodyPr wrap="square" lIns="72000" tIns="72000" rIns="72000" bIns="72000" rtlCol="0">
              <a:spAutoFit/>
            </a:bodyPr>
            <a:lstStyle/>
            <a:p>
              <a:r>
                <a:rPr lang="en-GB">
                  <a:solidFill>
                    <a:schemeClr val="bg1"/>
                  </a:solidFill>
                </a:rPr>
                <a:t>1</a:t>
              </a:r>
              <a:endParaRPr lang="en-GB" dirty="0">
                <a:solidFill>
                  <a:schemeClr val="bg1"/>
                </a:solidFill>
              </a:endParaRPr>
            </a:p>
          </p:txBody>
        </p:sp>
        <p:sp>
          <p:nvSpPr>
            <p:cNvPr id="52" name="ZoneTexte 51">
              <a:extLst>
                <a:ext uri="{FF2B5EF4-FFF2-40B4-BE49-F238E27FC236}">
                  <a16:creationId xmlns:a16="http://schemas.microsoft.com/office/drawing/2014/main" id="{B6A1E9E4-1E1A-0D92-4AAE-36F9E82A69E3}"/>
                </a:ext>
              </a:extLst>
            </p:cNvPr>
            <p:cNvSpPr txBox="1"/>
            <p:nvPr/>
          </p:nvSpPr>
          <p:spPr>
            <a:xfrm>
              <a:off x="7255239" y="2551109"/>
              <a:ext cx="342900" cy="496435"/>
            </a:xfrm>
            <a:prstGeom prst="rect">
              <a:avLst/>
            </a:prstGeom>
            <a:noFill/>
          </p:spPr>
          <p:txBody>
            <a:bodyPr wrap="square" lIns="72000" tIns="72000" rIns="72000" bIns="72000" rtlCol="0">
              <a:spAutoFit/>
            </a:bodyPr>
            <a:lstStyle/>
            <a:p>
              <a:r>
                <a:rPr lang="en-GB">
                  <a:solidFill>
                    <a:schemeClr val="bg1"/>
                  </a:solidFill>
                </a:rPr>
                <a:t>2</a:t>
              </a:r>
              <a:endParaRPr lang="en-GB" dirty="0">
                <a:solidFill>
                  <a:schemeClr val="bg1"/>
                </a:solidFill>
              </a:endParaRPr>
            </a:p>
          </p:txBody>
        </p:sp>
        <p:sp>
          <p:nvSpPr>
            <p:cNvPr id="53" name="ZoneTexte 52">
              <a:extLst>
                <a:ext uri="{FF2B5EF4-FFF2-40B4-BE49-F238E27FC236}">
                  <a16:creationId xmlns:a16="http://schemas.microsoft.com/office/drawing/2014/main" id="{DFCD913A-D123-569E-988A-E068567F88B2}"/>
                </a:ext>
              </a:extLst>
            </p:cNvPr>
            <p:cNvSpPr txBox="1"/>
            <p:nvPr/>
          </p:nvSpPr>
          <p:spPr>
            <a:xfrm>
              <a:off x="7401367" y="3894882"/>
              <a:ext cx="342900" cy="496435"/>
            </a:xfrm>
            <a:prstGeom prst="rect">
              <a:avLst/>
            </a:prstGeom>
            <a:noFill/>
          </p:spPr>
          <p:txBody>
            <a:bodyPr wrap="square" lIns="72000" tIns="72000" rIns="72000" bIns="72000" rtlCol="0">
              <a:spAutoFit/>
            </a:bodyPr>
            <a:lstStyle/>
            <a:p>
              <a:r>
                <a:rPr lang="en-GB">
                  <a:solidFill>
                    <a:schemeClr val="bg1"/>
                  </a:solidFill>
                </a:rPr>
                <a:t>3</a:t>
              </a:r>
              <a:endParaRPr lang="en-GB" dirty="0">
                <a:solidFill>
                  <a:schemeClr val="bg1"/>
                </a:solidFill>
              </a:endParaRPr>
            </a:p>
          </p:txBody>
        </p:sp>
        <p:sp>
          <p:nvSpPr>
            <p:cNvPr id="54" name="ZoneTexte 53">
              <a:extLst>
                <a:ext uri="{FF2B5EF4-FFF2-40B4-BE49-F238E27FC236}">
                  <a16:creationId xmlns:a16="http://schemas.microsoft.com/office/drawing/2014/main" id="{A3934F70-387A-1A06-D3AC-00BF2CD15359}"/>
                </a:ext>
              </a:extLst>
            </p:cNvPr>
            <p:cNvSpPr txBox="1"/>
            <p:nvPr/>
          </p:nvSpPr>
          <p:spPr>
            <a:xfrm>
              <a:off x="6433592" y="4921096"/>
              <a:ext cx="342900" cy="496435"/>
            </a:xfrm>
            <a:prstGeom prst="rect">
              <a:avLst/>
            </a:prstGeom>
            <a:noFill/>
          </p:spPr>
          <p:txBody>
            <a:bodyPr wrap="square" lIns="72000" tIns="72000" rIns="72000" bIns="72000" rtlCol="0">
              <a:spAutoFit/>
            </a:bodyPr>
            <a:lstStyle/>
            <a:p>
              <a:r>
                <a:rPr lang="en-GB">
                  <a:solidFill>
                    <a:schemeClr val="bg1"/>
                  </a:solidFill>
                </a:rPr>
                <a:t>4</a:t>
              </a:r>
              <a:endParaRPr lang="en-GB" dirty="0">
                <a:solidFill>
                  <a:schemeClr val="bg1"/>
                </a:solidFill>
              </a:endParaRPr>
            </a:p>
          </p:txBody>
        </p:sp>
        <p:sp>
          <p:nvSpPr>
            <p:cNvPr id="55" name="ZoneTexte 54">
              <a:extLst>
                <a:ext uri="{FF2B5EF4-FFF2-40B4-BE49-F238E27FC236}">
                  <a16:creationId xmlns:a16="http://schemas.microsoft.com/office/drawing/2014/main" id="{0A62E5A0-115A-3326-99BA-FB40C21D7F61}"/>
                </a:ext>
              </a:extLst>
            </p:cNvPr>
            <p:cNvSpPr txBox="1"/>
            <p:nvPr/>
          </p:nvSpPr>
          <p:spPr>
            <a:xfrm>
              <a:off x="5089342" y="4743336"/>
              <a:ext cx="342900" cy="496435"/>
            </a:xfrm>
            <a:prstGeom prst="rect">
              <a:avLst/>
            </a:prstGeom>
            <a:noFill/>
          </p:spPr>
          <p:txBody>
            <a:bodyPr wrap="square" lIns="72000" tIns="72000" rIns="72000" bIns="72000" rtlCol="0">
              <a:spAutoFit/>
            </a:bodyPr>
            <a:lstStyle/>
            <a:p>
              <a:r>
                <a:rPr lang="en-GB">
                  <a:solidFill>
                    <a:schemeClr val="bg1"/>
                  </a:solidFill>
                </a:rPr>
                <a:t>5</a:t>
              </a:r>
              <a:endParaRPr lang="en-GB" dirty="0">
                <a:solidFill>
                  <a:schemeClr val="bg1"/>
                </a:solidFill>
              </a:endParaRPr>
            </a:p>
          </p:txBody>
        </p:sp>
        <p:sp>
          <p:nvSpPr>
            <p:cNvPr id="56" name="ZoneTexte 55">
              <a:extLst>
                <a:ext uri="{FF2B5EF4-FFF2-40B4-BE49-F238E27FC236}">
                  <a16:creationId xmlns:a16="http://schemas.microsoft.com/office/drawing/2014/main" id="{1BC6501D-3809-3B28-EFF5-5F8901E22734}"/>
                </a:ext>
              </a:extLst>
            </p:cNvPr>
            <p:cNvSpPr txBox="1"/>
            <p:nvPr/>
          </p:nvSpPr>
          <p:spPr>
            <a:xfrm>
              <a:off x="4355493" y="3594916"/>
              <a:ext cx="342900" cy="496435"/>
            </a:xfrm>
            <a:prstGeom prst="rect">
              <a:avLst/>
            </a:prstGeom>
            <a:noFill/>
          </p:spPr>
          <p:txBody>
            <a:bodyPr wrap="square" lIns="72000" tIns="72000" rIns="72000" bIns="72000" rtlCol="0">
              <a:spAutoFit/>
            </a:bodyPr>
            <a:lstStyle/>
            <a:p>
              <a:r>
                <a:rPr lang="en-GB">
                  <a:solidFill>
                    <a:schemeClr val="bg1"/>
                  </a:solidFill>
                </a:rPr>
                <a:t>6</a:t>
              </a:r>
              <a:endParaRPr lang="en-GB" dirty="0">
                <a:solidFill>
                  <a:schemeClr val="bg1"/>
                </a:solidFill>
              </a:endParaRPr>
            </a:p>
          </p:txBody>
        </p:sp>
        <p:sp>
          <p:nvSpPr>
            <p:cNvPr id="57" name="ZoneTexte 56">
              <a:extLst>
                <a:ext uri="{FF2B5EF4-FFF2-40B4-BE49-F238E27FC236}">
                  <a16:creationId xmlns:a16="http://schemas.microsoft.com/office/drawing/2014/main" id="{FA859726-6023-08A1-71C3-3FF1D706284B}"/>
                </a:ext>
              </a:extLst>
            </p:cNvPr>
            <p:cNvSpPr txBox="1"/>
            <p:nvPr/>
          </p:nvSpPr>
          <p:spPr>
            <a:xfrm>
              <a:off x="4785178" y="2233129"/>
              <a:ext cx="342900" cy="496435"/>
            </a:xfrm>
            <a:prstGeom prst="rect">
              <a:avLst/>
            </a:prstGeom>
            <a:noFill/>
          </p:spPr>
          <p:txBody>
            <a:bodyPr wrap="square" lIns="72000" tIns="72000" rIns="72000" bIns="72000" rtlCol="0">
              <a:spAutoFit/>
            </a:bodyPr>
            <a:lstStyle/>
            <a:p>
              <a:r>
                <a:rPr lang="en-GB">
                  <a:solidFill>
                    <a:schemeClr val="bg1"/>
                  </a:solidFill>
                </a:rPr>
                <a:t>7</a:t>
              </a:r>
              <a:endParaRPr lang="en-GB" dirty="0">
                <a:solidFill>
                  <a:schemeClr val="bg1"/>
                </a:solidFill>
              </a:endParaRPr>
            </a:p>
          </p:txBody>
        </p:sp>
      </p:grpSp>
      <p:sp>
        <p:nvSpPr>
          <p:cNvPr id="59" name="Espace réservé du contenu 5">
            <a:extLst>
              <a:ext uri="{FF2B5EF4-FFF2-40B4-BE49-F238E27FC236}">
                <a16:creationId xmlns:a16="http://schemas.microsoft.com/office/drawing/2014/main" id="{D5251704-F2B2-F425-5BCA-4093EB0C34C2}"/>
              </a:ext>
            </a:extLst>
          </p:cNvPr>
          <p:cNvSpPr txBox="1">
            <a:spLocks/>
          </p:cNvSpPr>
          <p:nvPr/>
        </p:nvSpPr>
        <p:spPr>
          <a:xfrm>
            <a:off x="4841640" y="1101600"/>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1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60" name="Flèche : pentagone 59">
            <a:extLst>
              <a:ext uri="{FF2B5EF4-FFF2-40B4-BE49-F238E27FC236}">
                <a16:creationId xmlns:a16="http://schemas.microsoft.com/office/drawing/2014/main" id="{4D465C8C-8475-4A33-FEEF-738822EA22DD}"/>
              </a:ext>
            </a:extLst>
          </p:cNvPr>
          <p:cNvSpPr/>
          <p:nvPr/>
        </p:nvSpPr>
        <p:spPr bwMode="auto">
          <a:xfrm>
            <a:off x="4241466" y="1136413"/>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1</a:t>
            </a:r>
            <a:endParaRPr lang="en-GB" sz="1400" dirty="0">
              <a:solidFill>
                <a:schemeClr val="bg1"/>
              </a:solidFill>
            </a:endParaRPr>
          </a:p>
        </p:txBody>
      </p:sp>
      <p:sp>
        <p:nvSpPr>
          <p:cNvPr id="61" name="Espace réservé du contenu 5-2">
            <a:extLst>
              <a:ext uri="{FF2B5EF4-FFF2-40B4-BE49-F238E27FC236}">
                <a16:creationId xmlns:a16="http://schemas.microsoft.com/office/drawing/2014/main" id="{9E911A99-697D-7C72-E294-DC06763A246E}"/>
              </a:ext>
            </a:extLst>
          </p:cNvPr>
          <p:cNvSpPr txBox="1">
            <a:spLocks/>
          </p:cNvSpPr>
          <p:nvPr/>
        </p:nvSpPr>
        <p:spPr>
          <a:xfrm>
            <a:off x="8618634" y="2117656"/>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2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62" name="Flèche : pentagone 61">
            <a:extLst>
              <a:ext uri="{FF2B5EF4-FFF2-40B4-BE49-F238E27FC236}">
                <a16:creationId xmlns:a16="http://schemas.microsoft.com/office/drawing/2014/main" id="{CA76A64A-258E-479C-341F-729B47F89AC4}"/>
              </a:ext>
            </a:extLst>
          </p:cNvPr>
          <p:cNvSpPr/>
          <p:nvPr/>
        </p:nvSpPr>
        <p:spPr bwMode="auto">
          <a:xfrm>
            <a:off x="8018460" y="2152469"/>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2</a:t>
            </a:r>
            <a:endParaRPr lang="en-GB" sz="1400" dirty="0">
              <a:solidFill>
                <a:schemeClr val="bg1"/>
              </a:solidFill>
            </a:endParaRPr>
          </a:p>
        </p:txBody>
      </p:sp>
      <p:sp>
        <p:nvSpPr>
          <p:cNvPr id="63" name="Espace réservé du contenu 5-3">
            <a:extLst>
              <a:ext uri="{FF2B5EF4-FFF2-40B4-BE49-F238E27FC236}">
                <a16:creationId xmlns:a16="http://schemas.microsoft.com/office/drawing/2014/main" id="{88048E78-FC97-734D-79D4-303E6BD8CF45}"/>
              </a:ext>
            </a:extLst>
          </p:cNvPr>
          <p:cNvSpPr txBox="1">
            <a:spLocks/>
          </p:cNvSpPr>
          <p:nvPr/>
        </p:nvSpPr>
        <p:spPr>
          <a:xfrm>
            <a:off x="8637572" y="3630459"/>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3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64" name="Flèche : pentagone 63">
            <a:extLst>
              <a:ext uri="{FF2B5EF4-FFF2-40B4-BE49-F238E27FC236}">
                <a16:creationId xmlns:a16="http://schemas.microsoft.com/office/drawing/2014/main" id="{5245769C-987F-EB38-FED7-069C7410BA0F}"/>
              </a:ext>
            </a:extLst>
          </p:cNvPr>
          <p:cNvSpPr/>
          <p:nvPr/>
        </p:nvSpPr>
        <p:spPr bwMode="auto">
          <a:xfrm>
            <a:off x="8018460" y="3665272"/>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3</a:t>
            </a:r>
            <a:endParaRPr lang="en-GB" sz="1400" dirty="0">
              <a:solidFill>
                <a:schemeClr val="bg1"/>
              </a:solidFill>
            </a:endParaRPr>
          </a:p>
        </p:txBody>
      </p:sp>
      <p:sp>
        <p:nvSpPr>
          <p:cNvPr id="65" name="Espace réservé du contenu 5-4">
            <a:extLst>
              <a:ext uri="{FF2B5EF4-FFF2-40B4-BE49-F238E27FC236}">
                <a16:creationId xmlns:a16="http://schemas.microsoft.com/office/drawing/2014/main" id="{5172049E-B74E-156E-2516-9B5FE3B51A36}"/>
              </a:ext>
            </a:extLst>
          </p:cNvPr>
          <p:cNvSpPr txBox="1">
            <a:spLocks/>
          </p:cNvSpPr>
          <p:nvPr/>
        </p:nvSpPr>
        <p:spPr>
          <a:xfrm>
            <a:off x="8618634" y="5143262"/>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4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66" name="Flèche : pentagone 65">
            <a:extLst>
              <a:ext uri="{FF2B5EF4-FFF2-40B4-BE49-F238E27FC236}">
                <a16:creationId xmlns:a16="http://schemas.microsoft.com/office/drawing/2014/main" id="{9455025C-C0D9-1DEF-A85E-27DA877999E2}"/>
              </a:ext>
            </a:extLst>
          </p:cNvPr>
          <p:cNvSpPr/>
          <p:nvPr/>
        </p:nvSpPr>
        <p:spPr bwMode="auto">
          <a:xfrm>
            <a:off x="8018460" y="5178075"/>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4</a:t>
            </a:r>
            <a:endParaRPr lang="en-GB" sz="1400" dirty="0">
              <a:solidFill>
                <a:schemeClr val="bg1"/>
              </a:solidFill>
            </a:endParaRPr>
          </a:p>
        </p:txBody>
      </p:sp>
      <p:sp>
        <p:nvSpPr>
          <p:cNvPr id="67" name="Espace réservé du contenu 5-5">
            <a:extLst>
              <a:ext uri="{FF2B5EF4-FFF2-40B4-BE49-F238E27FC236}">
                <a16:creationId xmlns:a16="http://schemas.microsoft.com/office/drawing/2014/main" id="{0980C512-4606-4251-C34D-8B999290AEAC}"/>
              </a:ext>
            </a:extLst>
          </p:cNvPr>
          <p:cNvSpPr txBox="1">
            <a:spLocks/>
          </p:cNvSpPr>
          <p:nvPr/>
        </p:nvSpPr>
        <p:spPr>
          <a:xfrm>
            <a:off x="1420527" y="5143262"/>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5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68" name="Flèche : pentagone 67">
            <a:extLst>
              <a:ext uri="{FF2B5EF4-FFF2-40B4-BE49-F238E27FC236}">
                <a16:creationId xmlns:a16="http://schemas.microsoft.com/office/drawing/2014/main" id="{0E055279-4C8E-6B92-59A9-31672A895CFD}"/>
              </a:ext>
            </a:extLst>
          </p:cNvPr>
          <p:cNvSpPr/>
          <p:nvPr/>
        </p:nvSpPr>
        <p:spPr bwMode="auto">
          <a:xfrm>
            <a:off x="820353" y="5178075"/>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5</a:t>
            </a:r>
            <a:endParaRPr lang="en-GB" sz="1400" dirty="0">
              <a:solidFill>
                <a:schemeClr val="bg1"/>
              </a:solidFill>
            </a:endParaRPr>
          </a:p>
        </p:txBody>
      </p:sp>
      <p:sp>
        <p:nvSpPr>
          <p:cNvPr id="69" name="Espace réservé du contenu 5-6">
            <a:extLst>
              <a:ext uri="{FF2B5EF4-FFF2-40B4-BE49-F238E27FC236}">
                <a16:creationId xmlns:a16="http://schemas.microsoft.com/office/drawing/2014/main" id="{DAD040A1-B0DB-F70E-402C-5C71D9B6FE92}"/>
              </a:ext>
            </a:extLst>
          </p:cNvPr>
          <p:cNvSpPr txBox="1">
            <a:spLocks/>
          </p:cNvSpPr>
          <p:nvPr/>
        </p:nvSpPr>
        <p:spPr>
          <a:xfrm>
            <a:off x="1420527" y="3630459"/>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6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
        <p:nvSpPr>
          <p:cNvPr id="70" name="Flèche : pentagone 69">
            <a:extLst>
              <a:ext uri="{FF2B5EF4-FFF2-40B4-BE49-F238E27FC236}">
                <a16:creationId xmlns:a16="http://schemas.microsoft.com/office/drawing/2014/main" id="{4479F16D-7F16-74D6-ABA8-C63280BDF054}"/>
              </a:ext>
            </a:extLst>
          </p:cNvPr>
          <p:cNvSpPr/>
          <p:nvPr/>
        </p:nvSpPr>
        <p:spPr bwMode="auto">
          <a:xfrm>
            <a:off x="820353" y="3665272"/>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6</a:t>
            </a:r>
            <a:endParaRPr lang="en-GB" sz="1400" dirty="0">
              <a:solidFill>
                <a:schemeClr val="bg1"/>
              </a:solidFill>
            </a:endParaRPr>
          </a:p>
        </p:txBody>
      </p:sp>
      <p:sp>
        <p:nvSpPr>
          <p:cNvPr id="72" name="Flèche : pentagone 71">
            <a:extLst>
              <a:ext uri="{FF2B5EF4-FFF2-40B4-BE49-F238E27FC236}">
                <a16:creationId xmlns:a16="http://schemas.microsoft.com/office/drawing/2014/main" id="{6515560E-CD6A-B20B-0565-D16543F482DB}"/>
              </a:ext>
            </a:extLst>
          </p:cNvPr>
          <p:cNvSpPr/>
          <p:nvPr/>
        </p:nvSpPr>
        <p:spPr bwMode="auto">
          <a:xfrm>
            <a:off x="820353" y="2152469"/>
            <a:ext cx="582882" cy="427581"/>
          </a:xfrm>
          <a:prstGeom prst="homePlate">
            <a:avLst>
              <a:gd name="adj" fmla="val 35981"/>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7</a:t>
            </a:r>
            <a:endParaRPr lang="en-GB" sz="1400" dirty="0">
              <a:solidFill>
                <a:schemeClr val="bg1"/>
              </a:solidFill>
            </a:endParaRPr>
          </a:p>
        </p:txBody>
      </p:sp>
      <p:sp>
        <p:nvSpPr>
          <p:cNvPr id="49" name="Espace réservé du contenu 5-7">
            <a:extLst>
              <a:ext uri="{FF2B5EF4-FFF2-40B4-BE49-F238E27FC236}">
                <a16:creationId xmlns:a16="http://schemas.microsoft.com/office/drawing/2014/main" id="{05CAF7B2-F469-932C-9404-060AAE5A0ED7}"/>
              </a:ext>
            </a:extLst>
          </p:cNvPr>
          <p:cNvSpPr txBox="1">
            <a:spLocks/>
          </p:cNvSpPr>
          <p:nvPr/>
        </p:nvSpPr>
        <p:spPr>
          <a:xfrm>
            <a:off x="1420527" y="2117656"/>
            <a:ext cx="2610931" cy="1080000"/>
          </a:xfrm>
          <a:prstGeom prst="rect">
            <a:avLst/>
          </a:prstGeom>
          <a:ln>
            <a:noFill/>
          </a:ln>
        </p:spPr>
        <p:txBody>
          <a:bodyPr vert="horz" lIns="72000" tIns="45720" rIns="72000" bIns="72000" rtlCol="0">
            <a:noAutofit/>
          </a:bodyPr>
          <a:lstStyle>
            <a:defPPr>
              <a:defRPr lang="en-GB"/>
            </a:defPPr>
            <a:lvl1pPr marL="0" indent="0" algn="l" defTabSz="914400" latinLnBrk="0">
              <a:spcBef>
                <a:spcPts val="400"/>
              </a:spcBef>
              <a:spcAft>
                <a:spcPts val="400"/>
              </a:spcAft>
              <a:buClr>
                <a:schemeClr val="accent3"/>
              </a:buClr>
              <a:buSzPct val="77000"/>
              <a:buFont typeface="Arial" pitchFamily="34" charset="0"/>
              <a:buNone/>
              <a:defRPr b="1">
                <a:latin typeface="+mn-lt"/>
              </a:defRPr>
            </a:lvl1pPr>
            <a:lvl2pPr marL="334800" indent="-226800" algn="l" defTabSz="914400" eaLnBrk="1" latinLnBrk="0" hangingPunct="1">
              <a:spcBef>
                <a:spcPts val="400"/>
              </a:spcBef>
              <a:buClr>
                <a:schemeClr val="tx2"/>
              </a:buClr>
              <a:buSzPct val="82000"/>
              <a:buFont typeface="Wingdings 3" panose="05040102010807070707" pitchFamily="18" charset="2"/>
              <a:buChar char=""/>
              <a:defRPr sz="1600">
                <a:latin typeface="Arial" panose="020B0604020202020204" pitchFamily="34" charset="0"/>
                <a:cs typeface="Arial" panose="020B0604020202020204" pitchFamily="34" charset="0"/>
              </a:defRPr>
            </a:lvl2pPr>
            <a:lvl3pPr marL="669600" indent="-226800" algn="l" defTabSz="914400" eaLnBrk="1" latinLnBrk="0" hangingPunct="1">
              <a:spcBef>
                <a:spcPts val="400"/>
              </a:spcBef>
              <a:buClr>
                <a:schemeClr val="tx2"/>
              </a:buClr>
              <a:buSzPct val="95000"/>
              <a:buFont typeface="Arial" panose="020B0604020202020204" pitchFamily="34" charset="0"/>
              <a:buChar char="–"/>
              <a:defRPr sz="1600">
                <a:latin typeface="Arial" panose="020B0604020202020204" pitchFamily="34" charset="0"/>
                <a:cs typeface="Arial" panose="020B0604020202020204" pitchFamily="34" charset="0"/>
              </a:defRPr>
            </a:lvl3pPr>
            <a:lvl4pPr marL="1004400" indent="-226800" algn="l" defTabSz="914400" eaLnBrk="1" latinLnBrk="0" hangingPunct="1">
              <a:spcBef>
                <a:spcPts val="400"/>
              </a:spcBef>
              <a:buClr>
                <a:schemeClr val="tx2"/>
              </a:buClr>
              <a:buSzPct val="77000"/>
              <a:buFont typeface="Wingdings 3" panose="05040102010807070707" pitchFamily="18" charset="2"/>
              <a:buChar char=""/>
              <a:defRPr sz="1600">
                <a:latin typeface="Arial" panose="020B0604020202020204" pitchFamily="34" charset="0"/>
                <a:cs typeface="Arial" panose="020B0604020202020204" pitchFamily="34" charset="0"/>
              </a:defRPr>
            </a:lvl4pPr>
            <a:lvl5pPr marL="1339200" indent="-226800" algn="l" defTabSz="914400" eaLnBrk="1" latinLnBrk="0" hangingPunct="1">
              <a:spcBef>
                <a:spcPts val="400"/>
              </a:spcBef>
              <a:buClr>
                <a:schemeClr val="tx2"/>
              </a:buClr>
              <a:buFont typeface="Arial" pitchFamily="34" charset="0"/>
              <a:buChar char="-"/>
              <a:defRPr sz="1600" baseline="0">
                <a:latin typeface="Arial" panose="020B0604020202020204" pitchFamily="34" charset="0"/>
                <a:cs typeface="Arial" panose="020B0604020202020204" pitchFamily="34" charset="0"/>
              </a:defRPr>
            </a:lvl5pPr>
            <a:lvl6pPr marL="1737360" indent="-182880">
              <a:spcBef>
                <a:spcPct val="20000"/>
              </a:spcBef>
              <a:buClr>
                <a:schemeClr val="accent1"/>
              </a:buClr>
              <a:buFont typeface="Arial" pitchFamily="34" charset="0"/>
              <a:buChar char="•"/>
              <a:defRPr baseline="0">
                <a:latin typeface="+mn-lt"/>
              </a:defRPr>
            </a:lvl6pPr>
            <a:lvl7pPr marL="1920240" indent="-182880">
              <a:spcBef>
                <a:spcPct val="20000"/>
              </a:spcBef>
              <a:buClr>
                <a:schemeClr val="accent2"/>
              </a:buClr>
              <a:buFont typeface="Arial" pitchFamily="34" charset="0"/>
              <a:buChar char="•"/>
              <a:defRPr>
                <a:latin typeface="+mn-lt"/>
              </a:defRPr>
            </a:lvl7pPr>
            <a:lvl8pPr marL="2103120" indent="-182880">
              <a:spcBef>
                <a:spcPct val="20000"/>
              </a:spcBef>
              <a:buClr>
                <a:schemeClr val="accent3"/>
              </a:buClr>
              <a:buFont typeface="Arial" pitchFamily="34" charset="0"/>
              <a:buChar char="•"/>
              <a:defRPr>
                <a:latin typeface="+mn-lt"/>
              </a:defRPr>
            </a:lvl8pPr>
            <a:lvl9pPr marL="2286000" indent="-182880">
              <a:spcBef>
                <a:spcPct val="20000"/>
              </a:spcBef>
              <a:buClr>
                <a:schemeClr val="accent4"/>
              </a:buClr>
              <a:buFont typeface="Arial" pitchFamily="34" charset="0"/>
              <a:buChar char="•"/>
              <a:defRPr>
                <a:latin typeface="+mn-lt"/>
              </a:defRPr>
            </a:lvl9pPr>
          </a:lstStyle>
          <a:p>
            <a:r>
              <a:rPr lang="en-GB" dirty="0">
                <a:sym typeface="Open Sans"/>
              </a:rPr>
              <a:t>Criteria 7 title</a:t>
            </a:r>
            <a:endParaRPr lang="en-GB" dirty="0"/>
          </a:p>
          <a:p>
            <a:r>
              <a:rPr lang="en-GB" b="0" dirty="0"/>
              <a:t>Lorem ipsum </a:t>
            </a:r>
            <a:r>
              <a:rPr lang="en-GB" b="0" dirty="0" err="1"/>
              <a:t>dolor</a:t>
            </a:r>
            <a:r>
              <a:rPr lang="en-GB" b="0" dirty="0"/>
              <a:t> sit </a:t>
            </a:r>
            <a:r>
              <a:rPr lang="en-GB" b="0" dirty="0" err="1"/>
              <a:t>amet</a:t>
            </a:r>
            <a:r>
              <a:rPr lang="en-GB" b="0" dirty="0"/>
              <a:t>, </a:t>
            </a:r>
            <a:r>
              <a:rPr lang="en-GB" b="0" dirty="0" err="1"/>
              <a:t>consectetur</a:t>
            </a:r>
            <a:r>
              <a:rPr lang="en-GB" b="0" dirty="0"/>
              <a:t>, Lorem ipsum </a:t>
            </a:r>
            <a:r>
              <a:rPr lang="en-GB" b="0" dirty="0" err="1"/>
              <a:t>dolor</a:t>
            </a:r>
            <a:r>
              <a:rPr lang="en-GB" b="0" dirty="0"/>
              <a:t> sit </a:t>
            </a:r>
            <a:r>
              <a:rPr lang="en-GB" b="0" dirty="0" err="1"/>
              <a:t>amet</a:t>
            </a:r>
            <a:r>
              <a:rPr lang="en-GB" b="0" dirty="0"/>
              <a:t>, </a:t>
            </a:r>
            <a:r>
              <a:rPr lang="en-GB" b="0" dirty="0" err="1"/>
              <a:t>consectetur</a:t>
            </a:r>
            <a:endParaRPr lang="en-GB" b="0" dirty="0"/>
          </a:p>
        </p:txBody>
      </p:sp>
    </p:spTree>
    <p:extLst>
      <p:ext uri="{BB962C8B-B14F-4D97-AF65-F5344CB8AC3E}">
        <p14:creationId xmlns:p14="http://schemas.microsoft.com/office/powerpoint/2010/main" val="27626994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25FE2F1-AF3C-1E90-02B9-C79ADBF4BFE2}"/>
              </a:ext>
            </a:extLst>
          </p:cNvPr>
          <p:cNvGraphicFramePr>
            <a:graphicFrameLocks noChangeAspect="1"/>
          </p:cNvGraphicFramePr>
          <p:nvPr>
            <p:custDataLst>
              <p:tags r:id="rId1"/>
            </p:custDataLst>
            <p:extLst>
              <p:ext uri="{D42A27DB-BD31-4B8C-83A1-F6EECF244321}">
                <p14:modId xmlns:p14="http://schemas.microsoft.com/office/powerpoint/2010/main" val="3244179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7" name="Objet 6" hidden="1">
                        <a:extLst>
                          <a:ext uri="{FF2B5EF4-FFF2-40B4-BE49-F238E27FC236}">
                            <a16:creationId xmlns:a16="http://schemas.microsoft.com/office/drawing/2014/main" id="{025FE2F1-AF3C-1E90-02B9-C79ADBF4BF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FDC285E-7830-2F31-BDA6-C9AE70E0863B}"/>
              </a:ext>
            </a:extLst>
          </p:cNvPr>
          <p:cNvSpPr>
            <a:spLocks noGrp="1"/>
          </p:cNvSpPr>
          <p:nvPr>
            <p:ph type="title"/>
          </p:nvPr>
        </p:nvSpPr>
        <p:spPr/>
        <p:txBody>
          <a:bodyPr vert="horz"/>
          <a:lstStyle/>
          <a:p>
            <a:r>
              <a:rPr lang="en-GB"/>
              <a:t>7 criteria slide</a:t>
            </a:r>
            <a:endParaRPr lang="en-GB" dirty="0"/>
          </a:p>
        </p:txBody>
      </p:sp>
      <p:sp>
        <p:nvSpPr>
          <p:cNvPr id="3" name="Ellipse 2">
            <a:extLst>
              <a:ext uri="{FF2B5EF4-FFF2-40B4-BE49-F238E27FC236}">
                <a16:creationId xmlns:a16="http://schemas.microsoft.com/office/drawing/2014/main" id="{4FDBDC80-2D60-FB87-9452-7F97DB7D87A2}"/>
              </a:ext>
            </a:extLst>
          </p:cNvPr>
          <p:cNvSpPr/>
          <p:nvPr/>
        </p:nvSpPr>
        <p:spPr bwMode="auto">
          <a:xfrm>
            <a:off x="5038455" y="3017823"/>
            <a:ext cx="2115091" cy="2115091"/>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accent3"/>
              </a:buClr>
              <a:buSzPct val="77000"/>
            </a:pPr>
            <a:r>
              <a:rPr lang="en-GB" b="1" dirty="0">
                <a:solidFill>
                  <a:schemeClr val="bg1"/>
                </a:solidFill>
              </a:rPr>
              <a:t>Main objective</a:t>
            </a:r>
            <a:endParaRPr lang="en-GB" sz="1400" b="1" dirty="0">
              <a:solidFill>
                <a:schemeClr val="bg1"/>
              </a:solidFill>
            </a:endParaRPr>
          </a:p>
        </p:txBody>
      </p:sp>
      <p:sp>
        <p:nvSpPr>
          <p:cNvPr id="50" name="Espace réservé du contenu 5-4">
            <a:extLst>
              <a:ext uri="{FF2B5EF4-FFF2-40B4-BE49-F238E27FC236}">
                <a16:creationId xmlns:a16="http://schemas.microsoft.com/office/drawing/2014/main" id="{AF47890F-2DD1-4027-D7E9-14C807C49B04}"/>
              </a:ext>
            </a:extLst>
          </p:cNvPr>
          <p:cNvSpPr txBox="1">
            <a:spLocks/>
          </p:cNvSpPr>
          <p:nvPr/>
        </p:nvSpPr>
        <p:spPr>
          <a:xfrm>
            <a:off x="4790534" y="1109366"/>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lgn="ctr" eaLnBrk="0" hangingPunct="0">
              <a:spcAft>
                <a:spcPts val="400"/>
              </a:spcAft>
              <a:buClr>
                <a:schemeClr val="accent3"/>
              </a:buClr>
              <a:buSzPct val="77000"/>
            </a:pPr>
            <a:r>
              <a:rPr lang="en-GB" sz="1400" b="1" kern="1200" noProof="0" dirty="0">
                <a:latin typeface="+mn-lt"/>
                <a:ea typeface="+mn-ea"/>
                <a:cs typeface="+mn-cs"/>
                <a:sym typeface="Open Sans"/>
              </a:rPr>
              <a:t>Criteria 4 title</a:t>
            </a:r>
            <a:endParaRPr lang="en-GB" sz="1400" dirty="0">
              <a:latin typeface="+mn-lt"/>
            </a:endParaRPr>
          </a:p>
          <a:p>
            <a:pPr algn="ct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
        <p:nvSpPr>
          <p:cNvPr id="74" name="Espace réservé du contenu 5-2">
            <a:extLst>
              <a:ext uri="{FF2B5EF4-FFF2-40B4-BE49-F238E27FC236}">
                <a16:creationId xmlns:a16="http://schemas.microsoft.com/office/drawing/2014/main" id="{1C71D7E2-C36D-6E01-7514-E93A36BD2B26}"/>
              </a:ext>
            </a:extLst>
          </p:cNvPr>
          <p:cNvSpPr txBox="1">
            <a:spLocks/>
          </p:cNvSpPr>
          <p:nvPr/>
        </p:nvSpPr>
        <p:spPr>
          <a:xfrm>
            <a:off x="1400823" y="3258515"/>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lgn="r" eaLnBrk="0" hangingPunct="0">
              <a:spcAft>
                <a:spcPts val="400"/>
              </a:spcAft>
              <a:buClr>
                <a:schemeClr val="accent3"/>
              </a:buClr>
              <a:buSzPct val="77000"/>
            </a:pPr>
            <a:r>
              <a:rPr lang="en-GB" sz="1400" b="1" kern="1200" noProof="0">
                <a:latin typeface="+mn-lt"/>
                <a:ea typeface="+mn-ea"/>
                <a:cs typeface="+mn-cs"/>
                <a:sym typeface="Open Sans"/>
              </a:rPr>
              <a:t>Criteria 2 title</a:t>
            </a:r>
            <a:endParaRPr lang="en-GB" sz="1400">
              <a:latin typeface="+mn-lt"/>
            </a:endParaRPr>
          </a:p>
          <a:p>
            <a:pPr algn="r" eaLnBrk="0" hangingPunct="0">
              <a:spcAft>
                <a:spcPts val="400"/>
              </a:spcAft>
              <a:buClr>
                <a:schemeClr val="accent3"/>
              </a:buClr>
              <a:buSzPct val="77000"/>
            </a:pPr>
            <a:r>
              <a:rPr lang="en-GB" sz="1400">
                <a:latin typeface="+mn-lt"/>
              </a:rPr>
              <a:t>Lorem ipsum dolor sit amet, consectetur, Lorem ipsum dolor sit amet, consectetur</a:t>
            </a:r>
            <a:endParaRPr lang="en-GB" sz="1400" dirty="0">
              <a:latin typeface="+mn-lt"/>
            </a:endParaRPr>
          </a:p>
        </p:txBody>
      </p:sp>
      <p:sp>
        <p:nvSpPr>
          <p:cNvPr id="75" name="Espace réservé du contenu 5">
            <a:extLst>
              <a:ext uri="{FF2B5EF4-FFF2-40B4-BE49-F238E27FC236}">
                <a16:creationId xmlns:a16="http://schemas.microsoft.com/office/drawing/2014/main" id="{6986EAB8-55D7-19A2-49D0-4722DC2689C5}"/>
              </a:ext>
            </a:extLst>
          </p:cNvPr>
          <p:cNvSpPr txBox="1">
            <a:spLocks/>
          </p:cNvSpPr>
          <p:nvPr/>
        </p:nvSpPr>
        <p:spPr>
          <a:xfrm>
            <a:off x="1886971" y="4944561"/>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lgn="r" eaLnBrk="0" hangingPunct="0">
              <a:spcAft>
                <a:spcPts val="400"/>
              </a:spcAft>
              <a:buClr>
                <a:schemeClr val="accent3"/>
              </a:buClr>
              <a:buSzPct val="77000"/>
            </a:pPr>
            <a:r>
              <a:rPr lang="en-GB" sz="1400" b="1" kern="1200" noProof="0" dirty="0">
                <a:latin typeface="+mn-lt"/>
                <a:ea typeface="+mn-ea"/>
                <a:cs typeface="+mn-cs"/>
                <a:sym typeface="Open Sans"/>
              </a:rPr>
              <a:t>Criteria 1 title</a:t>
            </a:r>
            <a:endParaRPr lang="en-GB" sz="1400" dirty="0">
              <a:latin typeface="+mn-lt"/>
            </a:endParaRPr>
          </a:p>
          <a:p>
            <a:pPr algn="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
        <p:nvSpPr>
          <p:cNvPr id="76" name="Espace réservé du contenu 5-5">
            <a:extLst>
              <a:ext uri="{FF2B5EF4-FFF2-40B4-BE49-F238E27FC236}">
                <a16:creationId xmlns:a16="http://schemas.microsoft.com/office/drawing/2014/main" id="{FB17B163-BF26-73AB-4E24-18D8CE0E8F8C}"/>
              </a:ext>
            </a:extLst>
          </p:cNvPr>
          <p:cNvSpPr txBox="1">
            <a:spLocks/>
          </p:cNvSpPr>
          <p:nvPr/>
        </p:nvSpPr>
        <p:spPr>
          <a:xfrm>
            <a:off x="7590169" y="1953499"/>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sz="1400" b="1" kern="1200" noProof="0" dirty="0">
                <a:latin typeface="+mn-lt"/>
                <a:ea typeface="+mn-ea"/>
                <a:cs typeface="+mn-cs"/>
                <a:sym typeface="Open Sans"/>
              </a:rPr>
              <a:t>Criteria 5 title</a:t>
            </a:r>
            <a:endParaRPr lang="en-GB" sz="1400" dirty="0">
              <a:latin typeface="+mn-lt"/>
            </a:endParaRPr>
          </a:p>
          <a:p>
            <a:pP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
        <p:nvSpPr>
          <p:cNvPr id="77" name="Espace réservé du contenu 5-6">
            <a:extLst>
              <a:ext uri="{FF2B5EF4-FFF2-40B4-BE49-F238E27FC236}">
                <a16:creationId xmlns:a16="http://schemas.microsoft.com/office/drawing/2014/main" id="{B8025EED-F1FA-C7C9-618A-425853EF4EEA}"/>
              </a:ext>
            </a:extLst>
          </p:cNvPr>
          <p:cNvSpPr txBox="1">
            <a:spLocks/>
          </p:cNvSpPr>
          <p:nvPr/>
        </p:nvSpPr>
        <p:spPr>
          <a:xfrm>
            <a:off x="8164419" y="3258515"/>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sz="1400" b="1" kern="1200" noProof="0" dirty="0">
                <a:latin typeface="+mn-lt"/>
                <a:ea typeface="+mn-ea"/>
                <a:cs typeface="+mn-cs"/>
                <a:sym typeface="Open Sans"/>
              </a:rPr>
              <a:t>Criteria 6 title</a:t>
            </a:r>
            <a:endParaRPr lang="en-GB" sz="1400" dirty="0">
              <a:latin typeface="+mn-lt"/>
            </a:endParaRPr>
          </a:p>
          <a:p>
            <a:pP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
        <p:nvSpPr>
          <p:cNvPr id="78" name="Espace réservé du contenu 5-7">
            <a:extLst>
              <a:ext uri="{FF2B5EF4-FFF2-40B4-BE49-F238E27FC236}">
                <a16:creationId xmlns:a16="http://schemas.microsoft.com/office/drawing/2014/main" id="{05BA5F9C-07B6-A031-4FCA-F135835F6055}"/>
              </a:ext>
            </a:extLst>
          </p:cNvPr>
          <p:cNvSpPr txBox="1">
            <a:spLocks/>
          </p:cNvSpPr>
          <p:nvPr/>
        </p:nvSpPr>
        <p:spPr>
          <a:xfrm>
            <a:off x="7709213" y="4944561"/>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eaLnBrk="0" hangingPunct="0">
              <a:spcAft>
                <a:spcPts val="400"/>
              </a:spcAft>
              <a:buClr>
                <a:schemeClr val="accent3"/>
              </a:buClr>
              <a:buSzPct val="77000"/>
            </a:pPr>
            <a:r>
              <a:rPr lang="en-GB" sz="1400" b="1" kern="1200" noProof="0" dirty="0">
                <a:latin typeface="+mn-lt"/>
                <a:ea typeface="+mn-ea"/>
                <a:cs typeface="+mn-cs"/>
                <a:sym typeface="Open Sans"/>
              </a:rPr>
              <a:t>Criteria 7 title</a:t>
            </a:r>
            <a:endParaRPr lang="en-GB" sz="1400" dirty="0">
              <a:latin typeface="+mn-lt"/>
            </a:endParaRPr>
          </a:p>
          <a:p>
            <a:pP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
        <p:nvSpPr>
          <p:cNvPr id="81" name="Ellipse 80">
            <a:extLst>
              <a:ext uri="{FF2B5EF4-FFF2-40B4-BE49-F238E27FC236}">
                <a16:creationId xmlns:a16="http://schemas.microsoft.com/office/drawing/2014/main" id="{5DDFFB88-9891-6FDE-58BC-2E9BADDFC64F}"/>
              </a:ext>
            </a:extLst>
          </p:cNvPr>
          <p:cNvSpPr/>
          <p:nvPr/>
        </p:nvSpPr>
        <p:spPr bwMode="auto">
          <a:xfrm>
            <a:off x="4764401" y="2699570"/>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3</a:t>
            </a:r>
            <a:endParaRPr lang="en-GB" sz="1400" dirty="0">
              <a:solidFill>
                <a:schemeClr val="bg1"/>
              </a:solidFill>
            </a:endParaRPr>
          </a:p>
        </p:txBody>
      </p:sp>
      <p:sp>
        <p:nvSpPr>
          <p:cNvPr id="85" name="Ellipse 84">
            <a:extLst>
              <a:ext uri="{FF2B5EF4-FFF2-40B4-BE49-F238E27FC236}">
                <a16:creationId xmlns:a16="http://schemas.microsoft.com/office/drawing/2014/main" id="{364B0A22-BC1F-F9B0-8D49-105196C37954}"/>
              </a:ext>
            </a:extLst>
          </p:cNvPr>
          <p:cNvSpPr/>
          <p:nvPr/>
        </p:nvSpPr>
        <p:spPr bwMode="auto">
          <a:xfrm>
            <a:off x="4684844" y="4883567"/>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1</a:t>
            </a:r>
            <a:endParaRPr lang="en-GB" sz="1400" dirty="0">
              <a:solidFill>
                <a:schemeClr val="bg1"/>
              </a:solidFill>
            </a:endParaRPr>
          </a:p>
        </p:txBody>
      </p:sp>
      <p:sp>
        <p:nvSpPr>
          <p:cNvPr id="87" name="Ellipse 86">
            <a:extLst>
              <a:ext uri="{FF2B5EF4-FFF2-40B4-BE49-F238E27FC236}">
                <a16:creationId xmlns:a16="http://schemas.microsoft.com/office/drawing/2014/main" id="{67F26156-483C-D7F9-370C-6E1ED90E05FE}"/>
              </a:ext>
            </a:extLst>
          </p:cNvPr>
          <p:cNvSpPr/>
          <p:nvPr/>
        </p:nvSpPr>
        <p:spPr bwMode="auto">
          <a:xfrm>
            <a:off x="4256312" y="3670236"/>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2</a:t>
            </a:r>
            <a:endParaRPr lang="en-GB" sz="1400" dirty="0">
              <a:solidFill>
                <a:schemeClr val="bg1"/>
              </a:solidFill>
            </a:endParaRPr>
          </a:p>
        </p:txBody>
      </p:sp>
      <p:sp>
        <p:nvSpPr>
          <p:cNvPr id="88" name="Ellipse 87">
            <a:extLst>
              <a:ext uri="{FF2B5EF4-FFF2-40B4-BE49-F238E27FC236}">
                <a16:creationId xmlns:a16="http://schemas.microsoft.com/office/drawing/2014/main" id="{8EA23FE0-C0A1-2AD7-7E97-A0B8B22105F5}"/>
              </a:ext>
            </a:extLst>
          </p:cNvPr>
          <p:cNvSpPr/>
          <p:nvPr/>
        </p:nvSpPr>
        <p:spPr bwMode="auto">
          <a:xfrm>
            <a:off x="5881259" y="2235511"/>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4</a:t>
            </a:r>
            <a:endParaRPr lang="en-GB" sz="1400" dirty="0">
              <a:solidFill>
                <a:schemeClr val="bg1"/>
              </a:solidFill>
            </a:endParaRPr>
          </a:p>
        </p:txBody>
      </p:sp>
      <p:sp>
        <p:nvSpPr>
          <p:cNvPr id="89" name="Ellipse 88">
            <a:extLst>
              <a:ext uri="{FF2B5EF4-FFF2-40B4-BE49-F238E27FC236}">
                <a16:creationId xmlns:a16="http://schemas.microsoft.com/office/drawing/2014/main" id="{D7E79C35-A153-D622-957F-B4AA9B2ED5D2}"/>
              </a:ext>
            </a:extLst>
          </p:cNvPr>
          <p:cNvSpPr/>
          <p:nvPr/>
        </p:nvSpPr>
        <p:spPr bwMode="auto">
          <a:xfrm>
            <a:off x="6999200" y="2699570"/>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5</a:t>
            </a:r>
            <a:endParaRPr lang="en-GB" sz="1400" dirty="0">
              <a:solidFill>
                <a:schemeClr val="bg1"/>
              </a:solidFill>
            </a:endParaRPr>
          </a:p>
        </p:txBody>
      </p:sp>
      <p:sp>
        <p:nvSpPr>
          <p:cNvPr id="90" name="Ellipse 89">
            <a:extLst>
              <a:ext uri="{FF2B5EF4-FFF2-40B4-BE49-F238E27FC236}">
                <a16:creationId xmlns:a16="http://schemas.microsoft.com/office/drawing/2014/main" id="{44E348D3-EF68-8B31-29D2-CC37F50D77D6}"/>
              </a:ext>
            </a:extLst>
          </p:cNvPr>
          <p:cNvSpPr/>
          <p:nvPr/>
        </p:nvSpPr>
        <p:spPr bwMode="auto">
          <a:xfrm>
            <a:off x="7491461" y="3670236"/>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6</a:t>
            </a:r>
            <a:endParaRPr lang="en-GB" sz="1400" dirty="0">
              <a:solidFill>
                <a:schemeClr val="bg1"/>
              </a:solidFill>
            </a:endParaRPr>
          </a:p>
        </p:txBody>
      </p:sp>
      <p:sp>
        <p:nvSpPr>
          <p:cNvPr id="92" name="Ellipse 91">
            <a:extLst>
              <a:ext uri="{FF2B5EF4-FFF2-40B4-BE49-F238E27FC236}">
                <a16:creationId xmlns:a16="http://schemas.microsoft.com/office/drawing/2014/main" id="{D097A1D8-727F-F100-CFFB-B4B0B85249CA}"/>
              </a:ext>
            </a:extLst>
          </p:cNvPr>
          <p:cNvSpPr/>
          <p:nvPr/>
        </p:nvSpPr>
        <p:spPr bwMode="auto">
          <a:xfrm>
            <a:off x="7078888" y="4883568"/>
            <a:ext cx="428400" cy="427581"/>
          </a:xfrm>
          <a:prstGeom prst="ellipse">
            <a:avLst/>
          </a:prstGeom>
          <a:solidFill>
            <a:schemeClr val="accent1"/>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accent3"/>
              </a:buClr>
              <a:buSzPct val="77000"/>
            </a:pPr>
            <a:r>
              <a:rPr lang="en-GB">
                <a:solidFill>
                  <a:schemeClr val="bg1"/>
                </a:solidFill>
              </a:rPr>
              <a:t>7</a:t>
            </a:r>
            <a:endParaRPr lang="en-GB" sz="1400" dirty="0">
              <a:solidFill>
                <a:schemeClr val="bg1"/>
              </a:solidFill>
            </a:endParaRPr>
          </a:p>
        </p:txBody>
      </p:sp>
      <p:sp>
        <p:nvSpPr>
          <p:cNvPr id="20" name="Espace réservé du contenu 5-3">
            <a:extLst>
              <a:ext uri="{FF2B5EF4-FFF2-40B4-BE49-F238E27FC236}">
                <a16:creationId xmlns:a16="http://schemas.microsoft.com/office/drawing/2014/main" id="{3C69A7EE-928D-EC85-EC16-0B28DF959E06}"/>
              </a:ext>
            </a:extLst>
          </p:cNvPr>
          <p:cNvSpPr txBox="1">
            <a:spLocks/>
          </p:cNvSpPr>
          <p:nvPr/>
        </p:nvSpPr>
        <p:spPr>
          <a:xfrm>
            <a:off x="1995256" y="1953499"/>
            <a:ext cx="2610931" cy="1080000"/>
          </a:xfrm>
          <a:prstGeom prst="rect">
            <a:avLst/>
          </a:prstGeom>
          <a:ln>
            <a:noFill/>
          </a:ln>
        </p:spPr>
        <p:txBody>
          <a:bodyPr vert="horz" lIns="72000" tIns="45720" rIns="72000" bIns="72000" rtlCol="0">
            <a:noAutofit/>
          </a:bodyPr>
          <a:lstStyle>
            <a:lvl1pPr marL="0" indent="0" algn="l" defTabSz="914400" rtl="0" eaLnBrk="1" latinLnBrk="0" hangingPunct="1">
              <a:spcBef>
                <a:spcPts val="400"/>
              </a:spcBef>
              <a:buClr>
                <a:schemeClr val="accent1"/>
              </a:buClr>
              <a:buFont typeface="Arial" pitchFamily="34" charset="0"/>
              <a:buNone/>
              <a:defRPr lang="en-US" sz="1600" kern="1200" smtClean="0">
                <a:solidFill>
                  <a:schemeClr val="tx1"/>
                </a:solidFill>
                <a:latin typeface="Arial" panose="020B0604020202020204" pitchFamily="34" charset="0"/>
                <a:ea typeface="+mn-ea"/>
                <a:cs typeface="Arial" panose="020B0604020202020204" pitchFamily="34" charset="0"/>
              </a:defRPr>
            </a:lvl1pPr>
            <a:lvl2pPr marL="334800" indent="-226800" algn="l" defTabSz="914400" rtl="0" eaLnBrk="1" latinLnBrk="0" hangingPunct="1">
              <a:spcBef>
                <a:spcPts val="400"/>
              </a:spcBef>
              <a:buClr>
                <a:schemeClr val="tx2"/>
              </a:buClr>
              <a:buSzPct val="82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2pPr>
            <a:lvl3pPr marL="669600" indent="-226800" algn="l" defTabSz="914400" rtl="0" eaLnBrk="1" latinLnBrk="0" hangingPunct="1">
              <a:spcBef>
                <a:spcPts val="400"/>
              </a:spcBef>
              <a:buClr>
                <a:schemeClr val="tx2"/>
              </a:buClr>
              <a:buSzPct val="95000"/>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defRPr>
            </a:lvl3pPr>
            <a:lvl4pPr marL="1004400" indent="-226800" algn="l" defTabSz="914400" rtl="0" eaLnBrk="1" latinLnBrk="0" hangingPunct="1">
              <a:spcBef>
                <a:spcPts val="400"/>
              </a:spcBef>
              <a:buClr>
                <a:schemeClr val="tx2"/>
              </a:buClr>
              <a:buSzPct val="77000"/>
              <a:buFont typeface="Wingdings 3" panose="05040102010807070707" pitchFamily="18" charset="2"/>
              <a:buChar char=""/>
              <a:defRPr lang="en-US" sz="1600" kern="1200" smtClean="0">
                <a:solidFill>
                  <a:schemeClr val="tx1"/>
                </a:solidFill>
                <a:latin typeface="Arial" panose="020B0604020202020204" pitchFamily="34" charset="0"/>
                <a:ea typeface="+mn-ea"/>
                <a:cs typeface="Arial" panose="020B0604020202020204" pitchFamily="34" charset="0"/>
              </a:defRPr>
            </a:lvl4pPr>
            <a:lvl5pPr marL="1339200" indent="-226800" algn="l" defTabSz="914400" rtl="0" eaLnBrk="1" latinLnBrk="0" hangingPunct="1">
              <a:spcBef>
                <a:spcPts val="400"/>
              </a:spcBef>
              <a:buClr>
                <a:schemeClr val="tx2"/>
              </a:buClr>
              <a:buFont typeface="Arial" pitchFamily="34" charset="0"/>
              <a:buChar char="-"/>
              <a:defRPr lang="en-US" sz="1600" kern="1200" baseline="0" dirty="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lgn="r" eaLnBrk="0" hangingPunct="0">
              <a:spcAft>
                <a:spcPts val="400"/>
              </a:spcAft>
              <a:buClr>
                <a:schemeClr val="accent3"/>
              </a:buClr>
              <a:buSzPct val="77000"/>
            </a:pPr>
            <a:r>
              <a:rPr lang="en-GB" sz="1400" b="1" kern="1200" noProof="0" dirty="0">
                <a:latin typeface="+mn-lt"/>
                <a:ea typeface="+mn-ea"/>
                <a:cs typeface="+mn-cs"/>
                <a:sym typeface="Open Sans"/>
              </a:rPr>
              <a:t>Criteria 3 title</a:t>
            </a:r>
            <a:endParaRPr lang="en-GB" sz="1400" dirty="0">
              <a:latin typeface="+mn-lt"/>
            </a:endParaRPr>
          </a:p>
          <a:p>
            <a:pPr algn="r" eaLnBrk="0" hangingPunct="0">
              <a:spcAft>
                <a:spcPts val="400"/>
              </a:spcAft>
              <a:buClr>
                <a:schemeClr val="accent3"/>
              </a:buClr>
              <a:buSzPct val="77000"/>
            </a:pPr>
            <a:r>
              <a:rPr lang="en-GB" sz="1400" dirty="0">
                <a:latin typeface="+mn-lt"/>
              </a:rPr>
              <a:t>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r>
              <a:rPr lang="en-GB" sz="1400" dirty="0">
                <a:latin typeface="+mn-lt"/>
              </a:rPr>
              <a:t>, Lorem ipsum </a:t>
            </a:r>
            <a:r>
              <a:rPr lang="en-GB" sz="1400" dirty="0" err="1">
                <a:latin typeface="+mn-lt"/>
              </a:rPr>
              <a:t>dolor</a:t>
            </a:r>
            <a:r>
              <a:rPr lang="en-GB" sz="1400" dirty="0">
                <a:latin typeface="+mn-lt"/>
              </a:rPr>
              <a:t> sit </a:t>
            </a:r>
            <a:r>
              <a:rPr lang="en-GB" sz="1400" dirty="0" err="1">
                <a:latin typeface="+mn-lt"/>
              </a:rPr>
              <a:t>amet</a:t>
            </a:r>
            <a:r>
              <a:rPr lang="en-GB" sz="1400" dirty="0">
                <a:latin typeface="+mn-lt"/>
              </a:rPr>
              <a:t>, </a:t>
            </a:r>
            <a:r>
              <a:rPr lang="en-GB" sz="1400" dirty="0" err="1">
                <a:latin typeface="+mn-lt"/>
              </a:rPr>
              <a:t>consectetur</a:t>
            </a:r>
            <a:endParaRPr lang="en-GB" sz="1400" dirty="0">
              <a:latin typeface="+mn-lt"/>
            </a:endParaRPr>
          </a:p>
        </p:txBody>
      </p:sp>
    </p:spTree>
    <p:extLst>
      <p:ext uri="{BB962C8B-B14F-4D97-AF65-F5344CB8AC3E}">
        <p14:creationId xmlns:p14="http://schemas.microsoft.com/office/powerpoint/2010/main" val="1807602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4AE8F213-8C29-482C-91BF-EAD27DA8F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15" name="Objet 14" hidden="1">
                        <a:extLst>
                          <a:ext uri="{FF2B5EF4-FFF2-40B4-BE49-F238E27FC236}">
                            <a16:creationId xmlns:a16="http://schemas.microsoft.com/office/drawing/2014/main" id="{4AE8F213-8C29-482C-91BF-EAD27DA8F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0B47DC-2C69-4462-BEBC-76697B00005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dirty="0"/>
              <a:t>Two graphs delivering complementary messages</a:t>
            </a:r>
          </a:p>
        </p:txBody>
      </p:sp>
      <p:sp>
        <p:nvSpPr>
          <p:cNvPr id="5" name="ZoneTexte 4">
            <a:extLst>
              <a:ext uri="{FF2B5EF4-FFF2-40B4-BE49-F238E27FC236}">
                <a16:creationId xmlns:a16="http://schemas.microsoft.com/office/drawing/2014/main" id="{0B015022-6B88-4821-8606-1F3AB1248BD4}"/>
              </a:ext>
            </a:extLst>
          </p:cNvPr>
          <p:cNvSpPr txBox="1"/>
          <p:nvPr/>
        </p:nvSpPr>
        <p:spPr>
          <a:xfrm>
            <a:off x="606391" y="1204527"/>
            <a:ext cx="4793382" cy="369332"/>
          </a:xfrm>
          <a:prstGeom prst="rect">
            <a:avLst/>
          </a:prstGeom>
          <a:noFill/>
        </p:spPr>
        <p:txBody>
          <a:bodyPr wrap="square" rtlCol="0">
            <a:spAutoFit/>
          </a:bodyPr>
          <a:lstStyle/>
          <a:p>
            <a:pPr algn="l" defTabSz="742950"/>
            <a:r>
              <a:rPr lang="en-GB" sz="1800" dirty="0">
                <a:solidFill>
                  <a:schemeClr val="accent1"/>
                </a:solidFill>
                <a:latin typeface="+mn-lt"/>
              </a:rPr>
              <a:t>Summary title text…</a:t>
            </a:r>
          </a:p>
        </p:txBody>
      </p:sp>
      <p:sp>
        <p:nvSpPr>
          <p:cNvPr id="9" name="ZoneTexte 8">
            <a:extLst>
              <a:ext uri="{FF2B5EF4-FFF2-40B4-BE49-F238E27FC236}">
                <a16:creationId xmlns:a16="http://schemas.microsoft.com/office/drawing/2014/main" id="{7AF30593-A004-4DF0-93DF-244A5303A418}"/>
              </a:ext>
            </a:extLst>
          </p:cNvPr>
          <p:cNvSpPr txBox="1"/>
          <p:nvPr/>
        </p:nvSpPr>
        <p:spPr>
          <a:xfrm>
            <a:off x="606391" y="5794594"/>
            <a:ext cx="4939748" cy="585690"/>
          </a:xfrm>
          <a:prstGeom prst="rect">
            <a:avLst/>
          </a:prstGeom>
          <a:noFill/>
        </p:spPr>
        <p:txBody>
          <a:bodyPr wrap="square" rtlCol="0">
            <a:noAutofit/>
          </a:bodyPr>
          <a:lstStyle/>
          <a:p>
            <a:pPr algn="l" defTabSz="742950"/>
            <a:r>
              <a:rPr lang="en-GB" sz="1200">
                <a:solidFill>
                  <a:schemeClr val="bg1">
                    <a:lumMod val="65000"/>
                  </a:schemeClr>
                </a:solidFill>
                <a:latin typeface="+mn-lt"/>
              </a:rPr>
              <a:t>Source, hypotheses…</a:t>
            </a:r>
            <a:endParaRPr lang="en-GB" sz="1200" dirty="0">
              <a:solidFill>
                <a:schemeClr val="bg1">
                  <a:lumMod val="65000"/>
                </a:schemeClr>
              </a:solidFill>
              <a:latin typeface="+mn-lt"/>
            </a:endParaRPr>
          </a:p>
        </p:txBody>
      </p:sp>
      <p:graphicFrame>
        <p:nvGraphicFramePr>
          <p:cNvPr id="14" name="Graphique 13">
            <a:extLst>
              <a:ext uri="{FF2B5EF4-FFF2-40B4-BE49-F238E27FC236}">
                <a16:creationId xmlns:a16="http://schemas.microsoft.com/office/drawing/2014/main" id="{03416528-D28E-4950-866C-6AC9C98F89EE}"/>
              </a:ext>
            </a:extLst>
          </p:cNvPr>
          <p:cNvGraphicFramePr/>
          <p:nvPr/>
        </p:nvGraphicFramePr>
        <p:xfrm>
          <a:off x="606391" y="1761423"/>
          <a:ext cx="4793382" cy="3934578"/>
        </p:xfrm>
        <a:graphic>
          <a:graphicData uri="http://schemas.openxmlformats.org/drawingml/2006/chart">
            <c:chart xmlns:c="http://schemas.openxmlformats.org/drawingml/2006/chart" xmlns:r="http://schemas.openxmlformats.org/officeDocument/2006/relationships" r:id="rId7"/>
          </a:graphicData>
        </a:graphic>
      </p:graphicFrame>
      <p:sp>
        <p:nvSpPr>
          <p:cNvPr id="7" name="ZoneTexte 6">
            <a:extLst>
              <a:ext uri="{FF2B5EF4-FFF2-40B4-BE49-F238E27FC236}">
                <a16:creationId xmlns:a16="http://schemas.microsoft.com/office/drawing/2014/main" id="{88CB1DF9-C77F-4FC0-8E2E-31AF4534A876}"/>
              </a:ext>
            </a:extLst>
          </p:cNvPr>
          <p:cNvSpPr txBox="1"/>
          <p:nvPr/>
        </p:nvSpPr>
        <p:spPr>
          <a:xfrm>
            <a:off x="6545178" y="1204527"/>
            <a:ext cx="4793382" cy="369332"/>
          </a:xfrm>
          <a:prstGeom prst="rect">
            <a:avLst/>
          </a:prstGeom>
          <a:noFill/>
        </p:spPr>
        <p:txBody>
          <a:bodyPr wrap="square" rtlCol="0">
            <a:spAutoFit/>
          </a:bodyPr>
          <a:lstStyle/>
          <a:p>
            <a:pPr algn="l" defTabSz="742950"/>
            <a:r>
              <a:rPr lang="en-GB" sz="1800">
                <a:solidFill>
                  <a:schemeClr val="accent1"/>
                </a:solidFill>
                <a:latin typeface="+mn-lt"/>
              </a:rPr>
              <a:t>Summary title text…</a:t>
            </a:r>
            <a:endParaRPr lang="en-GB" sz="1800" dirty="0">
              <a:solidFill>
                <a:schemeClr val="accent1"/>
              </a:solidFill>
              <a:latin typeface="+mn-lt"/>
            </a:endParaRPr>
          </a:p>
        </p:txBody>
      </p:sp>
      <p:sp>
        <p:nvSpPr>
          <p:cNvPr id="11" name="ZoneTexte 10">
            <a:extLst>
              <a:ext uri="{FF2B5EF4-FFF2-40B4-BE49-F238E27FC236}">
                <a16:creationId xmlns:a16="http://schemas.microsoft.com/office/drawing/2014/main" id="{08FF2D83-EEFD-4EF6-A733-CB2DC01DC1DB}"/>
              </a:ext>
            </a:extLst>
          </p:cNvPr>
          <p:cNvSpPr txBox="1"/>
          <p:nvPr/>
        </p:nvSpPr>
        <p:spPr>
          <a:xfrm>
            <a:off x="6545178" y="5696001"/>
            <a:ext cx="4939748" cy="585690"/>
          </a:xfrm>
          <a:prstGeom prst="rect">
            <a:avLst/>
          </a:prstGeom>
          <a:noFill/>
        </p:spPr>
        <p:txBody>
          <a:bodyPr wrap="square" rtlCol="0">
            <a:noAutofit/>
          </a:bodyPr>
          <a:lstStyle/>
          <a:p>
            <a:pPr algn="l" defTabSz="742950"/>
            <a:r>
              <a:rPr lang="en-GB" sz="1200">
                <a:solidFill>
                  <a:schemeClr val="bg1">
                    <a:lumMod val="65000"/>
                  </a:schemeClr>
                </a:solidFill>
                <a:latin typeface="+mn-lt"/>
              </a:rPr>
              <a:t>Source, hypotheses…</a:t>
            </a:r>
            <a:endParaRPr lang="en-GB" sz="1200" dirty="0">
              <a:solidFill>
                <a:schemeClr val="bg1">
                  <a:lumMod val="65000"/>
                </a:schemeClr>
              </a:solidFill>
              <a:latin typeface="+mn-lt"/>
            </a:endParaRPr>
          </a:p>
        </p:txBody>
      </p:sp>
      <p:graphicFrame>
        <p:nvGraphicFramePr>
          <p:cNvPr id="19" name="Graphique 18">
            <a:extLst>
              <a:ext uri="{FF2B5EF4-FFF2-40B4-BE49-F238E27FC236}">
                <a16:creationId xmlns:a16="http://schemas.microsoft.com/office/drawing/2014/main" id="{FFF3E88E-47EA-46FB-9E9D-B590B8A0FDC8}"/>
              </a:ext>
            </a:extLst>
          </p:cNvPr>
          <p:cNvGraphicFramePr/>
          <p:nvPr/>
        </p:nvGraphicFramePr>
        <p:xfrm>
          <a:off x="6618361" y="1611298"/>
          <a:ext cx="4793382" cy="403230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455796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A543C7E-2176-749D-D27E-789BC6D00A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AA543C7E-2176-749D-D27E-789BC6D00A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5A36C0A-A876-937F-F545-E29D6F027113}"/>
              </a:ext>
            </a:extLst>
          </p:cNvPr>
          <p:cNvSpPr>
            <a:spLocks noGrp="1"/>
          </p:cNvSpPr>
          <p:nvPr>
            <p:ph type="title"/>
          </p:nvPr>
        </p:nvSpPr>
        <p:spPr/>
        <p:txBody>
          <a:bodyPr vert="horz"/>
          <a:lstStyle/>
          <a:p>
            <a:r>
              <a:rPr lang="en-GB"/>
              <a:t>Four principles guiding the approach</a:t>
            </a:r>
            <a:endParaRPr lang="en-GB" dirty="0"/>
          </a:p>
        </p:txBody>
      </p:sp>
      <p:grpSp>
        <p:nvGrpSpPr>
          <p:cNvPr id="8" name="Group 11">
            <a:extLst>
              <a:ext uri="{FF2B5EF4-FFF2-40B4-BE49-F238E27FC236}">
                <a16:creationId xmlns:a16="http://schemas.microsoft.com/office/drawing/2014/main" id="{1F40083A-8D1D-8884-2A5A-2C5A2DBB526C}"/>
              </a:ext>
            </a:extLst>
          </p:cNvPr>
          <p:cNvGrpSpPr/>
          <p:nvPr/>
        </p:nvGrpSpPr>
        <p:grpSpPr>
          <a:xfrm>
            <a:off x="4541512" y="2212305"/>
            <a:ext cx="3194007" cy="3072367"/>
            <a:chOff x="3653042" y="1822721"/>
            <a:chExt cx="3984154" cy="3890489"/>
          </a:xfrm>
        </p:grpSpPr>
        <p:sp>
          <p:nvSpPr>
            <p:cNvPr id="9" name="Freeform: Shape 33">
              <a:extLst>
                <a:ext uri="{FF2B5EF4-FFF2-40B4-BE49-F238E27FC236}">
                  <a16:creationId xmlns:a16="http://schemas.microsoft.com/office/drawing/2014/main" id="{3B257FB0-5053-254B-3F23-8E061B3966C0}"/>
                </a:ext>
              </a:extLst>
            </p:cNvPr>
            <p:cNvSpPr/>
            <p:nvPr/>
          </p:nvSpPr>
          <p:spPr>
            <a:xfrm rot="2231616">
              <a:off x="5303720" y="1822721"/>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defRPr/>
              </a:pPr>
              <a:endParaRPr lang="en-GB" sz="1800" kern="0" dirty="0">
                <a:solidFill>
                  <a:srgbClr val="000000"/>
                </a:solidFill>
                <a:latin typeface="Calibri" panose="020F0502020204030204"/>
              </a:endParaRPr>
            </a:p>
          </p:txBody>
        </p:sp>
        <p:sp>
          <p:nvSpPr>
            <p:cNvPr id="10" name="Freeform: Shape 35">
              <a:extLst>
                <a:ext uri="{FF2B5EF4-FFF2-40B4-BE49-F238E27FC236}">
                  <a16:creationId xmlns:a16="http://schemas.microsoft.com/office/drawing/2014/main" id="{352780C0-21A1-E6F2-9A30-291780825FBD}"/>
                </a:ext>
              </a:extLst>
            </p:cNvPr>
            <p:cNvSpPr/>
            <p:nvPr/>
          </p:nvSpPr>
          <p:spPr>
            <a:xfrm rot="7631616">
              <a:off x="5542290" y="3141979"/>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defRPr/>
              </a:pPr>
              <a:endParaRPr lang="en-GB" sz="1800" kern="0" dirty="0">
                <a:solidFill>
                  <a:srgbClr val="000000"/>
                </a:solidFill>
                <a:latin typeface="Calibri" panose="020F0502020204030204"/>
              </a:endParaRPr>
            </a:p>
          </p:txBody>
        </p:sp>
        <p:sp>
          <p:nvSpPr>
            <p:cNvPr id="11" name="Freeform: Shape 37">
              <a:extLst>
                <a:ext uri="{FF2B5EF4-FFF2-40B4-BE49-F238E27FC236}">
                  <a16:creationId xmlns:a16="http://schemas.microsoft.com/office/drawing/2014/main" id="{365BD447-9F19-2FFF-0484-03DB0741BABC}"/>
                </a:ext>
              </a:extLst>
            </p:cNvPr>
            <p:cNvSpPr/>
            <p:nvPr/>
          </p:nvSpPr>
          <p:spPr>
            <a:xfrm rot="13031616">
              <a:off x="4178640" y="3305303"/>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defRPr/>
              </a:pPr>
              <a:endParaRPr lang="en-GB" sz="1800" kern="0" dirty="0">
                <a:solidFill>
                  <a:srgbClr val="000000"/>
                </a:solidFill>
                <a:latin typeface="Calibri" panose="020F0502020204030204"/>
              </a:endParaRPr>
            </a:p>
          </p:txBody>
        </p:sp>
        <p:sp>
          <p:nvSpPr>
            <p:cNvPr id="12" name="Freeform: Shape 38">
              <a:extLst>
                <a:ext uri="{FF2B5EF4-FFF2-40B4-BE49-F238E27FC236}">
                  <a16:creationId xmlns:a16="http://schemas.microsoft.com/office/drawing/2014/main" id="{36DFA8C1-AD02-7C68-BB42-24E2DF56F8BC}"/>
                </a:ext>
              </a:extLst>
            </p:cNvPr>
            <p:cNvSpPr/>
            <p:nvPr/>
          </p:nvSpPr>
          <p:spPr>
            <a:xfrm rot="18431616">
              <a:off x="3966043" y="1951818"/>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1" fontAlgn="auto" hangingPunct="1">
                <a:spcBef>
                  <a:spcPts val="0"/>
                </a:spcBef>
                <a:spcAft>
                  <a:spcPts val="0"/>
                </a:spcAft>
                <a:buClrTx/>
                <a:defRPr/>
              </a:pPr>
              <a:endParaRPr lang="en-GB" sz="1800" kern="0" dirty="0">
                <a:solidFill>
                  <a:srgbClr val="000000"/>
                </a:solidFill>
                <a:latin typeface="Calibri" panose="020F0502020204030204"/>
              </a:endParaRPr>
            </a:p>
          </p:txBody>
        </p:sp>
      </p:grpSp>
      <p:sp>
        <p:nvSpPr>
          <p:cNvPr id="13" name="Rectangle 12">
            <a:extLst>
              <a:ext uri="{FF2B5EF4-FFF2-40B4-BE49-F238E27FC236}">
                <a16:creationId xmlns:a16="http://schemas.microsoft.com/office/drawing/2014/main" id="{5D4C667B-51AE-D36D-A0FF-76CC8A2F05A7}"/>
              </a:ext>
            </a:extLst>
          </p:cNvPr>
          <p:cNvSpPr/>
          <p:nvPr/>
        </p:nvSpPr>
        <p:spPr bwMode="auto">
          <a:xfrm>
            <a:off x="1081794" y="1265044"/>
            <a:ext cx="3283605" cy="1587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3"/>
                </a:solidFill>
                <a:latin typeface="Arial" panose="020B0604020202020204" pitchFamily="34" charset="0"/>
                <a:cs typeface="Arial" pitchFamily="34" charset="0"/>
              </a:rPr>
              <a:t>Principle 1</a:t>
            </a:r>
          </a:p>
          <a:p>
            <a:pPr algn="just" defTabSz="1125444" eaLnBrk="1" hangingPunct="1"/>
            <a:r>
              <a:rPr lang="en-GB" b="0" kern="1200" dirty="0">
                <a:solidFill>
                  <a:schemeClr val="tx1"/>
                </a:solidFill>
                <a:latin typeface="+mn-lt"/>
                <a:ea typeface="+mn-ea"/>
                <a:cs typeface="+mn-cs"/>
              </a:rPr>
              <a:t>Lorem ipsum Lorem ipsum</a:t>
            </a:r>
            <a:r>
              <a:rPr lang="en-GB" dirty="0">
                <a:solidFill>
                  <a:schemeClr val="tx1"/>
                </a:solidFill>
              </a:rPr>
              <a:t> </a:t>
            </a:r>
            <a:r>
              <a:rPr lang="en-GB" b="0" kern="1200" dirty="0">
                <a:solidFill>
                  <a:schemeClr val="tx1"/>
                </a:solidFill>
                <a:latin typeface="+mn-lt"/>
                <a:ea typeface="+mn-ea"/>
                <a:cs typeface="+mn-cs"/>
              </a:rPr>
              <a:t>Lorem ipsum Lorem ipsum 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p>
        </p:txBody>
      </p:sp>
      <p:sp>
        <p:nvSpPr>
          <p:cNvPr id="14" name="Rectangle 13">
            <a:extLst>
              <a:ext uri="{FF2B5EF4-FFF2-40B4-BE49-F238E27FC236}">
                <a16:creationId xmlns:a16="http://schemas.microsoft.com/office/drawing/2014/main" id="{F5BDB44D-9FCA-8CF4-48E0-C74A2EAA7EFA}"/>
              </a:ext>
            </a:extLst>
          </p:cNvPr>
          <p:cNvSpPr/>
          <p:nvPr/>
        </p:nvSpPr>
        <p:spPr bwMode="auto">
          <a:xfrm>
            <a:off x="1159231" y="4630539"/>
            <a:ext cx="3283605" cy="1587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2"/>
                </a:solidFill>
                <a:latin typeface="Arial" panose="020B0604020202020204" pitchFamily="34" charset="0"/>
                <a:cs typeface="Arial" pitchFamily="34" charset="0"/>
              </a:rPr>
              <a:t>Principle 2</a:t>
            </a:r>
          </a:p>
          <a:p>
            <a:pPr algn="just" defTabSz="1125444" eaLnBrk="1" hangingPunct="1"/>
            <a:r>
              <a:rPr lang="en-GB" b="0" kern="1200" dirty="0">
                <a:solidFill>
                  <a:schemeClr val="tx1"/>
                </a:solidFill>
                <a:latin typeface="+mn-lt"/>
                <a:ea typeface="+mn-ea"/>
                <a:cs typeface="+mn-cs"/>
              </a:rPr>
              <a:t>Lorem ipsum Lorem ipsum</a:t>
            </a:r>
            <a:r>
              <a:rPr lang="en-GB" dirty="0">
                <a:solidFill>
                  <a:schemeClr val="tx1"/>
                </a:solidFill>
              </a:rPr>
              <a:t> </a:t>
            </a:r>
            <a:r>
              <a:rPr lang="en-GB" b="0" kern="1200" dirty="0">
                <a:solidFill>
                  <a:schemeClr val="tx1"/>
                </a:solidFill>
                <a:latin typeface="+mn-lt"/>
                <a:ea typeface="+mn-ea"/>
                <a:cs typeface="+mn-cs"/>
              </a:rPr>
              <a:t>Lorem ipsum Lorem ipsum 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p>
        </p:txBody>
      </p:sp>
      <p:sp>
        <p:nvSpPr>
          <p:cNvPr id="15" name="Rectangle 14">
            <a:extLst>
              <a:ext uri="{FF2B5EF4-FFF2-40B4-BE49-F238E27FC236}">
                <a16:creationId xmlns:a16="http://schemas.microsoft.com/office/drawing/2014/main" id="{9BBD2787-98FB-AF63-4E00-53ECAE25C1AF}"/>
              </a:ext>
            </a:extLst>
          </p:cNvPr>
          <p:cNvSpPr/>
          <p:nvPr/>
        </p:nvSpPr>
        <p:spPr bwMode="auto">
          <a:xfrm>
            <a:off x="7911628" y="1265044"/>
            <a:ext cx="3283605" cy="1587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5"/>
                </a:solidFill>
                <a:latin typeface="Arial" panose="020B0604020202020204" pitchFamily="34" charset="0"/>
                <a:cs typeface="Arial" pitchFamily="34" charset="0"/>
              </a:rPr>
              <a:t>Principle 3</a:t>
            </a:r>
          </a:p>
          <a:p>
            <a:pPr algn="just" defTabSz="1125444" eaLnBrk="1" hangingPunct="1"/>
            <a:r>
              <a:rPr lang="en-GB" b="0" kern="1200" dirty="0">
                <a:solidFill>
                  <a:schemeClr val="tx1"/>
                </a:solidFill>
                <a:latin typeface="+mn-lt"/>
                <a:ea typeface="+mn-ea"/>
                <a:cs typeface="+mn-cs"/>
              </a:rPr>
              <a:t>Lorem ipsum Lorem ipsum</a:t>
            </a:r>
            <a:r>
              <a:rPr lang="en-GB" dirty="0">
                <a:solidFill>
                  <a:schemeClr val="tx1"/>
                </a:solidFill>
              </a:rPr>
              <a:t> </a:t>
            </a:r>
            <a:r>
              <a:rPr lang="en-GB" b="0" kern="1200" dirty="0">
                <a:solidFill>
                  <a:schemeClr val="tx1"/>
                </a:solidFill>
                <a:latin typeface="+mn-lt"/>
                <a:ea typeface="+mn-ea"/>
                <a:cs typeface="+mn-cs"/>
              </a:rPr>
              <a:t>Lorem ipsum Lorem ipsum 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p>
        </p:txBody>
      </p:sp>
      <p:sp>
        <p:nvSpPr>
          <p:cNvPr id="16" name="Rectangle 15">
            <a:extLst>
              <a:ext uri="{FF2B5EF4-FFF2-40B4-BE49-F238E27FC236}">
                <a16:creationId xmlns:a16="http://schemas.microsoft.com/office/drawing/2014/main" id="{09FDFC88-B519-69EC-8314-323F70A50575}"/>
              </a:ext>
            </a:extLst>
          </p:cNvPr>
          <p:cNvSpPr/>
          <p:nvPr/>
        </p:nvSpPr>
        <p:spPr bwMode="auto">
          <a:xfrm>
            <a:off x="7989065" y="4630539"/>
            <a:ext cx="3283605" cy="1587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6"/>
                </a:solidFill>
                <a:latin typeface="Arial" panose="020B0604020202020204" pitchFamily="34" charset="0"/>
                <a:cs typeface="Arial" pitchFamily="34" charset="0"/>
              </a:rPr>
              <a:t>Principle 4</a:t>
            </a:r>
          </a:p>
          <a:p>
            <a:pPr algn="just" defTabSz="1125444" eaLnBrk="1" hangingPunct="1"/>
            <a:r>
              <a:rPr lang="en-GB" b="0" kern="1200" dirty="0">
                <a:solidFill>
                  <a:schemeClr val="tx1"/>
                </a:solidFill>
                <a:latin typeface="+mn-lt"/>
                <a:ea typeface="+mn-ea"/>
                <a:cs typeface="+mn-cs"/>
              </a:rPr>
              <a:t>Lorem ipsum Lorem ipsum</a:t>
            </a:r>
            <a:r>
              <a:rPr lang="en-GB" dirty="0">
                <a:solidFill>
                  <a:schemeClr val="tx1"/>
                </a:solidFill>
              </a:rPr>
              <a:t> </a:t>
            </a:r>
            <a:r>
              <a:rPr lang="en-GB" b="0" kern="1200" dirty="0">
                <a:solidFill>
                  <a:schemeClr val="tx1"/>
                </a:solidFill>
                <a:latin typeface="+mn-lt"/>
                <a:ea typeface="+mn-ea"/>
                <a:cs typeface="+mn-cs"/>
              </a:rPr>
              <a:t>Lorem ipsum Lorem ipsum 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r>
              <a:rPr lang="en-GB" dirty="0">
                <a:solidFill>
                  <a:schemeClr val="tx1"/>
                </a:solidFill>
              </a:rPr>
              <a:t> </a:t>
            </a:r>
            <a:r>
              <a:rPr lang="en-GB" b="0" kern="1200" dirty="0">
                <a:solidFill>
                  <a:schemeClr val="tx1"/>
                </a:solidFill>
                <a:latin typeface="+mn-lt"/>
                <a:ea typeface="+mn-ea"/>
                <a:cs typeface="+mn-cs"/>
              </a:rPr>
              <a:t>Lorem ipsum</a:t>
            </a:r>
          </a:p>
        </p:txBody>
      </p:sp>
    </p:spTree>
    <p:extLst>
      <p:ext uri="{BB962C8B-B14F-4D97-AF65-F5344CB8AC3E}">
        <p14:creationId xmlns:p14="http://schemas.microsoft.com/office/powerpoint/2010/main" val="33880867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206E12E-9FD6-96EA-67C9-1C94DAC90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7206E12E-9FD6-96EA-67C9-1C94DAC90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98AFF94-7E6C-1C27-144C-14865823F93E}"/>
              </a:ext>
            </a:extLst>
          </p:cNvPr>
          <p:cNvSpPr>
            <a:spLocks noGrp="1"/>
          </p:cNvSpPr>
          <p:nvPr>
            <p:ph type="title"/>
          </p:nvPr>
        </p:nvSpPr>
        <p:spPr/>
        <p:txBody>
          <a:bodyPr vert="horz"/>
          <a:lstStyle/>
          <a:p>
            <a:r>
              <a:rPr lang="en-GB" dirty="0"/>
              <a:t>Five steps guiding the approach</a:t>
            </a:r>
          </a:p>
        </p:txBody>
      </p:sp>
      <p:sp>
        <p:nvSpPr>
          <p:cNvPr id="26" name="Oval 54">
            <a:extLst>
              <a:ext uri="{FF2B5EF4-FFF2-40B4-BE49-F238E27FC236}">
                <a16:creationId xmlns:a16="http://schemas.microsoft.com/office/drawing/2014/main" id="{1E17F062-B2FF-2489-8684-D9A968DCF4E7}"/>
              </a:ext>
            </a:extLst>
          </p:cNvPr>
          <p:cNvSpPr/>
          <p:nvPr/>
        </p:nvSpPr>
        <p:spPr>
          <a:xfrm>
            <a:off x="3948847" y="3188229"/>
            <a:ext cx="570595" cy="570595"/>
          </a:xfrm>
          <a:prstGeom prst="ellipse">
            <a:avLst/>
          </a:prstGeom>
          <a:solidFill>
            <a:schemeClr val="accent2"/>
          </a:solidFill>
          <a:ln w="12700" cap="flat" cmpd="sng" algn="ctr">
            <a:noFill/>
            <a:prstDash val="solid"/>
            <a:miter lim="800000"/>
          </a:ln>
          <a:effectLst/>
        </p:spPr>
        <p:txBody>
          <a:bodyPr rtlCol="0" anchor="ctr"/>
          <a:lstStyle/>
          <a:p>
            <a:pPr algn="ctr" defTabSz="1218987">
              <a:defRPr/>
            </a:pPr>
            <a:r>
              <a:rPr lang="en-GB" sz="2800" kern="0">
                <a:solidFill>
                  <a:srgbClr val="FFFFFF"/>
                </a:solidFill>
                <a:latin typeface="Avenir LT Std 55 Roman" panose="020B0503020203020204" pitchFamily="34" charset="0"/>
              </a:rPr>
              <a:t>5</a:t>
            </a:r>
            <a:endParaRPr lang="en-GB" sz="2800" kern="0" dirty="0">
              <a:solidFill>
                <a:srgbClr val="FFFFFF"/>
              </a:solidFill>
              <a:latin typeface="Avenir LT Std 55 Roman" panose="020B0503020203020204" pitchFamily="34" charset="0"/>
            </a:endParaRPr>
          </a:p>
        </p:txBody>
      </p:sp>
      <p:sp>
        <p:nvSpPr>
          <p:cNvPr id="27" name="Freeform 86">
            <a:extLst>
              <a:ext uri="{FF2B5EF4-FFF2-40B4-BE49-F238E27FC236}">
                <a16:creationId xmlns:a16="http://schemas.microsoft.com/office/drawing/2014/main" id="{5923D482-667D-A725-A5FF-21191F2BF8DC}"/>
              </a:ext>
            </a:extLst>
          </p:cNvPr>
          <p:cNvSpPr>
            <a:spLocks/>
          </p:cNvSpPr>
          <p:nvPr/>
        </p:nvSpPr>
        <p:spPr bwMode="auto">
          <a:xfrm>
            <a:off x="4105473" y="3985002"/>
            <a:ext cx="437193" cy="1430638"/>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rgbClr val="595959"/>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28" name="Freeform 87">
            <a:extLst>
              <a:ext uri="{FF2B5EF4-FFF2-40B4-BE49-F238E27FC236}">
                <a16:creationId xmlns:a16="http://schemas.microsoft.com/office/drawing/2014/main" id="{0FB1C73F-198C-316F-BFE7-114AC3ED564B}"/>
              </a:ext>
            </a:extLst>
          </p:cNvPr>
          <p:cNvSpPr>
            <a:spLocks/>
          </p:cNvSpPr>
          <p:nvPr/>
        </p:nvSpPr>
        <p:spPr bwMode="auto">
          <a:xfrm>
            <a:off x="5305672" y="5993656"/>
            <a:ext cx="1476085" cy="159386"/>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rgbClr val="595959"/>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29" name="Freeform 88">
            <a:extLst>
              <a:ext uri="{FF2B5EF4-FFF2-40B4-BE49-F238E27FC236}">
                <a16:creationId xmlns:a16="http://schemas.microsoft.com/office/drawing/2014/main" id="{14BD5E1C-F09C-399B-A89D-79D59CB502D1}"/>
              </a:ext>
            </a:extLst>
          </p:cNvPr>
          <p:cNvSpPr>
            <a:spLocks/>
          </p:cNvSpPr>
          <p:nvPr/>
        </p:nvSpPr>
        <p:spPr bwMode="auto">
          <a:xfrm>
            <a:off x="7564608" y="4088061"/>
            <a:ext cx="494802" cy="1397353"/>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rgbClr val="595959"/>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30" name="Freeform 89">
            <a:extLst>
              <a:ext uri="{FF2B5EF4-FFF2-40B4-BE49-F238E27FC236}">
                <a16:creationId xmlns:a16="http://schemas.microsoft.com/office/drawing/2014/main" id="{9F96F5C1-63AA-7882-AE93-C39EF7752FC9}"/>
              </a:ext>
            </a:extLst>
          </p:cNvPr>
          <p:cNvSpPr>
            <a:spLocks/>
          </p:cNvSpPr>
          <p:nvPr/>
        </p:nvSpPr>
        <p:spPr bwMode="auto">
          <a:xfrm>
            <a:off x="6597406" y="2268236"/>
            <a:ext cx="1194438" cy="914072"/>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rgbClr val="595959"/>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31" name="Freeform 90">
            <a:extLst>
              <a:ext uri="{FF2B5EF4-FFF2-40B4-BE49-F238E27FC236}">
                <a16:creationId xmlns:a16="http://schemas.microsoft.com/office/drawing/2014/main" id="{E88DB3C1-BB90-E183-23D1-5160DA457B3A}"/>
              </a:ext>
            </a:extLst>
          </p:cNvPr>
          <p:cNvSpPr>
            <a:spLocks/>
          </p:cNvSpPr>
          <p:nvPr/>
        </p:nvSpPr>
        <p:spPr bwMode="auto">
          <a:xfrm>
            <a:off x="4426165" y="2294387"/>
            <a:ext cx="1160334" cy="803428"/>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rgbClr val="595959"/>
            </a:solidFill>
            <a:prstDash val="solid"/>
            <a:miter lim="800000"/>
            <a:headEnd/>
            <a:tailEnd type="ova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32" name="Oval 69">
            <a:extLst>
              <a:ext uri="{FF2B5EF4-FFF2-40B4-BE49-F238E27FC236}">
                <a16:creationId xmlns:a16="http://schemas.microsoft.com/office/drawing/2014/main" id="{4E245298-656F-0C2C-7CA8-3950CF8DBA01}"/>
              </a:ext>
            </a:extLst>
          </p:cNvPr>
          <p:cNvSpPr/>
          <p:nvPr/>
        </p:nvSpPr>
        <p:spPr>
          <a:xfrm>
            <a:off x="5836615" y="1843171"/>
            <a:ext cx="570595" cy="570595"/>
          </a:xfrm>
          <a:prstGeom prst="ellipse">
            <a:avLst/>
          </a:prstGeom>
          <a:solidFill>
            <a:schemeClr val="accent4"/>
          </a:solidFill>
          <a:ln w="12700" cap="flat" cmpd="sng" algn="ctr">
            <a:noFill/>
            <a:prstDash val="solid"/>
            <a:miter lim="800000"/>
          </a:ln>
          <a:effectLst/>
        </p:spPr>
        <p:txBody>
          <a:bodyPr rtlCol="0" anchor="ctr"/>
          <a:lstStyle/>
          <a:p>
            <a:pPr algn="ctr" defTabSz="1218987">
              <a:defRPr/>
            </a:pPr>
            <a:r>
              <a:rPr lang="en-GB" sz="2800" kern="0">
                <a:solidFill>
                  <a:srgbClr val="FFFFFF"/>
                </a:solidFill>
                <a:latin typeface="Avenir LT Std 55 Roman" panose="020B0503020203020204" pitchFamily="34" charset="0"/>
              </a:rPr>
              <a:t>1</a:t>
            </a:r>
            <a:endParaRPr lang="en-GB" sz="2800" kern="0" dirty="0">
              <a:solidFill>
                <a:srgbClr val="FFFFFF"/>
              </a:solidFill>
              <a:latin typeface="Avenir LT Std 55 Roman" panose="020B0503020203020204" pitchFamily="34" charset="0"/>
            </a:endParaRPr>
          </a:p>
        </p:txBody>
      </p:sp>
      <p:sp>
        <p:nvSpPr>
          <p:cNvPr id="33" name="Oval 71">
            <a:extLst>
              <a:ext uri="{FF2B5EF4-FFF2-40B4-BE49-F238E27FC236}">
                <a16:creationId xmlns:a16="http://schemas.microsoft.com/office/drawing/2014/main" id="{9940F1DE-A51A-330B-702F-42B2A366677F}"/>
              </a:ext>
            </a:extLst>
          </p:cNvPr>
          <p:cNvSpPr/>
          <p:nvPr/>
        </p:nvSpPr>
        <p:spPr>
          <a:xfrm>
            <a:off x="4576828" y="5463270"/>
            <a:ext cx="570595" cy="570595"/>
          </a:xfrm>
          <a:prstGeom prst="ellipse">
            <a:avLst/>
          </a:prstGeom>
          <a:solidFill>
            <a:schemeClr val="accent2">
              <a:lumMod val="75000"/>
            </a:schemeClr>
          </a:solidFill>
          <a:ln w="12700" cap="flat" cmpd="sng" algn="ctr">
            <a:noFill/>
            <a:prstDash val="solid"/>
            <a:miter lim="800000"/>
          </a:ln>
          <a:effectLst/>
        </p:spPr>
        <p:txBody>
          <a:bodyPr rtlCol="0" anchor="ctr"/>
          <a:lstStyle/>
          <a:p>
            <a:pPr algn="ctr" defTabSz="1218987">
              <a:defRPr/>
            </a:pPr>
            <a:r>
              <a:rPr lang="en-GB" sz="2800" kern="0">
                <a:solidFill>
                  <a:srgbClr val="FFFFFF"/>
                </a:solidFill>
                <a:latin typeface="Avenir LT Std 55 Roman" panose="020B0503020203020204" pitchFamily="34" charset="0"/>
              </a:rPr>
              <a:t>4</a:t>
            </a:r>
            <a:endParaRPr lang="en-GB" sz="2800" kern="0" dirty="0">
              <a:solidFill>
                <a:srgbClr val="FFFFFF"/>
              </a:solidFill>
              <a:latin typeface="Avenir LT Std 55 Roman" panose="020B0503020203020204" pitchFamily="34" charset="0"/>
            </a:endParaRPr>
          </a:p>
        </p:txBody>
      </p:sp>
      <p:sp>
        <p:nvSpPr>
          <p:cNvPr id="34" name="Oval 70">
            <a:extLst>
              <a:ext uri="{FF2B5EF4-FFF2-40B4-BE49-F238E27FC236}">
                <a16:creationId xmlns:a16="http://schemas.microsoft.com/office/drawing/2014/main" id="{FBAFC6BE-50BD-3DF5-0159-3A6345A8A8BB}"/>
              </a:ext>
            </a:extLst>
          </p:cNvPr>
          <p:cNvSpPr/>
          <p:nvPr/>
        </p:nvSpPr>
        <p:spPr>
          <a:xfrm>
            <a:off x="7672558" y="3341589"/>
            <a:ext cx="570595" cy="570595"/>
          </a:xfrm>
          <a:prstGeom prst="ellipse">
            <a:avLst/>
          </a:prstGeom>
          <a:solidFill>
            <a:schemeClr val="accent5"/>
          </a:solidFill>
          <a:ln w="12700" cap="flat" cmpd="sng" algn="ctr">
            <a:noFill/>
            <a:prstDash val="solid"/>
            <a:miter lim="800000"/>
          </a:ln>
          <a:effectLst/>
        </p:spPr>
        <p:txBody>
          <a:bodyPr rtlCol="0" anchor="ctr"/>
          <a:lstStyle/>
          <a:p>
            <a:pPr algn="ctr" defTabSz="1218987">
              <a:defRPr/>
            </a:pPr>
            <a:r>
              <a:rPr lang="en-GB" sz="2800" kern="0">
                <a:solidFill>
                  <a:srgbClr val="FFFFFF"/>
                </a:solidFill>
                <a:latin typeface="Avenir LT Std 55 Roman" panose="020B0503020203020204" pitchFamily="34" charset="0"/>
              </a:rPr>
              <a:t>2</a:t>
            </a:r>
            <a:endParaRPr lang="en-GB" sz="3600" kern="0" dirty="0">
              <a:solidFill>
                <a:srgbClr val="FFFFFF"/>
              </a:solidFill>
              <a:latin typeface="Avenir LT Std 55 Roman" panose="020B0503020203020204" pitchFamily="34" charset="0"/>
            </a:endParaRPr>
          </a:p>
        </p:txBody>
      </p:sp>
      <p:sp>
        <p:nvSpPr>
          <p:cNvPr id="35" name="Oval 72">
            <a:extLst>
              <a:ext uri="{FF2B5EF4-FFF2-40B4-BE49-F238E27FC236}">
                <a16:creationId xmlns:a16="http://schemas.microsoft.com/office/drawing/2014/main" id="{D324F143-C1D7-7348-45AD-36ED4B491CB0}"/>
              </a:ext>
            </a:extLst>
          </p:cNvPr>
          <p:cNvSpPr/>
          <p:nvPr/>
        </p:nvSpPr>
        <p:spPr>
          <a:xfrm>
            <a:off x="6901799" y="5601501"/>
            <a:ext cx="570595" cy="570595"/>
          </a:xfrm>
          <a:prstGeom prst="ellipse">
            <a:avLst/>
          </a:prstGeom>
          <a:solidFill>
            <a:schemeClr val="tx2"/>
          </a:solidFill>
          <a:ln w="12700" cap="flat" cmpd="sng" algn="ctr">
            <a:noFill/>
            <a:prstDash val="solid"/>
            <a:miter lim="800000"/>
          </a:ln>
          <a:effectLst/>
        </p:spPr>
        <p:txBody>
          <a:bodyPr rtlCol="0" anchor="ctr"/>
          <a:lstStyle/>
          <a:p>
            <a:pPr algn="ctr" defTabSz="1218987">
              <a:defRPr/>
            </a:pPr>
            <a:r>
              <a:rPr lang="en-GB" sz="2800" kern="0">
                <a:solidFill>
                  <a:srgbClr val="FFFFFF"/>
                </a:solidFill>
                <a:latin typeface="Avenir LT Std 55 Roman" panose="020B0503020203020204" pitchFamily="34" charset="0"/>
              </a:rPr>
              <a:t>3</a:t>
            </a:r>
            <a:endParaRPr lang="en-GB" sz="3600" kern="0" dirty="0">
              <a:solidFill>
                <a:srgbClr val="FFFFFF"/>
              </a:solidFill>
              <a:latin typeface="Avenir LT Std 55 Roman" panose="020B0503020203020204" pitchFamily="34" charset="0"/>
            </a:endParaRPr>
          </a:p>
        </p:txBody>
      </p:sp>
      <p:sp>
        <p:nvSpPr>
          <p:cNvPr id="36" name="Rectangle 35">
            <a:extLst>
              <a:ext uri="{FF2B5EF4-FFF2-40B4-BE49-F238E27FC236}">
                <a16:creationId xmlns:a16="http://schemas.microsoft.com/office/drawing/2014/main" id="{E9AFD295-4819-F1C1-22B2-31FBB2D8DB76}"/>
              </a:ext>
            </a:extLst>
          </p:cNvPr>
          <p:cNvSpPr/>
          <p:nvPr/>
        </p:nvSpPr>
        <p:spPr bwMode="auto">
          <a:xfrm>
            <a:off x="4620000" y="991066"/>
            <a:ext cx="2952000"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4"/>
                </a:solidFill>
                <a:latin typeface="+mj-lt"/>
                <a:cs typeface="Arial" pitchFamily="34" charset="0"/>
              </a:rPr>
              <a:t>Step 1</a:t>
            </a:r>
          </a:p>
          <a:p>
            <a:pPr algn="just" defTabSz="1125444" eaLnBrk="1" hangingPunct="1">
              <a:spcBef>
                <a:spcPts val="0"/>
              </a:spcBef>
            </a:pPr>
            <a:r>
              <a:rPr lang="en-GB" b="0" kern="1200" dirty="0">
                <a:solidFill>
                  <a:schemeClr val="tx1"/>
                </a:solidFill>
                <a:latin typeface="+mj-lt"/>
                <a:ea typeface="+mn-ea"/>
                <a:cs typeface="+mn-cs"/>
              </a:rPr>
              <a:t>Lorem ipsum Lorem ipsum</a:t>
            </a:r>
            <a:r>
              <a:rPr lang="en-GB" dirty="0">
                <a:solidFill>
                  <a:schemeClr val="tx1"/>
                </a:solidFill>
                <a:latin typeface="+mj-lt"/>
              </a:rPr>
              <a:t> </a:t>
            </a:r>
            <a:r>
              <a:rPr lang="en-GB" b="0" kern="1200" dirty="0">
                <a:solidFill>
                  <a:schemeClr val="tx1"/>
                </a:solidFill>
                <a:latin typeface="+mj-lt"/>
                <a:ea typeface="+mn-ea"/>
                <a:cs typeface="+mn-cs"/>
              </a:rPr>
              <a:t>Lorem ipsum Lorem ipsum</a:t>
            </a:r>
          </a:p>
        </p:txBody>
      </p:sp>
      <p:sp>
        <p:nvSpPr>
          <p:cNvPr id="37" name="Rectangle 36">
            <a:extLst>
              <a:ext uri="{FF2B5EF4-FFF2-40B4-BE49-F238E27FC236}">
                <a16:creationId xmlns:a16="http://schemas.microsoft.com/office/drawing/2014/main" id="{1C770CF0-FF6C-E285-0A27-634108C3FE4D}"/>
              </a:ext>
            </a:extLst>
          </p:cNvPr>
          <p:cNvSpPr/>
          <p:nvPr/>
        </p:nvSpPr>
        <p:spPr bwMode="auto">
          <a:xfrm>
            <a:off x="8243152" y="3140802"/>
            <a:ext cx="2952000"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5"/>
                </a:solidFill>
                <a:latin typeface="+mj-lt"/>
                <a:cs typeface="Arial" pitchFamily="34" charset="0"/>
              </a:rPr>
              <a:t>Step 2</a:t>
            </a:r>
          </a:p>
          <a:p>
            <a:pPr algn="just" defTabSz="1125444" eaLnBrk="1" hangingPunct="1">
              <a:spcBef>
                <a:spcPts val="0"/>
              </a:spcBef>
            </a:pPr>
            <a:r>
              <a:rPr lang="en-GB" b="0" kern="1200" dirty="0">
                <a:solidFill>
                  <a:schemeClr val="tx1"/>
                </a:solidFill>
                <a:latin typeface="+mj-lt"/>
                <a:ea typeface="+mn-ea"/>
                <a:cs typeface="+mn-cs"/>
              </a:rPr>
              <a:t>Lorem ipsum Lorem ipsum</a:t>
            </a:r>
            <a:r>
              <a:rPr lang="en-GB" dirty="0">
                <a:solidFill>
                  <a:schemeClr val="tx1"/>
                </a:solidFill>
                <a:latin typeface="+mj-lt"/>
              </a:rPr>
              <a:t> </a:t>
            </a:r>
            <a:r>
              <a:rPr lang="en-GB" b="0" kern="1200" dirty="0">
                <a:solidFill>
                  <a:schemeClr val="tx1"/>
                </a:solidFill>
                <a:latin typeface="+mj-lt"/>
                <a:ea typeface="+mn-ea"/>
                <a:cs typeface="+mn-cs"/>
              </a:rPr>
              <a:t>Lorem ipsum Lorem ipsum</a:t>
            </a:r>
          </a:p>
        </p:txBody>
      </p:sp>
      <p:sp>
        <p:nvSpPr>
          <p:cNvPr id="38" name="Rectangle 37">
            <a:extLst>
              <a:ext uri="{FF2B5EF4-FFF2-40B4-BE49-F238E27FC236}">
                <a16:creationId xmlns:a16="http://schemas.microsoft.com/office/drawing/2014/main" id="{5551E4B3-FE06-C7E7-010D-DA6C9F995AB2}"/>
              </a:ext>
            </a:extLst>
          </p:cNvPr>
          <p:cNvSpPr/>
          <p:nvPr/>
        </p:nvSpPr>
        <p:spPr bwMode="auto">
          <a:xfrm>
            <a:off x="7855039" y="5327906"/>
            <a:ext cx="2952000"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tx2"/>
                </a:solidFill>
                <a:latin typeface="+mj-lt"/>
                <a:cs typeface="Arial" pitchFamily="34" charset="0"/>
              </a:rPr>
              <a:t>Step 3</a:t>
            </a:r>
          </a:p>
          <a:p>
            <a:pPr algn="just" defTabSz="1125444" eaLnBrk="1" hangingPunct="1">
              <a:spcBef>
                <a:spcPts val="0"/>
              </a:spcBef>
            </a:pPr>
            <a:r>
              <a:rPr lang="en-GB" b="0" kern="1200" dirty="0">
                <a:solidFill>
                  <a:schemeClr val="tx1"/>
                </a:solidFill>
                <a:latin typeface="+mj-lt"/>
                <a:ea typeface="+mn-ea"/>
                <a:cs typeface="+mn-cs"/>
              </a:rPr>
              <a:t>Lorem ipsum Lorem ipsum</a:t>
            </a:r>
            <a:r>
              <a:rPr lang="en-GB" dirty="0">
                <a:solidFill>
                  <a:schemeClr val="tx1"/>
                </a:solidFill>
                <a:latin typeface="+mj-lt"/>
              </a:rPr>
              <a:t> </a:t>
            </a:r>
            <a:r>
              <a:rPr lang="en-GB" b="0" kern="1200" dirty="0">
                <a:solidFill>
                  <a:schemeClr val="tx1"/>
                </a:solidFill>
                <a:latin typeface="+mj-lt"/>
                <a:ea typeface="+mn-ea"/>
                <a:cs typeface="+mn-cs"/>
              </a:rPr>
              <a:t>Lorem ipsum Lorem ipsum</a:t>
            </a:r>
          </a:p>
        </p:txBody>
      </p:sp>
      <p:sp>
        <p:nvSpPr>
          <p:cNvPr id="39" name="Rectangle 38">
            <a:extLst>
              <a:ext uri="{FF2B5EF4-FFF2-40B4-BE49-F238E27FC236}">
                <a16:creationId xmlns:a16="http://schemas.microsoft.com/office/drawing/2014/main" id="{DEF40395-1E93-02B6-6473-1B5BE4024F11}"/>
              </a:ext>
            </a:extLst>
          </p:cNvPr>
          <p:cNvSpPr/>
          <p:nvPr/>
        </p:nvSpPr>
        <p:spPr bwMode="auto">
          <a:xfrm>
            <a:off x="1305729" y="5327906"/>
            <a:ext cx="2952000"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dirty="0">
                <a:solidFill>
                  <a:schemeClr val="accent2">
                    <a:lumMod val="75000"/>
                  </a:schemeClr>
                </a:solidFill>
                <a:latin typeface="+mj-lt"/>
                <a:cs typeface="Arial" pitchFamily="34" charset="0"/>
              </a:rPr>
              <a:t>Step 4</a:t>
            </a:r>
          </a:p>
          <a:p>
            <a:pPr algn="just" defTabSz="1125444" eaLnBrk="1" hangingPunct="1">
              <a:spcBef>
                <a:spcPts val="0"/>
              </a:spcBef>
            </a:pPr>
            <a:r>
              <a:rPr lang="en-GB" b="0" kern="1200" dirty="0">
                <a:solidFill>
                  <a:schemeClr val="tx1"/>
                </a:solidFill>
                <a:latin typeface="+mj-lt"/>
                <a:ea typeface="+mn-ea"/>
                <a:cs typeface="+mn-cs"/>
              </a:rPr>
              <a:t>Lorem ipsum Lorem ipsum</a:t>
            </a:r>
            <a:r>
              <a:rPr lang="en-GB" dirty="0">
                <a:solidFill>
                  <a:schemeClr val="tx1"/>
                </a:solidFill>
                <a:latin typeface="+mj-lt"/>
              </a:rPr>
              <a:t> </a:t>
            </a:r>
            <a:r>
              <a:rPr lang="en-GB" b="0" kern="1200" dirty="0">
                <a:solidFill>
                  <a:schemeClr val="tx1"/>
                </a:solidFill>
                <a:latin typeface="+mj-lt"/>
                <a:ea typeface="+mn-ea"/>
                <a:cs typeface="+mn-cs"/>
              </a:rPr>
              <a:t>Lorem ipsum Lorem ipsum</a:t>
            </a:r>
          </a:p>
        </p:txBody>
      </p:sp>
      <p:sp>
        <p:nvSpPr>
          <p:cNvPr id="40" name="Rectangle 39">
            <a:extLst>
              <a:ext uri="{FF2B5EF4-FFF2-40B4-BE49-F238E27FC236}">
                <a16:creationId xmlns:a16="http://schemas.microsoft.com/office/drawing/2014/main" id="{1C104C82-07AB-3FC3-7B03-FA83C3A1E667}"/>
              </a:ext>
            </a:extLst>
          </p:cNvPr>
          <p:cNvSpPr/>
          <p:nvPr/>
        </p:nvSpPr>
        <p:spPr bwMode="auto">
          <a:xfrm>
            <a:off x="926227" y="3119231"/>
            <a:ext cx="2952000"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just" eaLnBrk="1" hangingPunct="1">
              <a:lnSpc>
                <a:spcPct val="90000"/>
              </a:lnSpc>
              <a:spcBef>
                <a:spcPts val="400"/>
              </a:spcBef>
              <a:spcAft>
                <a:spcPts val="400"/>
              </a:spcAft>
              <a:buClrTx/>
              <a:defRPr/>
            </a:pPr>
            <a:r>
              <a:rPr lang="en-GB" b="1" kern="0">
                <a:solidFill>
                  <a:schemeClr val="accent2"/>
                </a:solidFill>
                <a:latin typeface="+mj-lt"/>
                <a:cs typeface="Arial" pitchFamily="34" charset="0"/>
              </a:rPr>
              <a:t>Step 5</a:t>
            </a:r>
          </a:p>
          <a:p>
            <a:pPr algn="just" defTabSz="1125444" eaLnBrk="1" hangingPunct="1">
              <a:spcBef>
                <a:spcPts val="0"/>
              </a:spcBef>
            </a:pPr>
            <a:r>
              <a:rPr lang="en-GB" b="0" kern="1200">
                <a:solidFill>
                  <a:schemeClr val="tx1"/>
                </a:solidFill>
                <a:latin typeface="+mj-lt"/>
                <a:ea typeface="+mn-ea"/>
                <a:cs typeface="+mn-cs"/>
              </a:rPr>
              <a:t>Lorem ipsum Lorem ipsum</a:t>
            </a:r>
            <a:r>
              <a:rPr lang="en-GB">
                <a:solidFill>
                  <a:schemeClr val="tx1"/>
                </a:solidFill>
                <a:latin typeface="+mj-lt"/>
              </a:rPr>
              <a:t> </a:t>
            </a:r>
            <a:r>
              <a:rPr lang="en-GB" b="0" kern="1200">
                <a:solidFill>
                  <a:schemeClr val="tx1"/>
                </a:solidFill>
                <a:latin typeface="+mj-lt"/>
                <a:ea typeface="+mn-ea"/>
                <a:cs typeface="+mn-cs"/>
              </a:rPr>
              <a:t>Lorem ipsum Lorem ipsum</a:t>
            </a:r>
            <a:endParaRPr lang="en-GB" b="0" kern="1200" dirty="0">
              <a:solidFill>
                <a:schemeClr val="tx1"/>
              </a:solidFill>
              <a:latin typeface="+mj-lt"/>
              <a:ea typeface="+mn-ea"/>
              <a:cs typeface="+mn-cs"/>
            </a:endParaRPr>
          </a:p>
        </p:txBody>
      </p:sp>
      <p:grpSp>
        <p:nvGrpSpPr>
          <p:cNvPr id="41" name="Groupe 40">
            <a:extLst>
              <a:ext uri="{FF2B5EF4-FFF2-40B4-BE49-F238E27FC236}">
                <a16:creationId xmlns:a16="http://schemas.microsoft.com/office/drawing/2014/main" id="{CEF5A3A6-1E73-12A3-44F2-2A3AE61EB3E9}"/>
              </a:ext>
            </a:extLst>
          </p:cNvPr>
          <p:cNvGrpSpPr/>
          <p:nvPr/>
        </p:nvGrpSpPr>
        <p:grpSpPr>
          <a:xfrm>
            <a:off x="4939010" y="3033076"/>
            <a:ext cx="2314011" cy="2275782"/>
            <a:chOff x="4660812" y="2780966"/>
            <a:chExt cx="2722095" cy="2677123"/>
          </a:xfrm>
        </p:grpSpPr>
        <p:grpSp>
          <p:nvGrpSpPr>
            <p:cNvPr id="42" name="Groupe 41">
              <a:extLst>
                <a:ext uri="{FF2B5EF4-FFF2-40B4-BE49-F238E27FC236}">
                  <a16:creationId xmlns:a16="http://schemas.microsoft.com/office/drawing/2014/main" id="{EF967015-30F1-F9D6-612B-BD3B365C5B5A}"/>
                </a:ext>
              </a:extLst>
            </p:cNvPr>
            <p:cNvGrpSpPr/>
            <p:nvPr/>
          </p:nvGrpSpPr>
          <p:grpSpPr>
            <a:xfrm>
              <a:off x="4660812" y="2990741"/>
              <a:ext cx="2722095" cy="2467348"/>
              <a:chOff x="4660812" y="2990741"/>
              <a:chExt cx="2722095" cy="2467348"/>
            </a:xfrm>
          </p:grpSpPr>
          <p:grpSp>
            <p:nvGrpSpPr>
              <p:cNvPr id="44" name="Groupe 43">
                <a:extLst>
                  <a:ext uri="{FF2B5EF4-FFF2-40B4-BE49-F238E27FC236}">
                    <a16:creationId xmlns:a16="http://schemas.microsoft.com/office/drawing/2014/main" id="{5AB6BC51-5EE6-4FA2-1C65-444584F96586}"/>
                  </a:ext>
                </a:extLst>
              </p:cNvPr>
              <p:cNvGrpSpPr/>
              <p:nvPr/>
            </p:nvGrpSpPr>
            <p:grpSpPr>
              <a:xfrm>
                <a:off x="4660812" y="2990741"/>
                <a:ext cx="2479870" cy="2467348"/>
                <a:chOff x="4660812" y="2990741"/>
                <a:chExt cx="2479870" cy="2467348"/>
              </a:xfrm>
            </p:grpSpPr>
            <p:sp>
              <p:nvSpPr>
                <p:cNvPr id="46" name="Line 50">
                  <a:extLst>
                    <a:ext uri="{FF2B5EF4-FFF2-40B4-BE49-F238E27FC236}">
                      <a16:creationId xmlns:a16="http://schemas.microsoft.com/office/drawing/2014/main" id="{08B3A652-C25B-2FBF-5806-13FA9F93F243}"/>
                    </a:ext>
                  </a:extLst>
                </p:cNvPr>
                <p:cNvSpPr>
                  <a:spLocks noChangeShapeType="1"/>
                </p:cNvSpPr>
                <p:nvPr/>
              </p:nvSpPr>
              <p:spPr bwMode="auto">
                <a:xfrm>
                  <a:off x="6594265" y="4600942"/>
                  <a:ext cx="0" cy="0"/>
                </a:xfrm>
                <a:prstGeom prst="line">
                  <a:avLst/>
                </a:prstGeom>
                <a:noFill/>
                <a:ln w="14288" cap="flat">
                  <a:solidFill>
                    <a:srgbClr val="ED1C24"/>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prstClr val="black"/>
                    </a:solidFill>
                    <a:latin typeface="Avenir LT Std 55 Roman" panose="020B0503020203020204" pitchFamily="34" charset="0"/>
                  </a:endParaRPr>
                </a:p>
              </p:txBody>
            </p:sp>
            <p:sp>
              <p:nvSpPr>
                <p:cNvPr id="47" name="Line 54">
                  <a:extLst>
                    <a:ext uri="{FF2B5EF4-FFF2-40B4-BE49-F238E27FC236}">
                      <a16:creationId xmlns:a16="http://schemas.microsoft.com/office/drawing/2014/main" id="{F7086EEF-3969-0DC6-EAC2-9FE8553C8C85}"/>
                    </a:ext>
                  </a:extLst>
                </p:cNvPr>
                <p:cNvSpPr>
                  <a:spLocks noChangeShapeType="1"/>
                </p:cNvSpPr>
                <p:nvPr/>
              </p:nvSpPr>
              <p:spPr bwMode="auto">
                <a:xfrm>
                  <a:off x="5555892" y="4231558"/>
                  <a:ext cx="0" cy="0"/>
                </a:xfrm>
                <a:prstGeom prst="line">
                  <a:avLst/>
                </a:prstGeom>
                <a:noFill/>
                <a:ln w="14288" cap="flat">
                  <a:solidFill>
                    <a:srgbClr val="ED1C24"/>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1218987">
                    <a:defRPr/>
                  </a:pPr>
                  <a:endParaRPr lang="en-GB" sz="3600" kern="0" dirty="0">
                    <a:solidFill>
                      <a:prstClr val="black"/>
                    </a:solidFill>
                    <a:latin typeface="Avenir LT Std 55 Roman" panose="020B0503020203020204" pitchFamily="34" charset="0"/>
                  </a:endParaRPr>
                </a:p>
              </p:txBody>
            </p:sp>
            <p:grpSp>
              <p:nvGrpSpPr>
                <p:cNvPr id="48" name="Group 46">
                  <a:extLst>
                    <a:ext uri="{FF2B5EF4-FFF2-40B4-BE49-F238E27FC236}">
                      <a16:creationId xmlns:a16="http://schemas.microsoft.com/office/drawing/2014/main" id="{A2EC0988-3A6E-3511-9CBF-389F6B170FDA}"/>
                    </a:ext>
                  </a:extLst>
                </p:cNvPr>
                <p:cNvGrpSpPr/>
                <p:nvPr/>
              </p:nvGrpSpPr>
              <p:grpSpPr>
                <a:xfrm>
                  <a:off x="4808199" y="2990741"/>
                  <a:ext cx="2332483" cy="2385707"/>
                  <a:chOff x="2983887" y="2290735"/>
                  <a:chExt cx="2936812" cy="3003827"/>
                </a:xfrm>
                <a:solidFill>
                  <a:srgbClr val="FFFFFF">
                    <a:lumMod val="75000"/>
                  </a:srgbClr>
                </a:solidFill>
              </p:grpSpPr>
              <p:sp>
                <p:nvSpPr>
                  <p:cNvPr id="52" name="Freeform 45">
                    <a:extLst>
                      <a:ext uri="{FF2B5EF4-FFF2-40B4-BE49-F238E27FC236}">
                        <a16:creationId xmlns:a16="http://schemas.microsoft.com/office/drawing/2014/main" id="{F0002050-3434-0B9E-FD7F-A89EBDA7E944}"/>
                      </a:ext>
                    </a:extLst>
                  </p:cNvPr>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sp>
                <p:nvSpPr>
                  <p:cNvPr id="53" name="Freeform 46">
                    <a:extLst>
                      <a:ext uri="{FF2B5EF4-FFF2-40B4-BE49-F238E27FC236}">
                        <a16:creationId xmlns:a16="http://schemas.microsoft.com/office/drawing/2014/main" id="{4365F3D5-8FC5-A2E1-0C2F-88CFA2061094}"/>
                      </a:ext>
                    </a:extLst>
                  </p:cNvPr>
                  <p:cNvSpPr>
                    <a:spLocks/>
                  </p:cNvSpPr>
                  <p:nvPr/>
                </p:nvSpPr>
                <p:spPr bwMode="auto">
                  <a:xfrm>
                    <a:off x="3713728" y="4868888"/>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sp>
                <p:nvSpPr>
                  <p:cNvPr id="54" name="Freeform 47">
                    <a:extLst>
                      <a:ext uri="{FF2B5EF4-FFF2-40B4-BE49-F238E27FC236}">
                        <a16:creationId xmlns:a16="http://schemas.microsoft.com/office/drawing/2014/main" id="{624CD460-BAEF-4151-D5B6-9267653C82A2}"/>
                      </a:ext>
                    </a:extLst>
                  </p:cNvPr>
                  <p:cNvSpPr>
                    <a:spLocks/>
                  </p:cNvSpPr>
                  <p:nvPr/>
                </p:nvSpPr>
                <p:spPr bwMode="auto">
                  <a:xfrm>
                    <a:off x="3875602" y="2290735"/>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sp>
                <p:nvSpPr>
                  <p:cNvPr id="55" name="Freeform 48">
                    <a:extLst>
                      <a:ext uri="{FF2B5EF4-FFF2-40B4-BE49-F238E27FC236}">
                        <a16:creationId xmlns:a16="http://schemas.microsoft.com/office/drawing/2014/main" id="{3F8F1A37-F8E2-130A-E94D-DACFE03E02D1}"/>
                      </a:ext>
                    </a:extLst>
                  </p:cNvPr>
                  <p:cNvSpPr>
                    <a:spLocks/>
                  </p:cNvSpPr>
                  <p:nvPr/>
                </p:nvSpPr>
                <p:spPr bwMode="auto">
                  <a:xfrm>
                    <a:off x="5380447" y="2852702"/>
                    <a:ext cx="540252" cy="648836"/>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sp>
                <p:nvSpPr>
                  <p:cNvPr id="56" name="Freeform 49">
                    <a:extLst>
                      <a:ext uri="{FF2B5EF4-FFF2-40B4-BE49-F238E27FC236}">
                        <a16:creationId xmlns:a16="http://schemas.microsoft.com/office/drawing/2014/main" id="{73625284-52DE-3F4D-A741-A3AB466DBB6C}"/>
                      </a:ext>
                    </a:extLst>
                  </p:cNvPr>
                  <p:cNvSpPr>
                    <a:spLocks/>
                  </p:cNvSpPr>
                  <p:nvPr/>
                </p:nvSpPr>
                <p:spPr bwMode="auto">
                  <a:xfrm>
                    <a:off x="5277860" y="4313730"/>
                    <a:ext cx="482296" cy="666388"/>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grpSp>
            <p:sp>
              <p:nvSpPr>
                <p:cNvPr id="49" name="Freeform 52">
                  <a:extLst>
                    <a:ext uri="{FF2B5EF4-FFF2-40B4-BE49-F238E27FC236}">
                      <a16:creationId xmlns:a16="http://schemas.microsoft.com/office/drawing/2014/main" id="{F80C7183-DC6D-8F6B-98DA-7B3E90BEE430}"/>
                    </a:ext>
                  </a:extLst>
                </p:cNvPr>
                <p:cNvSpPr>
                  <a:spLocks/>
                </p:cNvSpPr>
                <p:nvPr/>
              </p:nvSpPr>
              <p:spPr bwMode="auto">
                <a:xfrm>
                  <a:off x="5046383" y="3614259"/>
                  <a:ext cx="990958" cy="1843830"/>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50" name="Freeform 51">
                  <a:extLst>
                    <a:ext uri="{FF2B5EF4-FFF2-40B4-BE49-F238E27FC236}">
                      <a16:creationId xmlns:a16="http://schemas.microsoft.com/office/drawing/2014/main" id="{8F69D704-8288-1F36-F490-DCE6784C8F55}"/>
                    </a:ext>
                  </a:extLst>
                </p:cNvPr>
                <p:cNvSpPr>
                  <a:spLocks/>
                </p:cNvSpPr>
                <p:nvPr/>
              </p:nvSpPr>
              <p:spPr bwMode="auto">
                <a:xfrm>
                  <a:off x="4660812" y="3268773"/>
                  <a:ext cx="1865521" cy="1252323"/>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sp>
              <p:nvSpPr>
                <p:cNvPr id="51" name="Freeform 56">
                  <a:extLst>
                    <a:ext uri="{FF2B5EF4-FFF2-40B4-BE49-F238E27FC236}">
                      <a16:creationId xmlns:a16="http://schemas.microsoft.com/office/drawing/2014/main" id="{97403AF5-332F-3998-CB4E-B4CDCF722C55}"/>
                    </a:ext>
                  </a:extLst>
                </p:cNvPr>
                <p:cNvSpPr>
                  <a:spLocks/>
                </p:cNvSpPr>
                <p:nvPr/>
              </p:nvSpPr>
              <p:spPr bwMode="auto">
                <a:xfrm>
                  <a:off x="5331772" y="4287243"/>
                  <a:ext cx="1752828" cy="1055506"/>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grpSp>
          <p:sp>
            <p:nvSpPr>
              <p:cNvPr id="45" name="Freeform 55">
                <a:extLst>
                  <a:ext uri="{FF2B5EF4-FFF2-40B4-BE49-F238E27FC236}">
                    <a16:creationId xmlns:a16="http://schemas.microsoft.com/office/drawing/2014/main" id="{49B114EC-EA3B-5908-6591-D33A7557691E}"/>
                  </a:ext>
                </a:extLst>
              </p:cNvPr>
              <p:cNvSpPr>
                <a:spLocks/>
              </p:cNvSpPr>
              <p:nvPr/>
            </p:nvSpPr>
            <p:spPr bwMode="auto">
              <a:xfrm>
                <a:off x="5961809" y="3389931"/>
                <a:ext cx="1421098" cy="1701508"/>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defRPr/>
                </a:pPr>
                <a:endParaRPr lang="en-GB" sz="3600" kern="0" dirty="0">
                  <a:solidFill>
                    <a:srgbClr val="000000"/>
                  </a:solidFill>
                  <a:latin typeface="Avenir LT Std 55 Roman" panose="020B0503020203020204" pitchFamily="34" charset="0"/>
                </a:endParaRPr>
              </a:p>
            </p:txBody>
          </p:sp>
        </p:grpSp>
        <p:sp>
          <p:nvSpPr>
            <p:cNvPr id="43" name="Freeform 53">
              <a:extLst>
                <a:ext uri="{FF2B5EF4-FFF2-40B4-BE49-F238E27FC236}">
                  <a16:creationId xmlns:a16="http://schemas.microsoft.com/office/drawing/2014/main" id="{2CFFE10C-19D2-A416-AC9C-2D18E03E0A03}"/>
                </a:ext>
              </a:extLst>
            </p:cNvPr>
            <p:cNvSpPr>
              <a:spLocks/>
            </p:cNvSpPr>
            <p:nvPr/>
          </p:nvSpPr>
          <p:spPr bwMode="auto">
            <a:xfrm>
              <a:off x="5477705" y="2780966"/>
              <a:ext cx="1529028" cy="1740131"/>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a:defRPr/>
              </a:pPr>
              <a:endParaRPr lang="en-GB" sz="2800" kern="0" dirty="0">
                <a:solidFill>
                  <a:srgbClr val="000000"/>
                </a:solidFill>
                <a:latin typeface="Avenir LT Std 55 Roman" panose="020B0503020203020204" pitchFamily="34" charset="0"/>
              </a:endParaRPr>
            </a:p>
          </p:txBody>
        </p:sp>
      </p:grpSp>
    </p:spTree>
    <p:extLst>
      <p:ext uri="{BB962C8B-B14F-4D97-AF65-F5344CB8AC3E}">
        <p14:creationId xmlns:p14="http://schemas.microsoft.com/office/powerpoint/2010/main" val="26139225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6BEB3AD-FA09-43E0-8852-A4407C8F45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6" imgH="396" progId="TCLayout.ActiveDocument.1">
                  <p:embed/>
                </p:oleObj>
              </mc:Choice>
              <mc:Fallback>
                <p:oleObj name="Diapositive think-cell" r:id="rId5" imgW="396" imgH="396" progId="TCLayout.ActiveDocument.1">
                  <p:embed/>
                  <p:pic>
                    <p:nvPicPr>
                      <p:cNvPr id="3" name="Objet 2" hidden="1">
                        <a:extLst>
                          <a:ext uri="{FF2B5EF4-FFF2-40B4-BE49-F238E27FC236}">
                            <a16:creationId xmlns:a16="http://schemas.microsoft.com/office/drawing/2014/main" id="{E6BEB3AD-FA09-43E0-8852-A4407C8F45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75AFB9C-E1AB-46D8-812F-2959538C9FCE}"/>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4000"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p:cNvSpPr>
            <a:spLocks noGrp="1"/>
          </p:cNvSpPr>
          <p:nvPr>
            <p:ph type="title"/>
          </p:nvPr>
        </p:nvSpPr>
        <p:spPr/>
        <p:txBody>
          <a:bodyPr/>
          <a:lstStyle/>
          <a:p>
            <a:r>
              <a:rPr lang="en-GB">
                <a:solidFill>
                  <a:srgbClr val="FFFFFF"/>
                </a:solidFill>
              </a:rPr>
              <a:t>Tables and scenarios</a:t>
            </a:r>
            <a:endParaRPr lang="en-GB" dirty="0">
              <a:solidFill>
                <a:srgbClr val="FFFFFF"/>
              </a:solidFill>
            </a:endParaRPr>
          </a:p>
        </p:txBody>
      </p:sp>
    </p:spTree>
    <p:extLst>
      <p:ext uri="{BB962C8B-B14F-4D97-AF65-F5344CB8AC3E}">
        <p14:creationId xmlns:p14="http://schemas.microsoft.com/office/powerpoint/2010/main" val="24895222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dirty="0"/>
              <a:t>Slide message – two scenarios with icon</a:t>
            </a:r>
          </a:p>
        </p:txBody>
      </p:sp>
      <p:sp>
        <p:nvSpPr>
          <p:cNvPr id="4" name="Rectangle 3"/>
          <p:cNvSpPr/>
          <p:nvPr/>
        </p:nvSpPr>
        <p:spPr>
          <a:xfrm>
            <a:off x="2578433" y="1941378"/>
            <a:ext cx="3331036"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5" name="Rectangle 4"/>
          <p:cNvSpPr/>
          <p:nvPr/>
        </p:nvSpPr>
        <p:spPr>
          <a:xfrm>
            <a:off x="6285407" y="1941378"/>
            <a:ext cx="3331036" cy="397504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8" name="Rectangle 7"/>
          <p:cNvSpPr/>
          <p:nvPr/>
        </p:nvSpPr>
        <p:spPr>
          <a:xfrm>
            <a:off x="2866792" y="3054714"/>
            <a:ext cx="275431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chemeClr val="bg1"/>
                </a:solidFill>
                <a:effectLst/>
                <a:uLnTx/>
                <a:uFillTx/>
                <a:ea typeface="+mn-ea"/>
                <a:cs typeface="+mn-cs"/>
              </a:rPr>
              <a:t>Your text here</a:t>
            </a:r>
          </a:p>
        </p:txBody>
      </p:sp>
      <p:sp>
        <p:nvSpPr>
          <p:cNvPr id="9" name="Rectangle 8"/>
          <p:cNvSpPr/>
          <p:nvPr/>
        </p:nvSpPr>
        <p:spPr>
          <a:xfrm>
            <a:off x="6573766" y="3054714"/>
            <a:ext cx="275431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chemeClr val="bg1"/>
                </a:solidFill>
                <a:effectLst/>
                <a:uLnTx/>
                <a:uFillTx/>
                <a:ea typeface="+mn-ea"/>
                <a:cs typeface="+mn-cs"/>
              </a:rPr>
              <a:t>Your text here</a:t>
            </a:r>
          </a:p>
        </p:txBody>
      </p:sp>
      <p:sp>
        <p:nvSpPr>
          <p:cNvPr id="34" name="TextBox 13-2">
            <a:extLst>
              <a:ext uri="{FF2B5EF4-FFF2-40B4-BE49-F238E27FC236}">
                <a16:creationId xmlns:a16="http://schemas.microsoft.com/office/drawing/2014/main" id="{A755E53D-66B1-40CC-9CA3-7A333D6FBF56}"/>
              </a:ext>
            </a:extLst>
          </p:cNvPr>
          <p:cNvSpPr txBox="1"/>
          <p:nvPr/>
        </p:nvSpPr>
        <p:spPr>
          <a:xfrm>
            <a:off x="6573766" y="3750734"/>
            <a:ext cx="2754318" cy="1487587"/>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35" name="TextBox 13">
            <a:extLst>
              <a:ext uri="{FF2B5EF4-FFF2-40B4-BE49-F238E27FC236}">
                <a16:creationId xmlns:a16="http://schemas.microsoft.com/office/drawing/2014/main" id="{90F6A021-ED59-48A2-9CC5-0D42BD27A472}"/>
              </a:ext>
            </a:extLst>
          </p:cNvPr>
          <p:cNvSpPr txBox="1"/>
          <p:nvPr/>
        </p:nvSpPr>
        <p:spPr>
          <a:xfrm>
            <a:off x="2866792" y="3750734"/>
            <a:ext cx="2754318" cy="1474763"/>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pic>
        <p:nvPicPr>
          <p:cNvPr id="13" name="Graphique 12">
            <a:extLst>
              <a:ext uri="{FF2B5EF4-FFF2-40B4-BE49-F238E27FC236}">
                <a16:creationId xmlns:a16="http://schemas.microsoft.com/office/drawing/2014/main" id="{579697B4-53D7-45D8-836C-C695F02D19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78985" y="2221490"/>
            <a:ext cx="529932" cy="627551"/>
          </a:xfrm>
          <a:prstGeom prst="rect">
            <a:avLst/>
          </a:prstGeom>
        </p:spPr>
      </p:pic>
      <p:pic>
        <p:nvPicPr>
          <p:cNvPr id="7" name="Graphique 6">
            <a:extLst>
              <a:ext uri="{FF2B5EF4-FFF2-40B4-BE49-F238E27FC236}">
                <a16:creationId xmlns:a16="http://schemas.microsoft.com/office/drawing/2014/main" id="{F59879E3-F964-4852-80A9-34DC7C2263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28782" y="2192229"/>
            <a:ext cx="644285" cy="582925"/>
          </a:xfrm>
          <a:prstGeom prst="rect">
            <a:avLst/>
          </a:prstGeom>
        </p:spPr>
      </p:pic>
    </p:spTree>
    <p:custDataLst>
      <p:tags r:id="rId1"/>
    </p:custDataLst>
    <p:extLst>
      <p:ext uri="{BB962C8B-B14F-4D97-AF65-F5344CB8AC3E}">
        <p14:creationId xmlns:p14="http://schemas.microsoft.com/office/powerpoint/2010/main" val="14933455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a:t>Slide message – two scenarios without icon</a:t>
            </a:r>
            <a:endParaRPr lang="en-GB" dirty="0"/>
          </a:p>
        </p:txBody>
      </p:sp>
      <p:sp>
        <p:nvSpPr>
          <p:cNvPr id="4" name="Rectangle 3"/>
          <p:cNvSpPr/>
          <p:nvPr/>
        </p:nvSpPr>
        <p:spPr>
          <a:xfrm>
            <a:off x="2578433" y="1941378"/>
            <a:ext cx="3331036"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l" eaLnBrk="1" fontAlgn="auto" hangingPunct="1">
              <a:spcBef>
                <a:spcPts val="400"/>
              </a:spcBef>
              <a:spcAft>
                <a:spcPts val="400"/>
              </a:spcAft>
              <a:buClrTx/>
            </a:pPr>
            <a:r>
              <a:rPr lang="en-GB" sz="1800" b="1" dirty="0">
                <a:solidFill>
                  <a:schemeClr val="bg1"/>
                </a:solidFill>
              </a:rPr>
              <a:t>Your text here</a:t>
            </a:r>
          </a:p>
          <a:p>
            <a:pPr marL="180000" indent="-180000" algn="l" eaLnBrk="1" fontAlgn="auto" hangingPunct="1">
              <a:spcBef>
                <a:spcPts val="840"/>
              </a:spcBef>
              <a:spcAft>
                <a:spcPts val="0"/>
              </a:spcAft>
              <a:buClr>
                <a:srgbClr val="FFFFFF"/>
              </a:buClr>
              <a:buSzPct val="77000"/>
              <a:buFont typeface="Wingdings 3" panose="05040102010807070707" pitchFamily="18" charset="2"/>
              <a:buChar cha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p>
          <a:p>
            <a:pPr marL="180000" indent="-180000" algn="l" eaLnBrk="1" fontAlgn="auto" hangingPunct="1">
              <a:spcBef>
                <a:spcPts val="840"/>
              </a:spcBef>
              <a:spcAft>
                <a:spcPts val="0"/>
              </a:spcAft>
              <a:buClr>
                <a:srgbClr val="FFFFFF"/>
              </a:buClr>
              <a:buSzPct val="77000"/>
              <a:buFont typeface="Wingdings 3" panose="05040102010807070707" pitchFamily="18" charset="2"/>
              <a:buChar cha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r>
              <a:rPr lang="en-GB" sz="1600" dirty="0" err="1">
                <a:solidFill>
                  <a:schemeClr val="bg1"/>
                </a:solidFill>
              </a:rPr>
              <a:t>Aliquam</a:t>
            </a:r>
            <a:r>
              <a:rPr lang="en-GB" sz="1600" dirty="0">
                <a:solidFill>
                  <a:schemeClr val="bg1"/>
                </a:solidFill>
              </a:rPr>
              <a:t> </a:t>
            </a:r>
            <a:r>
              <a:rPr lang="en-GB" sz="1600" dirty="0" err="1">
                <a:solidFill>
                  <a:schemeClr val="bg1"/>
                </a:solidFill>
              </a:rPr>
              <a:t>eget</a:t>
            </a:r>
            <a:r>
              <a:rPr lang="en-GB" sz="1600" dirty="0">
                <a:solidFill>
                  <a:schemeClr val="bg1"/>
                </a:solidFill>
              </a:rPr>
              <a:t> </a:t>
            </a:r>
            <a:r>
              <a:rPr lang="en-GB" sz="1600" dirty="0" err="1">
                <a:solidFill>
                  <a:schemeClr val="bg1"/>
                </a:solidFill>
              </a:rPr>
              <a:t>scelerisque</a:t>
            </a:r>
            <a:r>
              <a:rPr lang="en-GB" sz="1600" dirty="0">
                <a:solidFill>
                  <a:schemeClr val="bg1"/>
                </a:solidFill>
              </a:rPr>
              <a:t> </a:t>
            </a:r>
            <a:r>
              <a:rPr lang="en-GB" sz="1600" dirty="0" err="1">
                <a:solidFill>
                  <a:schemeClr val="bg1"/>
                </a:solidFill>
              </a:rPr>
              <a:t>turpis</a:t>
            </a:r>
            <a:endParaRPr lang="en-GB" sz="1600" dirty="0">
              <a:solidFill>
                <a:schemeClr val="bg1"/>
              </a:solidFill>
            </a:endParaRPr>
          </a:p>
          <a:p>
            <a:pPr algn="l" eaLnBrk="1" fontAlgn="auto" hangingPunct="1">
              <a:spcBef>
                <a:spcPts val="400"/>
              </a:spcBef>
              <a:spcAft>
                <a:spcPts val="400"/>
              </a:spcAft>
              <a:buClrTx/>
            </a:pPr>
            <a:endParaRPr lang="en-GB" sz="1800" b="1" dirty="0">
              <a:solidFill>
                <a:schemeClr val="bg1"/>
              </a:solidFill>
            </a:endParaRPr>
          </a:p>
          <a:p>
            <a:pPr algn="l" eaLnBrk="1" fontAlgn="auto" hangingPunct="1">
              <a:spcBef>
                <a:spcPts val="400"/>
              </a:spcBef>
              <a:spcAft>
                <a:spcPts val="400"/>
              </a:spcAft>
              <a:buClrTx/>
            </a:pPr>
            <a:endParaRPr lang="en-GB" sz="1800" b="1" dirty="0">
              <a:solidFill>
                <a:schemeClr val="bg1"/>
              </a:solidFill>
            </a:endParaRPr>
          </a:p>
          <a:p>
            <a:pPr algn="l" eaLnBrk="1" fontAlgn="auto" hangingPunct="1">
              <a:spcBef>
                <a:spcPts val="400"/>
              </a:spcBef>
              <a:spcAft>
                <a:spcPts val="400"/>
              </a:spcAft>
              <a:buClrTx/>
            </a:pPr>
            <a:endParaRPr lang="en-GB" sz="1800" b="1" dirty="0">
              <a:solidFill>
                <a:schemeClr val="bg1"/>
              </a:solidFill>
            </a:endParaRPr>
          </a:p>
        </p:txBody>
      </p:sp>
      <p:sp>
        <p:nvSpPr>
          <p:cNvPr id="5" name="Rectangle 4"/>
          <p:cNvSpPr/>
          <p:nvPr/>
        </p:nvSpPr>
        <p:spPr>
          <a:xfrm>
            <a:off x="6285407" y="1941378"/>
            <a:ext cx="3331036" cy="397504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lvl="0" algn="l" eaLnBrk="1" fontAlgn="auto" hangingPunct="1">
              <a:spcBef>
                <a:spcPts val="400"/>
              </a:spcBef>
              <a:spcAft>
                <a:spcPts val="400"/>
              </a:spcAft>
              <a:buClrTx/>
            </a:pPr>
            <a:r>
              <a:rPr lang="en-GB" sz="1800" b="1" dirty="0">
                <a:solidFill>
                  <a:schemeClr val="bg1"/>
                </a:solidFill>
              </a:rPr>
              <a:t>Your text here</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r>
              <a:rPr lang="en-GB" sz="1600" dirty="0" err="1">
                <a:solidFill>
                  <a:schemeClr val="bg1"/>
                </a:solidFill>
              </a:rPr>
              <a:t>Aliquam</a:t>
            </a:r>
            <a:r>
              <a:rPr lang="en-GB" sz="1600" dirty="0">
                <a:solidFill>
                  <a:schemeClr val="bg1"/>
                </a:solidFill>
              </a:rPr>
              <a:t> </a:t>
            </a:r>
            <a:r>
              <a:rPr lang="en-GB" sz="1600" dirty="0" err="1">
                <a:solidFill>
                  <a:schemeClr val="bg1"/>
                </a:solidFill>
              </a:rPr>
              <a:t>eget</a:t>
            </a:r>
            <a:r>
              <a:rPr lang="en-GB" sz="1600" dirty="0">
                <a:solidFill>
                  <a:schemeClr val="bg1"/>
                </a:solidFill>
              </a:rPr>
              <a:t> </a:t>
            </a:r>
            <a:r>
              <a:rPr lang="en-GB" sz="1600" dirty="0" err="1">
                <a:solidFill>
                  <a:schemeClr val="bg1"/>
                </a:solidFill>
              </a:rPr>
              <a:t>scelerisque</a:t>
            </a:r>
            <a:r>
              <a:rPr lang="en-GB" sz="1600" dirty="0">
                <a:solidFill>
                  <a:schemeClr val="bg1"/>
                </a:solidFill>
              </a:rPr>
              <a:t> </a:t>
            </a:r>
            <a:r>
              <a:rPr lang="en-GB" sz="1600" dirty="0" err="1">
                <a:solidFill>
                  <a:schemeClr val="bg1"/>
                </a:solidFill>
              </a:rPr>
              <a:t>turpis</a:t>
            </a:r>
            <a:endParaRPr lang="en-GB" sz="1600" dirty="0">
              <a:solidFill>
                <a:schemeClr val="bg1"/>
              </a:solidFill>
            </a:endParaRPr>
          </a:p>
        </p:txBody>
      </p:sp>
    </p:spTree>
    <p:custDataLst>
      <p:tags r:id="rId1"/>
    </p:custDataLst>
    <p:extLst>
      <p:ext uri="{BB962C8B-B14F-4D97-AF65-F5344CB8AC3E}">
        <p14:creationId xmlns:p14="http://schemas.microsoft.com/office/powerpoint/2010/main" val="23122324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a:t>Slide message – three scenarios with icon</a:t>
            </a:r>
            <a:endParaRPr lang="en-GB" dirty="0"/>
          </a:p>
        </p:txBody>
      </p:sp>
      <p:sp>
        <p:nvSpPr>
          <p:cNvPr id="4" name="Rectangle 3"/>
          <p:cNvSpPr/>
          <p:nvPr/>
        </p:nvSpPr>
        <p:spPr>
          <a:xfrm>
            <a:off x="723508" y="1941378"/>
            <a:ext cx="3331036"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5" name="Rectangle 4"/>
          <p:cNvSpPr/>
          <p:nvPr/>
        </p:nvSpPr>
        <p:spPr>
          <a:xfrm>
            <a:off x="4430482" y="1941378"/>
            <a:ext cx="3331036" cy="397504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6" name="Rectangle 5"/>
          <p:cNvSpPr/>
          <p:nvPr/>
        </p:nvSpPr>
        <p:spPr>
          <a:xfrm>
            <a:off x="8130368" y="1941378"/>
            <a:ext cx="3331036" cy="397504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8" name="Rectangle 7"/>
          <p:cNvSpPr/>
          <p:nvPr/>
        </p:nvSpPr>
        <p:spPr>
          <a:xfrm>
            <a:off x="1011867" y="3054714"/>
            <a:ext cx="275431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chemeClr val="bg1"/>
                </a:solidFill>
                <a:effectLst/>
                <a:uLnTx/>
                <a:uFillTx/>
                <a:ea typeface="+mn-ea"/>
                <a:cs typeface="+mn-cs"/>
              </a:rPr>
              <a:t>Your text here</a:t>
            </a:r>
          </a:p>
        </p:txBody>
      </p:sp>
      <p:sp>
        <p:nvSpPr>
          <p:cNvPr id="9" name="Rectangle 8"/>
          <p:cNvSpPr/>
          <p:nvPr/>
        </p:nvSpPr>
        <p:spPr>
          <a:xfrm>
            <a:off x="4718841" y="3054714"/>
            <a:ext cx="275431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chemeClr val="bg1"/>
                </a:solidFill>
                <a:effectLst/>
                <a:uLnTx/>
                <a:uFillTx/>
                <a:ea typeface="+mn-ea"/>
                <a:cs typeface="+mn-cs"/>
              </a:rPr>
              <a:t>Your text here</a:t>
            </a:r>
          </a:p>
        </p:txBody>
      </p:sp>
      <p:sp>
        <p:nvSpPr>
          <p:cNvPr id="10" name="Rectangle 9"/>
          <p:cNvSpPr/>
          <p:nvPr/>
        </p:nvSpPr>
        <p:spPr>
          <a:xfrm>
            <a:off x="8418727" y="3054714"/>
            <a:ext cx="275431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chemeClr val="bg1"/>
                </a:solidFill>
                <a:effectLst/>
                <a:uLnTx/>
                <a:uFillTx/>
                <a:ea typeface="+mn-ea"/>
                <a:cs typeface="+mn-cs"/>
              </a:rPr>
              <a:t>Your text here</a:t>
            </a:r>
          </a:p>
        </p:txBody>
      </p:sp>
      <p:sp>
        <p:nvSpPr>
          <p:cNvPr id="14" name="TextBox 13-3"/>
          <p:cNvSpPr txBox="1"/>
          <p:nvPr/>
        </p:nvSpPr>
        <p:spPr>
          <a:xfrm>
            <a:off x="8418726" y="3750734"/>
            <a:ext cx="2754318" cy="1474763"/>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34" name="TextBox 13-2">
            <a:extLst>
              <a:ext uri="{FF2B5EF4-FFF2-40B4-BE49-F238E27FC236}">
                <a16:creationId xmlns:a16="http://schemas.microsoft.com/office/drawing/2014/main" id="{A755E53D-66B1-40CC-9CA3-7A333D6FBF56}"/>
              </a:ext>
            </a:extLst>
          </p:cNvPr>
          <p:cNvSpPr txBox="1"/>
          <p:nvPr/>
        </p:nvSpPr>
        <p:spPr>
          <a:xfrm>
            <a:off x="4718841" y="3750734"/>
            <a:ext cx="2754318" cy="1487587"/>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35" name="TextBox 13">
            <a:extLst>
              <a:ext uri="{FF2B5EF4-FFF2-40B4-BE49-F238E27FC236}">
                <a16:creationId xmlns:a16="http://schemas.microsoft.com/office/drawing/2014/main" id="{90F6A021-ED59-48A2-9CC5-0D42BD27A472}"/>
              </a:ext>
            </a:extLst>
          </p:cNvPr>
          <p:cNvSpPr txBox="1"/>
          <p:nvPr/>
        </p:nvSpPr>
        <p:spPr>
          <a:xfrm>
            <a:off x="1011867" y="3750734"/>
            <a:ext cx="2754318" cy="1487587"/>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pic>
        <p:nvPicPr>
          <p:cNvPr id="17" name="Graphique 16">
            <a:extLst>
              <a:ext uri="{FF2B5EF4-FFF2-40B4-BE49-F238E27FC236}">
                <a16:creationId xmlns:a16="http://schemas.microsoft.com/office/drawing/2014/main" id="{B511C0D6-68A8-4A77-AE71-7FD6697B5E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24060" y="2169640"/>
            <a:ext cx="529932" cy="627551"/>
          </a:xfrm>
          <a:prstGeom prst="rect">
            <a:avLst/>
          </a:prstGeom>
        </p:spPr>
      </p:pic>
      <p:pic>
        <p:nvPicPr>
          <p:cNvPr id="18" name="Graphique 17">
            <a:extLst>
              <a:ext uri="{FF2B5EF4-FFF2-40B4-BE49-F238E27FC236}">
                <a16:creationId xmlns:a16="http://schemas.microsoft.com/office/drawing/2014/main" id="{D091F627-444B-4240-B08F-0EC75AE15CB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73858" y="2140379"/>
            <a:ext cx="644285" cy="582925"/>
          </a:xfrm>
          <a:prstGeom prst="rect">
            <a:avLst/>
          </a:prstGeom>
        </p:spPr>
      </p:pic>
      <p:pic>
        <p:nvPicPr>
          <p:cNvPr id="11" name="Graphique 10">
            <a:extLst>
              <a:ext uri="{FF2B5EF4-FFF2-40B4-BE49-F238E27FC236}">
                <a16:creationId xmlns:a16="http://schemas.microsoft.com/office/drawing/2014/main" id="{D2DB996D-CA45-4A6B-8986-E8DF5DE234A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83712" y="2196554"/>
            <a:ext cx="624345" cy="573722"/>
          </a:xfrm>
          <a:prstGeom prst="rect">
            <a:avLst/>
          </a:prstGeom>
        </p:spPr>
      </p:pic>
    </p:spTree>
    <p:custDataLst>
      <p:tags r:id="rId1"/>
    </p:custDataLst>
    <p:extLst>
      <p:ext uri="{BB962C8B-B14F-4D97-AF65-F5344CB8AC3E}">
        <p14:creationId xmlns:p14="http://schemas.microsoft.com/office/powerpoint/2010/main" val="15060917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a:t>Slide message – three scenarios without icon</a:t>
            </a:r>
            <a:endParaRPr lang="en-GB" dirty="0"/>
          </a:p>
        </p:txBody>
      </p:sp>
      <p:sp>
        <p:nvSpPr>
          <p:cNvPr id="4" name="Rectangle 3"/>
          <p:cNvSpPr/>
          <p:nvPr/>
        </p:nvSpPr>
        <p:spPr>
          <a:xfrm>
            <a:off x="730596" y="1941378"/>
            <a:ext cx="3331036"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chemeClr val="bg1"/>
                </a:solidFill>
                <a:effectLst/>
                <a:uLnTx/>
                <a:uFillTx/>
                <a:ea typeface="+mn-ea"/>
                <a:cs typeface="+mn-cs"/>
              </a:rPr>
              <a:t>Your text here</a:t>
            </a:r>
          </a:p>
          <a:p>
            <a:pPr marL="180000" marR="0" lvl="0" indent="-180000" algn="l" defTabSz="914400" eaLnBrk="1" fontAlgn="auto" latinLnBrk="0" hangingPunct="1">
              <a:lnSpc>
                <a:spcPct val="100000"/>
              </a:lnSpc>
              <a:spcBef>
                <a:spcPts val="840"/>
              </a:spcBef>
              <a:spcAft>
                <a:spcPts val="0"/>
              </a:spcAft>
              <a:buClr>
                <a:srgbClr val="FFFFFF"/>
              </a:buClr>
              <a:buSzPct val="77000"/>
              <a:buFont typeface="Wingdings 3" panose="05040102010807070707" pitchFamily="18" charset="2"/>
              <a:buChar char=""/>
              <a:tabLst/>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p>
          <a:p>
            <a:pPr marL="180000" marR="0" lvl="0" indent="-180000" algn="l" defTabSz="914400" eaLnBrk="1" fontAlgn="auto" latinLnBrk="0" hangingPunct="1">
              <a:lnSpc>
                <a:spcPct val="100000"/>
              </a:lnSpc>
              <a:spcBef>
                <a:spcPts val="840"/>
              </a:spcBef>
              <a:spcAft>
                <a:spcPts val="0"/>
              </a:spcAft>
              <a:buClr>
                <a:srgbClr val="FFFFFF"/>
              </a:buClr>
              <a:buSzPct val="77000"/>
              <a:buFont typeface="Wingdings 3" panose="05040102010807070707" pitchFamily="18" charset="2"/>
              <a:buChar char=""/>
              <a:tabLst/>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r>
              <a:rPr lang="en-GB" sz="1600" dirty="0" err="1">
                <a:solidFill>
                  <a:schemeClr val="bg1"/>
                </a:solidFill>
              </a:rPr>
              <a:t>Aliquam</a:t>
            </a:r>
            <a:r>
              <a:rPr lang="en-GB" sz="1600" dirty="0">
                <a:solidFill>
                  <a:schemeClr val="bg1"/>
                </a:solidFill>
              </a:rPr>
              <a:t> </a:t>
            </a:r>
            <a:r>
              <a:rPr lang="en-GB" sz="1600" dirty="0" err="1">
                <a:solidFill>
                  <a:schemeClr val="bg1"/>
                </a:solidFill>
              </a:rPr>
              <a:t>eget</a:t>
            </a:r>
            <a:r>
              <a:rPr lang="en-GB" sz="1600" dirty="0">
                <a:solidFill>
                  <a:schemeClr val="bg1"/>
                </a:solidFill>
              </a:rPr>
              <a:t> </a:t>
            </a:r>
            <a:r>
              <a:rPr lang="en-GB" sz="1600" dirty="0" err="1">
                <a:solidFill>
                  <a:schemeClr val="bg1"/>
                </a:solidFill>
              </a:rPr>
              <a:t>scelerisque</a:t>
            </a:r>
            <a:r>
              <a:rPr lang="en-GB" sz="1600" dirty="0">
                <a:solidFill>
                  <a:schemeClr val="bg1"/>
                </a:solidFill>
              </a:rPr>
              <a:t> </a:t>
            </a:r>
            <a:r>
              <a:rPr lang="en-GB" sz="1600" dirty="0" err="1">
                <a:solidFill>
                  <a:schemeClr val="bg1"/>
                </a:solidFill>
              </a:rPr>
              <a:t>turpis</a:t>
            </a:r>
            <a:endParaRPr lang="en-GB" sz="1600" dirty="0">
              <a:solidFill>
                <a:schemeClr val="bg1"/>
              </a:solidFill>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6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5" name="Rectangle 4"/>
          <p:cNvSpPr/>
          <p:nvPr/>
        </p:nvSpPr>
        <p:spPr>
          <a:xfrm>
            <a:off x="4434026" y="1941378"/>
            <a:ext cx="3331036" cy="397504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chemeClr val="bg1"/>
                </a:solidFill>
                <a:effectLst/>
                <a:uLnTx/>
                <a:uFillTx/>
                <a:ea typeface="+mn-ea"/>
                <a:cs typeface="+mn-cs"/>
              </a:rPr>
              <a:t>Your text here</a:t>
            </a:r>
          </a:p>
          <a:p>
            <a:pPr marL="180000" marR="0" lvl="0" indent="-180000" algn="l" defTabSz="914400" eaLnBrk="1" fontAlgn="auto" latinLnBrk="0" hangingPunct="1">
              <a:lnSpc>
                <a:spcPct val="100000"/>
              </a:lnSpc>
              <a:spcBef>
                <a:spcPts val="840"/>
              </a:spcBef>
              <a:spcAft>
                <a:spcPts val="0"/>
              </a:spcAft>
              <a:buClr>
                <a:srgbClr val="FFFFFF"/>
              </a:buClr>
              <a:buSzPct val="77000"/>
              <a:buFont typeface="Wingdings 3" panose="05040102010807070707" pitchFamily="18" charset="2"/>
              <a:buChar char=""/>
              <a:tabLst/>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p>
          <a:p>
            <a:pPr marL="180000" marR="0" lvl="0" indent="-180000" algn="l" defTabSz="914400" eaLnBrk="1" fontAlgn="auto" latinLnBrk="0" hangingPunct="1">
              <a:lnSpc>
                <a:spcPct val="100000"/>
              </a:lnSpc>
              <a:spcBef>
                <a:spcPts val="840"/>
              </a:spcBef>
              <a:spcAft>
                <a:spcPts val="0"/>
              </a:spcAft>
              <a:buClr>
                <a:srgbClr val="FFFFFF"/>
              </a:buClr>
              <a:buSzPct val="77000"/>
              <a:buFont typeface="Wingdings 3" panose="05040102010807070707" pitchFamily="18" charset="2"/>
              <a:buChar char=""/>
              <a:tabLst/>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r>
              <a:rPr lang="en-GB" sz="1600" dirty="0" err="1">
                <a:solidFill>
                  <a:schemeClr val="bg1"/>
                </a:solidFill>
              </a:rPr>
              <a:t>Aliquam</a:t>
            </a:r>
            <a:r>
              <a:rPr lang="en-GB" sz="1600" dirty="0">
                <a:solidFill>
                  <a:schemeClr val="bg1"/>
                </a:solidFill>
              </a:rPr>
              <a:t> </a:t>
            </a:r>
            <a:r>
              <a:rPr lang="en-GB" sz="1600" dirty="0" err="1">
                <a:solidFill>
                  <a:schemeClr val="bg1"/>
                </a:solidFill>
              </a:rPr>
              <a:t>eget</a:t>
            </a:r>
            <a:r>
              <a:rPr lang="en-GB" sz="1600" dirty="0">
                <a:solidFill>
                  <a:schemeClr val="bg1"/>
                </a:solidFill>
              </a:rPr>
              <a:t> </a:t>
            </a:r>
            <a:r>
              <a:rPr lang="en-GB" sz="1600" dirty="0" err="1">
                <a:solidFill>
                  <a:schemeClr val="bg1"/>
                </a:solidFill>
              </a:rPr>
              <a:t>scelerisque</a:t>
            </a:r>
            <a:r>
              <a:rPr lang="en-GB" sz="1600" dirty="0">
                <a:solidFill>
                  <a:schemeClr val="bg1"/>
                </a:solidFill>
              </a:rPr>
              <a:t> </a:t>
            </a:r>
            <a:r>
              <a:rPr lang="en-GB" sz="1600" dirty="0" err="1">
                <a:solidFill>
                  <a:schemeClr val="bg1"/>
                </a:solidFill>
              </a:rPr>
              <a:t>turpis</a:t>
            </a:r>
            <a:endParaRPr lang="en-GB" sz="1600" dirty="0">
              <a:solidFill>
                <a:schemeClr val="bg1"/>
              </a:solidFill>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600" b="1" i="0" u="none" strike="noStrike" kern="1200" cap="none" spc="0" normalizeH="0" baseline="0" noProof="0" dirty="0">
              <a:ln>
                <a:noFill/>
              </a:ln>
              <a:solidFill>
                <a:schemeClr val="bg1"/>
              </a:solidFill>
              <a:effectLst/>
              <a:uLnTx/>
              <a:uFillTx/>
              <a:ea typeface="+mn-ea"/>
              <a:cs typeface="+mn-cs"/>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6" name="Rectangle 5"/>
          <p:cNvSpPr/>
          <p:nvPr/>
        </p:nvSpPr>
        <p:spPr>
          <a:xfrm>
            <a:off x="8137456" y="1941378"/>
            <a:ext cx="3331036" cy="397504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lvl="0" algn="l" eaLnBrk="1" hangingPunct="1">
              <a:spcBef>
                <a:spcPts val="400"/>
              </a:spcBef>
              <a:spcAft>
                <a:spcPts val="400"/>
              </a:spcAft>
              <a:buClr>
                <a:schemeClr val="accent2"/>
              </a:buClr>
              <a:buSzPct val="77000"/>
              <a:defRPr/>
            </a:pPr>
            <a:r>
              <a:rPr lang="en-GB" sz="1800" b="1" kern="0" dirty="0">
                <a:solidFill>
                  <a:schemeClr val="bg1"/>
                </a:solidFill>
                <a:cs typeface="Arial" pitchFamily="34" charset="0"/>
              </a:rPr>
              <a:t>Your text here</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sz="1600" dirty="0">
                <a:solidFill>
                  <a:schemeClr val="bg1"/>
                </a:solidFill>
              </a:rPr>
              <a:t>Lorem ipsum </a:t>
            </a:r>
            <a:r>
              <a:rPr lang="en-GB" sz="1600" dirty="0" err="1">
                <a:solidFill>
                  <a:schemeClr val="bg1"/>
                </a:solidFill>
              </a:rPr>
              <a:t>dolor</a:t>
            </a:r>
            <a:r>
              <a:rPr lang="en-GB" sz="1600" dirty="0">
                <a:solidFill>
                  <a:schemeClr val="bg1"/>
                </a:solidFill>
              </a:rPr>
              <a:t> sit </a:t>
            </a:r>
            <a:r>
              <a:rPr lang="en-GB" sz="1600" dirty="0" err="1">
                <a:solidFill>
                  <a:schemeClr val="bg1"/>
                </a:solidFill>
              </a:rPr>
              <a:t>amet</a:t>
            </a:r>
            <a:r>
              <a:rPr lang="en-GB" sz="1600" dirty="0">
                <a:solidFill>
                  <a:schemeClr val="bg1"/>
                </a:solidFill>
              </a:rPr>
              <a:t>, </a:t>
            </a:r>
            <a:r>
              <a:rPr lang="en-GB" sz="1600" dirty="0" err="1">
                <a:solidFill>
                  <a:schemeClr val="bg1"/>
                </a:solidFill>
              </a:rPr>
              <a:t>consectetur</a:t>
            </a:r>
            <a:r>
              <a:rPr lang="en-GB" sz="1600" dirty="0">
                <a:solidFill>
                  <a:schemeClr val="bg1"/>
                </a:solidFill>
              </a:rPr>
              <a:t> </a:t>
            </a:r>
            <a:r>
              <a:rPr lang="en-GB" sz="1600" dirty="0" err="1">
                <a:solidFill>
                  <a:schemeClr val="bg1"/>
                </a:solidFill>
              </a:rPr>
              <a:t>adipiscing</a:t>
            </a:r>
            <a:r>
              <a:rPr lang="en-GB" sz="1600" dirty="0">
                <a:solidFill>
                  <a:schemeClr val="bg1"/>
                </a:solidFill>
              </a:rPr>
              <a:t> </a:t>
            </a:r>
            <a:r>
              <a:rPr lang="en-GB" sz="1600" dirty="0" err="1">
                <a:solidFill>
                  <a:schemeClr val="bg1"/>
                </a:solidFill>
              </a:rPr>
              <a:t>elit</a:t>
            </a:r>
            <a:r>
              <a:rPr lang="en-GB" sz="1600" dirty="0">
                <a:solidFill>
                  <a:schemeClr val="bg1"/>
                </a:solidFill>
              </a:rPr>
              <a:t>. </a:t>
            </a:r>
            <a:r>
              <a:rPr lang="en-GB" sz="1600" dirty="0" err="1">
                <a:solidFill>
                  <a:schemeClr val="bg1"/>
                </a:solidFill>
              </a:rPr>
              <a:t>Aliquam</a:t>
            </a:r>
            <a:r>
              <a:rPr lang="en-GB" sz="1600" dirty="0">
                <a:solidFill>
                  <a:schemeClr val="bg1"/>
                </a:solidFill>
              </a:rPr>
              <a:t> </a:t>
            </a:r>
            <a:r>
              <a:rPr lang="en-GB" sz="1600" dirty="0" err="1">
                <a:solidFill>
                  <a:schemeClr val="bg1"/>
                </a:solidFill>
              </a:rPr>
              <a:t>eget</a:t>
            </a:r>
            <a:r>
              <a:rPr lang="en-GB" sz="1600" dirty="0">
                <a:solidFill>
                  <a:schemeClr val="bg1"/>
                </a:solidFill>
              </a:rPr>
              <a:t> </a:t>
            </a:r>
            <a:r>
              <a:rPr lang="en-GB" sz="1600" dirty="0" err="1">
                <a:solidFill>
                  <a:schemeClr val="bg1"/>
                </a:solidFill>
              </a:rPr>
              <a:t>scelerisque</a:t>
            </a:r>
            <a:r>
              <a:rPr lang="en-GB" sz="1600" dirty="0">
                <a:solidFill>
                  <a:schemeClr val="bg1"/>
                </a:solidFill>
              </a:rPr>
              <a:t> </a:t>
            </a:r>
            <a:r>
              <a:rPr lang="en-GB" sz="1600" dirty="0" err="1">
                <a:solidFill>
                  <a:schemeClr val="bg1"/>
                </a:solidFill>
              </a:rPr>
              <a:t>turpis</a:t>
            </a:r>
            <a:endParaRPr lang="en-GB" sz="1600" dirty="0">
              <a:solidFill>
                <a:schemeClr val="bg1"/>
              </a:solidFill>
            </a:endParaRPr>
          </a:p>
        </p:txBody>
      </p:sp>
    </p:spTree>
    <p:custDataLst>
      <p:tags r:id="rId1"/>
    </p:custDataLst>
    <p:extLst>
      <p:ext uri="{BB962C8B-B14F-4D97-AF65-F5344CB8AC3E}">
        <p14:creationId xmlns:p14="http://schemas.microsoft.com/office/powerpoint/2010/main" val="4492605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a:t>Slide message – four scenarios with icon</a:t>
            </a:r>
            <a:endParaRPr lang="en-GB" dirty="0"/>
          </a:p>
        </p:txBody>
      </p:sp>
      <p:sp>
        <p:nvSpPr>
          <p:cNvPr id="4" name="Rectangle 3"/>
          <p:cNvSpPr/>
          <p:nvPr/>
        </p:nvSpPr>
        <p:spPr>
          <a:xfrm>
            <a:off x="702242" y="1941378"/>
            <a:ext cx="2340000"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8" name="Rectangle 7"/>
          <p:cNvSpPr/>
          <p:nvPr/>
        </p:nvSpPr>
        <p:spPr>
          <a:xfrm>
            <a:off x="775799" y="3054714"/>
            <a:ext cx="1818419"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chemeClr val="bg1"/>
                </a:solidFill>
                <a:effectLst/>
                <a:uLnTx/>
                <a:uFillTx/>
                <a:ea typeface="+mn-ea"/>
                <a:cs typeface="+mn-cs"/>
              </a:rPr>
              <a:t>Your text here</a:t>
            </a:r>
          </a:p>
        </p:txBody>
      </p:sp>
      <p:sp>
        <p:nvSpPr>
          <p:cNvPr id="35" name="TextBox 13">
            <a:extLst>
              <a:ext uri="{FF2B5EF4-FFF2-40B4-BE49-F238E27FC236}">
                <a16:creationId xmlns:a16="http://schemas.microsoft.com/office/drawing/2014/main" id="{90F6A021-ED59-48A2-9CC5-0D42BD27A472}"/>
              </a:ext>
            </a:extLst>
          </p:cNvPr>
          <p:cNvSpPr txBox="1"/>
          <p:nvPr/>
        </p:nvSpPr>
        <p:spPr>
          <a:xfrm>
            <a:off x="775799" y="3750734"/>
            <a:ext cx="2192887" cy="1703030"/>
          </a:xfrm>
          <a:prstGeom prst="rect">
            <a:avLst/>
          </a:prstGeom>
          <a:noFill/>
        </p:spPr>
        <p:txBody>
          <a:bodyPr wrap="square" rtlCol="0">
            <a:spAutoFit/>
          </a:bodyPr>
          <a:lstStyle/>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5" name="Rectangle 4"/>
          <p:cNvSpPr/>
          <p:nvPr/>
        </p:nvSpPr>
        <p:spPr>
          <a:xfrm>
            <a:off x="3518081" y="1941378"/>
            <a:ext cx="2340000" cy="397504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9" name="Rectangle 8"/>
          <p:cNvSpPr/>
          <p:nvPr/>
        </p:nvSpPr>
        <p:spPr>
          <a:xfrm>
            <a:off x="3629387" y="3054714"/>
            <a:ext cx="2117388" cy="4164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schemeClr val="bg1"/>
                </a:solidFill>
                <a:effectLst/>
                <a:uLnTx/>
                <a:uFillTx/>
                <a:ea typeface="+mn-ea"/>
                <a:cs typeface="+mn-cs"/>
              </a:rPr>
              <a:t>Your text here</a:t>
            </a:r>
            <a:endParaRPr kumimoji="0" lang="en-GB" sz="1600" b="0" i="0" u="none" strike="noStrike" kern="1200" cap="none" spc="0" normalizeH="0" baseline="0" noProof="0" dirty="0">
              <a:ln>
                <a:noFill/>
              </a:ln>
              <a:solidFill>
                <a:schemeClr val="bg1"/>
              </a:solidFill>
              <a:effectLst/>
              <a:uLnTx/>
              <a:uFillTx/>
              <a:ea typeface="+mn-ea"/>
              <a:cs typeface="+mn-cs"/>
            </a:endParaRPr>
          </a:p>
        </p:txBody>
      </p:sp>
      <p:sp>
        <p:nvSpPr>
          <p:cNvPr id="34" name="TextBox 13-2">
            <a:extLst>
              <a:ext uri="{FF2B5EF4-FFF2-40B4-BE49-F238E27FC236}">
                <a16:creationId xmlns:a16="http://schemas.microsoft.com/office/drawing/2014/main" id="{A755E53D-66B1-40CC-9CA3-7A333D6FBF56}"/>
              </a:ext>
            </a:extLst>
          </p:cNvPr>
          <p:cNvSpPr txBox="1"/>
          <p:nvPr/>
        </p:nvSpPr>
        <p:spPr>
          <a:xfrm>
            <a:off x="3591638" y="3750734"/>
            <a:ext cx="2192887" cy="1703030"/>
          </a:xfrm>
          <a:prstGeom prst="rect">
            <a:avLst/>
          </a:prstGeom>
          <a:solidFill>
            <a:schemeClr val="tx2"/>
          </a:solidFill>
        </p:spPr>
        <p:txBody>
          <a:bodyPr wrap="square" rtlCol="0">
            <a:spAutoFit/>
          </a:bodyPr>
          <a:lstStyle/>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6" name="Rectangle 5"/>
          <p:cNvSpPr/>
          <p:nvPr/>
        </p:nvSpPr>
        <p:spPr>
          <a:xfrm>
            <a:off x="6333920" y="1941378"/>
            <a:ext cx="2340000" cy="397504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10" name="Rectangle 9"/>
          <p:cNvSpPr/>
          <p:nvPr/>
        </p:nvSpPr>
        <p:spPr>
          <a:xfrm>
            <a:off x="6445226" y="3054714"/>
            <a:ext cx="211738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chemeClr val="bg1"/>
                </a:solidFill>
                <a:effectLst/>
                <a:uLnTx/>
                <a:uFillTx/>
                <a:ea typeface="+mn-ea"/>
                <a:cs typeface="+mn-cs"/>
              </a:rPr>
              <a:t>Your text here</a:t>
            </a:r>
          </a:p>
        </p:txBody>
      </p:sp>
      <p:sp>
        <p:nvSpPr>
          <p:cNvPr id="14" name="TextBox 13-3"/>
          <p:cNvSpPr txBox="1"/>
          <p:nvPr/>
        </p:nvSpPr>
        <p:spPr>
          <a:xfrm>
            <a:off x="6407477" y="3750734"/>
            <a:ext cx="2192887" cy="1703030"/>
          </a:xfrm>
          <a:prstGeom prst="rect">
            <a:avLst/>
          </a:prstGeom>
          <a:noFill/>
        </p:spPr>
        <p:txBody>
          <a:bodyPr wrap="square" rtlCol="0">
            <a:spAutoFit/>
          </a:bodyPr>
          <a:lstStyle/>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sp>
        <p:nvSpPr>
          <p:cNvPr id="17" name="Rectangle 16">
            <a:extLst>
              <a:ext uri="{FF2B5EF4-FFF2-40B4-BE49-F238E27FC236}">
                <a16:creationId xmlns:a16="http://schemas.microsoft.com/office/drawing/2014/main" id="{2A14A1F5-0428-4186-9E23-9F003EBCD36C}"/>
              </a:ext>
            </a:extLst>
          </p:cNvPr>
          <p:cNvSpPr/>
          <p:nvPr/>
        </p:nvSpPr>
        <p:spPr>
          <a:xfrm>
            <a:off x="9149758" y="1941378"/>
            <a:ext cx="2340000" cy="397504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schemeClr val="bg1"/>
              </a:solidFill>
              <a:effectLst/>
              <a:uLnTx/>
              <a:uFillTx/>
              <a:ea typeface="+mn-ea"/>
              <a:cs typeface="+mn-cs"/>
            </a:endParaRPr>
          </a:p>
        </p:txBody>
      </p:sp>
      <p:sp>
        <p:nvSpPr>
          <p:cNvPr id="18" name="Rectangle 17">
            <a:extLst>
              <a:ext uri="{FF2B5EF4-FFF2-40B4-BE49-F238E27FC236}">
                <a16:creationId xmlns:a16="http://schemas.microsoft.com/office/drawing/2014/main" id="{C83D518E-BD62-4B1D-BDAF-7738138251F8}"/>
              </a:ext>
            </a:extLst>
          </p:cNvPr>
          <p:cNvSpPr/>
          <p:nvPr/>
        </p:nvSpPr>
        <p:spPr>
          <a:xfrm>
            <a:off x="9261064" y="3054714"/>
            <a:ext cx="2117388" cy="4164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chemeClr val="bg1"/>
                </a:solidFill>
                <a:effectLst/>
                <a:uLnTx/>
                <a:uFillTx/>
                <a:ea typeface="+mn-ea"/>
                <a:cs typeface="+mn-cs"/>
              </a:rPr>
              <a:t>Your text here</a:t>
            </a:r>
          </a:p>
        </p:txBody>
      </p:sp>
      <p:sp>
        <p:nvSpPr>
          <p:cNvPr id="19" name="TextBox 13-4">
            <a:extLst>
              <a:ext uri="{FF2B5EF4-FFF2-40B4-BE49-F238E27FC236}">
                <a16:creationId xmlns:a16="http://schemas.microsoft.com/office/drawing/2014/main" id="{7C112229-8E7E-46ED-A62E-FBD036ACE7D4}"/>
              </a:ext>
            </a:extLst>
          </p:cNvPr>
          <p:cNvSpPr txBox="1"/>
          <p:nvPr/>
        </p:nvSpPr>
        <p:spPr>
          <a:xfrm>
            <a:off x="9223315" y="3750734"/>
            <a:ext cx="2192887" cy="1703030"/>
          </a:xfrm>
          <a:prstGeom prst="rect">
            <a:avLst/>
          </a:prstGeom>
          <a:noFill/>
        </p:spPr>
        <p:txBody>
          <a:bodyPr wrap="square" rtlCol="0">
            <a:spAutoFit/>
          </a:bodyPr>
          <a:lstStyle/>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p>
          <a:p>
            <a:pPr marL="180000" lvl="0" indent="-180000" algn="l" eaLnBrk="1" hangingPunct="1">
              <a:spcBef>
                <a:spcPts val="840"/>
              </a:spcBef>
              <a:spcAft>
                <a:spcPts val="0"/>
              </a:spcAft>
              <a:buClr>
                <a:prstClr val="white"/>
              </a:buClr>
              <a:buSzPct val="77000"/>
              <a:buFont typeface="Wingdings 3" panose="05040102010807070707" pitchFamily="18" charset="2"/>
              <a:buChar char=""/>
              <a:defRPr/>
            </a:pPr>
            <a:r>
              <a:rPr lang="en-GB" kern="0" dirty="0">
                <a:solidFill>
                  <a:schemeClr val="bg1"/>
                </a:solidFill>
                <a:latin typeface="+mn-lt"/>
                <a:cs typeface="Arial" pitchFamily="34" charset="0"/>
              </a:rPr>
              <a:t>Lorem ipsum </a:t>
            </a:r>
            <a:r>
              <a:rPr lang="en-GB" kern="0" dirty="0" err="1">
                <a:solidFill>
                  <a:schemeClr val="bg1"/>
                </a:solidFill>
                <a:latin typeface="+mn-lt"/>
                <a:cs typeface="Arial" pitchFamily="34" charset="0"/>
              </a:rPr>
              <a:t>dolor</a:t>
            </a:r>
            <a:r>
              <a:rPr lang="en-GB" kern="0" dirty="0">
                <a:solidFill>
                  <a:schemeClr val="bg1"/>
                </a:solidFill>
                <a:latin typeface="+mn-lt"/>
                <a:cs typeface="Arial" pitchFamily="34" charset="0"/>
              </a:rPr>
              <a:t> sit </a:t>
            </a:r>
            <a:r>
              <a:rPr lang="en-GB" kern="0" dirty="0" err="1">
                <a:solidFill>
                  <a:schemeClr val="bg1"/>
                </a:solidFill>
                <a:latin typeface="+mn-lt"/>
                <a:cs typeface="Arial" pitchFamily="34" charset="0"/>
              </a:rPr>
              <a:t>am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consectetur</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dipiscing</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li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Aliquam</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eget</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scelerisque</a:t>
            </a:r>
            <a:r>
              <a:rPr lang="en-GB" kern="0" dirty="0">
                <a:solidFill>
                  <a:schemeClr val="bg1"/>
                </a:solidFill>
                <a:latin typeface="+mn-lt"/>
                <a:cs typeface="Arial" pitchFamily="34" charset="0"/>
              </a:rPr>
              <a:t> </a:t>
            </a:r>
            <a:r>
              <a:rPr lang="en-GB" kern="0" dirty="0" err="1">
                <a:solidFill>
                  <a:schemeClr val="bg1"/>
                </a:solidFill>
                <a:latin typeface="+mn-lt"/>
                <a:cs typeface="Arial" pitchFamily="34" charset="0"/>
              </a:rPr>
              <a:t>turpis</a:t>
            </a:r>
            <a:endParaRPr lang="en-GB" kern="0" dirty="0">
              <a:solidFill>
                <a:schemeClr val="bg1"/>
              </a:solidFill>
              <a:latin typeface="+mn-lt"/>
              <a:cs typeface="Arial" pitchFamily="34" charset="0"/>
            </a:endParaRPr>
          </a:p>
        </p:txBody>
      </p:sp>
      <p:pic>
        <p:nvPicPr>
          <p:cNvPr id="25" name="Graphique 24">
            <a:extLst>
              <a:ext uri="{FF2B5EF4-FFF2-40B4-BE49-F238E27FC236}">
                <a16:creationId xmlns:a16="http://schemas.microsoft.com/office/drawing/2014/main" id="{FD13FDB4-9918-4D9B-B887-257294B1A21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31364" y="2264685"/>
            <a:ext cx="481756" cy="570501"/>
          </a:xfrm>
          <a:prstGeom prst="rect">
            <a:avLst/>
          </a:prstGeom>
        </p:spPr>
      </p:pic>
      <p:pic>
        <p:nvPicPr>
          <p:cNvPr id="27" name="Graphique 26">
            <a:extLst>
              <a:ext uri="{FF2B5EF4-FFF2-40B4-BE49-F238E27FC236}">
                <a16:creationId xmlns:a16="http://schemas.microsoft.com/office/drawing/2014/main" id="{C43588A1-6457-4693-BF62-3B5DE8D7DE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20126" y="2289153"/>
            <a:ext cx="567586" cy="521565"/>
          </a:xfrm>
          <a:prstGeom prst="rect">
            <a:avLst/>
          </a:prstGeom>
        </p:spPr>
      </p:pic>
      <p:pic>
        <p:nvPicPr>
          <p:cNvPr id="22" name="Graphique 21">
            <a:extLst>
              <a:ext uri="{FF2B5EF4-FFF2-40B4-BE49-F238E27FC236}">
                <a16:creationId xmlns:a16="http://schemas.microsoft.com/office/drawing/2014/main" id="{61BB453C-24E3-46A6-AED0-B6ECECC280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031627" y="2336718"/>
            <a:ext cx="576263" cy="426435"/>
          </a:xfrm>
          <a:prstGeom prst="rect">
            <a:avLst/>
          </a:prstGeom>
        </p:spPr>
      </p:pic>
      <p:pic>
        <p:nvPicPr>
          <p:cNvPr id="21" name="Graphique 20">
            <a:extLst>
              <a:ext uri="{FF2B5EF4-FFF2-40B4-BE49-F238E27FC236}">
                <a16:creationId xmlns:a16="http://schemas.microsoft.com/office/drawing/2014/main" id="{11047A0C-E2AA-4801-91C9-DFD771B6953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12045" y="2248793"/>
            <a:ext cx="644285" cy="582925"/>
          </a:xfrm>
          <a:prstGeom prst="rect">
            <a:avLst/>
          </a:prstGeom>
        </p:spPr>
      </p:pic>
    </p:spTree>
    <p:custDataLst>
      <p:tags r:id="rId1"/>
    </p:custDataLst>
    <p:extLst>
      <p:ext uri="{BB962C8B-B14F-4D97-AF65-F5344CB8AC3E}">
        <p14:creationId xmlns:p14="http://schemas.microsoft.com/office/powerpoint/2010/main" val="36088789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C5285DE-500B-4C62-BBD0-38359EABB5B0}"/>
              </a:ext>
            </a:extLst>
          </p:cNvPr>
          <p:cNvSpPr>
            <a:spLocks noGrp="1"/>
          </p:cNvSpPr>
          <p:nvPr>
            <p:ph type="title"/>
          </p:nvPr>
        </p:nvSpPr>
        <p:spPr/>
        <p:txBody>
          <a:bodyPr/>
          <a:lstStyle/>
          <a:p>
            <a:r>
              <a:rPr lang="en-GB"/>
              <a:t>Slide message – four scenarios without icon</a:t>
            </a:r>
            <a:endParaRPr lang="en-GB" dirty="0"/>
          </a:p>
        </p:txBody>
      </p:sp>
      <p:sp>
        <p:nvSpPr>
          <p:cNvPr id="4" name="Rectangle 3"/>
          <p:cNvSpPr/>
          <p:nvPr/>
        </p:nvSpPr>
        <p:spPr>
          <a:xfrm>
            <a:off x="702242" y="1941378"/>
            <a:ext cx="2340000" cy="397504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l" eaLnBrk="1" fontAlgn="auto" hangingPunct="1">
              <a:spcBef>
                <a:spcPts val="400"/>
              </a:spcBef>
              <a:spcAft>
                <a:spcPts val="400"/>
              </a:spcAft>
              <a:buClrTx/>
              <a:defRPr/>
            </a:pPr>
            <a:r>
              <a:rPr lang="en-GB" sz="1600" b="1">
                <a:solidFill>
                  <a:schemeClr val="bg1"/>
                </a:solidFill>
              </a:rPr>
              <a:t>Your text here</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liquam eget scelerisque turpis</a:t>
            </a:r>
            <a:endParaRPr lang="en-GB" dirty="0">
              <a:solidFill>
                <a:schemeClr val="bg1"/>
              </a:solidFill>
            </a:endParaRPr>
          </a:p>
        </p:txBody>
      </p:sp>
      <p:sp>
        <p:nvSpPr>
          <p:cNvPr id="5" name="Rectangle 4"/>
          <p:cNvSpPr/>
          <p:nvPr/>
        </p:nvSpPr>
        <p:spPr>
          <a:xfrm>
            <a:off x="3518081" y="1941378"/>
            <a:ext cx="2340000" cy="397504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l" eaLnBrk="1" fontAlgn="auto" hangingPunct="1">
              <a:spcBef>
                <a:spcPts val="400"/>
              </a:spcBef>
              <a:spcAft>
                <a:spcPts val="400"/>
              </a:spcAft>
              <a:buClrTx/>
              <a:defRPr/>
            </a:pPr>
            <a:r>
              <a:rPr lang="en-GB" sz="1600" b="1">
                <a:solidFill>
                  <a:schemeClr val="bg1"/>
                </a:solidFill>
              </a:rPr>
              <a:t>Your text here</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liquam eget scelerisque turpis</a:t>
            </a:r>
            <a:endParaRPr lang="en-GB" dirty="0">
              <a:solidFill>
                <a:schemeClr val="bg1"/>
              </a:solidFill>
            </a:endParaRPr>
          </a:p>
        </p:txBody>
      </p:sp>
      <p:sp>
        <p:nvSpPr>
          <p:cNvPr id="6" name="Rectangle 5"/>
          <p:cNvSpPr/>
          <p:nvPr/>
        </p:nvSpPr>
        <p:spPr>
          <a:xfrm>
            <a:off x="6333920" y="1941378"/>
            <a:ext cx="2340000" cy="397504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l" eaLnBrk="1" fontAlgn="auto" hangingPunct="1">
              <a:spcBef>
                <a:spcPts val="400"/>
              </a:spcBef>
              <a:spcAft>
                <a:spcPts val="400"/>
              </a:spcAft>
              <a:buClrTx/>
              <a:defRPr/>
            </a:pPr>
            <a:r>
              <a:rPr lang="en-GB" sz="1600" b="1">
                <a:solidFill>
                  <a:schemeClr val="bg1"/>
                </a:solidFill>
              </a:rPr>
              <a:t>Your text here</a:t>
            </a:r>
          </a:p>
          <a:p>
            <a:pPr marL="180000" lvl="0" indent="-216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t>
            </a:r>
          </a:p>
          <a:p>
            <a:pPr marL="180000" lvl="0" indent="-216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liquam eget scelerisque turpis</a:t>
            </a:r>
            <a:endParaRPr lang="en-GB" dirty="0">
              <a:solidFill>
                <a:schemeClr val="bg1"/>
              </a:solidFill>
            </a:endParaRPr>
          </a:p>
        </p:txBody>
      </p:sp>
      <p:sp>
        <p:nvSpPr>
          <p:cNvPr id="17" name="Rectangle 16">
            <a:extLst>
              <a:ext uri="{FF2B5EF4-FFF2-40B4-BE49-F238E27FC236}">
                <a16:creationId xmlns:a16="http://schemas.microsoft.com/office/drawing/2014/main" id="{2A14A1F5-0428-4186-9E23-9F003EBCD36C}"/>
              </a:ext>
            </a:extLst>
          </p:cNvPr>
          <p:cNvSpPr/>
          <p:nvPr/>
        </p:nvSpPr>
        <p:spPr>
          <a:xfrm>
            <a:off x="9149758" y="1941378"/>
            <a:ext cx="2340000" cy="397504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l" eaLnBrk="1" fontAlgn="auto" hangingPunct="1">
              <a:spcBef>
                <a:spcPts val="400"/>
              </a:spcBef>
              <a:spcAft>
                <a:spcPts val="400"/>
              </a:spcAft>
              <a:buClrTx/>
              <a:defRPr/>
            </a:pPr>
            <a:r>
              <a:rPr lang="en-GB" sz="1600" b="1">
                <a:solidFill>
                  <a:schemeClr val="bg1"/>
                </a:solidFill>
              </a:rPr>
              <a:t>Your text here</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t>
            </a:r>
          </a:p>
          <a:p>
            <a:pPr marL="180000" lvl="0" indent="-180000" algn="l" eaLnBrk="1" fontAlgn="auto" hangingPunct="1">
              <a:spcBef>
                <a:spcPts val="840"/>
              </a:spcBef>
              <a:spcAft>
                <a:spcPts val="0"/>
              </a:spcAft>
              <a:buClr>
                <a:srgbClr val="FFFFFF"/>
              </a:buClr>
              <a:buSzPct val="77000"/>
              <a:buFont typeface="Wingdings 3" panose="05040102010807070707" pitchFamily="18" charset="2"/>
              <a:buChar char=""/>
              <a:defRPr/>
            </a:pPr>
            <a:r>
              <a:rPr lang="en-GB">
                <a:solidFill>
                  <a:schemeClr val="bg1"/>
                </a:solidFill>
              </a:rPr>
              <a:t>Lorem ipsum dolor sit amet, consectetur adipiscing elit. Aliquam eget scelerisque turpis</a:t>
            </a:r>
            <a:endParaRPr lang="en-GB" dirty="0">
              <a:solidFill>
                <a:schemeClr val="bg1"/>
              </a:solidFill>
            </a:endParaRPr>
          </a:p>
        </p:txBody>
      </p:sp>
    </p:spTree>
    <p:custDataLst>
      <p:tags r:id="rId1"/>
    </p:custDataLst>
    <p:extLst>
      <p:ext uri="{BB962C8B-B14F-4D97-AF65-F5344CB8AC3E}">
        <p14:creationId xmlns:p14="http://schemas.microsoft.com/office/powerpoint/2010/main" val="29091508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8B9C04C3-C2EC-4624-8F39-8AA89BAF712A}"/>
              </a:ext>
            </a:extLst>
          </p:cNvPr>
          <p:cNvSpPr>
            <a:spLocks noGrp="1"/>
          </p:cNvSpPr>
          <p:nvPr>
            <p:ph type="title"/>
          </p:nvPr>
        </p:nvSpPr>
        <p:spPr/>
        <p:txBody>
          <a:bodyPr/>
          <a:lstStyle/>
          <a:p>
            <a:r>
              <a:rPr lang="en-GB"/>
              <a:t>Slide message – five scenarios with icon</a:t>
            </a:r>
            <a:endParaRPr lang="en-GB" dirty="0"/>
          </a:p>
        </p:txBody>
      </p:sp>
      <p:sp>
        <p:nvSpPr>
          <p:cNvPr id="4" name="Rectangle 3"/>
          <p:cNvSpPr/>
          <p:nvPr/>
        </p:nvSpPr>
        <p:spPr>
          <a:xfrm>
            <a:off x="726960"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332000" rtlCol="0" anchor="t" anchorCtr="0"/>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ea typeface="+mn-ea"/>
                <a:cs typeface="+mn-cs"/>
              </a:rPr>
              <a:t>Your text here,</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b="1" i="0" u="none" strike="noStrike" kern="1200" cap="none" spc="0" normalizeH="0" baseline="0" noProof="0" dirty="0">
              <a:ln>
                <a:noFill/>
              </a:ln>
              <a:solidFill>
                <a:schemeClr val="bg1"/>
              </a:solidFill>
              <a:effectLst/>
              <a:uLnTx/>
              <a:uFillTx/>
              <a:ea typeface="+mn-ea"/>
              <a:cs typeface="+mn-cs"/>
            </a:endParaRPr>
          </a:p>
          <a:p>
            <a:pPr marL="180000" marR="0" lvl="0" indent="-180000" algn="l" defTabSz="914400" eaLnBrk="1" latinLnBrk="0" hangingPunct="1">
              <a:lnSpc>
                <a:spcPct val="100000"/>
              </a:lnSpc>
              <a:spcBef>
                <a:spcPts val="840"/>
              </a:spcBef>
              <a:spcAft>
                <a:spcPts val="0"/>
              </a:spcAft>
              <a:buClr>
                <a:schemeClr val="bg1"/>
              </a:buClr>
              <a:buSzPct val="77000"/>
              <a:buFont typeface="Wingdings 3" panose="05040102010807070707" pitchFamily="18" charset="2"/>
              <a:buChar char=""/>
              <a:tabLst/>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marR="0" lvl="0" indent="-180000" algn="l" defTabSz="914400" eaLnBrk="1" latinLnBrk="0" hangingPunct="1">
              <a:lnSpc>
                <a:spcPct val="100000"/>
              </a:lnSpc>
              <a:spcBef>
                <a:spcPts val="840"/>
              </a:spcBef>
              <a:spcAft>
                <a:spcPts val="0"/>
              </a:spcAft>
              <a:buClr>
                <a:schemeClr val="bg1"/>
              </a:buClr>
              <a:buSzPct val="77000"/>
              <a:buFont typeface="Wingdings 3" panose="05040102010807070707" pitchFamily="18" charset="2"/>
              <a:buChar char=""/>
              <a:tabLst/>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b="0" i="0" u="none" strike="noStrike" kern="1200" cap="none" spc="0" normalizeH="0" baseline="0" noProof="0" dirty="0">
              <a:ln>
                <a:noFill/>
              </a:ln>
              <a:solidFill>
                <a:schemeClr val="bg1"/>
              </a:solidFill>
              <a:effectLst/>
              <a:uLnTx/>
              <a:uFillTx/>
              <a:ea typeface="+mn-ea"/>
              <a:cs typeface="+mn-cs"/>
            </a:endParaRPr>
          </a:p>
        </p:txBody>
      </p:sp>
      <p:sp>
        <p:nvSpPr>
          <p:cNvPr id="5" name="Rectangle 4"/>
          <p:cNvSpPr/>
          <p:nvPr/>
        </p:nvSpPr>
        <p:spPr>
          <a:xfrm>
            <a:off x="2909686"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332000" rtlCol="0" anchor="t" anchorCtr="0"/>
          <a:lstStyle/>
          <a:p>
            <a:pPr lvl="0" algn="l" eaLnBrk="1" fontAlgn="auto" hangingPunct="1">
              <a:spcBef>
                <a:spcPts val="400"/>
              </a:spcBef>
              <a:spcAft>
                <a:spcPts val="400"/>
              </a:spcAft>
              <a:buClrTx/>
              <a:defRPr/>
            </a:pPr>
            <a:r>
              <a:rPr lang="en-GB" b="1" dirty="0">
                <a:solidFill>
                  <a:schemeClr val="bg1"/>
                </a:solidFill>
              </a:rPr>
              <a:t>Your text here,</a:t>
            </a:r>
          </a:p>
          <a:p>
            <a:pPr lvl="0" algn="l" eaLnBrk="1" fontAlgn="auto" hangingPunct="1">
              <a:spcBef>
                <a:spcPts val="400"/>
              </a:spcBef>
              <a:spcAft>
                <a:spcPts val="400"/>
              </a:spcAft>
              <a:buClrTx/>
              <a:defRPr/>
            </a:pPr>
            <a:endParaRPr lang="en-GB" b="1" dirty="0">
              <a:solidFill>
                <a:schemeClr val="bg1"/>
              </a:solidFill>
            </a:endParaRP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dirty="0">
              <a:solidFill>
                <a:schemeClr val="bg1"/>
              </a:solidFill>
            </a:endParaRPr>
          </a:p>
        </p:txBody>
      </p:sp>
      <p:sp>
        <p:nvSpPr>
          <p:cNvPr id="6" name="Rectangle 5"/>
          <p:cNvSpPr/>
          <p:nvPr/>
        </p:nvSpPr>
        <p:spPr>
          <a:xfrm>
            <a:off x="5092412"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332000" rtlCol="0" anchor="t" anchorCtr="0"/>
          <a:lstStyle/>
          <a:p>
            <a:pPr lvl="0" algn="l" eaLnBrk="1" fontAlgn="auto" hangingPunct="1">
              <a:spcBef>
                <a:spcPts val="400"/>
              </a:spcBef>
              <a:spcAft>
                <a:spcPts val="400"/>
              </a:spcAft>
              <a:buClrTx/>
              <a:defRPr/>
            </a:pPr>
            <a:r>
              <a:rPr lang="en-GB" b="1" dirty="0">
                <a:solidFill>
                  <a:schemeClr val="bg1"/>
                </a:solidFill>
              </a:rPr>
              <a:t>Your text here,</a:t>
            </a:r>
          </a:p>
          <a:p>
            <a:pPr lvl="0" algn="l" eaLnBrk="1" fontAlgn="auto" hangingPunct="1">
              <a:spcBef>
                <a:spcPts val="400"/>
              </a:spcBef>
              <a:spcAft>
                <a:spcPts val="400"/>
              </a:spcAft>
              <a:buClrTx/>
              <a:defRPr/>
            </a:pPr>
            <a:endParaRPr lang="en-GB" b="1" dirty="0">
              <a:solidFill>
                <a:schemeClr val="bg1"/>
              </a:solidFill>
            </a:endParaRP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dirty="0">
              <a:solidFill>
                <a:schemeClr val="bg1"/>
              </a:solidFill>
            </a:endParaRPr>
          </a:p>
        </p:txBody>
      </p:sp>
      <p:sp>
        <p:nvSpPr>
          <p:cNvPr id="7" name="Rectangle 6"/>
          <p:cNvSpPr/>
          <p:nvPr/>
        </p:nvSpPr>
        <p:spPr>
          <a:xfrm>
            <a:off x="7275138"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332000" rtlCol="0" anchor="t" anchorCtr="0"/>
          <a:lstStyle/>
          <a:p>
            <a:pPr lvl="0" algn="l" eaLnBrk="1" fontAlgn="auto" hangingPunct="1">
              <a:spcBef>
                <a:spcPts val="400"/>
              </a:spcBef>
              <a:spcAft>
                <a:spcPts val="400"/>
              </a:spcAft>
              <a:buClrTx/>
              <a:defRPr/>
            </a:pPr>
            <a:r>
              <a:rPr lang="en-GB" b="1" dirty="0">
                <a:solidFill>
                  <a:schemeClr val="bg1"/>
                </a:solidFill>
              </a:rPr>
              <a:t>Your text here,</a:t>
            </a:r>
          </a:p>
          <a:p>
            <a:pPr lvl="0" algn="l" eaLnBrk="1" fontAlgn="auto" hangingPunct="1">
              <a:spcBef>
                <a:spcPts val="400"/>
              </a:spcBef>
              <a:spcAft>
                <a:spcPts val="400"/>
              </a:spcAft>
              <a:buClrTx/>
              <a:defRPr/>
            </a:pPr>
            <a:endParaRPr lang="en-GB" b="1" dirty="0">
              <a:solidFill>
                <a:schemeClr val="bg1"/>
              </a:solidFill>
            </a:endParaRP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dirty="0">
              <a:solidFill>
                <a:schemeClr val="bg1"/>
              </a:solidFill>
            </a:endParaRPr>
          </a:p>
        </p:txBody>
      </p:sp>
      <p:sp>
        <p:nvSpPr>
          <p:cNvPr id="35" name="Rectangle 34">
            <a:extLst>
              <a:ext uri="{FF2B5EF4-FFF2-40B4-BE49-F238E27FC236}">
                <a16:creationId xmlns:a16="http://schemas.microsoft.com/office/drawing/2014/main" id="{516FA544-F8E6-4284-B68C-D03A8EF2625B}"/>
              </a:ext>
            </a:extLst>
          </p:cNvPr>
          <p:cNvSpPr/>
          <p:nvPr/>
        </p:nvSpPr>
        <p:spPr>
          <a:xfrm>
            <a:off x="9457866"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332000" rtlCol="0" anchor="t" anchorCtr="0"/>
          <a:lstStyle/>
          <a:p>
            <a:pPr lvl="0" algn="l" eaLnBrk="1" fontAlgn="auto" hangingPunct="1">
              <a:spcBef>
                <a:spcPts val="400"/>
              </a:spcBef>
              <a:spcAft>
                <a:spcPts val="400"/>
              </a:spcAft>
              <a:buClrTx/>
              <a:defRPr/>
            </a:pPr>
            <a:r>
              <a:rPr lang="en-GB" b="1" dirty="0">
                <a:solidFill>
                  <a:schemeClr val="bg1"/>
                </a:solidFill>
              </a:rPr>
              <a:t>Your text here,</a:t>
            </a:r>
          </a:p>
          <a:p>
            <a:pPr lvl="0" algn="l" eaLnBrk="1" fontAlgn="auto" hangingPunct="1">
              <a:spcBef>
                <a:spcPts val="400"/>
              </a:spcBef>
              <a:spcAft>
                <a:spcPts val="400"/>
              </a:spcAft>
              <a:buClrTx/>
              <a:defRPr/>
            </a:pPr>
            <a:endParaRPr lang="en-GB" b="1" dirty="0">
              <a:solidFill>
                <a:schemeClr val="bg1"/>
              </a:solidFill>
            </a:endParaRP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lvl="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dirty="0">
              <a:solidFill>
                <a:schemeClr val="bg1"/>
              </a:solidFill>
            </a:endParaRPr>
          </a:p>
        </p:txBody>
      </p:sp>
      <p:pic>
        <p:nvPicPr>
          <p:cNvPr id="17" name="Graphique 16">
            <a:extLst>
              <a:ext uri="{FF2B5EF4-FFF2-40B4-BE49-F238E27FC236}">
                <a16:creationId xmlns:a16="http://schemas.microsoft.com/office/drawing/2014/main" id="{E7855505-9118-439C-9D8B-2134B014A5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76082" y="2255005"/>
            <a:ext cx="481756" cy="570501"/>
          </a:xfrm>
          <a:prstGeom prst="rect">
            <a:avLst/>
          </a:prstGeom>
        </p:spPr>
      </p:pic>
      <p:pic>
        <p:nvPicPr>
          <p:cNvPr id="18" name="Graphique 17">
            <a:extLst>
              <a:ext uri="{FF2B5EF4-FFF2-40B4-BE49-F238E27FC236}">
                <a16:creationId xmlns:a16="http://schemas.microsoft.com/office/drawing/2014/main" id="{21EC4B01-197E-4DF3-8BED-01A1CB1CA3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77544" y="2248793"/>
            <a:ext cx="644285" cy="582925"/>
          </a:xfrm>
          <a:prstGeom prst="rect">
            <a:avLst/>
          </a:prstGeom>
        </p:spPr>
      </p:pic>
      <p:pic>
        <p:nvPicPr>
          <p:cNvPr id="19" name="Graphique 18">
            <a:extLst>
              <a:ext uri="{FF2B5EF4-FFF2-40B4-BE49-F238E27FC236}">
                <a16:creationId xmlns:a16="http://schemas.microsoft.com/office/drawing/2014/main" id="{958F1AE1-C3E4-4D43-8BF0-C32E580D13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12207" y="2279473"/>
            <a:ext cx="567586" cy="521565"/>
          </a:xfrm>
          <a:prstGeom prst="rect">
            <a:avLst/>
          </a:prstGeom>
        </p:spPr>
      </p:pic>
      <p:pic>
        <p:nvPicPr>
          <p:cNvPr id="20" name="Graphique 19">
            <a:extLst>
              <a:ext uri="{FF2B5EF4-FFF2-40B4-BE49-F238E27FC236}">
                <a16:creationId xmlns:a16="http://schemas.microsoft.com/office/drawing/2014/main" id="{33C75068-00F9-46C2-8122-64900003E78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77006" y="2327038"/>
            <a:ext cx="576263" cy="426435"/>
          </a:xfrm>
          <a:prstGeom prst="rect">
            <a:avLst/>
          </a:prstGeom>
        </p:spPr>
      </p:pic>
      <p:pic>
        <p:nvPicPr>
          <p:cNvPr id="11" name="Graphique 10">
            <a:extLst>
              <a:ext uri="{FF2B5EF4-FFF2-40B4-BE49-F238E27FC236}">
                <a16:creationId xmlns:a16="http://schemas.microsoft.com/office/drawing/2014/main" id="{8FDB40A0-9783-47AC-8B38-976180B6CFE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90691" y="2316418"/>
            <a:ext cx="514350" cy="447675"/>
          </a:xfrm>
          <a:prstGeom prst="rect">
            <a:avLst/>
          </a:prstGeom>
        </p:spPr>
      </p:pic>
    </p:spTree>
    <p:custDataLst>
      <p:tags r:id="rId1"/>
    </p:custDataLst>
    <p:extLst>
      <p:ext uri="{BB962C8B-B14F-4D97-AF65-F5344CB8AC3E}">
        <p14:creationId xmlns:p14="http://schemas.microsoft.com/office/powerpoint/2010/main" val="3917965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Graphique 18">
            <a:extLst>
              <a:ext uri="{FF2B5EF4-FFF2-40B4-BE49-F238E27FC236}">
                <a16:creationId xmlns:a16="http://schemas.microsoft.com/office/drawing/2014/main" id="{FFF3E88E-47EA-46FB-9E9D-B590B8A0FDC8}"/>
              </a:ext>
            </a:extLst>
          </p:cNvPr>
          <p:cNvGraphicFramePr/>
          <p:nvPr/>
        </p:nvGraphicFramePr>
        <p:xfrm>
          <a:off x="4613098" y="1162800"/>
          <a:ext cx="6126256" cy="441561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Objet 14" hidden="1">
            <a:extLst>
              <a:ext uri="{FF2B5EF4-FFF2-40B4-BE49-F238E27FC236}">
                <a16:creationId xmlns:a16="http://schemas.microsoft.com/office/drawing/2014/main" id="{4AE8F213-8C29-482C-91BF-EAD27DA8F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96" imgH="396" progId="TCLayout.ActiveDocument.1">
                  <p:embed/>
                </p:oleObj>
              </mc:Choice>
              <mc:Fallback>
                <p:oleObj name="Diapositive think-cell" r:id="rId6" imgW="396" imgH="396" progId="TCLayout.ActiveDocument.1">
                  <p:embed/>
                  <p:pic>
                    <p:nvPicPr>
                      <p:cNvPr id="15" name="Objet 14" hidden="1">
                        <a:extLst>
                          <a:ext uri="{FF2B5EF4-FFF2-40B4-BE49-F238E27FC236}">
                            <a16:creationId xmlns:a16="http://schemas.microsoft.com/office/drawing/2014/main" id="{4AE8F213-8C29-482C-91BF-EAD27DA8F6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0B47DC-2C69-4462-BEBC-76697B000052}"/>
              </a:ext>
            </a:extLst>
          </p:cNvPr>
          <p:cNvSpPr/>
          <p:nvPr>
            <p:custDataLst>
              <p:tags r:id="rId2"/>
            </p:custDataLst>
          </p:nvPr>
        </p:nvSpPr>
        <p:spPr bwMode="auto">
          <a:xfrm>
            <a:off x="0" y="0"/>
            <a:ext cx="158750" cy="158750"/>
          </a:xfrm>
          <a:prstGeom prst="rect">
            <a:avLst/>
          </a:prstGeom>
          <a:solidFill>
            <a:srgbClr val="FF00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bg2"/>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buClr>
                <a:schemeClr val="accent3"/>
              </a:buClr>
              <a:buSzPct val="77000"/>
            </a:pPr>
            <a:endParaRPr lang="en-GB" sz="24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1309A534-6041-4514-8C19-4F8C3BD0C7B5}"/>
              </a:ext>
            </a:extLst>
          </p:cNvPr>
          <p:cNvSpPr>
            <a:spLocks noGrp="1"/>
          </p:cNvSpPr>
          <p:nvPr>
            <p:ph type="title"/>
          </p:nvPr>
        </p:nvSpPr>
        <p:spPr/>
        <p:txBody>
          <a:bodyPr/>
          <a:lstStyle/>
          <a:p>
            <a:r>
              <a:rPr lang="en-GB"/>
              <a:t>Key principles and graph</a:t>
            </a:r>
            <a:endParaRPr lang="en-GB" dirty="0"/>
          </a:p>
        </p:txBody>
      </p:sp>
      <p:sp>
        <p:nvSpPr>
          <p:cNvPr id="8" name="Content Placeholder 3">
            <a:extLst>
              <a:ext uri="{FF2B5EF4-FFF2-40B4-BE49-F238E27FC236}">
                <a16:creationId xmlns:a16="http://schemas.microsoft.com/office/drawing/2014/main" id="{D3D44DF5-7061-4F51-8850-29822ECBA882}"/>
              </a:ext>
            </a:extLst>
          </p:cNvPr>
          <p:cNvSpPr>
            <a:spLocks noGrp="1"/>
          </p:cNvSpPr>
          <p:nvPr>
            <p:ph idx="1"/>
          </p:nvPr>
        </p:nvSpPr>
        <p:spPr>
          <a:xfrm>
            <a:off x="432000" y="1162800"/>
            <a:ext cx="4181098" cy="1294439"/>
          </a:xfrm>
        </p:spPr>
        <p:txBody>
          <a:bodyPr>
            <a:noAutofit/>
          </a:bodyPr>
          <a:lstStyle/>
          <a:p>
            <a:pPr marL="285750" indent="-285750">
              <a:spcAft>
                <a:spcPts val="1200"/>
              </a:spcAft>
              <a:buClr>
                <a:srgbClr val="B40646"/>
              </a:buClr>
              <a:buSzPct val="82000"/>
              <a:buFont typeface="Wingdings 3" panose="05040102010807070707" pitchFamily="18" charset="2"/>
              <a:buChar char=""/>
            </a:pPr>
            <a:r>
              <a:rPr lang="en-GB">
                <a:latin typeface="+mn-lt"/>
              </a:rPr>
              <a:t>Text goes here</a:t>
            </a:r>
          </a:p>
          <a:p>
            <a:pPr marL="285750" indent="-285750">
              <a:spcAft>
                <a:spcPts val="1200"/>
              </a:spcAft>
              <a:buClr>
                <a:srgbClr val="B40646"/>
              </a:buClr>
              <a:buSzPct val="82000"/>
              <a:buFont typeface="Wingdings 3" panose="05040102010807070707" pitchFamily="18" charset="2"/>
              <a:buChar char=""/>
            </a:pPr>
            <a:r>
              <a:rPr lang="en-GB">
                <a:latin typeface="+mn-lt"/>
              </a:rPr>
              <a:t>More text goes here</a:t>
            </a:r>
          </a:p>
          <a:p>
            <a:pPr marL="285750" indent="-285750">
              <a:spcAft>
                <a:spcPts val="1200"/>
              </a:spcAft>
              <a:buClr>
                <a:srgbClr val="B40646"/>
              </a:buClr>
              <a:buSzPct val="82000"/>
              <a:buFont typeface="Wingdings 3" panose="05040102010807070707" pitchFamily="18" charset="2"/>
              <a:buChar char=""/>
            </a:pPr>
            <a:r>
              <a:rPr lang="en-GB">
                <a:latin typeface="+mn-lt"/>
              </a:rPr>
              <a:t>Even more text goes here</a:t>
            </a:r>
            <a:endParaRPr lang="en-GB" dirty="0">
              <a:latin typeface="+mn-lt"/>
            </a:endParaRPr>
          </a:p>
        </p:txBody>
      </p:sp>
      <p:sp>
        <p:nvSpPr>
          <p:cNvPr id="11" name="ZoneTexte 10">
            <a:extLst>
              <a:ext uri="{FF2B5EF4-FFF2-40B4-BE49-F238E27FC236}">
                <a16:creationId xmlns:a16="http://schemas.microsoft.com/office/drawing/2014/main" id="{08FF2D83-EEFD-4EF6-A733-CB2DC01DC1DB}"/>
              </a:ext>
            </a:extLst>
          </p:cNvPr>
          <p:cNvSpPr txBox="1"/>
          <p:nvPr/>
        </p:nvSpPr>
        <p:spPr>
          <a:xfrm>
            <a:off x="5799605" y="5657661"/>
            <a:ext cx="4939748" cy="140463"/>
          </a:xfrm>
          <a:prstGeom prst="rect">
            <a:avLst/>
          </a:prstGeom>
          <a:noFill/>
        </p:spPr>
        <p:txBody>
          <a:bodyPr wrap="square" lIns="0" tIns="0" rIns="0" bIns="0" rtlCol="0">
            <a:noAutofit/>
          </a:bodyPr>
          <a:lstStyle/>
          <a:p>
            <a:pPr algn="r" defTabSz="742950"/>
            <a:r>
              <a:rPr lang="en-GB" sz="1200">
                <a:solidFill>
                  <a:schemeClr val="bg1">
                    <a:lumMod val="65000"/>
                  </a:schemeClr>
                </a:solidFill>
                <a:latin typeface="Arial" panose="020B0604020202020204" pitchFamily="34" charset="0"/>
              </a:rPr>
              <a:t>Source, hypotheses…</a:t>
            </a:r>
            <a:endParaRPr lang="en-GB" sz="1200" dirty="0">
              <a:solidFill>
                <a:schemeClr val="bg1">
                  <a:lumMod val="65000"/>
                </a:schemeClr>
              </a:solidFill>
              <a:latin typeface="Arial" panose="020B0604020202020204" pitchFamily="34" charset="0"/>
            </a:endParaRPr>
          </a:p>
        </p:txBody>
      </p:sp>
    </p:spTree>
    <p:extLst>
      <p:ext uri="{BB962C8B-B14F-4D97-AF65-F5344CB8AC3E}">
        <p14:creationId xmlns:p14="http://schemas.microsoft.com/office/powerpoint/2010/main" val="403187677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47EBE6C4-E756-4895-9490-41F19F0B1E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33" name="Objet 32" hidden="1">
                        <a:extLst>
                          <a:ext uri="{FF2B5EF4-FFF2-40B4-BE49-F238E27FC236}">
                            <a16:creationId xmlns:a16="http://schemas.microsoft.com/office/drawing/2014/main" id="{47EBE6C4-E756-4895-9490-41F19F0B1E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4C247-5BC9-4DE9-AC42-B3BABDF176B7}"/>
              </a:ext>
            </a:extLst>
          </p:cNvPr>
          <p:cNvSpPr/>
          <p:nvPr>
            <p:custDataLst>
              <p:tags r:id="rId3"/>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8B9C04C3-C2EC-4624-8F39-8AA89BAF712A}"/>
              </a:ext>
            </a:extLst>
          </p:cNvPr>
          <p:cNvSpPr>
            <a:spLocks noGrp="1"/>
          </p:cNvSpPr>
          <p:nvPr>
            <p:ph type="title"/>
          </p:nvPr>
        </p:nvSpPr>
        <p:spPr/>
        <p:txBody>
          <a:bodyPr/>
          <a:lstStyle/>
          <a:p>
            <a:r>
              <a:rPr lang="en-GB"/>
              <a:t>Slide message – five scenarios without icon</a:t>
            </a:r>
            <a:endParaRPr lang="en-GB" dirty="0"/>
          </a:p>
        </p:txBody>
      </p:sp>
      <p:sp>
        <p:nvSpPr>
          <p:cNvPr id="4" name="Rectangle 3"/>
          <p:cNvSpPr/>
          <p:nvPr/>
        </p:nvSpPr>
        <p:spPr>
          <a:xfrm>
            <a:off x="726960"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chemeClr val="bg1"/>
                </a:solidFill>
                <a:effectLst/>
                <a:uLnTx/>
                <a:uFillTx/>
                <a:ea typeface="+mn-ea"/>
                <a:cs typeface="+mn-cs"/>
              </a:rPr>
              <a:t>Your text here</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600" b="1" i="0" u="none" strike="noStrike" kern="1200" cap="none" spc="0" normalizeH="0" baseline="0" noProof="0">
              <a:ln>
                <a:noFill/>
              </a:ln>
              <a:solidFill>
                <a:schemeClr val="bg1"/>
              </a:solidFill>
              <a:effectLst/>
              <a:uLnTx/>
              <a:uFillTx/>
              <a:ea typeface="+mn-ea"/>
              <a:cs typeface="+mn-cs"/>
            </a:endParaRPr>
          </a:p>
          <a:p>
            <a:pPr marL="180000" marR="0" indent="-180000" algn="l" defTabSz="914400" eaLnBrk="1" latinLnBrk="0" hangingPunct="1">
              <a:lnSpc>
                <a:spcPct val="100000"/>
              </a:lnSpc>
              <a:spcBef>
                <a:spcPts val="840"/>
              </a:spcBef>
              <a:spcAft>
                <a:spcPts val="0"/>
              </a:spcAft>
              <a:buClr>
                <a:schemeClr val="bg1"/>
              </a:buClr>
              <a:buSzPct val="77000"/>
              <a:buFont typeface="Wingdings 3" panose="05040102010807070707" pitchFamily="18" charset="2"/>
              <a:buChar char=""/>
              <a:tabLst/>
              <a:defRPr/>
            </a:pPr>
            <a:r>
              <a:rPr lang="en-GB" kern="0">
                <a:solidFill>
                  <a:schemeClr val="bg1"/>
                </a:solidFill>
                <a:cs typeface="Arial" pitchFamily="34" charset="0"/>
              </a:rPr>
              <a:t>Lorem ipsum dolor sit amet, consectetur adipiscing elit </a:t>
            </a:r>
          </a:p>
          <a:p>
            <a:pPr marL="180000" marR="0" indent="-180000" algn="l" defTabSz="914400" eaLnBrk="1" latinLnBrk="0" hangingPunct="1">
              <a:lnSpc>
                <a:spcPct val="100000"/>
              </a:lnSpc>
              <a:spcBef>
                <a:spcPts val="840"/>
              </a:spcBef>
              <a:spcAft>
                <a:spcPts val="0"/>
              </a:spcAft>
              <a:buClr>
                <a:schemeClr val="bg1"/>
              </a:buClr>
              <a:buSzPct val="77000"/>
              <a:buFont typeface="Wingdings 3" panose="05040102010807070707" pitchFamily="18" charset="2"/>
              <a:buChar char=""/>
              <a:tabLst/>
              <a:defRPr/>
            </a:pPr>
            <a:r>
              <a:rPr lang="en-GB" kern="0">
                <a:solidFill>
                  <a:schemeClr val="bg1"/>
                </a:solidFill>
                <a:cs typeface="Arial" pitchFamily="34" charset="0"/>
              </a:rPr>
              <a:t>Nam ut erat quis purus sagittis</a:t>
            </a:r>
            <a:endParaRPr lang="en-GB" kern="0" dirty="0">
              <a:solidFill>
                <a:schemeClr val="bg1"/>
              </a:solidFill>
              <a:cs typeface="Arial" pitchFamily="34" charset="0"/>
            </a:endParaRPr>
          </a:p>
        </p:txBody>
      </p:sp>
      <p:sp>
        <p:nvSpPr>
          <p:cNvPr id="5" name="Rectangle 4"/>
          <p:cNvSpPr/>
          <p:nvPr/>
        </p:nvSpPr>
        <p:spPr>
          <a:xfrm>
            <a:off x="2909686"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eaLnBrk="1" fontAlgn="auto" hangingPunct="1">
              <a:spcBef>
                <a:spcPts val="400"/>
              </a:spcBef>
              <a:spcAft>
                <a:spcPts val="400"/>
              </a:spcAft>
              <a:buClrTx/>
              <a:defRPr/>
            </a:pPr>
            <a:r>
              <a:rPr lang="en-GB" sz="1600" b="1">
                <a:solidFill>
                  <a:schemeClr val="bg1"/>
                </a:solidFill>
              </a:rPr>
              <a:t>Your text here</a:t>
            </a:r>
          </a:p>
          <a:p>
            <a:pPr lvl="0" algn="l" eaLnBrk="1" fontAlgn="auto" hangingPunct="1">
              <a:spcBef>
                <a:spcPts val="400"/>
              </a:spcBef>
              <a:spcAft>
                <a:spcPts val="400"/>
              </a:spcAft>
              <a:buClrTx/>
              <a:defRPr/>
            </a:pPr>
            <a:endParaRPr lang="en-GB" sz="1600" b="1">
              <a:solidFill>
                <a:schemeClr val="bg1"/>
              </a:solidFill>
            </a:endParaRP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a:solidFill>
                  <a:schemeClr val="bg1"/>
                </a:solidFill>
                <a:cs typeface="Arial" pitchFamily="34" charset="0"/>
              </a:rPr>
              <a:t>Lorem ipsum dolor sit amet, consectetur adipiscing eli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a:solidFill>
                  <a:schemeClr val="bg1"/>
                </a:solidFill>
                <a:cs typeface="Arial" pitchFamily="34" charset="0"/>
              </a:rPr>
              <a:t>Nam ut erat quis purus sagittis</a:t>
            </a:r>
          </a:p>
          <a:p>
            <a:pPr lvl="0" algn="l" eaLnBrk="1" fontAlgn="auto" hangingPunct="1">
              <a:spcBef>
                <a:spcPts val="400"/>
              </a:spcBef>
              <a:spcAft>
                <a:spcPts val="400"/>
              </a:spcAft>
              <a:buClrTx/>
              <a:defRPr/>
            </a:pPr>
            <a:endParaRPr lang="en-GB" sz="1800" dirty="0">
              <a:solidFill>
                <a:schemeClr val="bg1"/>
              </a:solidFill>
            </a:endParaRPr>
          </a:p>
        </p:txBody>
      </p:sp>
      <p:sp>
        <p:nvSpPr>
          <p:cNvPr id="6" name="Rectangle 5"/>
          <p:cNvSpPr/>
          <p:nvPr/>
        </p:nvSpPr>
        <p:spPr>
          <a:xfrm>
            <a:off x="5092412"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eaLnBrk="1" fontAlgn="auto" hangingPunct="1">
              <a:spcBef>
                <a:spcPts val="400"/>
              </a:spcBef>
              <a:spcAft>
                <a:spcPts val="400"/>
              </a:spcAft>
              <a:buClrTx/>
              <a:defRPr/>
            </a:pPr>
            <a:r>
              <a:rPr lang="en-GB" sz="1600" b="1" dirty="0">
                <a:solidFill>
                  <a:schemeClr val="bg1"/>
                </a:solidFill>
              </a:rPr>
              <a:t>Your text here</a:t>
            </a:r>
          </a:p>
          <a:p>
            <a:pPr lvl="0" algn="l" eaLnBrk="1" fontAlgn="auto" hangingPunct="1">
              <a:spcBef>
                <a:spcPts val="400"/>
              </a:spcBef>
              <a:spcAft>
                <a:spcPts val="400"/>
              </a:spcAft>
              <a:buClrTx/>
              <a:defRPr/>
            </a:pPr>
            <a:endParaRPr lang="en-GB" sz="1600" b="1" dirty="0">
              <a:solidFill>
                <a:schemeClr val="bg1"/>
              </a:solidFill>
            </a:endParaRP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sz="1800" dirty="0">
              <a:solidFill>
                <a:schemeClr val="bg1"/>
              </a:solidFill>
            </a:endParaRPr>
          </a:p>
        </p:txBody>
      </p:sp>
      <p:sp>
        <p:nvSpPr>
          <p:cNvPr id="7" name="Rectangle 6"/>
          <p:cNvSpPr/>
          <p:nvPr/>
        </p:nvSpPr>
        <p:spPr>
          <a:xfrm>
            <a:off x="7275138"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eaLnBrk="1" fontAlgn="auto" hangingPunct="1">
              <a:spcBef>
                <a:spcPts val="400"/>
              </a:spcBef>
              <a:spcAft>
                <a:spcPts val="400"/>
              </a:spcAft>
              <a:buClrTx/>
              <a:defRPr/>
            </a:pPr>
            <a:r>
              <a:rPr lang="en-GB" sz="1600" b="1" dirty="0">
                <a:solidFill>
                  <a:schemeClr val="bg1"/>
                </a:solidFill>
              </a:rPr>
              <a:t>Your text here</a:t>
            </a:r>
          </a:p>
          <a:p>
            <a:pPr lvl="0" algn="l" eaLnBrk="1" fontAlgn="auto" hangingPunct="1">
              <a:spcBef>
                <a:spcPts val="400"/>
              </a:spcBef>
              <a:spcAft>
                <a:spcPts val="400"/>
              </a:spcAft>
              <a:buClrTx/>
              <a:defRPr/>
            </a:pPr>
            <a:endParaRPr lang="en-GB" sz="1600" b="1" dirty="0">
              <a:solidFill>
                <a:schemeClr val="bg1"/>
              </a:solidFill>
            </a:endParaRP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sz="1800" dirty="0">
              <a:solidFill>
                <a:schemeClr val="bg1"/>
              </a:solidFill>
            </a:endParaRPr>
          </a:p>
        </p:txBody>
      </p:sp>
      <p:sp>
        <p:nvSpPr>
          <p:cNvPr id="35" name="Rectangle 34">
            <a:extLst>
              <a:ext uri="{FF2B5EF4-FFF2-40B4-BE49-F238E27FC236}">
                <a16:creationId xmlns:a16="http://schemas.microsoft.com/office/drawing/2014/main" id="{516FA544-F8E6-4284-B68C-D03A8EF2625B}"/>
              </a:ext>
            </a:extLst>
          </p:cNvPr>
          <p:cNvSpPr/>
          <p:nvPr/>
        </p:nvSpPr>
        <p:spPr>
          <a:xfrm>
            <a:off x="9457866" y="1993003"/>
            <a:ext cx="1980000" cy="359875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eaLnBrk="1" fontAlgn="auto" hangingPunct="1">
              <a:spcBef>
                <a:spcPts val="400"/>
              </a:spcBef>
              <a:spcAft>
                <a:spcPts val="400"/>
              </a:spcAft>
              <a:buClrTx/>
              <a:defRPr/>
            </a:pPr>
            <a:r>
              <a:rPr lang="en-GB" sz="1600" b="1" dirty="0">
                <a:solidFill>
                  <a:schemeClr val="bg1"/>
                </a:solidFill>
              </a:rPr>
              <a:t>Your text here</a:t>
            </a:r>
          </a:p>
          <a:p>
            <a:pPr lvl="0" algn="l" eaLnBrk="1" fontAlgn="auto" hangingPunct="1">
              <a:spcBef>
                <a:spcPts val="400"/>
              </a:spcBef>
              <a:spcAft>
                <a:spcPts val="400"/>
              </a:spcAft>
              <a:buClrTx/>
              <a:defRPr/>
            </a:pPr>
            <a:endParaRPr lang="en-GB" sz="1600" b="1" dirty="0">
              <a:solidFill>
                <a:schemeClr val="bg1"/>
              </a:solidFill>
            </a:endParaRP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Lorem ipsum </a:t>
            </a:r>
            <a:r>
              <a:rPr lang="en-GB" kern="0" dirty="0" err="1">
                <a:solidFill>
                  <a:schemeClr val="bg1"/>
                </a:solidFill>
                <a:cs typeface="Arial" pitchFamily="34" charset="0"/>
              </a:rPr>
              <a:t>dolor</a:t>
            </a:r>
            <a:r>
              <a:rPr lang="en-GB" kern="0" dirty="0">
                <a:solidFill>
                  <a:schemeClr val="bg1"/>
                </a:solidFill>
                <a:cs typeface="Arial" pitchFamily="34" charset="0"/>
              </a:rPr>
              <a:t> sit </a:t>
            </a:r>
            <a:r>
              <a:rPr lang="en-GB" kern="0" dirty="0" err="1">
                <a:solidFill>
                  <a:schemeClr val="bg1"/>
                </a:solidFill>
                <a:cs typeface="Arial" pitchFamily="34" charset="0"/>
              </a:rPr>
              <a:t>amet</a:t>
            </a:r>
            <a:r>
              <a:rPr lang="en-GB" kern="0" dirty="0">
                <a:solidFill>
                  <a:schemeClr val="bg1"/>
                </a:solidFill>
                <a:cs typeface="Arial" pitchFamily="34" charset="0"/>
              </a:rPr>
              <a:t>, </a:t>
            </a:r>
            <a:r>
              <a:rPr lang="en-GB" kern="0" dirty="0" err="1">
                <a:solidFill>
                  <a:schemeClr val="bg1"/>
                </a:solidFill>
                <a:cs typeface="Arial" pitchFamily="34" charset="0"/>
              </a:rPr>
              <a:t>consectetur</a:t>
            </a:r>
            <a:r>
              <a:rPr lang="en-GB" kern="0" dirty="0">
                <a:solidFill>
                  <a:schemeClr val="bg1"/>
                </a:solidFill>
                <a:cs typeface="Arial" pitchFamily="34" charset="0"/>
              </a:rPr>
              <a:t> </a:t>
            </a:r>
            <a:r>
              <a:rPr lang="en-GB" kern="0" dirty="0" err="1">
                <a:solidFill>
                  <a:schemeClr val="bg1"/>
                </a:solidFill>
                <a:cs typeface="Arial" pitchFamily="34" charset="0"/>
              </a:rPr>
              <a:t>adipiscing</a:t>
            </a:r>
            <a:r>
              <a:rPr lang="en-GB" kern="0" dirty="0">
                <a:solidFill>
                  <a:schemeClr val="bg1"/>
                </a:solidFill>
                <a:cs typeface="Arial" pitchFamily="34" charset="0"/>
              </a:rPr>
              <a:t> </a:t>
            </a:r>
            <a:r>
              <a:rPr lang="en-GB" kern="0" dirty="0" err="1">
                <a:solidFill>
                  <a:schemeClr val="bg1"/>
                </a:solidFill>
                <a:cs typeface="Arial" pitchFamily="34" charset="0"/>
              </a:rPr>
              <a:t>elit</a:t>
            </a:r>
            <a:r>
              <a:rPr lang="en-GB" kern="0" dirty="0">
                <a:solidFill>
                  <a:schemeClr val="bg1"/>
                </a:solidFill>
                <a:cs typeface="Arial" pitchFamily="34" charset="0"/>
              </a:rPr>
              <a:t> </a:t>
            </a:r>
          </a:p>
          <a:p>
            <a:pPr marL="180000" indent="-180000" algn="l" eaLnBrk="1" hangingPunct="1">
              <a:spcBef>
                <a:spcPts val="840"/>
              </a:spcBef>
              <a:spcAft>
                <a:spcPts val="0"/>
              </a:spcAft>
              <a:buClr>
                <a:schemeClr val="bg1"/>
              </a:buClr>
              <a:buSzPct val="77000"/>
              <a:buFont typeface="Wingdings 3" panose="05040102010807070707" pitchFamily="18" charset="2"/>
              <a:buChar char=""/>
              <a:defRPr/>
            </a:pPr>
            <a:r>
              <a:rPr lang="en-GB" kern="0" dirty="0">
                <a:solidFill>
                  <a:schemeClr val="bg1"/>
                </a:solidFill>
                <a:cs typeface="Arial" pitchFamily="34" charset="0"/>
              </a:rPr>
              <a:t>Nam </a:t>
            </a:r>
            <a:r>
              <a:rPr lang="en-GB" kern="0" dirty="0" err="1">
                <a:solidFill>
                  <a:schemeClr val="bg1"/>
                </a:solidFill>
                <a:cs typeface="Arial" pitchFamily="34" charset="0"/>
              </a:rPr>
              <a:t>ut</a:t>
            </a:r>
            <a:r>
              <a:rPr lang="en-GB" kern="0" dirty="0">
                <a:solidFill>
                  <a:schemeClr val="bg1"/>
                </a:solidFill>
                <a:cs typeface="Arial" pitchFamily="34" charset="0"/>
              </a:rPr>
              <a:t> </a:t>
            </a:r>
            <a:r>
              <a:rPr lang="en-GB" kern="0" dirty="0" err="1">
                <a:solidFill>
                  <a:schemeClr val="bg1"/>
                </a:solidFill>
                <a:cs typeface="Arial" pitchFamily="34" charset="0"/>
              </a:rPr>
              <a:t>erat</a:t>
            </a:r>
            <a:r>
              <a:rPr lang="en-GB" kern="0" dirty="0">
                <a:solidFill>
                  <a:schemeClr val="bg1"/>
                </a:solidFill>
                <a:cs typeface="Arial" pitchFamily="34" charset="0"/>
              </a:rPr>
              <a:t> </a:t>
            </a:r>
            <a:r>
              <a:rPr lang="en-GB" kern="0" dirty="0" err="1">
                <a:solidFill>
                  <a:schemeClr val="bg1"/>
                </a:solidFill>
                <a:cs typeface="Arial" pitchFamily="34" charset="0"/>
              </a:rPr>
              <a:t>quis</a:t>
            </a:r>
            <a:r>
              <a:rPr lang="en-GB" kern="0" dirty="0">
                <a:solidFill>
                  <a:schemeClr val="bg1"/>
                </a:solidFill>
                <a:cs typeface="Arial" pitchFamily="34" charset="0"/>
              </a:rPr>
              <a:t> </a:t>
            </a:r>
            <a:r>
              <a:rPr lang="en-GB" kern="0" dirty="0" err="1">
                <a:solidFill>
                  <a:schemeClr val="bg1"/>
                </a:solidFill>
                <a:cs typeface="Arial" pitchFamily="34" charset="0"/>
              </a:rPr>
              <a:t>purus</a:t>
            </a:r>
            <a:r>
              <a:rPr lang="en-GB" kern="0" dirty="0">
                <a:solidFill>
                  <a:schemeClr val="bg1"/>
                </a:solidFill>
                <a:cs typeface="Arial" pitchFamily="34" charset="0"/>
              </a:rPr>
              <a:t> </a:t>
            </a:r>
            <a:r>
              <a:rPr lang="en-GB" kern="0" dirty="0" err="1">
                <a:solidFill>
                  <a:schemeClr val="bg1"/>
                </a:solidFill>
                <a:cs typeface="Arial" pitchFamily="34" charset="0"/>
              </a:rPr>
              <a:t>sagittis</a:t>
            </a:r>
            <a:endParaRPr lang="en-GB" kern="0" dirty="0">
              <a:solidFill>
                <a:schemeClr val="bg1"/>
              </a:solidFill>
              <a:cs typeface="Arial" pitchFamily="34" charset="0"/>
            </a:endParaRPr>
          </a:p>
          <a:p>
            <a:pPr lvl="0" algn="l" eaLnBrk="1" fontAlgn="auto" hangingPunct="1">
              <a:spcBef>
                <a:spcPts val="400"/>
              </a:spcBef>
              <a:spcAft>
                <a:spcPts val="400"/>
              </a:spcAft>
              <a:buClrTx/>
              <a:defRPr/>
            </a:pPr>
            <a:endParaRPr lang="en-GB" sz="1800" dirty="0">
              <a:solidFill>
                <a:schemeClr val="bg1"/>
              </a:solidFill>
            </a:endParaRPr>
          </a:p>
        </p:txBody>
      </p:sp>
    </p:spTree>
    <p:custDataLst>
      <p:tags r:id="rId1"/>
    </p:custDataLst>
    <p:extLst>
      <p:ext uri="{BB962C8B-B14F-4D97-AF65-F5344CB8AC3E}">
        <p14:creationId xmlns:p14="http://schemas.microsoft.com/office/powerpoint/2010/main" val="16716375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DAADDDDA-9E00-4352-8787-6B00E2A127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DAADDDDA-9E00-4352-8787-6B00E2A127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E3F1283-FCA8-4A57-9EC5-D23151088858}"/>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E774DB76-9D1D-4A70-B43C-F2CD9498ED9E}"/>
              </a:ext>
            </a:extLst>
          </p:cNvPr>
          <p:cNvSpPr>
            <a:spLocks noGrp="1"/>
          </p:cNvSpPr>
          <p:nvPr>
            <p:ph type="title"/>
          </p:nvPr>
        </p:nvSpPr>
        <p:spPr/>
        <p:txBody>
          <a:bodyPr/>
          <a:lstStyle/>
          <a:p>
            <a:r>
              <a:rPr lang="en-GB"/>
              <a:t>Slide message – six ideas</a:t>
            </a:r>
            <a:endParaRPr lang="en-GB" dirty="0"/>
          </a:p>
        </p:txBody>
      </p:sp>
      <p:sp>
        <p:nvSpPr>
          <p:cNvPr id="4" name="Rectangle 3">
            <a:extLst>
              <a:ext uri="{FF2B5EF4-FFF2-40B4-BE49-F238E27FC236}">
                <a16:creationId xmlns:a16="http://schemas.microsoft.com/office/drawing/2014/main" id="{B936B462-F5AB-4D56-810E-7A6629B1328B}"/>
              </a:ext>
            </a:extLst>
          </p:cNvPr>
          <p:cNvSpPr/>
          <p:nvPr/>
        </p:nvSpPr>
        <p:spPr bwMode="auto">
          <a:xfrm>
            <a:off x="1787957" y="1285203"/>
            <a:ext cx="2880000" cy="2399526"/>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chemeClr val="bg1"/>
                </a:solidFill>
                <a:latin typeface="+mn-lt"/>
              </a:rPr>
              <a:t>Lorem ipsum </a:t>
            </a:r>
            <a:r>
              <a:rPr lang="en-GB" b="1" dirty="0" err="1">
                <a:solidFill>
                  <a:schemeClr val="bg1"/>
                </a:solidFill>
                <a:latin typeface="+mn-lt"/>
              </a:rPr>
              <a:t>dolor</a:t>
            </a:r>
            <a:r>
              <a:rPr lang="en-GB" b="1" dirty="0">
                <a:solidFill>
                  <a:schemeClr val="bg1"/>
                </a:solidFill>
                <a:latin typeface="+mn-lt"/>
              </a:rPr>
              <a:t> sit</a:t>
            </a:r>
          </a:p>
          <a:p>
            <a:pPr lvl="0" algn="l" eaLnBrk="1" fontAlgn="auto" hangingPunct="1">
              <a:spcBef>
                <a:spcPts val="400"/>
              </a:spcBef>
              <a:spcAft>
                <a:spcPts val="400"/>
              </a:spcAft>
              <a:buClrTx/>
              <a:defRPr/>
            </a:pPr>
            <a:r>
              <a:rPr lang="en-GB" dirty="0">
                <a:solidFill>
                  <a:schemeClr val="bg1"/>
                </a:solidFill>
                <a:latin typeface="+mn-lt"/>
              </a:rPr>
              <a:t>Amet, </a:t>
            </a:r>
            <a:r>
              <a:rPr lang="en-GB" dirty="0" err="1">
                <a:solidFill>
                  <a:schemeClr val="bg1"/>
                </a:solidFill>
                <a:latin typeface="+mn-lt"/>
              </a:rPr>
              <a:t>consectetuer</a:t>
            </a:r>
            <a:r>
              <a:rPr lang="en-GB" dirty="0">
                <a:solidFill>
                  <a:schemeClr val="bg1"/>
                </a:solidFill>
                <a:latin typeface="+mn-lt"/>
              </a:rPr>
              <a:t> </a:t>
            </a:r>
            <a:r>
              <a:rPr lang="en-GB" dirty="0" err="1">
                <a:solidFill>
                  <a:schemeClr val="bg1"/>
                </a:solidFill>
                <a:latin typeface="+mn-lt"/>
              </a:rPr>
              <a:t>adipiscing</a:t>
            </a:r>
            <a:r>
              <a:rPr lang="en-GB" dirty="0">
                <a:solidFill>
                  <a:schemeClr val="bg1"/>
                </a:solidFill>
                <a:latin typeface="+mn-lt"/>
              </a:rPr>
              <a:t> </a:t>
            </a:r>
            <a:r>
              <a:rPr lang="en-GB" dirty="0" err="1">
                <a:solidFill>
                  <a:schemeClr val="bg1"/>
                </a:solidFill>
                <a:latin typeface="+mn-lt"/>
              </a:rPr>
              <a:t>elit</a:t>
            </a:r>
            <a:r>
              <a:rPr lang="en-GB" dirty="0">
                <a:solidFill>
                  <a:schemeClr val="bg1"/>
                </a:solidFill>
                <a:latin typeface="+mn-lt"/>
              </a:rPr>
              <a:t>. Maecenas </a:t>
            </a:r>
            <a:r>
              <a:rPr lang="en-GB" dirty="0" err="1">
                <a:solidFill>
                  <a:schemeClr val="bg1"/>
                </a:solidFill>
                <a:latin typeface="+mn-lt"/>
              </a:rPr>
              <a:t>porttitor</a:t>
            </a:r>
            <a:r>
              <a:rPr lang="en-GB" dirty="0">
                <a:solidFill>
                  <a:schemeClr val="bg1"/>
                </a:solidFill>
                <a:latin typeface="+mn-lt"/>
              </a:rPr>
              <a:t> </a:t>
            </a:r>
            <a:r>
              <a:rPr lang="en-GB" dirty="0" err="1">
                <a:solidFill>
                  <a:schemeClr val="bg1"/>
                </a:solidFill>
                <a:latin typeface="+mn-lt"/>
              </a:rPr>
              <a:t>congue</a:t>
            </a:r>
            <a:r>
              <a:rPr lang="en-GB" dirty="0">
                <a:solidFill>
                  <a:schemeClr val="bg1"/>
                </a:solidFill>
                <a:latin typeface="+mn-lt"/>
              </a:rPr>
              <a:t> </a:t>
            </a:r>
            <a:r>
              <a:rPr lang="en-GB" dirty="0" err="1">
                <a:solidFill>
                  <a:schemeClr val="bg1"/>
                </a:solidFill>
                <a:latin typeface="+mn-lt"/>
              </a:rPr>
              <a:t>massa</a:t>
            </a:r>
            <a:r>
              <a:rPr lang="en-GB" dirty="0">
                <a:solidFill>
                  <a:schemeClr val="bg1"/>
                </a:solidFill>
                <a:latin typeface="+mn-lt"/>
              </a:rPr>
              <a:t>. </a:t>
            </a:r>
            <a:r>
              <a:rPr lang="en-GB" dirty="0" err="1">
                <a:solidFill>
                  <a:schemeClr val="bg1"/>
                </a:solidFill>
                <a:latin typeface="+mn-lt"/>
              </a:rPr>
              <a:t>Fusce</a:t>
            </a:r>
            <a:r>
              <a:rPr lang="en-GB" dirty="0">
                <a:solidFill>
                  <a:schemeClr val="bg1"/>
                </a:solidFill>
                <a:latin typeface="+mn-lt"/>
              </a:rPr>
              <a:t> </a:t>
            </a:r>
            <a:r>
              <a:rPr lang="en-GB" dirty="0" err="1">
                <a:solidFill>
                  <a:schemeClr val="bg1"/>
                </a:solidFill>
                <a:latin typeface="+mn-lt"/>
              </a:rPr>
              <a:t>posuere</a:t>
            </a:r>
            <a:r>
              <a:rPr lang="en-GB" dirty="0">
                <a:solidFill>
                  <a:schemeClr val="bg1"/>
                </a:solidFill>
                <a:latin typeface="+mn-lt"/>
              </a:rPr>
              <a:t>, magna </a:t>
            </a:r>
            <a:r>
              <a:rPr lang="en-GB" dirty="0" err="1">
                <a:solidFill>
                  <a:schemeClr val="bg1"/>
                </a:solidFill>
                <a:latin typeface="+mn-lt"/>
              </a:rPr>
              <a:t>sed</a:t>
            </a:r>
            <a:r>
              <a:rPr lang="en-GB" dirty="0">
                <a:solidFill>
                  <a:schemeClr val="bg1"/>
                </a:solidFill>
                <a:latin typeface="+mn-lt"/>
              </a:rPr>
              <a:t> pulvinar</a:t>
            </a:r>
          </a:p>
        </p:txBody>
      </p:sp>
      <p:sp>
        <p:nvSpPr>
          <p:cNvPr id="5" name="Rectangle 4">
            <a:extLst>
              <a:ext uri="{FF2B5EF4-FFF2-40B4-BE49-F238E27FC236}">
                <a16:creationId xmlns:a16="http://schemas.microsoft.com/office/drawing/2014/main" id="{E6DDAB35-2CF0-4170-9D7D-CA53C7C78DAE}"/>
              </a:ext>
            </a:extLst>
          </p:cNvPr>
          <p:cNvSpPr/>
          <p:nvPr/>
        </p:nvSpPr>
        <p:spPr bwMode="auto">
          <a:xfrm>
            <a:off x="4668297" y="1285203"/>
            <a:ext cx="2880000" cy="2399526"/>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rgbClr val="FFFFFF"/>
                </a:solidFill>
                <a:latin typeface="+mn-lt"/>
              </a:rPr>
              <a:t>Lorem ipsum </a:t>
            </a:r>
            <a:r>
              <a:rPr lang="en-GB" b="1" dirty="0" err="1">
                <a:solidFill>
                  <a:srgbClr val="FFFFFF"/>
                </a:solidFill>
                <a:latin typeface="+mn-lt"/>
              </a:rPr>
              <a:t>dolor</a:t>
            </a:r>
            <a:r>
              <a:rPr lang="en-GB" b="1" dirty="0">
                <a:solidFill>
                  <a:srgbClr val="FFFFFF"/>
                </a:solidFill>
                <a:latin typeface="+mn-lt"/>
              </a:rPr>
              <a:t> sit</a:t>
            </a:r>
          </a:p>
          <a:p>
            <a:pPr lvl="0" algn="l" eaLnBrk="1" fontAlgn="auto" hangingPunct="1">
              <a:spcBef>
                <a:spcPts val="400"/>
              </a:spcBef>
              <a:spcAft>
                <a:spcPts val="400"/>
              </a:spcAft>
              <a:buClrTx/>
              <a:defRPr/>
            </a:pPr>
            <a:r>
              <a:rPr lang="en-GB" dirty="0">
                <a:solidFill>
                  <a:srgbClr val="FFFFFF"/>
                </a:solidFill>
                <a:latin typeface="+mn-lt"/>
              </a:rPr>
              <a:t>Amet, </a:t>
            </a:r>
            <a:r>
              <a:rPr lang="en-GB" dirty="0" err="1">
                <a:solidFill>
                  <a:srgbClr val="FFFFFF"/>
                </a:solidFill>
                <a:latin typeface="+mn-lt"/>
              </a:rPr>
              <a:t>consectetuer</a:t>
            </a:r>
            <a:r>
              <a:rPr lang="en-GB" dirty="0">
                <a:solidFill>
                  <a:srgbClr val="FFFFFF"/>
                </a:solidFill>
                <a:latin typeface="+mn-lt"/>
              </a:rPr>
              <a:t> </a:t>
            </a:r>
            <a:r>
              <a:rPr lang="en-GB" dirty="0" err="1">
                <a:solidFill>
                  <a:srgbClr val="FFFFFF"/>
                </a:solidFill>
                <a:latin typeface="+mn-lt"/>
              </a:rPr>
              <a:t>adipiscing</a:t>
            </a:r>
            <a:r>
              <a:rPr lang="en-GB" dirty="0">
                <a:solidFill>
                  <a:srgbClr val="FFFFFF"/>
                </a:solidFill>
                <a:latin typeface="+mn-lt"/>
              </a:rPr>
              <a:t> </a:t>
            </a:r>
            <a:r>
              <a:rPr lang="en-GB" dirty="0" err="1">
                <a:solidFill>
                  <a:srgbClr val="FFFFFF"/>
                </a:solidFill>
                <a:latin typeface="+mn-lt"/>
              </a:rPr>
              <a:t>elit</a:t>
            </a:r>
            <a:r>
              <a:rPr lang="en-GB" dirty="0">
                <a:solidFill>
                  <a:srgbClr val="FFFFFF"/>
                </a:solidFill>
                <a:latin typeface="+mn-lt"/>
              </a:rPr>
              <a:t>. Maecenas </a:t>
            </a:r>
            <a:r>
              <a:rPr lang="en-GB" dirty="0" err="1">
                <a:solidFill>
                  <a:srgbClr val="FFFFFF"/>
                </a:solidFill>
                <a:latin typeface="+mn-lt"/>
              </a:rPr>
              <a:t>porttitor</a:t>
            </a:r>
            <a:r>
              <a:rPr lang="en-GB" dirty="0">
                <a:solidFill>
                  <a:srgbClr val="FFFFFF"/>
                </a:solidFill>
                <a:latin typeface="+mn-lt"/>
              </a:rPr>
              <a:t> </a:t>
            </a:r>
            <a:r>
              <a:rPr lang="en-GB" dirty="0" err="1">
                <a:solidFill>
                  <a:srgbClr val="FFFFFF"/>
                </a:solidFill>
                <a:latin typeface="+mn-lt"/>
              </a:rPr>
              <a:t>congue</a:t>
            </a:r>
            <a:r>
              <a:rPr lang="en-GB" dirty="0">
                <a:solidFill>
                  <a:srgbClr val="FFFFFF"/>
                </a:solidFill>
                <a:latin typeface="+mn-lt"/>
              </a:rPr>
              <a:t> </a:t>
            </a:r>
            <a:r>
              <a:rPr lang="en-GB" dirty="0" err="1">
                <a:solidFill>
                  <a:srgbClr val="FFFFFF"/>
                </a:solidFill>
                <a:latin typeface="+mn-lt"/>
              </a:rPr>
              <a:t>massa</a:t>
            </a:r>
            <a:r>
              <a:rPr lang="en-GB" dirty="0">
                <a:solidFill>
                  <a:srgbClr val="FFFFFF"/>
                </a:solidFill>
                <a:latin typeface="+mn-lt"/>
              </a:rPr>
              <a:t>. </a:t>
            </a:r>
            <a:r>
              <a:rPr lang="en-GB" dirty="0" err="1">
                <a:solidFill>
                  <a:srgbClr val="FFFFFF"/>
                </a:solidFill>
                <a:latin typeface="+mn-lt"/>
              </a:rPr>
              <a:t>Fusce</a:t>
            </a:r>
            <a:r>
              <a:rPr lang="en-GB" dirty="0">
                <a:solidFill>
                  <a:srgbClr val="FFFFFF"/>
                </a:solidFill>
                <a:latin typeface="+mn-lt"/>
              </a:rPr>
              <a:t> </a:t>
            </a:r>
            <a:r>
              <a:rPr lang="en-GB" dirty="0" err="1">
                <a:solidFill>
                  <a:srgbClr val="FFFFFF"/>
                </a:solidFill>
                <a:latin typeface="+mn-lt"/>
              </a:rPr>
              <a:t>posuere</a:t>
            </a:r>
            <a:r>
              <a:rPr lang="en-GB" dirty="0">
                <a:solidFill>
                  <a:srgbClr val="FFFFFF"/>
                </a:solidFill>
                <a:latin typeface="+mn-lt"/>
              </a:rPr>
              <a:t>, magna </a:t>
            </a:r>
            <a:r>
              <a:rPr lang="en-GB" dirty="0" err="1">
                <a:solidFill>
                  <a:srgbClr val="FFFFFF"/>
                </a:solidFill>
                <a:latin typeface="+mn-lt"/>
              </a:rPr>
              <a:t>sed</a:t>
            </a:r>
            <a:r>
              <a:rPr lang="en-GB" dirty="0">
                <a:solidFill>
                  <a:srgbClr val="FFFFFF"/>
                </a:solidFill>
                <a:latin typeface="+mn-lt"/>
              </a:rPr>
              <a:t> pulvinar</a:t>
            </a:r>
          </a:p>
        </p:txBody>
      </p:sp>
      <p:sp>
        <p:nvSpPr>
          <p:cNvPr id="6" name="Rectangle 5">
            <a:extLst>
              <a:ext uri="{FF2B5EF4-FFF2-40B4-BE49-F238E27FC236}">
                <a16:creationId xmlns:a16="http://schemas.microsoft.com/office/drawing/2014/main" id="{2108A7C6-3815-49CA-93F4-54DDCDB0050C}"/>
              </a:ext>
            </a:extLst>
          </p:cNvPr>
          <p:cNvSpPr/>
          <p:nvPr/>
        </p:nvSpPr>
        <p:spPr bwMode="auto">
          <a:xfrm>
            <a:off x="7548814" y="1285203"/>
            <a:ext cx="2880000" cy="2399526"/>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rgbClr val="FFFFFF"/>
                </a:solidFill>
                <a:latin typeface="+mn-lt"/>
              </a:rPr>
              <a:t>Lorem ipsum </a:t>
            </a:r>
            <a:r>
              <a:rPr lang="en-GB" b="1" dirty="0" err="1">
                <a:solidFill>
                  <a:srgbClr val="FFFFFF"/>
                </a:solidFill>
                <a:latin typeface="+mn-lt"/>
              </a:rPr>
              <a:t>dolor</a:t>
            </a:r>
            <a:r>
              <a:rPr lang="en-GB" b="1" dirty="0">
                <a:solidFill>
                  <a:srgbClr val="FFFFFF"/>
                </a:solidFill>
                <a:latin typeface="+mn-lt"/>
              </a:rPr>
              <a:t> sit</a:t>
            </a:r>
          </a:p>
          <a:p>
            <a:pPr lvl="0" algn="l" eaLnBrk="1" fontAlgn="auto" hangingPunct="1">
              <a:spcBef>
                <a:spcPts val="400"/>
              </a:spcBef>
              <a:spcAft>
                <a:spcPts val="400"/>
              </a:spcAft>
              <a:buClrTx/>
              <a:defRPr/>
            </a:pPr>
            <a:r>
              <a:rPr lang="en-GB" dirty="0">
                <a:solidFill>
                  <a:srgbClr val="FFFFFF"/>
                </a:solidFill>
                <a:latin typeface="+mn-lt"/>
              </a:rPr>
              <a:t>Amet, </a:t>
            </a:r>
            <a:r>
              <a:rPr lang="en-GB" dirty="0" err="1">
                <a:solidFill>
                  <a:srgbClr val="FFFFFF"/>
                </a:solidFill>
                <a:latin typeface="+mn-lt"/>
              </a:rPr>
              <a:t>consectetuer</a:t>
            </a:r>
            <a:r>
              <a:rPr lang="en-GB" dirty="0">
                <a:solidFill>
                  <a:srgbClr val="FFFFFF"/>
                </a:solidFill>
                <a:latin typeface="+mn-lt"/>
              </a:rPr>
              <a:t> </a:t>
            </a:r>
            <a:r>
              <a:rPr lang="en-GB" dirty="0" err="1">
                <a:solidFill>
                  <a:srgbClr val="FFFFFF"/>
                </a:solidFill>
                <a:latin typeface="+mn-lt"/>
              </a:rPr>
              <a:t>adipiscing</a:t>
            </a:r>
            <a:r>
              <a:rPr lang="en-GB" dirty="0">
                <a:solidFill>
                  <a:srgbClr val="FFFFFF"/>
                </a:solidFill>
                <a:latin typeface="+mn-lt"/>
              </a:rPr>
              <a:t> </a:t>
            </a:r>
            <a:r>
              <a:rPr lang="en-GB" dirty="0" err="1">
                <a:solidFill>
                  <a:srgbClr val="FFFFFF"/>
                </a:solidFill>
                <a:latin typeface="+mn-lt"/>
              </a:rPr>
              <a:t>elit</a:t>
            </a:r>
            <a:r>
              <a:rPr lang="en-GB" dirty="0">
                <a:solidFill>
                  <a:srgbClr val="FFFFFF"/>
                </a:solidFill>
                <a:latin typeface="+mn-lt"/>
              </a:rPr>
              <a:t>. Maecenas </a:t>
            </a:r>
            <a:r>
              <a:rPr lang="en-GB" dirty="0" err="1">
                <a:solidFill>
                  <a:srgbClr val="FFFFFF"/>
                </a:solidFill>
                <a:latin typeface="+mn-lt"/>
              </a:rPr>
              <a:t>porttitor</a:t>
            </a:r>
            <a:r>
              <a:rPr lang="en-GB" dirty="0">
                <a:solidFill>
                  <a:srgbClr val="FFFFFF"/>
                </a:solidFill>
                <a:latin typeface="+mn-lt"/>
              </a:rPr>
              <a:t> </a:t>
            </a:r>
            <a:r>
              <a:rPr lang="en-GB" dirty="0" err="1">
                <a:solidFill>
                  <a:srgbClr val="FFFFFF"/>
                </a:solidFill>
                <a:latin typeface="+mn-lt"/>
              </a:rPr>
              <a:t>congue</a:t>
            </a:r>
            <a:r>
              <a:rPr lang="en-GB" dirty="0">
                <a:solidFill>
                  <a:srgbClr val="FFFFFF"/>
                </a:solidFill>
                <a:latin typeface="+mn-lt"/>
              </a:rPr>
              <a:t> </a:t>
            </a:r>
            <a:r>
              <a:rPr lang="en-GB" dirty="0" err="1">
                <a:solidFill>
                  <a:srgbClr val="FFFFFF"/>
                </a:solidFill>
                <a:latin typeface="+mn-lt"/>
              </a:rPr>
              <a:t>massa</a:t>
            </a:r>
            <a:r>
              <a:rPr lang="en-GB" dirty="0">
                <a:solidFill>
                  <a:srgbClr val="FFFFFF"/>
                </a:solidFill>
                <a:latin typeface="+mn-lt"/>
              </a:rPr>
              <a:t>. </a:t>
            </a:r>
            <a:r>
              <a:rPr lang="en-GB" dirty="0" err="1">
                <a:solidFill>
                  <a:srgbClr val="FFFFFF"/>
                </a:solidFill>
                <a:latin typeface="+mn-lt"/>
              </a:rPr>
              <a:t>Fusce</a:t>
            </a:r>
            <a:r>
              <a:rPr lang="en-GB" dirty="0">
                <a:solidFill>
                  <a:srgbClr val="FFFFFF"/>
                </a:solidFill>
                <a:latin typeface="+mn-lt"/>
              </a:rPr>
              <a:t> </a:t>
            </a:r>
            <a:r>
              <a:rPr lang="en-GB" dirty="0" err="1">
                <a:solidFill>
                  <a:srgbClr val="FFFFFF"/>
                </a:solidFill>
                <a:latin typeface="+mn-lt"/>
              </a:rPr>
              <a:t>posuere</a:t>
            </a:r>
            <a:r>
              <a:rPr lang="en-GB" dirty="0">
                <a:solidFill>
                  <a:srgbClr val="FFFFFF"/>
                </a:solidFill>
                <a:latin typeface="+mn-lt"/>
              </a:rPr>
              <a:t>, magna </a:t>
            </a:r>
            <a:r>
              <a:rPr lang="en-GB" dirty="0" err="1">
                <a:solidFill>
                  <a:srgbClr val="FFFFFF"/>
                </a:solidFill>
                <a:latin typeface="+mn-lt"/>
              </a:rPr>
              <a:t>sed</a:t>
            </a:r>
            <a:r>
              <a:rPr lang="en-GB" dirty="0">
                <a:solidFill>
                  <a:srgbClr val="FFFFFF"/>
                </a:solidFill>
                <a:latin typeface="+mn-lt"/>
              </a:rPr>
              <a:t> pulvinar</a:t>
            </a:r>
          </a:p>
        </p:txBody>
      </p:sp>
      <p:sp>
        <p:nvSpPr>
          <p:cNvPr id="8" name="Rectangle 7">
            <a:extLst>
              <a:ext uri="{FF2B5EF4-FFF2-40B4-BE49-F238E27FC236}">
                <a16:creationId xmlns:a16="http://schemas.microsoft.com/office/drawing/2014/main" id="{C46CE67D-B3A2-42DB-B0AB-904711AC3A75}"/>
              </a:ext>
            </a:extLst>
          </p:cNvPr>
          <p:cNvSpPr/>
          <p:nvPr/>
        </p:nvSpPr>
        <p:spPr bwMode="auto">
          <a:xfrm>
            <a:off x="1787957" y="3676202"/>
            <a:ext cx="2880000" cy="2399526"/>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rgbClr val="FFFFFF"/>
                </a:solidFill>
                <a:latin typeface="+mn-lt"/>
              </a:rPr>
              <a:t>Lorem ipsum </a:t>
            </a:r>
            <a:r>
              <a:rPr lang="en-GB" b="1" dirty="0" err="1">
                <a:solidFill>
                  <a:srgbClr val="FFFFFF"/>
                </a:solidFill>
                <a:latin typeface="+mn-lt"/>
              </a:rPr>
              <a:t>dolor</a:t>
            </a:r>
            <a:r>
              <a:rPr lang="en-GB" b="1" dirty="0">
                <a:solidFill>
                  <a:srgbClr val="FFFFFF"/>
                </a:solidFill>
                <a:latin typeface="+mn-lt"/>
              </a:rPr>
              <a:t> sit</a:t>
            </a:r>
          </a:p>
          <a:p>
            <a:pPr lvl="0" algn="l" eaLnBrk="1" fontAlgn="auto" hangingPunct="1">
              <a:spcBef>
                <a:spcPts val="400"/>
              </a:spcBef>
              <a:spcAft>
                <a:spcPts val="400"/>
              </a:spcAft>
              <a:buClrTx/>
              <a:defRPr/>
            </a:pPr>
            <a:r>
              <a:rPr lang="en-GB" dirty="0">
                <a:solidFill>
                  <a:srgbClr val="FFFFFF"/>
                </a:solidFill>
                <a:latin typeface="+mn-lt"/>
              </a:rPr>
              <a:t>Amet, </a:t>
            </a:r>
            <a:r>
              <a:rPr lang="en-GB" dirty="0" err="1">
                <a:solidFill>
                  <a:srgbClr val="FFFFFF"/>
                </a:solidFill>
                <a:latin typeface="+mn-lt"/>
              </a:rPr>
              <a:t>consectetuer</a:t>
            </a:r>
            <a:r>
              <a:rPr lang="en-GB" dirty="0">
                <a:solidFill>
                  <a:srgbClr val="FFFFFF"/>
                </a:solidFill>
                <a:latin typeface="+mn-lt"/>
              </a:rPr>
              <a:t> </a:t>
            </a:r>
            <a:r>
              <a:rPr lang="en-GB" dirty="0" err="1">
                <a:solidFill>
                  <a:srgbClr val="FFFFFF"/>
                </a:solidFill>
                <a:latin typeface="+mn-lt"/>
              </a:rPr>
              <a:t>adipiscing</a:t>
            </a:r>
            <a:r>
              <a:rPr lang="en-GB" dirty="0">
                <a:solidFill>
                  <a:srgbClr val="FFFFFF"/>
                </a:solidFill>
                <a:latin typeface="+mn-lt"/>
              </a:rPr>
              <a:t> </a:t>
            </a:r>
            <a:r>
              <a:rPr lang="en-GB" dirty="0" err="1">
                <a:solidFill>
                  <a:srgbClr val="FFFFFF"/>
                </a:solidFill>
                <a:latin typeface="+mn-lt"/>
              </a:rPr>
              <a:t>elit</a:t>
            </a:r>
            <a:r>
              <a:rPr lang="en-GB" dirty="0">
                <a:solidFill>
                  <a:srgbClr val="FFFFFF"/>
                </a:solidFill>
                <a:latin typeface="+mn-lt"/>
              </a:rPr>
              <a:t>. Maecenas </a:t>
            </a:r>
            <a:r>
              <a:rPr lang="en-GB" dirty="0" err="1">
                <a:solidFill>
                  <a:srgbClr val="FFFFFF"/>
                </a:solidFill>
                <a:latin typeface="+mn-lt"/>
              </a:rPr>
              <a:t>porttitor</a:t>
            </a:r>
            <a:r>
              <a:rPr lang="en-GB" dirty="0">
                <a:solidFill>
                  <a:srgbClr val="FFFFFF"/>
                </a:solidFill>
                <a:latin typeface="+mn-lt"/>
              </a:rPr>
              <a:t> </a:t>
            </a:r>
            <a:r>
              <a:rPr lang="en-GB" dirty="0" err="1">
                <a:solidFill>
                  <a:srgbClr val="FFFFFF"/>
                </a:solidFill>
                <a:latin typeface="+mn-lt"/>
              </a:rPr>
              <a:t>congue</a:t>
            </a:r>
            <a:r>
              <a:rPr lang="en-GB" dirty="0">
                <a:solidFill>
                  <a:srgbClr val="FFFFFF"/>
                </a:solidFill>
                <a:latin typeface="+mn-lt"/>
              </a:rPr>
              <a:t> </a:t>
            </a:r>
            <a:r>
              <a:rPr lang="en-GB" dirty="0" err="1">
                <a:solidFill>
                  <a:srgbClr val="FFFFFF"/>
                </a:solidFill>
                <a:latin typeface="+mn-lt"/>
              </a:rPr>
              <a:t>massa</a:t>
            </a:r>
            <a:r>
              <a:rPr lang="en-GB" dirty="0">
                <a:solidFill>
                  <a:srgbClr val="FFFFFF"/>
                </a:solidFill>
                <a:latin typeface="+mn-lt"/>
              </a:rPr>
              <a:t>. </a:t>
            </a:r>
            <a:r>
              <a:rPr lang="en-GB" dirty="0" err="1">
                <a:solidFill>
                  <a:srgbClr val="FFFFFF"/>
                </a:solidFill>
                <a:latin typeface="+mn-lt"/>
              </a:rPr>
              <a:t>Fusce</a:t>
            </a:r>
            <a:r>
              <a:rPr lang="en-GB" dirty="0">
                <a:solidFill>
                  <a:srgbClr val="FFFFFF"/>
                </a:solidFill>
                <a:latin typeface="+mn-lt"/>
              </a:rPr>
              <a:t> </a:t>
            </a:r>
            <a:r>
              <a:rPr lang="en-GB" dirty="0" err="1">
                <a:solidFill>
                  <a:srgbClr val="FFFFFF"/>
                </a:solidFill>
                <a:latin typeface="+mn-lt"/>
              </a:rPr>
              <a:t>posuere</a:t>
            </a:r>
            <a:r>
              <a:rPr lang="en-GB" dirty="0">
                <a:solidFill>
                  <a:srgbClr val="FFFFFF"/>
                </a:solidFill>
                <a:latin typeface="+mn-lt"/>
              </a:rPr>
              <a:t>, magna </a:t>
            </a:r>
            <a:r>
              <a:rPr lang="en-GB" dirty="0" err="1">
                <a:solidFill>
                  <a:srgbClr val="FFFFFF"/>
                </a:solidFill>
                <a:latin typeface="+mn-lt"/>
              </a:rPr>
              <a:t>sed</a:t>
            </a:r>
            <a:r>
              <a:rPr lang="en-GB" dirty="0">
                <a:solidFill>
                  <a:srgbClr val="FFFFFF"/>
                </a:solidFill>
                <a:latin typeface="+mn-lt"/>
              </a:rPr>
              <a:t> pulvinar</a:t>
            </a:r>
          </a:p>
        </p:txBody>
      </p:sp>
      <p:sp>
        <p:nvSpPr>
          <p:cNvPr id="9" name="Rectangle 8">
            <a:extLst>
              <a:ext uri="{FF2B5EF4-FFF2-40B4-BE49-F238E27FC236}">
                <a16:creationId xmlns:a16="http://schemas.microsoft.com/office/drawing/2014/main" id="{6287C259-64B8-4039-B507-76DAD07B3522}"/>
              </a:ext>
            </a:extLst>
          </p:cNvPr>
          <p:cNvSpPr/>
          <p:nvPr/>
        </p:nvSpPr>
        <p:spPr bwMode="auto">
          <a:xfrm>
            <a:off x="4668297" y="3676202"/>
            <a:ext cx="2880000" cy="2399526"/>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rgbClr val="FFFFFF"/>
                </a:solidFill>
                <a:latin typeface="+mn-lt"/>
              </a:rPr>
              <a:t>Lorem ipsum </a:t>
            </a:r>
            <a:r>
              <a:rPr lang="en-GB" b="1" dirty="0" err="1">
                <a:solidFill>
                  <a:srgbClr val="FFFFFF"/>
                </a:solidFill>
                <a:latin typeface="+mn-lt"/>
              </a:rPr>
              <a:t>dolor</a:t>
            </a:r>
            <a:r>
              <a:rPr lang="en-GB" b="1" dirty="0">
                <a:solidFill>
                  <a:srgbClr val="FFFFFF"/>
                </a:solidFill>
                <a:latin typeface="+mn-lt"/>
              </a:rPr>
              <a:t> sit</a:t>
            </a:r>
          </a:p>
          <a:p>
            <a:pPr lvl="0" algn="l" eaLnBrk="1" fontAlgn="auto" hangingPunct="1">
              <a:spcBef>
                <a:spcPts val="400"/>
              </a:spcBef>
              <a:spcAft>
                <a:spcPts val="400"/>
              </a:spcAft>
              <a:buClrTx/>
              <a:defRPr/>
            </a:pPr>
            <a:r>
              <a:rPr lang="en-GB" dirty="0">
                <a:solidFill>
                  <a:srgbClr val="FFFFFF"/>
                </a:solidFill>
                <a:latin typeface="+mn-lt"/>
              </a:rPr>
              <a:t>Amet, </a:t>
            </a:r>
            <a:r>
              <a:rPr lang="en-GB" dirty="0" err="1">
                <a:solidFill>
                  <a:srgbClr val="FFFFFF"/>
                </a:solidFill>
                <a:latin typeface="+mn-lt"/>
              </a:rPr>
              <a:t>consectetuer</a:t>
            </a:r>
            <a:r>
              <a:rPr lang="en-GB" dirty="0">
                <a:solidFill>
                  <a:srgbClr val="FFFFFF"/>
                </a:solidFill>
                <a:latin typeface="+mn-lt"/>
              </a:rPr>
              <a:t> </a:t>
            </a:r>
            <a:r>
              <a:rPr lang="en-GB" dirty="0" err="1">
                <a:solidFill>
                  <a:srgbClr val="FFFFFF"/>
                </a:solidFill>
                <a:latin typeface="+mn-lt"/>
              </a:rPr>
              <a:t>adipiscing</a:t>
            </a:r>
            <a:r>
              <a:rPr lang="en-GB" dirty="0">
                <a:solidFill>
                  <a:srgbClr val="FFFFFF"/>
                </a:solidFill>
                <a:latin typeface="+mn-lt"/>
              </a:rPr>
              <a:t> </a:t>
            </a:r>
            <a:r>
              <a:rPr lang="en-GB" dirty="0" err="1">
                <a:solidFill>
                  <a:srgbClr val="FFFFFF"/>
                </a:solidFill>
                <a:latin typeface="+mn-lt"/>
              </a:rPr>
              <a:t>elit</a:t>
            </a:r>
            <a:r>
              <a:rPr lang="en-GB" dirty="0">
                <a:solidFill>
                  <a:srgbClr val="FFFFFF"/>
                </a:solidFill>
                <a:latin typeface="+mn-lt"/>
              </a:rPr>
              <a:t>. Maecenas </a:t>
            </a:r>
            <a:r>
              <a:rPr lang="en-GB" dirty="0" err="1">
                <a:solidFill>
                  <a:srgbClr val="FFFFFF"/>
                </a:solidFill>
                <a:latin typeface="+mn-lt"/>
              </a:rPr>
              <a:t>porttitor</a:t>
            </a:r>
            <a:r>
              <a:rPr lang="en-GB" dirty="0">
                <a:solidFill>
                  <a:srgbClr val="FFFFFF"/>
                </a:solidFill>
                <a:latin typeface="+mn-lt"/>
              </a:rPr>
              <a:t> </a:t>
            </a:r>
            <a:r>
              <a:rPr lang="en-GB" dirty="0" err="1">
                <a:solidFill>
                  <a:srgbClr val="FFFFFF"/>
                </a:solidFill>
                <a:latin typeface="+mn-lt"/>
              </a:rPr>
              <a:t>congue</a:t>
            </a:r>
            <a:r>
              <a:rPr lang="en-GB" dirty="0">
                <a:solidFill>
                  <a:srgbClr val="FFFFFF"/>
                </a:solidFill>
                <a:latin typeface="+mn-lt"/>
              </a:rPr>
              <a:t> </a:t>
            </a:r>
            <a:r>
              <a:rPr lang="en-GB" dirty="0" err="1">
                <a:solidFill>
                  <a:srgbClr val="FFFFFF"/>
                </a:solidFill>
                <a:latin typeface="+mn-lt"/>
              </a:rPr>
              <a:t>massa</a:t>
            </a:r>
            <a:r>
              <a:rPr lang="en-GB" dirty="0">
                <a:solidFill>
                  <a:srgbClr val="FFFFFF"/>
                </a:solidFill>
                <a:latin typeface="+mn-lt"/>
              </a:rPr>
              <a:t>. </a:t>
            </a:r>
            <a:r>
              <a:rPr lang="en-GB" dirty="0" err="1">
                <a:solidFill>
                  <a:srgbClr val="FFFFFF"/>
                </a:solidFill>
                <a:latin typeface="+mn-lt"/>
              </a:rPr>
              <a:t>Fusce</a:t>
            </a:r>
            <a:r>
              <a:rPr lang="en-GB" dirty="0">
                <a:solidFill>
                  <a:srgbClr val="FFFFFF"/>
                </a:solidFill>
                <a:latin typeface="+mn-lt"/>
              </a:rPr>
              <a:t> </a:t>
            </a:r>
            <a:r>
              <a:rPr lang="en-GB" dirty="0" err="1">
                <a:solidFill>
                  <a:srgbClr val="FFFFFF"/>
                </a:solidFill>
                <a:latin typeface="+mn-lt"/>
              </a:rPr>
              <a:t>posuere</a:t>
            </a:r>
            <a:r>
              <a:rPr lang="en-GB" dirty="0">
                <a:solidFill>
                  <a:srgbClr val="FFFFFF"/>
                </a:solidFill>
                <a:latin typeface="+mn-lt"/>
              </a:rPr>
              <a:t>, magna </a:t>
            </a:r>
            <a:r>
              <a:rPr lang="en-GB" dirty="0" err="1">
                <a:solidFill>
                  <a:srgbClr val="FFFFFF"/>
                </a:solidFill>
                <a:latin typeface="+mn-lt"/>
              </a:rPr>
              <a:t>sed</a:t>
            </a:r>
            <a:r>
              <a:rPr lang="en-GB" dirty="0">
                <a:solidFill>
                  <a:srgbClr val="FFFFFF"/>
                </a:solidFill>
                <a:latin typeface="+mn-lt"/>
              </a:rPr>
              <a:t> pulvinar</a:t>
            </a:r>
          </a:p>
        </p:txBody>
      </p:sp>
      <p:sp>
        <p:nvSpPr>
          <p:cNvPr id="10" name="Rectangle 9">
            <a:extLst>
              <a:ext uri="{FF2B5EF4-FFF2-40B4-BE49-F238E27FC236}">
                <a16:creationId xmlns:a16="http://schemas.microsoft.com/office/drawing/2014/main" id="{EF6D9B4C-9648-4B90-9FFF-504ACBD97479}"/>
              </a:ext>
            </a:extLst>
          </p:cNvPr>
          <p:cNvSpPr/>
          <p:nvPr/>
        </p:nvSpPr>
        <p:spPr bwMode="auto">
          <a:xfrm>
            <a:off x="7548814" y="3676202"/>
            <a:ext cx="2880000" cy="2399526"/>
          </a:xfrm>
          <a:prstGeom prst="rect">
            <a:avLst/>
          </a:prstGeom>
          <a:solidFill>
            <a:schemeClr val="bg2"/>
          </a:solidFill>
          <a:ln w="19050" cap="flat" cmpd="sng" algn="ctr">
            <a:noFill/>
            <a:prstDash val="solid"/>
            <a:round/>
            <a:headEnd type="none" w="med" len="med"/>
            <a:tailEnd type="none" w="med" len="med"/>
          </a:ln>
          <a:effec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pPr lvl="0" algn="l" eaLnBrk="1" fontAlgn="auto" hangingPunct="1">
              <a:spcBef>
                <a:spcPts val="400"/>
              </a:spcBef>
              <a:spcAft>
                <a:spcPts val="400"/>
              </a:spcAft>
              <a:buClrTx/>
              <a:defRPr/>
            </a:pPr>
            <a:r>
              <a:rPr lang="en-GB" b="1" dirty="0">
                <a:solidFill>
                  <a:srgbClr val="87737B"/>
                </a:solidFill>
                <a:latin typeface="+mn-lt"/>
              </a:rPr>
              <a:t>Lorem ipsum </a:t>
            </a:r>
            <a:r>
              <a:rPr lang="en-GB" b="1" dirty="0" err="1">
                <a:solidFill>
                  <a:srgbClr val="87737B"/>
                </a:solidFill>
                <a:latin typeface="+mn-lt"/>
              </a:rPr>
              <a:t>dolor</a:t>
            </a:r>
            <a:r>
              <a:rPr lang="en-GB" b="1" dirty="0">
                <a:solidFill>
                  <a:srgbClr val="87737B"/>
                </a:solidFill>
                <a:latin typeface="+mn-lt"/>
              </a:rPr>
              <a:t> sit</a:t>
            </a:r>
          </a:p>
          <a:p>
            <a:pPr lvl="0" algn="l" eaLnBrk="1" fontAlgn="auto" hangingPunct="1">
              <a:spcBef>
                <a:spcPts val="400"/>
              </a:spcBef>
              <a:spcAft>
                <a:spcPts val="400"/>
              </a:spcAft>
              <a:buClrTx/>
              <a:defRPr/>
            </a:pPr>
            <a:r>
              <a:rPr lang="en-GB" dirty="0">
                <a:solidFill>
                  <a:srgbClr val="87737B"/>
                </a:solidFill>
                <a:latin typeface="+mn-lt"/>
              </a:rPr>
              <a:t>Amet, </a:t>
            </a:r>
            <a:r>
              <a:rPr lang="en-GB" dirty="0" err="1">
                <a:solidFill>
                  <a:srgbClr val="87737B"/>
                </a:solidFill>
                <a:latin typeface="+mn-lt"/>
              </a:rPr>
              <a:t>consectetuer</a:t>
            </a:r>
            <a:r>
              <a:rPr lang="en-GB" dirty="0">
                <a:solidFill>
                  <a:srgbClr val="87737B"/>
                </a:solidFill>
                <a:latin typeface="+mn-lt"/>
              </a:rPr>
              <a:t> </a:t>
            </a:r>
            <a:r>
              <a:rPr lang="en-GB" dirty="0" err="1">
                <a:solidFill>
                  <a:srgbClr val="87737B"/>
                </a:solidFill>
                <a:latin typeface="+mn-lt"/>
              </a:rPr>
              <a:t>adipiscing</a:t>
            </a:r>
            <a:r>
              <a:rPr lang="en-GB" dirty="0">
                <a:solidFill>
                  <a:srgbClr val="87737B"/>
                </a:solidFill>
                <a:latin typeface="+mn-lt"/>
              </a:rPr>
              <a:t> </a:t>
            </a:r>
            <a:r>
              <a:rPr lang="en-GB" dirty="0" err="1">
                <a:solidFill>
                  <a:srgbClr val="87737B"/>
                </a:solidFill>
                <a:latin typeface="+mn-lt"/>
              </a:rPr>
              <a:t>elit</a:t>
            </a:r>
            <a:r>
              <a:rPr lang="en-GB" dirty="0">
                <a:solidFill>
                  <a:srgbClr val="87737B"/>
                </a:solidFill>
                <a:latin typeface="+mn-lt"/>
              </a:rPr>
              <a:t>. Maecenas </a:t>
            </a:r>
            <a:r>
              <a:rPr lang="en-GB" dirty="0" err="1">
                <a:solidFill>
                  <a:srgbClr val="87737B"/>
                </a:solidFill>
                <a:latin typeface="+mn-lt"/>
              </a:rPr>
              <a:t>porttitor</a:t>
            </a:r>
            <a:r>
              <a:rPr lang="en-GB" dirty="0">
                <a:solidFill>
                  <a:srgbClr val="87737B"/>
                </a:solidFill>
                <a:latin typeface="+mn-lt"/>
              </a:rPr>
              <a:t> </a:t>
            </a:r>
            <a:r>
              <a:rPr lang="en-GB" dirty="0" err="1">
                <a:solidFill>
                  <a:srgbClr val="87737B"/>
                </a:solidFill>
                <a:latin typeface="+mn-lt"/>
              </a:rPr>
              <a:t>congue</a:t>
            </a:r>
            <a:r>
              <a:rPr lang="en-GB" dirty="0">
                <a:solidFill>
                  <a:srgbClr val="87737B"/>
                </a:solidFill>
                <a:latin typeface="+mn-lt"/>
              </a:rPr>
              <a:t> </a:t>
            </a:r>
            <a:r>
              <a:rPr lang="en-GB" dirty="0" err="1">
                <a:solidFill>
                  <a:srgbClr val="87737B"/>
                </a:solidFill>
                <a:latin typeface="+mn-lt"/>
              </a:rPr>
              <a:t>massa</a:t>
            </a:r>
            <a:r>
              <a:rPr lang="en-GB" dirty="0">
                <a:solidFill>
                  <a:srgbClr val="87737B"/>
                </a:solidFill>
                <a:latin typeface="+mn-lt"/>
              </a:rPr>
              <a:t>. </a:t>
            </a:r>
            <a:r>
              <a:rPr lang="en-GB" dirty="0" err="1">
                <a:solidFill>
                  <a:srgbClr val="87737B"/>
                </a:solidFill>
                <a:latin typeface="+mn-lt"/>
              </a:rPr>
              <a:t>Fusce</a:t>
            </a:r>
            <a:r>
              <a:rPr lang="en-GB" dirty="0">
                <a:solidFill>
                  <a:srgbClr val="87737B"/>
                </a:solidFill>
                <a:latin typeface="+mn-lt"/>
              </a:rPr>
              <a:t> </a:t>
            </a:r>
            <a:r>
              <a:rPr lang="en-GB" dirty="0" err="1">
                <a:solidFill>
                  <a:srgbClr val="87737B"/>
                </a:solidFill>
                <a:latin typeface="+mn-lt"/>
              </a:rPr>
              <a:t>posuere</a:t>
            </a:r>
            <a:r>
              <a:rPr lang="en-GB" dirty="0">
                <a:solidFill>
                  <a:srgbClr val="87737B"/>
                </a:solidFill>
                <a:latin typeface="+mn-lt"/>
              </a:rPr>
              <a:t>, magna </a:t>
            </a:r>
            <a:r>
              <a:rPr lang="en-GB" dirty="0" err="1">
                <a:solidFill>
                  <a:srgbClr val="87737B"/>
                </a:solidFill>
                <a:latin typeface="+mn-lt"/>
              </a:rPr>
              <a:t>sed</a:t>
            </a:r>
            <a:r>
              <a:rPr lang="en-GB" dirty="0">
                <a:solidFill>
                  <a:srgbClr val="87737B"/>
                </a:solidFill>
                <a:latin typeface="+mn-lt"/>
              </a:rPr>
              <a:t> pulvinar</a:t>
            </a:r>
          </a:p>
        </p:txBody>
      </p:sp>
      <p:sp>
        <p:nvSpPr>
          <p:cNvPr id="2" name="Oval 1">
            <a:extLst>
              <a:ext uri="{FF2B5EF4-FFF2-40B4-BE49-F238E27FC236}">
                <a16:creationId xmlns:a16="http://schemas.microsoft.com/office/drawing/2014/main" id="{A578DCCB-E3D3-45F1-9B47-11E4BDCCB321}"/>
              </a:ext>
            </a:extLst>
          </p:cNvPr>
          <p:cNvSpPr/>
          <p:nvPr/>
        </p:nvSpPr>
        <p:spPr bwMode="auto">
          <a:xfrm>
            <a:off x="2957957" y="2972366"/>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a:solidFill>
                  <a:schemeClr val="accent6">
                    <a:lumMod val="75000"/>
                  </a:schemeClr>
                </a:solidFill>
                <a:latin typeface="+mn-lt"/>
              </a:rPr>
              <a:t>1</a:t>
            </a:r>
            <a:endParaRPr lang="en-GB" sz="6000" dirty="0">
              <a:solidFill>
                <a:schemeClr val="accent6">
                  <a:lumMod val="75000"/>
                </a:schemeClr>
              </a:solidFill>
              <a:latin typeface="+mn-lt"/>
            </a:endParaRPr>
          </a:p>
        </p:txBody>
      </p:sp>
      <p:sp>
        <p:nvSpPr>
          <p:cNvPr id="19" name="Oval 18">
            <a:extLst>
              <a:ext uri="{FF2B5EF4-FFF2-40B4-BE49-F238E27FC236}">
                <a16:creationId xmlns:a16="http://schemas.microsoft.com/office/drawing/2014/main" id="{D1C1BDDF-551C-4969-BD52-5BF33E623812}"/>
              </a:ext>
            </a:extLst>
          </p:cNvPr>
          <p:cNvSpPr/>
          <p:nvPr/>
        </p:nvSpPr>
        <p:spPr bwMode="auto">
          <a:xfrm>
            <a:off x="8718814" y="5373582"/>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a:solidFill>
                  <a:schemeClr val="bg2">
                    <a:lumMod val="75000"/>
                  </a:schemeClr>
                </a:solidFill>
                <a:latin typeface="+mn-lt"/>
              </a:rPr>
              <a:t>6</a:t>
            </a:r>
            <a:endParaRPr lang="en-GB" sz="6000" dirty="0">
              <a:solidFill>
                <a:schemeClr val="bg2">
                  <a:lumMod val="75000"/>
                </a:schemeClr>
              </a:solidFill>
              <a:latin typeface="+mn-lt"/>
            </a:endParaRPr>
          </a:p>
        </p:txBody>
      </p:sp>
      <p:sp>
        <p:nvSpPr>
          <p:cNvPr id="20" name="Oval 19">
            <a:extLst>
              <a:ext uri="{FF2B5EF4-FFF2-40B4-BE49-F238E27FC236}">
                <a16:creationId xmlns:a16="http://schemas.microsoft.com/office/drawing/2014/main" id="{DB98C6E1-7C61-4A17-A8CE-2D85EEFE219A}"/>
              </a:ext>
            </a:extLst>
          </p:cNvPr>
          <p:cNvSpPr/>
          <p:nvPr/>
        </p:nvSpPr>
        <p:spPr bwMode="auto">
          <a:xfrm>
            <a:off x="8718814" y="2972366"/>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a:solidFill>
                  <a:schemeClr val="accent5">
                    <a:lumMod val="75000"/>
                  </a:schemeClr>
                </a:solidFill>
                <a:latin typeface="+mn-lt"/>
              </a:rPr>
              <a:t>3</a:t>
            </a:r>
            <a:endParaRPr lang="en-GB" sz="6000" dirty="0">
              <a:solidFill>
                <a:schemeClr val="accent5">
                  <a:lumMod val="75000"/>
                </a:schemeClr>
              </a:solidFill>
              <a:latin typeface="+mn-lt"/>
            </a:endParaRPr>
          </a:p>
        </p:txBody>
      </p:sp>
      <p:sp>
        <p:nvSpPr>
          <p:cNvPr id="21" name="Oval 20">
            <a:extLst>
              <a:ext uri="{FF2B5EF4-FFF2-40B4-BE49-F238E27FC236}">
                <a16:creationId xmlns:a16="http://schemas.microsoft.com/office/drawing/2014/main" id="{B5AB65F6-7996-451A-82D2-DCAF4FC9A472}"/>
              </a:ext>
            </a:extLst>
          </p:cNvPr>
          <p:cNvSpPr/>
          <p:nvPr/>
        </p:nvSpPr>
        <p:spPr bwMode="auto">
          <a:xfrm>
            <a:off x="5838297" y="5373582"/>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a:solidFill>
                  <a:schemeClr val="accent3">
                    <a:lumMod val="75000"/>
                  </a:schemeClr>
                </a:solidFill>
                <a:latin typeface="+mn-lt"/>
              </a:rPr>
              <a:t>5</a:t>
            </a:r>
            <a:endParaRPr lang="en-GB" sz="6000" dirty="0">
              <a:solidFill>
                <a:schemeClr val="accent3">
                  <a:lumMod val="75000"/>
                </a:schemeClr>
              </a:solidFill>
              <a:latin typeface="+mn-lt"/>
            </a:endParaRPr>
          </a:p>
        </p:txBody>
      </p:sp>
      <p:sp>
        <p:nvSpPr>
          <p:cNvPr id="22" name="Oval 21">
            <a:extLst>
              <a:ext uri="{FF2B5EF4-FFF2-40B4-BE49-F238E27FC236}">
                <a16:creationId xmlns:a16="http://schemas.microsoft.com/office/drawing/2014/main" id="{797E3E3E-0292-442B-90D3-75A2838356BB}"/>
              </a:ext>
            </a:extLst>
          </p:cNvPr>
          <p:cNvSpPr/>
          <p:nvPr/>
        </p:nvSpPr>
        <p:spPr bwMode="auto">
          <a:xfrm>
            <a:off x="5838297" y="2972366"/>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dirty="0">
                <a:solidFill>
                  <a:schemeClr val="tx2">
                    <a:lumMod val="75000"/>
                  </a:schemeClr>
                </a:solidFill>
                <a:latin typeface="+mn-lt"/>
              </a:rPr>
              <a:t>2</a:t>
            </a:r>
          </a:p>
        </p:txBody>
      </p:sp>
      <p:sp>
        <p:nvSpPr>
          <p:cNvPr id="25" name="Oval 24">
            <a:extLst>
              <a:ext uri="{FF2B5EF4-FFF2-40B4-BE49-F238E27FC236}">
                <a16:creationId xmlns:a16="http://schemas.microsoft.com/office/drawing/2014/main" id="{E449DB72-365B-4580-96C1-EF954A83CEF1}"/>
              </a:ext>
            </a:extLst>
          </p:cNvPr>
          <p:cNvSpPr/>
          <p:nvPr/>
        </p:nvSpPr>
        <p:spPr bwMode="auto">
          <a:xfrm>
            <a:off x="2957957" y="5373582"/>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chemeClr val="accent3"/>
              </a:buClr>
              <a:buSzPct val="77000"/>
            </a:pPr>
            <a:r>
              <a:rPr lang="en-GB" sz="6000">
                <a:solidFill>
                  <a:schemeClr val="accent2">
                    <a:lumMod val="75000"/>
                  </a:schemeClr>
                </a:solidFill>
                <a:latin typeface="+mn-lt"/>
              </a:rPr>
              <a:t>4</a:t>
            </a:r>
            <a:endParaRPr lang="en-GB" sz="6000" dirty="0">
              <a:solidFill>
                <a:schemeClr val="accent2">
                  <a:lumMod val="75000"/>
                </a:schemeClr>
              </a:solidFill>
              <a:latin typeface="+mn-lt"/>
            </a:endParaRPr>
          </a:p>
        </p:txBody>
      </p:sp>
      <p:sp>
        <p:nvSpPr>
          <p:cNvPr id="18" name="Oval 21">
            <a:extLst>
              <a:ext uri="{FF2B5EF4-FFF2-40B4-BE49-F238E27FC236}">
                <a16:creationId xmlns:a16="http://schemas.microsoft.com/office/drawing/2014/main" id="{FF4DDC23-5133-49DA-9735-691DC722A9CE}"/>
              </a:ext>
            </a:extLst>
          </p:cNvPr>
          <p:cNvSpPr/>
          <p:nvPr/>
        </p:nvSpPr>
        <p:spPr bwMode="auto">
          <a:xfrm>
            <a:off x="5569122" y="2982261"/>
            <a:ext cx="540000" cy="540000"/>
          </a:xfrm>
          <a:prstGeom prst="ellipse">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spcBef>
                <a:spcPts val="400"/>
              </a:spcBef>
              <a:spcAft>
                <a:spcPts val="400"/>
              </a:spcAft>
              <a:buClr>
                <a:srgbClr val="C1B5B9"/>
              </a:buClr>
              <a:buSzPct val="77000"/>
            </a:pPr>
            <a:endParaRPr lang="en-GB" sz="6000" dirty="0">
              <a:solidFill>
                <a:srgbClr val="901237"/>
              </a:solidFill>
              <a:latin typeface="Arial"/>
            </a:endParaRPr>
          </a:p>
        </p:txBody>
      </p:sp>
    </p:spTree>
    <p:extLst>
      <p:ext uri="{BB962C8B-B14F-4D97-AF65-F5344CB8AC3E}">
        <p14:creationId xmlns:p14="http://schemas.microsoft.com/office/powerpoint/2010/main" val="25895815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1E5EF12-B416-4556-954E-593BD8C47C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51E5EF12-B416-4556-954E-593BD8C47C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3BD8B01-D784-45FD-8CDA-C9390EB6B17D}"/>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8C1667F0-A824-46C2-93AC-0DF9C86F00E1}"/>
              </a:ext>
            </a:extLst>
          </p:cNvPr>
          <p:cNvSpPr>
            <a:spLocks noGrp="1"/>
          </p:cNvSpPr>
          <p:nvPr>
            <p:ph type="title"/>
          </p:nvPr>
        </p:nvSpPr>
        <p:spPr/>
        <p:txBody>
          <a:bodyPr/>
          <a:lstStyle/>
          <a:p>
            <a:r>
              <a:rPr lang="en-GB"/>
              <a:t>Slide message – three scenarios</a:t>
            </a:r>
            <a:endParaRPr lang="en-GB" dirty="0"/>
          </a:p>
        </p:txBody>
      </p:sp>
      <p:sp>
        <p:nvSpPr>
          <p:cNvPr id="8" name="Rectangle 7">
            <a:extLst>
              <a:ext uri="{FF2B5EF4-FFF2-40B4-BE49-F238E27FC236}">
                <a16:creationId xmlns:a16="http://schemas.microsoft.com/office/drawing/2014/main" id="{C46CE67D-B3A2-42DB-B0AB-904711AC3A75}"/>
              </a:ext>
            </a:extLst>
          </p:cNvPr>
          <p:cNvSpPr/>
          <p:nvPr/>
        </p:nvSpPr>
        <p:spPr bwMode="auto">
          <a:xfrm>
            <a:off x="830947" y="2480441"/>
            <a:ext cx="3434899" cy="3468517"/>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9" name="Rectangle 8">
            <a:extLst>
              <a:ext uri="{FF2B5EF4-FFF2-40B4-BE49-F238E27FC236}">
                <a16:creationId xmlns:a16="http://schemas.microsoft.com/office/drawing/2014/main" id="{6287C259-64B8-4039-B507-76DAD07B3522}"/>
              </a:ext>
            </a:extLst>
          </p:cNvPr>
          <p:cNvSpPr/>
          <p:nvPr/>
        </p:nvSpPr>
        <p:spPr bwMode="auto">
          <a:xfrm>
            <a:off x="4378550" y="2480441"/>
            <a:ext cx="3434899" cy="3468517"/>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10" name="Rectangle 9">
            <a:extLst>
              <a:ext uri="{FF2B5EF4-FFF2-40B4-BE49-F238E27FC236}">
                <a16:creationId xmlns:a16="http://schemas.microsoft.com/office/drawing/2014/main" id="{EF6D9B4C-9648-4B90-9FFF-504ACBD97479}"/>
              </a:ext>
            </a:extLst>
          </p:cNvPr>
          <p:cNvSpPr/>
          <p:nvPr/>
        </p:nvSpPr>
        <p:spPr bwMode="auto">
          <a:xfrm>
            <a:off x="7926154" y="2480441"/>
            <a:ext cx="3434899" cy="3468517"/>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12" name="ZoneTexte 11">
            <a:extLst>
              <a:ext uri="{FF2B5EF4-FFF2-40B4-BE49-F238E27FC236}">
                <a16:creationId xmlns:a16="http://schemas.microsoft.com/office/drawing/2014/main" id="{571D6855-0E24-4136-91D7-DDF681A76E6B}"/>
              </a:ext>
            </a:extLst>
          </p:cNvPr>
          <p:cNvSpPr txBox="1"/>
          <p:nvPr/>
        </p:nvSpPr>
        <p:spPr>
          <a:xfrm>
            <a:off x="1385136" y="1746537"/>
            <a:ext cx="2880709" cy="468000"/>
          </a:xfrm>
          <a:prstGeom prst="rect">
            <a:avLst/>
          </a:prstGeom>
          <a:noFill/>
          <a:ln>
            <a:noFill/>
          </a:ln>
        </p:spPr>
        <p:txBody>
          <a:bodyPr wrap="square" rtlCol="0" anchor="ctr">
            <a:noAutofit/>
          </a:bodyPr>
          <a:lstStyle/>
          <a:p>
            <a:pPr algn="l"/>
            <a:r>
              <a:rPr lang="en-GB" sz="1800" b="1" dirty="0">
                <a:solidFill>
                  <a:schemeClr val="tx2"/>
                </a:solidFill>
                <a:latin typeface="+mn-lt"/>
              </a:rPr>
              <a:t>Lorem ipsum </a:t>
            </a:r>
            <a:r>
              <a:rPr lang="en-GB" sz="1800" b="1" dirty="0" err="1">
                <a:solidFill>
                  <a:schemeClr val="tx2"/>
                </a:solidFill>
                <a:latin typeface="+mn-lt"/>
              </a:rPr>
              <a:t>dolor</a:t>
            </a:r>
            <a:r>
              <a:rPr lang="en-GB" sz="1800" b="1" dirty="0">
                <a:solidFill>
                  <a:schemeClr val="tx2"/>
                </a:solidFill>
                <a:latin typeface="+mn-lt"/>
              </a:rPr>
              <a:t> sit</a:t>
            </a:r>
          </a:p>
        </p:txBody>
      </p:sp>
      <p:sp>
        <p:nvSpPr>
          <p:cNvPr id="6" name="Oval 5">
            <a:extLst>
              <a:ext uri="{FF2B5EF4-FFF2-40B4-BE49-F238E27FC236}">
                <a16:creationId xmlns:a16="http://schemas.microsoft.com/office/drawing/2014/main" id="{3E246066-1090-4F9C-A8E0-DF7C0A02D528}"/>
              </a:ext>
            </a:extLst>
          </p:cNvPr>
          <p:cNvSpPr/>
          <p:nvPr/>
        </p:nvSpPr>
        <p:spPr bwMode="auto">
          <a:xfrm>
            <a:off x="787295" y="1720621"/>
            <a:ext cx="540000" cy="540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1</a:t>
            </a:r>
            <a:endParaRPr lang="en-GB" sz="2400" dirty="0">
              <a:solidFill>
                <a:schemeClr val="bg1"/>
              </a:solidFill>
              <a:latin typeface="+mn-lt"/>
            </a:endParaRPr>
          </a:p>
        </p:txBody>
      </p:sp>
      <p:sp>
        <p:nvSpPr>
          <p:cNvPr id="19" name="ZoneTexte 11-2">
            <a:extLst>
              <a:ext uri="{FF2B5EF4-FFF2-40B4-BE49-F238E27FC236}">
                <a16:creationId xmlns:a16="http://schemas.microsoft.com/office/drawing/2014/main" id="{0057A7D6-555A-46D4-9EA4-441BB3BB62B9}"/>
              </a:ext>
            </a:extLst>
          </p:cNvPr>
          <p:cNvSpPr txBox="1"/>
          <p:nvPr/>
        </p:nvSpPr>
        <p:spPr>
          <a:xfrm>
            <a:off x="4936502" y="1746537"/>
            <a:ext cx="2880709" cy="468000"/>
          </a:xfrm>
          <a:prstGeom prst="rect">
            <a:avLst/>
          </a:prstGeom>
          <a:noFill/>
          <a:ln>
            <a:noFill/>
          </a:ln>
        </p:spPr>
        <p:txBody>
          <a:bodyPr wrap="square" rtlCol="0" anchor="ctr">
            <a:noAutofit/>
          </a:bodyPr>
          <a:lstStyle/>
          <a:p>
            <a:pPr algn="l"/>
            <a:r>
              <a:rPr lang="en-GB" sz="1800" b="1" dirty="0">
                <a:solidFill>
                  <a:schemeClr val="accent3"/>
                </a:solidFill>
                <a:latin typeface="+mn-lt"/>
              </a:rPr>
              <a:t>Lorem ipsum </a:t>
            </a:r>
            <a:r>
              <a:rPr lang="en-GB" sz="1800" b="1" dirty="0" err="1">
                <a:solidFill>
                  <a:schemeClr val="accent3"/>
                </a:solidFill>
                <a:latin typeface="+mn-lt"/>
              </a:rPr>
              <a:t>dolor</a:t>
            </a:r>
            <a:r>
              <a:rPr lang="en-GB" sz="1800" b="1" dirty="0">
                <a:solidFill>
                  <a:schemeClr val="accent3"/>
                </a:solidFill>
                <a:latin typeface="+mn-lt"/>
              </a:rPr>
              <a:t> sit</a:t>
            </a:r>
          </a:p>
        </p:txBody>
      </p:sp>
      <p:sp>
        <p:nvSpPr>
          <p:cNvPr id="20" name="Oval 19">
            <a:extLst>
              <a:ext uri="{FF2B5EF4-FFF2-40B4-BE49-F238E27FC236}">
                <a16:creationId xmlns:a16="http://schemas.microsoft.com/office/drawing/2014/main" id="{545FDA4F-0F32-4A3C-AA05-D1DCC07D1045}"/>
              </a:ext>
            </a:extLst>
          </p:cNvPr>
          <p:cNvSpPr/>
          <p:nvPr/>
        </p:nvSpPr>
        <p:spPr bwMode="auto">
          <a:xfrm>
            <a:off x="4338661" y="1720621"/>
            <a:ext cx="540000" cy="540000"/>
          </a:xfrm>
          <a:prstGeom prst="ellipse">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2</a:t>
            </a:r>
            <a:endParaRPr lang="en-GB" sz="2400" dirty="0">
              <a:solidFill>
                <a:schemeClr val="bg1"/>
              </a:solidFill>
              <a:latin typeface="+mn-lt"/>
            </a:endParaRPr>
          </a:p>
        </p:txBody>
      </p:sp>
      <p:sp>
        <p:nvSpPr>
          <p:cNvPr id="23" name="ZoneTexte 11-3">
            <a:extLst>
              <a:ext uri="{FF2B5EF4-FFF2-40B4-BE49-F238E27FC236}">
                <a16:creationId xmlns:a16="http://schemas.microsoft.com/office/drawing/2014/main" id="{91905689-E715-4B3A-9A41-BA4ABCFDC5D4}"/>
              </a:ext>
            </a:extLst>
          </p:cNvPr>
          <p:cNvSpPr txBox="1"/>
          <p:nvPr/>
        </p:nvSpPr>
        <p:spPr>
          <a:xfrm>
            <a:off x="8523996" y="1711762"/>
            <a:ext cx="2880709" cy="468000"/>
          </a:xfrm>
          <a:prstGeom prst="rect">
            <a:avLst/>
          </a:prstGeom>
          <a:noFill/>
        </p:spPr>
        <p:txBody>
          <a:bodyPr wrap="square" rtlCol="0" anchor="ctr">
            <a:noAutofit/>
          </a:bodyPr>
          <a:lstStyle/>
          <a:p>
            <a:pPr algn="l"/>
            <a:r>
              <a:rPr lang="en-GB" sz="1800" b="1">
                <a:solidFill>
                  <a:schemeClr val="accent2"/>
                </a:solidFill>
                <a:latin typeface="+mn-lt"/>
              </a:rPr>
              <a:t>Lorem ipsum dolor sit</a:t>
            </a:r>
            <a:endParaRPr lang="en-GB" sz="1800" b="1" dirty="0">
              <a:solidFill>
                <a:schemeClr val="accent2"/>
              </a:solidFill>
              <a:latin typeface="+mn-lt"/>
            </a:endParaRPr>
          </a:p>
        </p:txBody>
      </p:sp>
      <p:sp>
        <p:nvSpPr>
          <p:cNvPr id="24" name="Oval 23">
            <a:extLst>
              <a:ext uri="{FF2B5EF4-FFF2-40B4-BE49-F238E27FC236}">
                <a16:creationId xmlns:a16="http://schemas.microsoft.com/office/drawing/2014/main" id="{57B499EE-2A74-4F20-BCD2-B31ECA4004F1}"/>
              </a:ext>
            </a:extLst>
          </p:cNvPr>
          <p:cNvSpPr/>
          <p:nvPr/>
        </p:nvSpPr>
        <p:spPr bwMode="auto">
          <a:xfrm>
            <a:off x="7926155" y="1685846"/>
            <a:ext cx="540000" cy="540000"/>
          </a:xfrm>
          <a:prstGeom prst="ellipse">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3</a:t>
            </a:r>
            <a:endParaRPr lang="en-GB" sz="2400" dirty="0">
              <a:solidFill>
                <a:schemeClr val="bg1"/>
              </a:solidFill>
              <a:latin typeface="+mn-lt"/>
            </a:endParaRPr>
          </a:p>
        </p:txBody>
      </p:sp>
    </p:spTree>
    <p:extLst>
      <p:ext uri="{BB962C8B-B14F-4D97-AF65-F5344CB8AC3E}">
        <p14:creationId xmlns:p14="http://schemas.microsoft.com/office/powerpoint/2010/main" val="296769061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1E5EF12-B416-4556-954E-593BD8C47C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3" name="Objet 2" hidden="1">
                        <a:extLst>
                          <a:ext uri="{FF2B5EF4-FFF2-40B4-BE49-F238E27FC236}">
                            <a16:creationId xmlns:a16="http://schemas.microsoft.com/office/drawing/2014/main" id="{51E5EF12-B416-4556-954E-593BD8C47C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811EDC-060B-4D4D-96CB-50D82C07330D}"/>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8C1667F0-A824-46C2-93AC-0DF9C86F00E1}"/>
              </a:ext>
            </a:extLst>
          </p:cNvPr>
          <p:cNvSpPr>
            <a:spLocks noGrp="1"/>
          </p:cNvSpPr>
          <p:nvPr>
            <p:ph type="title"/>
          </p:nvPr>
        </p:nvSpPr>
        <p:spPr/>
        <p:txBody>
          <a:bodyPr/>
          <a:lstStyle/>
          <a:p>
            <a:r>
              <a:rPr lang="en-GB"/>
              <a:t>Slide message – four scenarios</a:t>
            </a:r>
            <a:endParaRPr lang="en-GB" dirty="0"/>
          </a:p>
        </p:txBody>
      </p:sp>
      <p:sp>
        <p:nvSpPr>
          <p:cNvPr id="8" name="Rectangle 7">
            <a:extLst>
              <a:ext uri="{FF2B5EF4-FFF2-40B4-BE49-F238E27FC236}">
                <a16:creationId xmlns:a16="http://schemas.microsoft.com/office/drawing/2014/main" id="{C46CE67D-B3A2-42DB-B0AB-904711AC3A75}"/>
              </a:ext>
            </a:extLst>
          </p:cNvPr>
          <p:cNvSpPr/>
          <p:nvPr/>
        </p:nvSpPr>
        <p:spPr bwMode="auto">
          <a:xfrm>
            <a:off x="830947" y="2480441"/>
            <a:ext cx="2520000" cy="3468517"/>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9" name="Rectangle 8">
            <a:extLst>
              <a:ext uri="{FF2B5EF4-FFF2-40B4-BE49-F238E27FC236}">
                <a16:creationId xmlns:a16="http://schemas.microsoft.com/office/drawing/2014/main" id="{6287C259-64B8-4039-B507-76DAD07B3522}"/>
              </a:ext>
            </a:extLst>
          </p:cNvPr>
          <p:cNvSpPr/>
          <p:nvPr/>
        </p:nvSpPr>
        <p:spPr bwMode="auto">
          <a:xfrm>
            <a:off x="3488209" y="2480441"/>
            <a:ext cx="2520000" cy="3468517"/>
          </a:xfrm>
          <a:prstGeom prst="rect">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10" name="Rectangle 9">
            <a:extLst>
              <a:ext uri="{FF2B5EF4-FFF2-40B4-BE49-F238E27FC236}">
                <a16:creationId xmlns:a16="http://schemas.microsoft.com/office/drawing/2014/main" id="{EF6D9B4C-9648-4B90-9FFF-504ACBD97479}"/>
              </a:ext>
            </a:extLst>
          </p:cNvPr>
          <p:cNvSpPr/>
          <p:nvPr/>
        </p:nvSpPr>
        <p:spPr bwMode="auto">
          <a:xfrm>
            <a:off x="6145471" y="2480441"/>
            <a:ext cx="2520000" cy="3468517"/>
          </a:xfrm>
          <a:prstGeom prst="rect">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12" name="ZoneTexte 11">
            <a:extLst>
              <a:ext uri="{FF2B5EF4-FFF2-40B4-BE49-F238E27FC236}">
                <a16:creationId xmlns:a16="http://schemas.microsoft.com/office/drawing/2014/main" id="{571D6855-0E24-4136-91D7-DDF681A76E6B}"/>
              </a:ext>
            </a:extLst>
          </p:cNvPr>
          <p:cNvSpPr txBox="1"/>
          <p:nvPr/>
        </p:nvSpPr>
        <p:spPr>
          <a:xfrm>
            <a:off x="1330272" y="1766665"/>
            <a:ext cx="1977411" cy="468000"/>
          </a:xfrm>
          <a:prstGeom prst="rect">
            <a:avLst/>
          </a:prstGeom>
          <a:noFill/>
          <a:ln>
            <a:noFill/>
          </a:ln>
        </p:spPr>
        <p:txBody>
          <a:bodyPr wrap="square" rtlCol="0" anchor="ctr">
            <a:noAutofit/>
          </a:bodyPr>
          <a:lstStyle/>
          <a:p>
            <a:pPr algn="l"/>
            <a:r>
              <a:rPr lang="en-GB" sz="1800" b="1" dirty="0">
                <a:solidFill>
                  <a:schemeClr val="accent6"/>
                </a:solidFill>
                <a:latin typeface="+mn-lt"/>
              </a:rPr>
              <a:t>Lorem ipsum </a:t>
            </a:r>
            <a:br>
              <a:rPr lang="en-GB" sz="1800" b="1" dirty="0">
                <a:solidFill>
                  <a:schemeClr val="accent6"/>
                </a:solidFill>
                <a:latin typeface="+mn-lt"/>
              </a:rPr>
            </a:br>
            <a:r>
              <a:rPr lang="en-GB" sz="1800" b="1" dirty="0" err="1">
                <a:solidFill>
                  <a:schemeClr val="accent6"/>
                </a:solidFill>
                <a:latin typeface="+mn-lt"/>
              </a:rPr>
              <a:t>dolor</a:t>
            </a:r>
            <a:r>
              <a:rPr lang="en-GB" sz="1800" b="1" dirty="0">
                <a:solidFill>
                  <a:schemeClr val="accent6"/>
                </a:solidFill>
                <a:latin typeface="+mn-lt"/>
              </a:rPr>
              <a:t> sit</a:t>
            </a:r>
          </a:p>
        </p:txBody>
      </p:sp>
      <p:sp>
        <p:nvSpPr>
          <p:cNvPr id="6" name="Oval 5">
            <a:extLst>
              <a:ext uri="{FF2B5EF4-FFF2-40B4-BE49-F238E27FC236}">
                <a16:creationId xmlns:a16="http://schemas.microsoft.com/office/drawing/2014/main" id="{3E246066-1090-4F9C-A8E0-DF7C0A02D528}"/>
              </a:ext>
            </a:extLst>
          </p:cNvPr>
          <p:cNvSpPr/>
          <p:nvPr/>
        </p:nvSpPr>
        <p:spPr bwMode="auto">
          <a:xfrm>
            <a:off x="787295" y="1730665"/>
            <a:ext cx="540000" cy="540000"/>
          </a:xfrm>
          <a:prstGeom prst="ellipse">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1</a:t>
            </a:r>
            <a:endParaRPr lang="en-GB" sz="2400" dirty="0">
              <a:solidFill>
                <a:schemeClr val="bg1"/>
              </a:solidFill>
              <a:latin typeface="+mn-lt"/>
            </a:endParaRPr>
          </a:p>
        </p:txBody>
      </p:sp>
      <p:sp>
        <p:nvSpPr>
          <p:cNvPr id="19" name="ZoneTexte 11-2">
            <a:extLst>
              <a:ext uri="{FF2B5EF4-FFF2-40B4-BE49-F238E27FC236}">
                <a16:creationId xmlns:a16="http://schemas.microsoft.com/office/drawing/2014/main" id="{0057A7D6-555A-46D4-9EA4-441BB3BB62B9}"/>
              </a:ext>
            </a:extLst>
          </p:cNvPr>
          <p:cNvSpPr txBox="1"/>
          <p:nvPr/>
        </p:nvSpPr>
        <p:spPr>
          <a:xfrm>
            <a:off x="4003814" y="1766665"/>
            <a:ext cx="2004395" cy="468000"/>
          </a:xfrm>
          <a:prstGeom prst="rect">
            <a:avLst/>
          </a:prstGeom>
          <a:noFill/>
          <a:ln>
            <a:noFill/>
          </a:ln>
        </p:spPr>
        <p:txBody>
          <a:bodyPr wrap="square" rtlCol="0" anchor="ctr">
            <a:noAutofit/>
          </a:bodyPr>
          <a:lstStyle/>
          <a:p>
            <a:pPr algn="l"/>
            <a:r>
              <a:rPr lang="en-GB" sz="1800" b="1" dirty="0">
                <a:solidFill>
                  <a:schemeClr val="tx2"/>
                </a:solidFill>
                <a:latin typeface="+mn-lt"/>
              </a:rPr>
              <a:t>Lorem ipsum </a:t>
            </a:r>
            <a:br>
              <a:rPr lang="en-GB" sz="1800" b="1" dirty="0">
                <a:solidFill>
                  <a:schemeClr val="tx2"/>
                </a:solidFill>
                <a:latin typeface="+mn-lt"/>
              </a:rPr>
            </a:br>
            <a:r>
              <a:rPr lang="en-GB" sz="1800" b="1" dirty="0" err="1">
                <a:solidFill>
                  <a:schemeClr val="tx2"/>
                </a:solidFill>
                <a:latin typeface="+mn-lt"/>
              </a:rPr>
              <a:t>dolor</a:t>
            </a:r>
            <a:r>
              <a:rPr lang="en-GB" sz="1800" b="1" dirty="0">
                <a:solidFill>
                  <a:schemeClr val="tx2"/>
                </a:solidFill>
                <a:latin typeface="+mn-lt"/>
              </a:rPr>
              <a:t> sit</a:t>
            </a:r>
          </a:p>
        </p:txBody>
      </p:sp>
      <p:sp>
        <p:nvSpPr>
          <p:cNvPr id="20" name="Oval 19">
            <a:extLst>
              <a:ext uri="{FF2B5EF4-FFF2-40B4-BE49-F238E27FC236}">
                <a16:creationId xmlns:a16="http://schemas.microsoft.com/office/drawing/2014/main" id="{545FDA4F-0F32-4A3C-AA05-D1DCC07D1045}"/>
              </a:ext>
            </a:extLst>
          </p:cNvPr>
          <p:cNvSpPr/>
          <p:nvPr/>
        </p:nvSpPr>
        <p:spPr bwMode="auto">
          <a:xfrm>
            <a:off x="3451693" y="1730665"/>
            <a:ext cx="540000" cy="540000"/>
          </a:xfrm>
          <a:prstGeom prst="ellipse">
            <a:avLst/>
          </a:prstGeom>
          <a:solidFill>
            <a:schemeClr val="tx2"/>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2</a:t>
            </a:r>
            <a:endParaRPr lang="en-GB" sz="2400" dirty="0">
              <a:solidFill>
                <a:schemeClr val="bg1"/>
              </a:solidFill>
              <a:latin typeface="+mn-lt"/>
            </a:endParaRPr>
          </a:p>
        </p:txBody>
      </p:sp>
      <p:sp>
        <p:nvSpPr>
          <p:cNvPr id="23" name="ZoneTexte 11-3">
            <a:extLst>
              <a:ext uri="{FF2B5EF4-FFF2-40B4-BE49-F238E27FC236}">
                <a16:creationId xmlns:a16="http://schemas.microsoft.com/office/drawing/2014/main" id="{91905689-E715-4B3A-9A41-BA4ABCFDC5D4}"/>
              </a:ext>
            </a:extLst>
          </p:cNvPr>
          <p:cNvSpPr txBox="1"/>
          <p:nvPr/>
        </p:nvSpPr>
        <p:spPr>
          <a:xfrm>
            <a:off x="6704340" y="1766665"/>
            <a:ext cx="1961131" cy="468000"/>
          </a:xfrm>
          <a:prstGeom prst="rect">
            <a:avLst/>
          </a:prstGeom>
          <a:noFill/>
        </p:spPr>
        <p:txBody>
          <a:bodyPr wrap="square" rtlCol="0" anchor="ctr">
            <a:noAutofit/>
          </a:bodyPr>
          <a:lstStyle/>
          <a:p>
            <a:pPr algn="l"/>
            <a:r>
              <a:rPr lang="en-GB" sz="1800" b="1" dirty="0">
                <a:solidFill>
                  <a:schemeClr val="accent2"/>
                </a:solidFill>
                <a:latin typeface="+mn-lt"/>
              </a:rPr>
              <a:t>Lorem ipsum </a:t>
            </a:r>
            <a:r>
              <a:rPr lang="en-GB" sz="1800" b="1" dirty="0" err="1">
                <a:solidFill>
                  <a:schemeClr val="accent2"/>
                </a:solidFill>
                <a:latin typeface="+mn-lt"/>
              </a:rPr>
              <a:t>dolor</a:t>
            </a:r>
            <a:r>
              <a:rPr lang="en-GB" sz="1800" b="1" dirty="0">
                <a:solidFill>
                  <a:schemeClr val="accent2"/>
                </a:solidFill>
                <a:latin typeface="+mn-lt"/>
              </a:rPr>
              <a:t> sit</a:t>
            </a:r>
          </a:p>
        </p:txBody>
      </p:sp>
      <p:sp>
        <p:nvSpPr>
          <p:cNvPr id="24" name="Oval 23">
            <a:extLst>
              <a:ext uri="{FF2B5EF4-FFF2-40B4-BE49-F238E27FC236}">
                <a16:creationId xmlns:a16="http://schemas.microsoft.com/office/drawing/2014/main" id="{57B499EE-2A74-4F20-BCD2-B31ECA4004F1}"/>
              </a:ext>
            </a:extLst>
          </p:cNvPr>
          <p:cNvSpPr/>
          <p:nvPr/>
        </p:nvSpPr>
        <p:spPr bwMode="auto">
          <a:xfrm>
            <a:off x="6152219" y="1730665"/>
            <a:ext cx="540000" cy="540000"/>
          </a:xfrm>
          <a:prstGeom prst="ellipse">
            <a:avLst/>
          </a:prstGeom>
          <a:solidFill>
            <a:schemeClr val="accent2"/>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3</a:t>
            </a:r>
            <a:endParaRPr lang="en-GB" sz="2400" dirty="0">
              <a:solidFill>
                <a:schemeClr val="bg1"/>
              </a:solidFill>
              <a:latin typeface="+mn-lt"/>
            </a:endParaRPr>
          </a:p>
        </p:txBody>
      </p:sp>
      <p:sp>
        <p:nvSpPr>
          <p:cNvPr id="14" name="Rectangle 13">
            <a:extLst>
              <a:ext uri="{FF2B5EF4-FFF2-40B4-BE49-F238E27FC236}">
                <a16:creationId xmlns:a16="http://schemas.microsoft.com/office/drawing/2014/main" id="{BB99CCBC-330F-4765-BE54-4239F851284C}"/>
              </a:ext>
            </a:extLst>
          </p:cNvPr>
          <p:cNvSpPr/>
          <p:nvPr/>
        </p:nvSpPr>
        <p:spPr bwMode="auto">
          <a:xfrm>
            <a:off x="8802733" y="2480441"/>
            <a:ext cx="2520000" cy="3468517"/>
          </a:xfrm>
          <a:prstGeom prst="rect">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36000" tIns="144000" rIns="108000" bIns="144000" numCol="1" spcCol="0" rtlCol="0" fromWordArt="0" anchor="t" anchorCtr="0" forceAA="0" compatLnSpc="1">
            <a:prstTxWarp prst="textNoShape">
              <a:avLst/>
            </a:prstTxWarp>
            <a:noAutofit/>
          </a:bodyPr>
          <a:lstStyle/>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 </a:t>
            </a:r>
            <a:r>
              <a:rPr lang="en-GB" dirty="0" err="1">
                <a:solidFill>
                  <a:schemeClr val="bg1"/>
                </a:solidFill>
                <a:latin typeface="+mn-lt"/>
                <a:cs typeface="Arial" panose="020B0604020202020204" pitchFamily="34" charset="0"/>
              </a:rPr>
              <a:t>sed</a:t>
            </a:r>
            <a:r>
              <a:rPr lang="en-GB" dirty="0">
                <a:solidFill>
                  <a:schemeClr val="bg1"/>
                </a:solidFill>
                <a:latin typeface="+mn-lt"/>
                <a:cs typeface="Arial" panose="020B0604020202020204" pitchFamily="34" charset="0"/>
              </a:rPr>
              <a:t> </a:t>
            </a:r>
          </a:p>
          <a:p>
            <a:pPr marL="180000" lvl="1" indent="-180000" algn="l" eaLnBrk="1" hangingPunct="1">
              <a:spcBef>
                <a:spcPts val="840"/>
              </a:spcBef>
              <a:spcAft>
                <a:spcPts val="0"/>
              </a:spcAft>
              <a:buClr>
                <a:schemeClr val="bg1"/>
              </a:buClr>
              <a:buSzPct val="77000"/>
              <a:buFont typeface="Wingdings 3" panose="05040102010807070707" pitchFamily="18" charset="2"/>
              <a:buChar char=""/>
              <a:defRPr/>
            </a:pPr>
            <a:r>
              <a:rPr lang="en-GB" dirty="0" err="1">
                <a:solidFill>
                  <a:schemeClr val="bg1"/>
                </a:solidFill>
                <a:latin typeface="+mn-lt"/>
                <a:cs typeface="Arial" panose="020B0604020202020204" pitchFamily="34" charset="0"/>
              </a:rPr>
              <a:t>amet</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sectetue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adipiscing</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elit</a:t>
            </a:r>
            <a:r>
              <a:rPr lang="en-GB" dirty="0">
                <a:solidFill>
                  <a:schemeClr val="bg1"/>
                </a:solidFill>
                <a:latin typeface="+mn-lt"/>
                <a:cs typeface="Arial" panose="020B0604020202020204" pitchFamily="34" charset="0"/>
              </a:rPr>
              <a:t>. Maecenas </a:t>
            </a:r>
            <a:r>
              <a:rPr lang="en-GB" dirty="0" err="1">
                <a:solidFill>
                  <a:schemeClr val="bg1"/>
                </a:solidFill>
                <a:latin typeface="+mn-lt"/>
                <a:cs typeface="Arial" panose="020B0604020202020204" pitchFamily="34" charset="0"/>
              </a:rPr>
              <a:t>porttitor</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congu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massa</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Fusce</a:t>
            </a:r>
            <a:r>
              <a:rPr lang="en-GB" dirty="0">
                <a:solidFill>
                  <a:schemeClr val="bg1"/>
                </a:solidFill>
                <a:latin typeface="+mn-lt"/>
                <a:cs typeface="Arial" panose="020B0604020202020204" pitchFamily="34" charset="0"/>
              </a:rPr>
              <a:t> </a:t>
            </a:r>
            <a:r>
              <a:rPr lang="en-GB" dirty="0" err="1">
                <a:solidFill>
                  <a:schemeClr val="bg1"/>
                </a:solidFill>
                <a:latin typeface="+mn-lt"/>
                <a:cs typeface="Arial" panose="020B0604020202020204" pitchFamily="34" charset="0"/>
              </a:rPr>
              <a:t>posuere</a:t>
            </a:r>
            <a:r>
              <a:rPr lang="en-GB" dirty="0">
                <a:solidFill>
                  <a:schemeClr val="bg1"/>
                </a:solidFill>
                <a:latin typeface="+mn-lt"/>
                <a:cs typeface="Arial" panose="020B0604020202020204" pitchFamily="34" charset="0"/>
              </a:rPr>
              <a:t>, magna</a:t>
            </a:r>
          </a:p>
        </p:txBody>
      </p:sp>
      <p:sp>
        <p:nvSpPr>
          <p:cNvPr id="15" name="ZoneTexte 11-4">
            <a:extLst>
              <a:ext uri="{FF2B5EF4-FFF2-40B4-BE49-F238E27FC236}">
                <a16:creationId xmlns:a16="http://schemas.microsoft.com/office/drawing/2014/main" id="{6B6C262D-ACE3-4403-8268-360484178E0E}"/>
              </a:ext>
            </a:extLst>
          </p:cNvPr>
          <p:cNvSpPr txBox="1"/>
          <p:nvPr/>
        </p:nvSpPr>
        <p:spPr>
          <a:xfrm>
            <a:off x="9370269" y="1766665"/>
            <a:ext cx="1952464" cy="468000"/>
          </a:xfrm>
          <a:prstGeom prst="rect">
            <a:avLst/>
          </a:prstGeom>
          <a:noFill/>
        </p:spPr>
        <p:txBody>
          <a:bodyPr wrap="square" rtlCol="0" anchor="ctr">
            <a:noAutofit/>
          </a:bodyPr>
          <a:lstStyle/>
          <a:p>
            <a:pPr algn="l"/>
            <a:r>
              <a:rPr lang="en-GB" sz="1800" b="1" dirty="0">
                <a:solidFill>
                  <a:schemeClr val="accent3"/>
                </a:solidFill>
                <a:latin typeface="+mn-lt"/>
              </a:rPr>
              <a:t>Lorem ipsum </a:t>
            </a:r>
            <a:r>
              <a:rPr lang="en-GB" sz="1800" b="1" dirty="0" err="1">
                <a:solidFill>
                  <a:schemeClr val="accent3"/>
                </a:solidFill>
                <a:latin typeface="+mn-lt"/>
              </a:rPr>
              <a:t>dolor</a:t>
            </a:r>
            <a:r>
              <a:rPr lang="en-GB" sz="1800" b="1" dirty="0">
                <a:solidFill>
                  <a:schemeClr val="accent3"/>
                </a:solidFill>
                <a:latin typeface="+mn-lt"/>
              </a:rPr>
              <a:t> sit</a:t>
            </a:r>
          </a:p>
        </p:txBody>
      </p:sp>
      <p:sp>
        <p:nvSpPr>
          <p:cNvPr id="16" name="Oval 15">
            <a:extLst>
              <a:ext uri="{FF2B5EF4-FFF2-40B4-BE49-F238E27FC236}">
                <a16:creationId xmlns:a16="http://schemas.microsoft.com/office/drawing/2014/main" id="{C1AEAAE9-9CD5-4004-945C-B4E0C5BCA6D0}"/>
              </a:ext>
            </a:extLst>
          </p:cNvPr>
          <p:cNvSpPr/>
          <p:nvPr/>
        </p:nvSpPr>
        <p:spPr bwMode="auto">
          <a:xfrm>
            <a:off x="8802734" y="1730665"/>
            <a:ext cx="540000" cy="540000"/>
          </a:xfrm>
          <a:prstGeom prst="ellipse">
            <a:avLst/>
          </a:prstGeom>
          <a:solidFill>
            <a:schemeClr val="accent3"/>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buClr>
                <a:schemeClr val="accent3"/>
              </a:buClr>
              <a:buSzPct val="77000"/>
            </a:pPr>
            <a:r>
              <a:rPr lang="en-GB" sz="2400">
                <a:solidFill>
                  <a:schemeClr val="bg1"/>
                </a:solidFill>
                <a:latin typeface="+mn-lt"/>
              </a:rPr>
              <a:t>4</a:t>
            </a:r>
            <a:endParaRPr lang="en-GB" sz="2400" dirty="0">
              <a:solidFill>
                <a:schemeClr val="bg1"/>
              </a:solidFill>
              <a:latin typeface="+mn-lt"/>
            </a:endParaRPr>
          </a:p>
        </p:txBody>
      </p:sp>
    </p:spTree>
    <p:extLst>
      <p:ext uri="{BB962C8B-B14F-4D97-AF65-F5344CB8AC3E}">
        <p14:creationId xmlns:p14="http://schemas.microsoft.com/office/powerpoint/2010/main" val="26212099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07DC8FB-32AA-4D23-926A-CC348C8E92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6" name="Objet 5" hidden="1">
                        <a:extLst>
                          <a:ext uri="{FF2B5EF4-FFF2-40B4-BE49-F238E27FC236}">
                            <a16:creationId xmlns:a16="http://schemas.microsoft.com/office/drawing/2014/main" id="{E07DC8FB-32AA-4D23-926A-CC348C8E92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A44C707-F38E-4670-8C45-442E6B173826}"/>
              </a:ext>
            </a:extLst>
          </p:cNvPr>
          <p:cNvSpPr/>
          <p:nvPr>
            <p:custDataLst>
              <p:tags r:id="rId2"/>
            </p:custDataLst>
          </p:nvPr>
        </p:nvSpPr>
        <p:spPr bwMode="auto">
          <a:xfrm>
            <a:off x="0" y="0"/>
            <a:ext cx="158750" cy="158750"/>
          </a:xfrm>
          <a:prstGeom prst="rect">
            <a:avLst/>
          </a:prstGeom>
          <a:solidFill>
            <a:srgbClr val="B40646"/>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re 1">
            <a:extLst>
              <a:ext uri="{FF2B5EF4-FFF2-40B4-BE49-F238E27FC236}">
                <a16:creationId xmlns:a16="http://schemas.microsoft.com/office/drawing/2014/main" id="{29147B94-E66C-4C7D-8A08-ED013F74AA18}"/>
              </a:ext>
            </a:extLst>
          </p:cNvPr>
          <p:cNvSpPr>
            <a:spLocks noGrp="1"/>
          </p:cNvSpPr>
          <p:nvPr>
            <p:ph type="title"/>
          </p:nvPr>
        </p:nvSpPr>
        <p:spPr/>
        <p:txBody>
          <a:bodyPr/>
          <a:lstStyle/>
          <a:p>
            <a:r>
              <a:rPr lang="en-GB"/>
              <a:t>Standard content slide (text + illustration)</a:t>
            </a:r>
            <a:endParaRPr lang="en-GB" dirty="0"/>
          </a:p>
        </p:txBody>
      </p:sp>
      <p:sp>
        <p:nvSpPr>
          <p:cNvPr id="3" name="Espace réservé du contenu 2">
            <a:extLst>
              <a:ext uri="{FF2B5EF4-FFF2-40B4-BE49-F238E27FC236}">
                <a16:creationId xmlns:a16="http://schemas.microsoft.com/office/drawing/2014/main" id="{5E72426F-14DB-4A59-AAEE-674DCC83AB93}"/>
              </a:ext>
            </a:extLst>
          </p:cNvPr>
          <p:cNvSpPr>
            <a:spLocks noGrp="1"/>
          </p:cNvSpPr>
          <p:nvPr>
            <p:ph idx="1"/>
          </p:nvPr>
        </p:nvSpPr>
        <p:spPr>
          <a:xfrm>
            <a:off x="432000" y="1162800"/>
            <a:ext cx="3794560" cy="4844128"/>
          </a:xfrm>
        </p:spPr>
        <p:txBody>
          <a:bodyPr>
            <a:noAutofit/>
          </a:bodyPr>
          <a:lstStyle/>
          <a:p>
            <a:pPr fontAlgn="auto">
              <a:spcAft>
                <a:spcPts val="1200"/>
              </a:spcAft>
              <a:buClr>
                <a:srgbClr val="B40646"/>
              </a:buClr>
              <a:buSzPct val="82000"/>
            </a:pPr>
            <a:r>
              <a:rPr lang="en-GB">
                <a:latin typeface="+mn-lt"/>
              </a:rPr>
              <a:t>Lorem ipsum dolor sit</a:t>
            </a:r>
          </a:p>
          <a:p>
            <a:pPr fontAlgn="auto">
              <a:spcAft>
                <a:spcPts val="1200"/>
              </a:spcAft>
              <a:buClr>
                <a:srgbClr val="B40646"/>
              </a:buClr>
              <a:buSzPct val="82000"/>
            </a:pPr>
            <a:r>
              <a:rPr lang="en-GB">
                <a:latin typeface="+mn-lt"/>
              </a:rPr>
              <a:t>Amet, consectetuer adipiscing elit. Maecenas porttitor congue massa. Fusce posuere, magna sed </a:t>
            </a:r>
          </a:p>
          <a:p>
            <a:pPr fontAlgn="auto">
              <a:spcAft>
                <a:spcPts val="1200"/>
              </a:spcAft>
              <a:buClr>
                <a:srgbClr val="B40646"/>
              </a:buClr>
              <a:buSzPct val="82000"/>
            </a:pPr>
            <a:r>
              <a:rPr lang="en-GB">
                <a:latin typeface="+mn-lt"/>
              </a:rPr>
              <a:t>Amet, consectetuer adipiscing elit. Maecenas porttitor congue massa. Fusce posuere, magna sed </a:t>
            </a:r>
          </a:p>
          <a:p>
            <a:pPr fontAlgn="auto">
              <a:spcAft>
                <a:spcPts val="1200"/>
              </a:spcAft>
              <a:buClr>
                <a:srgbClr val="B40646"/>
              </a:buClr>
              <a:buSzPct val="82000"/>
            </a:pPr>
            <a:r>
              <a:rPr lang="en-GB">
                <a:latin typeface="+mn-lt"/>
              </a:rPr>
              <a:t>Amet, consectetuer adipiscing elit. Maecenas porttitor congue massa. Fusce posuere, magna sed </a:t>
            </a:r>
          </a:p>
          <a:p>
            <a:pPr fontAlgn="auto">
              <a:spcAft>
                <a:spcPts val="1200"/>
              </a:spcAft>
              <a:buClr>
                <a:srgbClr val="B40646"/>
              </a:buClr>
              <a:buSzPct val="82000"/>
            </a:pPr>
            <a:endParaRPr lang="en-GB" dirty="0">
              <a:latin typeface="+mn-lt"/>
              <a:cs typeface="Calibri" panose="020F0502020204030204" pitchFamily="34" charset="0"/>
            </a:endParaRPr>
          </a:p>
        </p:txBody>
      </p:sp>
      <p:sp>
        <p:nvSpPr>
          <p:cNvPr id="4" name="Rectangle 3">
            <a:extLst>
              <a:ext uri="{FF2B5EF4-FFF2-40B4-BE49-F238E27FC236}">
                <a16:creationId xmlns:a16="http://schemas.microsoft.com/office/drawing/2014/main" id="{0DC180FF-9F7A-4683-A832-A977D40ED0F7}"/>
              </a:ext>
            </a:extLst>
          </p:cNvPr>
          <p:cNvSpPr/>
          <p:nvPr/>
        </p:nvSpPr>
        <p:spPr bwMode="auto">
          <a:xfrm>
            <a:off x="4521200" y="1162800"/>
            <a:ext cx="7238800" cy="4710758"/>
          </a:xfrm>
          <a:prstGeom prst="rect">
            <a:avLst/>
          </a:prstGeom>
          <a:solidFill>
            <a:schemeClr val="accent2">
              <a:lumMod val="20000"/>
              <a:lumOff val="80000"/>
            </a:schemeClr>
          </a:solidFill>
          <a:ln w="1905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l">
              <a:buClr>
                <a:schemeClr val="accent3"/>
              </a:buClr>
              <a:buSzPct val="77000"/>
            </a:pPr>
            <a:r>
              <a:rPr lang="en-GB" sz="1600">
                <a:solidFill>
                  <a:schemeClr val="accent2"/>
                </a:solidFill>
                <a:latin typeface="+mn-lt"/>
              </a:rPr>
              <a:t>Title of illustration or key figures</a:t>
            </a:r>
          </a:p>
          <a:p>
            <a:pPr algn="l">
              <a:buClr>
                <a:schemeClr val="accent3"/>
              </a:buClr>
              <a:buSzPct val="77000"/>
            </a:pPr>
            <a:r>
              <a:rPr lang="en-GB" sz="1600">
                <a:solidFill>
                  <a:schemeClr val="accent2"/>
                </a:solidFill>
                <a:latin typeface="+mn-lt"/>
              </a:rPr>
              <a:t>Add graph or illustration (high quality) instead of this box</a:t>
            </a:r>
            <a:endParaRPr lang="en-GB" sz="1400" dirty="0">
              <a:solidFill>
                <a:schemeClr val="accent2"/>
              </a:solidFill>
              <a:latin typeface="+mn-lt"/>
            </a:endParaRPr>
          </a:p>
        </p:txBody>
      </p:sp>
    </p:spTree>
    <p:extLst>
      <p:ext uri="{BB962C8B-B14F-4D97-AF65-F5344CB8AC3E}">
        <p14:creationId xmlns:p14="http://schemas.microsoft.com/office/powerpoint/2010/main" val="5968947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p:cNvGraphicFramePr>
            <a:graphicFrameLocks noChangeAspect="1"/>
          </p:cNvGraphicFramePr>
          <p:nvPr>
            <p:custDataLst>
              <p:tags r:id="rId1"/>
            </p:custDataLst>
            <p:extLst>
              <p:ext uri="{D42A27DB-BD31-4B8C-83A1-F6EECF244321}">
                <p14:modId xmlns:p14="http://schemas.microsoft.com/office/powerpoint/2010/main" val="3836890720"/>
              </p:ex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7" name="Objet 6"/>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BAB18E5-1903-4105-B7F4-E2341130BD2C}"/>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2B9C8C9B-46B5-470A-9846-F5A6B4454498}"/>
              </a:ext>
            </a:extLst>
          </p:cNvPr>
          <p:cNvSpPr>
            <a:spLocks noGrp="1"/>
          </p:cNvSpPr>
          <p:nvPr>
            <p:ph type="title"/>
          </p:nvPr>
        </p:nvSpPr>
        <p:spPr/>
        <p:txBody>
          <a:bodyPr/>
          <a:lstStyle/>
          <a:p>
            <a:r>
              <a:rPr lang="en-GB"/>
              <a:t>Slide message – two scenarios</a:t>
            </a:r>
            <a:endParaRPr lang="en-GB" dirty="0"/>
          </a:p>
        </p:txBody>
      </p:sp>
      <p:sp>
        <p:nvSpPr>
          <p:cNvPr id="5" name="Content Placeholder 4">
            <a:extLst>
              <a:ext uri="{FF2B5EF4-FFF2-40B4-BE49-F238E27FC236}">
                <a16:creationId xmlns:a16="http://schemas.microsoft.com/office/drawing/2014/main" id="{E9B587C9-6BAF-4B4B-9A42-1A43E0C93EA1}"/>
              </a:ext>
            </a:extLst>
          </p:cNvPr>
          <p:cNvSpPr>
            <a:spLocks noGrp="1"/>
          </p:cNvSpPr>
          <p:nvPr>
            <p:ph idx="1"/>
          </p:nvPr>
        </p:nvSpPr>
        <p:spPr>
          <a:xfrm>
            <a:off x="432000" y="1254703"/>
            <a:ext cx="2960424" cy="1386772"/>
          </a:xfrm>
        </p:spPr>
        <p:txBody>
          <a:bodyPr/>
          <a:lstStyle/>
          <a:p>
            <a:pPr marL="285750" indent="-285750">
              <a:spcAft>
                <a:spcPts val="1200"/>
              </a:spcAft>
              <a:buClr>
                <a:srgbClr val="B40646"/>
              </a:buClr>
              <a:buSzPct val="82000"/>
              <a:buFont typeface="Wingdings 3" panose="05040102010807070707" pitchFamily="18" charset="2"/>
              <a:buChar char=""/>
            </a:pPr>
            <a:r>
              <a:rPr lang="en-GB">
                <a:latin typeface="+mn-lt"/>
              </a:rPr>
              <a:t>Text can go here</a:t>
            </a:r>
          </a:p>
          <a:p>
            <a:pPr marL="285750" indent="-285750">
              <a:spcAft>
                <a:spcPts val="1200"/>
              </a:spcAft>
              <a:buClr>
                <a:srgbClr val="B40646"/>
              </a:buClr>
              <a:buSzPct val="82000"/>
              <a:buFont typeface="Wingdings 3" panose="05040102010807070707" pitchFamily="18" charset="2"/>
              <a:buChar char=""/>
            </a:pPr>
            <a:r>
              <a:rPr lang="en-GB">
                <a:latin typeface="+mn-lt"/>
              </a:rPr>
              <a:t>And here</a:t>
            </a:r>
          </a:p>
          <a:p>
            <a:pPr marL="285750" indent="-285750">
              <a:spcAft>
                <a:spcPts val="1200"/>
              </a:spcAft>
              <a:buClr>
                <a:srgbClr val="B40646"/>
              </a:buClr>
              <a:buSzPct val="82000"/>
              <a:buFont typeface="Wingdings 3" panose="05040102010807070707" pitchFamily="18" charset="2"/>
              <a:buChar char=""/>
            </a:pPr>
            <a:r>
              <a:rPr lang="en-GB">
                <a:latin typeface="+mn-lt"/>
              </a:rPr>
              <a:t>And here</a:t>
            </a:r>
            <a:endParaRPr lang="en-GB" dirty="0">
              <a:latin typeface="+mn-lt"/>
            </a:endParaRPr>
          </a:p>
        </p:txBody>
      </p:sp>
      <p:graphicFrame>
        <p:nvGraphicFramePr>
          <p:cNvPr id="11" name="Table 2">
            <a:extLst>
              <a:ext uri="{FF2B5EF4-FFF2-40B4-BE49-F238E27FC236}">
                <a16:creationId xmlns:a16="http://schemas.microsoft.com/office/drawing/2014/main" id="{280F72B2-0179-4ED4-A982-1EDFD9FE1523}"/>
              </a:ext>
            </a:extLst>
          </p:cNvPr>
          <p:cNvGraphicFramePr>
            <a:graphicFrameLocks/>
          </p:cNvGraphicFramePr>
          <p:nvPr>
            <p:extLst>
              <p:ext uri="{D42A27DB-BD31-4B8C-83A1-F6EECF244321}">
                <p14:modId xmlns:p14="http://schemas.microsoft.com/office/powerpoint/2010/main" val="1328364854"/>
              </p:ext>
            </p:extLst>
          </p:nvPr>
        </p:nvGraphicFramePr>
        <p:xfrm>
          <a:off x="3511294" y="1254703"/>
          <a:ext cx="7863842" cy="4906600"/>
        </p:xfrm>
        <a:graphic>
          <a:graphicData uri="http://schemas.openxmlformats.org/drawingml/2006/table">
            <a:tbl>
              <a:tblPr firstRow="1" bandRow="1">
                <a:tableStyleId>{5C22544A-7EE6-4342-B048-85BDC9FD1C3A}</a:tableStyleId>
              </a:tblPr>
              <a:tblGrid>
                <a:gridCol w="3931921">
                  <a:extLst>
                    <a:ext uri="{9D8B030D-6E8A-4147-A177-3AD203B41FA5}">
                      <a16:colId xmlns:a16="http://schemas.microsoft.com/office/drawing/2014/main" val="3424478898"/>
                    </a:ext>
                  </a:extLst>
                </a:gridCol>
                <a:gridCol w="3931921">
                  <a:extLst>
                    <a:ext uri="{9D8B030D-6E8A-4147-A177-3AD203B41FA5}">
                      <a16:colId xmlns:a16="http://schemas.microsoft.com/office/drawing/2014/main" val="318630293"/>
                    </a:ext>
                  </a:extLst>
                </a:gridCol>
              </a:tblGrid>
              <a:tr h="370840">
                <a:tc>
                  <a:txBody>
                    <a:bodyPr/>
                    <a:lstStyle/>
                    <a:p>
                      <a:pPr>
                        <a:spcBef>
                          <a:spcPts val="400"/>
                        </a:spcBef>
                        <a:spcAft>
                          <a:spcPts val="400"/>
                        </a:spcAft>
                      </a:pPr>
                      <a:r>
                        <a:rPr lang="en-GB" sz="1400" dirty="0">
                          <a:solidFill>
                            <a:schemeClr val="bg1"/>
                          </a:solidFill>
                          <a:latin typeface="+mn-lt"/>
                        </a:rPr>
                        <a:t>Scenario 1</a:t>
                      </a:r>
                    </a:p>
                  </a:txBody>
                  <a:tcPr marL="180000" anchor="ctr">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spcBef>
                          <a:spcPts val="400"/>
                        </a:spcBef>
                        <a:spcAft>
                          <a:spcPts val="400"/>
                        </a:spcAft>
                      </a:pPr>
                      <a:r>
                        <a:rPr lang="en-GB" sz="1400" dirty="0">
                          <a:solidFill>
                            <a:schemeClr val="bg1"/>
                          </a:solidFill>
                          <a:latin typeface="+mn-lt"/>
                        </a:rPr>
                        <a:t>Scenario 2</a:t>
                      </a:r>
                    </a:p>
                  </a:txBody>
                  <a:tcPr marL="180000" anchor="ctr">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48446300"/>
                  </a:ext>
                </a:extLst>
              </a:tr>
              <a:tr h="360000">
                <a:tc gridSpan="2">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1</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381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90064815"/>
                  </a:ext>
                </a:extLst>
              </a:tr>
              <a:tr h="653619">
                <a:tc>
                  <a:txBody>
                    <a:bodyPr/>
                    <a:lstStyle/>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dirty="0">
                          <a:solidFill>
                            <a:schemeClr val="tx1"/>
                          </a:solidFill>
                          <a:latin typeface="+mn-lt"/>
                          <a:ea typeface="+mn-ea"/>
                          <a:cs typeface="+mn-cs"/>
                        </a:rPr>
                        <a:t>xx</a:t>
                      </a: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chemeClr val="accent3"/>
                        </a:buClr>
                        <a:buSzPct val="77000"/>
                        <a:buFont typeface="Wingdings 3" panose="05040102010807070707" pitchFamily="18" charset="2"/>
                        <a:buChar cha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2526093"/>
                  </a:ext>
                </a:extLst>
              </a:tr>
              <a:tr h="370840">
                <a:tc gridSpan="2">
                  <a:txBody>
                    <a:bodyPr/>
                    <a:lstStyle/>
                    <a:p>
                      <a:pPr marL="0" marR="0" lvl="0" indent="0" algn="l" defTabSz="1125444" rtl="0" eaLnBrk="1" fontAlgn="auto" latinLnBrk="0" hangingPunct="1">
                        <a:lnSpc>
                          <a:spcPct val="100000"/>
                        </a:lnSpc>
                        <a:spcBef>
                          <a:spcPts val="84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2</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381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76024775"/>
                  </a:ext>
                </a:extLst>
              </a:tr>
              <a:tr h="370840">
                <a:tc>
                  <a:txBody>
                    <a:bodyPr/>
                    <a:lstStyle/>
                    <a:p>
                      <a:pPr algn="l">
                        <a:spcBef>
                          <a:spcPts val="400"/>
                        </a:spcBef>
                        <a:spcAft>
                          <a:spcPts val="400"/>
                        </a:spcAft>
                        <a:buClr>
                          <a:schemeClr val="accent1"/>
                        </a:buClr>
                      </a:pPr>
                      <a:r>
                        <a:rPr lang="en-GB" sz="1400" dirty="0">
                          <a:solidFill>
                            <a:schemeClr val="tx1"/>
                          </a:solidFill>
                          <a:latin typeface="+mn-lt"/>
                        </a:rPr>
                        <a:t>000 000 000</a:t>
                      </a:r>
                    </a:p>
                    <a:p>
                      <a:pPr algn="l">
                        <a:spcBef>
                          <a:spcPts val="400"/>
                        </a:spcBef>
                        <a:spcAft>
                          <a:spcPts val="400"/>
                        </a:spcAft>
                        <a:buClr>
                          <a:schemeClr val="accent1"/>
                        </a:buClr>
                      </a:pPr>
                      <a:r>
                        <a:rPr lang="en-GB" sz="1400" dirty="0">
                          <a:solidFill>
                            <a:schemeClr val="tx1"/>
                          </a:solidFill>
                          <a:latin typeface="+mn-lt"/>
                        </a:rPr>
                        <a:t>00%</a:t>
                      </a:r>
                    </a:p>
                    <a:p>
                      <a:pPr algn="l">
                        <a:spcBef>
                          <a:spcPts val="400"/>
                        </a:spcBef>
                        <a:spcAft>
                          <a:spcPts val="400"/>
                        </a:spcAft>
                      </a:pPr>
                      <a:endParaRPr lang="en-GB" sz="1400" dirty="0">
                        <a:solidFill>
                          <a:schemeClr val="tx1"/>
                        </a:solidFill>
                        <a:latin typeface="+mn-lt"/>
                      </a:endParaRP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spcBef>
                          <a:spcPts val="400"/>
                        </a:spcBef>
                        <a:spcAft>
                          <a:spcPts val="400"/>
                        </a:spcAft>
                        <a:buClr>
                          <a:schemeClr val="accent1"/>
                        </a:buClr>
                      </a:pPr>
                      <a:r>
                        <a:rPr lang="en-GB" sz="1400">
                          <a:solidFill>
                            <a:schemeClr val="tx1"/>
                          </a:solidFill>
                          <a:latin typeface="+mn-lt"/>
                        </a:rPr>
                        <a:t>000 000 000</a:t>
                      </a:r>
                    </a:p>
                    <a:p>
                      <a:pPr algn="l">
                        <a:spcBef>
                          <a:spcPts val="400"/>
                        </a:spcBef>
                        <a:spcAft>
                          <a:spcPts val="400"/>
                        </a:spcAft>
                        <a:buClr>
                          <a:schemeClr val="accent1"/>
                        </a:buClr>
                      </a:pPr>
                      <a:r>
                        <a:rPr lang="en-GB" sz="1400">
                          <a:solidFill>
                            <a:schemeClr val="tx1"/>
                          </a:solidFill>
                          <a:latin typeface="+mn-lt"/>
                        </a:rPr>
                        <a:t>00%</a:t>
                      </a:r>
                    </a:p>
                    <a:p>
                      <a:pPr algn="l">
                        <a:spcBef>
                          <a:spcPts val="400"/>
                        </a:spcBef>
                        <a:spcAft>
                          <a:spcPts val="400"/>
                        </a:spcAft>
                      </a:pPr>
                      <a:endParaRPr lang="en-GB" sz="1400" dirty="0">
                        <a:solidFill>
                          <a:schemeClr val="tx1"/>
                        </a:solidFill>
                        <a:latin typeface="+mn-lt"/>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23650879"/>
                  </a:ext>
                </a:extLst>
              </a:tr>
              <a:tr h="370840">
                <a:tc gridSpan="2">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3</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381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08668566"/>
                  </a:ext>
                </a:extLst>
              </a:tr>
              <a:tr h="370840">
                <a:tc>
                  <a:txBody>
                    <a:bodyPr/>
                    <a:lstStyle/>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dirty="0" err="1">
                          <a:solidFill>
                            <a:schemeClr val="tx1"/>
                          </a:solidFill>
                          <a:latin typeface="+mn-lt"/>
                          <a:ea typeface="+mn-ea"/>
                          <a:cs typeface="+mn-cs"/>
                        </a:rPr>
                        <a:t>Xx</a:t>
                      </a: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27455064"/>
                  </a:ext>
                </a:extLst>
              </a:tr>
            </a:tbl>
          </a:graphicData>
        </a:graphic>
      </p:graphicFrame>
    </p:spTree>
    <p:extLst>
      <p:ext uri="{BB962C8B-B14F-4D97-AF65-F5344CB8AC3E}">
        <p14:creationId xmlns:p14="http://schemas.microsoft.com/office/powerpoint/2010/main" val="33637503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7" name="Objet 6"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3E824C-6FC2-4961-9E3D-D81AF3F500C6}"/>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2B9C8C9B-46B5-470A-9846-F5A6B4454498}"/>
              </a:ext>
            </a:extLst>
          </p:cNvPr>
          <p:cNvSpPr>
            <a:spLocks noGrp="1"/>
          </p:cNvSpPr>
          <p:nvPr>
            <p:ph type="title"/>
          </p:nvPr>
        </p:nvSpPr>
        <p:spPr/>
        <p:txBody>
          <a:bodyPr/>
          <a:lstStyle/>
          <a:p>
            <a:r>
              <a:rPr lang="en-GB"/>
              <a:t>Slide message – three scenarios</a:t>
            </a:r>
            <a:endParaRPr lang="en-GB" dirty="0"/>
          </a:p>
        </p:txBody>
      </p:sp>
      <p:sp>
        <p:nvSpPr>
          <p:cNvPr id="5" name="Content Placeholder 4">
            <a:extLst>
              <a:ext uri="{FF2B5EF4-FFF2-40B4-BE49-F238E27FC236}">
                <a16:creationId xmlns:a16="http://schemas.microsoft.com/office/drawing/2014/main" id="{E9B587C9-6BAF-4B4B-9A42-1A43E0C93EA1}"/>
              </a:ext>
            </a:extLst>
          </p:cNvPr>
          <p:cNvSpPr>
            <a:spLocks noGrp="1"/>
          </p:cNvSpPr>
          <p:nvPr>
            <p:ph idx="1"/>
          </p:nvPr>
        </p:nvSpPr>
        <p:spPr>
          <a:xfrm>
            <a:off x="432000" y="1254703"/>
            <a:ext cx="2960424" cy="1386772"/>
          </a:xfrm>
        </p:spPr>
        <p:txBody>
          <a:bodyPr/>
          <a:lstStyle/>
          <a:p>
            <a:pPr marL="342900" indent="-342900">
              <a:spcAft>
                <a:spcPts val="1200"/>
              </a:spcAft>
              <a:buClr>
                <a:srgbClr val="B40646"/>
              </a:buClr>
              <a:buSzPct val="82000"/>
              <a:buFont typeface="Wingdings 3" panose="05040102010807070707" pitchFamily="18" charset="2"/>
              <a:buChar char=""/>
            </a:pPr>
            <a:r>
              <a:rPr lang="en-GB">
                <a:latin typeface="+mn-lt"/>
              </a:rPr>
              <a:t>Text can go here</a:t>
            </a:r>
          </a:p>
          <a:p>
            <a:pPr marL="342900" indent="-342900">
              <a:spcAft>
                <a:spcPts val="1200"/>
              </a:spcAft>
              <a:buClr>
                <a:srgbClr val="B40646"/>
              </a:buClr>
              <a:buSzPct val="82000"/>
              <a:buFont typeface="Wingdings 3" panose="05040102010807070707" pitchFamily="18" charset="2"/>
              <a:buChar char=""/>
            </a:pPr>
            <a:r>
              <a:rPr lang="en-GB">
                <a:latin typeface="+mn-lt"/>
              </a:rPr>
              <a:t>And here</a:t>
            </a:r>
          </a:p>
          <a:p>
            <a:pPr marL="342900" indent="-342900">
              <a:spcAft>
                <a:spcPts val="1200"/>
              </a:spcAft>
              <a:buClr>
                <a:srgbClr val="B40646"/>
              </a:buClr>
              <a:buSzPct val="82000"/>
              <a:buFont typeface="Wingdings 3" panose="05040102010807070707" pitchFamily="18" charset="2"/>
              <a:buChar char=""/>
            </a:pPr>
            <a:r>
              <a:rPr lang="en-GB">
                <a:latin typeface="+mn-lt"/>
              </a:rPr>
              <a:t>And here</a:t>
            </a:r>
            <a:endParaRPr lang="en-GB" dirty="0">
              <a:latin typeface="+mn-lt"/>
            </a:endParaRPr>
          </a:p>
        </p:txBody>
      </p:sp>
      <p:graphicFrame>
        <p:nvGraphicFramePr>
          <p:cNvPr id="11" name="Table 2">
            <a:extLst>
              <a:ext uri="{FF2B5EF4-FFF2-40B4-BE49-F238E27FC236}">
                <a16:creationId xmlns:a16="http://schemas.microsoft.com/office/drawing/2014/main" id="{280F72B2-0179-4ED4-A982-1EDFD9FE1523}"/>
              </a:ext>
            </a:extLst>
          </p:cNvPr>
          <p:cNvGraphicFramePr>
            <a:graphicFrameLocks/>
          </p:cNvGraphicFramePr>
          <p:nvPr>
            <p:extLst>
              <p:ext uri="{D42A27DB-BD31-4B8C-83A1-F6EECF244321}">
                <p14:modId xmlns:p14="http://schemas.microsoft.com/office/powerpoint/2010/main" val="1257489347"/>
              </p:ext>
            </p:extLst>
          </p:nvPr>
        </p:nvGraphicFramePr>
        <p:xfrm>
          <a:off x="3511295" y="1254703"/>
          <a:ext cx="7872984" cy="4906600"/>
        </p:xfrm>
        <a:graphic>
          <a:graphicData uri="http://schemas.openxmlformats.org/drawingml/2006/table">
            <a:tbl>
              <a:tblPr firstRow="1" bandRow="1">
                <a:tableStyleId>{5C22544A-7EE6-4342-B048-85BDC9FD1C3A}</a:tableStyleId>
              </a:tblPr>
              <a:tblGrid>
                <a:gridCol w="2624328">
                  <a:extLst>
                    <a:ext uri="{9D8B030D-6E8A-4147-A177-3AD203B41FA5}">
                      <a16:colId xmlns:a16="http://schemas.microsoft.com/office/drawing/2014/main" val="3424478898"/>
                    </a:ext>
                  </a:extLst>
                </a:gridCol>
                <a:gridCol w="2624328">
                  <a:extLst>
                    <a:ext uri="{9D8B030D-6E8A-4147-A177-3AD203B41FA5}">
                      <a16:colId xmlns:a16="http://schemas.microsoft.com/office/drawing/2014/main" val="2218678397"/>
                    </a:ext>
                  </a:extLst>
                </a:gridCol>
                <a:gridCol w="2624328">
                  <a:extLst>
                    <a:ext uri="{9D8B030D-6E8A-4147-A177-3AD203B41FA5}">
                      <a16:colId xmlns:a16="http://schemas.microsoft.com/office/drawing/2014/main" val="318630293"/>
                    </a:ext>
                  </a:extLst>
                </a:gridCol>
              </a:tblGrid>
              <a:tr h="370840">
                <a:tc>
                  <a:txBody>
                    <a:bodyPr/>
                    <a:lstStyle/>
                    <a:p>
                      <a:pPr>
                        <a:spcBef>
                          <a:spcPts val="400"/>
                        </a:spcBef>
                        <a:spcAft>
                          <a:spcPts val="400"/>
                        </a:spcAft>
                      </a:pPr>
                      <a:r>
                        <a:rPr lang="en-GB" sz="1400">
                          <a:solidFill>
                            <a:schemeClr val="bg1"/>
                          </a:solidFill>
                          <a:latin typeface="+mn-lt"/>
                        </a:rPr>
                        <a:t>Scenario 1</a:t>
                      </a:r>
                      <a:endParaRPr lang="en-GB" sz="1400" dirty="0">
                        <a:solidFill>
                          <a:schemeClr val="bg1"/>
                        </a:solidFill>
                        <a:latin typeface="+mn-lt"/>
                      </a:endParaRPr>
                    </a:p>
                  </a:txBody>
                  <a:tcPr marL="180000" anchor="ctr">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spcBef>
                          <a:spcPts val="400"/>
                        </a:spcBef>
                        <a:spcAft>
                          <a:spcPts val="400"/>
                        </a:spcAft>
                      </a:pPr>
                      <a:r>
                        <a:rPr lang="en-GB" sz="1400">
                          <a:solidFill>
                            <a:schemeClr val="bg1"/>
                          </a:solidFill>
                          <a:latin typeface="+mn-lt"/>
                        </a:rPr>
                        <a:t>Scenario 2</a:t>
                      </a:r>
                      <a:endParaRPr lang="en-GB" sz="1400" dirty="0">
                        <a:solidFill>
                          <a:schemeClr val="bg1"/>
                        </a:solidFill>
                        <a:latin typeface="+mn-lt"/>
                      </a:endParaRPr>
                    </a:p>
                  </a:txBody>
                  <a:tcPr marL="180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spcBef>
                          <a:spcPts val="400"/>
                        </a:spcBef>
                        <a:spcAft>
                          <a:spcPts val="400"/>
                        </a:spcAft>
                      </a:pPr>
                      <a:r>
                        <a:rPr lang="en-GB" sz="1400">
                          <a:solidFill>
                            <a:schemeClr val="bg1"/>
                          </a:solidFill>
                          <a:latin typeface="+mn-lt"/>
                        </a:rPr>
                        <a:t>Scenario 3</a:t>
                      </a:r>
                      <a:endParaRPr lang="en-GB" sz="1400" dirty="0">
                        <a:solidFill>
                          <a:schemeClr val="bg1"/>
                        </a:solidFill>
                        <a:latin typeface="+mn-lt"/>
                      </a:endParaRPr>
                    </a:p>
                  </a:txBody>
                  <a:tcPr marL="180000" anchor="ctr">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48446300"/>
                  </a:ext>
                </a:extLst>
              </a:tr>
              <a:tr h="360000">
                <a:tc gridSpan="3">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1</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90064815"/>
                  </a:ext>
                </a:extLst>
              </a:tr>
              <a:tr h="653619">
                <a:tc>
                  <a:txBody>
                    <a:bodyPr/>
                    <a:lstStyle/>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rtl="0" eaLnBrk="0" fontAlgn="base"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2526093"/>
                  </a:ext>
                </a:extLst>
              </a:tr>
              <a:tr h="370840">
                <a:tc gridSpan="3">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2</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76024775"/>
                  </a:ext>
                </a:extLst>
              </a:tr>
              <a:tr h="370840">
                <a:tc>
                  <a:txBody>
                    <a:bodyPr/>
                    <a:lstStyle/>
                    <a:p>
                      <a:pPr algn="l">
                        <a:spcBef>
                          <a:spcPts val="400"/>
                        </a:spcBef>
                        <a:spcAft>
                          <a:spcPts val="400"/>
                        </a:spcAft>
                        <a:buClr>
                          <a:schemeClr val="accent1"/>
                        </a:buClr>
                      </a:pPr>
                      <a:r>
                        <a:rPr lang="en-GB" sz="1400">
                          <a:solidFill>
                            <a:schemeClr val="tx1"/>
                          </a:solidFill>
                          <a:latin typeface="+mn-lt"/>
                        </a:rPr>
                        <a:t>000 000 000</a:t>
                      </a:r>
                    </a:p>
                    <a:p>
                      <a:pPr algn="l">
                        <a:spcBef>
                          <a:spcPts val="400"/>
                        </a:spcBef>
                        <a:spcAft>
                          <a:spcPts val="400"/>
                        </a:spcAft>
                        <a:buClr>
                          <a:schemeClr val="accent1"/>
                        </a:buClr>
                      </a:pPr>
                      <a:r>
                        <a:rPr lang="en-GB" sz="1400">
                          <a:solidFill>
                            <a:schemeClr val="tx1"/>
                          </a:solidFill>
                          <a:latin typeface="+mn-lt"/>
                        </a:rPr>
                        <a:t>00%</a:t>
                      </a:r>
                    </a:p>
                    <a:p>
                      <a:pPr algn="l">
                        <a:spcBef>
                          <a:spcPts val="400"/>
                        </a:spcBef>
                        <a:spcAft>
                          <a:spcPts val="400"/>
                        </a:spcAft>
                      </a:pPr>
                      <a:endParaRPr lang="en-GB" sz="1400" dirty="0">
                        <a:solidFill>
                          <a:schemeClr val="tx1"/>
                        </a:solidFill>
                        <a:latin typeface="+mn-lt"/>
                      </a:endParaRP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spcBef>
                          <a:spcPts val="400"/>
                        </a:spcBef>
                        <a:spcAft>
                          <a:spcPts val="400"/>
                        </a:spcAft>
                        <a:buClr>
                          <a:schemeClr val="accent1"/>
                        </a:buClr>
                      </a:pPr>
                      <a:r>
                        <a:rPr lang="en-GB" sz="1400">
                          <a:solidFill>
                            <a:schemeClr val="tx1"/>
                          </a:solidFill>
                          <a:latin typeface="+mn-lt"/>
                        </a:rPr>
                        <a:t>000 000 000</a:t>
                      </a:r>
                    </a:p>
                    <a:p>
                      <a:pPr algn="l">
                        <a:spcBef>
                          <a:spcPts val="400"/>
                        </a:spcBef>
                        <a:spcAft>
                          <a:spcPts val="400"/>
                        </a:spcAft>
                        <a:buClr>
                          <a:schemeClr val="accent1"/>
                        </a:buClr>
                      </a:pPr>
                      <a:r>
                        <a:rPr lang="en-GB" sz="1400">
                          <a:solidFill>
                            <a:schemeClr val="tx1"/>
                          </a:solidFill>
                          <a:latin typeface="+mn-lt"/>
                        </a:rPr>
                        <a:t>00%</a:t>
                      </a:r>
                    </a:p>
                    <a:p>
                      <a:pPr algn="l">
                        <a:spcBef>
                          <a:spcPts val="400"/>
                        </a:spcBef>
                        <a:spcAft>
                          <a:spcPts val="400"/>
                        </a:spcAft>
                      </a:pPr>
                      <a:endParaRPr lang="en-GB" sz="1400" dirty="0">
                        <a:solidFill>
                          <a:schemeClr val="tx1"/>
                        </a:solidFill>
                        <a:latin typeface="+mn-lt"/>
                      </a:endParaRPr>
                    </a:p>
                  </a:txBody>
                  <a:tcPr marL="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spcBef>
                          <a:spcPts val="400"/>
                        </a:spcBef>
                        <a:spcAft>
                          <a:spcPts val="400"/>
                        </a:spcAft>
                        <a:buClr>
                          <a:schemeClr val="accent1"/>
                        </a:buClr>
                      </a:pPr>
                      <a:r>
                        <a:rPr lang="en-GB" sz="1400">
                          <a:solidFill>
                            <a:schemeClr val="tx1"/>
                          </a:solidFill>
                          <a:latin typeface="+mn-lt"/>
                        </a:rPr>
                        <a:t>000 000 000</a:t>
                      </a:r>
                    </a:p>
                    <a:p>
                      <a:pPr algn="l">
                        <a:spcBef>
                          <a:spcPts val="400"/>
                        </a:spcBef>
                        <a:spcAft>
                          <a:spcPts val="400"/>
                        </a:spcAft>
                        <a:buClr>
                          <a:schemeClr val="accent1"/>
                        </a:buClr>
                      </a:pPr>
                      <a:r>
                        <a:rPr lang="en-GB" sz="1400">
                          <a:solidFill>
                            <a:schemeClr val="tx1"/>
                          </a:solidFill>
                          <a:latin typeface="+mn-lt"/>
                        </a:rPr>
                        <a:t>00%</a:t>
                      </a:r>
                    </a:p>
                    <a:p>
                      <a:pPr algn="l">
                        <a:spcBef>
                          <a:spcPts val="400"/>
                        </a:spcBef>
                        <a:spcAft>
                          <a:spcPts val="400"/>
                        </a:spcAft>
                      </a:pPr>
                      <a:endParaRPr lang="en-GB" sz="1400" dirty="0">
                        <a:solidFill>
                          <a:schemeClr val="tx1"/>
                        </a:solidFill>
                        <a:latin typeface="+mn-lt"/>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23650879"/>
                  </a:ext>
                </a:extLst>
              </a:tr>
              <a:tr h="370840">
                <a:tc gridSpan="3">
                  <a:txBody>
                    <a:bodyPr/>
                    <a:lstStyle/>
                    <a:p>
                      <a:pPr marL="0" marR="0" lvl="0" indent="0" algn="l" defTabSz="1125444" rtl="0" eaLnBrk="1" fontAlgn="auto" latinLnBrk="0" hangingPunct="1">
                        <a:lnSpc>
                          <a:spcPct val="100000"/>
                        </a:lnSpc>
                        <a:spcBef>
                          <a:spcPts val="400"/>
                        </a:spcBef>
                        <a:spcAft>
                          <a:spcPts val="400"/>
                        </a:spcAft>
                        <a:buClrTx/>
                        <a:buSzTx/>
                        <a:buFontTx/>
                        <a:buNone/>
                        <a:tabLst/>
                        <a:defRPr/>
                      </a:pPr>
                      <a:r>
                        <a:rPr lang="en-GB" sz="1400" b="1" dirty="0">
                          <a:solidFill>
                            <a:schemeClr val="bg1"/>
                          </a:solidFill>
                          <a:latin typeface="+mn-lt"/>
                        </a:rPr>
                        <a:t>Nom </a:t>
                      </a:r>
                      <a:r>
                        <a:rPr lang="en-GB" sz="1400" b="1" dirty="0" err="1">
                          <a:solidFill>
                            <a:schemeClr val="bg1"/>
                          </a:solidFill>
                          <a:latin typeface="+mn-lt"/>
                        </a:rPr>
                        <a:t>Caractéristique</a:t>
                      </a:r>
                      <a:r>
                        <a:rPr lang="en-GB" sz="1400" b="1" dirty="0">
                          <a:solidFill>
                            <a:schemeClr val="bg1"/>
                          </a:solidFill>
                          <a:latin typeface="+mn-lt"/>
                        </a:rPr>
                        <a:t> 3</a:t>
                      </a:r>
                    </a:p>
                  </a:txBody>
                  <a:tcPr marL="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GB" sz="1400" dirty="0"/>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08668566"/>
                  </a:ext>
                </a:extLst>
              </a:tr>
              <a:tr h="370840">
                <a:tc>
                  <a:txBody>
                    <a:bodyPr/>
                    <a:lstStyle/>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txBody>
                  <a:tcPr marL="180000">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r>
                        <a:rPr lang="en-GB" sz="1400" kern="1200">
                          <a:solidFill>
                            <a:schemeClr val="tx1"/>
                          </a:solidFill>
                          <a:latin typeface="+mn-lt"/>
                          <a:ea typeface="+mn-ea"/>
                          <a:cs typeface="+mn-cs"/>
                        </a:rPr>
                        <a:t>Xx</a:t>
                      </a:r>
                    </a:p>
                    <a:p>
                      <a:pPr marL="180000" indent="-180000" algn="l" defTabSz="1125444" rtl="0" eaLnBrk="0" fontAlgn="base" latinLnBrk="0" hangingPunct="0">
                        <a:spcBef>
                          <a:spcPts val="840"/>
                        </a:spcBef>
                        <a:spcAft>
                          <a:spcPts val="0"/>
                        </a:spcAft>
                        <a:buClr>
                          <a:srgbClr val="C2C2C2"/>
                        </a:buClr>
                        <a:buSzPct val="77000"/>
                        <a:buFont typeface="Wingdings 3" panose="05040102010807070707" pitchFamily="18" charset="2"/>
                        <a:buChar char=""/>
                      </a:pPr>
                      <a:endParaRPr lang="en-GB" sz="1400" kern="1200">
                        <a:solidFill>
                          <a:schemeClr val="tx1"/>
                        </a:solidFill>
                        <a:latin typeface="+mn-lt"/>
                        <a:ea typeface="+mn-ea"/>
                        <a:cs typeface="+mn-cs"/>
                      </a:endParaRPr>
                    </a:p>
                    <a:p>
                      <a:pPr marL="180000" indent="-180000" algn="l" defTabSz="1125444" rtl="0" eaLnBrk="0" fontAlgn="base" latinLnBrk="0" hangingPunct="0">
                        <a:spcBef>
                          <a:spcPts val="840"/>
                        </a:spcBef>
                        <a:spcAft>
                          <a:spcPts val="0"/>
                        </a:spcAft>
                        <a:buClr>
                          <a:schemeClr val="accent3"/>
                        </a:buClr>
                        <a:buSzPct val="77000"/>
                        <a:buFont typeface="Wingdings 3" panose="05040102010807070707" pitchFamily="18" charset="2"/>
                        <a:buChar char=""/>
                      </a:pPr>
                      <a:endParaRPr lang="en-GB" sz="1400" kern="1200" dirty="0">
                        <a:solidFill>
                          <a:schemeClr val="tx1"/>
                        </a:solidFill>
                        <a:latin typeface="+mn-lt"/>
                        <a:ea typeface="+mn-ea"/>
                        <a:cs typeface="+mn-cs"/>
                      </a:endParaRPr>
                    </a:p>
                  </a:txBody>
                  <a:tcPr marL="180000">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27455064"/>
                  </a:ext>
                </a:extLst>
              </a:tr>
            </a:tbl>
          </a:graphicData>
        </a:graphic>
      </p:graphicFrame>
    </p:spTree>
    <p:extLst>
      <p:ext uri="{BB962C8B-B14F-4D97-AF65-F5344CB8AC3E}">
        <p14:creationId xmlns:p14="http://schemas.microsoft.com/office/powerpoint/2010/main" val="10951616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291B938A-F8DC-48CE-A2B3-657BB5B0E7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6" progId="TCLayout.ActiveDocument.1">
                  <p:embed/>
                </p:oleObj>
              </mc:Choice>
              <mc:Fallback>
                <p:oleObj name="Diapositive think-cell" r:id="rId5" imgW="395" imgH="396" progId="TCLayout.ActiveDocument.1">
                  <p:embed/>
                  <p:pic>
                    <p:nvPicPr>
                      <p:cNvPr id="2" name="Objet 1" hidden="1">
                        <a:extLst>
                          <a:ext uri="{FF2B5EF4-FFF2-40B4-BE49-F238E27FC236}">
                            <a16:creationId xmlns:a16="http://schemas.microsoft.com/office/drawing/2014/main" id="{291B938A-F8DC-48CE-A2B3-657BB5B0E7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6F44D-B58A-41F9-992E-AC55D58D78B8}"/>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itle 9">
            <a:extLst>
              <a:ext uri="{FF2B5EF4-FFF2-40B4-BE49-F238E27FC236}">
                <a16:creationId xmlns:a16="http://schemas.microsoft.com/office/drawing/2014/main" id="{16C4136D-DCE0-4DD3-936C-4AB3AF9C0ED2}"/>
              </a:ext>
            </a:extLst>
          </p:cNvPr>
          <p:cNvSpPr>
            <a:spLocks noGrp="1"/>
          </p:cNvSpPr>
          <p:nvPr>
            <p:ph type="title"/>
          </p:nvPr>
        </p:nvSpPr>
        <p:spPr/>
        <p:txBody>
          <a:bodyPr/>
          <a:lstStyle/>
          <a:p>
            <a:r>
              <a:rPr lang="en-GB"/>
              <a:t>Slide message – three ideas</a:t>
            </a:r>
            <a:endParaRPr lang="en-GB" dirty="0"/>
          </a:p>
        </p:txBody>
      </p:sp>
      <p:graphicFrame>
        <p:nvGraphicFramePr>
          <p:cNvPr id="12" name="Content Placeholder 3">
            <a:extLst>
              <a:ext uri="{FF2B5EF4-FFF2-40B4-BE49-F238E27FC236}">
                <a16:creationId xmlns:a16="http://schemas.microsoft.com/office/drawing/2014/main" id="{C88C096E-A14C-45F9-B9BA-18DC3CE74904}"/>
              </a:ext>
            </a:extLst>
          </p:cNvPr>
          <p:cNvGraphicFramePr>
            <a:graphicFrameLocks/>
          </p:cNvGraphicFramePr>
          <p:nvPr>
            <p:extLst>
              <p:ext uri="{D42A27DB-BD31-4B8C-83A1-F6EECF244321}">
                <p14:modId xmlns:p14="http://schemas.microsoft.com/office/powerpoint/2010/main" val="488687174"/>
              </p:ext>
            </p:extLst>
          </p:nvPr>
        </p:nvGraphicFramePr>
        <p:xfrm>
          <a:off x="715265" y="1162050"/>
          <a:ext cx="10943336" cy="4426551"/>
        </p:xfrm>
        <a:graphic>
          <a:graphicData uri="http://schemas.openxmlformats.org/drawingml/2006/table">
            <a:tbl>
              <a:tblPr firstRow="1" bandRow="1">
                <a:tableStyleId>{5C22544A-7EE6-4342-B048-85BDC9FD1C3A}</a:tableStyleId>
              </a:tblPr>
              <a:tblGrid>
                <a:gridCol w="354583">
                  <a:extLst>
                    <a:ext uri="{9D8B030D-6E8A-4147-A177-3AD203B41FA5}">
                      <a16:colId xmlns:a16="http://schemas.microsoft.com/office/drawing/2014/main" val="2943276417"/>
                    </a:ext>
                  </a:extLst>
                </a:gridCol>
                <a:gridCol w="2607286">
                  <a:extLst>
                    <a:ext uri="{9D8B030D-6E8A-4147-A177-3AD203B41FA5}">
                      <a16:colId xmlns:a16="http://schemas.microsoft.com/office/drawing/2014/main" val="3831917915"/>
                    </a:ext>
                  </a:extLst>
                </a:gridCol>
                <a:gridCol w="2660489">
                  <a:extLst>
                    <a:ext uri="{9D8B030D-6E8A-4147-A177-3AD203B41FA5}">
                      <a16:colId xmlns:a16="http://schemas.microsoft.com/office/drawing/2014/main" val="2808815907"/>
                    </a:ext>
                  </a:extLst>
                </a:gridCol>
                <a:gridCol w="2660489">
                  <a:extLst>
                    <a:ext uri="{9D8B030D-6E8A-4147-A177-3AD203B41FA5}">
                      <a16:colId xmlns:a16="http://schemas.microsoft.com/office/drawing/2014/main" val="2656764217"/>
                    </a:ext>
                  </a:extLst>
                </a:gridCol>
                <a:gridCol w="2660489">
                  <a:extLst>
                    <a:ext uri="{9D8B030D-6E8A-4147-A177-3AD203B41FA5}">
                      <a16:colId xmlns:a16="http://schemas.microsoft.com/office/drawing/2014/main" val="329372221"/>
                    </a:ext>
                  </a:extLst>
                </a:gridCol>
              </a:tblGrid>
              <a:tr h="458310">
                <a:tc gridSpan="2">
                  <a:txBody>
                    <a:bodyPr/>
                    <a:lstStyle/>
                    <a:p>
                      <a:pPr>
                        <a:spcBef>
                          <a:spcPts val="400"/>
                        </a:spcBef>
                        <a:spcAft>
                          <a:spcPts val="400"/>
                        </a:spcAft>
                      </a:pPr>
                      <a:r>
                        <a:rPr lang="en-GB" sz="1600" b="0" dirty="0">
                          <a:solidFill>
                            <a:schemeClr val="tx1"/>
                          </a:solidFill>
                          <a:latin typeface="+mn-lt"/>
                        </a:rPr>
                        <a:t>AAA</a:t>
                      </a:r>
                    </a:p>
                  </a:txBody>
                  <a:tcPr marL="76373" marR="76373" marT="72000" marB="72000">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noFill/>
                  </a:tcPr>
                </a:tc>
                <a:tc hMerge="1">
                  <a:txBody>
                    <a:bodyPr/>
                    <a:lstStyle/>
                    <a:p>
                      <a:endParaRPr lang="en-GB" sz="1600" b="0">
                        <a:solidFill>
                          <a:schemeClr val="tx1"/>
                        </a:solidFill>
                      </a:endParaRPr>
                    </a:p>
                  </a:txBody>
                  <a:tcPr>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2"/>
                    </a:solidFill>
                  </a:tcPr>
                </a:tc>
                <a:tc>
                  <a:txBody>
                    <a:bodyPr/>
                    <a:lstStyle/>
                    <a:p>
                      <a:pPr>
                        <a:spcBef>
                          <a:spcPts val="400"/>
                        </a:spcBef>
                        <a:spcAft>
                          <a:spcPts val="400"/>
                        </a:spcAft>
                      </a:pPr>
                      <a:r>
                        <a:rPr lang="en-GB" sz="1600" b="0">
                          <a:solidFill>
                            <a:schemeClr val="tx1"/>
                          </a:solidFill>
                          <a:latin typeface="+mn-lt"/>
                        </a:rPr>
                        <a:t>BBB</a:t>
                      </a:r>
                      <a:endParaRPr lang="en-GB" sz="1600" b="0" dirty="0">
                        <a:solidFill>
                          <a:schemeClr val="tx1"/>
                        </a:solidFill>
                        <a:latin typeface="+mn-lt"/>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noFill/>
                  </a:tcPr>
                </a:tc>
                <a:tc>
                  <a:txBody>
                    <a:bodyPr/>
                    <a:lstStyle/>
                    <a:p>
                      <a:pPr>
                        <a:spcBef>
                          <a:spcPts val="400"/>
                        </a:spcBef>
                        <a:spcAft>
                          <a:spcPts val="400"/>
                        </a:spcAft>
                      </a:pPr>
                      <a:r>
                        <a:rPr lang="en-GB" sz="1600" b="0">
                          <a:solidFill>
                            <a:schemeClr val="tx1"/>
                          </a:solidFill>
                          <a:latin typeface="+mn-lt"/>
                        </a:rPr>
                        <a:t>CCC</a:t>
                      </a:r>
                      <a:endParaRPr lang="en-GB" sz="1600" b="0" dirty="0">
                        <a:solidFill>
                          <a:schemeClr val="tx1"/>
                        </a:solidFill>
                        <a:latin typeface="+mn-lt"/>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noFill/>
                  </a:tcPr>
                </a:tc>
                <a:tc>
                  <a:txBody>
                    <a:bodyPr/>
                    <a:lstStyle/>
                    <a:p>
                      <a:pPr>
                        <a:spcBef>
                          <a:spcPts val="400"/>
                        </a:spcBef>
                        <a:spcAft>
                          <a:spcPts val="400"/>
                        </a:spcAft>
                      </a:pPr>
                      <a:r>
                        <a:rPr lang="en-GB" sz="1600" b="0">
                          <a:solidFill>
                            <a:schemeClr val="tx1"/>
                          </a:solidFill>
                          <a:latin typeface="+mn-lt"/>
                        </a:rPr>
                        <a:t>DDD</a:t>
                      </a:r>
                      <a:endParaRPr lang="en-GB" sz="1600" b="0" dirty="0">
                        <a:solidFill>
                          <a:schemeClr val="tx1"/>
                        </a:solidFill>
                        <a:latin typeface="+mn-lt"/>
                      </a:endParaRPr>
                    </a:p>
                  </a:txBody>
                  <a:tcPr marL="76373" marR="76373" marT="72000" marB="72000">
                    <a:lnL w="57150" cap="flat" cmpd="sng" algn="ctr">
                      <a:solidFill>
                        <a:schemeClr val="bg1"/>
                      </a:solidFill>
                      <a:prstDash val="solid"/>
                      <a:round/>
                      <a:headEnd type="none" w="med" len="med"/>
                      <a:tailEnd type="none" w="med" len="med"/>
                    </a:lnL>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19988566"/>
                  </a:ext>
                </a:extLst>
              </a:tr>
              <a:tr h="1322747">
                <a:tc>
                  <a:txBody>
                    <a:bodyPr/>
                    <a:lstStyle/>
                    <a:p>
                      <a:pPr algn="ctr">
                        <a:spcBef>
                          <a:spcPts val="400"/>
                        </a:spcBef>
                        <a:spcAft>
                          <a:spcPts val="400"/>
                        </a:spcAft>
                      </a:pPr>
                      <a:r>
                        <a:rPr lang="en-GB" sz="1600" b="0">
                          <a:solidFill>
                            <a:schemeClr val="accent2"/>
                          </a:solidFill>
                          <a:latin typeface="+mn-lt"/>
                        </a:rPr>
                        <a:t>1</a:t>
                      </a:r>
                      <a:endParaRPr lang="en-GB" sz="1600" b="0" dirty="0">
                        <a:solidFill>
                          <a:schemeClr val="accent2"/>
                        </a:solidFill>
                        <a:latin typeface="+mn-lt"/>
                      </a:endParaRPr>
                    </a:p>
                  </a:txBody>
                  <a:tcPr marL="76373" marR="76373" marT="72000" marB="72000">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a:spcBef>
                          <a:spcPts val="400"/>
                        </a:spcBef>
                        <a:spcAft>
                          <a:spcPts val="400"/>
                        </a:spcAft>
                      </a:pPr>
                      <a:r>
                        <a:rPr lang="en-GB" sz="1600" b="0">
                          <a:solidFill>
                            <a:schemeClr val="bg1"/>
                          </a:solidFill>
                          <a:latin typeface="+mn-lt"/>
                        </a:rPr>
                        <a:t>Xx   </a:t>
                      </a:r>
                      <a:br>
                        <a:rPr lang="en-GB" sz="1600" b="0">
                          <a:solidFill>
                            <a:schemeClr val="bg1"/>
                          </a:solidFill>
                          <a:latin typeface="+mn-lt"/>
                        </a:rPr>
                      </a:br>
                      <a:br>
                        <a:rPr lang="en-GB" sz="1600" b="0">
                          <a:solidFill>
                            <a:schemeClr val="bg1"/>
                          </a:solidFill>
                          <a:latin typeface="+mn-lt"/>
                        </a:rPr>
                      </a:br>
                      <a:br>
                        <a:rPr lang="en-GB" sz="1600" b="0">
                          <a:solidFill>
                            <a:schemeClr val="bg1"/>
                          </a:solidFill>
                          <a:latin typeface="+mn-lt"/>
                        </a:rPr>
                      </a:br>
                      <a:endParaRPr lang="en-GB" sz="1600" b="0" dirty="0">
                        <a:solidFill>
                          <a:schemeClr val="bg1"/>
                        </a:solidFill>
                        <a:latin typeface="+mn-lt"/>
                      </a:endParaRPr>
                    </a:p>
                  </a:txBody>
                  <a:tcPr marL="76373" marR="76373" marT="72000" marB="72000">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solidFill>
                  </a:tcPr>
                </a:tc>
                <a:tc>
                  <a:txBody>
                    <a:bodyPr/>
                    <a:lstStyle/>
                    <a:p>
                      <a:pPr marL="180000" indent="-180000">
                        <a:spcBef>
                          <a:spcPts val="840"/>
                        </a:spcBef>
                        <a:spcAft>
                          <a:spcPts val="0"/>
                        </a:spcAft>
                        <a:buClr>
                          <a:srgbClr val="C2C2C2"/>
                        </a:buClr>
                        <a:buSzPct val="77000"/>
                        <a:buFont typeface="Wingdings 3" panose="05040102010807070707" pitchFamily="18" charset="2"/>
                        <a:buChar char=""/>
                      </a:pPr>
                      <a:r>
                        <a:rPr lang="en-GB" sz="1600">
                          <a:solidFill>
                            <a:schemeClr val="tx1"/>
                          </a:solidFill>
                          <a:latin typeface="+mn-lt"/>
                        </a:rPr>
                        <a:t>xx</a:t>
                      </a:r>
                      <a:endParaRPr lang="en-GB" sz="1600" dirty="0">
                        <a:solidFill>
                          <a:schemeClr val="tx1"/>
                        </a:solidFill>
                        <a:latin typeface="+mn-lt"/>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15901893"/>
                  </a:ext>
                </a:extLst>
              </a:tr>
              <a:tr h="1322747">
                <a:tc>
                  <a:txBody>
                    <a:bodyPr/>
                    <a:lstStyle/>
                    <a:p>
                      <a:pPr algn="ctr">
                        <a:spcBef>
                          <a:spcPts val="400"/>
                        </a:spcBef>
                        <a:spcAft>
                          <a:spcPts val="400"/>
                        </a:spcAft>
                      </a:pPr>
                      <a:r>
                        <a:rPr lang="en-GB" sz="1600" b="0">
                          <a:solidFill>
                            <a:schemeClr val="accent2"/>
                          </a:solidFill>
                          <a:latin typeface="+mn-lt"/>
                        </a:rPr>
                        <a:t>2</a:t>
                      </a:r>
                      <a:endParaRPr lang="en-GB" sz="1600" b="0" dirty="0">
                        <a:solidFill>
                          <a:schemeClr val="accent2"/>
                        </a:solidFill>
                        <a:latin typeface="+mn-lt"/>
                      </a:endParaRPr>
                    </a:p>
                  </a:txBody>
                  <a:tcPr marL="76373" marR="76373" marT="72000" marB="72000">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a:spcBef>
                          <a:spcPts val="400"/>
                        </a:spcBef>
                        <a:spcAft>
                          <a:spcPts val="400"/>
                        </a:spcAft>
                      </a:pPr>
                      <a:r>
                        <a:rPr lang="en-GB" sz="1600" b="0">
                          <a:solidFill>
                            <a:schemeClr val="bg1"/>
                          </a:solidFill>
                          <a:latin typeface="+mn-lt"/>
                        </a:rPr>
                        <a:t>Xx</a:t>
                      </a:r>
                      <a:br>
                        <a:rPr lang="en-GB" sz="1600" b="0">
                          <a:solidFill>
                            <a:schemeClr val="bg1"/>
                          </a:solidFill>
                          <a:latin typeface="+mn-lt"/>
                        </a:rPr>
                      </a:br>
                      <a:br>
                        <a:rPr lang="en-GB" sz="1600" b="0">
                          <a:solidFill>
                            <a:schemeClr val="bg1"/>
                          </a:solidFill>
                          <a:latin typeface="+mn-lt"/>
                        </a:rPr>
                      </a:br>
                      <a:br>
                        <a:rPr lang="en-GB" sz="1600" b="0">
                          <a:solidFill>
                            <a:schemeClr val="bg1"/>
                          </a:solidFill>
                          <a:latin typeface="+mn-lt"/>
                        </a:rPr>
                      </a:br>
                      <a:endParaRPr lang="en-GB" sz="1600" b="0" dirty="0">
                        <a:solidFill>
                          <a:schemeClr val="bg1"/>
                        </a:solidFill>
                        <a:latin typeface="+mn-lt"/>
                      </a:endParaRPr>
                    </a:p>
                  </a:txBody>
                  <a:tcPr marL="76373" marR="76373" marT="72000" marB="72000">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solid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99900977"/>
                  </a:ext>
                </a:extLst>
              </a:tr>
              <a:tr h="1322747">
                <a:tc>
                  <a:txBody>
                    <a:bodyPr/>
                    <a:lstStyle/>
                    <a:p>
                      <a:pPr algn="ctr">
                        <a:spcBef>
                          <a:spcPts val="400"/>
                        </a:spcBef>
                        <a:spcAft>
                          <a:spcPts val="400"/>
                        </a:spcAft>
                      </a:pPr>
                      <a:r>
                        <a:rPr lang="en-GB" sz="1600" b="0">
                          <a:solidFill>
                            <a:schemeClr val="accent2"/>
                          </a:solidFill>
                          <a:latin typeface="+mn-lt"/>
                        </a:rPr>
                        <a:t>3</a:t>
                      </a:r>
                      <a:endParaRPr lang="en-GB" sz="1600" b="0" dirty="0">
                        <a:solidFill>
                          <a:schemeClr val="accent2"/>
                        </a:solidFill>
                        <a:latin typeface="+mn-lt"/>
                      </a:endParaRPr>
                    </a:p>
                  </a:txBody>
                  <a:tcPr marL="76373" marR="76373" marT="72000" marB="72000">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2"/>
                    </a:solidFill>
                  </a:tcPr>
                </a:tc>
                <a:tc>
                  <a:txBody>
                    <a:bodyPr/>
                    <a:lstStyle/>
                    <a:p>
                      <a:pPr>
                        <a:spcBef>
                          <a:spcPts val="400"/>
                        </a:spcBef>
                        <a:spcAft>
                          <a:spcPts val="400"/>
                        </a:spcAft>
                      </a:pPr>
                      <a:r>
                        <a:rPr lang="en-GB" sz="1600" b="0">
                          <a:solidFill>
                            <a:schemeClr val="bg1"/>
                          </a:solidFill>
                          <a:latin typeface="+mn-lt"/>
                        </a:rPr>
                        <a:t>Xx</a:t>
                      </a:r>
                      <a:br>
                        <a:rPr lang="en-GB" sz="1600" b="0">
                          <a:solidFill>
                            <a:schemeClr val="bg1"/>
                          </a:solidFill>
                          <a:latin typeface="+mn-lt"/>
                        </a:rPr>
                      </a:br>
                      <a:br>
                        <a:rPr lang="en-GB" sz="1600" b="0">
                          <a:solidFill>
                            <a:schemeClr val="bg1"/>
                          </a:solidFill>
                          <a:latin typeface="+mn-lt"/>
                        </a:rPr>
                      </a:br>
                      <a:br>
                        <a:rPr lang="en-GB" sz="1600" b="0">
                          <a:solidFill>
                            <a:schemeClr val="bg1"/>
                          </a:solidFill>
                          <a:latin typeface="+mn-lt"/>
                        </a:rPr>
                      </a:br>
                      <a:endParaRPr lang="en-GB" sz="1600" b="0" dirty="0">
                        <a:solidFill>
                          <a:schemeClr val="bg1"/>
                        </a:solidFill>
                        <a:latin typeface="+mn-lt"/>
                      </a:endParaRPr>
                    </a:p>
                  </a:txBody>
                  <a:tcPr marL="76373" marR="76373" marT="72000" marB="72000">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tx2"/>
                    </a:solid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noFill/>
                  </a:tcPr>
                </a:tc>
                <a:tc>
                  <a:txBody>
                    <a:bodyPr/>
                    <a:lstStyle/>
                    <a:p>
                      <a:pPr marL="180000" marR="0" lvl="0" indent="-180000" algn="l" defTabSz="1125444" rtl="0" eaLnBrk="1" fontAlgn="auto"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lang="en-GB" sz="1600" kern="1200">
                          <a:solidFill>
                            <a:schemeClr val="tx1"/>
                          </a:solidFill>
                          <a:latin typeface="+mn-lt"/>
                          <a:ea typeface="+mn-ea"/>
                          <a:cs typeface="+mn-cs"/>
                        </a:rPr>
                        <a:t>xx</a:t>
                      </a:r>
                      <a:endParaRPr lang="en-GB" sz="1600" kern="1200" dirty="0">
                        <a:solidFill>
                          <a:schemeClr val="tx1"/>
                        </a:solidFill>
                        <a:latin typeface="+mn-lt"/>
                        <a:ea typeface="+mn-ea"/>
                        <a:cs typeface="+mn-cs"/>
                      </a:endParaRPr>
                    </a:p>
                  </a:txBody>
                  <a:tcPr marL="76373" marR="76373" marT="72000" marB="72000">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564636072"/>
                  </a:ext>
                </a:extLst>
              </a:tr>
            </a:tbl>
          </a:graphicData>
        </a:graphic>
      </p:graphicFrame>
    </p:spTree>
    <p:extLst>
      <p:ext uri="{BB962C8B-B14F-4D97-AF65-F5344CB8AC3E}">
        <p14:creationId xmlns:p14="http://schemas.microsoft.com/office/powerpoint/2010/main" val="36083762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B2C6B6-1DCF-4E89-8470-FCD6A5B8F2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6" progId="TCLayout.ActiveDocument.1">
                  <p:embed/>
                </p:oleObj>
              </mc:Choice>
              <mc:Fallback>
                <p:oleObj name="Diapositive think-cell" r:id="rId5" imgW="473" imgH="476" progId="TCLayout.ActiveDocument.1">
                  <p:embed/>
                  <p:pic>
                    <p:nvPicPr>
                      <p:cNvPr id="5" name="Objet 4" hidden="1">
                        <a:extLst>
                          <a:ext uri="{FF2B5EF4-FFF2-40B4-BE49-F238E27FC236}">
                            <a16:creationId xmlns:a16="http://schemas.microsoft.com/office/drawing/2014/main" id="{91B2C6B6-1DCF-4E89-8470-FCD6A5B8F2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8FE61FA-0D03-45B0-90CD-72AAE733F820}"/>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25"/>
          <p:cNvSpPr/>
          <p:nvPr/>
        </p:nvSpPr>
        <p:spPr>
          <a:xfrm>
            <a:off x="992157" y="1609969"/>
            <a:ext cx="1422631" cy="2757804"/>
          </a:xfrm>
          <a:prstGeom prst="rect">
            <a:avLst/>
          </a:prstGeom>
          <a:solidFill>
            <a:srgbClr val="B4064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tIns="46800" rIns="90000" bIns="46800" rtlCol="0" anchor="t" anchorCtr="0"/>
          <a:lstStyle/>
          <a:p>
            <a:pPr algn="l">
              <a:spcBef>
                <a:spcPts val="400"/>
              </a:spcBef>
              <a:spcAft>
                <a:spcPts val="400"/>
              </a:spcAft>
            </a:pPr>
            <a:r>
              <a:rPr lang="en-GB" b="1">
                <a:solidFill>
                  <a:schemeClr val="bg1"/>
                </a:solidFill>
              </a:rPr>
              <a:t>XX</a:t>
            </a:r>
            <a:endParaRPr lang="en-GB" b="1" dirty="0">
              <a:solidFill>
                <a:schemeClr val="bg1"/>
              </a:solidFill>
            </a:endParaRPr>
          </a:p>
        </p:txBody>
      </p:sp>
      <p:sp>
        <p:nvSpPr>
          <p:cNvPr id="27" name="Oval 26"/>
          <p:cNvSpPr/>
          <p:nvPr/>
        </p:nvSpPr>
        <p:spPr>
          <a:xfrm>
            <a:off x="854559" y="1555376"/>
            <a:ext cx="324000" cy="324000"/>
          </a:xfrm>
          <a:prstGeom prst="ellipse">
            <a:avLst/>
          </a:prstGeom>
          <a:solidFill>
            <a:schemeClr val="bg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r>
              <a:rPr lang="en-GB" b="1">
                <a:solidFill>
                  <a:schemeClr val="accent2"/>
                </a:solidFill>
              </a:rPr>
              <a:t>1</a:t>
            </a:r>
            <a:endParaRPr lang="en-GB" b="1" dirty="0">
              <a:solidFill>
                <a:schemeClr val="accent2"/>
              </a:solidFill>
            </a:endParaRPr>
          </a:p>
        </p:txBody>
      </p:sp>
      <p:sp>
        <p:nvSpPr>
          <p:cNvPr id="42" name="Rectangle 41"/>
          <p:cNvSpPr/>
          <p:nvPr/>
        </p:nvSpPr>
        <p:spPr>
          <a:xfrm>
            <a:off x="992157" y="4605578"/>
            <a:ext cx="1422631" cy="1260000"/>
          </a:xfrm>
          <a:prstGeom prst="rect">
            <a:avLst/>
          </a:prstGeom>
          <a:solidFill>
            <a:srgbClr val="B4064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88000" tIns="46800" rIns="90000" bIns="46800" rtlCol="0" anchor="t" anchorCtr="0"/>
          <a:lstStyle/>
          <a:p>
            <a:pPr algn="l">
              <a:spcBef>
                <a:spcPts val="400"/>
              </a:spcBef>
              <a:spcAft>
                <a:spcPts val="400"/>
              </a:spcAft>
            </a:pPr>
            <a:r>
              <a:rPr lang="en-GB" b="1">
                <a:solidFill>
                  <a:schemeClr val="bg1"/>
                </a:solidFill>
              </a:rPr>
              <a:t>XX</a:t>
            </a:r>
            <a:endParaRPr lang="en-GB" b="1" dirty="0">
              <a:solidFill>
                <a:schemeClr val="bg1"/>
              </a:solidFill>
            </a:endParaRPr>
          </a:p>
        </p:txBody>
      </p:sp>
      <p:sp>
        <p:nvSpPr>
          <p:cNvPr id="43" name="Oval 42"/>
          <p:cNvSpPr/>
          <p:nvPr/>
        </p:nvSpPr>
        <p:spPr>
          <a:xfrm>
            <a:off x="854559" y="4550986"/>
            <a:ext cx="324000" cy="324000"/>
          </a:xfrm>
          <a:prstGeom prst="ellipse">
            <a:avLst/>
          </a:prstGeom>
          <a:solidFill>
            <a:schemeClr val="bg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r>
              <a:rPr lang="en-GB" b="1">
                <a:solidFill>
                  <a:schemeClr val="accent2"/>
                </a:solidFill>
              </a:rPr>
              <a:t>2</a:t>
            </a:r>
            <a:endParaRPr lang="en-GB" b="1" dirty="0">
              <a:solidFill>
                <a:schemeClr val="accent2"/>
              </a:solidFill>
            </a:endParaRPr>
          </a:p>
        </p:txBody>
      </p:sp>
      <p:sp>
        <p:nvSpPr>
          <p:cNvPr id="21" name="Rectangle 20"/>
          <p:cNvSpPr/>
          <p:nvPr/>
        </p:nvSpPr>
        <p:spPr>
          <a:xfrm>
            <a:off x="2806526" y="1609969"/>
            <a:ext cx="1669572" cy="126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algn="l">
              <a:spcBef>
                <a:spcPts val="400"/>
              </a:spcBef>
              <a:spcAft>
                <a:spcPts val="400"/>
              </a:spcAft>
            </a:pPr>
            <a:r>
              <a:rPr lang="en-GB">
                <a:solidFill>
                  <a:schemeClr val="tx1"/>
                </a:solidFill>
              </a:rPr>
              <a:t>XX</a:t>
            </a:r>
            <a:endParaRPr lang="en-GB" dirty="0">
              <a:solidFill>
                <a:schemeClr val="tx1"/>
              </a:solidFill>
            </a:endParaRPr>
          </a:p>
        </p:txBody>
      </p:sp>
      <p:cxnSp>
        <p:nvCxnSpPr>
          <p:cNvPr id="24" name="Connecteur droit avec flèche 23"/>
          <p:cNvCxnSpPr>
            <a:cxnSpLocks/>
            <a:stCxn id="21" idx="1"/>
            <a:endCxn id="25" idx="6"/>
          </p:cNvCxnSpPr>
          <p:nvPr/>
        </p:nvCxnSpPr>
        <p:spPr>
          <a:xfrm flipH="1">
            <a:off x="2523716" y="2239969"/>
            <a:ext cx="282810" cy="0"/>
          </a:xfrm>
          <a:prstGeom prst="straightConnector1">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2343716" y="2149969"/>
            <a:ext cx="180000" cy="180000"/>
          </a:xfrm>
          <a:prstGeom prst="ellipse">
            <a:avLst/>
          </a:prstGeom>
          <a:solidFill>
            <a:schemeClr val="bg2"/>
          </a:solidFill>
          <a:ln w="349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spcBef>
                <a:spcPts val="400"/>
              </a:spcBef>
              <a:spcAft>
                <a:spcPts val="400"/>
              </a:spcAft>
            </a:pPr>
            <a:endParaRPr lang="en-GB" dirty="0">
              <a:solidFill>
                <a:srgbClr val="000000"/>
              </a:solidFill>
            </a:endParaRPr>
          </a:p>
        </p:txBody>
      </p:sp>
      <p:sp>
        <p:nvSpPr>
          <p:cNvPr id="46" name="ZoneTexte 45"/>
          <p:cNvSpPr txBox="1"/>
          <p:nvPr/>
        </p:nvSpPr>
        <p:spPr>
          <a:xfrm>
            <a:off x="4689353" y="1609969"/>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sp>
        <p:nvSpPr>
          <p:cNvPr id="55" name="ZoneTexte 54"/>
          <p:cNvSpPr txBox="1"/>
          <p:nvPr/>
        </p:nvSpPr>
        <p:spPr>
          <a:xfrm>
            <a:off x="8278697" y="1609969"/>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sp>
        <p:nvSpPr>
          <p:cNvPr id="65" name="ZoneTexte 64"/>
          <p:cNvSpPr txBox="1"/>
          <p:nvPr/>
        </p:nvSpPr>
        <p:spPr>
          <a:xfrm>
            <a:off x="4689354" y="1242468"/>
            <a:ext cx="1699480"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BBBB</a:t>
            </a:r>
            <a:endParaRPr lang="en-GB" dirty="0">
              <a:latin typeface="+mn-lt"/>
            </a:endParaRPr>
          </a:p>
        </p:txBody>
      </p:sp>
      <p:sp>
        <p:nvSpPr>
          <p:cNvPr id="66" name="ZoneTexte 65"/>
          <p:cNvSpPr txBox="1"/>
          <p:nvPr/>
        </p:nvSpPr>
        <p:spPr>
          <a:xfrm>
            <a:off x="8210122" y="1242468"/>
            <a:ext cx="1699480"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CCCC</a:t>
            </a:r>
            <a:endParaRPr lang="en-GB" dirty="0">
              <a:latin typeface="+mn-lt"/>
            </a:endParaRPr>
          </a:p>
        </p:txBody>
      </p:sp>
      <p:sp>
        <p:nvSpPr>
          <p:cNvPr id="67" name="ZoneTexte 66"/>
          <p:cNvSpPr txBox="1"/>
          <p:nvPr/>
        </p:nvSpPr>
        <p:spPr>
          <a:xfrm>
            <a:off x="1016559" y="1242468"/>
            <a:ext cx="3396418"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AAAA</a:t>
            </a:r>
            <a:endParaRPr lang="en-GB" dirty="0">
              <a:latin typeface="+mn-lt"/>
            </a:endParaRPr>
          </a:p>
        </p:txBody>
      </p:sp>
      <p:cxnSp>
        <p:nvCxnSpPr>
          <p:cNvPr id="81" name="Connecteur droit avec flèche 80"/>
          <p:cNvCxnSpPr>
            <a:cxnSpLocks/>
            <a:stCxn id="83" idx="1"/>
            <a:endCxn id="82" idx="6"/>
          </p:cNvCxnSpPr>
          <p:nvPr/>
        </p:nvCxnSpPr>
        <p:spPr>
          <a:xfrm flipH="1">
            <a:off x="2523716" y="5235578"/>
            <a:ext cx="282810" cy="0"/>
          </a:xfrm>
          <a:prstGeom prst="straightConnector1">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2343716" y="5145578"/>
            <a:ext cx="180000" cy="180000"/>
          </a:xfrm>
          <a:prstGeom prst="ellipse">
            <a:avLst/>
          </a:prstGeom>
          <a:solidFill>
            <a:schemeClr val="bg2"/>
          </a:solidFill>
          <a:ln w="349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spcBef>
                <a:spcPts val="400"/>
              </a:spcBef>
              <a:spcAft>
                <a:spcPts val="400"/>
              </a:spcAft>
            </a:pPr>
            <a:endParaRPr lang="en-GB" dirty="0">
              <a:solidFill>
                <a:srgbClr val="000000"/>
              </a:solidFill>
            </a:endParaRPr>
          </a:p>
        </p:txBody>
      </p:sp>
      <p:sp>
        <p:nvSpPr>
          <p:cNvPr id="83" name="Rectangle 82"/>
          <p:cNvSpPr/>
          <p:nvPr/>
        </p:nvSpPr>
        <p:spPr>
          <a:xfrm>
            <a:off x="2806526" y="4605578"/>
            <a:ext cx="1669572" cy="126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algn="l">
              <a:spcBef>
                <a:spcPts val="400"/>
              </a:spcBef>
              <a:spcAft>
                <a:spcPts val="400"/>
              </a:spcAft>
            </a:pPr>
            <a:r>
              <a:rPr lang="en-GB">
                <a:solidFill>
                  <a:schemeClr val="tx1"/>
                </a:solidFill>
              </a:rPr>
              <a:t>XX</a:t>
            </a:r>
            <a:endParaRPr lang="en-GB" dirty="0">
              <a:solidFill>
                <a:schemeClr val="tx1"/>
              </a:solidFill>
            </a:endParaRPr>
          </a:p>
        </p:txBody>
      </p:sp>
      <p:sp>
        <p:nvSpPr>
          <p:cNvPr id="84" name="ZoneTexte 83"/>
          <p:cNvSpPr txBox="1"/>
          <p:nvPr/>
        </p:nvSpPr>
        <p:spPr>
          <a:xfrm>
            <a:off x="4689353" y="4605578"/>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sp>
        <p:nvSpPr>
          <p:cNvPr id="85" name="ZoneTexte 84"/>
          <p:cNvSpPr txBox="1"/>
          <p:nvPr/>
        </p:nvSpPr>
        <p:spPr>
          <a:xfrm>
            <a:off x="8278697" y="4529526"/>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cxnSp>
        <p:nvCxnSpPr>
          <p:cNvPr id="99" name="Connecteur droit avec flèche 98"/>
          <p:cNvCxnSpPr>
            <a:cxnSpLocks/>
            <a:stCxn id="101" idx="1"/>
            <a:endCxn id="100" idx="6"/>
          </p:cNvCxnSpPr>
          <p:nvPr/>
        </p:nvCxnSpPr>
        <p:spPr>
          <a:xfrm flipH="1">
            <a:off x="2523716" y="3737773"/>
            <a:ext cx="282810" cy="0"/>
          </a:xfrm>
          <a:prstGeom prst="straightConnector1">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Ellipse 99"/>
          <p:cNvSpPr/>
          <p:nvPr/>
        </p:nvSpPr>
        <p:spPr>
          <a:xfrm>
            <a:off x="2343716" y="3647773"/>
            <a:ext cx="180000" cy="180000"/>
          </a:xfrm>
          <a:prstGeom prst="ellipse">
            <a:avLst/>
          </a:prstGeom>
          <a:solidFill>
            <a:schemeClr val="bg2"/>
          </a:solidFill>
          <a:ln w="349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dirty="0">
              <a:solidFill>
                <a:srgbClr val="000000"/>
              </a:solidFill>
            </a:endParaRPr>
          </a:p>
        </p:txBody>
      </p:sp>
      <p:sp>
        <p:nvSpPr>
          <p:cNvPr id="101" name="Rectangle 100"/>
          <p:cNvSpPr/>
          <p:nvPr/>
        </p:nvSpPr>
        <p:spPr>
          <a:xfrm>
            <a:off x="2806526" y="3107773"/>
            <a:ext cx="1669572" cy="126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lstStyle/>
          <a:p>
            <a:pPr algn="l">
              <a:spcBef>
                <a:spcPts val="400"/>
              </a:spcBef>
              <a:spcAft>
                <a:spcPts val="400"/>
              </a:spcAft>
            </a:pPr>
            <a:r>
              <a:rPr lang="en-GB">
                <a:solidFill>
                  <a:schemeClr val="tx1"/>
                </a:solidFill>
              </a:rPr>
              <a:t>XX</a:t>
            </a:r>
            <a:endParaRPr lang="en-GB" dirty="0">
              <a:solidFill>
                <a:schemeClr val="tx1"/>
              </a:solidFill>
            </a:endParaRPr>
          </a:p>
        </p:txBody>
      </p:sp>
      <p:sp>
        <p:nvSpPr>
          <p:cNvPr id="102" name="ZoneTexte 101"/>
          <p:cNvSpPr txBox="1"/>
          <p:nvPr/>
        </p:nvSpPr>
        <p:spPr>
          <a:xfrm>
            <a:off x="4689353" y="3107773"/>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sp>
        <p:nvSpPr>
          <p:cNvPr id="103" name="ZoneTexte 102"/>
          <p:cNvSpPr txBox="1"/>
          <p:nvPr/>
        </p:nvSpPr>
        <p:spPr>
          <a:xfrm>
            <a:off x="8278697" y="3031721"/>
            <a:ext cx="2994297" cy="1212906"/>
          </a:xfrm>
          <a:prstGeom prst="rect">
            <a:avLst/>
          </a:prstGeom>
          <a:noFill/>
        </p:spPr>
        <p:txBody>
          <a:bodyPr wrap="square" lIns="90000" rIns="90000" rtlCol="0" anchor="t">
            <a:noAutofit/>
          </a:bodyPr>
          <a:lstStyle/>
          <a:p>
            <a:pPr marL="180000" lvl="1" indent="-180000" algn="l" defTabSz="1125444" eaLnBrk="1" hangingPunct="1">
              <a:spcBef>
                <a:spcPts val="840"/>
              </a:spcBef>
              <a:spcAft>
                <a:spcPts val="0"/>
              </a:spcAft>
              <a:buClr>
                <a:srgbClr val="C2C2C2"/>
              </a:buClr>
              <a:buSzPct val="77000"/>
              <a:buFont typeface="Wingdings 3" panose="05040102010807070707" pitchFamily="18" charset="2"/>
              <a:buChar char=""/>
            </a:pPr>
            <a:r>
              <a:rPr lang="en-GB" sz="1600">
                <a:latin typeface="+mn-lt"/>
              </a:rPr>
              <a:t>xx</a:t>
            </a:r>
            <a:endParaRPr lang="en-GB" sz="1600" dirty="0">
              <a:latin typeface="+mn-lt"/>
            </a:endParaRPr>
          </a:p>
        </p:txBody>
      </p:sp>
      <p:sp>
        <p:nvSpPr>
          <p:cNvPr id="2" name="Titre 1">
            <a:extLst>
              <a:ext uri="{FF2B5EF4-FFF2-40B4-BE49-F238E27FC236}">
                <a16:creationId xmlns:a16="http://schemas.microsoft.com/office/drawing/2014/main" id="{C9A44463-E96A-4111-956C-6617181793A5}"/>
              </a:ext>
            </a:extLst>
          </p:cNvPr>
          <p:cNvSpPr>
            <a:spLocks noGrp="1"/>
          </p:cNvSpPr>
          <p:nvPr>
            <p:ph type="title"/>
          </p:nvPr>
        </p:nvSpPr>
        <p:spPr/>
        <p:txBody>
          <a:bodyPr/>
          <a:lstStyle/>
          <a:p>
            <a:r>
              <a:rPr lang="en-GB"/>
              <a:t>Slide message – two ideas &amp; sub-ideas</a:t>
            </a:r>
            <a:endParaRPr lang="en-GB" dirty="0"/>
          </a:p>
        </p:txBody>
      </p:sp>
    </p:spTree>
    <p:extLst>
      <p:ext uri="{BB962C8B-B14F-4D97-AF65-F5344CB8AC3E}">
        <p14:creationId xmlns:p14="http://schemas.microsoft.com/office/powerpoint/2010/main" val="119385286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7" name="Objet 6"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738EEA-8C5A-4DBF-9C91-5CDE402AACC7}"/>
              </a:ext>
            </a:extLst>
          </p:cNvPr>
          <p:cNvSpPr/>
          <p:nvPr>
            <p:custDataLst>
              <p:tags r:id="rId2"/>
            </p:custDataLst>
          </p:nvPr>
        </p:nvSpPr>
        <p:spPr bwMode="auto">
          <a:xfrm>
            <a:off x="0" y="0"/>
            <a:ext cx="158750" cy="158750"/>
          </a:xfrm>
          <a:prstGeom prst="rect">
            <a:avLst/>
          </a:prstGeom>
          <a:solidFill>
            <a:srgbClr val="B40646"/>
          </a:solidFill>
          <a:ln w="19050" cap="flat" cmpd="sng" algn="ctr">
            <a:solidFill>
              <a:srgbClr val="B40646"/>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buClr>
                <a:schemeClr val="accent3"/>
              </a:buClr>
              <a:buSzPct val="77000"/>
            </a:pPr>
            <a:endParaRPr lang="en-GB" sz="2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 name="ZoneTexte 20"/>
          <p:cNvSpPr txBox="1"/>
          <p:nvPr/>
        </p:nvSpPr>
        <p:spPr>
          <a:xfrm>
            <a:off x="8609951" y="1581488"/>
            <a:ext cx="720000" cy="338400"/>
          </a:xfrm>
          <a:prstGeom prst="rect">
            <a:avLst/>
          </a:prstGeom>
          <a:noFill/>
        </p:spPr>
        <p:txBody>
          <a:bodyPr wrap="square" lIns="54000" rIns="54000" rtlCol="0" anchor="ctr">
            <a:noAutofit/>
          </a:bodyPr>
          <a:lstStyle/>
          <a:p>
            <a:pPr algn="ctr">
              <a:spcBef>
                <a:spcPts val="400"/>
              </a:spcBef>
              <a:spcAft>
                <a:spcPts val="400"/>
              </a:spcAft>
            </a:pPr>
            <a:r>
              <a:rPr lang="en-GB" sz="1200">
                <a:latin typeface="+mn-lt"/>
              </a:rPr>
              <a:t>XX</a:t>
            </a:r>
            <a:endParaRPr lang="en-GB" sz="1200" dirty="0">
              <a:latin typeface="+mn-lt"/>
            </a:endParaRPr>
          </a:p>
        </p:txBody>
      </p:sp>
      <p:sp>
        <p:nvSpPr>
          <p:cNvPr id="22" name="ZoneTexte 21"/>
          <p:cNvSpPr txBox="1"/>
          <p:nvPr/>
        </p:nvSpPr>
        <p:spPr>
          <a:xfrm>
            <a:off x="9329952" y="1581488"/>
            <a:ext cx="720000" cy="338400"/>
          </a:xfrm>
          <a:prstGeom prst="rect">
            <a:avLst/>
          </a:prstGeom>
          <a:noFill/>
        </p:spPr>
        <p:txBody>
          <a:bodyPr wrap="square" lIns="54000" rIns="54000" rtlCol="0" anchor="ctr">
            <a:noAutofit/>
          </a:bodyPr>
          <a:lstStyle/>
          <a:p>
            <a:pPr algn="ctr">
              <a:spcBef>
                <a:spcPts val="400"/>
              </a:spcBef>
              <a:spcAft>
                <a:spcPts val="400"/>
              </a:spcAft>
            </a:pPr>
            <a:r>
              <a:rPr lang="en-GB" sz="1200">
                <a:latin typeface="+mn-lt"/>
              </a:rPr>
              <a:t>XX</a:t>
            </a:r>
            <a:endParaRPr lang="en-GB" sz="1200" dirty="0">
              <a:latin typeface="+mn-lt"/>
            </a:endParaRPr>
          </a:p>
        </p:txBody>
      </p:sp>
      <p:sp>
        <p:nvSpPr>
          <p:cNvPr id="26" name="ZoneTexte 25"/>
          <p:cNvSpPr txBox="1"/>
          <p:nvPr/>
        </p:nvSpPr>
        <p:spPr>
          <a:xfrm>
            <a:off x="10049955" y="1581488"/>
            <a:ext cx="720000" cy="338400"/>
          </a:xfrm>
          <a:prstGeom prst="rect">
            <a:avLst/>
          </a:prstGeom>
          <a:noFill/>
        </p:spPr>
        <p:txBody>
          <a:bodyPr wrap="square" lIns="54000" rIns="54000" rtlCol="0" anchor="ctr">
            <a:noAutofit/>
          </a:bodyPr>
          <a:lstStyle/>
          <a:p>
            <a:pPr algn="ctr">
              <a:spcBef>
                <a:spcPts val="400"/>
              </a:spcBef>
              <a:spcAft>
                <a:spcPts val="400"/>
              </a:spcAft>
            </a:pPr>
            <a:r>
              <a:rPr lang="en-GB" sz="1200">
                <a:latin typeface="+mn-lt"/>
              </a:rPr>
              <a:t>XX</a:t>
            </a:r>
            <a:endParaRPr lang="en-GB" sz="1200" dirty="0">
              <a:latin typeface="+mn-lt"/>
            </a:endParaRPr>
          </a:p>
        </p:txBody>
      </p:sp>
      <p:cxnSp>
        <p:nvCxnSpPr>
          <p:cNvPr id="27" name="Connecteur droit 26"/>
          <p:cNvCxnSpPr/>
          <p:nvPr/>
        </p:nvCxnSpPr>
        <p:spPr>
          <a:xfrm rot="16200000">
            <a:off x="6935951" y="3957498"/>
            <a:ext cx="4788000" cy="0"/>
          </a:xfrm>
          <a:prstGeom prst="line">
            <a:avLst/>
          </a:prstGeom>
          <a:ln>
            <a:solidFill>
              <a:srgbClr val="87737B"/>
            </a:solidFill>
            <a:prstDash val="dash"/>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rot="16200000">
            <a:off x="7655951" y="3957498"/>
            <a:ext cx="4788000" cy="0"/>
          </a:xfrm>
          <a:prstGeom prst="line">
            <a:avLst/>
          </a:prstGeom>
          <a:ln>
            <a:solidFill>
              <a:srgbClr val="87737B"/>
            </a:solidFill>
            <a:prstDash val="dash"/>
          </a:ln>
        </p:spPr>
        <p:style>
          <a:lnRef idx="1">
            <a:schemeClr val="accent1"/>
          </a:lnRef>
          <a:fillRef idx="0">
            <a:schemeClr val="accent1"/>
          </a:fillRef>
          <a:effectRef idx="0">
            <a:schemeClr val="accent1"/>
          </a:effectRef>
          <a:fontRef idx="minor">
            <a:schemeClr val="tx1"/>
          </a:fontRef>
        </p:style>
      </p:cxnSp>
      <p:sp>
        <p:nvSpPr>
          <p:cNvPr id="88" name="ZoneTexte 87"/>
          <p:cNvSpPr txBox="1"/>
          <p:nvPr/>
        </p:nvSpPr>
        <p:spPr>
          <a:xfrm>
            <a:off x="950904" y="1236649"/>
            <a:ext cx="1665618"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AAAA</a:t>
            </a:r>
            <a:endParaRPr lang="en-GB" dirty="0">
              <a:latin typeface="+mn-lt"/>
            </a:endParaRPr>
          </a:p>
        </p:txBody>
      </p:sp>
      <p:sp>
        <p:nvSpPr>
          <p:cNvPr id="90" name="ZoneTexte 89"/>
          <p:cNvSpPr txBox="1"/>
          <p:nvPr/>
        </p:nvSpPr>
        <p:spPr>
          <a:xfrm>
            <a:off x="3258445" y="1236649"/>
            <a:ext cx="2484000"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BBBB</a:t>
            </a:r>
            <a:endParaRPr lang="en-GB" dirty="0">
              <a:latin typeface="+mn-lt"/>
            </a:endParaRPr>
          </a:p>
        </p:txBody>
      </p:sp>
      <p:sp>
        <p:nvSpPr>
          <p:cNvPr id="92" name="ZoneTexte 91"/>
          <p:cNvSpPr txBox="1"/>
          <p:nvPr/>
        </p:nvSpPr>
        <p:spPr>
          <a:xfrm>
            <a:off x="8647504" y="1236649"/>
            <a:ext cx="1895387" cy="307777"/>
          </a:xfrm>
          <a:prstGeom prst="rect">
            <a:avLst/>
          </a:prstGeom>
          <a:noFill/>
        </p:spPr>
        <p:txBody>
          <a:bodyPr wrap="square" lIns="54000" rIns="54000" rtlCol="0" anchor="ctr">
            <a:spAutoFit/>
          </a:bodyPr>
          <a:lstStyle/>
          <a:p>
            <a:pPr algn="l">
              <a:spcBef>
                <a:spcPts val="400"/>
              </a:spcBef>
              <a:spcAft>
                <a:spcPts val="400"/>
              </a:spcAft>
            </a:pPr>
            <a:r>
              <a:rPr lang="en-GB">
                <a:latin typeface="+mn-lt"/>
              </a:rPr>
              <a:t>CCCC</a:t>
            </a:r>
            <a:endParaRPr lang="en-GB" dirty="0">
              <a:latin typeface="+mn-lt"/>
            </a:endParaRPr>
          </a:p>
        </p:txBody>
      </p:sp>
      <p:grpSp>
        <p:nvGrpSpPr>
          <p:cNvPr id="72" name="Groupe 71"/>
          <p:cNvGrpSpPr/>
          <p:nvPr/>
        </p:nvGrpSpPr>
        <p:grpSpPr>
          <a:xfrm>
            <a:off x="8874568" y="4924076"/>
            <a:ext cx="247650" cy="247650"/>
            <a:chOff x="6033120" y="5236029"/>
            <a:chExt cx="247650" cy="247650"/>
          </a:xfrm>
          <a:solidFill>
            <a:schemeClr val="tx2"/>
          </a:solidFill>
        </p:grpSpPr>
        <p:sp>
          <p:nvSpPr>
            <p:cNvPr id="73" name="Ellipse 72"/>
            <p:cNvSpPr/>
            <p:nvPr/>
          </p:nvSpPr>
          <p:spPr bwMode="auto">
            <a:xfrm>
              <a:off x="6033120" y="5236029"/>
              <a:ext cx="247650" cy="24765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sp>
          <p:nvSpPr>
            <p:cNvPr id="74" name="Arc 73"/>
            <p:cNvSpPr/>
            <p:nvPr/>
          </p:nvSpPr>
          <p:spPr bwMode="gray">
            <a:xfrm>
              <a:off x="6033120" y="5236029"/>
              <a:ext cx="247650" cy="247650"/>
            </a:xfrm>
            <a:prstGeom prst="arc">
              <a:avLst>
                <a:gd name="adj1" fmla="val 16200000"/>
                <a:gd name="adj2" fmla="val 0"/>
              </a:avLst>
            </a:prstGeom>
            <a:grp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000000"/>
                </a:solidFill>
              </a:endParaRPr>
            </a:p>
          </p:txBody>
        </p:sp>
      </p:grpSp>
      <p:grpSp>
        <p:nvGrpSpPr>
          <p:cNvPr id="75" name="Groupe 74"/>
          <p:cNvGrpSpPr/>
          <p:nvPr/>
        </p:nvGrpSpPr>
        <p:grpSpPr>
          <a:xfrm>
            <a:off x="8874568" y="3800098"/>
            <a:ext cx="247650" cy="247650"/>
            <a:chOff x="7502525" y="3789363"/>
            <a:chExt cx="247650" cy="247650"/>
          </a:xfrm>
          <a:solidFill>
            <a:schemeClr val="tx2"/>
          </a:solidFill>
        </p:grpSpPr>
        <p:sp>
          <p:nvSpPr>
            <p:cNvPr id="76" name="Ellipse 75"/>
            <p:cNvSpPr/>
            <p:nvPr/>
          </p:nvSpPr>
          <p:spPr bwMode="auto">
            <a:xfrm>
              <a:off x="7502525" y="3789363"/>
              <a:ext cx="247650" cy="24765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sp>
          <p:nvSpPr>
            <p:cNvPr id="78" name="Arc 77"/>
            <p:cNvSpPr/>
            <p:nvPr/>
          </p:nvSpPr>
          <p:spPr bwMode="gray">
            <a:xfrm>
              <a:off x="7502525" y="3789363"/>
              <a:ext cx="247650" cy="247650"/>
            </a:xfrm>
            <a:prstGeom prst="arc">
              <a:avLst>
                <a:gd name="adj1" fmla="val 16200000"/>
                <a:gd name="adj2" fmla="val 5400000"/>
              </a:avLst>
            </a:prstGeom>
            <a:grp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000000"/>
                </a:solidFill>
              </a:endParaRPr>
            </a:p>
          </p:txBody>
        </p:sp>
      </p:grpSp>
      <p:sp>
        <p:nvSpPr>
          <p:cNvPr id="79" name="Ellipse 78"/>
          <p:cNvSpPr/>
          <p:nvPr/>
        </p:nvSpPr>
        <p:spPr bwMode="auto">
          <a:xfrm>
            <a:off x="8874568" y="5486066"/>
            <a:ext cx="247650" cy="24765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grpSp>
        <p:nvGrpSpPr>
          <p:cNvPr id="80" name="Groupe 79"/>
          <p:cNvGrpSpPr/>
          <p:nvPr/>
        </p:nvGrpSpPr>
        <p:grpSpPr>
          <a:xfrm>
            <a:off x="8874568" y="2676120"/>
            <a:ext cx="247650" cy="247650"/>
            <a:chOff x="7636086" y="2399510"/>
            <a:chExt cx="247650" cy="247650"/>
          </a:xfrm>
          <a:solidFill>
            <a:schemeClr val="tx2"/>
          </a:solidFill>
        </p:grpSpPr>
        <p:sp>
          <p:nvSpPr>
            <p:cNvPr id="81" name="Ellipse 80"/>
            <p:cNvSpPr/>
            <p:nvPr/>
          </p:nvSpPr>
          <p:spPr bwMode="auto">
            <a:xfrm>
              <a:off x="7636086" y="2399510"/>
              <a:ext cx="247650" cy="24765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sp>
          <p:nvSpPr>
            <p:cNvPr id="82" name="Arc 81"/>
            <p:cNvSpPr/>
            <p:nvPr/>
          </p:nvSpPr>
          <p:spPr bwMode="gray">
            <a:xfrm>
              <a:off x="7636086" y="2399510"/>
              <a:ext cx="247650" cy="247650"/>
            </a:xfrm>
            <a:prstGeom prst="arc">
              <a:avLst>
                <a:gd name="adj1" fmla="val 16200000"/>
                <a:gd name="adj2" fmla="val 10800000"/>
              </a:avLst>
            </a:prstGeom>
            <a:grp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000000"/>
                </a:solidFill>
              </a:endParaRPr>
            </a:p>
          </p:txBody>
        </p:sp>
      </p:grpSp>
      <p:sp>
        <p:nvSpPr>
          <p:cNvPr id="83" name="Ellipse 82"/>
          <p:cNvSpPr/>
          <p:nvPr/>
        </p:nvSpPr>
        <p:spPr bwMode="auto">
          <a:xfrm>
            <a:off x="8874568" y="2114131"/>
            <a:ext cx="247650" cy="24765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grpSp>
        <p:nvGrpSpPr>
          <p:cNvPr id="84" name="Groupe 83"/>
          <p:cNvGrpSpPr/>
          <p:nvPr/>
        </p:nvGrpSpPr>
        <p:grpSpPr>
          <a:xfrm>
            <a:off x="8874568" y="4362087"/>
            <a:ext cx="247650" cy="247650"/>
            <a:chOff x="9061872" y="2548804"/>
            <a:chExt cx="247650" cy="247650"/>
          </a:xfrm>
          <a:solidFill>
            <a:schemeClr val="tx2"/>
          </a:solidFill>
        </p:grpSpPr>
        <p:sp>
          <p:nvSpPr>
            <p:cNvPr id="85" name="Ellipse 84"/>
            <p:cNvSpPr/>
            <p:nvPr/>
          </p:nvSpPr>
          <p:spPr bwMode="auto">
            <a:xfrm>
              <a:off x="9061872" y="2548804"/>
              <a:ext cx="247650" cy="24765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sp>
          <p:nvSpPr>
            <p:cNvPr id="86" name="Arc 85"/>
            <p:cNvSpPr/>
            <p:nvPr/>
          </p:nvSpPr>
          <p:spPr bwMode="gray">
            <a:xfrm>
              <a:off x="9061872" y="2548804"/>
              <a:ext cx="247650" cy="247650"/>
            </a:xfrm>
            <a:prstGeom prst="arc">
              <a:avLst>
                <a:gd name="adj1" fmla="val 16200000"/>
                <a:gd name="adj2" fmla="val 1800000"/>
              </a:avLst>
            </a:prstGeom>
            <a:grp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000000"/>
                </a:solidFill>
              </a:endParaRPr>
            </a:p>
          </p:txBody>
        </p:sp>
      </p:grpSp>
      <p:grpSp>
        <p:nvGrpSpPr>
          <p:cNvPr id="93" name="Groupe 92"/>
          <p:cNvGrpSpPr/>
          <p:nvPr/>
        </p:nvGrpSpPr>
        <p:grpSpPr>
          <a:xfrm>
            <a:off x="8874568" y="3238109"/>
            <a:ext cx="247650" cy="247650"/>
            <a:chOff x="8327644" y="2548804"/>
            <a:chExt cx="247650" cy="247650"/>
          </a:xfrm>
          <a:solidFill>
            <a:schemeClr val="tx2"/>
          </a:solidFill>
        </p:grpSpPr>
        <p:sp>
          <p:nvSpPr>
            <p:cNvPr id="95" name="Ellipse 94"/>
            <p:cNvSpPr/>
            <p:nvPr/>
          </p:nvSpPr>
          <p:spPr bwMode="auto">
            <a:xfrm>
              <a:off x="8327644" y="2548804"/>
              <a:ext cx="247650" cy="24765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000" tIns="45720" rIns="5400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FFFFFF"/>
                </a:solidFill>
              </a:endParaRPr>
            </a:p>
          </p:txBody>
        </p:sp>
        <p:sp>
          <p:nvSpPr>
            <p:cNvPr id="96" name="Arc 95"/>
            <p:cNvSpPr/>
            <p:nvPr/>
          </p:nvSpPr>
          <p:spPr bwMode="gray">
            <a:xfrm>
              <a:off x="8327644" y="2548804"/>
              <a:ext cx="247650" cy="247650"/>
            </a:xfrm>
            <a:prstGeom prst="arc">
              <a:avLst>
                <a:gd name="adj1" fmla="val 16200000"/>
                <a:gd name="adj2" fmla="val 9000000"/>
              </a:avLst>
            </a:prstGeom>
            <a:grp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Bef>
                  <a:spcPts val="400"/>
                </a:spcBef>
                <a:spcAft>
                  <a:spcPts val="400"/>
                </a:spcAft>
              </a:pPr>
              <a:endParaRPr lang="en-GB" dirty="0">
                <a:solidFill>
                  <a:srgbClr val="000000"/>
                </a:solidFill>
              </a:endParaRPr>
            </a:p>
          </p:txBody>
        </p:sp>
      </p:grpSp>
      <p:sp>
        <p:nvSpPr>
          <p:cNvPr id="6" name="Titre 5">
            <a:extLst>
              <a:ext uri="{FF2B5EF4-FFF2-40B4-BE49-F238E27FC236}">
                <a16:creationId xmlns:a16="http://schemas.microsoft.com/office/drawing/2014/main" id="{8C39621B-82C3-4BA4-9151-AAA3B67AE852}"/>
              </a:ext>
            </a:extLst>
          </p:cNvPr>
          <p:cNvSpPr>
            <a:spLocks noGrp="1"/>
          </p:cNvSpPr>
          <p:nvPr>
            <p:ph type="title"/>
          </p:nvPr>
        </p:nvSpPr>
        <p:spPr/>
        <p:txBody>
          <a:bodyPr/>
          <a:lstStyle/>
          <a:p>
            <a:r>
              <a:rPr lang="en-GB"/>
              <a:t>Slide message – three ideas</a:t>
            </a:r>
            <a:endParaRPr lang="en-GB" dirty="0"/>
          </a:p>
        </p:txBody>
      </p:sp>
      <p:sp>
        <p:nvSpPr>
          <p:cNvPr id="58" name="Rectangle 57">
            <a:extLst>
              <a:ext uri="{FF2B5EF4-FFF2-40B4-BE49-F238E27FC236}">
                <a16:creationId xmlns:a16="http://schemas.microsoft.com/office/drawing/2014/main" id="{C197440B-A8E2-405A-AFDA-585C7C8F8651}"/>
              </a:ext>
            </a:extLst>
          </p:cNvPr>
          <p:cNvSpPr/>
          <p:nvPr/>
        </p:nvSpPr>
        <p:spPr>
          <a:xfrm>
            <a:off x="3306420" y="1653500"/>
            <a:ext cx="5095797" cy="15118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t"/>
          <a:lstStyle/>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XX</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YY</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ZZ</a:t>
            </a:r>
            <a:endParaRPr lang="en-GB" sz="1600" dirty="0">
              <a:solidFill>
                <a:schemeClr val="tx1"/>
              </a:solidFill>
            </a:endParaRPr>
          </a:p>
        </p:txBody>
      </p:sp>
      <p:sp>
        <p:nvSpPr>
          <p:cNvPr id="59" name="Rectangle 58">
            <a:extLst>
              <a:ext uri="{FF2B5EF4-FFF2-40B4-BE49-F238E27FC236}">
                <a16:creationId xmlns:a16="http://schemas.microsoft.com/office/drawing/2014/main" id="{B558B3A3-A5E8-42B6-BC7F-5BCFB84C2A1D}"/>
              </a:ext>
            </a:extLst>
          </p:cNvPr>
          <p:cNvSpPr/>
          <p:nvPr/>
        </p:nvSpPr>
        <p:spPr>
          <a:xfrm>
            <a:off x="1264356" y="1653680"/>
            <a:ext cx="1665618" cy="1511636"/>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algn="l">
              <a:spcBef>
                <a:spcPts val="400"/>
              </a:spcBef>
              <a:spcAft>
                <a:spcPts val="400"/>
              </a:spcAft>
            </a:pPr>
            <a:r>
              <a:rPr lang="en-GB" sz="1600" b="1">
                <a:solidFill>
                  <a:schemeClr val="accent2"/>
                </a:solidFill>
              </a:rPr>
              <a:t>Idea 1</a:t>
            </a:r>
            <a:endParaRPr lang="en-GB" sz="1600" b="1" dirty="0">
              <a:solidFill>
                <a:schemeClr val="accent2"/>
              </a:solidFill>
            </a:endParaRPr>
          </a:p>
        </p:txBody>
      </p:sp>
      <p:cxnSp>
        <p:nvCxnSpPr>
          <p:cNvPr id="60" name="Connecteur droit avec flèche 84">
            <a:extLst>
              <a:ext uri="{FF2B5EF4-FFF2-40B4-BE49-F238E27FC236}">
                <a16:creationId xmlns:a16="http://schemas.microsoft.com/office/drawing/2014/main" id="{AD1849E9-CC8C-499F-90DC-D6360E58C498}"/>
              </a:ext>
            </a:extLst>
          </p:cNvPr>
          <p:cNvCxnSpPr/>
          <p:nvPr/>
        </p:nvCxnSpPr>
        <p:spPr>
          <a:xfrm flipV="1">
            <a:off x="2805185" y="2409498"/>
            <a:ext cx="324110" cy="0"/>
          </a:xfrm>
          <a:prstGeom prst="straightConnector1">
            <a:avLst/>
          </a:prstGeom>
          <a:ln>
            <a:no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61" name="Connecteur droit 86">
            <a:extLst>
              <a:ext uri="{FF2B5EF4-FFF2-40B4-BE49-F238E27FC236}">
                <a16:creationId xmlns:a16="http://schemas.microsoft.com/office/drawing/2014/main" id="{FD29922B-D8EC-4924-838A-2B966321193F}"/>
              </a:ext>
            </a:extLst>
          </p:cNvPr>
          <p:cNvCxnSpPr/>
          <p:nvPr/>
        </p:nvCxnSpPr>
        <p:spPr>
          <a:xfrm flipH="1">
            <a:off x="3195609" y="1653498"/>
            <a:ext cx="0" cy="1512000"/>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62" name="Ellipse 87">
            <a:extLst>
              <a:ext uri="{FF2B5EF4-FFF2-40B4-BE49-F238E27FC236}">
                <a16:creationId xmlns:a16="http://schemas.microsoft.com/office/drawing/2014/main" id="{F7E8189F-EBB6-4BCD-A6F3-962BDF3BB8CA}"/>
              </a:ext>
            </a:extLst>
          </p:cNvPr>
          <p:cNvSpPr/>
          <p:nvPr/>
        </p:nvSpPr>
        <p:spPr>
          <a:xfrm>
            <a:off x="2824925" y="2300998"/>
            <a:ext cx="216000" cy="217003"/>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cxnSp>
        <p:nvCxnSpPr>
          <p:cNvPr id="63" name="Connecteur droit 90">
            <a:extLst>
              <a:ext uri="{FF2B5EF4-FFF2-40B4-BE49-F238E27FC236}">
                <a16:creationId xmlns:a16="http://schemas.microsoft.com/office/drawing/2014/main" id="{CC740703-17A4-421A-80B9-3181D711132E}"/>
              </a:ext>
            </a:extLst>
          </p:cNvPr>
          <p:cNvCxnSpPr/>
          <p:nvPr/>
        </p:nvCxnSpPr>
        <p:spPr>
          <a:xfrm flipH="1">
            <a:off x="2952321" y="2409342"/>
            <a:ext cx="243289" cy="315"/>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64" name="Ellipse 92">
            <a:extLst>
              <a:ext uri="{FF2B5EF4-FFF2-40B4-BE49-F238E27FC236}">
                <a16:creationId xmlns:a16="http://schemas.microsoft.com/office/drawing/2014/main" id="{D6B9C440-A6E7-4EC4-895D-D4F20D4DB51F}"/>
              </a:ext>
            </a:extLst>
          </p:cNvPr>
          <p:cNvSpPr/>
          <p:nvPr/>
        </p:nvSpPr>
        <p:spPr>
          <a:xfrm>
            <a:off x="2860925" y="2337498"/>
            <a:ext cx="144000" cy="144000"/>
          </a:xfrm>
          <a:prstGeom prst="ellipse">
            <a:avLst/>
          </a:prstGeom>
          <a:solidFill>
            <a:srgbClr val="C1B5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sp>
        <p:nvSpPr>
          <p:cNvPr id="77" name="Rectangle 76">
            <a:extLst>
              <a:ext uri="{FF2B5EF4-FFF2-40B4-BE49-F238E27FC236}">
                <a16:creationId xmlns:a16="http://schemas.microsoft.com/office/drawing/2014/main" id="{D624F69C-DD89-408B-BE2C-FB054FB6C834}"/>
              </a:ext>
            </a:extLst>
          </p:cNvPr>
          <p:cNvSpPr/>
          <p:nvPr/>
        </p:nvSpPr>
        <p:spPr>
          <a:xfrm>
            <a:off x="940252" y="1653680"/>
            <a:ext cx="324103" cy="1511636"/>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nchorCtr="0"/>
          <a:lstStyle/>
          <a:p>
            <a:pPr algn="l">
              <a:spcBef>
                <a:spcPts val="400"/>
              </a:spcBef>
              <a:spcAft>
                <a:spcPts val="400"/>
              </a:spcAft>
            </a:pPr>
            <a:r>
              <a:rPr lang="en-GB" sz="1600" b="1">
                <a:solidFill>
                  <a:srgbClr val="FFFFFF"/>
                </a:solidFill>
              </a:rPr>
              <a:t>1</a:t>
            </a:r>
            <a:endParaRPr lang="en-GB" sz="1600" b="1" dirty="0">
              <a:solidFill>
                <a:srgbClr val="FFFFFF"/>
              </a:solidFill>
            </a:endParaRPr>
          </a:p>
        </p:txBody>
      </p:sp>
      <p:sp>
        <p:nvSpPr>
          <p:cNvPr id="65" name="Rectangle 64">
            <a:extLst>
              <a:ext uri="{FF2B5EF4-FFF2-40B4-BE49-F238E27FC236}">
                <a16:creationId xmlns:a16="http://schemas.microsoft.com/office/drawing/2014/main" id="{EFC59426-54A5-461C-B92E-E954306800A3}"/>
              </a:ext>
            </a:extLst>
          </p:cNvPr>
          <p:cNvSpPr/>
          <p:nvPr/>
        </p:nvSpPr>
        <p:spPr>
          <a:xfrm>
            <a:off x="1264356" y="3249584"/>
            <a:ext cx="1665618" cy="1511636"/>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lvl="0" algn="l">
              <a:spcBef>
                <a:spcPts val="400"/>
              </a:spcBef>
              <a:spcAft>
                <a:spcPts val="400"/>
              </a:spcAft>
            </a:pPr>
            <a:r>
              <a:rPr lang="en-GB" sz="1600" b="1">
                <a:solidFill>
                  <a:schemeClr val="accent2"/>
                </a:solidFill>
              </a:rPr>
              <a:t>Idea 2</a:t>
            </a:r>
            <a:endParaRPr lang="en-GB" sz="1600" b="1" dirty="0">
              <a:solidFill>
                <a:schemeClr val="accent2"/>
              </a:solidFill>
            </a:endParaRPr>
          </a:p>
        </p:txBody>
      </p:sp>
      <p:cxnSp>
        <p:nvCxnSpPr>
          <p:cNvPr id="66" name="Connecteur droit avec flèche 147">
            <a:extLst>
              <a:ext uri="{FF2B5EF4-FFF2-40B4-BE49-F238E27FC236}">
                <a16:creationId xmlns:a16="http://schemas.microsoft.com/office/drawing/2014/main" id="{CE09365A-B599-4900-B56B-1D49994C959C}"/>
              </a:ext>
            </a:extLst>
          </p:cNvPr>
          <p:cNvCxnSpPr/>
          <p:nvPr/>
        </p:nvCxnSpPr>
        <p:spPr>
          <a:xfrm flipV="1">
            <a:off x="2805185" y="4005559"/>
            <a:ext cx="324110" cy="0"/>
          </a:xfrm>
          <a:prstGeom prst="straightConnector1">
            <a:avLst/>
          </a:prstGeom>
          <a:ln>
            <a:no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67" name="Connecteur droit 150">
            <a:extLst>
              <a:ext uri="{FF2B5EF4-FFF2-40B4-BE49-F238E27FC236}">
                <a16:creationId xmlns:a16="http://schemas.microsoft.com/office/drawing/2014/main" id="{1A099652-AB0D-40C6-A385-76E0F9A5DC13}"/>
              </a:ext>
            </a:extLst>
          </p:cNvPr>
          <p:cNvCxnSpPr/>
          <p:nvPr/>
        </p:nvCxnSpPr>
        <p:spPr>
          <a:xfrm flipH="1">
            <a:off x="3195609" y="3249741"/>
            <a:ext cx="0" cy="1511636"/>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68" name="Ellipse 153">
            <a:extLst>
              <a:ext uri="{FF2B5EF4-FFF2-40B4-BE49-F238E27FC236}">
                <a16:creationId xmlns:a16="http://schemas.microsoft.com/office/drawing/2014/main" id="{5AAD5820-EC00-40CA-BA86-CEED4EB4E668}"/>
              </a:ext>
            </a:extLst>
          </p:cNvPr>
          <p:cNvSpPr/>
          <p:nvPr/>
        </p:nvSpPr>
        <p:spPr>
          <a:xfrm>
            <a:off x="2824925" y="3897059"/>
            <a:ext cx="216000" cy="217003"/>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cxnSp>
        <p:nvCxnSpPr>
          <p:cNvPr id="69" name="Connecteur droit 154">
            <a:extLst>
              <a:ext uri="{FF2B5EF4-FFF2-40B4-BE49-F238E27FC236}">
                <a16:creationId xmlns:a16="http://schemas.microsoft.com/office/drawing/2014/main" id="{21873B59-EA8A-4473-9F44-8C9157F36367}"/>
              </a:ext>
            </a:extLst>
          </p:cNvPr>
          <p:cNvCxnSpPr/>
          <p:nvPr/>
        </p:nvCxnSpPr>
        <p:spPr>
          <a:xfrm flipH="1">
            <a:off x="2952321" y="4005403"/>
            <a:ext cx="243289" cy="315"/>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70" name="Ellipse 155">
            <a:extLst>
              <a:ext uri="{FF2B5EF4-FFF2-40B4-BE49-F238E27FC236}">
                <a16:creationId xmlns:a16="http://schemas.microsoft.com/office/drawing/2014/main" id="{729CE6E8-039A-4E4A-AFC7-CE567C4CD188}"/>
              </a:ext>
            </a:extLst>
          </p:cNvPr>
          <p:cNvSpPr/>
          <p:nvPr/>
        </p:nvSpPr>
        <p:spPr>
          <a:xfrm>
            <a:off x="2860925" y="3933559"/>
            <a:ext cx="144000" cy="144000"/>
          </a:xfrm>
          <a:prstGeom prst="ellipse">
            <a:avLst/>
          </a:prstGeom>
          <a:solidFill>
            <a:srgbClr val="C1B5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sp>
        <p:nvSpPr>
          <p:cNvPr id="71" name="Rectangle 70">
            <a:extLst>
              <a:ext uri="{FF2B5EF4-FFF2-40B4-BE49-F238E27FC236}">
                <a16:creationId xmlns:a16="http://schemas.microsoft.com/office/drawing/2014/main" id="{C5DE7995-72F4-47AA-8F21-F606EF3643F0}"/>
              </a:ext>
            </a:extLst>
          </p:cNvPr>
          <p:cNvSpPr/>
          <p:nvPr/>
        </p:nvSpPr>
        <p:spPr>
          <a:xfrm>
            <a:off x="3306420" y="3249742"/>
            <a:ext cx="5095797" cy="15118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t"/>
          <a:lstStyle/>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XX</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YY</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ZZ</a:t>
            </a:r>
            <a:endParaRPr lang="en-GB" sz="1600" dirty="0">
              <a:solidFill>
                <a:schemeClr val="tx1"/>
              </a:solidFill>
            </a:endParaRPr>
          </a:p>
        </p:txBody>
      </p:sp>
      <p:sp>
        <p:nvSpPr>
          <p:cNvPr id="87" name="Rectangle 86">
            <a:extLst>
              <a:ext uri="{FF2B5EF4-FFF2-40B4-BE49-F238E27FC236}">
                <a16:creationId xmlns:a16="http://schemas.microsoft.com/office/drawing/2014/main" id="{E7E665F1-2C9C-4A03-A66F-AB6C60799A06}"/>
              </a:ext>
            </a:extLst>
          </p:cNvPr>
          <p:cNvSpPr/>
          <p:nvPr/>
        </p:nvSpPr>
        <p:spPr>
          <a:xfrm>
            <a:off x="947620" y="3249584"/>
            <a:ext cx="324103" cy="1511636"/>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nchorCtr="0"/>
          <a:lstStyle/>
          <a:p>
            <a:pPr lvl="0" algn="l">
              <a:spcBef>
                <a:spcPts val="400"/>
              </a:spcBef>
              <a:spcAft>
                <a:spcPts val="400"/>
              </a:spcAft>
            </a:pPr>
            <a:r>
              <a:rPr lang="en-GB" sz="1600" b="1">
                <a:solidFill>
                  <a:srgbClr val="FFFFFF"/>
                </a:solidFill>
              </a:rPr>
              <a:t>2</a:t>
            </a:r>
            <a:endParaRPr lang="en-GB" sz="1600" b="1" dirty="0">
              <a:solidFill>
                <a:srgbClr val="FFFFFF"/>
              </a:solidFill>
            </a:endParaRPr>
          </a:p>
        </p:txBody>
      </p:sp>
      <p:sp>
        <p:nvSpPr>
          <p:cNvPr id="104" name="Rectangle 103">
            <a:extLst>
              <a:ext uri="{FF2B5EF4-FFF2-40B4-BE49-F238E27FC236}">
                <a16:creationId xmlns:a16="http://schemas.microsoft.com/office/drawing/2014/main" id="{87BC4ECB-28A6-4886-8416-FF8F6B5FBB27}"/>
              </a:ext>
            </a:extLst>
          </p:cNvPr>
          <p:cNvSpPr/>
          <p:nvPr/>
        </p:nvSpPr>
        <p:spPr>
          <a:xfrm>
            <a:off x="1264356" y="4848650"/>
            <a:ext cx="1665618" cy="1511636"/>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lvl="0" algn="l">
              <a:spcBef>
                <a:spcPts val="400"/>
              </a:spcBef>
              <a:spcAft>
                <a:spcPts val="400"/>
              </a:spcAft>
            </a:pPr>
            <a:r>
              <a:rPr lang="en-GB" sz="1600" b="1">
                <a:solidFill>
                  <a:schemeClr val="accent2"/>
                </a:solidFill>
              </a:rPr>
              <a:t>Idea 3</a:t>
            </a:r>
            <a:endParaRPr lang="en-GB" sz="1600" b="1" dirty="0">
              <a:solidFill>
                <a:schemeClr val="accent2"/>
              </a:solidFill>
            </a:endParaRPr>
          </a:p>
        </p:txBody>
      </p:sp>
      <p:cxnSp>
        <p:nvCxnSpPr>
          <p:cNvPr id="105" name="Connecteur droit avec flèche 147">
            <a:extLst>
              <a:ext uri="{FF2B5EF4-FFF2-40B4-BE49-F238E27FC236}">
                <a16:creationId xmlns:a16="http://schemas.microsoft.com/office/drawing/2014/main" id="{8EB7D511-4155-447C-AAE2-2385138611DC}"/>
              </a:ext>
            </a:extLst>
          </p:cNvPr>
          <p:cNvCxnSpPr/>
          <p:nvPr/>
        </p:nvCxnSpPr>
        <p:spPr>
          <a:xfrm flipV="1">
            <a:off x="2805185" y="5604625"/>
            <a:ext cx="324110" cy="0"/>
          </a:xfrm>
          <a:prstGeom prst="straightConnector1">
            <a:avLst/>
          </a:prstGeom>
          <a:ln>
            <a:no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108" name="Connecteur droit 150">
            <a:extLst>
              <a:ext uri="{FF2B5EF4-FFF2-40B4-BE49-F238E27FC236}">
                <a16:creationId xmlns:a16="http://schemas.microsoft.com/office/drawing/2014/main" id="{0AA4F30B-1105-4A5F-81E3-554739EDF4D0}"/>
              </a:ext>
            </a:extLst>
          </p:cNvPr>
          <p:cNvCxnSpPr/>
          <p:nvPr/>
        </p:nvCxnSpPr>
        <p:spPr>
          <a:xfrm flipH="1">
            <a:off x="3195609" y="4848807"/>
            <a:ext cx="0" cy="1511636"/>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117" name="Ellipse 153">
            <a:extLst>
              <a:ext uri="{FF2B5EF4-FFF2-40B4-BE49-F238E27FC236}">
                <a16:creationId xmlns:a16="http://schemas.microsoft.com/office/drawing/2014/main" id="{0FDDDA61-3E19-4FD8-A65A-4B9D53802092}"/>
              </a:ext>
            </a:extLst>
          </p:cNvPr>
          <p:cNvSpPr/>
          <p:nvPr/>
        </p:nvSpPr>
        <p:spPr>
          <a:xfrm>
            <a:off x="2824925" y="5496125"/>
            <a:ext cx="216000" cy="217003"/>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cxnSp>
        <p:nvCxnSpPr>
          <p:cNvPr id="126" name="Connecteur droit 154">
            <a:extLst>
              <a:ext uri="{FF2B5EF4-FFF2-40B4-BE49-F238E27FC236}">
                <a16:creationId xmlns:a16="http://schemas.microsoft.com/office/drawing/2014/main" id="{E786C2B9-FD23-4792-9679-D83AEE9D50AB}"/>
              </a:ext>
            </a:extLst>
          </p:cNvPr>
          <p:cNvCxnSpPr/>
          <p:nvPr/>
        </p:nvCxnSpPr>
        <p:spPr>
          <a:xfrm flipH="1">
            <a:off x="2952321" y="5604469"/>
            <a:ext cx="243289" cy="315"/>
          </a:xfrm>
          <a:prstGeom prst="line">
            <a:avLst/>
          </a:prstGeom>
          <a:ln>
            <a:solidFill>
              <a:srgbClr val="C1B5B9"/>
            </a:solidFill>
          </a:ln>
        </p:spPr>
        <p:style>
          <a:lnRef idx="1">
            <a:schemeClr val="accent1"/>
          </a:lnRef>
          <a:fillRef idx="0">
            <a:schemeClr val="accent1"/>
          </a:fillRef>
          <a:effectRef idx="0">
            <a:schemeClr val="accent1"/>
          </a:effectRef>
          <a:fontRef idx="minor">
            <a:schemeClr val="tx1"/>
          </a:fontRef>
        </p:style>
      </p:cxnSp>
      <p:sp>
        <p:nvSpPr>
          <p:cNvPr id="127" name="Ellipse 155">
            <a:extLst>
              <a:ext uri="{FF2B5EF4-FFF2-40B4-BE49-F238E27FC236}">
                <a16:creationId xmlns:a16="http://schemas.microsoft.com/office/drawing/2014/main" id="{0CBE5410-B690-42EF-8867-33E25D9D17A4}"/>
              </a:ext>
            </a:extLst>
          </p:cNvPr>
          <p:cNvSpPr/>
          <p:nvPr/>
        </p:nvSpPr>
        <p:spPr>
          <a:xfrm>
            <a:off x="2860925" y="5532625"/>
            <a:ext cx="144000" cy="144000"/>
          </a:xfrm>
          <a:prstGeom prst="ellipse">
            <a:avLst/>
          </a:prstGeom>
          <a:solidFill>
            <a:srgbClr val="C1B5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Bef>
                <a:spcPts val="400"/>
              </a:spcBef>
              <a:spcAft>
                <a:spcPts val="400"/>
              </a:spcAft>
            </a:pPr>
            <a:endParaRPr lang="en-GB" sz="1600" dirty="0">
              <a:solidFill>
                <a:srgbClr val="000000"/>
              </a:solidFill>
            </a:endParaRPr>
          </a:p>
        </p:txBody>
      </p:sp>
      <p:sp>
        <p:nvSpPr>
          <p:cNvPr id="128" name="Rectangle 127">
            <a:extLst>
              <a:ext uri="{FF2B5EF4-FFF2-40B4-BE49-F238E27FC236}">
                <a16:creationId xmlns:a16="http://schemas.microsoft.com/office/drawing/2014/main" id="{FF671833-6421-4E1F-A668-A5255AFCB427}"/>
              </a:ext>
            </a:extLst>
          </p:cNvPr>
          <p:cNvSpPr/>
          <p:nvPr/>
        </p:nvSpPr>
        <p:spPr>
          <a:xfrm>
            <a:off x="3306420" y="4848808"/>
            <a:ext cx="5095797" cy="151181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t"/>
          <a:lstStyle/>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XX</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YY</a:t>
            </a:r>
          </a:p>
          <a:p>
            <a:pPr marL="285750" lvl="1" indent="-285750" algn="l" defTabSz="1125444" eaLnBrk="1" hangingPunct="1">
              <a:spcBef>
                <a:spcPts val="840"/>
              </a:spcBef>
              <a:spcAft>
                <a:spcPts val="0"/>
              </a:spcAft>
              <a:buClr>
                <a:srgbClr val="C2C2C2"/>
              </a:buClr>
              <a:buSzPct val="77000"/>
              <a:buFont typeface="Wingdings 3" panose="05040102010807070707" pitchFamily="18" charset="2"/>
              <a:buChar char=""/>
            </a:pPr>
            <a:r>
              <a:rPr lang="en-GB" sz="1600">
                <a:solidFill>
                  <a:schemeClr val="tx1"/>
                </a:solidFill>
              </a:rPr>
              <a:t>ZZ</a:t>
            </a:r>
            <a:endParaRPr lang="en-GB" sz="1600" dirty="0">
              <a:solidFill>
                <a:schemeClr val="tx1"/>
              </a:solidFill>
            </a:endParaRPr>
          </a:p>
        </p:txBody>
      </p:sp>
      <p:sp>
        <p:nvSpPr>
          <p:cNvPr id="129" name="Rectangle 128">
            <a:extLst>
              <a:ext uri="{FF2B5EF4-FFF2-40B4-BE49-F238E27FC236}">
                <a16:creationId xmlns:a16="http://schemas.microsoft.com/office/drawing/2014/main" id="{A1F6A0B7-A451-4F74-8387-08F7EF07F5F0}"/>
              </a:ext>
            </a:extLst>
          </p:cNvPr>
          <p:cNvSpPr/>
          <p:nvPr/>
        </p:nvSpPr>
        <p:spPr>
          <a:xfrm>
            <a:off x="947620" y="4848650"/>
            <a:ext cx="324103" cy="1511636"/>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nchorCtr="0"/>
          <a:lstStyle/>
          <a:p>
            <a:pPr lvl="0" algn="l">
              <a:spcBef>
                <a:spcPts val="400"/>
              </a:spcBef>
              <a:spcAft>
                <a:spcPts val="400"/>
              </a:spcAft>
            </a:pPr>
            <a:r>
              <a:rPr lang="en-GB" sz="1600" b="1">
                <a:solidFill>
                  <a:srgbClr val="FFFFFF"/>
                </a:solidFill>
              </a:rPr>
              <a:t>3</a:t>
            </a:r>
            <a:endParaRPr lang="en-GB" sz="1600" b="1" dirty="0">
              <a:solidFill>
                <a:srgbClr val="FFFFFF"/>
              </a:solidFill>
            </a:endParaRPr>
          </a:p>
        </p:txBody>
      </p:sp>
      <p:pic>
        <p:nvPicPr>
          <p:cNvPr id="91" name="Graphique 90">
            <a:extLst>
              <a:ext uri="{FF2B5EF4-FFF2-40B4-BE49-F238E27FC236}">
                <a16:creationId xmlns:a16="http://schemas.microsoft.com/office/drawing/2014/main" id="{5F57CD73-C9F2-4F26-9260-925BF0A996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87427" y="3146425"/>
            <a:ext cx="426575" cy="431018"/>
          </a:xfrm>
          <a:prstGeom prst="rect">
            <a:avLst/>
          </a:prstGeom>
        </p:spPr>
      </p:pic>
      <p:pic>
        <p:nvPicPr>
          <p:cNvPr id="97" name="Graphique 96">
            <a:extLst>
              <a:ext uri="{FF2B5EF4-FFF2-40B4-BE49-F238E27FC236}">
                <a16:creationId xmlns:a16="http://schemas.microsoft.com/office/drawing/2014/main" id="{E0199C75-0781-40EE-8071-EF124094CF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05201" y="2535398"/>
            <a:ext cx="391026" cy="391026"/>
          </a:xfrm>
          <a:prstGeom prst="rect">
            <a:avLst/>
          </a:prstGeom>
        </p:spPr>
      </p:pic>
      <p:pic>
        <p:nvPicPr>
          <p:cNvPr id="98" name="Graphique 97">
            <a:extLst>
              <a:ext uri="{FF2B5EF4-FFF2-40B4-BE49-F238E27FC236}">
                <a16:creationId xmlns:a16="http://schemas.microsoft.com/office/drawing/2014/main" id="{815A7C5D-4B66-4481-805E-05FB9DB3185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02980" y="1991470"/>
            <a:ext cx="395469" cy="395469"/>
          </a:xfrm>
          <a:prstGeom prst="rect">
            <a:avLst/>
          </a:prstGeom>
        </p:spPr>
      </p:pic>
    </p:spTree>
    <p:extLst>
      <p:ext uri="{BB962C8B-B14F-4D97-AF65-F5344CB8AC3E}">
        <p14:creationId xmlns:p14="http://schemas.microsoft.com/office/powerpoint/2010/main" val="1825695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HAPE_LOCKS" val="1931"/>
</p:tagLst>
</file>

<file path=ppt/tags/tag101.xml><?xml version="1.0" encoding="utf-8"?>
<p:tagLst xmlns:a="http://schemas.openxmlformats.org/drawingml/2006/main" xmlns:r="http://schemas.openxmlformats.org/officeDocument/2006/relationships" xmlns:p="http://schemas.openxmlformats.org/presentationml/2006/main">
  <p:tag name="SHAPE_LOCKS" val="1931"/>
</p:tagLst>
</file>

<file path=ppt/tags/tag102.xml><?xml version="1.0" encoding="utf-8"?>
<p:tagLst xmlns:a="http://schemas.openxmlformats.org/drawingml/2006/main" xmlns:r="http://schemas.openxmlformats.org/officeDocument/2006/relationships" xmlns:p="http://schemas.openxmlformats.org/presentationml/2006/main">
  <p:tag name="SHAPE_LOCKS" val="1931"/>
</p:tagLst>
</file>

<file path=ppt/tags/tag103.xml><?xml version="1.0" encoding="utf-8"?>
<p:tagLst xmlns:a="http://schemas.openxmlformats.org/drawingml/2006/main" xmlns:r="http://schemas.openxmlformats.org/officeDocument/2006/relationships" xmlns:p="http://schemas.openxmlformats.org/presentationml/2006/main">
  <p:tag name="SHAPE_LOCKS" val="1931"/>
</p:tagLst>
</file>

<file path=ppt/tags/tag104.xml><?xml version="1.0" encoding="utf-8"?>
<p:tagLst xmlns:a="http://schemas.openxmlformats.org/drawingml/2006/main" xmlns:r="http://schemas.openxmlformats.org/officeDocument/2006/relationships" xmlns:p="http://schemas.openxmlformats.org/presentationml/2006/main">
  <p:tag name="SHAPE_LOCKS" val="1931"/>
</p:tagLst>
</file>

<file path=ppt/tags/tag105.xml><?xml version="1.0" encoding="utf-8"?>
<p:tagLst xmlns:a="http://schemas.openxmlformats.org/drawingml/2006/main" xmlns:r="http://schemas.openxmlformats.org/officeDocument/2006/relationships" xmlns:p="http://schemas.openxmlformats.org/presentationml/2006/main">
  <p:tag name="SHAPE_LOCKS" val="1931"/>
</p:tagLst>
</file>

<file path=ppt/tags/tag106.xml><?xml version="1.0" encoding="utf-8"?>
<p:tagLst xmlns:a="http://schemas.openxmlformats.org/drawingml/2006/main" xmlns:r="http://schemas.openxmlformats.org/officeDocument/2006/relationships" xmlns:p="http://schemas.openxmlformats.org/presentationml/2006/main">
  <p:tag name="SHAPE_LOCKS" val="1931"/>
</p:tagLst>
</file>

<file path=ppt/tags/tag107.xml><?xml version="1.0" encoding="utf-8"?>
<p:tagLst xmlns:a="http://schemas.openxmlformats.org/drawingml/2006/main" xmlns:r="http://schemas.openxmlformats.org/officeDocument/2006/relationships" xmlns:p="http://schemas.openxmlformats.org/presentationml/2006/main">
  <p:tag name="SHAPE_LOCKS" val="1931"/>
</p:tagLst>
</file>

<file path=ppt/tags/tag108.xml><?xml version="1.0" encoding="utf-8"?>
<p:tagLst xmlns:a="http://schemas.openxmlformats.org/drawingml/2006/main" xmlns:r="http://schemas.openxmlformats.org/officeDocument/2006/relationships" xmlns:p="http://schemas.openxmlformats.org/presentationml/2006/main">
  <p:tag name="SHAPE_LOCKS" val="1931"/>
</p:tagLst>
</file>

<file path=ppt/tags/tag109.xml><?xml version="1.0" encoding="utf-8"?>
<p:tagLst xmlns:a="http://schemas.openxmlformats.org/drawingml/2006/main" xmlns:r="http://schemas.openxmlformats.org/officeDocument/2006/relationships" xmlns:p="http://schemas.openxmlformats.org/presentationml/2006/main">
  <p:tag name="SHAPE_LOCKS" val="193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qntegipQenYDBbz3ETwQ"/>
</p:tagLst>
</file>

<file path=ppt/tags/tag110.xml><?xml version="1.0" encoding="utf-8"?>
<p:tagLst xmlns:a="http://schemas.openxmlformats.org/drawingml/2006/main" xmlns:r="http://schemas.openxmlformats.org/officeDocument/2006/relationships" xmlns:p="http://schemas.openxmlformats.org/presentationml/2006/main">
  <p:tag name="SHAPE_LOCKS" val="1931"/>
</p:tagLst>
</file>

<file path=ppt/tags/tag111.xml><?xml version="1.0" encoding="utf-8"?>
<p:tagLst xmlns:a="http://schemas.openxmlformats.org/drawingml/2006/main" xmlns:r="http://schemas.openxmlformats.org/officeDocument/2006/relationships" xmlns:p="http://schemas.openxmlformats.org/presentationml/2006/main">
  <p:tag name="SHAPE_LOCKS" val="1931"/>
</p:tagLst>
</file>

<file path=ppt/tags/tag112.xml><?xml version="1.0" encoding="utf-8"?>
<p:tagLst xmlns:a="http://schemas.openxmlformats.org/drawingml/2006/main" xmlns:r="http://schemas.openxmlformats.org/officeDocument/2006/relationships" xmlns:p="http://schemas.openxmlformats.org/presentationml/2006/main">
  <p:tag name="SHAPE_LOCKS" val="1931"/>
</p:tagLst>
</file>

<file path=ppt/tags/tag113.xml><?xml version="1.0" encoding="utf-8"?>
<p:tagLst xmlns:a="http://schemas.openxmlformats.org/drawingml/2006/main" xmlns:r="http://schemas.openxmlformats.org/officeDocument/2006/relationships" xmlns:p="http://schemas.openxmlformats.org/presentationml/2006/main">
  <p:tag name="SHAPE_LOCKS" val="1931"/>
</p:tagLst>
</file>

<file path=ppt/tags/tag114.xml><?xml version="1.0" encoding="utf-8"?>
<p:tagLst xmlns:a="http://schemas.openxmlformats.org/drawingml/2006/main" xmlns:r="http://schemas.openxmlformats.org/officeDocument/2006/relationships" xmlns:p="http://schemas.openxmlformats.org/presentationml/2006/main">
  <p:tag name="SHAPE_LOCKS" val="1931"/>
</p:tagLst>
</file>

<file path=ppt/tags/tag115.xml><?xml version="1.0" encoding="utf-8"?>
<p:tagLst xmlns:a="http://schemas.openxmlformats.org/drawingml/2006/main" xmlns:r="http://schemas.openxmlformats.org/officeDocument/2006/relationships" xmlns:p="http://schemas.openxmlformats.org/presentationml/2006/main">
  <p:tag name="SHAPE_LOCKS" val="193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5XDij3UQrIbNnkBxnXD.Aw"/>
</p:tagLst>
</file>

<file path=ppt/tags/tag118.xml><?xml version="1.0" encoding="utf-8"?>
<p:tagLst xmlns:a="http://schemas.openxmlformats.org/drawingml/2006/main" xmlns:r="http://schemas.openxmlformats.org/officeDocument/2006/relationships" xmlns:p="http://schemas.openxmlformats.org/presentationml/2006/main">
  <p:tag name="SHAPE_LOCKS" val="1931"/>
</p:tagLst>
</file>

<file path=ppt/tags/tag119.xml><?xml version="1.0" encoding="utf-8"?>
<p:tagLst xmlns:a="http://schemas.openxmlformats.org/drawingml/2006/main" xmlns:r="http://schemas.openxmlformats.org/officeDocument/2006/relationships" xmlns:p="http://schemas.openxmlformats.org/presentationml/2006/main">
  <p:tag name="SHAPE_LOCKS" val="193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HAPE_LOCKS" val="1931"/>
</p:tagLst>
</file>

<file path=ppt/tags/tag121.xml><?xml version="1.0" encoding="utf-8"?>
<p:tagLst xmlns:a="http://schemas.openxmlformats.org/drawingml/2006/main" xmlns:r="http://schemas.openxmlformats.org/officeDocument/2006/relationships" xmlns:p="http://schemas.openxmlformats.org/presentationml/2006/main">
  <p:tag name="SHAPE_LOCKS" val="1931"/>
</p:tagLst>
</file>

<file path=ppt/tags/tag122.xml><?xml version="1.0" encoding="utf-8"?>
<p:tagLst xmlns:a="http://schemas.openxmlformats.org/drawingml/2006/main" xmlns:r="http://schemas.openxmlformats.org/officeDocument/2006/relationships" xmlns:p="http://schemas.openxmlformats.org/presentationml/2006/main">
  <p:tag name="SHAPE_LOCKS" val="1931"/>
</p:tagLst>
</file>

<file path=ppt/tags/tag123.xml><?xml version="1.0" encoding="utf-8"?>
<p:tagLst xmlns:a="http://schemas.openxmlformats.org/drawingml/2006/main" xmlns:r="http://schemas.openxmlformats.org/officeDocument/2006/relationships" xmlns:p="http://schemas.openxmlformats.org/presentationml/2006/main">
  <p:tag name="SHAPE_LOCKS" val="1931"/>
</p:tagLst>
</file>

<file path=ppt/tags/tag124.xml><?xml version="1.0" encoding="utf-8"?>
<p:tagLst xmlns:a="http://schemas.openxmlformats.org/drawingml/2006/main" xmlns:r="http://schemas.openxmlformats.org/officeDocument/2006/relationships" xmlns:p="http://schemas.openxmlformats.org/presentationml/2006/main">
  <p:tag name="SHAPE_LOCKS" val="1931"/>
</p:tagLst>
</file>

<file path=ppt/tags/tag125.xml><?xml version="1.0" encoding="utf-8"?>
<p:tagLst xmlns:a="http://schemas.openxmlformats.org/drawingml/2006/main" xmlns:r="http://schemas.openxmlformats.org/officeDocument/2006/relationships" xmlns:p="http://schemas.openxmlformats.org/presentationml/2006/main">
  <p:tag name="SHAPE_LOCKS" val="1931"/>
</p:tagLst>
</file>

<file path=ppt/tags/tag126.xml><?xml version="1.0" encoding="utf-8"?>
<p:tagLst xmlns:a="http://schemas.openxmlformats.org/drawingml/2006/main" xmlns:r="http://schemas.openxmlformats.org/officeDocument/2006/relationships" xmlns:p="http://schemas.openxmlformats.org/presentationml/2006/main">
  <p:tag name="SHAPE_LOCKS" val="1931"/>
</p:tagLst>
</file>

<file path=ppt/tags/tag127.xml><?xml version="1.0" encoding="utf-8"?>
<p:tagLst xmlns:a="http://schemas.openxmlformats.org/drawingml/2006/main" xmlns:r="http://schemas.openxmlformats.org/officeDocument/2006/relationships" xmlns:p="http://schemas.openxmlformats.org/presentationml/2006/main">
  <p:tag name="SHAPE_LOCKS" val="1931"/>
</p:tagLst>
</file>

<file path=ppt/tags/tag128.xml><?xml version="1.0" encoding="utf-8"?>
<p:tagLst xmlns:a="http://schemas.openxmlformats.org/drawingml/2006/main" xmlns:r="http://schemas.openxmlformats.org/officeDocument/2006/relationships" xmlns:p="http://schemas.openxmlformats.org/presentationml/2006/main">
  <p:tag name="SHAPE_LOCKS" val="1931"/>
</p:tagLst>
</file>

<file path=ppt/tags/tag129.xml><?xml version="1.0" encoding="utf-8"?>
<p:tagLst xmlns:a="http://schemas.openxmlformats.org/drawingml/2006/main" xmlns:r="http://schemas.openxmlformats.org/officeDocument/2006/relationships" xmlns:p="http://schemas.openxmlformats.org/presentationml/2006/main">
  <p:tag name="SHAPE_LOCKS" val="193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6e3Aq5UJQFzltGpwRgU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4se6OZ3p.uaJmxEGVUU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0fMdhWbRu27D7bQY9Ep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MMoZXoTQbmO9eSMer.2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0MffX_0BZqooUNJD6MwU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NkJQHKdjm0iDo7TgKvh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jvch.tOcXqqgOWhi6FnqQ"/>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c4hrQAhT9Ww9JmzXttwhQ"/>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c4hrQAhT9Ww9JmzXttwhQ"/>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82.xml><?xml version="1.0" encoding="utf-8"?>
<p:tagLst xmlns:a="http://schemas.openxmlformats.org/drawingml/2006/main" xmlns:r="http://schemas.openxmlformats.org/officeDocument/2006/relationships" xmlns:p="http://schemas.openxmlformats.org/presentationml/2006/main">
  <p:tag name="POWER_USER_ID_TEMPLATES" val="Bar_chart_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BbJdU3XBDh_KMwWtWdaO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5TzbcvyNnhlmk6oYV64F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BOe_PNsMbz8NoksBprgu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b6F9AIydjlhCi1q6iK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Gn3M_4g_E87iJSknbtbG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P91Sm.cRTOY_PnqoJ5zV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97.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true"/>
  <p:tag name="CAPTION HEIGHT" val="2"/>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5MSecesnZ15Ms2r2Ag46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XREYxYoCQXQJN8HTPNDV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yb8xLLEGZbRpXGBB_RTN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yb8xLLEGZbRpXGBB_RT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yb8xLLEGZbRpXGBB_RT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MxiXjNerH1RmhEKri8o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MxiXjNerH1RmhEKri8oi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MxiXjNerH1RmhEKri8o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1AbvDAHdiP0C5kbxqpE8V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1AbvDAHdiP0C5kbxqpE8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ynxQ.qYdpS3_6L90DYysw"/>
</p:tagLst>
</file>

<file path=ppt/tags/tag220.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E_2AOYN1VxNM3UgKL8xGw"/>
</p:tagLst>
</file>

<file path=ppt/tags/tag223.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E_2AOYN1VxNM3UgKL8xGw"/>
</p:tagLst>
</file>

<file path=ppt/tags/tag226.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E_2AOYN1VxNM3UgKL8xGw"/>
</p:tagLst>
</file>

<file path=ppt/tags/tag229.xml><?xml version="1.0" encoding="utf-8"?>
<p:tagLst xmlns:a="http://schemas.openxmlformats.org/drawingml/2006/main" xmlns:r="http://schemas.openxmlformats.org/officeDocument/2006/relationships" xmlns:p="http://schemas.openxmlformats.org/presentationml/2006/main">
  <p:tag name="POWER_USER_ID_TEMPLATES" val="Circles_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oGI3BKKv9H6fYpaWKnX4w"/>
</p:tagLst>
</file>

<file path=ppt/tags/tag232.xml><?xml version="1.0" encoding="utf-8"?>
<p:tagLst xmlns:a="http://schemas.openxmlformats.org/drawingml/2006/main" xmlns:r="http://schemas.openxmlformats.org/officeDocument/2006/relationships" xmlns:p="http://schemas.openxmlformats.org/presentationml/2006/main">
  <p:tag name="POWER_USER_ID_TEMPLATES" val="Circles_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oGI3BKKv9H6fYpaWKnX4w"/>
</p:tagLst>
</file>

<file path=ppt/tags/tag235.xml><?xml version="1.0" encoding="utf-8"?>
<p:tagLst xmlns:a="http://schemas.openxmlformats.org/drawingml/2006/main" xmlns:r="http://schemas.openxmlformats.org/officeDocument/2006/relationships" xmlns:p="http://schemas.openxmlformats.org/presentationml/2006/main">
  <p:tag name="POWER_USER_ID_TEMPLATES" val="Circles_1"/>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oGI3BKKv9H6fYpaWKnX4w"/>
</p:tagLst>
</file>

<file path=ppt/tags/tag238.xml><?xml version="1.0" encoding="utf-8"?>
<p:tagLst xmlns:a="http://schemas.openxmlformats.org/drawingml/2006/main" xmlns:r="http://schemas.openxmlformats.org/officeDocument/2006/relationships" xmlns:p="http://schemas.openxmlformats.org/presentationml/2006/main">
  <p:tag name="POWER_USER_ID_TEMPLATES" val="Circles_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5MSecesnZ15Ms2r2Ag46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zoGI3BKKv9H6fYpaWKnX4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25n5dbMSFh2vUpDa_5jI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25n5dbMSFh2vUpDa_5jI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5C3Si6DHzkMBrro0USS8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q21PwhwZhGFKNEFZH.21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KhKQxz_uLmwGraoVwLuQ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KhKQxz_uLmwGraoVwLuQ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KhKQxz_uLmwGraoVwLuQ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F42E0nhSSWRsYiheccvD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rMT4oFWPr5fEexAb_2PBdQ"/>
</p:tagLst>
</file>

<file path=ppt/tags/tag259.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5MSecesnZ15Ms2r2Ag46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FOiGUatP23SsVE4iMIh8Q"/>
</p:tagLst>
</file>

<file path=ppt/tags/tag262.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FOiGUatP23SsVE4iMIh8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VWbv2NKmQ6G00msihKQ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PnArN6cDyj4FOnWr_0E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7XREYxYoCQXQJN8HTPNDVw"/>
</p:tagLst>
</file>

<file path=ppt/tags/tag279.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Mt9KgcZEzQW18CbI9Vug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82.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85.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88.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91.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94.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297.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p4gnE9K3wt.tdKiRE9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qoZvWpe62dTKPxXto9EVQ"/>
</p:tagLst>
</file>

<file path=ppt/tags/tag300.xml><?xml version="1.0" encoding="utf-8"?>
<p:tagLst xmlns:a="http://schemas.openxmlformats.org/drawingml/2006/main" xmlns:r="http://schemas.openxmlformats.org/officeDocument/2006/relationships" xmlns:p="http://schemas.openxmlformats.org/presentationml/2006/main">
  <p:tag name="POWER_USER_ID_TEMPLATES" val="Icons_in_boxes_4"/>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iftGSYX1ccgqzHRoG4.G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ePvhj1x2ijWMbNYuWlFc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ZSfAJ55Alu0EOHoC155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PLif6_xv0foQT9HTJoOC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4AUz5aBa1YY4l4QVd0gNQ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xBowjnhrdkdPz9g4LYVI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CPG5conFx2_LBv9t1b75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e_Wl35I7meFL5J6evP_7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hQgBYjOWnbdc8b3miI.o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rcqEzZ7DXsgZFGrnCv9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3W_Dc7eecOZ9FPboapSW6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5ZOic6idU745aOvAulc5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1Px.1NXTn2yExe9C11Qh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31Px.1NXTn2yExe9C11Q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31Px.1NXTn2yExe9C11Qh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v.Qwf3891f5Z4uS6Z0d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CPG5conFx2_LBv9t1b75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S73tN4zzxNRVgsZD7YNq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POWER_USER_ID_TEMPLATES" val="Growing_process"/>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vgl.wwf_XBLmljKP5z8k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VOEMicbaBSWxvMizT2YN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VOEMicbaBSWxvMizT2YN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VOEMicbaBSWxvMizT2Y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bwasIy2YPq.4_EVlm1l_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ZHuLvsaFArJPvzcHhBvAd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159W9VUCs.xotEWGTck81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_LOCKS" val="1931"/>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375.xml><?xml version="1.0" encoding="utf-8"?>
<p:tagLst xmlns:a="http://schemas.openxmlformats.org/drawingml/2006/main" xmlns:r="http://schemas.openxmlformats.org/officeDocument/2006/relationships" xmlns:p="http://schemas.openxmlformats.org/presentationml/2006/main">
  <p:tag name="POWER_USER_ID_TEMPLATES" val="Chain_3"/>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_X_QGA0l2ySAb1qVxnk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IXXAZSXR.BUZOyQk6lDbA"/>
</p:tagLst>
</file>

<file path=ppt/tags/tag38.xml><?xml version="1.0" encoding="utf-8"?>
<p:tagLst xmlns:a="http://schemas.openxmlformats.org/drawingml/2006/main" xmlns:r="http://schemas.openxmlformats.org/officeDocument/2006/relationships" xmlns:p="http://schemas.openxmlformats.org/presentationml/2006/main">
  <p:tag name="SHAPE_LOCKS" val="1931"/>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IXXAZSXR.BUZOyQk6lDb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ZIXXAZSXR.BUZOyQk6lDb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IXXAZSXR.BUZOyQk6lDb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PNKWgCXK.85ebAWNUUy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PNKWgCXK.85ebAWNUUyfw"/>
</p:tagLst>
</file>

<file path=ppt/tags/tag39.xml><?xml version="1.0" encoding="utf-8"?>
<p:tagLst xmlns:a="http://schemas.openxmlformats.org/drawingml/2006/main" xmlns:r="http://schemas.openxmlformats.org/officeDocument/2006/relationships" xmlns:p="http://schemas.openxmlformats.org/presentationml/2006/main">
  <p:tag name="SHAPE_LOCKS" val="1963"/>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A4HrZX2VvU8NQggs.lKKH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0wW5IduTCUqTCBz4jPg8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g0wW5IduTCUqTCBz4jPg8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l8VR16vfG_YTuSXR_Pcd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TtvZM3d8zUR3YTBfrlf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_LOCKS" val="1931"/>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sdrBfPT51UHi1aZhgGt0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uedvxnIUV0SZR8G0a7lL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04eo00ZZAeC7DBOoTjuo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1huRhJuQoHfdWpyJl4hj4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_LOCKS" val="1963"/>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YPnUlclNtFDU6qYVBKK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YPnUlclNtFDU6qYVBKKT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YPnUlclNtFDU6qYVBKKT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_LOCKS" val="193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IO6S1nGSG7C7sDNQymFaK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LiS85pG7j6qmAFm59QVG.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2UmT0irSRGOriUXTtm3ZI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_LOCKS" val="1931"/>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2UmT0irSRGOriUXTtm3ZI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rDHGES0WtXxO.oeAWfBpA"/>
</p:tagLst>
</file>

<file path=ppt/tags/tag433.xml><?xml version="1.0" encoding="utf-8"?>
<p:tagLst xmlns:a="http://schemas.openxmlformats.org/drawingml/2006/main" xmlns:r="http://schemas.openxmlformats.org/officeDocument/2006/relationships" xmlns:p="http://schemas.openxmlformats.org/presentationml/2006/main">
  <p:tag name="POWER_USER_ID_TEMPLATES" val="Balance_3"/>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VNaz2OEizUHLkIiWdJZx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6OJtGqE0JXFs.CAPDna.C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cfVRNQT1KQlu.NNV88.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RXjGMjNZLGgFlqYNNijC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3.iS6hVdvvdJS8LaNlZq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HhHgeu9IkhNWxwFoketS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ePvhj1x2ijWMbNYuWlFc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VgxXmDvVDKSzsDoA.MCT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POWER_USER_ID_TEMPLATES" val="Arrow_stripes_2"/>
</p:tagLst>
</file>

<file path=ppt/tags/tag46.xml><?xml version="1.0" encoding="utf-8"?>
<p:tagLst xmlns:a="http://schemas.openxmlformats.org/drawingml/2006/main" xmlns:r="http://schemas.openxmlformats.org/officeDocument/2006/relationships" xmlns:p="http://schemas.openxmlformats.org/presentationml/2006/main">
  <p:tag name="SHAPE_LOCKS" val="1931"/>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POWER_USER_ID_TEMPLATES" val="Arrow_stripes_2"/>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4euhUbPIwEX_OS1GKYSP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_LOCKS" val="1931"/>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_LOCKS" val="1931"/>
</p:tagLst>
</file>

<file path=ppt/tags/tag49.xml><?xml version="1.0" encoding="utf-8"?>
<p:tagLst xmlns:a="http://schemas.openxmlformats.org/drawingml/2006/main" xmlns:r="http://schemas.openxmlformats.org/officeDocument/2006/relationships" xmlns:p="http://schemas.openxmlformats.org/presentationml/2006/main">
  <p:tag name="SHAPE_LOCKS" val="193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DZ47v6xZdV8dFDbxlXZwQ"/>
</p:tagLst>
</file>

<file path=ppt/tags/tag50.xml><?xml version="1.0" encoding="utf-8"?>
<p:tagLst xmlns:a="http://schemas.openxmlformats.org/drawingml/2006/main" xmlns:r="http://schemas.openxmlformats.org/officeDocument/2006/relationships" xmlns:p="http://schemas.openxmlformats.org/presentationml/2006/main">
  <p:tag name="SHAPE_LOCKS" val="1931"/>
</p:tagLst>
</file>

<file path=ppt/tags/tag51.xml><?xml version="1.0" encoding="utf-8"?>
<p:tagLst xmlns:a="http://schemas.openxmlformats.org/drawingml/2006/main" xmlns:r="http://schemas.openxmlformats.org/officeDocument/2006/relationships" xmlns:p="http://schemas.openxmlformats.org/presentationml/2006/main">
  <p:tag name="SHAPE_LOCKS" val="1931"/>
</p:tagLst>
</file>

<file path=ppt/tags/tag52.xml><?xml version="1.0" encoding="utf-8"?>
<p:tagLst xmlns:a="http://schemas.openxmlformats.org/drawingml/2006/main" xmlns:r="http://schemas.openxmlformats.org/officeDocument/2006/relationships" xmlns:p="http://schemas.openxmlformats.org/presentationml/2006/main">
  <p:tag name="SHAPE_LOCKS" val="1931"/>
</p:tagLst>
</file>

<file path=ppt/tags/tag53.xml><?xml version="1.0" encoding="utf-8"?>
<p:tagLst xmlns:a="http://schemas.openxmlformats.org/drawingml/2006/main" xmlns:r="http://schemas.openxmlformats.org/officeDocument/2006/relationships" xmlns:p="http://schemas.openxmlformats.org/presentationml/2006/main">
  <p:tag name="SHAPE_LOCKS" val="1931"/>
</p:tagLst>
</file>

<file path=ppt/tags/tag54.xml><?xml version="1.0" encoding="utf-8"?>
<p:tagLst xmlns:a="http://schemas.openxmlformats.org/drawingml/2006/main" xmlns:r="http://schemas.openxmlformats.org/officeDocument/2006/relationships" xmlns:p="http://schemas.openxmlformats.org/presentationml/2006/main">
  <p:tag name="SHAPE_LOCKS" val="1931"/>
</p:tagLst>
</file>

<file path=ppt/tags/tag55.xml><?xml version="1.0" encoding="utf-8"?>
<p:tagLst xmlns:a="http://schemas.openxmlformats.org/drawingml/2006/main" xmlns:r="http://schemas.openxmlformats.org/officeDocument/2006/relationships" xmlns:p="http://schemas.openxmlformats.org/presentationml/2006/main">
  <p:tag name="SHAPE_LOCKS" val="1931"/>
</p:tagLst>
</file>

<file path=ppt/tags/tag56.xml><?xml version="1.0" encoding="utf-8"?>
<p:tagLst xmlns:a="http://schemas.openxmlformats.org/drawingml/2006/main" xmlns:r="http://schemas.openxmlformats.org/officeDocument/2006/relationships" xmlns:p="http://schemas.openxmlformats.org/presentationml/2006/main">
  <p:tag name="SHAPE_LOCKS" val="1931"/>
</p:tagLst>
</file>

<file path=ppt/tags/tag57.xml><?xml version="1.0" encoding="utf-8"?>
<p:tagLst xmlns:a="http://schemas.openxmlformats.org/drawingml/2006/main" xmlns:r="http://schemas.openxmlformats.org/officeDocument/2006/relationships" xmlns:p="http://schemas.openxmlformats.org/presentationml/2006/main">
  <p:tag name="SHAPE_LOCKS" val="1931"/>
</p:tagLst>
</file>

<file path=ppt/tags/tag58.xml><?xml version="1.0" encoding="utf-8"?>
<p:tagLst xmlns:a="http://schemas.openxmlformats.org/drawingml/2006/main" xmlns:r="http://schemas.openxmlformats.org/officeDocument/2006/relationships" xmlns:p="http://schemas.openxmlformats.org/presentationml/2006/main">
  <p:tag name="SHAPE_LOCKS" val="1931"/>
</p:tagLst>
</file>

<file path=ppt/tags/tag59.xml><?xml version="1.0" encoding="utf-8"?>
<p:tagLst xmlns:a="http://schemas.openxmlformats.org/drawingml/2006/main" xmlns:r="http://schemas.openxmlformats.org/officeDocument/2006/relationships" xmlns:p="http://schemas.openxmlformats.org/presentationml/2006/main">
  <p:tag name="SHAPE_LOCKS" val="193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_LOCKS" val="1931"/>
</p:tagLst>
</file>

<file path=ppt/tags/tag61.xml><?xml version="1.0" encoding="utf-8"?>
<p:tagLst xmlns:a="http://schemas.openxmlformats.org/drawingml/2006/main" xmlns:r="http://schemas.openxmlformats.org/officeDocument/2006/relationships" xmlns:p="http://schemas.openxmlformats.org/presentationml/2006/main">
  <p:tag name="SHAPE_LOCKS" val="1931"/>
</p:tagLst>
</file>

<file path=ppt/tags/tag62.xml><?xml version="1.0" encoding="utf-8"?>
<p:tagLst xmlns:a="http://schemas.openxmlformats.org/drawingml/2006/main" xmlns:r="http://schemas.openxmlformats.org/officeDocument/2006/relationships" xmlns:p="http://schemas.openxmlformats.org/presentationml/2006/main">
  <p:tag name="SHAPE_LOCKS" val="1931"/>
</p:tagLst>
</file>

<file path=ppt/tags/tag63.xml><?xml version="1.0" encoding="utf-8"?>
<p:tagLst xmlns:a="http://schemas.openxmlformats.org/drawingml/2006/main" xmlns:r="http://schemas.openxmlformats.org/officeDocument/2006/relationships" xmlns:p="http://schemas.openxmlformats.org/presentationml/2006/main">
  <p:tag name="SHAPE_LOCKS" val="1931"/>
</p:tagLst>
</file>

<file path=ppt/tags/tag64.xml><?xml version="1.0" encoding="utf-8"?>
<p:tagLst xmlns:a="http://schemas.openxmlformats.org/drawingml/2006/main" xmlns:r="http://schemas.openxmlformats.org/officeDocument/2006/relationships" xmlns:p="http://schemas.openxmlformats.org/presentationml/2006/main">
  <p:tag name="SHAPE_LOCKS" val="1931"/>
</p:tagLst>
</file>

<file path=ppt/tags/tag65.xml><?xml version="1.0" encoding="utf-8"?>
<p:tagLst xmlns:a="http://schemas.openxmlformats.org/drawingml/2006/main" xmlns:r="http://schemas.openxmlformats.org/officeDocument/2006/relationships" xmlns:p="http://schemas.openxmlformats.org/presentationml/2006/main">
  <p:tag name="SHAPE_LOCKS" val="1931"/>
</p:tagLst>
</file>

<file path=ppt/tags/tag66.xml><?xml version="1.0" encoding="utf-8"?>
<p:tagLst xmlns:a="http://schemas.openxmlformats.org/drawingml/2006/main" xmlns:r="http://schemas.openxmlformats.org/officeDocument/2006/relationships" xmlns:p="http://schemas.openxmlformats.org/presentationml/2006/main">
  <p:tag name="SHAPE_LOCKS" val="1931"/>
</p:tagLst>
</file>

<file path=ppt/tags/tag67.xml><?xml version="1.0" encoding="utf-8"?>
<p:tagLst xmlns:a="http://schemas.openxmlformats.org/drawingml/2006/main" xmlns:r="http://schemas.openxmlformats.org/officeDocument/2006/relationships" xmlns:p="http://schemas.openxmlformats.org/presentationml/2006/main">
  <p:tag name="SHAPE_LOCKS" val="1931"/>
</p:tagLst>
</file>

<file path=ppt/tags/tag68.xml><?xml version="1.0" encoding="utf-8"?>
<p:tagLst xmlns:a="http://schemas.openxmlformats.org/drawingml/2006/main" xmlns:r="http://schemas.openxmlformats.org/officeDocument/2006/relationships" xmlns:p="http://schemas.openxmlformats.org/presentationml/2006/main">
  <p:tag name="SHAPE_LOCKS" val="1931"/>
</p:tagLst>
</file>

<file path=ppt/tags/tag69.xml><?xml version="1.0" encoding="utf-8"?>
<p:tagLst xmlns:a="http://schemas.openxmlformats.org/drawingml/2006/main" xmlns:r="http://schemas.openxmlformats.org/officeDocument/2006/relationships" xmlns:p="http://schemas.openxmlformats.org/presentationml/2006/main">
  <p:tag name="SHAPE_LOCKS" val="193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GomPtV9TvqmYQRlG8uTeg"/>
</p:tagLst>
</file>

<file path=ppt/tags/tag70.xml><?xml version="1.0" encoding="utf-8"?>
<p:tagLst xmlns:a="http://schemas.openxmlformats.org/drawingml/2006/main" xmlns:r="http://schemas.openxmlformats.org/officeDocument/2006/relationships" xmlns:p="http://schemas.openxmlformats.org/presentationml/2006/main">
  <p:tag name="SHAPE_LOCKS" val="1931"/>
</p:tagLst>
</file>

<file path=ppt/tags/tag71.xml><?xml version="1.0" encoding="utf-8"?>
<p:tagLst xmlns:a="http://schemas.openxmlformats.org/drawingml/2006/main" xmlns:r="http://schemas.openxmlformats.org/officeDocument/2006/relationships" xmlns:p="http://schemas.openxmlformats.org/presentationml/2006/main">
  <p:tag name="SHAPE_LOCKS" val="1931"/>
</p:tagLst>
</file>

<file path=ppt/tags/tag72.xml><?xml version="1.0" encoding="utf-8"?>
<p:tagLst xmlns:a="http://schemas.openxmlformats.org/drawingml/2006/main" xmlns:r="http://schemas.openxmlformats.org/officeDocument/2006/relationships" xmlns:p="http://schemas.openxmlformats.org/presentationml/2006/main">
  <p:tag name="SHAPE_LOCKS" val="1931"/>
</p:tagLst>
</file>

<file path=ppt/tags/tag73.xml><?xml version="1.0" encoding="utf-8"?>
<p:tagLst xmlns:a="http://schemas.openxmlformats.org/drawingml/2006/main" xmlns:r="http://schemas.openxmlformats.org/officeDocument/2006/relationships" xmlns:p="http://schemas.openxmlformats.org/presentationml/2006/main">
  <p:tag name="SHAPE_LOCKS" val="1931"/>
</p:tagLst>
</file>

<file path=ppt/tags/tag74.xml><?xml version="1.0" encoding="utf-8"?>
<p:tagLst xmlns:a="http://schemas.openxmlformats.org/drawingml/2006/main" xmlns:r="http://schemas.openxmlformats.org/officeDocument/2006/relationships" xmlns:p="http://schemas.openxmlformats.org/presentationml/2006/main">
  <p:tag name="SHAPE_LOCKS" val="4"/>
</p:tagLst>
</file>

<file path=ppt/tags/tag75.xml><?xml version="1.0" encoding="utf-8"?>
<p:tagLst xmlns:a="http://schemas.openxmlformats.org/drawingml/2006/main" xmlns:r="http://schemas.openxmlformats.org/officeDocument/2006/relationships" xmlns:p="http://schemas.openxmlformats.org/presentationml/2006/main">
  <p:tag name="SHAPE_LOCKS" val="1931"/>
</p:tagLst>
</file>

<file path=ppt/tags/tag76.xml><?xml version="1.0" encoding="utf-8"?>
<p:tagLst xmlns:a="http://schemas.openxmlformats.org/drawingml/2006/main" xmlns:r="http://schemas.openxmlformats.org/officeDocument/2006/relationships" xmlns:p="http://schemas.openxmlformats.org/presentationml/2006/main">
  <p:tag name="SHAPE_LOCKS" val="1931"/>
</p:tagLst>
</file>

<file path=ppt/tags/tag77.xml><?xml version="1.0" encoding="utf-8"?>
<p:tagLst xmlns:a="http://schemas.openxmlformats.org/drawingml/2006/main" xmlns:r="http://schemas.openxmlformats.org/officeDocument/2006/relationships" xmlns:p="http://schemas.openxmlformats.org/presentationml/2006/main">
  <p:tag name="SHAPE_LOCKS" val="1931"/>
</p:tagLst>
</file>

<file path=ppt/tags/tag78.xml><?xml version="1.0" encoding="utf-8"?>
<p:tagLst xmlns:a="http://schemas.openxmlformats.org/drawingml/2006/main" xmlns:r="http://schemas.openxmlformats.org/officeDocument/2006/relationships" xmlns:p="http://schemas.openxmlformats.org/presentationml/2006/main">
  <p:tag name="SHAPE_LOCKS" val="1963"/>
</p:tagLst>
</file>

<file path=ppt/tags/tag79.xml><?xml version="1.0" encoding="utf-8"?>
<p:tagLst xmlns:a="http://schemas.openxmlformats.org/drawingml/2006/main" xmlns:r="http://schemas.openxmlformats.org/officeDocument/2006/relationships" xmlns:p="http://schemas.openxmlformats.org/presentationml/2006/main">
  <p:tag name="SHAPE_LOCKS" val="196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s.uH_W_yccIcECOtIjlVA"/>
</p:tagLst>
</file>

<file path=ppt/tags/tag82.xml><?xml version="1.0" encoding="utf-8"?>
<p:tagLst xmlns:a="http://schemas.openxmlformats.org/drawingml/2006/main" xmlns:r="http://schemas.openxmlformats.org/officeDocument/2006/relationships" xmlns:p="http://schemas.openxmlformats.org/presentationml/2006/main">
  <p:tag name="SHAPE_LOCKS" val="0"/>
</p:tagLst>
</file>

<file path=ppt/tags/tag83.xml><?xml version="1.0" encoding="utf-8"?>
<p:tagLst xmlns:a="http://schemas.openxmlformats.org/drawingml/2006/main" xmlns:r="http://schemas.openxmlformats.org/officeDocument/2006/relationships" xmlns:p="http://schemas.openxmlformats.org/presentationml/2006/main">
  <p:tag name="SHAPE_LOCKS" val="1931"/>
</p:tagLst>
</file>

<file path=ppt/tags/tag84.xml><?xml version="1.0" encoding="utf-8"?>
<p:tagLst xmlns:a="http://schemas.openxmlformats.org/drawingml/2006/main" xmlns:r="http://schemas.openxmlformats.org/officeDocument/2006/relationships" xmlns:p="http://schemas.openxmlformats.org/presentationml/2006/main">
  <p:tag name="SHAPE_LOCKS" val="1931"/>
</p:tagLst>
</file>

<file path=ppt/tags/tag85.xml><?xml version="1.0" encoding="utf-8"?>
<p:tagLst xmlns:a="http://schemas.openxmlformats.org/drawingml/2006/main" xmlns:r="http://schemas.openxmlformats.org/officeDocument/2006/relationships" xmlns:p="http://schemas.openxmlformats.org/presentationml/2006/main">
  <p:tag name="SHAPE_LOCKS" val="1931"/>
</p:tagLst>
</file>

<file path=ppt/tags/tag86.xml><?xml version="1.0" encoding="utf-8"?>
<p:tagLst xmlns:a="http://schemas.openxmlformats.org/drawingml/2006/main" xmlns:r="http://schemas.openxmlformats.org/officeDocument/2006/relationships" xmlns:p="http://schemas.openxmlformats.org/presentationml/2006/main">
  <p:tag name="SHAPE_LOCKS" val="1931"/>
</p:tagLst>
</file>

<file path=ppt/tags/tag87.xml><?xml version="1.0" encoding="utf-8"?>
<p:tagLst xmlns:a="http://schemas.openxmlformats.org/drawingml/2006/main" xmlns:r="http://schemas.openxmlformats.org/officeDocument/2006/relationships" xmlns:p="http://schemas.openxmlformats.org/presentationml/2006/main">
  <p:tag name="SHAPE_LOCKS" val="1931"/>
</p:tagLst>
</file>

<file path=ppt/tags/tag88.xml><?xml version="1.0" encoding="utf-8"?>
<p:tagLst xmlns:a="http://schemas.openxmlformats.org/drawingml/2006/main" xmlns:r="http://schemas.openxmlformats.org/officeDocument/2006/relationships" xmlns:p="http://schemas.openxmlformats.org/presentationml/2006/main">
  <p:tag name="SHAPE_LOCKS" val="1931"/>
</p:tagLst>
</file>

<file path=ppt/tags/tag89.xml><?xml version="1.0" encoding="utf-8"?>
<p:tagLst xmlns:a="http://schemas.openxmlformats.org/drawingml/2006/main" xmlns:r="http://schemas.openxmlformats.org/officeDocument/2006/relationships" xmlns:p="http://schemas.openxmlformats.org/presentationml/2006/main">
  <p:tag name="SHAPE_LOCKS" val="193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FYMty1UdeZo..nkxrhOPQ"/>
</p:tagLst>
</file>

<file path=ppt/tags/tag90.xml><?xml version="1.0" encoding="utf-8"?>
<p:tagLst xmlns:a="http://schemas.openxmlformats.org/drawingml/2006/main" xmlns:r="http://schemas.openxmlformats.org/officeDocument/2006/relationships" xmlns:p="http://schemas.openxmlformats.org/presentationml/2006/main">
  <p:tag name="SHAPE_LOCKS" val="1931"/>
</p:tagLst>
</file>

<file path=ppt/tags/tag91.xml><?xml version="1.0" encoding="utf-8"?>
<p:tagLst xmlns:a="http://schemas.openxmlformats.org/drawingml/2006/main" xmlns:r="http://schemas.openxmlformats.org/officeDocument/2006/relationships" xmlns:p="http://schemas.openxmlformats.org/presentationml/2006/main">
  <p:tag name="SHAPE_LOCKS" val="1931"/>
</p:tagLst>
</file>

<file path=ppt/tags/tag92.xml><?xml version="1.0" encoding="utf-8"?>
<p:tagLst xmlns:a="http://schemas.openxmlformats.org/drawingml/2006/main" xmlns:r="http://schemas.openxmlformats.org/officeDocument/2006/relationships" xmlns:p="http://schemas.openxmlformats.org/presentationml/2006/main">
  <p:tag name="SHAPE_LOCKS" val="1931"/>
</p:tagLst>
</file>

<file path=ppt/tags/tag93.xml><?xml version="1.0" encoding="utf-8"?>
<p:tagLst xmlns:a="http://schemas.openxmlformats.org/drawingml/2006/main" xmlns:r="http://schemas.openxmlformats.org/officeDocument/2006/relationships" xmlns:p="http://schemas.openxmlformats.org/presentationml/2006/main">
  <p:tag name="SHAPE_LOCKS" val="1931"/>
</p:tagLst>
</file>

<file path=ppt/tags/tag94.xml><?xml version="1.0" encoding="utf-8"?>
<p:tagLst xmlns:a="http://schemas.openxmlformats.org/drawingml/2006/main" xmlns:r="http://schemas.openxmlformats.org/officeDocument/2006/relationships" xmlns:p="http://schemas.openxmlformats.org/presentationml/2006/main">
  <p:tag name="SHAPE_LOCKS" val="193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d2xsaAzpLqD1zW3u1SFUA"/>
</p:tagLst>
</file>

<file path=ppt/tags/tag97.xml><?xml version="1.0" encoding="utf-8"?>
<p:tagLst xmlns:a="http://schemas.openxmlformats.org/drawingml/2006/main" xmlns:r="http://schemas.openxmlformats.org/officeDocument/2006/relationships" xmlns:p="http://schemas.openxmlformats.org/presentationml/2006/main">
  <p:tag name="SHAPE_LOCKS" val="4"/>
</p:tagLst>
</file>

<file path=ppt/tags/tag98.xml><?xml version="1.0" encoding="utf-8"?>
<p:tagLst xmlns:a="http://schemas.openxmlformats.org/drawingml/2006/main" xmlns:r="http://schemas.openxmlformats.org/officeDocument/2006/relationships" xmlns:p="http://schemas.openxmlformats.org/presentationml/2006/main">
  <p:tag name="SHAPE_LOCKS" val="1931"/>
</p:tagLst>
</file>

<file path=ppt/tags/tag99.xml><?xml version="1.0" encoding="utf-8"?>
<p:tagLst xmlns:a="http://schemas.openxmlformats.org/drawingml/2006/main" xmlns:r="http://schemas.openxmlformats.org/officeDocument/2006/relationships" xmlns:p="http://schemas.openxmlformats.org/presentationml/2006/main">
  <p:tag name="SHAPE_LOCKS" val="193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rgonCo s20en">
  <a:themeElements>
    <a:clrScheme name="Argon &amp; Co">
      <a:dk1>
        <a:srgbClr val="000000"/>
      </a:dk1>
      <a:lt1>
        <a:sysClr val="window" lastClr="FFFFFF"/>
      </a:lt1>
      <a:dk2>
        <a:srgbClr val="B40646"/>
      </a:dk2>
      <a:lt2>
        <a:srgbClr val="D9D9D9"/>
      </a:lt2>
      <a:accent1>
        <a:srgbClr val="B40646"/>
      </a:accent1>
      <a:accent2>
        <a:srgbClr val="87737B"/>
      </a:accent2>
      <a:accent3>
        <a:srgbClr val="C1B5B9"/>
      </a:accent3>
      <a:accent4>
        <a:srgbClr val="C63E1B"/>
      </a:accent4>
      <a:accent5>
        <a:srgbClr val="C2005A"/>
      </a:accent5>
      <a:accent6>
        <a:srgbClr val="901237"/>
      </a:accent6>
      <a:hlink>
        <a:srgbClr val="E75113"/>
      </a:hlink>
      <a:folHlink>
        <a:srgbClr val="9D105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spDef>
      <a:spPr bwMode="auto">
        <a:solidFill>
          <a:schemeClr val="bg2"/>
        </a:solidFill>
        <a:ln w="19050" cap="flat" cmpd="sng" algn="ctr">
          <a:noFill/>
          <a:prstDash val="solid"/>
          <a:round/>
          <a:headEnd type="none" w="med" len="med"/>
          <a:tailEnd type="none" w="med" len="me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79388" indent="-179388" algn="l">
          <a:buClr>
            <a:schemeClr val="accent3"/>
          </a:buClr>
          <a:buSzPct val="77000"/>
          <a:buFont typeface="Wingdings 3" panose="05040102010807070707" pitchFamily="18" charset="2"/>
          <a:buChar char=""/>
          <a:defRPr sz="1400" dirty="0" smtClean="0"/>
        </a:defPPr>
      </a:lstStyle>
    </a:spDef>
    <a:lnDef>
      <a:spPr>
        <a:ln w="19050">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algn="l">
          <a:defRPr dirty="0"/>
        </a:defPPr>
      </a:lstStyle>
    </a:txDef>
  </a:objectDefaults>
  <a:extraClrSchemeLst/>
  <a:extLst>
    <a:ext uri="{05A4C25C-085E-4340-85A3-A5531E510DB2}">
      <thm15:themeFamily xmlns:thm15="http://schemas.microsoft.com/office/thememl/2012/main" name="Presentation1" id="{BB8939A8-0B2B-4DE5-B948-1439AE706503}" vid="{13B3A753-1490-4E46-A60D-395F3ECB43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rgon &amp; Co">
    <a:dk1>
      <a:srgbClr val="000000"/>
    </a:dk1>
    <a:lt1>
      <a:sysClr val="window" lastClr="FFFFFF"/>
    </a:lt1>
    <a:dk2>
      <a:srgbClr val="B40646"/>
    </a:dk2>
    <a:lt2>
      <a:srgbClr val="D9D9D9"/>
    </a:lt2>
    <a:accent1>
      <a:srgbClr val="B40646"/>
    </a:accent1>
    <a:accent2>
      <a:srgbClr val="87737B"/>
    </a:accent2>
    <a:accent3>
      <a:srgbClr val="C1B5B9"/>
    </a:accent3>
    <a:accent4>
      <a:srgbClr val="C63E1B"/>
    </a:accent4>
    <a:accent5>
      <a:srgbClr val="C2005A"/>
    </a:accent5>
    <a:accent6>
      <a:srgbClr val="901237"/>
    </a:accent6>
    <a:hlink>
      <a:srgbClr val="E75113"/>
    </a:hlink>
    <a:folHlink>
      <a:srgbClr val="9D105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773da08-7890-4606-8997-581837f19fbd">
      <Terms xmlns="http://schemas.microsoft.com/office/infopath/2007/PartnerControls"/>
    </lcf76f155ced4ddcb4097134ff3c332f>
    <TaxCatchAll xmlns="1eef3e41-00d1-43b9-ad5c-c0cb3d671e47" xsi:nil="true"/>
    <MigrationWizIdPermissions xmlns="6773da08-7890-4606-8997-581837f19fbd" xsi:nil="true"/>
    <TaxKeywordTaxHTField xmlns="1eef3e41-00d1-43b9-ad5c-c0cb3d671e47">
      <Terms xmlns="http://schemas.microsoft.com/office/infopath/2007/PartnerControls"/>
    </TaxKeywordTaxHTField>
    <Person xmlns="6773da08-7890-4606-8997-581837f19fbd">
      <UserInfo>
        <DisplayName/>
        <AccountId xsi:nil="true"/>
        <AccountType/>
      </UserInfo>
    </Person>
    <MigrationWizIdSecurityGroups xmlns="6773da08-7890-4606-8997-581837f19fbd" xsi:nil="true"/>
    <MigrationWizIdPermissionLevels xmlns="6773da08-7890-4606-8997-581837f19fbd" xsi:nil="true"/>
    <MigrationWizIdDocumentLibraryPermissions xmlns="6773da08-7890-4606-8997-581837f19fbd" xsi:nil="true"/>
    <MigrationWizId xmlns="6773da08-7890-4606-8997-581837f19fb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F3C9D7C2CACC841BE281800B7245C55" ma:contentTypeVersion="26" ma:contentTypeDescription="Create a new document." ma:contentTypeScope="" ma:versionID="3cc7bc9db557f9f74b12cafaf242feee">
  <xsd:schema xmlns:xsd="http://www.w3.org/2001/XMLSchema" xmlns:xs="http://www.w3.org/2001/XMLSchema" xmlns:p="http://schemas.microsoft.com/office/2006/metadata/properties" xmlns:ns2="6773da08-7890-4606-8997-581837f19fbd" xmlns:ns3="1eef3e41-00d1-43b9-ad5c-c0cb3d671e47" targetNamespace="http://schemas.microsoft.com/office/2006/metadata/properties" ma:root="true" ma:fieldsID="49f07ee788d3e4884b16a1e9a1a199b0" ns2:_="" ns3:_="">
    <xsd:import namespace="6773da08-7890-4606-8997-581837f19fbd"/>
    <xsd:import namespace="1eef3e41-00d1-43b9-ad5c-c0cb3d671e4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MigrationWizId" minOccurs="0"/>
                <xsd:element ref="ns2:MigrationWizIdPermissions" minOccurs="0"/>
                <xsd:element ref="ns2:MigrationWizIdPermissionLevels" minOccurs="0"/>
                <xsd:element ref="ns2:MigrationWizIdDocumentLibraryPermissions" minOccurs="0"/>
                <xsd:element ref="ns2:MigrationWizIdSecurityGroups" minOccurs="0"/>
                <xsd:element ref="ns3:SharedWithUsers" minOccurs="0"/>
                <xsd:element ref="ns3:SharedWithDetails" minOccurs="0"/>
                <xsd:element ref="ns3:TaxKeywordTaxHTField" minOccurs="0"/>
                <xsd:element ref="ns2:MediaServiceObjectDetectorVersions" minOccurs="0"/>
                <xsd:element ref="ns2:MediaServiceSearchProperties" minOccurs="0"/>
                <xsd:element ref="ns2:Pers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73da08-7890-4606-8997-581837f19f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c43a7bd-a44c-4edf-9888-6ee74c7492b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igrationWizId" ma:index="21" nillable="true" ma:displayName="MigrationWizId" ma:internalName="MigrationWizId">
      <xsd:simpleType>
        <xsd:restriction base="dms:Text"/>
      </xsd:simpleType>
    </xsd:element>
    <xsd:element name="MigrationWizIdPermissions" ma:index="22" nillable="true" ma:displayName="MigrationWizIdPermissions" ma:internalName="MigrationWizIdPermissions">
      <xsd:simpleType>
        <xsd:restriction base="dms:Text"/>
      </xsd:simpleType>
    </xsd:element>
    <xsd:element name="MigrationWizIdPermissionLevels" ma:index="23" nillable="true" ma:displayName="MigrationWizIdPermissionLevels" ma:internalName="MigrationWizIdPermissionLevels">
      <xsd:simpleType>
        <xsd:restriction base="dms:Text"/>
      </xsd:simpleType>
    </xsd:element>
    <xsd:element name="MigrationWizIdDocumentLibraryPermissions" ma:index="24" nillable="true" ma:displayName="MigrationWizIdDocumentLibraryPermissions" ma:internalName="MigrationWizIdDocumentLibraryPermissions">
      <xsd:simpleType>
        <xsd:restriction base="dms:Text"/>
      </xsd:simpleType>
    </xsd:element>
    <xsd:element name="MigrationWizIdSecurityGroups" ma:index="25" nillable="true" ma:displayName="MigrationWizIdSecurityGroups" ma:internalName="MigrationWizIdSecurityGroups">
      <xsd:simpleType>
        <xsd:restriction base="dms:Text"/>
      </xsd:simpleType>
    </xsd:element>
    <xsd:element name="MediaServiceObjectDetectorVersions" ma:index="30"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1" nillable="true" ma:displayName="MediaServiceSearchProperties" ma:hidden="true" ma:internalName="MediaServiceSearchProperties" ma:readOnly="true">
      <xsd:simpleType>
        <xsd:restriction base="dms:Note"/>
      </xsd:simpleType>
    </xsd:element>
    <xsd:element name="Person" ma:index="32" nillable="true" ma:displayName="Person" ma:format="Dropdown" ma:list="UserInfo" ma:SharePointGroup="0" ma:internalName="Perso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ef3e41-00d1-43b9-ad5c-c0cb3d671e4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c200487-2fce-4aad-a596-099c69c1b3b2}" ma:internalName="TaxCatchAll" ma:showField="CatchAllData" ma:web="1eef3e41-00d1-43b9-ad5c-c0cb3d671e47">
      <xsd:complexType>
        <xsd:complexContent>
          <xsd:extension base="dms:MultiChoiceLookup">
            <xsd:sequence>
              <xsd:element name="Value" type="dms:Lookup" maxOccurs="unbounded" minOccurs="0" nillable="true"/>
            </xsd:sequence>
          </xsd:extension>
        </xsd:complexContent>
      </xsd:complexType>
    </xsd:element>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element name="TaxKeywordTaxHTField" ma:index="29" nillable="true" ma:taxonomy="true" ma:internalName="TaxKeywordTaxHTField" ma:taxonomyFieldName="TaxKeyword" ma:displayName="Enterprise Keywords" ma:fieldId="{23f27201-bee3-471e-b2e7-b64fd8b7ca38}" ma:taxonomyMulti="true" ma:sspId="9c43a7bd-a44c-4edf-9888-6ee74c7492b7"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C040C5-1410-4B59-AD8E-00DCD92A8CAD}">
  <ds:schemaRefs>
    <ds:schemaRef ds:uri="http://schemas.microsoft.com/office/2006/documentManagement/types"/>
    <ds:schemaRef ds:uri="17610885-9de1-400e-a352-93bd699383e2"/>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8323424e-498f-4abf-960c-cf2b88720779"/>
    <ds:schemaRef ds:uri="http://www.w3.org/XML/1998/namespace"/>
    <ds:schemaRef ds:uri="http://purl.org/dc/dcmitype/"/>
    <ds:schemaRef ds:uri="0c1c7a6d-1d71-444b-a9eb-470bc997e21f"/>
    <ds:schemaRef ds:uri="18568aaf-ed15-4652-a414-edfc517f61cb"/>
    <ds:schemaRef ds:uri="6773da08-7890-4606-8997-581837f19fbd"/>
    <ds:schemaRef ds:uri="1eef3e41-00d1-43b9-ad5c-c0cb3d671e47"/>
  </ds:schemaRefs>
</ds:datastoreItem>
</file>

<file path=customXml/itemProps2.xml><?xml version="1.0" encoding="utf-8"?>
<ds:datastoreItem xmlns:ds="http://schemas.openxmlformats.org/officeDocument/2006/customXml" ds:itemID="{CF762FD9-9311-4787-BB11-4CED7A36E9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73da08-7890-4606-8997-581837f19fbd"/>
    <ds:schemaRef ds:uri="1eef3e41-00d1-43b9-ad5c-c0cb3d671e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A79879-463F-4E95-8675-8325E085BF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32</TotalTime>
  <Words>15127</Words>
  <Application>Microsoft Office PowerPoint</Application>
  <PresentationFormat>Widescreen</PresentationFormat>
  <Paragraphs>2825</Paragraphs>
  <Slides>188</Slides>
  <Notes>15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8</vt:i4>
      </vt:variant>
    </vt:vector>
  </HeadingPairs>
  <TitlesOfParts>
    <vt:vector size="196" baseType="lpstr">
      <vt:lpstr>Arial</vt:lpstr>
      <vt:lpstr>Avenir LT Std 55 Roman</vt:lpstr>
      <vt:lpstr>Calibri</vt:lpstr>
      <vt:lpstr>Open Sans</vt:lpstr>
      <vt:lpstr>Wingdings</vt:lpstr>
      <vt:lpstr>Wingdings 3</vt:lpstr>
      <vt:lpstr>ArgonCo s20en</vt:lpstr>
      <vt:lpstr>Diapositive think-cell</vt:lpstr>
      <vt:lpstr>Slide library</vt:lpstr>
      <vt:lpstr>Comments </vt:lpstr>
      <vt:lpstr>Analysis</vt:lpstr>
      <vt:lpstr>One graph delivering 1 key message + comments</vt:lpstr>
      <vt:lpstr>One graph delivering 1 key message + comments</vt:lpstr>
      <vt:lpstr>One graph delivering 1 key message + hypothesis</vt:lpstr>
      <vt:lpstr>One graph delivering one key message</vt:lpstr>
      <vt:lpstr>Two graphs delivering complementary messages</vt:lpstr>
      <vt:lpstr>Key principles and graph</vt:lpstr>
      <vt:lpstr>Commentary and graph</vt:lpstr>
      <vt:lpstr>Cause, conclusion, consequence</vt:lpstr>
      <vt:lpstr>Four criteria presentation and comments</vt:lpstr>
      <vt:lpstr>Slide message and recommendations</vt:lpstr>
      <vt:lpstr>Credentials</vt:lpstr>
      <vt:lpstr>Name of project: type of company (must fit on one line)</vt:lpstr>
      <vt:lpstr>Client references</vt:lpstr>
      <vt:lpstr>Client references</vt:lpstr>
      <vt:lpstr>Client references</vt:lpstr>
      <vt:lpstr>Firstname Surname</vt:lpstr>
      <vt:lpstr>Four person team with key message (delete textbox and centre if not needed)</vt:lpstr>
      <vt:lpstr>Six person team with key message (delete box and centre if not needed)</vt:lpstr>
      <vt:lpstr>Four person team presentation</vt:lpstr>
      <vt:lpstr>Introduction slides</vt:lpstr>
      <vt:lpstr>Objectives</vt:lpstr>
      <vt:lpstr>Main principles / context</vt:lpstr>
      <vt:lpstr>Key figures</vt:lpstr>
      <vt:lpstr>Key figures</vt:lpstr>
      <vt:lpstr>Four key figures</vt:lpstr>
      <vt:lpstr>Key figures – four axis</vt:lpstr>
      <vt:lpstr>Slide message – synthesis of factors to explain gap</vt:lpstr>
      <vt:lpstr>Ma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tionale</vt:lpstr>
      <vt:lpstr>Slide message – used to list two main ideas</vt:lpstr>
      <vt:lpstr>Slide message – used to list three main ideas</vt:lpstr>
      <vt:lpstr>Slide message – used to list four main ideas</vt:lpstr>
      <vt:lpstr>Slide message – used to list three main ideas</vt:lpstr>
      <vt:lpstr>Slide message – used to list four main ideas</vt:lpstr>
      <vt:lpstr>Slide message – used to list five main ideas</vt:lpstr>
      <vt:lpstr>Slide message – three topics with details</vt:lpstr>
      <vt:lpstr>Slide message – four topics with details</vt:lpstr>
      <vt:lpstr>Slide message – two topics with details</vt:lpstr>
      <vt:lpstr>Slide message – three topics with details</vt:lpstr>
      <vt:lpstr>Slide message – four topics with details</vt:lpstr>
      <vt:lpstr>Slide message - three key ideas with details</vt:lpstr>
      <vt:lpstr>Slide message - four key ideas with details</vt:lpstr>
      <vt:lpstr>Slide message - five key ideas with details</vt:lpstr>
      <vt:lpstr>Slide message - six key ideas with details</vt:lpstr>
      <vt:lpstr>Slide message - two key ideas with details</vt:lpstr>
      <vt:lpstr>Slide message - three key ideas with details</vt:lpstr>
      <vt:lpstr>Slide message – stakes depending on two criteria / four quadrants</vt:lpstr>
      <vt:lpstr>Slide message - four quadrants with one stake / objective</vt:lpstr>
      <vt:lpstr>Slide message – four causes and results</vt:lpstr>
      <vt:lpstr>Slide message – three causes and results</vt:lpstr>
      <vt:lpstr>Slide message – two causes and results</vt:lpstr>
      <vt:lpstr>Slide message – Pros and Cons</vt:lpstr>
      <vt:lpstr>Key message – two titles with four key points each</vt:lpstr>
      <vt:lpstr>Slide message – Brainstorm / ideas</vt:lpstr>
      <vt:lpstr>Slide key message</vt:lpstr>
      <vt:lpstr>Slide message circular – five ideas</vt:lpstr>
      <vt:lpstr>Slide message circular – four ideas</vt:lpstr>
      <vt:lpstr>Objectives of the project – 3 objectives</vt:lpstr>
      <vt:lpstr>Objectives of the project – 4 objectives</vt:lpstr>
      <vt:lpstr>Implementation impact assessment</vt:lpstr>
      <vt:lpstr>7 criteria slide</vt:lpstr>
      <vt:lpstr>7 criteria slide</vt:lpstr>
      <vt:lpstr>Four principles guiding the approach</vt:lpstr>
      <vt:lpstr>Five steps guiding the approach</vt:lpstr>
      <vt:lpstr>Tables and scenarios</vt:lpstr>
      <vt:lpstr>Slide message – two scenarios with icon</vt:lpstr>
      <vt:lpstr>Slide message – two scenarios without icon</vt:lpstr>
      <vt:lpstr>Slide message – three scenarios with icon</vt:lpstr>
      <vt:lpstr>Slide message – three scenarios without icon</vt:lpstr>
      <vt:lpstr>Slide message – four scenarios with icon</vt:lpstr>
      <vt:lpstr>Slide message – four scenarios without icon</vt:lpstr>
      <vt:lpstr>Slide message – five scenarios with icon</vt:lpstr>
      <vt:lpstr>Slide message – five scenarios without icon</vt:lpstr>
      <vt:lpstr>Slide message – six ideas</vt:lpstr>
      <vt:lpstr>Slide message – three scenarios</vt:lpstr>
      <vt:lpstr>Slide message – four scenarios</vt:lpstr>
      <vt:lpstr>Standard content slide (text + illustration)</vt:lpstr>
      <vt:lpstr>Slide message – two scenarios</vt:lpstr>
      <vt:lpstr>Slide message – three scenarios</vt:lpstr>
      <vt:lpstr>Slide message – three ideas</vt:lpstr>
      <vt:lpstr>Slide message – two ideas &amp; sub-ideas</vt:lpstr>
      <vt:lpstr>Slide message – three ideas</vt:lpstr>
      <vt:lpstr>Slide message – in/out scope</vt:lpstr>
      <vt:lpstr>Slide message – two themes and two axis of analysis </vt:lpstr>
      <vt:lpstr>Slide message – three themes and two axis of analysis </vt:lpstr>
      <vt:lpstr>Slide message – four themes and two axis of analysis </vt:lpstr>
      <vt:lpstr>Slide message – two themes and three axis of analysis </vt:lpstr>
      <vt:lpstr>Slide message – three themes and three axis of analysis </vt:lpstr>
      <vt:lpstr>Slide message – four themes and three axis of analysis </vt:lpstr>
      <vt:lpstr>Slide message – table with two ideas and two columns</vt:lpstr>
      <vt:lpstr>Slide message – table with three ideas and two columns</vt:lpstr>
      <vt:lpstr>Slide message – table with four ideas and two columns</vt:lpstr>
      <vt:lpstr>Slide message – 2 themes with 3 ideas &amp; logos</vt:lpstr>
      <vt:lpstr>Business case presentation</vt:lpstr>
      <vt:lpstr>Slide message – KPI by scenario (3 scenarios)</vt:lpstr>
      <vt:lpstr>Slide message – KPI by scenario (4 scenarios)</vt:lpstr>
      <vt:lpstr>Timeline</vt:lpstr>
      <vt:lpstr>Four-phase approach presentation</vt:lpstr>
      <vt:lpstr>Four-phase approach presentation</vt:lpstr>
      <vt:lpstr>Five-phase approach presentation</vt:lpstr>
      <vt:lpstr>Six-phase approach presentation</vt:lpstr>
      <vt:lpstr>Approach presentation – three steps/ deliverables</vt:lpstr>
      <vt:lpstr>Approach presentation – four steps/ deliverables</vt:lpstr>
      <vt:lpstr>Approach presentation – four steps/ deliverables and description</vt:lpstr>
      <vt:lpstr>Approach presentation – three steps/deliverables and description with logo</vt:lpstr>
      <vt:lpstr>Approach presentation – three steps/deliverables and description with logo</vt:lpstr>
      <vt:lpstr>Approach presentation – four steps/deliverables and description with logo</vt:lpstr>
      <vt:lpstr>Approach presentation – four steps/deliverables and description with logo</vt:lpstr>
      <vt:lpstr>Approach presentation – five steps/deliverables and description with logo</vt:lpstr>
      <vt:lpstr>Approach presentation – five steps/ deliverables and description</vt:lpstr>
      <vt:lpstr>Approach presentation – six steps &amp; logos</vt:lpstr>
      <vt:lpstr>Approach presentation – three steps &amp; logos</vt:lpstr>
      <vt:lpstr>Approach presentation – four steps &amp; logos</vt:lpstr>
      <vt:lpstr>Approach presentation – five steps &amp; logos</vt:lpstr>
      <vt:lpstr>Project timeline </vt:lpstr>
      <vt:lpstr>Project timeline </vt:lpstr>
      <vt:lpstr>Project timeline – detailed description</vt:lpstr>
      <vt:lpstr>Approach &amp; deliverables presentation – three steps </vt:lpstr>
      <vt:lpstr>Approach &amp; deliverables presentation – four steps </vt:lpstr>
      <vt:lpstr>Approach &amp; deliverables description – three steps</vt:lpstr>
      <vt:lpstr>Approach &amp; deliverables description – four steps</vt:lpstr>
      <vt:lpstr>Approach &amp; deliverables description – three steps</vt:lpstr>
      <vt:lpstr>Workshop agenda – single day</vt:lpstr>
      <vt:lpstr>Workshop agenda – full week</vt:lpstr>
      <vt:lpstr>Planning</vt:lpstr>
      <vt:lpstr>Approach presentation – four steps</vt:lpstr>
      <vt:lpstr>Approach presentation – first step description</vt:lpstr>
      <vt:lpstr>Approach presentation – second step description</vt:lpstr>
      <vt:lpstr>Approach presentation – third step description</vt:lpstr>
      <vt:lpstr>Timeline 4 years</vt:lpstr>
      <vt:lpstr>Timeline 5 years</vt:lpstr>
      <vt:lpstr>Timeline 6 years</vt:lpstr>
      <vt:lpstr>Retroplanning and to-do list 3 weeks</vt:lpstr>
      <vt:lpstr>Retroplanning and to-do list 4 weeks</vt:lpstr>
      <vt:lpstr>Four keys to success</vt:lpstr>
      <vt:lpstr>Various</vt:lpstr>
      <vt:lpstr>Quadrant benefits/ feasibility</vt:lpstr>
      <vt:lpstr>Quadrant benefits/ feasibility</vt:lpstr>
      <vt:lpstr>Quadrant benefits/ feasibility</vt:lpstr>
      <vt:lpstr>Pyramid – three ideas</vt:lpstr>
      <vt:lpstr>Pros and cons</vt:lpstr>
      <vt:lpstr>Team/ participant presentation</vt:lpstr>
      <vt:lpstr>Roadmap </vt:lpstr>
      <vt:lpstr>Four ideas</vt:lpstr>
      <vt:lpstr>Project charter </vt:lpstr>
      <vt:lpstr>[Workstream] weekly status update: Week X Day Month</vt:lpstr>
      <vt:lpstr>SWOT analysis</vt:lpstr>
      <vt:lpstr>Key message to introduce the 4 levels and the RACI</vt:lpstr>
      <vt:lpstr>Financial statement – three key indicators</vt:lpstr>
      <vt:lpstr>Financial statement – four key indicators</vt:lpstr>
      <vt:lpstr>Slide messages – three key deliverables</vt:lpstr>
      <vt:lpstr>Slide messages – four key deliverables</vt:lpstr>
      <vt:lpstr>Slide messages – four deliverables details &amp; illustration</vt:lpstr>
      <vt:lpstr>Slide messages – six deliverables details &amp; illustration</vt:lpstr>
      <vt:lpstr>Slide message – four levers prioritization</vt:lpstr>
      <vt:lpstr>Slide message – five levers prioritization</vt:lpstr>
      <vt:lpstr>Slide message – Three key ideas</vt:lpstr>
      <vt:lpstr>Slide message – Four key ideas</vt:lpstr>
      <vt:lpstr>Slide message – Workshop minutes with three key ideas</vt:lpstr>
      <vt:lpstr>Slide message – Workshop minutes with four key ideas</vt:lpstr>
      <vt:lpstr>Slide message – three ideas</vt:lpstr>
      <vt:lpstr>Slide message – four ideas</vt:lpstr>
      <vt:lpstr>Slide message – five ideas</vt:lpstr>
      <vt:lpstr>Slide message – three key ideas</vt:lpstr>
      <vt:lpstr>Slide message – four key ideas</vt:lpstr>
      <vt:lpstr>Slide message – three scenarios comparison</vt:lpstr>
      <vt:lpstr>Approach presentation – three steps approach</vt:lpstr>
      <vt:lpstr>Approach presentation – four steps approach</vt:lpstr>
      <vt:lpstr>Historical timeline – four milestones</vt:lpstr>
      <vt:lpstr>Historical timeline – five milestones</vt:lpstr>
      <vt:lpstr>Historical timeline – six mileto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arlotte Jau</dc:creator>
  <cp:lastModifiedBy>Eason Jin</cp:lastModifiedBy>
  <cp:revision>3</cp:revision>
  <dcterms:created xsi:type="dcterms:W3CDTF">2020-09-03T15:43:01Z</dcterms:created>
  <dcterms:modified xsi:type="dcterms:W3CDTF">2025-12-16T22:0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3C9D7C2CACC841BE281800B7245C55</vt:lpwstr>
  </property>
  <property fmtid="{D5CDD505-2E9C-101B-9397-08002B2CF9AE}" pid="3" name="MediaServiceImageTags">
    <vt:lpwstr/>
  </property>
</Properties>
</file>